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73.xml" ContentType="application/vnd.openxmlformats-officedocument.presentationml.tags+xml"/>
  <Override PartName="/ppt/notesSlides/notesSlide4.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notesSlides/notesSlide7.xml" ContentType="application/vnd.openxmlformats-officedocument.presentationml.notesSlide+xml"/>
  <Override PartName="/ppt/charts/chart8.xml" ContentType="application/vnd.openxmlformats-officedocument.drawingml.chart+xml"/>
  <Override PartName="/ppt/notesSlides/notesSlide8.xml" ContentType="application/vnd.openxmlformats-officedocument.presentationml.notesSlide+xml"/>
  <Override PartName="/ppt/tags/tag208.xml" ContentType="application/vnd.openxmlformats-officedocument.presentationml.tags+xml"/>
  <Override PartName="/ppt/notesSlides/notesSlide9.xml" ContentType="application/vnd.openxmlformats-officedocument.presentationml.notesSlide+xml"/>
  <Override PartName="/ppt/tags/tag209.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6"/>
  </p:notesMasterIdLst>
  <p:sldIdLst>
    <p:sldId id="289" r:id="rId5"/>
    <p:sldId id="262" r:id="rId6"/>
    <p:sldId id="2134804377" r:id="rId7"/>
    <p:sldId id="326" r:id="rId8"/>
    <p:sldId id="2134804383" r:id="rId9"/>
    <p:sldId id="2134804382" r:id="rId10"/>
    <p:sldId id="2134804379" r:id="rId11"/>
    <p:sldId id="2134804378" r:id="rId12"/>
    <p:sldId id="285" r:id="rId13"/>
    <p:sldId id="2134804376" r:id="rId14"/>
    <p:sldId id="2134804381" r:id="rId15"/>
  </p:sldIdLst>
  <p:sldSz cx="12192000" cy="6858000"/>
  <p:notesSz cx="6858000" cy="9144000"/>
  <p:custDataLst>
    <p:tags r:id="rId17"/>
  </p:custDataLst>
  <p:defaultText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7E3AD9D-753B-1C4C-9455-FCB85BDDBCC7}">
          <p14:sldIdLst>
            <p14:sldId id="289"/>
            <p14:sldId id="262"/>
            <p14:sldId id="2134804377"/>
            <p14:sldId id="326"/>
            <p14:sldId id="2134804383"/>
            <p14:sldId id="2134804382"/>
            <p14:sldId id="2134804379"/>
            <p14:sldId id="2134804378"/>
            <p14:sldId id="285"/>
          </p14:sldIdLst>
        </p14:section>
        <p14:section name="Product Extras" id="{0C933C11-D94D-7C46-ADB7-2103F2A5AA9A}">
          <p14:sldIdLst>
            <p14:sldId id="2134804376"/>
            <p14:sldId id="213480438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52B"/>
    <a:srgbClr val="BD10E0"/>
    <a:srgbClr val="F4F8FF"/>
    <a:srgbClr val="DAE3F3"/>
    <a:srgbClr val="0E183C"/>
    <a:srgbClr val="1C63FF"/>
    <a:srgbClr val="726E83"/>
    <a:srgbClr val="ABB3C1"/>
    <a:srgbClr val="C9D9FF"/>
    <a:srgbClr val="DFE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79848E-6656-4A3C-AB43-B1A3B0133549}" v="6" dt="2023-03-09T14:56:06.072"/>
    <p1510:client id="{83AF0EAE-1449-4C87-B14F-64EAAA6BDADC}" v="17464" dt="2023-03-09T15:36:43.0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876"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enwen Zhang" userId="9dd81366-5d6f-445a-b031-6ea562624431" providerId="ADAL" clId="{55E5547C-9DD3-5D45-9E3D-FFCB6585264C}"/>
    <pc:docChg chg="undo custSel modSld">
      <pc:chgData name="Wenwen Zhang" userId="9dd81366-5d6f-445a-b031-6ea562624431" providerId="ADAL" clId="{55E5547C-9DD3-5D45-9E3D-FFCB6585264C}" dt="2022-12-07T02:27:53.227" v="682"/>
      <pc:docMkLst>
        <pc:docMk/>
      </pc:docMkLst>
      <pc:sldChg chg="mod">
        <pc:chgData name="Wenwen Zhang" userId="9dd81366-5d6f-445a-b031-6ea562624431" providerId="ADAL" clId="{55E5547C-9DD3-5D45-9E3D-FFCB6585264C}" dt="2022-12-07T01:25:15.849" v="1" actId="27918"/>
        <pc:sldMkLst>
          <pc:docMk/>
          <pc:sldMk cId="4270526946" sldId="329"/>
        </pc:sldMkLst>
      </pc:sldChg>
      <pc:sldChg chg="modNotesTx">
        <pc:chgData name="Wenwen Zhang" userId="9dd81366-5d6f-445a-b031-6ea562624431" providerId="ADAL" clId="{55E5547C-9DD3-5D45-9E3D-FFCB6585264C}" dt="2022-12-07T01:30:18.873" v="192" actId="20577"/>
        <pc:sldMkLst>
          <pc:docMk/>
          <pc:sldMk cId="2884773076" sldId="2134804360"/>
        </pc:sldMkLst>
      </pc:sldChg>
      <pc:sldChg chg="addSp modSp mod modNotesTx">
        <pc:chgData name="Wenwen Zhang" userId="9dd81366-5d6f-445a-b031-6ea562624431" providerId="ADAL" clId="{55E5547C-9DD3-5D45-9E3D-FFCB6585264C}" dt="2022-12-07T02:18:28.371" v="548" actId="207"/>
        <pc:sldMkLst>
          <pc:docMk/>
          <pc:sldMk cId="853588367" sldId="2134804361"/>
        </pc:sldMkLst>
        <pc:spChg chg="add mod">
          <ac:chgData name="Wenwen Zhang" userId="9dd81366-5d6f-445a-b031-6ea562624431" providerId="ADAL" clId="{55E5547C-9DD3-5D45-9E3D-FFCB6585264C}" dt="2022-12-07T02:18:22.438" v="546" actId="207"/>
          <ac:spMkLst>
            <pc:docMk/>
            <pc:sldMk cId="853588367" sldId="2134804361"/>
            <ac:spMk id="3" creationId="{DADE8D47-A591-4C2C-2FF4-A101EB0EEB30}"/>
          </ac:spMkLst>
        </pc:spChg>
        <pc:spChg chg="add mod">
          <ac:chgData name="Wenwen Zhang" userId="9dd81366-5d6f-445a-b031-6ea562624431" providerId="ADAL" clId="{55E5547C-9DD3-5D45-9E3D-FFCB6585264C}" dt="2022-12-07T02:18:25.205" v="547" actId="207"/>
          <ac:spMkLst>
            <pc:docMk/>
            <pc:sldMk cId="853588367" sldId="2134804361"/>
            <ac:spMk id="4" creationId="{6C1AF25C-CBDD-1634-FF83-10B20807FEF7}"/>
          </ac:spMkLst>
        </pc:spChg>
        <pc:spChg chg="add mod">
          <ac:chgData name="Wenwen Zhang" userId="9dd81366-5d6f-445a-b031-6ea562624431" providerId="ADAL" clId="{55E5547C-9DD3-5D45-9E3D-FFCB6585264C}" dt="2022-12-07T02:18:28.371" v="548" actId="207"/>
          <ac:spMkLst>
            <pc:docMk/>
            <pc:sldMk cId="853588367" sldId="2134804361"/>
            <ac:spMk id="5" creationId="{59F39FFD-DC35-B6BE-F5F6-94BAB0AB25B6}"/>
          </ac:spMkLst>
        </pc:spChg>
        <pc:spChg chg="add mod">
          <ac:chgData name="Wenwen Zhang" userId="9dd81366-5d6f-445a-b031-6ea562624431" providerId="ADAL" clId="{55E5547C-9DD3-5D45-9E3D-FFCB6585264C}" dt="2022-12-07T02:18:13.697" v="543" actId="207"/>
          <ac:spMkLst>
            <pc:docMk/>
            <pc:sldMk cId="853588367" sldId="2134804361"/>
            <ac:spMk id="7" creationId="{ED6232FB-379F-5213-DEFA-42017CB6DA88}"/>
          </ac:spMkLst>
        </pc:spChg>
        <pc:spChg chg="add mod">
          <ac:chgData name="Wenwen Zhang" userId="9dd81366-5d6f-445a-b031-6ea562624431" providerId="ADAL" clId="{55E5547C-9DD3-5D45-9E3D-FFCB6585264C}" dt="2022-12-07T02:18:16.155" v="544" actId="207"/>
          <ac:spMkLst>
            <pc:docMk/>
            <pc:sldMk cId="853588367" sldId="2134804361"/>
            <ac:spMk id="8" creationId="{F7A18FCD-6836-DA2A-A02D-50FE7074D246}"/>
          </ac:spMkLst>
        </pc:spChg>
        <pc:spChg chg="add mod">
          <ac:chgData name="Wenwen Zhang" userId="9dd81366-5d6f-445a-b031-6ea562624431" providerId="ADAL" clId="{55E5547C-9DD3-5D45-9E3D-FFCB6585264C}" dt="2022-12-07T02:18:19.054" v="545" actId="207"/>
          <ac:spMkLst>
            <pc:docMk/>
            <pc:sldMk cId="853588367" sldId="2134804361"/>
            <ac:spMk id="9" creationId="{B917D31A-3F94-6F3B-6DA1-2D5B5FF2F142}"/>
          </ac:spMkLst>
        </pc:spChg>
      </pc:sldChg>
      <pc:sldChg chg="modSp mod">
        <pc:chgData name="Wenwen Zhang" userId="9dd81366-5d6f-445a-b031-6ea562624431" providerId="ADAL" clId="{55E5547C-9DD3-5D45-9E3D-FFCB6585264C}" dt="2022-12-07T02:22:25.652" v="651" actId="1036"/>
        <pc:sldMkLst>
          <pc:docMk/>
          <pc:sldMk cId="691933908" sldId="2134804364"/>
        </pc:sldMkLst>
        <pc:spChg chg="mod">
          <ac:chgData name="Wenwen Zhang" userId="9dd81366-5d6f-445a-b031-6ea562624431" providerId="ADAL" clId="{55E5547C-9DD3-5D45-9E3D-FFCB6585264C}" dt="2022-12-07T02:20:39.751" v="549" actId="20577"/>
          <ac:spMkLst>
            <pc:docMk/>
            <pc:sldMk cId="691933908" sldId="2134804364"/>
            <ac:spMk id="2" creationId="{B065B79C-C4D6-5961-7919-6BB68C420868}"/>
          </ac:spMkLst>
        </pc:spChg>
        <pc:spChg chg="mod">
          <ac:chgData name="Wenwen Zhang" userId="9dd81366-5d6f-445a-b031-6ea562624431" providerId="ADAL" clId="{55E5547C-9DD3-5D45-9E3D-FFCB6585264C}" dt="2022-12-07T02:22:25.652" v="651" actId="1036"/>
          <ac:spMkLst>
            <pc:docMk/>
            <pc:sldMk cId="691933908" sldId="2134804364"/>
            <ac:spMk id="7" creationId="{1F61149F-1E20-A8AC-4C9F-D790DEAB9469}"/>
          </ac:spMkLst>
        </pc:spChg>
        <pc:spChg chg="mod">
          <ac:chgData name="Wenwen Zhang" userId="9dd81366-5d6f-445a-b031-6ea562624431" providerId="ADAL" clId="{55E5547C-9DD3-5D45-9E3D-FFCB6585264C}" dt="2022-12-07T02:22:25.652" v="651" actId="1036"/>
          <ac:spMkLst>
            <pc:docMk/>
            <pc:sldMk cId="691933908" sldId="2134804364"/>
            <ac:spMk id="8" creationId="{220E948E-6698-B7EC-831B-0DB92E8E2F61}"/>
          </ac:spMkLst>
        </pc:spChg>
        <pc:spChg chg="mod">
          <ac:chgData name="Wenwen Zhang" userId="9dd81366-5d6f-445a-b031-6ea562624431" providerId="ADAL" clId="{55E5547C-9DD3-5D45-9E3D-FFCB6585264C}" dt="2022-12-07T02:22:25.652" v="651" actId="1036"/>
          <ac:spMkLst>
            <pc:docMk/>
            <pc:sldMk cId="691933908" sldId="2134804364"/>
            <ac:spMk id="9" creationId="{21C1DF04-62EE-BC84-D5AB-0D14B3B6C342}"/>
          </ac:spMkLst>
        </pc:spChg>
        <pc:spChg chg="mod">
          <ac:chgData name="Wenwen Zhang" userId="9dd81366-5d6f-445a-b031-6ea562624431" providerId="ADAL" clId="{55E5547C-9DD3-5D45-9E3D-FFCB6585264C}" dt="2022-12-07T02:22:25.652" v="651" actId="1036"/>
          <ac:spMkLst>
            <pc:docMk/>
            <pc:sldMk cId="691933908" sldId="2134804364"/>
            <ac:spMk id="10" creationId="{A6414961-4924-D445-9CBB-7C44064EB260}"/>
          </ac:spMkLst>
        </pc:spChg>
        <pc:spChg chg="mod">
          <ac:chgData name="Wenwen Zhang" userId="9dd81366-5d6f-445a-b031-6ea562624431" providerId="ADAL" clId="{55E5547C-9DD3-5D45-9E3D-FFCB6585264C}" dt="2022-12-07T02:20:44.728" v="550" actId="20577"/>
          <ac:spMkLst>
            <pc:docMk/>
            <pc:sldMk cId="691933908" sldId="2134804364"/>
            <ac:spMk id="17" creationId="{9D1E6C58-4AF0-E4D6-5BC6-E8F603498246}"/>
          </ac:spMkLst>
        </pc:spChg>
      </pc:sldChg>
      <pc:sldChg chg="addSp delSp modSp mod">
        <pc:chgData name="Wenwen Zhang" userId="9dd81366-5d6f-445a-b031-6ea562624431" providerId="ADAL" clId="{55E5547C-9DD3-5D45-9E3D-FFCB6585264C}" dt="2022-12-07T02:27:53.227" v="682"/>
        <pc:sldMkLst>
          <pc:docMk/>
          <pc:sldMk cId="3189853592" sldId="2134804367"/>
        </pc:sldMkLst>
        <pc:graphicFrameChg chg="add mod">
          <ac:chgData name="Wenwen Zhang" userId="9dd81366-5d6f-445a-b031-6ea562624431" providerId="ADAL" clId="{55E5547C-9DD3-5D45-9E3D-FFCB6585264C}" dt="2022-12-07T01:33:49.619" v="228"/>
          <ac:graphicFrameMkLst>
            <pc:docMk/>
            <pc:sldMk cId="3189853592" sldId="2134804367"/>
            <ac:graphicFrameMk id="3" creationId="{74E22699-35BD-9659-6CAC-2D2765866631}"/>
          </ac:graphicFrameMkLst>
        </pc:graphicFrameChg>
        <pc:graphicFrameChg chg="mod modGraphic">
          <ac:chgData name="Wenwen Zhang" userId="9dd81366-5d6f-445a-b031-6ea562624431" providerId="ADAL" clId="{55E5547C-9DD3-5D45-9E3D-FFCB6585264C}" dt="2022-12-07T02:27:53.227" v="682"/>
          <ac:graphicFrameMkLst>
            <pc:docMk/>
            <pc:sldMk cId="3189853592" sldId="2134804367"/>
            <ac:graphicFrameMk id="5" creationId="{2265E881-1A0F-632D-90B9-E8C0A1751FE4}"/>
          </ac:graphicFrameMkLst>
        </pc:graphicFrameChg>
        <pc:picChg chg="add mod">
          <ac:chgData name="Wenwen Zhang" userId="9dd81366-5d6f-445a-b031-6ea562624431" providerId="ADAL" clId="{55E5547C-9DD3-5D45-9E3D-FFCB6585264C}" dt="2022-12-07T02:00:44.996" v="482" actId="14826"/>
          <ac:picMkLst>
            <pc:docMk/>
            <pc:sldMk cId="3189853592" sldId="2134804367"/>
            <ac:picMk id="4" creationId="{0AC404FC-235A-9D69-72DE-F99F5CB04B55}"/>
          </ac:picMkLst>
        </pc:picChg>
        <pc:picChg chg="add mod">
          <ac:chgData name="Wenwen Zhang" userId="9dd81366-5d6f-445a-b031-6ea562624431" providerId="ADAL" clId="{55E5547C-9DD3-5D45-9E3D-FFCB6585264C}" dt="2022-12-07T02:01:00.417" v="483" actId="14826"/>
          <ac:picMkLst>
            <pc:docMk/>
            <pc:sldMk cId="3189853592" sldId="2134804367"/>
            <ac:picMk id="6" creationId="{DB73FCDF-D9D8-2973-DFA3-E04687E26D02}"/>
          </ac:picMkLst>
        </pc:picChg>
        <pc:picChg chg="add mod">
          <ac:chgData name="Wenwen Zhang" userId="9dd81366-5d6f-445a-b031-6ea562624431" providerId="ADAL" clId="{55E5547C-9DD3-5D45-9E3D-FFCB6585264C}" dt="2022-12-07T02:25:09.515" v="655" actId="1035"/>
          <ac:picMkLst>
            <pc:docMk/>
            <pc:sldMk cId="3189853592" sldId="2134804367"/>
            <ac:picMk id="7" creationId="{3C5BF9E2-9FED-4F54-30A9-D4E196D38F90}"/>
          </ac:picMkLst>
        </pc:picChg>
        <pc:picChg chg="add mod">
          <ac:chgData name="Wenwen Zhang" userId="9dd81366-5d6f-445a-b031-6ea562624431" providerId="ADAL" clId="{55E5547C-9DD3-5D45-9E3D-FFCB6585264C}" dt="2022-12-07T02:25:23.673" v="657" actId="1076"/>
          <ac:picMkLst>
            <pc:docMk/>
            <pc:sldMk cId="3189853592" sldId="2134804367"/>
            <ac:picMk id="8" creationId="{EFE1AC4E-4DDC-FC75-DC19-E744E05ACA25}"/>
          </ac:picMkLst>
        </pc:picChg>
        <pc:picChg chg="add del mod">
          <ac:chgData name="Wenwen Zhang" userId="9dd81366-5d6f-445a-b031-6ea562624431" providerId="ADAL" clId="{55E5547C-9DD3-5D45-9E3D-FFCB6585264C}" dt="2022-12-07T02:01:41.624" v="484" actId="478"/>
          <ac:picMkLst>
            <pc:docMk/>
            <pc:sldMk cId="3189853592" sldId="2134804367"/>
            <ac:picMk id="9" creationId="{A1446EE0-1913-9284-9A6F-BEA976A28190}"/>
          </ac:picMkLst>
        </pc:picChg>
        <pc:picChg chg="add del mod">
          <ac:chgData name="Wenwen Zhang" userId="9dd81366-5d6f-445a-b031-6ea562624431" providerId="ADAL" clId="{55E5547C-9DD3-5D45-9E3D-FFCB6585264C}" dt="2022-12-07T01:56:42.843" v="457" actId="478"/>
          <ac:picMkLst>
            <pc:docMk/>
            <pc:sldMk cId="3189853592" sldId="2134804367"/>
            <ac:picMk id="10" creationId="{C7A7F8C0-4520-BACB-D809-866F7FA4EC42}"/>
          </ac:picMkLst>
        </pc:picChg>
        <pc:picChg chg="add mod">
          <ac:chgData name="Wenwen Zhang" userId="9dd81366-5d6f-445a-b031-6ea562624431" providerId="ADAL" clId="{55E5547C-9DD3-5D45-9E3D-FFCB6585264C}" dt="2022-12-07T02:01:00.417" v="483" actId="14826"/>
          <ac:picMkLst>
            <pc:docMk/>
            <pc:sldMk cId="3189853592" sldId="2134804367"/>
            <ac:picMk id="11" creationId="{B6B70C70-CC29-445A-A6B1-B435B3BD12B1}"/>
          </ac:picMkLst>
        </pc:picChg>
        <pc:picChg chg="add del mod">
          <ac:chgData name="Wenwen Zhang" userId="9dd81366-5d6f-445a-b031-6ea562624431" providerId="ADAL" clId="{55E5547C-9DD3-5D45-9E3D-FFCB6585264C}" dt="2022-12-07T01:59:48.319" v="480" actId="478"/>
          <ac:picMkLst>
            <pc:docMk/>
            <pc:sldMk cId="3189853592" sldId="2134804367"/>
            <ac:picMk id="13" creationId="{FCA32D3C-B7C7-C5A4-115E-395D093CF357}"/>
          </ac:picMkLst>
        </pc:picChg>
        <pc:picChg chg="mod">
          <ac:chgData name="Wenwen Zhang" userId="9dd81366-5d6f-445a-b031-6ea562624431" providerId="ADAL" clId="{55E5547C-9DD3-5D45-9E3D-FFCB6585264C}" dt="2022-12-07T02:00:17.956" v="481" actId="14826"/>
          <ac:picMkLst>
            <pc:docMk/>
            <pc:sldMk cId="3189853592" sldId="2134804367"/>
            <ac:picMk id="31" creationId="{EB876192-AF97-0768-6C6B-08518388EB16}"/>
          </ac:picMkLst>
        </pc:picChg>
        <pc:picChg chg="mod">
          <ac:chgData name="Wenwen Zhang" userId="9dd81366-5d6f-445a-b031-6ea562624431" providerId="ADAL" clId="{55E5547C-9DD3-5D45-9E3D-FFCB6585264C}" dt="2022-12-07T02:01:00.417" v="483" actId="14826"/>
          <ac:picMkLst>
            <pc:docMk/>
            <pc:sldMk cId="3189853592" sldId="2134804367"/>
            <ac:picMk id="34" creationId="{00E6892D-41B8-12C2-A9EB-A80E6B63661F}"/>
          </ac:picMkLst>
        </pc:picChg>
        <pc:picChg chg="del mod">
          <ac:chgData name="Wenwen Zhang" userId="9dd81366-5d6f-445a-b031-6ea562624431" providerId="ADAL" clId="{55E5547C-9DD3-5D45-9E3D-FFCB6585264C}" dt="2022-12-07T01:41:00.043" v="310" actId="478"/>
          <ac:picMkLst>
            <pc:docMk/>
            <pc:sldMk cId="3189853592" sldId="2134804367"/>
            <ac:picMk id="35" creationId="{6BA03B3A-323B-10FF-0240-0B05BB6625E0}"/>
          </ac:picMkLst>
        </pc:picChg>
        <pc:picChg chg="mod">
          <ac:chgData name="Wenwen Zhang" userId="9dd81366-5d6f-445a-b031-6ea562624431" providerId="ADAL" clId="{55E5547C-9DD3-5D45-9E3D-FFCB6585264C}" dt="2022-12-07T02:25:09.515" v="655" actId="1035"/>
          <ac:picMkLst>
            <pc:docMk/>
            <pc:sldMk cId="3189853592" sldId="2134804367"/>
            <ac:picMk id="36" creationId="{C42111C1-0CDE-EF0F-F2ED-307D8A942F7E}"/>
          </ac:picMkLst>
        </pc:picChg>
        <pc:picChg chg="del mod">
          <ac:chgData name="Wenwen Zhang" userId="9dd81366-5d6f-445a-b031-6ea562624431" providerId="ADAL" clId="{55E5547C-9DD3-5D45-9E3D-FFCB6585264C}" dt="2022-12-07T01:45:51.325" v="340" actId="478"/>
          <ac:picMkLst>
            <pc:docMk/>
            <pc:sldMk cId="3189853592" sldId="2134804367"/>
            <ac:picMk id="42" creationId="{5639464A-D97C-5EAE-09ED-00193EE0D555}"/>
          </ac:picMkLst>
        </pc:picChg>
        <pc:picChg chg="del mod">
          <ac:chgData name="Wenwen Zhang" userId="9dd81366-5d6f-445a-b031-6ea562624431" providerId="ADAL" clId="{55E5547C-9DD3-5D45-9E3D-FFCB6585264C}" dt="2022-12-07T01:45:49.702" v="339" actId="478"/>
          <ac:picMkLst>
            <pc:docMk/>
            <pc:sldMk cId="3189853592" sldId="2134804367"/>
            <ac:picMk id="45" creationId="{B5BAA987-8E5D-4B4A-619C-65E7DD30BAFB}"/>
          </ac:picMkLst>
        </pc:picChg>
        <pc:picChg chg="mod">
          <ac:chgData name="Wenwen Zhang" userId="9dd81366-5d6f-445a-b031-6ea562624431" providerId="ADAL" clId="{55E5547C-9DD3-5D45-9E3D-FFCB6585264C}" dt="2022-12-07T02:25:09.515" v="655" actId="1035"/>
          <ac:picMkLst>
            <pc:docMk/>
            <pc:sldMk cId="3189853592" sldId="2134804367"/>
            <ac:picMk id="46" creationId="{F867BCEA-75AB-47B1-2C49-DCD0C3D69620}"/>
          </ac:picMkLst>
        </pc:picChg>
        <pc:picChg chg="mod">
          <ac:chgData name="Wenwen Zhang" userId="9dd81366-5d6f-445a-b031-6ea562624431" providerId="ADAL" clId="{55E5547C-9DD3-5D45-9E3D-FFCB6585264C}" dt="2022-12-07T02:25:09.515" v="655" actId="1035"/>
          <ac:picMkLst>
            <pc:docMk/>
            <pc:sldMk cId="3189853592" sldId="2134804367"/>
            <ac:picMk id="47" creationId="{5B173242-E187-33C4-59A6-C9267B51A948}"/>
          </ac:picMkLst>
        </pc:picChg>
        <pc:picChg chg="mod">
          <ac:chgData name="Wenwen Zhang" userId="9dd81366-5d6f-445a-b031-6ea562624431" providerId="ADAL" clId="{55E5547C-9DD3-5D45-9E3D-FFCB6585264C}" dt="2022-12-07T02:25:09.515" v="655" actId="1035"/>
          <ac:picMkLst>
            <pc:docMk/>
            <pc:sldMk cId="3189853592" sldId="2134804367"/>
            <ac:picMk id="48" creationId="{447BD0C4-3EE4-0FF5-3ED3-C4FBD3A82966}"/>
          </ac:picMkLst>
        </pc:picChg>
        <pc:picChg chg="mod">
          <ac:chgData name="Wenwen Zhang" userId="9dd81366-5d6f-445a-b031-6ea562624431" providerId="ADAL" clId="{55E5547C-9DD3-5D45-9E3D-FFCB6585264C}" dt="2022-12-07T02:00:44.996" v="482" actId="14826"/>
          <ac:picMkLst>
            <pc:docMk/>
            <pc:sldMk cId="3189853592" sldId="2134804367"/>
            <ac:picMk id="49" creationId="{2B76009F-98C3-B31E-A29E-76FD47E047D5}"/>
          </ac:picMkLst>
        </pc:picChg>
        <pc:picChg chg="del">
          <ac:chgData name="Wenwen Zhang" userId="9dd81366-5d6f-445a-b031-6ea562624431" providerId="ADAL" clId="{55E5547C-9DD3-5D45-9E3D-FFCB6585264C}" dt="2022-12-07T01:38:22.394" v="296" actId="478"/>
          <ac:picMkLst>
            <pc:docMk/>
            <pc:sldMk cId="3189853592" sldId="2134804367"/>
            <ac:picMk id="50" creationId="{4E0AB93B-5E22-1035-1558-34B5AAFFA468}"/>
          </ac:picMkLst>
        </pc:picChg>
      </pc:sldChg>
    </pc:docChg>
  </pc:docChgLst>
  <pc:docChgLst>
    <pc:chgData name="Wenwen Zhang" userId="9dd81366-5d6f-445a-b031-6ea562624431" providerId="ADAL" clId="{83AF0EAE-1449-4C87-B14F-64EAAA6BDADC}"/>
    <pc:docChg chg="undo redo custSel addSld delSld modSld sldOrd modSection replTag">
      <pc:chgData name="Wenwen Zhang" userId="9dd81366-5d6f-445a-b031-6ea562624431" providerId="ADAL" clId="{83AF0EAE-1449-4C87-B14F-64EAAA6BDADC}" dt="2023-03-09T15:36:43.097" v="59223" actId="1076"/>
      <pc:docMkLst>
        <pc:docMk/>
      </pc:docMkLst>
      <pc:sldChg chg="modNotesTx">
        <pc:chgData name="Wenwen Zhang" userId="9dd81366-5d6f-445a-b031-6ea562624431" providerId="ADAL" clId="{83AF0EAE-1449-4C87-B14F-64EAAA6BDADC}" dt="2023-03-09T11:48:36.548" v="55784" actId="20577"/>
        <pc:sldMkLst>
          <pc:docMk/>
          <pc:sldMk cId="0" sldId="262"/>
        </pc:sldMkLst>
      </pc:sldChg>
      <pc:sldChg chg="modSp mod">
        <pc:chgData name="Wenwen Zhang" userId="9dd81366-5d6f-445a-b031-6ea562624431" providerId="ADAL" clId="{83AF0EAE-1449-4C87-B14F-64EAAA6BDADC}" dt="2023-03-06T12:22:21.393" v="6" actId="20577"/>
        <pc:sldMkLst>
          <pc:docMk/>
          <pc:sldMk cId="1412010782" sldId="289"/>
        </pc:sldMkLst>
        <pc:spChg chg="mod">
          <ac:chgData name="Wenwen Zhang" userId="9dd81366-5d6f-445a-b031-6ea562624431" providerId="ADAL" clId="{83AF0EAE-1449-4C87-B14F-64EAAA6BDADC}" dt="2023-03-06T12:22:21.393" v="6" actId="20577"/>
          <ac:spMkLst>
            <pc:docMk/>
            <pc:sldMk cId="1412010782" sldId="289"/>
            <ac:spMk id="2" creationId="{4651C5D7-EBA3-2D90-C751-2E83C27B5CBA}"/>
          </ac:spMkLst>
        </pc:spChg>
      </pc:sldChg>
      <pc:sldChg chg="addSp delSp modSp mod modNotesTx">
        <pc:chgData name="Wenwen Zhang" userId="9dd81366-5d6f-445a-b031-6ea562624431" providerId="ADAL" clId="{83AF0EAE-1449-4C87-B14F-64EAAA6BDADC}" dt="2023-03-09T09:46:12.479" v="55776" actId="1036"/>
        <pc:sldMkLst>
          <pc:docMk/>
          <pc:sldMk cId="95124222" sldId="326"/>
        </pc:sldMkLst>
        <pc:spChg chg="mod ord">
          <ac:chgData name="Wenwen Zhang" userId="9dd81366-5d6f-445a-b031-6ea562624431" providerId="ADAL" clId="{83AF0EAE-1449-4C87-B14F-64EAAA6BDADC}" dt="2023-03-06T16:19:47.406" v="44605"/>
          <ac:spMkLst>
            <pc:docMk/>
            <pc:sldMk cId="95124222" sldId="326"/>
            <ac:spMk id="2" creationId="{6A15B527-DF64-B80B-421E-C9A6463D1F44}"/>
          </ac:spMkLst>
        </pc:spChg>
        <pc:spChg chg="add del mod">
          <ac:chgData name="Wenwen Zhang" userId="9dd81366-5d6f-445a-b031-6ea562624431" providerId="ADAL" clId="{83AF0EAE-1449-4C87-B14F-64EAAA6BDADC}" dt="2023-03-06T16:19:34.199" v="44583" actId="478"/>
          <ac:spMkLst>
            <pc:docMk/>
            <pc:sldMk cId="95124222" sldId="326"/>
            <ac:spMk id="5" creationId="{E84CEB00-6455-0335-C6F3-72261C99C3E6}"/>
          </ac:spMkLst>
        </pc:spChg>
        <pc:spChg chg="mod ord">
          <ac:chgData name="Wenwen Zhang" userId="9dd81366-5d6f-445a-b031-6ea562624431" providerId="ADAL" clId="{83AF0EAE-1449-4C87-B14F-64EAAA6BDADC}" dt="2023-03-06T16:19:47.405" v="44599"/>
          <ac:spMkLst>
            <pc:docMk/>
            <pc:sldMk cId="95124222" sldId="326"/>
            <ac:spMk id="24" creationId="{E78D2A77-9AAF-BD13-DB49-60CFDD94CA71}"/>
          </ac:spMkLst>
        </pc:spChg>
        <pc:spChg chg="mod ord">
          <ac:chgData name="Wenwen Zhang" userId="9dd81366-5d6f-445a-b031-6ea562624431" providerId="ADAL" clId="{83AF0EAE-1449-4C87-B14F-64EAAA6BDADC}" dt="2023-03-06T16:23:59.766" v="44644" actId="20577"/>
          <ac:spMkLst>
            <pc:docMk/>
            <pc:sldMk cId="95124222" sldId="326"/>
            <ac:spMk id="32" creationId="{72265772-1579-7BE0-41E3-501213E083D7}"/>
          </ac:spMkLst>
        </pc:spChg>
        <pc:spChg chg="mod ord">
          <ac:chgData name="Wenwen Zhang" userId="9dd81366-5d6f-445a-b031-6ea562624431" providerId="ADAL" clId="{83AF0EAE-1449-4C87-B14F-64EAAA6BDADC}" dt="2023-03-06T16:19:47.407" v="44607"/>
          <ac:spMkLst>
            <pc:docMk/>
            <pc:sldMk cId="95124222" sldId="326"/>
            <ac:spMk id="36" creationId="{F55868CD-D0D8-FB04-3717-1FF148201707}"/>
          </ac:spMkLst>
        </pc:spChg>
        <pc:spChg chg="mod ord">
          <ac:chgData name="Wenwen Zhang" userId="9dd81366-5d6f-445a-b031-6ea562624431" providerId="ADAL" clId="{83AF0EAE-1449-4C87-B14F-64EAAA6BDADC}" dt="2023-03-09T09:46:12.479" v="55776" actId="1036"/>
          <ac:spMkLst>
            <pc:docMk/>
            <pc:sldMk cId="95124222" sldId="326"/>
            <ac:spMk id="37" creationId="{04948244-AE20-07D3-7B68-9E3511F96494}"/>
          </ac:spMkLst>
        </pc:spChg>
        <pc:spChg chg="mod ord">
          <ac:chgData name="Wenwen Zhang" userId="9dd81366-5d6f-445a-b031-6ea562624431" providerId="ADAL" clId="{83AF0EAE-1449-4C87-B14F-64EAAA6BDADC}" dt="2023-03-06T16:23:09.773" v="44633" actId="6549"/>
          <ac:spMkLst>
            <pc:docMk/>
            <pc:sldMk cId="95124222" sldId="326"/>
            <ac:spMk id="38" creationId="{9AA87FE2-26FF-55F3-D2DF-AD7FF5DB9D6D}"/>
          </ac:spMkLst>
        </pc:spChg>
        <pc:graphicFrameChg chg="mod">
          <ac:chgData name="Wenwen Zhang" userId="9dd81366-5d6f-445a-b031-6ea562624431" providerId="ADAL" clId="{83AF0EAE-1449-4C87-B14F-64EAAA6BDADC}" dt="2023-03-06T16:19:47.409" v="44613"/>
          <ac:graphicFrameMkLst>
            <pc:docMk/>
            <pc:sldMk cId="95124222" sldId="326"/>
            <ac:graphicFrameMk id="4" creationId="{485A9725-724D-191E-3C79-D50A2378CEDC}"/>
          </ac:graphicFrameMkLst>
        </pc:graphicFrameChg>
        <pc:graphicFrameChg chg="add mod ord">
          <ac:chgData name="Wenwen Zhang" userId="9dd81366-5d6f-445a-b031-6ea562624431" providerId="ADAL" clId="{83AF0EAE-1449-4C87-B14F-64EAAA6BDADC}" dt="2023-03-06T16:19:52.149" v="44614" actId="1076"/>
          <ac:graphicFrameMkLst>
            <pc:docMk/>
            <pc:sldMk cId="95124222" sldId="326"/>
            <ac:graphicFrameMk id="6" creationId="{A45A18FA-046A-FDE4-D32C-457439A16A4B}"/>
          </ac:graphicFrameMkLst>
        </pc:graphicFrameChg>
        <pc:graphicFrameChg chg="add mod ord">
          <ac:chgData name="Wenwen Zhang" userId="9dd81366-5d6f-445a-b031-6ea562624431" providerId="ADAL" clId="{83AF0EAE-1449-4C87-B14F-64EAAA6BDADC}" dt="2023-03-06T16:19:52.149" v="44614" actId="1076"/>
          <ac:graphicFrameMkLst>
            <pc:docMk/>
            <pc:sldMk cId="95124222" sldId="326"/>
            <ac:graphicFrameMk id="7" creationId="{2DEE5010-5FC6-86E4-2981-315ED64A8198}"/>
          </ac:graphicFrameMkLst>
        </pc:graphicFrameChg>
        <pc:graphicFrameChg chg="add mod ord">
          <ac:chgData name="Wenwen Zhang" userId="9dd81366-5d6f-445a-b031-6ea562624431" providerId="ADAL" clId="{83AF0EAE-1449-4C87-B14F-64EAAA6BDADC}" dt="2023-03-06T16:19:52.149" v="44614" actId="1076"/>
          <ac:graphicFrameMkLst>
            <pc:docMk/>
            <pc:sldMk cId="95124222" sldId="326"/>
            <ac:graphicFrameMk id="8" creationId="{6D5416B0-4F41-CDB2-187F-97C125CA54E3}"/>
          </ac:graphicFrameMkLst>
        </pc:graphicFrameChg>
        <pc:graphicFrameChg chg="add mod ord">
          <ac:chgData name="Wenwen Zhang" userId="9dd81366-5d6f-445a-b031-6ea562624431" providerId="ADAL" clId="{83AF0EAE-1449-4C87-B14F-64EAAA6BDADC}" dt="2023-03-06T16:19:52.149" v="44614" actId="1076"/>
          <ac:graphicFrameMkLst>
            <pc:docMk/>
            <pc:sldMk cId="95124222" sldId="326"/>
            <ac:graphicFrameMk id="9" creationId="{347BEA48-3165-0131-9C61-7CFFD3ED02E8}"/>
          </ac:graphicFrameMkLst>
        </pc:graphicFrameChg>
        <pc:graphicFrameChg chg="add mod ord">
          <ac:chgData name="Wenwen Zhang" userId="9dd81366-5d6f-445a-b031-6ea562624431" providerId="ADAL" clId="{83AF0EAE-1449-4C87-B14F-64EAAA6BDADC}" dt="2023-03-06T16:19:52.149" v="44614" actId="1076"/>
          <ac:graphicFrameMkLst>
            <pc:docMk/>
            <pc:sldMk cId="95124222" sldId="326"/>
            <ac:graphicFrameMk id="10" creationId="{A4392D5A-0F9D-BC5B-187F-5233836EF2EB}"/>
          </ac:graphicFrameMkLst>
        </pc:graphicFrameChg>
        <pc:graphicFrameChg chg="add mod ord">
          <ac:chgData name="Wenwen Zhang" userId="9dd81366-5d6f-445a-b031-6ea562624431" providerId="ADAL" clId="{83AF0EAE-1449-4C87-B14F-64EAAA6BDADC}" dt="2023-03-06T16:19:52.149" v="44614" actId="1076"/>
          <ac:graphicFrameMkLst>
            <pc:docMk/>
            <pc:sldMk cId="95124222" sldId="326"/>
            <ac:graphicFrameMk id="11" creationId="{593A806B-F1FA-DD26-DC50-24F577791F5E}"/>
          </ac:graphicFrameMkLst>
        </pc:graphicFrameChg>
        <pc:graphicFrameChg chg="del">
          <ac:chgData name="Wenwen Zhang" userId="9dd81366-5d6f-445a-b031-6ea562624431" providerId="ADAL" clId="{83AF0EAE-1449-4C87-B14F-64EAAA6BDADC}" dt="2023-03-06T16:19:31.578" v="44582" actId="478"/>
          <ac:graphicFrameMkLst>
            <pc:docMk/>
            <pc:sldMk cId="95124222" sldId="326"/>
            <ac:graphicFrameMk id="16" creationId="{00D0A552-4E8C-1A37-4FC8-8CD0E482F756}"/>
          </ac:graphicFrameMkLst>
        </pc:graphicFrameChg>
        <pc:graphicFrameChg chg="del">
          <ac:chgData name="Wenwen Zhang" userId="9dd81366-5d6f-445a-b031-6ea562624431" providerId="ADAL" clId="{83AF0EAE-1449-4C87-B14F-64EAAA6BDADC}" dt="2023-03-06T16:19:31.578" v="44582" actId="478"/>
          <ac:graphicFrameMkLst>
            <pc:docMk/>
            <pc:sldMk cId="95124222" sldId="326"/>
            <ac:graphicFrameMk id="17" creationId="{99DB3AE5-A39C-124C-AE50-92A2C6C18B2F}"/>
          </ac:graphicFrameMkLst>
        </pc:graphicFrameChg>
        <pc:graphicFrameChg chg="del">
          <ac:chgData name="Wenwen Zhang" userId="9dd81366-5d6f-445a-b031-6ea562624431" providerId="ADAL" clId="{83AF0EAE-1449-4C87-B14F-64EAAA6BDADC}" dt="2023-03-06T16:19:31.578" v="44582" actId="478"/>
          <ac:graphicFrameMkLst>
            <pc:docMk/>
            <pc:sldMk cId="95124222" sldId="326"/>
            <ac:graphicFrameMk id="18" creationId="{1720EAA4-2169-A7D1-3888-50EB26D7771D}"/>
          </ac:graphicFrameMkLst>
        </pc:graphicFrameChg>
        <pc:graphicFrameChg chg="del">
          <ac:chgData name="Wenwen Zhang" userId="9dd81366-5d6f-445a-b031-6ea562624431" providerId="ADAL" clId="{83AF0EAE-1449-4C87-B14F-64EAAA6BDADC}" dt="2023-03-06T16:19:31.578" v="44582" actId="478"/>
          <ac:graphicFrameMkLst>
            <pc:docMk/>
            <pc:sldMk cId="95124222" sldId="326"/>
            <ac:graphicFrameMk id="19" creationId="{03E94FA7-D62A-6175-7CEC-771ED90C4F6E}"/>
          </ac:graphicFrameMkLst>
        </pc:graphicFrameChg>
        <pc:graphicFrameChg chg="del">
          <ac:chgData name="Wenwen Zhang" userId="9dd81366-5d6f-445a-b031-6ea562624431" providerId="ADAL" clId="{83AF0EAE-1449-4C87-B14F-64EAAA6BDADC}" dt="2023-03-06T16:19:31.578" v="44582" actId="478"/>
          <ac:graphicFrameMkLst>
            <pc:docMk/>
            <pc:sldMk cId="95124222" sldId="326"/>
            <ac:graphicFrameMk id="27" creationId="{DD51ED56-1225-CC5B-A5D7-795FB2A06DB4}"/>
          </ac:graphicFrameMkLst>
        </pc:graphicFrameChg>
        <pc:graphicFrameChg chg="del">
          <ac:chgData name="Wenwen Zhang" userId="9dd81366-5d6f-445a-b031-6ea562624431" providerId="ADAL" clId="{83AF0EAE-1449-4C87-B14F-64EAAA6BDADC}" dt="2023-03-06T16:19:31.578" v="44582" actId="478"/>
          <ac:graphicFrameMkLst>
            <pc:docMk/>
            <pc:sldMk cId="95124222" sldId="326"/>
            <ac:graphicFrameMk id="28" creationId="{EFD12FC7-CDCB-9D9E-649B-68C4FA7A00B6}"/>
          </ac:graphicFrameMkLst>
        </pc:graphicFrameChg>
      </pc:sldChg>
      <pc:sldChg chg="addSp delSp modSp del mod">
        <pc:chgData name="Wenwen Zhang" userId="9dd81366-5d6f-445a-b031-6ea562624431" providerId="ADAL" clId="{83AF0EAE-1449-4C87-B14F-64EAAA6BDADC}" dt="2023-03-06T12:24:53.546" v="4062" actId="2696"/>
        <pc:sldMkLst>
          <pc:docMk/>
          <pc:sldMk cId="853588367" sldId="2134804361"/>
        </pc:sldMkLst>
        <pc:spChg chg="mod ord">
          <ac:chgData name="Wenwen Zhang" userId="9dd81366-5d6f-445a-b031-6ea562624431" providerId="ADAL" clId="{83AF0EAE-1449-4C87-B14F-64EAAA6BDADC}" dt="2023-03-06T12:24:37.546" v="3961"/>
          <ac:spMkLst>
            <pc:docMk/>
            <pc:sldMk cId="853588367" sldId="2134804361"/>
            <ac:spMk id="2" creationId="{B065B79C-C4D6-5961-7919-6BB68C420868}"/>
          </ac:spMkLst>
        </pc:spChg>
        <pc:spChg chg="add del mod modVis">
          <ac:chgData name="Wenwen Zhang" userId="9dd81366-5d6f-445a-b031-6ea562624431" providerId="ADAL" clId="{83AF0EAE-1449-4C87-B14F-64EAAA6BDADC}" dt="2023-03-06T12:23:55.215" v="200"/>
          <ac:spMkLst>
            <pc:docMk/>
            <pc:sldMk cId="853588367" sldId="2134804361"/>
            <ac:spMk id="3" creationId="{63E782B9-14EC-0C5E-319E-83B6AB76683D}"/>
          </ac:spMkLst>
        </pc:spChg>
        <pc:spChg chg="add del mod modVis">
          <ac:chgData name="Wenwen Zhang" userId="9dd81366-5d6f-445a-b031-6ea562624431" providerId="ADAL" clId="{83AF0EAE-1449-4C87-B14F-64EAAA6BDADC}" dt="2023-03-06T12:24:15.846" v="334"/>
          <ac:spMkLst>
            <pc:docMk/>
            <pc:sldMk cId="853588367" sldId="2134804361"/>
            <ac:spMk id="4" creationId="{4268B086-4576-CA82-F341-6C1BF7DB2087}"/>
          </ac:spMkLst>
        </pc:spChg>
        <pc:spChg chg="add del">
          <ac:chgData name="Wenwen Zhang" userId="9dd81366-5d6f-445a-b031-6ea562624431" providerId="ADAL" clId="{83AF0EAE-1449-4C87-B14F-64EAAA6BDADC}" dt="2023-03-06T12:24:15.794" v="263"/>
          <ac:spMkLst>
            <pc:docMk/>
            <pc:sldMk cId="853588367" sldId="2134804361"/>
            <ac:spMk id="5" creationId="{853E3AE6-E7F7-94AD-D7C1-36CA3347A7E8}"/>
          </ac:spMkLst>
        </pc:spChg>
        <pc:spChg chg="add del">
          <ac:chgData name="Wenwen Zhang" userId="9dd81366-5d6f-445a-b031-6ea562624431" providerId="ADAL" clId="{83AF0EAE-1449-4C87-B14F-64EAAA6BDADC}" dt="2023-03-06T12:24:15.794" v="264"/>
          <ac:spMkLst>
            <pc:docMk/>
            <pc:sldMk cId="853588367" sldId="2134804361"/>
            <ac:spMk id="6" creationId="{4EB63AB8-68BF-F752-5895-FEE87DE48FB1}"/>
          </ac:spMkLst>
        </pc:spChg>
        <pc:spChg chg="add del">
          <ac:chgData name="Wenwen Zhang" userId="9dd81366-5d6f-445a-b031-6ea562624431" providerId="ADAL" clId="{83AF0EAE-1449-4C87-B14F-64EAAA6BDADC}" dt="2023-03-06T12:24:15.796" v="270"/>
          <ac:spMkLst>
            <pc:docMk/>
            <pc:sldMk cId="853588367" sldId="2134804361"/>
            <ac:spMk id="7" creationId="{2A709262-AEC3-7443-4B92-2BD864A8DBA5}"/>
          </ac:spMkLst>
        </pc:spChg>
        <pc:spChg chg="add del">
          <ac:chgData name="Wenwen Zhang" userId="9dd81366-5d6f-445a-b031-6ea562624431" providerId="ADAL" clId="{83AF0EAE-1449-4C87-B14F-64EAAA6BDADC}" dt="2023-03-06T12:24:15.796" v="269"/>
          <ac:spMkLst>
            <pc:docMk/>
            <pc:sldMk cId="853588367" sldId="2134804361"/>
            <ac:spMk id="8" creationId="{1E1F31AE-E546-5758-1E25-6422E62CACCC}"/>
          </ac:spMkLst>
        </pc:spChg>
        <pc:spChg chg="add del">
          <ac:chgData name="Wenwen Zhang" userId="9dd81366-5d6f-445a-b031-6ea562624431" providerId="ADAL" clId="{83AF0EAE-1449-4C87-B14F-64EAAA6BDADC}" dt="2023-03-06T12:24:15.795" v="266"/>
          <ac:spMkLst>
            <pc:docMk/>
            <pc:sldMk cId="853588367" sldId="2134804361"/>
            <ac:spMk id="9" creationId="{69F454ED-9CCC-62CF-F30D-A334BC8A0D4B}"/>
          </ac:spMkLst>
        </pc:spChg>
        <pc:spChg chg="add del mod modVis">
          <ac:chgData name="Wenwen Zhang" userId="9dd81366-5d6f-445a-b031-6ea562624431" providerId="ADAL" clId="{83AF0EAE-1449-4C87-B14F-64EAAA6BDADC}" dt="2023-03-06T12:24:19.145" v="392"/>
          <ac:spMkLst>
            <pc:docMk/>
            <pc:sldMk cId="853588367" sldId="2134804361"/>
            <ac:spMk id="10" creationId="{D0691A81-191B-06CE-9262-60412F7211C6}"/>
          </ac:spMkLst>
        </pc:spChg>
        <pc:spChg chg="add del">
          <ac:chgData name="Wenwen Zhang" userId="9dd81366-5d6f-445a-b031-6ea562624431" providerId="ADAL" clId="{83AF0EAE-1449-4C87-B14F-64EAAA6BDADC}" dt="2023-03-06T12:24:15.795" v="268"/>
          <ac:spMkLst>
            <pc:docMk/>
            <pc:sldMk cId="853588367" sldId="2134804361"/>
            <ac:spMk id="11" creationId="{6AF1F9A0-3633-4E39-B792-CC820F9A9084}"/>
          </ac:spMkLst>
        </pc:spChg>
        <pc:spChg chg="add del">
          <ac:chgData name="Wenwen Zhang" userId="9dd81366-5d6f-445a-b031-6ea562624431" providerId="ADAL" clId="{83AF0EAE-1449-4C87-B14F-64EAAA6BDADC}" dt="2023-03-06T12:24:15.795" v="267"/>
          <ac:spMkLst>
            <pc:docMk/>
            <pc:sldMk cId="853588367" sldId="2134804361"/>
            <ac:spMk id="12" creationId="{D2F5D0D7-DC31-0DBB-3B98-5FB9900FF705}"/>
          </ac:spMkLst>
        </pc:spChg>
        <pc:spChg chg="add del">
          <ac:chgData name="Wenwen Zhang" userId="9dd81366-5d6f-445a-b031-6ea562624431" providerId="ADAL" clId="{83AF0EAE-1449-4C87-B14F-64EAAA6BDADC}" dt="2023-03-06T12:24:15.794" v="265"/>
          <ac:spMkLst>
            <pc:docMk/>
            <pc:sldMk cId="853588367" sldId="2134804361"/>
            <ac:spMk id="13" creationId="{2F6F6783-6227-334C-241D-B0C69587E518}"/>
          </ac:spMkLst>
        </pc:spChg>
        <pc:spChg chg="add del">
          <ac:chgData name="Wenwen Zhang" userId="9dd81366-5d6f-445a-b031-6ea562624431" providerId="ADAL" clId="{83AF0EAE-1449-4C87-B14F-64EAAA6BDADC}" dt="2023-03-06T12:24:15.794" v="262"/>
          <ac:spMkLst>
            <pc:docMk/>
            <pc:sldMk cId="853588367" sldId="2134804361"/>
            <ac:spMk id="15" creationId="{9491B75F-DC0D-7DF1-7D8B-A9A8E8FD61E9}"/>
          </ac:spMkLst>
        </pc:spChg>
        <pc:spChg chg="add del">
          <ac:chgData name="Wenwen Zhang" userId="9dd81366-5d6f-445a-b031-6ea562624431" providerId="ADAL" clId="{83AF0EAE-1449-4C87-B14F-64EAAA6BDADC}" dt="2023-03-06T12:24:15.793" v="261"/>
          <ac:spMkLst>
            <pc:docMk/>
            <pc:sldMk cId="853588367" sldId="2134804361"/>
            <ac:spMk id="16" creationId="{BF8FEA59-667E-AD81-BD68-2A4C7A58AE22}"/>
          </ac:spMkLst>
        </pc:spChg>
        <pc:spChg chg="add del">
          <ac:chgData name="Wenwen Zhang" userId="9dd81366-5d6f-445a-b031-6ea562624431" providerId="ADAL" clId="{83AF0EAE-1449-4C87-B14F-64EAAA6BDADC}" dt="2023-03-06T12:24:15.793" v="260"/>
          <ac:spMkLst>
            <pc:docMk/>
            <pc:sldMk cId="853588367" sldId="2134804361"/>
            <ac:spMk id="17" creationId="{16D3A00E-0760-8004-B7A1-AA8EF6D8D41C}"/>
          </ac:spMkLst>
        </pc:spChg>
        <pc:spChg chg="add del">
          <ac:chgData name="Wenwen Zhang" userId="9dd81366-5d6f-445a-b031-6ea562624431" providerId="ADAL" clId="{83AF0EAE-1449-4C87-B14F-64EAAA6BDADC}" dt="2023-03-06T12:24:15.793" v="259"/>
          <ac:spMkLst>
            <pc:docMk/>
            <pc:sldMk cId="853588367" sldId="2134804361"/>
            <ac:spMk id="18" creationId="{6A274FDE-0F5F-A040-099B-09D012D48EE0}"/>
          </ac:spMkLst>
        </pc:spChg>
        <pc:spChg chg="add del">
          <ac:chgData name="Wenwen Zhang" userId="9dd81366-5d6f-445a-b031-6ea562624431" providerId="ADAL" clId="{83AF0EAE-1449-4C87-B14F-64EAAA6BDADC}" dt="2023-03-06T12:24:15.792" v="258"/>
          <ac:spMkLst>
            <pc:docMk/>
            <pc:sldMk cId="853588367" sldId="2134804361"/>
            <ac:spMk id="19" creationId="{964B1BBF-B407-C44A-77D1-FDF192716AE3}"/>
          </ac:spMkLst>
        </pc:spChg>
        <pc:spChg chg="add del">
          <ac:chgData name="Wenwen Zhang" userId="9dd81366-5d6f-445a-b031-6ea562624431" providerId="ADAL" clId="{83AF0EAE-1449-4C87-B14F-64EAAA6BDADC}" dt="2023-03-06T12:24:15.796" v="272"/>
          <ac:spMkLst>
            <pc:docMk/>
            <pc:sldMk cId="853588367" sldId="2134804361"/>
            <ac:spMk id="21" creationId="{F6D863E2-8629-3703-6C4F-C073587AB6EB}"/>
          </ac:spMkLst>
        </pc:spChg>
        <pc:spChg chg="add del">
          <ac:chgData name="Wenwen Zhang" userId="9dd81366-5d6f-445a-b031-6ea562624431" providerId="ADAL" clId="{83AF0EAE-1449-4C87-B14F-64EAAA6BDADC}" dt="2023-03-06T12:24:15.797" v="273"/>
          <ac:spMkLst>
            <pc:docMk/>
            <pc:sldMk cId="853588367" sldId="2134804361"/>
            <ac:spMk id="22" creationId="{F0104106-670B-C3CB-A81A-41C388F2E107}"/>
          </ac:spMkLst>
        </pc:spChg>
        <pc:spChg chg="add del">
          <ac:chgData name="Wenwen Zhang" userId="9dd81366-5d6f-445a-b031-6ea562624431" providerId="ADAL" clId="{83AF0EAE-1449-4C87-B14F-64EAAA6BDADC}" dt="2023-03-06T12:24:15.797" v="276"/>
          <ac:spMkLst>
            <pc:docMk/>
            <pc:sldMk cId="853588367" sldId="2134804361"/>
            <ac:spMk id="23" creationId="{2038CD29-1299-0259-307D-DF3914D77B53}"/>
          </ac:spMkLst>
        </pc:spChg>
        <pc:spChg chg="add mod replST">
          <ac:chgData name="Wenwen Zhang" userId="9dd81366-5d6f-445a-b031-6ea562624431" providerId="ADAL" clId="{83AF0EAE-1449-4C87-B14F-64EAAA6BDADC}" dt="2023-03-06T12:24:37.550" v="3983"/>
          <ac:spMkLst>
            <pc:docMk/>
            <pc:sldMk cId="853588367" sldId="2134804361"/>
            <ac:spMk id="24" creationId="{43B3D428-3133-2D5B-214A-963F57BBFB3A}"/>
          </ac:spMkLst>
        </pc:spChg>
        <pc:spChg chg="add del">
          <ac:chgData name="Wenwen Zhang" userId="9dd81366-5d6f-445a-b031-6ea562624431" providerId="ADAL" clId="{83AF0EAE-1449-4C87-B14F-64EAAA6BDADC}" dt="2023-03-06T12:24:15.791" v="255"/>
          <ac:spMkLst>
            <pc:docMk/>
            <pc:sldMk cId="853588367" sldId="2134804361"/>
            <ac:spMk id="25" creationId="{AB9E2F6B-2B84-02C0-045A-CFCD982A429E}"/>
          </ac:spMkLst>
        </pc:spChg>
        <pc:spChg chg="add del">
          <ac:chgData name="Wenwen Zhang" userId="9dd81366-5d6f-445a-b031-6ea562624431" providerId="ADAL" clId="{83AF0EAE-1449-4C87-B14F-64EAAA6BDADC}" dt="2023-03-06T12:24:15.786" v="237"/>
          <ac:spMkLst>
            <pc:docMk/>
            <pc:sldMk cId="853588367" sldId="2134804361"/>
            <ac:spMk id="26" creationId="{53119203-1966-F90C-AE9F-3794C1A183C6}"/>
          </ac:spMkLst>
        </pc:spChg>
        <pc:spChg chg="add del">
          <ac:chgData name="Wenwen Zhang" userId="9dd81366-5d6f-445a-b031-6ea562624431" providerId="ADAL" clId="{83AF0EAE-1449-4C87-B14F-64EAAA6BDADC}" dt="2023-03-06T12:24:15.791" v="254"/>
          <ac:spMkLst>
            <pc:docMk/>
            <pc:sldMk cId="853588367" sldId="2134804361"/>
            <ac:spMk id="27" creationId="{EC74EA2F-5FEC-8047-0151-87BA9BC98889}"/>
          </ac:spMkLst>
        </pc:spChg>
        <pc:spChg chg="mod ord">
          <ac:chgData name="Wenwen Zhang" userId="9dd81366-5d6f-445a-b031-6ea562624431" providerId="ADAL" clId="{83AF0EAE-1449-4C87-B14F-64EAAA6BDADC}" dt="2023-03-06T12:24:37.547" v="3963"/>
          <ac:spMkLst>
            <pc:docMk/>
            <pc:sldMk cId="853588367" sldId="2134804361"/>
            <ac:spMk id="29" creationId="{D50B6CAA-A666-5524-85F7-444C607F0970}"/>
          </ac:spMkLst>
        </pc:spChg>
        <pc:spChg chg="add del">
          <ac:chgData name="Wenwen Zhang" userId="9dd81366-5d6f-445a-b031-6ea562624431" providerId="ADAL" clId="{83AF0EAE-1449-4C87-B14F-64EAAA6BDADC}" dt="2023-03-06T12:24:15.786" v="236"/>
          <ac:spMkLst>
            <pc:docMk/>
            <pc:sldMk cId="853588367" sldId="2134804361"/>
            <ac:spMk id="30" creationId="{97CB27C6-CC4E-EDB4-2314-D3DBC18B1CF7}"/>
          </ac:spMkLst>
        </pc:spChg>
        <pc:spChg chg="add del">
          <ac:chgData name="Wenwen Zhang" userId="9dd81366-5d6f-445a-b031-6ea562624431" providerId="ADAL" clId="{83AF0EAE-1449-4C87-B14F-64EAAA6BDADC}" dt="2023-03-06T12:24:15.790" v="253"/>
          <ac:spMkLst>
            <pc:docMk/>
            <pc:sldMk cId="853588367" sldId="2134804361"/>
            <ac:spMk id="31" creationId="{9868FAD0-B8F2-E443-C250-70CB3FDE89C1}"/>
          </ac:spMkLst>
        </pc:spChg>
        <pc:spChg chg="add del">
          <ac:chgData name="Wenwen Zhang" userId="9dd81366-5d6f-445a-b031-6ea562624431" providerId="ADAL" clId="{83AF0EAE-1449-4C87-B14F-64EAAA6BDADC}" dt="2023-03-06T12:24:15.790" v="250"/>
          <ac:spMkLst>
            <pc:docMk/>
            <pc:sldMk cId="853588367" sldId="2134804361"/>
            <ac:spMk id="32" creationId="{8FEB97FD-6E7E-7B96-376B-FAB55B1B1F8F}"/>
          </ac:spMkLst>
        </pc:spChg>
        <pc:spChg chg="add del">
          <ac:chgData name="Wenwen Zhang" userId="9dd81366-5d6f-445a-b031-6ea562624431" providerId="ADAL" clId="{83AF0EAE-1449-4C87-B14F-64EAAA6BDADC}" dt="2023-03-06T12:24:15.789" v="246"/>
          <ac:spMkLst>
            <pc:docMk/>
            <pc:sldMk cId="853588367" sldId="2134804361"/>
            <ac:spMk id="33" creationId="{9EBDCB96-5BD5-A57F-2034-98D1F0C95EAE}"/>
          </ac:spMkLst>
        </pc:spChg>
        <pc:spChg chg="add del">
          <ac:chgData name="Wenwen Zhang" userId="9dd81366-5d6f-445a-b031-6ea562624431" providerId="ADAL" clId="{83AF0EAE-1449-4C87-B14F-64EAAA6BDADC}" dt="2023-03-06T12:24:15.789" v="249"/>
          <ac:spMkLst>
            <pc:docMk/>
            <pc:sldMk cId="853588367" sldId="2134804361"/>
            <ac:spMk id="34" creationId="{B87F1555-C46A-D821-2BE6-DE6AEF246171}"/>
          </ac:spMkLst>
        </pc:spChg>
        <pc:spChg chg="add del">
          <ac:chgData name="Wenwen Zhang" userId="9dd81366-5d6f-445a-b031-6ea562624431" providerId="ADAL" clId="{83AF0EAE-1449-4C87-B14F-64EAAA6BDADC}" dt="2023-03-06T12:24:15.789" v="248"/>
          <ac:spMkLst>
            <pc:docMk/>
            <pc:sldMk cId="853588367" sldId="2134804361"/>
            <ac:spMk id="35" creationId="{69DD3290-EEBF-C51D-DFF8-EDB59B191428}"/>
          </ac:spMkLst>
        </pc:spChg>
        <pc:spChg chg="add del">
          <ac:chgData name="Wenwen Zhang" userId="9dd81366-5d6f-445a-b031-6ea562624431" providerId="ADAL" clId="{83AF0EAE-1449-4C87-B14F-64EAAA6BDADC}" dt="2023-03-06T12:24:15.789" v="247"/>
          <ac:spMkLst>
            <pc:docMk/>
            <pc:sldMk cId="853588367" sldId="2134804361"/>
            <ac:spMk id="36" creationId="{3BB2B606-69AB-62A0-C612-34A4AA1254EB}"/>
          </ac:spMkLst>
        </pc:spChg>
        <pc:spChg chg="add del">
          <ac:chgData name="Wenwen Zhang" userId="9dd81366-5d6f-445a-b031-6ea562624431" providerId="ADAL" clId="{83AF0EAE-1449-4C87-B14F-64EAAA6BDADC}" dt="2023-03-06T12:24:15.788" v="245"/>
          <ac:spMkLst>
            <pc:docMk/>
            <pc:sldMk cId="853588367" sldId="2134804361"/>
            <ac:spMk id="37" creationId="{AC6FED6D-C2DF-17D8-7318-ADAD1B98B704}"/>
          </ac:spMkLst>
        </pc:spChg>
        <pc:spChg chg="add del">
          <ac:chgData name="Wenwen Zhang" userId="9dd81366-5d6f-445a-b031-6ea562624431" providerId="ADAL" clId="{83AF0EAE-1449-4C87-B14F-64EAAA6BDADC}" dt="2023-03-06T12:24:15.788" v="244"/>
          <ac:spMkLst>
            <pc:docMk/>
            <pc:sldMk cId="853588367" sldId="2134804361"/>
            <ac:spMk id="38" creationId="{B69A8E11-E0A8-6335-99C6-97086BD4E80F}"/>
          </ac:spMkLst>
        </pc:spChg>
        <pc:spChg chg="add del">
          <ac:chgData name="Wenwen Zhang" userId="9dd81366-5d6f-445a-b031-6ea562624431" providerId="ADAL" clId="{83AF0EAE-1449-4C87-B14F-64EAAA6BDADC}" dt="2023-03-06T12:24:15.788" v="243"/>
          <ac:spMkLst>
            <pc:docMk/>
            <pc:sldMk cId="853588367" sldId="2134804361"/>
            <ac:spMk id="39" creationId="{B3D0FA62-B746-9A3C-340D-33F07301D01D}"/>
          </ac:spMkLst>
        </pc:spChg>
        <pc:spChg chg="add del">
          <ac:chgData name="Wenwen Zhang" userId="9dd81366-5d6f-445a-b031-6ea562624431" providerId="ADAL" clId="{83AF0EAE-1449-4C87-B14F-64EAAA6BDADC}" dt="2023-03-06T12:24:15.787" v="240"/>
          <ac:spMkLst>
            <pc:docMk/>
            <pc:sldMk cId="853588367" sldId="2134804361"/>
            <ac:spMk id="40" creationId="{769C75A2-E94D-BF50-1DEC-33B46545A3D3}"/>
          </ac:spMkLst>
        </pc:spChg>
        <pc:spChg chg="add del">
          <ac:chgData name="Wenwen Zhang" userId="9dd81366-5d6f-445a-b031-6ea562624431" providerId="ADAL" clId="{83AF0EAE-1449-4C87-B14F-64EAAA6BDADC}" dt="2023-03-06T12:24:15.790" v="252"/>
          <ac:spMkLst>
            <pc:docMk/>
            <pc:sldMk cId="853588367" sldId="2134804361"/>
            <ac:spMk id="41" creationId="{E19D14A1-BE43-D4FD-95B0-853AE9BFBE95}"/>
          </ac:spMkLst>
        </pc:spChg>
        <pc:spChg chg="add del">
          <ac:chgData name="Wenwen Zhang" userId="9dd81366-5d6f-445a-b031-6ea562624431" providerId="ADAL" clId="{83AF0EAE-1449-4C87-B14F-64EAAA6BDADC}" dt="2023-03-06T12:24:15.788" v="242"/>
          <ac:spMkLst>
            <pc:docMk/>
            <pc:sldMk cId="853588367" sldId="2134804361"/>
            <ac:spMk id="42" creationId="{3B915FA7-4008-034D-CBC8-ACD766542AD7}"/>
          </ac:spMkLst>
        </pc:spChg>
        <pc:spChg chg="mod ord">
          <ac:chgData name="Wenwen Zhang" userId="9dd81366-5d6f-445a-b031-6ea562624431" providerId="ADAL" clId="{83AF0EAE-1449-4C87-B14F-64EAAA6BDADC}" dt="2023-03-06T12:24:37.547" v="3965"/>
          <ac:spMkLst>
            <pc:docMk/>
            <pc:sldMk cId="853588367" sldId="2134804361"/>
            <ac:spMk id="43" creationId="{C58C7321-3BF7-61DC-5B1A-AD075E56AE05}"/>
          </ac:spMkLst>
        </pc:spChg>
        <pc:spChg chg="add del">
          <ac:chgData name="Wenwen Zhang" userId="9dd81366-5d6f-445a-b031-6ea562624431" providerId="ADAL" clId="{83AF0EAE-1449-4C87-B14F-64EAAA6BDADC}" dt="2023-03-06T12:24:15.787" v="239"/>
          <ac:spMkLst>
            <pc:docMk/>
            <pc:sldMk cId="853588367" sldId="2134804361"/>
            <ac:spMk id="44" creationId="{EDB8905F-73E0-2EA7-E716-975A4BA8B0EE}"/>
          </ac:spMkLst>
        </pc:spChg>
        <pc:spChg chg="add mod replST">
          <ac:chgData name="Wenwen Zhang" userId="9dd81366-5d6f-445a-b031-6ea562624431" providerId="ADAL" clId="{83AF0EAE-1449-4C87-B14F-64EAAA6BDADC}" dt="2023-03-06T12:24:37.550" v="3984"/>
          <ac:spMkLst>
            <pc:docMk/>
            <pc:sldMk cId="853588367" sldId="2134804361"/>
            <ac:spMk id="45" creationId="{CA9DAAFD-1532-4368-B36B-C850D092A571}"/>
          </ac:spMkLst>
        </pc:spChg>
        <pc:spChg chg="add del">
          <ac:chgData name="Wenwen Zhang" userId="9dd81366-5d6f-445a-b031-6ea562624431" providerId="ADAL" clId="{83AF0EAE-1449-4C87-B14F-64EAAA6BDADC}" dt="2023-03-06T12:24:15.779" v="217"/>
          <ac:spMkLst>
            <pc:docMk/>
            <pc:sldMk cId="853588367" sldId="2134804361"/>
            <ac:spMk id="46" creationId="{E2EE8D59-14AB-6168-980E-461BF5D90CA1}"/>
          </ac:spMkLst>
        </pc:spChg>
        <pc:spChg chg="add del">
          <ac:chgData name="Wenwen Zhang" userId="9dd81366-5d6f-445a-b031-6ea562624431" providerId="ADAL" clId="{83AF0EAE-1449-4C87-B14F-64EAAA6BDADC}" dt="2023-03-06T12:24:15.778" v="214"/>
          <ac:spMkLst>
            <pc:docMk/>
            <pc:sldMk cId="853588367" sldId="2134804361"/>
            <ac:spMk id="47" creationId="{A56801FC-52D5-FD82-E79A-FF6C2D8D21F8}"/>
          </ac:spMkLst>
        </pc:spChg>
        <pc:spChg chg="add del">
          <ac:chgData name="Wenwen Zhang" userId="9dd81366-5d6f-445a-b031-6ea562624431" providerId="ADAL" clId="{83AF0EAE-1449-4C87-B14F-64EAAA6BDADC}" dt="2023-03-06T12:24:15.779" v="216"/>
          <ac:spMkLst>
            <pc:docMk/>
            <pc:sldMk cId="853588367" sldId="2134804361"/>
            <ac:spMk id="48" creationId="{82E2B5F8-8800-20FE-A098-4A4341C77113}"/>
          </ac:spMkLst>
        </pc:spChg>
        <pc:spChg chg="add del">
          <ac:chgData name="Wenwen Zhang" userId="9dd81366-5d6f-445a-b031-6ea562624431" providerId="ADAL" clId="{83AF0EAE-1449-4C87-B14F-64EAAA6BDADC}" dt="2023-03-06T12:24:15.777" v="211"/>
          <ac:spMkLst>
            <pc:docMk/>
            <pc:sldMk cId="853588367" sldId="2134804361"/>
            <ac:spMk id="49" creationId="{1E2BD2A2-F9FF-580F-EA64-DB601A18DF1D}"/>
          </ac:spMkLst>
        </pc:spChg>
        <pc:spChg chg="add del">
          <ac:chgData name="Wenwen Zhang" userId="9dd81366-5d6f-445a-b031-6ea562624431" providerId="ADAL" clId="{83AF0EAE-1449-4C87-B14F-64EAAA6BDADC}" dt="2023-03-06T12:24:15.778" v="215"/>
          <ac:spMkLst>
            <pc:docMk/>
            <pc:sldMk cId="853588367" sldId="2134804361"/>
            <ac:spMk id="50" creationId="{39ED134F-C219-DFBA-7FB2-F05ABE290C6A}"/>
          </ac:spMkLst>
        </pc:spChg>
        <pc:spChg chg="add del">
          <ac:chgData name="Wenwen Zhang" userId="9dd81366-5d6f-445a-b031-6ea562624431" providerId="ADAL" clId="{83AF0EAE-1449-4C87-B14F-64EAAA6BDADC}" dt="2023-03-06T12:24:15.778" v="213"/>
          <ac:spMkLst>
            <pc:docMk/>
            <pc:sldMk cId="853588367" sldId="2134804361"/>
            <ac:spMk id="51" creationId="{A74A81A4-AA17-9EC0-FC7F-42E6DCD344A0}"/>
          </ac:spMkLst>
        </pc:spChg>
        <pc:spChg chg="add del">
          <ac:chgData name="Wenwen Zhang" userId="9dd81366-5d6f-445a-b031-6ea562624431" providerId="ADAL" clId="{83AF0EAE-1449-4C87-B14F-64EAAA6BDADC}" dt="2023-03-06T12:24:15.778" v="212"/>
          <ac:spMkLst>
            <pc:docMk/>
            <pc:sldMk cId="853588367" sldId="2134804361"/>
            <ac:spMk id="52" creationId="{2CE6E10C-0277-326E-DFBD-BA21483B32F3}"/>
          </ac:spMkLst>
        </pc:spChg>
        <pc:spChg chg="add del">
          <ac:chgData name="Wenwen Zhang" userId="9dd81366-5d6f-445a-b031-6ea562624431" providerId="ADAL" clId="{83AF0EAE-1449-4C87-B14F-64EAAA6BDADC}" dt="2023-03-06T12:24:15.777" v="210"/>
          <ac:spMkLst>
            <pc:docMk/>
            <pc:sldMk cId="853588367" sldId="2134804361"/>
            <ac:spMk id="53" creationId="{63158D60-5E8C-70DA-BF7C-FF6EF9580536}"/>
          </ac:spMkLst>
        </pc:spChg>
        <pc:spChg chg="add del">
          <ac:chgData name="Wenwen Zhang" userId="9dd81366-5d6f-445a-b031-6ea562624431" providerId="ADAL" clId="{83AF0EAE-1449-4C87-B14F-64EAAA6BDADC}" dt="2023-03-06T12:24:15.777" v="209"/>
          <ac:spMkLst>
            <pc:docMk/>
            <pc:sldMk cId="853588367" sldId="2134804361"/>
            <ac:spMk id="54" creationId="{B42DF3A8-B17B-BA3C-C721-D5C2DB297F9B}"/>
          </ac:spMkLst>
        </pc:spChg>
        <pc:spChg chg="add del">
          <ac:chgData name="Wenwen Zhang" userId="9dd81366-5d6f-445a-b031-6ea562624431" providerId="ADAL" clId="{83AF0EAE-1449-4C87-B14F-64EAAA6BDADC}" dt="2023-03-06T12:24:15.777" v="208"/>
          <ac:spMkLst>
            <pc:docMk/>
            <pc:sldMk cId="853588367" sldId="2134804361"/>
            <ac:spMk id="55" creationId="{311AA0AC-1DDB-DA34-B33F-F0C59DBF80BF}"/>
          </ac:spMkLst>
        </pc:spChg>
        <pc:spChg chg="add del">
          <ac:chgData name="Wenwen Zhang" userId="9dd81366-5d6f-445a-b031-6ea562624431" providerId="ADAL" clId="{83AF0EAE-1449-4C87-B14F-64EAAA6BDADC}" dt="2023-03-06T12:24:15.776" v="207"/>
          <ac:spMkLst>
            <pc:docMk/>
            <pc:sldMk cId="853588367" sldId="2134804361"/>
            <ac:spMk id="56" creationId="{BD223F99-13C0-CED5-F96A-2FEF4EED44FF}"/>
          </ac:spMkLst>
        </pc:spChg>
        <pc:spChg chg="add del">
          <ac:chgData name="Wenwen Zhang" userId="9dd81366-5d6f-445a-b031-6ea562624431" providerId="ADAL" clId="{83AF0EAE-1449-4C87-B14F-64EAAA6BDADC}" dt="2023-03-06T12:24:15.776" v="206"/>
          <ac:spMkLst>
            <pc:docMk/>
            <pc:sldMk cId="853588367" sldId="2134804361"/>
            <ac:spMk id="57" creationId="{C121003B-0169-F5C0-5E4C-C00DD42C4C23}"/>
          </ac:spMkLst>
        </pc:spChg>
        <pc:spChg chg="add del">
          <ac:chgData name="Wenwen Zhang" userId="9dd81366-5d6f-445a-b031-6ea562624431" providerId="ADAL" clId="{83AF0EAE-1449-4C87-B14F-64EAAA6BDADC}" dt="2023-03-06T12:24:15.776" v="205"/>
          <ac:spMkLst>
            <pc:docMk/>
            <pc:sldMk cId="853588367" sldId="2134804361"/>
            <ac:spMk id="58" creationId="{2669642C-B27B-33D8-C064-7525934725F6}"/>
          </ac:spMkLst>
        </pc:spChg>
        <pc:spChg chg="add mod replST">
          <ac:chgData name="Wenwen Zhang" userId="9dd81366-5d6f-445a-b031-6ea562624431" providerId="ADAL" clId="{83AF0EAE-1449-4C87-B14F-64EAAA6BDADC}" dt="2023-03-06T12:24:37.549" v="3982"/>
          <ac:spMkLst>
            <pc:docMk/>
            <pc:sldMk cId="853588367" sldId="2134804361"/>
            <ac:spMk id="59" creationId="{DEF64E64-35CA-89D7-FDBA-1BFB782B86A6}"/>
          </ac:spMkLst>
        </pc:spChg>
        <pc:spChg chg="add del">
          <ac:chgData name="Wenwen Zhang" userId="9dd81366-5d6f-445a-b031-6ea562624431" providerId="ADAL" clId="{83AF0EAE-1449-4C87-B14F-64EAAA6BDADC}" dt="2023-03-06T12:24:15.784" v="230"/>
          <ac:spMkLst>
            <pc:docMk/>
            <pc:sldMk cId="853588367" sldId="2134804361"/>
            <ac:spMk id="60" creationId="{C17F1F52-E2B2-3B14-A615-F82D4475EB11}"/>
          </ac:spMkLst>
        </pc:spChg>
        <pc:spChg chg="add del">
          <ac:chgData name="Wenwen Zhang" userId="9dd81366-5d6f-445a-b031-6ea562624431" providerId="ADAL" clId="{83AF0EAE-1449-4C87-B14F-64EAAA6BDADC}" dt="2023-03-06T12:24:15.784" v="232"/>
          <ac:spMkLst>
            <pc:docMk/>
            <pc:sldMk cId="853588367" sldId="2134804361"/>
            <ac:spMk id="61" creationId="{16D777DE-43BB-E2E8-6385-F670C8514427}"/>
          </ac:spMkLst>
        </pc:spChg>
        <pc:spChg chg="add del">
          <ac:chgData name="Wenwen Zhang" userId="9dd81366-5d6f-445a-b031-6ea562624431" providerId="ADAL" clId="{83AF0EAE-1449-4C87-B14F-64EAAA6BDADC}" dt="2023-03-06T12:24:15.783" v="228"/>
          <ac:spMkLst>
            <pc:docMk/>
            <pc:sldMk cId="853588367" sldId="2134804361"/>
            <ac:spMk id="62" creationId="{6D6D65D4-3CD7-22B9-C292-E027F47AD9D2}"/>
          </ac:spMkLst>
        </pc:spChg>
        <pc:spChg chg="add del">
          <ac:chgData name="Wenwen Zhang" userId="9dd81366-5d6f-445a-b031-6ea562624431" providerId="ADAL" clId="{83AF0EAE-1449-4C87-B14F-64EAAA6BDADC}" dt="2023-03-06T12:24:15.784" v="231"/>
          <ac:spMkLst>
            <pc:docMk/>
            <pc:sldMk cId="853588367" sldId="2134804361"/>
            <ac:spMk id="63" creationId="{5DE968DE-144B-4107-C003-446ACE20576B}"/>
          </ac:spMkLst>
        </pc:spChg>
        <pc:spChg chg="add del">
          <ac:chgData name="Wenwen Zhang" userId="9dd81366-5d6f-445a-b031-6ea562624431" providerId="ADAL" clId="{83AF0EAE-1449-4C87-B14F-64EAAA6BDADC}" dt="2023-03-06T12:24:15.782" v="225"/>
          <ac:spMkLst>
            <pc:docMk/>
            <pc:sldMk cId="853588367" sldId="2134804361"/>
            <ac:spMk id="64" creationId="{27CFDB97-300E-FEE7-F71E-CD5CC4B99346}"/>
          </ac:spMkLst>
        </pc:spChg>
        <pc:spChg chg="add del">
          <ac:chgData name="Wenwen Zhang" userId="9dd81366-5d6f-445a-b031-6ea562624431" providerId="ADAL" clId="{83AF0EAE-1449-4C87-B14F-64EAAA6BDADC}" dt="2023-03-06T12:24:15.783" v="229"/>
          <ac:spMkLst>
            <pc:docMk/>
            <pc:sldMk cId="853588367" sldId="2134804361"/>
            <ac:spMk id="65" creationId="{3A75F3AE-E3AD-7D85-5695-252797AF2D68}"/>
          </ac:spMkLst>
        </pc:spChg>
        <pc:spChg chg="add del">
          <ac:chgData name="Wenwen Zhang" userId="9dd81366-5d6f-445a-b031-6ea562624431" providerId="ADAL" clId="{83AF0EAE-1449-4C87-B14F-64EAAA6BDADC}" dt="2023-03-06T12:24:15.783" v="226"/>
          <ac:spMkLst>
            <pc:docMk/>
            <pc:sldMk cId="853588367" sldId="2134804361"/>
            <ac:spMk id="66" creationId="{BC8BA645-27FB-55D9-725B-197AED4D14EE}"/>
          </ac:spMkLst>
        </pc:spChg>
        <pc:spChg chg="add del">
          <ac:chgData name="Wenwen Zhang" userId="9dd81366-5d6f-445a-b031-6ea562624431" providerId="ADAL" clId="{83AF0EAE-1449-4C87-B14F-64EAAA6BDADC}" dt="2023-03-06T12:24:15.783" v="227"/>
          <ac:spMkLst>
            <pc:docMk/>
            <pc:sldMk cId="853588367" sldId="2134804361"/>
            <ac:spMk id="67" creationId="{3BFE40D0-8C48-04E6-55EE-967C15D602FE}"/>
          </ac:spMkLst>
        </pc:spChg>
        <pc:spChg chg="add del">
          <ac:chgData name="Wenwen Zhang" userId="9dd81366-5d6f-445a-b031-6ea562624431" providerId="ADAL" clId="{83AF0EAE-1449-4C87-B14F-64EAAA6BDADC}" dt="2023-03-06T12:24:15.782" v="224"/>
          <ac:spMkLst>
            <pc:docMk/>
            <pc:sldMk cId="853588367" sldId="2134804361"/>
            <ac:spMk id="68" creationId="{9DA597FC-D7C9-D230-994F-8101E73C3E9E}"/>
          </ac:spMkLst>
        </pc:spChg>
        <pc:spChg chg="add del">
          <ac:chgData name="Wenwen Zhang" userId="9dd81366-5d6f-445a-b031-6ea562624431" providerId="ADAL" clId="{83AF0EAE-1449-4C87-B14F-64EAAA6BDADC}" dt="2023-03-06T12:24:15.782" v="223"/>
          <ac:spMkLst>
            <pc:docMk/>
            <pc:sldMk cId="853588367" sldId="2134804361"/>
            <ac:spMk id="69" creationId="{088D4523-2BBB-DBB8-5F8E-7A5C30DD24B2}"/>
          </ac:spMkLst>
        </pc:spChg>
        <pc:spChg chg="add del">
          <ac:chgData name="Wenwen Zhang" userId="9dd81366-5d6f-445a-b031-6ea562624431" providerId="ADAL" clId="{83AF0EAE-1449-4C87-B14F-64EAAA6BDADC}" dt="2023-03-06T12:24:15.781" v="222"/>
          <ac:spMkLst>
            <pc:docMk/>
            <pc:sldMk cId="853588367" sldId="2134804361"/>
            <ac:spMk id="70" creationId="{012FD37D-A2F9-8BEC-6799-B3B7F2AB47E2}"/>
          </ac:spMkLst>
        </pc:spChg>
        <pc:spChg chg="add del">
          <ac:chgData name="Wenwen Zhang" userId="9dd81366-5d6f-445a-b031-6ea562624431" providerId="ADAL" clId="{83AF0EAE-1449-4C87-B14F-64EAAA6BDADC}" dt="2023-03-06T12:24:15.781" v="221"/>
          <ac:spMkLst>
            <pc:docMk/>
            <pc:sldMk cId="853588367" sldId="2134804361"/>
            <ac:spMk id="71" creationId="{7821D557-C5CE-6470-944C-DB0ECDA83824}"/>
          </ac:spMkLst>
        </pc:spChg>
        <pc:spChg chg="add del">
          <ac:chgData name="Wenwen Zhang" userId="9dd81366-5d6f-445a-b031-6ea562624431" providerId="ADAL" clId="{83AF0EAE-1449-4C87-B14F-64EAAA6BDADC}" dt="2023-03-06T12:24:15.781" v="220"/>
          <ac:spMkLst>
            <pc:docMk/>
            <pc:sldMk cId="853588367" sldId="2134804361"/>
            <ac:spMk id="72" creationId="{9810C514-FEC7-DADF-69A6-8995AA438520}"/>
          </ac:spMkLst>
        </pc:spChg>
        <pc:spChg chg="add mod replST">
          <ac:chgData name="Wenwen Zhang" userId="9dd81366-5d6f-445a-b031-6ea562624431" providerId="ADAL" clId="{83AF0EAE-1449-4C87-B14F-64EAAA6BDADC}" dt="2023-03-06T12:24:37.550" v="3986"/>
          <ac:spMkLst>
            <pc:docMk/>
            <pc:sldMk cId="853588367" sldId="2134804361"/>
            <ac:spMk id="73" creationId="{FBA14C05-CF58-EE8E-8C7C-25B023F676DA}"/>
          </ac:spMkLst>
        </pc:spChg>
        <pc:spChg chg="add mod replST">
          <ac:chgData name="Wenwen Zhang" userId="9dd81366-5d6f-445a-b031-6ea562624431" providerId="ADAL" clId="{83AF0EAE-1449-4C87-B14F-64EAAA6BDADC}" dt="2023-03-06T12:24:37.550" v="3985"/>
          <ac:spMkLst>
            <pc:docMk/>
            <pc:sldMk cId="853588367" sldId="2134804361"/>
            <ac:spMk id="74" creationId="{F927E85C-D589-AA7B-80C1-6923B4B5E797}"/>
          </ac:spMkLst>
        </pc:spChg>
        <pc:spChg chg="add mod replST">
          <ac:chgData name="Wenwen Zhang" userId="9dd81366-5d6f-445a-b031-6ea562624431" providerId="ADAL" clId="{83AF0EAE-1449-4C87-B14F-64EAAA6BDADC}" dt="2023-03-06T12:24:37.549" v="3981"/>
          <ac:spMkLst>
            <pc:docMk/>
            <pc:sldMk cId="853588367" sldId="2134804361"/>
            <ac:spMk id="75" creationId="{02A929F9-8052-D739-7C3B-DD45D9EE0A7C}"/>
          </ac:spMkLst>
        </pc:spChg>
        <pc:spChg chg="add mod replST">
          <ac:chgData name="Wenwen Zhang" userId="9dd81366-5d6f-445a-b031-6ea562624431" providerId="ADAL" clId="{83AF0EAE-1449-4C87-B14F-64EAAA6BDADC}" dt="2023-03-06T12:24:37.549" v="3978"/>
          <ac:spMkLst>
            <pc:docMk/>
            <pc:sldMk cId="853588367" sldId="2134804361"/>
            <ac:spMk id="76" creationId="{966D30F6-4DAE-4735-5E51-0E4C455ECD21}"/>
          </ac:spMkLst>
        </pc:spChg>
        <pc:spChg chg="add mod replST">
          <ac:chgData name="Wenwen Zhang" userId="9dd81366-5d6f-445a-b031-6ea562624431" providerId="ADAL" clId="{83AF0EAE-1449-4C87-B14F-64EAAA6BDADC}" dt="2023-03-06T12:24:37.550" v="3987"/>
          <ac:spMkLst>
            <pc:docMk/>
            <pc:sldMk cId="853588367" sldId="2134804361"/>
            <ac:spMk id="77" creationId="{634D8D43-3553-C87F-D079-30AE83C9CAD5}"/>
          </ac:spMkLst>
        </pc:spChg>
        <pc:spChg chg="add mod replST">
          <ac:chgData name="Wenwen Zhang" userId="9dd81366-5d6f-445a-b031-6ea562624431" providerId="ADAL" clId="{83AF0EAE-1449-4C87-B14F-64EAAA6BDADC}" dt="2023-03-06T12:24:37.551" v="3988"/>
          <ac:spMkLst>
            <pc:docMk/>
            <pc:sldMk cId="853588367" sldId="2134804361"/>
            <ac:spMk id="78" creationId="{CA32EC49-408A-F1CA-BD62-5EB010B21DA0}"/>
          </ac:spMkLst>
        </pc:spChg>
        <pc:spChg chg="add mod replST">
          <ac:chgData name="Wenwen Zhang" userId="9dd81366-5d6f-445a-b031-6ea562624431" providerId="ADAL" clId="{83AF0EAE-1449-4C87-B14F-64EAAA6BDADC}" dt="2023-03-06T12:24:37.549" v="3980"/>
          <ac:spMkLst>
            <pc:docMk/>
            <pc:sldMk cId="853588367" sldId="2134804361"/>
            <ac:spMk id="79" creationId="{E5A2FA00-0BDE-5B33-8D01-787A45627423}"/>
          </ac:spMkLst>
        </pc:spChg>
        <pc:spChg chg="add mod replST">
          <ac:chgData name="Wenwen Zhang" userId="9dd81366-5d6f-445a-b031-6ea562624431" providerId="ADAL" clId="{83AF0EAE-1449-4C87-B14F-64EAAA6BDADC}" dt="2023-03-06T12:24:37.551" v="3989"/>
          <ac:spMkLst>
            <pc:docMk/>
            <pc:sldMk cId="853588367" sldId="2134804361"/>
            <ac:spMk id="80" creationId="{45AB416A-84E1-1067-F88D-FD328B7FCEA7}"/>
          </ac:spMkLst>
        </pc:spChg>
        <pc:spChg chg="add mod replST">
          <ac:chgData name="Wenwen Zhang" userId="9dd81366-5d6f-445a-b031-6ea562624431" providerId="ADAL" clId="{83AF0EAE-1449-4C87-B14F-64EAAA6BDADC}" dt="2023-03-06T12:24:37.551" v="3990"/>
          <ac:spMkLst>
            <pc:docMk/>
            <pc:sldMk cId="853588367" sldId="2134804361"/>
            <ac:spMk id="81" creationId="{146D83E3-39A2-5CB8-E587-C9DB384BFF02}"/>
          </ac:spMkLst>
        </pc:spChg>
        <pc:spChg chg="add mod replST">
          <ac:chgData name="Wenwen Zhang" userId="9dd81366-5d6f-445a-b031-6ea562624431" providerId="ADAL" clId="{83AF0EAE-1449-4C87-B14F-64EAAA6BDADC}" dt="2023-03-06T12:24:37.549" v="3979"/>
          <ac:spMkLst>
            <pc:docMk/>
            <pc:sldMk cId="853588367" sldId="2134804361"/>
            <ac:spMk id="82" creationId="{5EBD7E86-56E4-7ACE-DCAA-D216BEF8D36E}"/>
          </ac:spMkLst>
        </pc:spChg>
        <pc:spChg chg="add mod ord replST">
          <ac:chgData name="Wenwen Zhang" userId="9dd81366-5d6f-445a-b031-6ea562624431" providerId="ADAL" clId="{83AF0EAE-1449-4C87-B14F-64EAAA6BDADC}" dt="2023-03-06T12:24:37.551" v="3992"/>
          <ac:spMkLst>
            <pc:docMk/>
            <pc:sldMk cId="853588367" sldId="2134804361"/>
            <ac:spMk id="84" creationId="{A40CD0C9-1083-8076-72DB-B8B78BCA6699}"/>
          </ac:spMkLst>
        </pc:spChg>
        <pc:spChg chg="add mod replST">
          <ac:chgData name="Wenwen Zhang" userId="9dd81366-5d6f-445a-b031-6ea562624431" providerId="ADAL" clId="{83AF0EAE-1449-4C87-B14F-64EAAA6BDADC}" dt="2023-03-06T12:24:37.552" v="3995"/>
          <ac:spMkLst>
            <pc:docMk/>
            <pc:sldMk cId="853588367" sldId="2134804361"/>
            <ac:spMk id="85" creationId="{00AA7782-C3CF-BA1F-4E07-CEFB79BF8820}"/>
          </ac:spMkLst>
        </pc:spChg>
        <pc:spChg chg="add mod replST">
          <ac:chgData name="Wenwen Zhang" userId="9dd81366-5d6f-445a-b031-6ea562624431" providerId="ADAL" clId="{83AF0EAE-1449-4C87-B14F-64EAAA6BDADC}" dt="2023-03-06T12:24:37.552" v="3996"/>
          <ac:spMkLst>
            <pc:docMk/>
            <pc:sldMk cId="853588367" sldId="2134804361"/>
            <ac:spMk id="86" creationId="{26C912AA-A576-25B2-4954-82BB09A9C99E}"/>
          </ac:spMkLst>
        </pc:spChg>
        <pc:spChg chg="add mod ord replST">
          <ac:chgData name="Wenwen Zhang" userId="9dd81366-5d6f-445a-b031-6ea562624431" providerId="ADAL" clId="{83AF0EAE-1449-4C87-B14F-64EAAA6BDADC}" dt="2023-03-06T12:24:37.555" v="4015"/>
          <ac:spMkLst>
            <pc:docMk/>
            <pc:sldMk cId="853588367" sldId="2134804361"/>
            <ac:spMk id="89" creationId="{0C118909-46CE-8D49-6D64-5BDB379BADFC}"/>
          </ac:spMkLst>
        </pc:spChg>
        <pc:spChg chg="add mod replST">
          <ac:chgData name="Wenwen Zhang" userId="9dd81366-5d6f-445a-b031-6ea562624431" providerId="ADAL" clId="{83AF0EAE-1449-4C87-B14F-64EAAA6BDADC}" dt="2023-03-06T12:24:37.554" v="4010"/>
          <ac:spMkLst>
            <pc:docMk/>
            <pc:sldMk cId="853588367" sldId="2134804361"/>
            <ac:spMk id="90" creationId="{B34515A2-79F8-63B5-2F72-5F22B5C996A1}"/>
          </ac:spMkLst>
        </pc:spChg>
        <pc:spChg chg="add mod replST">
          <ac:chgData name="Wenwen Zhang" userId="9dd81366-5d6f-445a-b031-6ea562624431" providerId="ADAL" clId="{83AF0EAE-1449-4C87-B14F-64EAAA6BDADC}" dt="2023-03-06T12:24:37.553" v="4004"/>
          <ac:spMkLst>
            <pc:docMk/>
            <pc:sldMk cId="853588367" sldId="2134804361"/>
            <ac:spMk id="91" creationId="{06E9F5C6-E6E4-53AE-9F31-BD9391852806}"/>
          </ac:spMkLst>
        </pc:spChg>
        <pc:spChg chg="add mod replST">
          <ac:chgData name="Wenwen Zhang" userId="9dd81366-5d6f-445a-b031-6ea562624431" providerId="ADAL" clId="{83AF0EAE-1449-4C87-B14F-64EAAA6BDADC}" dt="2023-03-06T12:24:37.554" v="4007"/>
          <ac:spMkLst>
            <pc:docMk/>
            <pc:sldMk cId="853588367" sldId="2134804361"/>
            <ac:spMk id="92" creationId="{D6554044-5FEF-CC57-BB0D-6FBBB8ABCF88}"/>
          </ac:spMkLst>
        </pc:spChg>
        <pc:spChg chg="add mod replST">
          <ac:chgData name="Wenwen Zhang" userId="9dd81366-5d6f-445a-b031-6ea562624431" providerId="ADAL" clId="{83AF0EAE-1449-4C87-B14F-64EAAA6BDADC}" dt="2023-03-06T12:24:37.554" v="4009"/>
          <ac:spMkLst>
            <pc:docMk/>
            <pc:sldMk cId="853588367" sldId="2134804361"/>
            <ac:spMk id="93" creationId="{4FBA0CE0-E617-3876-72A9-F6DA3B889CBF}"/>
          </ac:spMkLst>
        </pc:spChg>
        <pc:spChg chg="add mod replST">
          <ac:chgData name="Wenwen Zhang" userId="9dd81366-5d6f-445a-b031-6ea562624431" providerId="ADAL" clId="{83AF0EAE-1449-4C87-B14F-64EAAA6BDADC}" dt="2023-03-06T12:24:37.554" v="4008"/>
          <ac:spMkLst>
            <pc:docMk/>
            <pc:sldMk cId="853588367" sldId="2134804361"/>
            <ac:spMk id="94" creationId="{3B7707F6-09DA-A83A-E0FE-E61CA7C0E95A}"/>
          </ac:spMkLst>
        </pc:spChg>
        <pc:spChg chg="add mod replST">
          <ac:chgData name="Wenwen Zhang" userId="9dd81366-5d6f-445a-b031-6ea562624431" providerId="ADAL" clId="{83AF0EAE-1449-4C87-B14F-64EAAA6BDADC}" dt="2023-03-06T12:24:37.553" v="4003"/>
          <ac:spMkLst>
            <pc:docMk/>
            <pc:sldMk cId="853588367" sldId="2134804361"/>
            <ac:spMk id="95" creationId="{31D101F7-4A30-CD35-CCB7-969A1420B1DC}"/>
          </ac:spMkLst>
        </pc:spChg>
        <pc:spChg chg="add mod replST">
          <ac:chgData name="Wenwen Zhang" userId="9dd81366-5d6f-445a-b031-6ea562624431" providerId="ADAL" clId="{83AF0EAE-1449-4C87-B14F-64EAAA6BDADC}" dt="2023-03-06T12:24:37.555" v="4011"/>
          <ac:spMkLst>
            <pc:docMk/>
            <pc:sldMk cId="853588367" sldId="2134804361"/>
            <ac:spMk id="97" creationId="{111C3DA7-FE37-1064-AF73-778D4BAB0344}"/>
          </ac:spMkLst>
        </pc:spChg>
        <pc:spChg chg="add mod replST">
          <ac:chgData name="Wenwen Zhang" userId="9dd81366-5d6f-445a-b031-6ea562624431" providerId="ADAL" clId="{83AF0EAE-1449-4C87-B14F-64EAAA6BDADC}" dt="2023-03-06T12:24:37.555" v="4013"/>
          <ac:spMkLst>
            <pc:docMk/>
            <pc:sldMk cId="853588367" sldId="2134804361"/>
            <ac:spMk id="98" creationId="{2E4853CD-EA9E-6B42-09B4-ADA140564DA4}"/>
          </ac:spMkLst>
        </pc:spChg>
        <pc:spChg chg="add mod replST">
          <ac:chgData name="Wenwen Zhang" userId="9dd81366-5d6f-445a-b031-6ea562624431" providerId="ADAL" clId="{83AF0EAE-1449-4C87-B14F-64EAAA6BDADC}" dt="2023-03-06T12:24:37.555" v="4012"/>
          <ac:spMkLst>
            <pc:docMk/>
            <pc:sldMk cId="853588367" sldId="2134804361"/>
            <ac:spMk id="99" creationId="{ABA91273-E551-87A1-9B8D-001C54A59107}"/>
          </ac:spMkLst>
        </pc:spChg>
        <pc:spChg chg="add mod replST">
          <ac:chgData name="Wenwen Zhang" userId="9dd81366-5d6f-445a-b031-6ea562624431" providerId="ADAL" clId="{83AF0EAE-1449-4C87-B14F-64EAAA6BDADC}" dt="2023-03-06T12:24:37.553" v="4002"/>
          <ac:spMkLst>
            <pc:docMk/>
            <pc:sldMk cId="853588367" sldId="2134804361"/>
            <ac:spMk id="101" creationId="{B8AA0044-6B5B-8A35-85D1-0F3F06176511}"/>
          </ac:spMkLst>
        </pc:spChg>
        <pc:spChg chg="add mod replST">
          <ac:chgData name="Wenwen Zhang" userId="9dd81366-5d6f-445a-b031-6ea562624431" providerId="ADAL" clId="{83AF0EAE-1449-4C87-B14F-64EAAA6BDADC}" dt="2023-03-06T12:24:37.555" v="4016"/>
          <ac:spMkLst>
            <pc:docMk/>
            <pc:sldMk cId="853588367" sldId="2134804361"/>
            <ac:spMk id="102" creationId="{4F7FE770-88D2-F4CC-9B25-95C59EBA646E}"/>
          </ac:spMkLst>
        </pc:spChg>
        <pc:spChg chg="add mod replST">
          <ac:chgData name="Wenwen Zhang" userId="9dd81366-5d6f-445a-b031-6ea562624431" providerId="ADAL" clId="{83AF0EAE-1449-4C87-B14F-64EAAA6BDADC}" dt="2023-03-06T12:24:37.553" v="4001"/>
          <ac:spMkLst>
            <pc:docMk/>
            <pc:sldMk cId="853588367" sldId="2134804361"/>
            <ac:spMk id="103" creationId="{234776AF-F0FB-84FC-332C-A0F13DA659F7}"/>
          </ac:spMkLst>
        </pc:spChg>
        <pc:spChg chg="mod ord">
          <ac:chgData name="Wenwen Zhang" userId="9dd81366-5d6f-445a-b031-6ea562624431" providerId="ADAL" clId="{83AF0EAE-1449-4C87-B14F-64EAAA6BDADC}" dt="2023-03-06T12:24:37.547" v="3967"/>
          <ac:spMkLst>
            <pc:docMk/>
            <pc:sldMk cId="853588367" sldId="2134804361"/>
            <ac:spMk id="104" creationId="{FDBD28FE-864B-3639-481F-9B88362F82CC}"/>
          </ac:spMkLst>
        </pc:spChg>
        <pc:spChg chg="mod ord">
          <ac:chgData name="Wenwen Zhang" userId="9dd81366-5d6f-445a-b031-6ea562624431" providerId="ADAL" clId="{83AF0EAE-1449-4C87-B14F-64EAAA6BDADC}" dt="2023-03-06T12:24:37.547" v="3969"/>
          <ac:spMkLst>
            <pc:docMk/>
            <pc:sldMk cId="853588367" sldId="2134804361"/>
            <ac:spMk id="105" creationId="{1363392A-1BB3-B133-547E-68E043C4DA98}"/>
          </ac:spMkLst>
        </pc:spChg>
        <pc:spChg chg="mod ord">
          <ac:chgData name="Wenwen Zhang" userId="9dd81366-5d6f-445a-b031-6ea562624431" providerId="ADAL" clId="{83AF0EAE-1449-4C87-B14F-64EAAA6BDADC}" dt="2023-03-06T12:24:37.548" v="3971"/>
          <ac:spMkLst>
            <pc:docMk/>
            <pc:sldMk cId="853588367" sldId="2134804361"/>
            <ac:spMk id="106" creationId="{B6CECE3F-2DD3-9848-61CB-5D61B786F6D6}"/>
          </ac:spMkLst>
        </pc:spChg>
        <pc:spChg chg="mod ord">
          <ac:chgData name="Wenwen Zhang" userId="9dd81366-5d6f-445a-b031-6ea562624431" providerId="ADAL" clId="{83AF0EAE-1449-4C87-B14F-64EAAA6BDADC}" dt="2023-03-06T12:24:37.548" v="3973"/>
          <ac:spMkLst>
            <pc:docMk/>
            <pc:sldMk cId="853588367" sldId="2134804361"/>
            <ac:spMk id="107" creationId="{92A4A1AE-F0BD-E696-BBF1-927ADB68572C}"/>
          </ac:spMkLst>
        </pc:spChg>
        <pc:spChg chg="add mod replST">
          <ac:chgData name="Wenwen Zhang" userId="9dd81366-5d6f-445a-b031-6ea562624431" providerId="ADAL" clId="{83AF0EAE-1449-4C87-B14F-64EAAA6BDADC}" dt="2023-03-06T12:24:37.556" v="4017"/>
          <ac:spMkLst>
            <pc:docMk/>
            <pc:sldMk cId="853588367" sldId="2134804361"/>
            <ac:spMk id="109" creationId="{213BD2E4-DF57-1148-EBCD-51C320C7D40E}"/>
          </ac:spMkLst>
        </pc:spChg>
        <pc:spChg chg="add mod ord replST">
          <ac:chgData name="Wenwen Zhang" userId="9dd81366-5d6f-445a-b031-6ea562624431" providerId="ADAL" clId="{83AF0EAE-1449-4C87-B14F-64EAAA6BDADC}" dt="2023-03-06T12:24:37.556" v="4019"/>
          <ac:spMkLst>
            <pc:docMk/>
            <pc:sldMk cId="853588367" sldId="2134804361"/>
            <ac:spMk id="110" creationId="{FE2AAE91-56A7-1084-B9D1-371F64C9ABF1}"/>
          </ac:spMkLst>
        </pc:spChg>
        <pc:spChg chg="add mod ord replST">
          <ac:chgData name="Wenwen Zhang" userId="9dd81366-5d6f-445a-b031-6ea562624431" providerId="ADAL" clId="{83AF0EAE-1449-4C87-B14F-64EAAA6BDADC}" dt="2023-03-06T12:24:37.556" v="4021"/>
          <ac:spMkLst>
            <pc:docMk/>
            <pc:sldMk cId="853588367" sldId="2134804361"/>
            <ac:spMk id="111" creationId="{F736765C-5393-B5A3-0780-D10DA2A9A254}"/>
          </ac:spMkLst>
        </pc:spChg>
        <pc:spChg chg="add mod ord replST">
          <ac:chgData name="Wenwen Zhang" userId="9dd81366-5d6f-445a-b031-6ea562624431" providerId="ADAL" clId="{83AF0EAE-1449-4C87-B14F-64EAAA6BDADC}" dt="2023-03-06T12:24:37.557" v="4023"/>
          <ac:spMkLst>
            <pc:docMk/>
            <pc:sldMk cId="853588367" sldId="2134804361"/>
            <ac:spMk id="112" creationId="{C84986AB-CF1B-B193-F099-725962AC0811}"/>
          </ac:spMkLst>
        </pc:spChg>
        <pc:spChg chg="add mod ord replST">
          <ac:chgData name="Wenwen Zhang" userId="9dd81366-5d6f-445a-b031-6ea562624431" providerId="ADAL" clId="{83AF0EAE-1449-4C87-B14F-64EAAA6BDADC}" dt="2023-03-06T12:24:37.554" v="4006"/>
          <ac:spMkLst>
            <pc:docMk/>
            <pc:sldMk cId="853588367" sldId="2134804361"/>
            <ac:spMk id="113" creationId="{25F790F4-BB76-B765-7A92-73B445228F06}"/>
          </ac:spMkLst>
        </pc:spChg>
        <pc:spChg chg="add mod replST">
          <ac:chgData name="Wenwen Zhang" userId="9dd81366-5d6f-445a-b031-6ea562624431" providerId="ADAL" clId="{83AF0EAE-1449-4C87-B14F-64EAAA6BDADC}" dt="2023-03-06T12:24:37.558" v="4032"/>
          <ac:spMkLst>
            <pc:docMk/>
            <pc:sldMk cId="853588367" sldId="2134804361"/>
            <ac:spMk id="115" creationId="{7EF3638F-2218-2DBB-0B1A-26E8D1A0A39B}"/>
          </ac:spMkLst>
        </pc:spChg>
        <pc:spChg chg="add mod replST">
          <ac:chgData name="Wenwen Zhang" userId="9dd81366-5d6f-445a-b031-6ea562624431" providerId="ADAL" clId="{83AF0EAE-1449-4C87-B14F-64EAAA6BDADC}" dt="2023-03-06T12:24:37.558" v="4028"/>
          <ac:spMkLst>
            <pc:docMk/>
            <pc:sldMk cId="853588367" sldId="2134804361"/>
            <ac:spMk id="116" creationId="{2899A924-BA0B-EDA4-73DE-225A919FF68C}"/>
          </ac:spMkLst>
        </pc:spChg>
        <pc:spChg chg="add mod replST">
          <ac:chgData name="Wenwen Zhang" userId="9dd81366-5d6f-445a-b031-6ea562624431" providerId="ADAL" clId="{83AF0EAE-1449-4C87-B14F-64EAAA6BDADC}" dt="2023-03-06T12:24:37.559" v="4033"/>
          <ac:spMkLst>
            <pc:docMk/>
            <pc:sldMk cId="853588367" sldId="2134804361"/>
            <ac:spMk id="117" creationId="{6FE8E51B-1FEA-A7DF-3F63-59D4A3A4DBE5}"/>
          </ac:spMkLst>
        </pc:spChg>
        <pc:spChg chg="add mod replST">
          <ac:chgData name="Wenwen Zhang" userId="9dd81366-5d6f-445a-b031-6ea562624431" providerId="ADAL" clId="{83AF0EAE-1449-4C87-B14F-64EAAA6BDADC}" dt="2023-03-06T12:24:37.557" v="4027"/>
          <ac:spMkLst>
            <pc:docMk/>
            <pc:sldMk cId="853588367" sldId="2134804361"/>
            <ac:spMk id="119" creationId="{8C4375CB-746C-0284-D621-F82ED6E35F7A}"/>
          </ac:spMkLst>
        </pc:spChg>
        <pc:spChg chg="add mod replST">
          <ac:chgData name="Wenwen Zhang" userId="9dd81366-5d6f-445a-b031-6ea562624431" providerId="ADAL" clId="{83AF0EAE-1449-4C87-B14F-64EAAA6BDADC}" dt="2023-03-06T12:24:37.557" v="4026"/>
          <ac:spMkLst>
            <pc:docMk/>
            <pc:sldMk cId="853588367" sldId="2134804361"/>
            <ac:spMk id="120" creationId="{1B71419D-1EF3-A45F-39A1-72EC8A6282DD}"/>
          </ac:spMkLst>
        </pc:spChg>
        <pc:spChg chg="add mod replST">
          <ac:chgData name="Wenwen Zhang" userId="9dd81366-5d6f-445a-b031-6ea562624431" providerId="ADAL" clId="{83AF0EAE-1449-4C87-B14F-64EAAA6BDADC}" dt="2023-03-06T12:24:37.559" v="4034"/>
          <ac:spMkLst>
            <pc:docMk/>
            <pc:sldMk cId="853588367" sldId="2134804361"/>
            <ac:spMk id="121" creationId="{866B21D7-9F9A-2365-79F3-318D71548571}"/>
          </ac:spMkLst>
        </pc:spChg>
        <pc:spChg chg="add mod replST">
          <ac:chgData name="Wenwen Zhang" userId="9dd81366-5d6f-445a-b031-6ea562624431" providerId="ADAL" clId="{83AF0EAE-1449-4C87-B14F-64EAAA6BDADC}" dt="2023-03-06T12:24:37.558" v="4029"/>
          <ac:spMkLst>
            <pc:docMk/>
            <pc:sldMk cId="853588367" sldId="2134804361"/>
            <ac:spMk id="122" creationId="{CE73D9DD-F6A2-6A62-FEC5-EB9148A174F0}"/>
          </ac:spMkLst>
        </pc:spChg>
        <pc:spChg chg="add mod replST">
          <ac:chgData name="Wenwen Zhang" userId="9dd81366-5d6f-445a-b031-6ea562624431" providerId="ADAL" clId="{83AF0EAE-1449-4C87-B14F-64EAAA6BDADC}" dt="2023-03-06T12:24:37.558" v="4031"/>
          <ac:spMkLst>
            <pc:docMk/>
            <pc:sldMk cId="853588367" sldId="2134804361"/>
            <ac:spMk id="123" creationId="{695E2B5F-DDD0-C5C8-E460-223F0079AA2B}"/>
          </ac:spMkLst>
        </pc:spChg>
        <pc:spChg chg="add mod replST">
          <ac:chgData name="Wenwen Zhang" userId="9dd81366-5d6f-445a-b031-6ea562624431" providerId="ADAL" clId="{83AF0EAE-1449-4C87-B14F-64EAAA6BDADC}" dt="2023-03-06T12:24:37.559" v="4035"/>
          <ac:spMkLst>
            <pc:docMk/>
            <pc:sldMk cId="853588367" sldId="2134804361"/>
            <ac:spMk id="124" creationId="{761D6E30-F9CE-B87A-EC7E-EA53A892B94E}"/>
          </ac:spMkLst>
        </pc:spChg>
        <pc:spChg chg="add mod replST">
          <ac:chgData name="Wenwen Zhang" userId="9dd81366-5d6f-445a-b031-6ea562624431" providerId="ADAL" clId="{83AF0EAE-1449-4C87-B14F-64EAAA6BDADC}" dt="2023-03-06T12:24:37.559" v="4036"/>
          <ac:spMkLst>
            <pc:docMk/>
            <pc:sldMk cId="853588367" sldId="2134804361"/>
            <ac:spMk id="125" creationId="{10901F58-2737-E44A-D9A4-EF08A4DF6536}"/>
          </ac:spMkLst>
        </pc:spChg>
        <pc:spChg chg="add mod replST">
          <ac:chgData name="Wenwen Zhang" userId="9dd81366-5d6f-445a-b031-6ea562624431" providerId="ADAL" clId="{83AF0EAE-1449-4C87-B14F-64EAAA6BDADC}" dt="2023-03-06T12:24:37.558" v="4030"/>
          <ac:spMkLst>
            <pc:docMk/>
            <pc:sldMk cId="853588367" sldId="2134804361"/>
            <ac:spMk id="126" creationId="{8A803B61-E9F3-3580-FCE5-0CA54B9DDE6C}"/>
          </ac:spMkLst>
        </pc:spChg>
        <pc:spChg chg="add mod replST">
          <ac:chgData name="Wenwen Zhang" userId="9dd81366-5d6f-445a-b031-6ea562624431" providerId="ADAL" clId="{83AF0EAE-1449-4C87-B14F-64EAAA6BDADC}" dt="2023-03-06T12:24:37.559" v="4037"/>
          <ac:spMkLst>
            <pc:docMk/>
            <pc:sldMk cId="853588367" sldId="2134804361"/>
            <ac:spMk id="127" creationId="{D17399CE-A0E0-1A9C-AEB5-2EE03D8E4D25}"/>
          </ac:spMkLst>
        </pc:spChg>
        <pc:spChg chg="add mod ord replST">
          <ac:chgData name="Wenwen Zhang" userId="9dd81366-5d6f-445a-b031-6ea562624431" providerId="ADAL" clId="{83AF0EAE-1449-4C87-B14F-64EAAA6BDADC}" dt="2023-03-06T12:24:37.560" v="4039"/>
          <ac:spMkLst>
            <pc:docMk/>
            <pc:sldMk cId="853588367" sldId="2134804361"/>
            <ac:spMk id="256" creationId="{1B3A6593-39C5-D410-C8EC-48FBDEEB182B}"/>
          </ac:spMkLst>
        </pc:spChg>
        <pc:spChg chg="add mod replST">
          <ac:chgData name="Wenwen Zhang" userId="9dd81366-5d6f-445a-b031-6ea562624431" providerId="ADAL" clId="{83AF0EAE-1449-4C87-B14F-64EAAA6BDADC}" dt="2023-03-06T12:24:37.560" v="4040"/>
          <ac:spMkLst>
            <pc:docMk/>
            <pc:sldMk cId="853588367" sldId="2134804361"/>
            <ac:spMk id="257" creationId="{35C29BD7-58A4-2EC7-5213-E461FF1A2A5A}"/>
          </ac:spMkLst>
        </pc:spChg>
        <pc:spChg chg="add mod replST">
          <ac:chgData name="Wenwen Zhang" userId="9dd81366-5d6f-445a-b031-6ea562624431" providerId="ADAL" clId="{83AF0EAE-1449-4C87-B14F-64EAAA6BDADC}" dt="2023-03-06T12:24:37.562" v="4050"/>
          <ac:spMkLst>
            <pc:docMk/>
            <pc:sldMk cId="853588367" sldId="2134804361"/>
            <ac:spMk id="259" creationId="{C4991915-C297-E358-1C3A-E2EFAE3EAFEA}"/>
          </ac:spMkLst>
        </pc:spChg>
        <pc:spChg chg="add mod replST">
          <ac:chgData name="Wenwen Zhang" userId="9dd81366-5d6f-445a-b031-6ea562624431" providerId="ADAL" clId="{83AF0EAE-1449-4C87-B14F-64EAAA6BDADC}" dt="2023-03-06T12:24:37.563" v="4055"/>
          <ac:spMkLst>
            <pc:docMk/>
            <pc:sldMk cId="853588367" sldId="2134804361"/>
            <ac:spMk id="260" creationId="{CCF6DBB1-6F17-A07C-AE4D-F486FAD9B07C}"/>
          </ac:spMkLst>
        </pc:spChg>
        <pc:spChg chg="add mod replST">
          <ac:chgData name="Wenwen Zhang" userId="9dd81366-5d6f-445a-b031-6ea562624431" providerId="ADAL" clId="{83AF0EAE-1449-4C87-B14F-64EAAA6BDADC}" dt="2023-03-06T12:24:37.562" v="4051"/>
          <ac:spMkLst>
            <pc:docMk/>
            <pc:sldMk cId="853588367" sldId="2134804361"/>
            <ac:spMk id="261" creationId="{15D031E0-039E-33E6-D4D4-F9EAA9FB044D}"/>
          </ac:spMkLst>
        </pc:spChg>
        <pc:spChg chg="add mod replST">
          <ac:chgData name="Wenwen Zhang" userId="9dd81366-5d6f-445a-b031-6ea562624431" providerId="ADAL" clId="{83AF0EAE-1449-4C87-B14F-64EAAA6BDADC}" dt="2023-03-06T12:24:37.560" v="4043"/>
          <ac:spMkLst>
            <pc:docMk/>
            <pc:sldMk cId="853588367" sldId="2134804361"/>
            <ac:spMk id="262" creationId="{37E24980-1A66-EC98-408C-1DDAC535824E}"/>
          </ac:spMkLst>
        </pc:spChg>
        <pc:spChg chg="add mod replST">
          <ac:chgData name="Wenwen Zhang" userId="9dd81366-5d6f-445a-b031-6ea562624431" providerId="ADAL" clId="{83AF0EAE-1449-4C87-B14F-64EAAA6BDADC}" dt="2023-03-06T12:24:37.563" v="4054"/>
          <ac:spMkLst>
            <pc:docMk/>
            <pc:sldMk cId="853588367" sldId="2134804361"/>
            <ac:spMk id="263" creationId="{24659C9E-6860-A828-CEA9-4CD3754E61E5}"/>
          </ac:spMkLst>
        </pc:spChg>
        <pc:spChg chg="add mod replST">
          <ac:chgData name="Wenwen Zhang" userId="9dd81366-5d6f-445a-b031-6ea562624431" providerId="ADAL" clId="{83AF0EAE-1449-4C87-B14F-64EAAA6BDADC}" dt="2023-03-06T12:24:37.561" v="4047"/>
          <ac:spMkLst>
            <pc:docMk/>
            <pc:sldMk cId="853588367" sldId="2134804361"/>
            <ac:spMk id="264" creationId="{B2BC6DB9-9920-7505-F5B1-BED3C0DDC1DF}"/>
          </ac:spMkLst>
        </pc:spChg>
        <pc:spChg chg="add mod replST">
          <ac:chgData name="Wenwen Zhang" userId="9dd81366-5d6f-445a-b031-6ea562624431" providerId="ADAL" clId="{83AF0EAE-1449-4C87-B14F-64EAAA6BDADC}" dt="2023-03-06T12:24:37.561" v="4045"/>
          <ac:spMkLst>
            <pc:docMk/>
            <pc:sldMk cId="853588367" sldId="2134804361"/>
            <ac:spMk id="265" creationId="{E7725012-A2B0-0ECE-343C-F3D5FEFE87DB}"/>
          </ac:spMkLst>
        </pc:spChg>
        <pc:spChg chg="add mod replST">
          <ac:chgData name="Wenwen Zhang" userId="9dd81366-5d6f-445a-b031-6ea562624431" providerId="ADAL" clId="{83AF0EAE-1449-4C87-B14F-64EAAA6BDADC}" dt="2023-03-06T12:24:37.560" v="4044"/>
          <ac:spMkLst>
            <pc:docMk/>
            <pc:sldMk cId="853588367" sldId="2134804361"/>
            <ac:spMk id="266" creationId="{A6DED785-E1FB-95FA-6C4F-E94A6915FD6A}"/>
          </ac:spMkLst>
        </pc:spChg>
        <pc:spChg chg="add mod replST">
          <ac:chgData name="Wenwen Zhang" userId="9dd81366-5d6f-445a-b031-6ea562624431" providerId="ADAL" clId="{83AF0EAE-1449-4C87-B14F-64EAAA6BDADC}" dt="2023-03-06T12:24:37.561" v="4046"/>
          <ac:spMkLst>
            <pc:docMk/>
            <pc:sldMk cId="853588367" sldId="2134804361"/>
            <ac:spMk id="267" creationId="{CE1FD5F9-412D-125B-6412-A830E267DB63}"/>
          </ac:spMkLst>
        </pc:spChg>
        <pc:spChg chg="add mod replST">
          <ac:chgData name="Wenwen Zhang" userId="9dd81366-5d6f-445a-b031-6ea562624431" providerId="ADAL" clId="{83AF0EAE-1449-4C87-B14F-64EAAA6BDADC}" dt="2023-03-06T12:24:37.562" v="4049"/>
          <ac:spMkLst>
            <pc:docMk/>
            <pc:sldMk cId="853588367" sldId="2134804361"/>
            <ac:spMk id="268" creationId="{85812E32-A971-8F76-441C-B8022F7EA178}"/>
          </ac:spMkLst>
        </pc:spChg>
        <pc:spChg chg="add mod replST">
          <ac:chgData name="Wenwen Zhang" userId="9dd81366-5d6f-445a-b031-6ea562624431" providerId="ADAL" clId="{83AF0EAE-1449-4C87-B14F-64EAAA6BDADC}" dt="2023-03-06T12:24:37.562" v="4052"/>
          <ac:spMkLst>
            <pc:docMk/>
            <pc:sldMk cId="853588367" sldId="2134804361"/>
            <ac:spMk id="269" creationId="{FDD110C4-9419-53CD-053C-169E7CD3477C}"/>
          </ac:spMkLst>
        </pc:spChg>
        <pc:spChg chg="add mod replST">
          <ac:chgData name="Wenwen Zhang" userId="9dd81366-5d6f-445a-b031-6ea562624431" providerId="ADAL" clId="{83AF0EAE-1449-4C87-B14F-64EAAA6BDADC}" dt="2023-03-06T12:24:37.562" v="4053"/>
          <ac:spMkLst>
            <pc:docMk/>
            <pc:sldMk cId="853588367" sldId="2134804361"/>
            <ac:spMk id="270" creationId="{8C9CB56F-46DB-DB04-21A1-22EF42262A3B}"/>
          </ac:spMkLst>
        </pc:spChg>
        <pc:spChg chg="mod ord">
          <ac:chgData name="Wenwen Zhang" userId="9dd81366-5d6f-445a-b031-6ea562624431" providerId="ADAL" clId="{83AF0EAE-1449-4C87-B14F-64EAAA6BDADC}" dt="2023-03-06T12:24:37.548" v="3975"/>
          <ac:spMkLst>
            <pc:docMk/>
            <pc:sldMk cId="853588367" sldId="2134804361"/>
            <ac:spMk id="271" creationId="{61094CDF-3D01-5126-7969-6F62789EAC01}"/>
          </ac:spMkLst>
        </pc:spChg>
        <pc:spChg chg="add mod replST">
          <ac:chgData name="Wenwen Zhang" userId="9dd81366-5d6f-445a-b031-6ea562624431" providerId="ADAL" clId="{83AF0EAE-1449-4C87-B14F-64EAAA6BDADC}" dt="2023-03-06T12:24:37.561" v="4048"/>
          <ac:spMkLst>
            <pc:docMk/>
            <pc:sldMk cId="853588367" sldId="2134804361"/>
            <ac:spMk id="272" creationId="{4D6AC8C3-A59B-211E-1B46-4A88AC87ADDB}"/>
          </ac:spMkLst>
        </pc:spChg>
        <pc:spChg chg="add del mod modVis">
          <ac:chgData name="Wenwen Zhang" userId="9dd81366-5d6f-445a-b031-6ea562624431" providerId="ADAL" clId="{83AF0EAE-1449-4C87-B14F-64EAAA6BDADC}" dt="2023-03-06T12:24:31.022" v="3805"/>
          <ac:spMkLst>
            <pc:docMk/>
            <pc:sldMk cId="853588367" sldId="2134804361"/>
            <ac:spMk id="273" creationId="{630F1FA8-8424-8B37-96C4-BD435D817EAC}"/>
          </ac:spMkLst>
        </pc:spChg>
        <pc:spChg chg="add del mod modVis">
          <ac:chgData name="Wenwen Zhang" userId="9dd81366-5d6f-445a-b031-6ea562624431" providerId="ADAL" clId="{83AF0EAE-1449-4C87-B14F-64EAAA6BDADC}" dt="2023-03-06T12:24:37.564" v="4059"/>
          <ac:spMkLst>
            <pc:docMk/>
            <pc:sldMk cId="853588367" sldId="2134804361"/>
            <ac:spMk id="278" creationId="{0A5173AC-DDD2-D59B-969A-A0608B88A13D}"/>
          </ac:spMkLst>
        </pc:spChg>
        <pc:graphicFrameChg chg="add del mod replST">
          <ac:chgData name="Wenwen Zhang" userId="9dd81366-5d6f-445a-b031-6ea562624431" providerId="ADAL" clId="{83AF0EAE-1449-4C87-B14F-64EAAA6BDADC}" dt="2023-03-06T12:24:29.837" v="1889"/>
          <ac:graphicFrameMkLst>
            <pc:docMk/>
            <pc:sldMk cId="853588367" sldId="2134804361"/>
            <ac:graphicFrameMk id="14" creationId="{C5746919-73E9-F71E-E3E9-FF863F2D3F30}"/>
          </ac:graphicFrameMkLst>
        </pc:graphicFrameChg>
        <pc:graphicFrameChg chg="mod">
          <ac:chgData name="Wenwen Zhang" userId="9dd81366-5d6f-445a-b031-6ea562624431" providerId="ADAL" clId="{83AF0EAE-1449-4C87-B14F-64EAAA6BDADC}" dt="2023-03-06T12:24:37.577" v="4061"/>
          <ac:graphicFrameMkLst>
            <pc:docMk/>
            <pc:sldMk cId="853588367" sldId="2134804361"/>
            <ac:graphicFrameMk id="28" creationId="{015DFAEE-F78A-C272-92CE-F25C3417CAD0}"/>
          </ac:graphicFrameMkLst>
        </pc:graphicFrameChg>
        <pc:graphicFrameChg chg="add del mod replST">
          <ac:chgData name="Wenwen Zhang" userId="9dd81366-5d6f-445a-b031-6ea562624431" providerId="ADAL" clId="{83AF0EAE-1449-4C87-B14F-64EAAA6BDADC}" dt="2023-03-06T12:24:30.162" v="2423"/>
          <ac:graphicFrameMkLst>
            <pc:docMk/>
            <pc:sldMk cId="853588367" sldId="2134804361"/>
            <ac:graphicFrameMk id="87" creationId="{C1378418-733D-F0EE-A3F6-6572BAA4069F}"/>
          </ac:graphicFrameMkLst>
        </pc:graphicFrameChg>
        <pc:graphicFrameChg chg="add del">
          <ac:chgData name="Wenwen Zhang" userId="9dd81366-5d6f-445a-b031-6ea562624431" providerId="ADAL" clId="{83AF0EAE-1449-4C87-B14F-64EAAA6BDADC}" dt="2023-03-06T12:24:15.792" v="257"/>
          <ac:graphicFrameMkLst>
            <pc:docMk/>
            <pc:sldMk cId="853588367" sldId="2134804361"/>
            <ac:graphicFrameMk id="96" creationId="{8AE6098F-487B-B091-1CFD-A5A2E1CAFD07}"/>
          </ac:graphicFrameMkLst>
        </pc:graphicFrameChg>
        <pc:graphicFrameChg chg="add del">
          <ac:chgData name="Wenwen Zhang" userId="9dd81366-5d6f-445a-b031-6ea562624431" providerId="ADAL" clId="{83AF0EAE-1449-4C87-B14F-64EAAA6BDADC}" dt="2023-03-06T12:24:15.781" v="219"/>
          <ac:graphicFrameMkLst>
            <pc:docMk/>
            <pc:sldMk cId="853588367" sldId="2134804361"/>
            <ac:graphicFrameMk id="100" creationId="{DF8FDDDD-767C-BE45-5BE2-375C55C98296}"/>
          </ac:graphicFrameMkLst>
        </pc:graphicFrameChg>
        <pc:graphicFrameChg chg="add del">
          <ac:chgData name="Wenwen Zhang" userId="9dd81366-5d6f-445a-b031-6ea562624431" providerId="ADAL" clId="{83AF0EAE-1449-4C87-B14F-64EAAA6BDADC}" dt="2023-03-06T12:24:15.785" v="234"/>
          <ac:graphicFrameMkLst>
            <pc:docMk/>
            <pc:sldMk cId="853588367" sldId="2134804361"/>
            <ac:graphicFrameMk id="108" creationId="{BAB30B52-7ACB-57DA-63D6-EDC1C5B4C641}"/>
          </ac:graphicFrameMkLst>
        </pc:graphicFrameChg>
        <pc:graphicFrameChg chg="add del mod replST">
          <ac:chgData name="Wenwen Zhang" userId="9dd81366-5d6f-445a-b031-6ea562624431" providerId="ADAL" clId="{83AF0EAE-1449-4C87-B14F-64EAAA6BDADC}" dt="2023-03-06T12:24:30.525" v="2992"/>
          <ac:graphicFrameMkLst>
            <pc:docMk/>
            <pc:sldMk cId="853588367" sldId="2134804361"/>
            <ac:graphicFrameMk id="114" creationId="{62E8F7FF-026F-D09A-B4D0-0731B8985E6B}"/>
          </ac:graphicFrameMkLst>
        </pc:graphicFrameChg>
        <pc:graphicFrameChg chg="add del">
          <ac:chgData name="Wenwen Zhang" userId="9dd81366-5d6f-445a-b031-6ea562624431" providerId="ADAL" clId="{83AF0EAE-1449-4C87-B14F-64EAAA6BDADC}" dt="2023-03-06T12:24:15.798" v="278"/>
          <ac:graphicFrameMkLst>
            <pc:docMk/>
            <pc:sldMk cId="853588367" sldId="2134804361"/>
            <ac:graphicFrameMk id="118" creationId="{70FB3161-F919-986B-A788-04CA38732AE4}"/>
          </ac:graphicFrameMkLst>
        </pc:graphicFrameChg>
        <pc:graphicFrameChg chg="add del mod replST">
          <ac:chgData name="Wenwen Zhang" userId="9dd81366-5d6f-445a-b031-6ea562624431" providerId="ADAL" clId="{83AF0EAE-1449-4C87-B14F-64EAAA6BDADC}" dt="2023-03-06T12:24:30.943" v="3675"/>
          <ac:graphicFrameMkLst>
            <pc:docMk/>
            <pc:sldMk cId="853588367" sldId="2134804361"/>
            <ac:graphicFrameMk id="258" creationId="{94735396-DB62-4CAC-0840-EB40680BBFC5}"/>
          </ac:graphicFrameMkLst>
        </pc:graphicFrameChg>
        <pc:graphicFrameChg chg="add del mod ord replST">
          <ac:chgData name="Wenwen Zhang" userId="9dd81366-5d6f-445a-b031-6ea562624431" providerId="ADAL" clId="{83AF0EAE-1449-4C87-B14F-64EAAA6BDADC}" dt="2023-03-06T12:24:37.444" v="3901"/>
          <ac:graphicFrameMkLst>
            <pc:docMk/>
            <pc:sldMk cId="853588367" sldId="2134804361"/>
            <ac:graphicFrameMk id="274" creationId="{B6A9DB40-C914-719C-DD58-D61B1BFC4B1B}"/>
          </ac:graphicFrameMkLst>
        </pc:graphicFrameChg>
        <pc:graphicFrameChg chg="add mod ord replST">
          <ac:chgData name="Wenwen Zhang" userId="9dd81366-5d6f-445a-b031-6ea562624431" providerId="ADAL" clId="{83AF0EAE-1449-4C87-B14F-64EAAA6BDADC}" dt="2023-03-06T12:24:37.552" v="3998"/>
          <ac:graphicFrameMkLst>
            <pc:docMk/>
            <pc:sldMk cId="853588367" sldId="2134804361"/>
            <ac:graphicFrameMk id="275" creationId="{E452E7AA-09CC-DC38-2C29-1E45B1951B39}"/>
          </ac:graphicFrameMkLst>
        </pc:graphicFrameChg>
        <pc:graphicFrameChg chg="add del mod ord replST">
          <ac:chgData name="Wenwen Zhang" userId="9dd81366-5d6f-445a-b031-6ea562624431" providerId="ADAL" clId="{83AF0EAE-1449-4C87-B14F-64EAAA6BDADC}" dt="2023-03-06T12:24:37.513" v="3953"/>
          <ac:graphicFrameMkLst>
            <pc:docMk/>
            <pc:sldMk cId="853588367" sldId="2134804361"/>
            <ac:graphicFrameMk id="276" creationId="{1C0B5E2B-7837-30AD-FF2F-64ED819B7A5B}"/>
          </ac:graphicFrameMkLst>
        </pc:graphicFrameChg>
        <pc:graphicFrameChg chg="add mod ord replST">
          <ac:chgData name="Wenwen Zhang" userId="9dd81366-5d6f-445a-b031-6ea562624431" providerId="ADAL" clId="{83AF0EAE-1449-4C87-B14F-64EAAA6BDADC}" dt="2023-03-06T12:24:37.560" v="4042"/>
          <ac:graphicFrameMkLst>
            <pc:docMk/>
            <pc:sldMk cId="853588367" sldId="2134804361"/>
            <ac:graphicFrameMk id="277" creationId="{5AAC0502-7CB6-1381-E664-EE624A7BC0C1}"/>
          </ac:graphicFrameMkLst>
        </pc:graphicFrameChg>
        <pc:graphicFrameChg chg="add mod ord replST">
          <ac:chgData name="Wenwen Zhang" userId="9dd81366-5d6f-445a-b031-6ea562624431" providerId="ADAL" clId="{83AF0EAE-1449-4C87-B14F-64EAAA6BDADC}" dt="2023-03-06T12:24:37.548" v="3977"/>
          <ac:graphicFrameMkLst>
            <pc:docMk/>
            <pc:sldMk cId="853588367" sldId="2134804361"/>
            <ac:graphicFrameMk id="279" creationId="{454C6500-66FF-56A0-52D8-E004369FD19C}"/>
          </ac:graphicFrameMkLst>
        </pc:graphicFrameChg>
        <pc:graphicFrameChg chg="add mod ord replST">
          <ac:chgData name="Wenwen Zhang" userId="9dd81366-5d6f-445a-b031-6ea562624431" providerId="ADAL" clId="{83AF0EAE-1449-4C87-B14F-64EAAA6BDADC}" dt="2023-03-06T12:24:37.557" v="4025"/>
          <ac:graphicFrameMkLst>
            <pc:docMk/>
            <pc:sldMk cId="853588367" sldId="2134804361"/>
            <ac:graphicFrameMk id="280" creationId="{3285F8E2-6B7B-20DC-3703-A77A30856906}"/>
          </ac:graphicFrameMkLst>
        </pc:graphicFrameChg>
        <pc:cxnChg chg="add del">
          <ac:chgData name="Wenwen Zhang" userId="9dd81366-5d6f-445a-b031-6ea562624431" providerId="ADAL" clId="{83AF0EAE-1449-4C87-B14F-64EAAA6BDADC}" dt="2023-03-06T12:24:15.797" v="275"/>
          <ac:cxnSpMkLst>
            <pc:docMk/>
            <pc:sldMk cId="853588367" sldId="2134804361"/>
            <ac:cxnSpMk id="20" creationId="{1FB62189-8AB0-B291-48A9-3CB51B77C18E}"/>
          </ac:cxnSpMkLst>
        </pc:cxnChg>
        <pc:cxnChg chg="add mod ord replST">
          <ac:chgData name="Wenwen Zhang" userId="9dd81366-5d6f-445a-b031-6ea562624431" providerId="ADAL" clId="{83AF0EAE-1449-4C87-B14F-64EAAA6BDADC}" dt="2023-03-06T12:24:37.552" v="3994"/>
          <ac:cxnSpMkLst>
            <pc:docMk/>
            <pc:sldMk cId="853588367" sldId="2134804361"/>
            <ac:cxnSpMk id="83" creationId="{407BC514-BDDA-72E1-3D39-3300646EEB60}"/>
          </ac:cxnSpMkLst>
        </pc:cxnChg>
        <pc:cxnChg chg="add mod ord replST">
          <ac:chgData name="Wenwen Zhang" userId="9dd81366-5d6f-445a-b031-6ea562624431" providerId="ADAL" clId="{83AF0EAE-1449-4C87-B14F-64EAAA6BDADC}" dt="2023-03-06T12:24:37.552" v="4000"/>
          <ac:cxnSpMkLst>
            <pc:docMk/>
            <pc:sldMk cId="853588367" sldId="2134804361"/>
            <ac:cxnSpMk id="88" creationId="{5F2BAB53-639B-58C5-509C-E83C26D950D3}"/>
          </ac:cxnSpMkLst>
        </pc:cxnChg>
      </pc:sldChg>
      <pc:sldChg chg="addSp delSp modSp mod ord delAnim modAnim modNotesTx">
        <pc:chgData name="Wenwen Zhang" userId="9dd81366-5d6f-445a-b031-6ea562624431" providerId="ADAL" clId="{83AF0EAE-1449-4C87-B14F-64EAAA6BDADC}" dt="2023-03-09T15:36:43.097" v="59223" actId="1076"/>
        <pc:sldMkLst>
          <pc:docMk/>
          <pc:sldMk cId="200733304" sldId="2134804369"/>
        </pc:sldMkLst>
        <pc:spChg chg="mod ord">
          <ac:chgData name="Wenwen Zhang" userId="9dd81366-5d6f-445a-b031-6ea562624431" providerId="ADAL" clId="{83AF0EAE-1449-4C87-B14F-64EAAA6BDADC}" dt="2023-03-09T15:33:15.953" v="58981"/>
          <ac:spMkLst>
            <pc:docMk/>
            <pc:sldMk cId="200733304" sldId="2134804369"/>
            <ac:spMk id="2" creationId="{B065B79C-C4D6-5961-7919-6BB68C420868}"/>
          </ac:spMkLst>
        </pc:spChg>
        <pc:spChg chg="add mod ord">
          <ac:chgData name="Wenwen Zhang" userId="9dd81366-5d6f-445a-b031-6ea562624431" providerId="ADAL" clId="{83AF0EAE-1449-4C87-B14F-64EAAA6BDADC}" dt="2023-03-09T15:35:35.166" v="59220" actId="1076"/>
          <ac:spMkLst>
            <pc:docMk/>
            <pc:sldMk cId="200733304" sldId="2134804369"/>
            <ac:spMk id="9" creationId="{2F59B196-38DD-E22E-D48F-7EB233684355}"/>
          </ac:spMkLst>
        </pc:spChg>
        <pc:spChg chg="add mod replST">
          <ac:chgData name="Wenwen Zhang" userId="9dd81366-5d6f-445a-b031-6ea562624431" providerId="ADAL" clId="{83AF0EAE-1449-4C87-B14F-64EAAA6BDADC}" dt="2023-03-09T15:33:15.958" v="59009"/>
          <ac:spMkLst>
            <pc:docMk/>
            <pc:sldMk cId="200733304" sldId="2134804369"/>
            <ac:spMk id="10" creationId="{2239E0D8-9B03-E854-4D23-E38D6F8C3B67}"/>
          </ac:spMkLst>
        </pc:spChg>
        <pc:spChg chg="add mod ord">
          <ac:chgData name="Wenwen Zhang" userId="9dd81366-5d6f-445a-b031-6ea562624431" providerId="ADAL" clId="{83AF0EAE-1449-4C87-B14F-64EAAA6BDADC}" dt="2023-03-09T15:36:43.097" v="59223" actId="1076"/>
          <ac:spMkLst>
            <pc:docMk/>
            <pc:sldMk cId="200733304" sldId="2134804369"/>
            <ac:spMk id="11" creationId="{D9603778-3C5D-55BB-B68C-5A10922A4ADD}"/>
          </ac:spMkLst>
        </pc:spChg>
        <pc:spChg chg="add mod ord">
          <ac:chgData name="Wenwen Zhang" userId="9dd81366-5d6f-445a-b031-6ea562624431" providerId="ADAL" clId="{83AF0EAE-1449-4C87-B14F-64EAAA6BDADC}" dt="2023-03-09T15:36:08.611" v="59222" actId="1076"/>
          <ac:spMkLst>
            <pc:docMk/>
            <pc:sldMk cId="200733304" sldId="2134804369"/>
            <ac:spMk id="12" creationId="{7D5A02C0-ECA1-EB56-17F1-E3F5D7119DD5}"/>
          </ac:spMkLst>
        </pc:spChg>
        <pc:spChg chg="add mod replST">
          <ac:chgData name="Wenwen Zhang" userId="9dd81366-5d6f-445a-b031-6ea562624431" providerId="ADAL" clId="{83AF0EAE-1449-4C87-B14F-64EAAA6BDADC}" dt="2023-03-09T15:33:15.956" v="59002"/>
          <ac:spMkLst>
            <pc:docMk/>
            <pc:sldMk cId="200733304" sldId="2134804369"/>
            <ac:spMk id="13" creationId="{C0312F6C-1E27-D8B4-4FD9-1C784BE871D2}"/>
          </ac:spMkLst>
        </pc:spChg>
        <pc:spChg chg="add mod replST">
          <ac:chgData name="Wenwen Zhang" userId="9dd81366-5d6f-445a-b031-6ea562624431" providerId="ADAL" clId="{83AF0EAE-1449-4C87-B14F-64EAAA6BDADC}" dt="2023-03-09T15:33:15.957" v="59005"/>
          <ac:spMkLst>
            <pc:docMk/>
            <pc:sldMk cId="200733304" sldId="2134804369"/>
            <ac:spMk id="14" creationId="{D1B35456-B28F-2CC7-2065-A3CF6F07F940}"/>
          </ac:spMkLst>
        </pc:spChg>
        <pc:spChg chg="add del mod ord replST">
          <ac:chgData name="Wenwen Zhang" userId="9dd81366-5d6f-445a-b031-6ea562624431" providerId="ADAL" clId="{83AF0EAE-1449-4C87-B14F-64EAAA6BDADC}" dt="2023-03-09T15:29:31.816" v="56567"/>
          <ac:spMkLst>
            <pc:docMk/>
            <pc:sldMk cId="200733304" sldId="2134804369"/>
            <ac:spMk id="15" creationId="{15D2C790-9FFB-634C-BCD2-595B725FE5BF}"/>
          </ac:spMkLst>
        </pc:spChg>
        <pc:spChg chg="add mod replST">
          <ac:chgData name="Wenwen Zhang" userId="9dd81366-5d6f-445a-b031-6ea562624431" providerId="ADAL" clId="{83AF0EAE-1449-4C87-B14F-64EAAA6BDADC}" dt="2023-03-09T15:33:15.957" v="59006"/>
          <ac:spMkLst>
            <pc:docMk/>
            <pc:sldMk cId="200733304" sldId="2134804369"/>
            <ac:spMk id="16" creationId="{96E4AB9E-DF09-F890-3800-5A9B68271115}"/>
          </ac:spMkLst>
        </pc:spChg>
        <pc:spChg chg="add mod replST">
          <ac:chgData name="Wenwen Zhang" userId="9dd81366-5d6f-445a-b031-6ea562624431" providerId="ADAL" clId="{83AF0EAE-1449-4C87-B14F-64EAAA6BDADC}" dt="2023-03-09T15:33:15.959" v="59010"/>
          <ac:spMkLst>
            <pc:docMk/>
            <pc:sldMk cId="200733304" sldId="2134804369"/>
            <ac:spMk id="17" creationId="{2E73E0B4-0AAE-D53F-51AB-4C184B5BED93}"/>
          </ac:spMkLst>
        </pc:spChg>
        <pc:spChg chg="add mod replST">
          <ac:chgData name="Wenwen Zhang" userId="9dd81366-5d6f-445a-b031-6ea562624431" providerId="ADAL" clId="{83AF0EAE-1449-4C87-B14F-64EAAA6BDADC}" dt="2023-03-09T15:33:15.958" v="59008"/>
          <ac:spMkLst>
            <pc:docMk/>
            <pc:sldMk cId="200733304" sldId="2134804369"/>
            <ac:spMk id="18" creationId="{52EB72AB-6502-B7BA-BA5A-7EFE72180C1D}"/>
          </ac:spMkLst>
        </pc:spChg>
        <pc:spChg chg="add mod replST">
          <ac:chgData name="Wenwen Zhang" userId="9dd81366-5d6f-445a-b031-6ea562624431" providerId="ADAL" clId="{83AF0EAE-1449-4C87-B14F-64EAAA6BDADC}" dt="2023-03-09T15:33:15.957" v="59007"/>
          <ac:spMkLst>
            <pc:docMk/>
            <pc:sldMk cId="200733304" sldId="2134804369"/>
            <ac:spMk id="19" creationId="{5BF17AE7-D76E-5C2E-05D8-05F196278A01}"/>
          </ac:spMkLst>
        </pc:spChg>
        <pc:spChg chg="add del mod ord replST">
          <ac:chgData name="Wenwen Zhang" userId="9dd81366-5d6f-445a-b031-6ea562624431" providerId="ADAL" clId="{83AF0EAE-1449-4C87-B14F-64EAAA6BDADC}" dt="2023-03-09T15:29:31.806" v="56539"/>
          <ac:spMkLst>
            <pc:docMk/>
            <pc:sldMk cId="200733304" sldId="2134804369"/>
            <ac:spMk id="20" creationId="{CFA578B9-8883-CE98-D9C7-C819394622E4}"/>
          </ac:spMkLst>
        </pc:spChg>
        <pc:spChg chg="add del mod ord replST">
          <ac:chgData name="Wenwen Zhang" userId="9dd81366-5d6f-445a-b031-6ea562624431" providerId="ADAL" clId="{83AF0EAE-1449-4C87-B14F-64EAAA6BDADC}" dt="2023-03-09T15:29:31.811" v="56553"/>
          <ac:spMkLst>
            <pc:docMk/>
            <pc:sldMk cId="200733304" sldId="2134804369"/>
            <ac:spMk id="21" creationId="{C93BEC78-AC33-C318-4A97-0EF7B5518164}"/>
          </ac:spMkLst>
        </pc:spChg>
        <pc:spChg chg="add del mod ord replST">
          <ac:chgData name="Wenwen Zhang" userId="9dd81366-5d6f-445a-b031-6ea562624431" providerId="ADAL" clId="{83AF0EAE-1449-4C87-B14F-64EAAA6BDADC}" dt="2023-03-09T15:29:31.821" v="56581"/>
          <ac:spMkLst>
            <pc:docMk/>
            <pc:sldMk cId="200733304" sldId="2134804369"/>
            <ac:spMk id="22" creationId="{1AF6FDFC-2383-0FE7-E893-83B21584B753}"/>
          </ac:spMkLst>
        </pc:spChg>
        <pc:spChg chg="add del mod ord replST">
          <ac:chgData name="Wenwen Zhang" userId="9dd81366-5d6f-445a-b031-6ea562624431" providerId="ADAL" clId="{83AF0EAE-1449-4C87-B14F-64EAAA6BDADC}" dt="2023-03-09T15:29:31.826" v="56595"/>
          <ac:spMkLst>
            <pc:docMk/>
            <pc:sldMk cId="200733304" sldId="2134804369"/>
            <ac:spMk id="23" creationId="{0E7649E5-B74F-462A-250F-DF69C961663D}"/>
          </ac:spMkLst>
        </pc:spChg>
        <pc:spChg chg="add del mod ord replST">
          <ac:chgData name="Wenwen Zhang" userId="9dd81366-5d6f-445a-b031-6ea562624431" providerId="ADAL" clId="{83AF0EAE-1449-4C87-B14F-64EAAA6BDADC}" dt="2023-03-09T15:31:32.651" v="56999"/>
          <ac:spMkLst>
            <pc:docMk/>
            <pc:sldMk cId="200733304" sldId="2134804369"/>
            <ac:spMk id="24" creationId="{7D343528-9155-FB5E-AF9E-C00081E0A021}"/>
          </ac:spMkLst>
        </pc:spChg>
        <pc:spChg chg="add mod ord">
          <ac:chgData name="Wenwen Zhang" userId="9dd81366-5d6f-445a-b031-6ea562624431" providerId="ADAL" clId="{83AF0EAE-1449-4C87-B14F-64EAAA6BDADC}" dt="2023-03-09T15:36:04.698" v="59221" actId="1076"/>
          <ac:spMkLst>
            <pc:docMk/>
            <pc:sldMk cId="200733304" sldId="2134804369"/>
            <ac:spMk id="25" creationId="{A572590C-0B39-778E-9C34-9B0049E50B89}"/>
          </ac:spMkLst>
        </pc:spChg>
        <pc:spChg chg="add del mod">
          <ac:chgData name="Wenwen Zhang" userId="9dd81366-5d6f-445a-b031-6ea562624431" providerId="ADAL" clId="{83AF0EAE-1449-4C87-B14F-64EAAA6BDADC}" dt="2023-03-09T10:03:01.048" v="55782" actId="478"/>
          <ac:spMkLst>
            <pc:docMk/>
            <pc:sldMk cId="200733304" sldId="2134804369"/>
            <ac:spMk id="26" creationId="{8F7F3FE9-E83E-6EA8-3072-1B5243D60137}"/>
          </ac:spMkLst>
        </pc:spChg>
        <pc:spChg chg="add del mod ord replST">
          <ac:chgData name="Wenwen Zhang" userId="9dd81366-5d6f-445a-b031-6ea562624431" providerId="ADAL" clId="{83AF0EAE-1449-4C87-B14F-64EAAA6BDADC}" dt="2023-03-09T15:31:33.705" v="57175"/>
          <ac:spMkLst>
            <pc:docMk/>
            <pc:sldMk cId="200733304" sldId="2134804369"/>
            <ac:spMk id="27" creationId="{CDDA3F38-5502-507E-F1BD-B35220056828}"/>
          </ac:spMkLst>
        </pc:spChg>
        <pc:spChg chg="mod ord">
          <ac:chgData name="Wenwen Zhang" userId="9dd81366-5d6f-445a-b031-6ea562624431" providerId="ADAL" clId="{83AF0EAE-1449-4C87-B14F-64EAAA6BDADC}" dt="2023-03-09T15:33:15.953" v="58983"/>
          <ac:spMkLst>
            <pc:docMk/>
            <pc:sldMk cId="200733304" sldId="2134804369"/>
            <ac:spMk id="29" creationId="{D50B6CAA-A666-5524-85F7-444C607F0970}"/>
          </ac:spMkLst>
        </pc:spChg>
        <pc:spChg chg="add del mod replST">
          <ac:chgData name="Wenwen Zhang" userId="9dd81366-5d6f-445a-b031-6ea562624431" providerId="ADAL" clId="{83AF0EAE-1449-4C87-B14F-64EAAA6BDADC}" dt="2023-03-09T15:31:33.706" v="57176"/>
          <ac:spMkLst>
            <pc:docMk/>
            <pc:sldMk cId="200733304" sldId="2134804369"/>
            <ac:spMk id="30" creationId="{D916A6A4-F0DB-88B4-6A36-F421FB5F98F3}"/>
          </ac:spMkLst>
        </pc:spChg>
        <pc:spChg chg="add del mod modVis">
          <ac:chgData name="Wenwen Zhang" userId="9dd81366-5d6f-445a-b031-6ea562624431" providerId="ADAL" clId="{83AF0EAE-1449-4C87-B14F-64EAAA6BDADC}" dt="2023-03-09T15:29:31.851" v="56679"/>
          <ac:spMkLst>
            <pc:docMk/>
            <pc:sldMk cId="200733304" sldId="2134804369"/>
            <ac:spMk id="31" creationId="{530D3AA5-634F-960B-1614-0BDCBE55D93B}"/>
          </ac:spMkLst>
        </pc:spChg>
        <pc:spChg chg="add del mod replST">
          <ac:chgData name="Wenwen Zhang" userId="9dd81366-5d6f-445a-b031-6ea562624431" providerId="ADAL" clId="{83AF0EAE-1449-4C87-B14F-64EAAA6BDADC}" dt="2023-03-09T15:31:32.651" v="57000"/>
          <ac:spMkLst>
            <pc:docMk/>
            <pc:sldMk cId="200733304" sldId="2134804369"/>
            <ac:spMk id="32" creationId="{E21EA46F-83FB-42B0-C09F-B3AA72C48874}"/>
          </ac:spMkLst>
        </pc:spChg>
        <pc:spChg chg="add mod ord replST">
          <ac:chgData name="Wenwen Zhang" userId="9dd81366-5d6f-445a-b031-6ea562624431" providerId="ADAL" clId="{83AF0EAE-1449-4C87-B14F-64EAAA6BDADC}" dt="2023-03-09T15:34:27.688" v="59204"/>
          <ac:spMkLst>
            <pc:docMk/>
            <pc:sldMk cId="200733304" sldId="2134804369"/>
            <ac:spMk id="33" creationId="{875854BE-8174-CF2E-3A68-44F0D526B07D}"/>
          </ac:spMkLst>
        </pc:spChg>
        <pc:spChg chg="add del mod ord replST">
          <ac:chgData name="Wenwen Zhang" userId="9dd81366-5d6f-445a-b031-6ea562624431" providerId="ADAL" clId="{83AF0EAE-1449-4C87-B14F-64EAAA6BDADC}" dt="2023-03-09T15:33:15.910" v="58909"/>
          <ac:spMkLst>
            <pc:docMk/>
            <pc:sldMk cId="200733304" sldId="2134804369"/>
            <ac:spMk id="34" creationId="{96DB64E7-7450-5BAA-7DCA-6F75AE12EF02}"/>
          </ac:spMkLst>
        </pc:spChg>
        <pc:spChg chg="add mod ord replST">
          <ac:chgData name="Wenwen Zhang" userId="9dd81366-5d6f-445a-b031-6ea562624431" providerId="ADAL" clId="{83AF0EAE-1449-4C87-B14F-64EAAA6BDADC}" dt="2023-03-09T15:34:27.689" v="59205"/>
          <ac:spMkLst>
            <pc:docMk/>
            <pc:sldMk cId="200733304" sldId="2134804369"/>
            <ac:spMk id="35" creationId="{68DAE4E9-EA1D-BB94-F46A-185C1628FD22}"/>
          </ac:spMkLst>
        </pc:spChg>
        <pc:spChg chg="add mod ord replST">
          <ac:chgData name="Wenwen Zhang" userId="9dd81366-5d6f-445a-b031-6ea562624431" providerId="ADAL" clId="{83AF0EAE-1449-4C87-B14F-64EAAA6BDADC}" dt="2023-03-09T15:34:27.689" v="59206"/>
          <ac:spMkLst>
            <pc:docMk/>
            <pc:sldMk cId="200733304" sldId="2134804369"/>
            <ac:spMk id="36" creationId="{6DC9B71B-0029-BD19-D6E9-315B6341087D}"/>
          </ac:spMkLst>
        </pc:spChg>
        <pc:spChg chg="add mod ord replST">
          <ac:chgData name="Wenwen Zhang" userId="9dd81366-5d6f-445a-b031-6ea562624431" providerId="ADAL" clId="{83AF0EAE-1449-4C87-B14F-64EAAA6BDADC}" dt="2023-03-09T15:34:27.636" v="59142"/>
          <ac:spMkLst>
            <pc:docMk/>
            <pc:sldMk cId="200733304" sldId="2134804369"/>
            <ac:spMk id="37" creationId="{C3340AEB-500B-539B-FF14-D53DDA6558EE}"/>
          </ac:spMkLst>
        </pc:spChg>
        <pc:spChg chg="add mod ord replST">
          <ac:chgData name="Wenwen Zhang" userId="9dd81366-5d6f-445a-b031-6ea562624431" providerId="ADAL" clId="{83AF0EAE-1449-4C87-B14F-64EAAA6BDADC}" dt="2023-03-09T15:34:27.637" v="59144"/>
          <ac:spMkLst>
            <pc:docMk/>
            <pc:sldMk cId="200733304" sldId="2134804369"/>
            <ac:spMk id="38" creationId="{8AD2779F-EB48-2CD2-AE30-3A5B85BFE752}"/>
          </ac:spMkLst>
        </pc:spChg>
        <pc:spChg chg="add mod ord replST">
          <ac:chgData name="Wenwen Zhang" userId="9dd81366-5d6f-445a-b031-6ea562624431" providerId="ADAL" clId="{83AF0EAE-1449-4C87-B14F-64EAAA6BDADC}" dt="2023-03-09T15:33:15.957" v="59004"/>
          <ac:spMkLst>
            <pc:docMk/>
            <pc:sldMk cId="200733304" sldId="2134804369"/>
            <ac:spMk id="39" creationId="{96DB64E7-7450-5BAA-7DCA-6F75AE12EF02}"/>
          </ac:spMkLst>
        </pc:spChg>
        <pc:spChg chg="add mod ord replST">
          <ac:chgData name="Wenwen Zhang" userId="9dd81366-5d6f-445a-b031-6ea562624431" providerId="ADAL" clId="{83AF0EAE-1449-4C87-B14F-64EAAA6BDADC}" dt="2023-03-09T15:34:27.637" v="59146"/>
          <ac:spMkLst>
            <pc:docMk/>
            <pc:sldMk cId="200733304" sldId="2134804369"/>
            <ac:spMk id="40" creationId="{E6BC0ADA-0611-FC5B-A74E-A08E593D0C3A}"/>
          </ac:spMkLst>
        </pc:spChg>
        <pc:spChg chg="add mod ord replST">
          <ac:chgData name="Wenwen Zhang" userId="9dd81366-5d6f-445a-b031-6ea562624431" providerId="ADAL" clId="{83AF0EAE-1449-4C87-B14F-64EAAA6BDADC}" dt="2023-03-09T15:34:27.690" v="59207"/>
          <ac:spMkLst>
            <pc:docMk/>
            <pc:sldMk cId="200733304" sldId="2134804369"/>
            <ac:spMk id="41" creationId="{2F28C96F-9B2C-F067-64EC-59A2C1B94891}"/>
          </ac:spMkLst>
        </pc:spChg>
        <pc:spChg chg="add del mod ord replST">
          <ac:chgData name="Wenwen Zhang" userId="9dd81366-5d6f-445a-b031-6ea562624431" providerId="ADAL" clId="{83AF0EAE-1449-4C87-B14F-64EAAA6BDADC}" dt="2023-03-09T15:33:09.634" v="58372"/>
          <ac:spMkLst>
            <pc:docMk/>
            <pc:sldMk cId="200733304" sldId="2134804369"/>
            <ac:spMk id="42" creationId="{96DB64E7-7450-5BAA-7DCA-6F75AE12EF02}"/>
          </ac:spMkLst>
        </pc:spChg>
        <pc:spChg chg="mod ord">
          <ac:chgData name="Wenwen Zhang" userId="9dd81366-5d6f-445a-b031-6ea562624431" providerId="ADAL" clId="{83AF0EAE-1449-4C87-B14F-64EAAA6BDADC}" dt="2023-03-09T15:33:15.953" v="58985"/>
          <ac:spMkLst>
            <pc:docMk/>
            <pc:sldMk cId="200733304" sldId="2134804369"/>
            <ac:spMk id="43" creationId="{C58C7321-3BF7-61DC-5B1A-AD075E56AE05}"/>
          </ac:spMkLst>
        </pc:spChg>
        <pc:spChg chg="add del mod modVis">
          <ac:chgData name="Wenwen Zhang" userId="9dd81366-5d6f-445a-b031-6ea562624431" providerId="ADAL" clId="{83AF0EAE-1449-4C87-B14F-64EAAA6BDADC}" dt="2023-03-06T12:51:51.899" v="17545"/>
          <ac:spMkLst>
            <pc:docMk/>
            <pc:sldMk cId="200733304" sldId="2134804369"/>
            <ac:spMk id="44" creationId="{525572C0-DAD5-112D-6927-758A27FD7ABC}"/>
          </ac:spMkLst>
        </pc:spChg>
        <pc:spChg chg="add del mod ord replST">
          <ac:chgData name="Wenwen Zhang" userId="9dd81366-5d6f-445a-b031-6ea562624431" providerId="ADAL" clId="{83AF0EAE-1449-4C87-B14F-64EAAA6BDADC}" dt="2023-03-09T15:33:09.636" v="58378"/>
          <ac:spMkLst>
            <pc:docMk/>
            <pc:sldMk cId="200733304" sldId="2134804369"/>
            <ac:spMk id="44" creationId="{96DB64E7-7450-5BAA-7DCA-6F75AE12EF02}"/>
          </ac:spMkLst>
        </pc:spChg>
        <pc:spChg chg="del">
          <ac:chgData name="Wenwen Zhang" userId="9dd81366-5d6f-445a-b031-6ea562624431" providerId="ADAL" clId="{83AF0EAE-1449-4C87-B14F-64EAAA6BDADC}" dt="2023-03-06T12:51:21.643" v="16785"/>
          <ac:spMkLst>
            <pc:docMk/>
            <pc:sldMk cId="200733304" sldId="2134804369"/>
            <ac:spMk id="45" creationId="{60A5EDA6-1581-4C1B-0F33-75BB24155868}"/>
          </ac:spMkLst>
        </pc:spChg>
        <pc:spChg chg="add mod ord replST">
          <ac:chgData name="Wenwen Zhang" userId="9dd81366-5d6f-445a-b031-6ea562624431" providerId="ADAL" clId="{83AF0EAE-1449-4C87-B14F-64EAAA6BDADC}" dt="2023-03-09T15:33:15.959" v="59012"/>
          <ac:spMkLst>
            <pc:docMk/>
            <pc:sldMk cId="200733304" sldId="2134804369"/>
            <ac:spMk id="45" creationId="{96DB64E7-7450-5BAA-7DCA-6F75AE12EF02}"/>
          </ac:spMkLst>
        </pc:spChg>
        <pc:spChg chg="del">
          <ac:chgData name="Wenwen Zhang" userId="9dd81366-5d6f-445a-b031-6ea562624431" providerId="ADAL" clId="{83AF0EAE-1449-4C87-B14F-64EAAA6BDADC}" dt="2023-03-06T12:51:21.642" v="16779"/>
          <ac:spMkLst>
            <pc:docMk/>
            <pc:sldMk cId="200733304" sldId="2134804369"/>
            <ac:spMk id="46" creationId="{F6EE6FC4-06BE-032D-62DA-8AB057C340DB}"/>
          </ac:spMkLst>
        </pc:spChg>
        <pc:spChg chg="add del mod modVis">
          <ac:chgData name="Wenwen Zhang" userId="9dd81366-5d6f-445a-b031-6ea562624431" providerId="ADAL" clId="{83AF0EAE-1449-4C87-B14F-64EAAA6BDADC}" dt="2023-03-09T15:31:15.064" v="56835"/>
          <ac:spMkLst>
            <pc:docMk/>
            <pc:sldMk cId="200733304" sldId="2134804369"/>
            <ac:spMk id="47" creationId="{02504AC9-3DB2-250B-41A7-0B1AFE59A327}"/>
          </ac:spMkLst>
        </pc:spChg>
        <pc:spChg chg="add del mod modVis">
          <ac:chgData name="Wenwen Zhang" userId="9dd81366-5d6f-445a-b031-6ea562624431" providerId="ADAL" clId="{83AF0EAE-1449-4C87-B14F-64EAAA6BDADC}" dt="2023-03-06T12:52:02.798" v="17747"/>
          <ac:spMkLst>
            <pc:docMk/>
            <pc:sldMk cId="200733304" sldId="2134804369"/>
            <ac:spMk id="48" creationId="{C802FC58-9B15-68E4-C270-4E7E12306317}"/>
          </ac:spMkLst>
        </pc:spChg>
        <pc:spChg chg="add del mod modVis">
          <ac:chgData name="Wenwen Zhang" userId="9dd81366-5d6f-445a-b031-6ea562624431" providerId="ADAL" clId="{83AF0EAE-1449-4C87-B14F-64EAAA6BDADC}" dt="2023-03-09T15:31:19.155" v="56992"/>
          <ac:spMkLst>
            <pc:docMk/>
            <pc:sldMk cId="200733304" sldId="2134804369"/>
            <ac:spMk id="49" creationId="{1ED0EA72-B901-FE00-F140-04BC7456C6FE}"/>
          </ac:spMkLst>
        </pc:spChg>
        <pc:spChg chg="add del mod modVis">
          <ac:chgData name="Wenwen Zhang" userId="9dd81366-5d6f-445a-b031-6ea562624431" providerId="ADAL" clId="{83AF0EAE-1449-4C87-B14F-64EAAA6BDADC}" dt="2023-03-06T12:52:08.495" v="17977"/>
          <ac:spMkLst>
            <pc:docMk/>
            <pc:sldMk cId="200733304" sldId="2134804369"/>
            <ac:spMk id="50" creationId="{28671F26-1612-DD0E-E3EA-F40717CCA5F3}"/>
          </ac:spMkLst>
        </pc:spChg>
        <pc:spChg chg="del">
          <ac:chgData name="Wenwen Zhang" userId="9dd81366-5d6f-445a-b031-6ea562624431" providerId="ADAL" clId="{83AF0EAE-1449-4C87-B14F-64EAAA6BDADC}" dt="2023-03-06T12:51:21.639" v="16767"/>
          <ac:spMkLst>
            <pc:docMk/>
            <pc:sldMk cId="200733304" sldId="2134804369"/>
            <ac:spMk id="51" creationId="{50326C18-B022-FF85-D344-051B3FE45C20}"/>
          </ac:spMkLst>
        </pc:spChg>
        <pc:spChg chg="add del mod modVis">
          <ac:chgData name="Wenwen Zhang" userId="9dd81366-5d6f-445a-b031-6ea562624431" providerId="ADAL" clId="{83AF0EAE-1449-4C87-B14F-64EAAA6BDADC}" dt="2023-03-09T15:31:32.727" v="57154"/>
          <ac:spMkLst>
            <pc:docMk/>
            <pc:sldMk cId="200733304" sldId="2134804369"/>
            <ac:spMk id="51" creationId="{A2FFDCDF-2DCC-DDA4-1784-4035A8DD5BC4}"/>
          </ac:spMkLst>
        </pc:spChg>
        <pc:spChg chg="add del mod replST">
          <ac:chgData name="Wenwen Zhang" userId="9dd81366-5d6f-445a-b031-6ea562624431" providerId="ADAL" clId="{83AF0EAE-1449-4C87-B14F-64EAAA6BDADC}" dt="2023-03-06T12:52:30.871" v="18144"/>
          <ac:spMkLst>
            <pc:docMk/>
            <pc:sldMk cId="200733304" sldId="2134804369"/>
            <ac:spMk id="53" creationId="{3841A88B-A503-F9B5-DBF1-4BDAF5DEDEE4}"/>
          </ac:spMkLst>
        </pc:spChg>
        <pc:spChg chg="add mod replST">
          <ac:chgData name="Wenwen Zhang" userId="9dd81366-5d6f-445a-b031-6ea562624431" providerId="ADAL" clId="{83AF0EAE-1449-4C87-B14F-64EAAA6BDADC}" dt="2023-03-09T15:34:27.645" v="59147"/>
          <ac:spMkLst>
            <pc:docMk/>
            <pc:sldMk cId="200733304" sldId="2134804369"/>
            <ac:spMk id="53" creationId="{AF08C1A9-D91C-8BA2-7469-65B454A982F4}"/>
          </ac:spMkLst>
        </pc:spChg>
        <pc:spChg chg="add del mod modVis">
          <ac:chgData name="Wenwen Zhang" userId="9dd81366-5d6f-445a-b031-6ea562624431" providerId="ADAL" clId="{83AF0EAE-1449-4C87-B14F-64EAAA6BDADC}" dt="2023-03-09T15:31:33.798" v="57357"/>
          <ac:spMkLst>
            <pc:docMk/>
            <pc:sldMk cId="200733304" sldId="2134804369"/>
            <ac:spMk id="54" creationId="{8EFC9494-E921-8FD6-2989-82039BCAD703}"/>
          </ac:spMkLst>
        </pc:spChg>
        <pc:spChg chg="del">
          <ac:chgData name="Wenwen Zhang" userId="9dd81366-5d6f-445a-b031-6ea562624431" providerId="ADAL" clId="{83AF0EAE-1449-4C87-B14F-64EAAA6BDADC}" dt="2023-03-06T12:51:21.638" v="16761"/>
          <ac:spMkLst>
            <pc:docMk/>
            <pc:sldMk cId="200733304" sldId="2134804369"/>
            <ac:spMk id="54" creationId="{F5AE73F4-2208-7784-5A92-F88EC7C9AF6F}"/>
          </ac:spMkLst>
        </pc:spChg>
        <pc:spChg chg="add mod replST">
          <ac:chgData name="Wenwen Zhang" userId="9dd81366-5d6f-445a-b031-6ea562624431" providerId="ADAL" clId="{83AF0EAE-1449-4C87-B14F-64EAAA6BDADC}" dt="2023-03-09T15:34:27.670" v="59188"/>
          <ac:spMkLst>
            <pc:docMk/>
            <pc:sldMk cId="200733304" sldId="2134804369"/>
            <ac:spMk id="55" creationId="{92C1B931-A72B-BDCF-91DD-5ADBD95672B9}"/>
          </ac:spMkLst>
        </pc:spChg>
        <pc:spChg chg="del">
          <ac:chgData name="Wenwen Zhang" userId="9dd81366-5d6f-445a-b031-6ea562624431" providerId="ADAL" clId="{83AF0EAE-1449-4C87-B14F-64EAAA6BDADC}" dt="2023-03-06T12:51:21.636" v="16755"/>
          <ac:spMkLst>
            <pc:docMk/>
            <pc:sldMk cId="200733304" sldId="2134804369"/>
            <ac:spMk id="56" creationId="{5599528B-8933-8418-470B-4FC962F494AC}"/>
          </ac:spMkLst>
        </pc:spChg>
        <pc:spChg chg="add del mod modVis">
          <ac:chgData name="Wenwen Zhang" userId="9dd81366-5d6f-445a-b031-6ea562624431" providerId="ADAL" clId="{83AF0EAE-1449-4C87-B14F-64EAAA6BDADC}" dt="2023-03-06T12:52:27.727" v="18140"/>
          <ac:spMkLst>
            <pc:docMk/>
            <pc:sldMk cId="200733304" sldId="2134804369"/>
            <ac:spMk id="57" creationId="{5F3D5277-69B2-4665-0373-3F4FE3219DA1}"/>
          </ac:spMkLst>
        </pc:spChg>
        <pc:spChg chg="add mod ord replST">
          <ac:chgData name="Wenwen Zhang" userId="9dd81366-5d6f-445a-b031-6ea562624431" providerId="ADAL" clId="{83AF0EAE-1449-4C87-B14F-64EAAA6BDADC}" dt="2023-03-09T15:33:15.961" v="59020"/>
          <ac:spMkLst>
            <pc:docMk/>
            <pc:sldMk cId="200733304" sldId="2134804369"/>
            <ac:spMk id="57" creationId="{9190016D-44F3-4DC1-7297-D5F8AA07AD72}"/>
          </ac:spMkLst>
        </pc:spChg>
        <pc:spChg chg="del">
          <ac:chgData name="Wenwen Zhang" userId="9dd81366-5d6f-445a-b031-6ea562624431" providerId="ADAL" clId="{83AF0EAE-1449-4C87-B14F-64EAAA6BDADC}" dt="2023-03-06T12:51:21.640" v="16773"/>
          <ac:spMkLst>
            <pc:docMk/>
            <pc:sldMk cId="200733304" sldId="2134804369"/>
            <ac:spMk id="58" creationId="{C29B06AF-B31A-F3FE-15D6-702FB1164441}"/>
          </ac:spMkLst>
        </pc:spChg>
        <pc:spChg chg="add mod replST">
          <ac:chgData name="Wenwen Zhang" userId="9dd81366-5d6f-445a-b031-6ea562624431" providerId="ADAL" clId="{83AF0EAE-1449-4C87-B14F-64EAAA6BDADC}" dt="2023-03-09T15:34:27.668" v="59185"/>
          <ac:spMkLst>
            <pc:docMk/>
            <pc:sldMk cId="200733304" sldId="2134804369"/>
            <ac:spMk id="58" creationId="{DB9A5A78-E009-0105-5F99-C3FB560F5176}"/>
          </ac:spMkLst>
        </pc:spChg>
        <pc:spChg chg="add del mod modVis">
          <ac:chgData name="Wenwen Zhang" userId="9dd81366-5d6f-445a-b031-6ea562624431" providerId="ADAL" clId="{83AF0EAE-1449-4C87-B14F-64EAAA6BDADC}" dt="2023-03-06T12:52:45.548" v="18403"/>
          <ac:spMkLst>
            <pc:docMk/>
            <pc:sldMk cId="200733304" sldId="2134804369"/>
            <ac:spMk id="59" creationId="{6943B194-EFC7-CC45-F028-AE6BCA588F2B}"/>
          </ac:spMkLst>
        </pc:spChg>
        <pc:spChg chg="add del mod modVis">
          <ac:chgData name="Wenwen Zhang" userId="9dd81366-5d6f-445a-b031-6ea562624431" providerId="ADAL" clId="{83AF0EAE-1449-4C87-B14F-64EAAA6BDADC}" dt="2023-03-09T15:31:34.613" v="57558"/>
          <ac:spMkLst>
            <pc:docMk/>
            <pc:sldMk cId="200733304" sldId="2134804369"/>
            <ac:spMk id="59" creationId="{6B661111-AD63-CF46-1BBD-45F932B091EC}"/>
          </ac:spMkLst>
        </pc:spChg>
        <pc:spChg chg="del">
          <ac:chgData name="Wenwen Zhang" userId="9dd81366-5d6f-445a-b031-6ea562624431" providerId="ADAL" clId="{83AF0EAE-1449-4C87-B14F-64EAAA6BDADC}" dt="2023-03-06T12:51:21.644" v="16791"/>
          <ac:spMkLst>
            <pc:docMk/>
            <pc:sldMk cId="200733304" sldId="2134804369"/>
            <ac:spMk id="61" creationId="{2DA10572-55C8-32FE-15E0-4C91B5CD6363}"/>
          </ac:spMkLst>
        </pc:spChg>
        <pc:spChg chg="add mod ord replST">
          <ac:chgData name="Wenwen Zhang" userId="9dd81366-5d6f-445a-b031-6ea562624431" providerId="ADAL" clId="{83AF0EAE-1449-4C87-B14F-64EAAA6BDADC}" dt="2023-03-09T15:33:15.961" v="59022"/>
          <ac:spMkLst>
            <pc:docMk/>
            <pc:sldMk cId="200733304" sldId="2134804369"/>
            <ac:spMk id="62" creationId="{AC0BFC99-4364-8D1E-1B1F-1949851B6318}"/>
          </ac:spMkLst>
        </pc:spChg>
        <pc:spChg chg="add del mod modVis">
          <ac:chgData name="Wenwen Zhang" userId="9dd81366-5d6f-445a-b031-6ea562624431" providerId="ADAL" clId="{83AF0EAE-1449-4C87-B14F-64EAAA6BDADC}" dt="2023-03-09T15:31:42.628" v="57713"/>
          <ac:spMkLst>
            <pc:docMk/>
            <pc:sldMk cId="200733304" sldId="2134804369"/>
            <ac:spMk id="63" creationId="{ACD2BD61-A104-F48D-8C4A-85F0F6D9AEBB}"/>
          </ac:spMkLst>
        </pc:spChg>
        <pc:spChg chg="del">
          <ac:chgData name="Wenwen Zhang" userId="9dd81366-5d6f-445a-b031-6ea562624431" providerId="ADAL" clId="{83AF0EAE-1449-4C87-B14F-64EAAA6BDADC}" dt="2023-03-06T12:51:21.635" v="16751"/>
          <ac:spMkLst>
            <pc:docMk/>
            <pc:sldMk cId="200733304" sldId="2134804369"/>
            <ac:spMk id="67" creationId="{EB89D8E5-89C8-6819-6C93-C8672AC4E35E}"/>
          </ac:spMkLst>
        </pc:spChg>
        <pc:spChg chg="del">
          <ac:chgData name="Wenwen Zhang" userId="9dd81366-5d6f-445a-b031-6ea562624431" providerId="ADAL" clId="{83AF0EAE-1449-4C87-B14F-64EAAA6BDADC}" dt="2023-03-06T12:51:21.636" v="16754"/>
          <ac:spMkLst>
            <pc:docMk/>
            <pc:sldMk cId="200733304" sldId="2134804369"/>
            <ac:spMk id="68" creationId="{13DE25E4-8BDF-BDB0-0042-EA9530B14B34}"/>
          </ac:spMkLst>
        </pc:spChg>
        <pc:spChg chg="del">
          <ac:chgData name="Wenwen Zhang" userId="9dd81366-5d6f-445a-b031-6ea562624431" providerId="ADAL" clId="{83AF0EAE-1449-4C87-B14F-64EAAA6BDADC}" dt="2023-03-06T12:51:21.634" v="16748"/>
          <ac:spMkLst>
            <pc:docMk/>
            <pc:sldMk cId="200733304" sldId="2134804369"/>
            <ac:spMk id="69" creationId="{D2A41CA4-8CA0-3E40-0028-C13B2D9FC988}"/>
          </ac:spMkLst>
        </pc:spChg>
        <pc:spChg chg="add del mod modVis">
          <ac:chgData name="Wenwen Zhang" userId="9dd81366-5d6f-445a-b031-6ea562624431" providerId="ADAL" clId="{83AF0EAE-1449-4C87-B14F-64EAAA6BDADC}" dt="2023-03-09T15:31:47.524" v="57870"/>
          <ac:spMkLst>
            <pc:docMk/>
            <pc:sldMk cId="200733304" sldId="2134804369"/>
            <ac:spMk id="129" creationId="{B5A2B276-E662-B05F-7E8B-FE32C17804C2}"/>
          </ac:spMkLst>
        </pc:spChg>
        <pc:spChg chg="add del mod modVis">
          <ac:chgData name="Wenwen Zhang" userId="9dd81366-5d6f-445a-b031-6ea562624431" providerId="ADAL" clId="{83AF0EAE-1449-4C87-B14F-64EAAA6BDADC}" dt="2023-03-09T15:33:09.679" v="58486"/>
          <ac:spMkLst>
            <pc:docMk/>
            <pc:sldMk cId="200733304" sldId="2134804369"/>
            <ac:spMk id="131" creationId="{9595BA6B-ACE2-15CF-434C-4E2CC3612290}"/>
          </ac:spMkLst>
        </pc:spChg>
        <pc:spChg chg="add mod ord replST">
          <ac:chgData name="Wenwen Zhang" userId="9dd81366-5d6f-445a-b031-6ea562624431" providerId="ADAL" clId="{83AF0EAE-1449-4C87-B14F-64EAAA6BDADC}" dt="2023-03-09T15:33:15.959" v="59014"/>
          <ac:spMkLst>
            <pc:docMk/>
            <pc:sldMk cId="200733304" sldId="2134804369"/>
            <ac:spMk id="132" creationId="{96DB64E7-7450-5BAA-7DCA-6F75AE12EF02}"/>
          </ac:spMkLst>
        </pc:spChg>
        <pc:spChg chg="add del mod ord replST">
          <ac:chgData name="Wenwen Zhang" userId="9dd81366-5d6f-445a-b031-6ea562624431" providerId="ADAL" clId="{83AF0EAE-1449-4C87-B14F-64EAAA6BDADC}" dt="2023-03-09T15:33:15.912" v="58915"/>
          <ac:spMkLst>
            <pc:docMk/>
            <pc:sldMk cId="200733304" sldId="2134804369"/>
            <ac:spMk id="133" creationId="{96DB64E7-7450-5BAA-7DCA-6F75AE12EF02}"/>
          </ac:spMkLst>
        </pc:spChg>
        <pc:spChg chg="add del mod modVis">
          <ac:chgData name="Wenwen Zhang" userId="9dd81366-5d6f-445a-b031-6ea562624431" providerId="ADAL" clId="{83AF0EAE-1449-4C87-B14F-64EAAA6BDADC}" dt="2023-03-09T15:33:15.966" v="59051"/>
          <ac:spMkLst>
            <pc:docMk/>
            <pc:sldMk cId="200733304" sldId="2134804369"/>
            <ac:spMk id="135" creationId="{F4CDF74D-C4BC-364A-2307-98B57D16E3AF}"/>
          </ac:spMkLst>
        </pc:spChg>
        <pc:spChg chg="add mod ord replST">
          <ac:chgData name="Wenwen Zhang" userId="9dd81366-5d6f-445a-b031-6ea562624431" providerId="ADAL" clId="{83AF0EAE-1449-4C87-B14F-64EAAA6BDADC}" dt="2023-03-09T15:33:15.960" v="59016"/>
          <ac:spMkLst>
            <pc:docMk/>
            <pc:sldMk cId="200733304" sldId="2134804369"/>
            <ac:spMk id="136" creationId="{96DB64E7-7450-5BAA-7DCA-6F75AE12EF02}"/>
          </ac:spMkLst>
        </pc:spChg>
        <pc:spChg chg="add mod ord replST">
          <ac:chgData name="Wenwen Zhang" userId="9dd81366-5d6f-445a-b031-6ea562624431" providerId="ADAL" clId="{83AF0EAE-1449-4C87-B14F-64EAAA6BDADC}" dt="2023-03-09T15:33:15.960" v="59018"/>
          <ac:spMkLst>
            <pc:docMk/>
            <pc:sldMk cId="200733304" sldId="2134804369"/>
            <ac:spMk id="137" creationId="{96DB64E7-7450-5BAA-7DCA-6F75AE12EF02}"/>
          </ac:spMkLst>
        </pc:spChg>
        <pc:spChg chg="add del mod modVis">
          <ac:chgData name="Wenwen Zhang" userId="9dd81366-5d6f-445a-b031-6ea562624431" providerId="ADAL" clId="{83AF0EAE-1449-4C87-B14F-64EAAA6BDADC}" dt="2023-03-09T15:34:27.691" v="59211"/>
          <ac:spMkLst>
            <pc:docMk/>
            <pc:sldMk cId="200733304" sldId="2134804369"/>
            <ac:spMk id="140" creationId="{16AA0D3D-ACCE-061C-AC7E-53DEEADDE3C4}"/>
          </ac:spMkLst>
        </pc:spChg>
        <pc:spChg chg="del">
          <ac:chgData name="Wenwen Zhang" userId="9dd81366-5d6f-445a-b031-6ea562624431" providerId="ADAL" clId="{83AF0EAE-1449-4C87-B14F-64EAAA6BDADC}" dt="2023-03-06T12:51:21.644" v="16788"/>
          <ac:spMkLst>
            <pc:docMk/>
            <pc:sldMk cId="200733304" sldId="2134804369"/>
            <ac:spMk id="166" creationId="{96DB64E7-7450-5BAA-7DCA-6F75AE12EF02}"/>
          </ac:spMkLst>
        </pc:spChg>
        <pc:spChg chg="del">
          <ac:chgData name="Wenwen Zhang" userId="9dd81366-5d6f-445a-b031-6ea562624431" providerId="ADAL" clId="{83AF0EAE-1449-4C87-B14F-64EAAA6BDADC}" dt="2023-03-06T12:51:21.642" v="16782"/>
          <ac:spMkLst>
            <pc:docMk/>
            <pc:sldMk cId="200733304" sldId="2134804369"/>
            <ac:spMk id="167" creationId="{96DB64E7-7450-5BAA-7DCA-6F75AE12EF02}"/>
          </ac:spMkLst>
        </pc:spChg>
        <pc:spChg chg="del">
          <ac:chgData name="Wenwen Zhang" userId="9dd81366-5d6f-445a-b031-6ea562624431" providerId="ADAL" clId="{83AF0EAE-1449-4C87-B14F-64EAAA6BDADC}" dt="2023-03-06T12:51:21.641" v="16776"/>
          <ac:spMkLst>
            <pc:docMk/>
            <pc:sldMk cId="200733304" sldId="2134804369"/>
            <ac:spMk id="168" creationId="{96DB64E7-7450-5BAA-7DCA-6F75AE12EF02}"/>
          </ac:spMkLst>
        </pc:spChg>
        <pc:spChg chg="del">
          <ac:chgData name="Wenwen Zhang" userId="9dd81366-5d6f-445a-b031-6ea562624431" providerId="ADAL" clId="{83AF0EAE-1449-4C87-B14F-64EAAA6BDADC}" dt="2023-03-06T12:51:21.640" v="16770"/>
          <ac:spMkLst>
            <pc:docMk/>
            <pc:sldMk cId="200733304" sldId="2134804369"/>
            <ac:spMk id="169" creationId="{96DB64E7-7450-5BAA-7DCA-6F75AE12EF02}"/>
          </ac:spMkLst>
        </pc:spChg>
        <pc:spChg chg="del">
          <ac:chgData name="Wenwen Zhang" userId="9dd81366-5d6f-445a-b031-6ea562624431" providerId="ADAL" clId="{83AF0EAE-1449-4C87-B14F-64EAAA6BDADC}" dt="2023-03-06T12:51:21.638" v="16764"/>
          <ac:spMkLst>
            <pc:docMk/>
            <pc:sldMk cId="200733304" sldId="2134804369"/>
            <ac:spMk id="170" creationId="{96DB64E7-7450-5BAA-7DCA-6F75AE12EF02}"/>
          </ac:spMkLst>
        </pc:spChg>
        <pc:spChg chg="del">
          <ac:chgData name="Wenwen Zhang" userId="9dd81366-5d6f-445a-b031-6ea562624431" providerId="ADAL" clId="{83AF0EAE-1449-4C87-B14F-64EAAA6BDADC}" dt="2023-03-06T12:51:21.637" v="16758"/>
          <ac:spMkLst>
            <pc:docMk/>
            <pc:sldMk cId="200733304" sldId="2134804369"/>
            <ac:spMk id="171" creationId="{96DB64E7-7450-5BAA-7DCA-6F75AE12EF02}"/>
          </ac:spMkLst>
        </pc:spChg>
        <pc:spChg chg="mod ord">
          <ac:chgData name="Wenwen Zhang" userId="9dd81366-5d6f-445a-b031-6ea562624431" providerId="ADAL" clId="{83AF0EAE-1449-4C87-B14F-64EAAA6BDADC}" dt="2023-03-09T15:33:15.954" v="58987"/>
          <ac:spMkLst>
            <pc:docMk/>
            <pc:sldMk cId="200733304" sldId="2134804369"/>
            <ac:spMk id="181" creationId="{7CDC462B-DC01-E701-64AE-27E4845FB608}"/>
          </ac:spMkLst>
        </pc:spChg>
        <pc:graphicFrameChg chg="add del mod replST">
          <ac:chgData name="Wenwen Zhang" userId="9dd81366-5d6f-445a-b031-6ea562624431" providerId="ADAL" clId="{83AF0EAE-1449-4C87-B14F-64EAAA6BDADC}" dt="2023-03-06T12:51:51.858" v="17394"/>
          <ac:graphicFrameMkLst>
            <pc:docMk/>
            <pc:sldMk cId="200733304" sldId="2134804369"/>
            <ac:graphicFrameMk id="9" creationId="{78D9359E-D610-F0D5-7DD9-654CAE33E640}"/>
          </ac:graphicFrameMkLst>
        </pc:graphicFrameChg>
        <pc:graphicFrameChg chg="del">
          <ac:chgData name="Wenwen Zhang" userId="9dd81366-5d6f-445a-b031-6ea562624431" providerId="ADAL" clId="{83AF0EAE-1449-4C87-B14F-64EAAA6BDADC}" dt="2023-03-06T12:51:21.646" v="16795"/>
          <ac:graphicFrameMkLst>
            <pc:docMk/>
            <pc:sldMk cId="200733304" sldId="2134804369"/>
            <ac:graphicFrameMk id="12" creationId="{CD2E35E0-19EB-2106-2C63-15375D7273C0}"/>
          </ac:graphicFrameMkLst>
        </pc:graphicFrameChg>
        <pc:graphicFrameChg chg="mod">
          <ac:chgData name="Wenwen Zhang" userId="9dd81366-5d6f-445a-b031-6ea562624431" providerId="ADAL" clId="{83AF0EAE-1449-4C87-B14F-64EAAA6BDADC}" dt="2023-03-09T15:34:27.695" v="59213"/>
          <ac:graphicFrameMkLst>
            <pc:docMk/>
            <pc:sldMk cId="200733304" sldId="2134804369"/>
            <ac:graphicFrameMk id="28" creationId="{015DFAEE-F78A-C272-92CE-F25C3417CAD0}"/>
          </ac:graphicFrameMkLst>
        </pc:graphicFrameChg>
        <pc:graphicFrameChg chg="add del mod ord replST">
          <ac:chgData name="Wenwen Zhang" userId="9dd81366-5d6f-445a-b031-6ea562624431" providerId="ADAL" clId="{83AF0EAE-1449-4C87-B14F-64EAAA6BDADC}" dt="2023-03-09T15:31:15.041" v="56755"/>
          <ac:graphicFrameMkLst>
            <pc:docMk/>
            <pc:sldMk cId="200733304" sldId="2134804369"/>
            <ac:graphicFrameMk id="46" creationId="{1079B360-2081-DCA8-57A2-9BEA32BDA6D2}"/>
          </ac:graphicFrameMkLst>
        </pc:graphicFrameChg>
        <pc:graphicFrameChg chg="add del mod ord replST">
          <ac:chgData name="Wenwen Zhang" userId="9dd81366-5d6f-445a-b031-6ea562624431" providerId="ADAL" clId="{83AF0EAE-1449-4C87-B14F-64EAAA6BDADC}" dt="2023-03-06T12:52:02.772" v="17678"/>
          <ac:graphicFrameMkLst>
            <pc:docMk/>
            <pc:sldMk cId="200733304" sldId="2134804369"/>
            <ac:graphicFrameMk id="47" creationId="{2F55BA76-EDB2-29D0-4BF1-35AB9099222E}"/>
          </ac:graphicFrameMkLst>
        </pc:graphicFrameChg>
        <pc:graphicFrameChg chg="add del mod ord replST">
          <ac:chgData name="Wenwen Zhang" userId="9dd81366-5d6f-445a-b031-6ea562624431" providerId="ADAL" clId="{83AF0EAE-1449-4C87-B14F-64EAAA6BDADC}" dt="2023-03-09T15:31:19.132" v="56912"/>
          <ac:graphicFrameMkLst>
            <pc:docMk/>
            <pc:sldMk cId="200733304" sldId="2134804369"/>
            <ac:graphicFrameMk id="48" creationId="{1AB7CFAF-BD58-0B3D-FA24-090E712FCFF1}"/>
          </ac:graphicFrameMkLst>
        </pc:graphicFrameChg>
        <pc:graphicFrameChg chg="add del mod ord replST">
          <ac:chgData name="Wenwen Zhang" userId="9dd81366-5d6f-445a-b031-6ea562624431" providerId="ADAL" clId="{83AF0EAE-1449-4C87-B14F-64EAAA6BDADC}" dt="2023-03-06T12:52:08.465" v="17880"/>
          <ac:graphicFrameMkLst>
            <pc:docMk/>
            <pc:sldMk cId="200733304" sldId="2134804369"/>
            <ac:graphicFrameMk id="49" creationId="{846BA173-0FE2-14CA-4E72-630418A50903}"/>
          </ac:graphicFrameMkLst>
        </pc:graphicFrameChg>
        <pc:graphicFrameChg chg="add del mod ord replST">
          <ac:chgData name="Wenwen Zhang" userId="9dd81366-5d6f-445a-b031-6ea562624431" providerId="ADAL" clId="{83AF0EAE-1449-4C87-B14F-64EAAA6BDADC}" dt="2023-03-09T15:31:32.704" v="57073"/>
          <ac:graphicFrameMkLst>
            <pc:docMk/>
            <pc:sldMk cId="200733304" sldId="2134804369"/>
            <ac:graphicFrameMk id="50" creationId="{D7F4684C-1D1D-605A-087C-11D8549BBF72}"/>
          </ac:graphicFrameMkLst>
        </pc:graphicFrameChg>
        <pc:graphicFrameChg chg="add del mod ord replST">
          <ac:chgData name="Wenwen Zhang" userId="9dd81366-5d6f-445a-b031-6ea562624431" providerId="ADAL" clId="{83AF0EAE-1449-4C87-B14F-64EAAA6BDADC}" dt="2023-03-09T15:31:33.766" v="57267"/>
          <ac:graphicFrameMkLst>
            <pc:docMk/>
            <pc:sldMk cId="200733304" sldId="2134804369"/>
            <ac:graphicFrameMk id="52" creationId="{A34BBA9A-AA9A-D9C1-A676-BDB2FE17F405}"/>
          </ac:graphicFrameMkLst>
        </pc:graphicFrameChg>
        <pc:graphicFrameChg chg="add del mod ord replST">
          <ac:chgData name="Wenwen Zhang" userId="9dd81366-5d6f-445a-b031-6ea562624431" providerId="ADAL" clId="{83AF0EAE-1449-4C87-B14F-64EAAA6BDADC}" dt="2023-03-06T12:52:45.521" v="18333"/>
          <ac:graphicFrameMkLst>
            <pc:docMk/>
            <pc:sldMk cId="200733304" sldId="2134804369"/>
            <ac:graphicFrameMk id="52" creationId="{BBC3CC00-CBAC-B725-6B7E-BA1ED2B3226F}"/>
          </ac:graphicFrameMkLst>
        </pc:graphicFrameChg>
        <pc:graphicFrameChg chg="add del mod ord replST">
          <ac:chgData name="Wenwen Zhang" userId="9dd81366-5d6f-445a-b031-6ea562624431" providerId="ADAL" clId="{83AF0EAE-1449-4C87-B14F-64EAAA6BDADC}" dt="2023-03-09T15:31:34.582" v="57466"/>
          <ac:graphicFrameMkLst>
            <pc:docMk/>
            <pc:sldMk cId="200733304" sldId="2134804369"/>
            <ac:graphicFrameMk id="56" creationId="{275D8AFE-4273-1DA3-06CC-0748F7E9FC8D}"/>
          </ac:graphicFrameMkLst>
        </pc:graphicFrameChg>
        <pc:graphicFrameChg chg="add del mod ord replST">
          <ac:chgData name="Wenwen Zhang" userId="9dd81366-5d6f-445a-b031-6ea562624431" providerId="ADAL" clId="{83AF0EAE-1449-4C87-B14F-64EAAA6BDADC}" dt="2023-03-09T15:29:31.827" v="56597"/>
          <ac:graphicFrameMkLst>
            <pc:docMk/>
            <pc:sldMk cId="200733304" sldId="2134804369"/>
            <ac:graphicFrameMk id="60" creationId="{A4F2255A-57F5-F816-C3E5-0863B1B809DF}"/>
          </ac:graphicFrameMkLst>
        </pc:graphicFrameChg>
        <pc:graphicFrameChg chg="add del mod ord replST">
          <ac:chgData name="Wenwen Zhang" userId="9dd81366-5d6f-445a-b031-6ea562624431" providerId="ADAL" clId="{83AF0EAE-1449-4C87-B14F-64EAAA6BDADC}" dt="2023-03-09T15:31:42.605" v="57634"/>
          <ac:graphicFrameMkLst>
            <pc:docMk/>
            <pc:sldMk cId="200733304" sldId="2134804369"/>
            <ac:graphicFrameMk id="61" creationId="{F7188219-EE5A-E65B-0AB2-57D31B75D70A}"/>
          </ac:graphicFrameMkLst>
        </pc:graphicFrameChg>
        <pc:graphicFrameChg chg="add del mod ord replST">
          <ac:chgData name="Wenwen Zhang" userId="9dd81366-5d6f-445a-b031-6ea562624431" providerId="ADAL" clId="{83AF0EAE-1449-4C87-B14F-64EAAA6BDADC}" dt="2023-03-09T15:31:47.501" v="57790"/>
          <ac:graphicFrameMkLst>
            <pc:docMk/>
            <pc:sldMk cId="200733304" sldId="2134804369"/>
            <ac:graphicFrameMk id="128" creationId="{2A1FCD0D-67F0-F016-5FC2-E01089E5FCA0}"/>
          </ac:graphicFrameMkLst>
        </pc:graphicFrameChg>
        <pc:graphicFrameChg chg="add del mod ord replST">
          <ac:chgData name="Wenwen Zhang" userId="9dd81366-5d6f-445a-b031-6ea562624431" providerId="ADAL" clId="{83AF0EAE-1449-4C87-B14F-64EAAA6BDADC}" dt="2023-03-09T15:33:09.641" v="58390"/>
          <ac:graphicFrameMkLst>
            <pc:docMk/>
            <pc:sldMk cId="200733304" sldId="2134804369"/>
            <ac:graphicFrameMk id="130" creationId="{FBC0F54C-B4E6-722E-7BCD-FB160C488066}"/>
          </ac:graphicFrameMkLst>
        </pc:graphicFrameChg>
        <pc:graphicFrameChg chg="add del mod ord replST">
          <ac:chgData name="Wenwen Zhang" userId="9dd81366-5d6f-445a-b031-6ea562624431" providerId="ADAL" clId="{83AF0EAE-1449-4C87-B14F-64EAAA6BDADC}" dt="2023-03-09T15:33:15.929" v="58955"/>
          <ac:graphicFrameMkLst>
            <pc:docMk/>
            <pc:sldMk cId="200733304" sldId="2134804369"/>
            <ac:graphicFrameMk id="134" creationId="{20C94B3C-8D3D-C428-DD53-47A4E15B57E9}"/>
          </ac:graphicFrameMkLst>
        </pc:graphicFrameChg>
        <pc:graphicFrameChg chg="add mod ord replST">
          <ac:chgData name="Wenwen Zhang" userId="9dd81366-5d6f-445a-b031-6ea562624431" providerId="ADAL" clId="{83AF0EAE-1449-4C87-B14F-64EAAA6BDADC}" dt="2023-03-09T15:33:15.956" v="59001"/>
          <ac:graphicFrameMkLst>
            <pc:docMk/>
            <pc:sldMk cId="200733304" sldId="2134804369"/>
            <ac:graphicFrameMk id="138" creationId="{48C6CFAA-57A5-E0F5-916B-85E22780DCCD}"/>
          </ac:graphicFrameMkLst>
        </pc:graphicFrameChg>
        <pc:graphicFrameChg chg="add del mod">
          <ac:chgData name="Wenwen Zhang" userId="9dd81366-5d6f-445a-b031-6ea562624431" providerId="ADAL" clId="{83AF0EAE-1449-4C87-B14F-64EAAA6BDADC}" dt="2023-03-09T15:34:18.672" v="59131"/>
          <ac:graphicFrameMkLst>
            <pc:docMk/>
            <pc:sldMk cId="200733304" sldId="2134804369"/>
            <ac:graphicFrameMk id="139" creationId="{4D346ED8-D839-97AF-6F1B-844308C2665A}"/>
          </ac:graphicFrameMkLst>
        </pc:graphicFrameChg>
        <pc:cxnChg chg="add mod ord replST">
          <ac:chgData name="Wenwen Zhang" userId="9dd81366-5d6f-445a-b031-6ea562624431" providerId="ADAL" clId="{83AF0EAE-1449-4C87-B14F-64EAAA6BDADC}" dt="2023-03-09T15:33:15.956" v="58999"/>
          <ac:cxnSpMkLst>
            <pc:docMk/>
            <pc:sldMk cId="200733304" sldId="2134804369"/>
            <ac:cxnSpMk id="3" creationId="{180C50B9-E639-223B-D88A-764848C4DFC3}"/>
          </ac:cxnSpMkLst>
        </pc:cxnChg>
        <pc:cxnChg chg="add mod ord replST">
          <ac:chgData name="Wenwen Zhang" userId="9dd81366-5d6f-445a-b031-6ea562624431" providerId="ADAL" clId="{83AF0EAE-1449-4C87-B14F-64EAAA6BDADC}" dt="2023-03-09T15:33:15.954" v="58991"/>
          <ac:cxnSpMkLst>
            <pc:docMk/>
            <pc:sldMk cId="200733304" sldId="2134804369"/>
            <ac:cxnSpMk id="4" creationId="{59CFEDAB-7794-A3DD-7611-1D384145AC6E}"/>
          </ac:cxnSpMkLst>
        </pc:cxnChg>
        <pc:cxnChg chg="add mod ord replST">
          <ac:chgData name="Wenwen Zhang" userId="9dd81366-5d6f-445a-b031-6ea562624431" providerId="ADAL" clId="{83AF0EAE-1449-4C87-B14F-64EAAA6BDADC}" dt="2023-03-09T15:33:15.955" v="58993"/>
          <ac:cxnSpMkLst>
            <pc:docMk/>
            <pc:sldMk cId="200733304" sldId="2134804369"/>
            <ac:cxnSpMk id="5" creationId="{E6654F15-843F-BEC7-4EDB-4112C8C7A147}"/>
          </ac:cxnSpMkLst>
        </pc:cxnChg>
        <pc:cxnChg chg="add mod ord replST">
          <ac:chgData name="Wenwen Zhang" userId="9dd81366-5d6f-445a-b031-6ea562624431" providerId="ADAL" clId="{83AF0EAE-1449-4C87-B14F-64EAAA6BDADC}" dt="2023-03-09T15:33:15.954" v="58989"/>
          <ac:cxnSpMkLst>
            <pc:docMk/>
            <pc:sldMk cId="200733304" sldId="2134804369"/>
            <ac:cxnSpMk id="6" creationId="{8389B17E-ABEA-F643-4F6E-7CE38CF78E92}"/>
          </ac:cxnSpMkLst>
        </pc:cxnChg>
        <pc:cxnChg chg="add mod ord replST">
          <ac:chgData name="Wenwen Zhang" userId="9dd81366-5d6f-445a-b031-6ea562624431" providerId="ADAL" clId="{83AF0EAE-1449-4C87-B14F-64EAAA6BDADC}" dt="2023-03-09T15:33:15.955" v="58995"/>
          <ac:cxnSpMkLst>
            <pc:docMk/>
            <pc:sldMk cId="200733304" sldId="2134804369"/>
            <ac:cxnSpMk id="7" creationId="{4A70AC9B-D0FF-C373-D462-FF02DDD777C7}"/>
          </ac:cxnSpMkLst>
        </pc:cxnChg>
        <pc:cxnChg chg="add mod ord replST">
          <ac:chgData name="Wenwen Zhang" userId="9dd81366-5d6f-445a-b031-6ea562624431" providerId="ADAL" clId="{83AF0EAE-1449-4C87-B14F-64EAAA6BDADC}" dt="2023-03-09T15:33:15.955" v="58997"/>
          <ac:cxnSpMkLst>
            <pc:docMk/>
            <pc:sldMk cId="200733304" sldId="2134804369"/>
            <ac:cxnSpMk id="8" creationId="{923D110B-35CA-C383-A35A-A4A545899562}"/>
          </ac:cxnSpMkLst>
        </pc:cxnChg>
        <pc:cxnChg chg="del">
          <ac:chgData name="Wenwen Zhang" userId="9dd81366-5d6f-445a-b031-6ea562624431" providerId="ADAL" clId="{83AF0EAE-1449-4C87-B14F-64EAAA6BDADC}" dt="2023-03-06T12:51:21.640" v="16769"/>
          <ac:cxnSpMkLst>
            <pc:docMk/>
            <pc:sldMk cId="200733304" sldId="2134804369"/>
            <ac:cxnSpMk id="11" creationId="{36989B73-932F-7F73-67AE-4BADF3449F9F}"/>
          </ac:cxnSpMkLst>
        </pc:cxnChg>
        <pc:cxnChg chg="del">
          <ac:chgData name="Wenwen Zhang" userId="9dd81366-5d6f-445a-b031-6ea562624431" providerId="ADAL" clId="{83AF0EAE-1449-4C87-B14F-64EAAA6BDADC}" dt="2023-03-06T12:51:21.645" v="16793"/>
          <ac:cxnSpMkLst>
            <pc:docMk/>
            <pc:sldMk cId="200733304" sldId="2134804369"/>
            <ac:cxnSpMk id="25" creationId="{B98B81E8-E7A4-102B-F5B1-935F1709A52E}"/>
          </ac:cxnSpMkLst>
        </pc:cxnChg>
        <pc:cxnChg chg="del">
          <ac:chgData name="Wenwen Zhang" userId="9dd81366-5d6f-445a-b031-6ea562624431" providerId="ADAL" clId="{83AF0EAE-1449-4C87-B14F-64EAAA6BDADC}" dt="2023-03-06T12:51:21.643" v="16787"/>
          <ac:cxnSpMkLst>
            <pc:docMk/>
            <pc:sldMk cId="200733304" sldId="2134804369"/>
            <ac:cxnSpMk id="26" creationId="{B294AEC1-DDE5-CDAF-3F9B-D8CAE9EE86A4}"/>
          </ac:cxnSpMkLst>
        </pc:cxnChg>
        <pc:cxnChg chg="del">
          <ac:chgData name="Wenwen Zhang" userId="9dd81366-5d6f-445a-b031-6ea562624431" providerId="ADAL" clId="{83AF0EAE-1449-4C87-B14F-64EAAA6BDADC}" dt="2023-03-06T12:51:21.642" v="16781"/>
          <ac:cxnSpMkLst>
            <pc:docMk/>
            <pc:sldMk cId="200733304" sldId="2134804369"/>
            <ac:cxnSpMk id="31" creationId="{BBA4CFD8-50E2-590E-359C-B7B30680283A}"/>
          </ac:cxnSpMkLst>
        </pc:cxnChg>
        <pc:cxnChg chg="del">
          <ac:chgData name="Wenwen Zhang" userId="9dd81366-5d6f-445a-b031-6ea562624431" providerId="ADAL" clId="{83AF0EAE-1449-4C87-B14F-64EAAA6BDADC}" dt="2023-03-06T12:51:21.641" v="16775"/>
          <ac:cxnSpMkLst>
            <pc:docMk/>
            <pc:sldMk cId="200733304" sldId="2134804369"/>
            <ac:cxnSpMk id="34" creationId="{90466765-2333-EB42-B879-3266B81004F2}"/>
          </ac:cxnSpMkLst>
        </pc:cxnChg>
        <pc:cxnChg chg="del">
          <ac:chgData name="Wenwen Zhang" userId="9dd81366-5d6f-445a-b031-6ea562624431" providerId="ADAL" clId="{83AF0EAE-1449-4C87-B14F-64EAAA6BDADC}" dt="2023-03-06T12:51:21.638" v="16763"/>
          <ac:cxnSpMkLst>
            <pc:docMk/>
            <pc:sldMk cId="200733304" sldId="2134804369"/>
            <ac:cxnSpMk id="39" creationId="{64B2D29A-8079-5F0A-1C71-BE7A1F1BEE65}"/>
          </ac:cxnSpMkLst>
        </pc:cxnChg>
        <pc:cxnChg chg="del">
          <ac:chgData name="Wenwen Zhang" userId="9dd81366-5d6f-445a-b031-6ea562624431" providerId="ADAL" clId="{83AF0EAE-1449-4C87-B14F-64EAAA6BDADC}" dt="2023-03-06T12:51:21.637" v="16757"/>
          <ac:cxnSpMkLst>
            <pc:docMk/>
            <pc:sldMk cId="200733304" sldId="2134804369"/>
            <ac:cxnSpMk id="42" creationId="{CA523B21-1A74-CF9C-C27A-9A5B306A90FD}"/>
          </ac:cxnSpMkLst>
        </pc:cxnChg>
        <pc:cxnChg chg="del">
          <ac:chgData name="Wenwen Zhang" userId="9dd81366-5d6f-445a-b031-6ea562624431" providerId="ADAL" clId="{83AF0EAE-1449-4C87-B14F-64EAAA6BDADC}" dt="2023-03-06T12:51:21.629" v="16747"/>
          <ac:cxnSpMkLst>
            <pc:docMk/>
            <pc:sldMk cId="200733304" sldId="2134804369"/>
            <ac:cxnSpMk id="64" creationId="{CDC2214B-B624-4ABB-E00E-E9564153FBE5}"/>
          </ac:cxnSpMkLst>
        </pc:cxnChg>
        <pc:cxnChg chg="del">
          <ac:chgData name="Wenwen Zhang" userId="9dd81366-5d6f-445a-b031-6ea562624431" providerId="ADAL" clId="{83AF0EAE-1449-4C87-B14F-64EAAA6BDADC}" dt="2023-03-06T12:51:21.636" v="16753"/>
          <ac:cxnSpMkLst>
            <pc:docMk/>
            <pc:sldMk cId="200733304" sldId="2134804369"/>
            <ac:cxnSpMk id="65" creationId="{E56A49A2-72D4-FBAC-1B5D-86ED101CA13A}"/>
          </ac:cxnSpMkLst>
        </pc:cxnChg>
        <pc:cxnChg chg="del">
          <ac:chgData name="Wenwen Zhang" userId="9dd81366-5d6f-445a-b031-6ea562624431" providerId="ADAL" clId="{83AF0EAE-1449-4C87-B14F-64EAAA6BDADC}" dt="2023-03-06T12:51:21.635" v="16750"/>
          <ac:cxnSpMkLst>
            <pc:docMk/>
            <pc:sldMk cId="200733304" sldId="2134804369"/>
            <ac:cxnSpMk id="66" creationId="{D884AC93-119A-B9AF-03F2-E526E09BD973}"/>
          </ac:cxnSpMkLst>
        </pc:cxnChg>
        <pc:cxnChg chg="del">
          <ac:chgData name="Wenwen Zhang" userId="9dd81366-5d6f-445a-b031-6ea562624431" providerId="ADAL" clId="{83AF0EAE-1449-4C87-B14F-64EAAA6BDADC}" dt="2023-03-06T12:51:21.644" v="16790"/>
          <ac:cxnSpMkLst>
            <pc:docMk/>
            <pc:sldMk cId="200733304" sldId="2134804369"/>
            <ac:cxnSpMk id="172" creationId="{B5F5BC6E-FD1F-6113-F7EF-21987490C173}"/>
          </ac:cxnSpMkLst>
        </pc:cxnChg>
        <pc:cxnChg chg="del">
          <ac:chgData name="Wenwen Zhang" userId="9dd81366-5d6f-445a-b031-6ea562624431" providerId="ADAL" clId="{83AF0EAE-1449-4C87-B14F-64EAAA6BDADC}" dt="2023-03-06T12:51:21.643" v="16784"/>
          <ac:cxnSpMkLst>
            <pc:docMk/>
            <pc:sldMk cId="200733304" sldId="2134804369"/>
            <ac:cxnSpMk id="173" creationId="{6EFB9C0C-869F-F0AA-4679-52CE8DC641B3}"/>
          </ac:cxnSpMkLst>
        </pc:cxnChg>
        <pc:cxnChg chg="del">
          <ac:chgData name="Wenwen Zhang" userId="9dd81366-5d6f-445a-b031-6ea562624431" providerId="ADAL" clId="{83AF0EAE-1449-4C87-B14F-64EAAA6BDADC}" dt="2023-03-06T12:51:21.641" v="16778"/>
          <ac:cxnSpMkLst>
            <pc:docMk/>
            <pc:sldMk cId="200733304" sldId="2134804369"/>
            <ac:cxnSpMk id="174" creationId="{EC9C4FBC-F489-FD5A-4129-B3A2E02409C1}"/>
          </ac:cxnSpMkLst>
        </pc:cxnChg>
        <pc:cxnChg chg="del">
          <ac:chgData name="Wenwen Zhang" userId="9dd81366-5d6f-445a-b031-6ea562624431" providerId="ADAL" clId="{83AF0EAE-1449-4C87-B14F-64EAAA6BDADC}" dt="2023-03-06T12:51:21.640" v="16772"/>
          <ac:cxnSpMkLst>
            <pc:docMk/>
            <pc:sldMk cId="200733304" sldId="2134804369"/>
            <ac:cxnSpMk id="175" creationId="{3D601B5C-8908-8F11-1FCE-3E34B0171AD5}"/>
          </ac:cxnSpMkLst>
        </pc:cxnChg>
        <pc:cxnChg chg="del">
          <ac:chgData name="Wenwen Zhang" userId="9dd81366-5d6f-445a-b031-6ea562624431" providerId="ADAL" clId="{83AF0EAE-1449-4C87-B14F-64EAAA6BDADC}" dt="2023-03-06T12:51:21.639" v="16766"/>
          <ac:cxnSpMkLst>
            <pc:docMk/>
            <pc:sldMk cId="200733304" sldId="2134804369"/>
            <ac:cxnSpMk id="176" creationId="{F10EAC1F-7C6E-E3E7-88D1-04F55C4CD46F}"/>
          </ac:cxnSpMkLst>
        </pc:cxnChg>
        <pc:cxnChg chg="del">
          <ac:chgData name="Wenwen Zhang" userId="9dd81366-5d6f-445a-b031-6ea562624431" providerId="ADAL" clId="{83AF0EAE-1449-4C87-B14F-64EAAA6BDADC}" dt="2023-03-06T12:51:21.638" v="16760"/>
          <ac:cxnSpMkLst>
            <pc:docMk/>
            <pc:sldMk cId="200733304" sldId="2134804369"/>
            <ac:cxnSpMk id="177" creationId="{A0509D4F-3A62-D57D-BB3C-A42840FFC36A}"/>
          </ac:cxnSpMkLst>
        </pc:cxnChg>
      </pc:sldChg>
      <pc:sldChg chg="addSp delSp modSp del mod">
        <pc:chgData name="Wenwen Zhang" userId="9dd81366-5d6f-445a-b031-6ea562624431" providerId="ADAL" clId="{83AF0EAE-1449-4C87-B14F-64EAAA6BDADC}" dt="2023-03-08T12:43:37.467" v="51274" actId="47"/>
        <pc:sldMkLst>
          <pc:docMk/>
          <pc:sldMk cId="1589772229" sldId="2134804370"/>
        </pc:sldMkLst>
        <pc:spChg chg="del">
          <ac:chgData name="Wenwen Zhang" userId="9dd81366-5d6f-445a-b031-6ea562624431" providerId="ADAL" clId="{83AF0EAE-1449-4C87-B14F-64EAAA6BDADC}" dt="2023-03-06T16:37:50.410" v="46397"/>
          <ac:spMkLst>
            <pc:docMk/>
            <pc:sldMk cId="1589772229" sldId="2134804370"/>
            <ac:spMk id="2" creationId="{B065B79C-C4D6-5961-7919-6BB68C420868}"/>
          </ac:spMkLst>
        </pc:spChg>
        <pc:spChg chg="del">
          <ac:chgData name="Wenwen Zhang" userId="9dd81366-5d6f-445a-b031-6ea562624431" providerId="ADAL" clId="{83AF0EAE-1449-4C87-B14F-64EAAA6BDADC}" dt="2023-03-06T16:37:50.414" v="46409"/>
          <ac:spMkLst>
            <pc:docMk/>
            <pc:sldMk cId="1589772229" sldId="2134804370"/>
            <ac:spMk id="7" creationId="{B897BED0-7E3A-3A8D-B920-1B363C04EA37}"/>
          </ac:spMkLst>
        </pc:spChg>
        <pc:spChg chg="del">
          <ac:chgData name="Wenwen Zhang" userId="9dd81366-5d6f-445a-b031-6ea562624431" providerId="ADAL" clId="{83AF0EAE-1449-4C87-B14F-64EAAA6BDADC}" dt="2023-03-06T16:37:50.413" v="46408"/>
          <ac:spMkLst>
            <pc:docMk/>
            <pc:sldMk cId="1589772229" sldId="2134804370"/>
            <ac:spMk id="10" creationId="{969A0A10-B87F-4770-ADD3-17876169F521}"/>
          </ac:spMkLst>
        </pc:spChg>
        <pc:spChg chg="del">
          <ac:chgData name="Wenwen Zhang" userId="9dd81366-5d6f-445a-b031-6ea562624431" providerId="ADAL" clId="{83AF0EAE-1449-4C87-B14F-64EAAA6BDADC}" dt="2023-03-06T16:37:50.413" v="46407"/>
          <ac:spMkLst>
            <pc:docMk/>
            <pc:sldMk cId="1589772229" sldId="2134804370"/>
            <ac:spMk id="13" creationId="{1244D58E-6521-D3B9-6475-FBD1CC6FDCB0}"/>
          </ac:spMkLst>
        </pc:spChg>
        <pc:spChg chg="del">
          <ac:chgData name="Wenwen Zhang" userId="9dd81366-5d6f-445a-b031-6ea562624431" providerId="ADAL" clId="{83AF0EAE-1449-4C87-B14F-64EAAA6BDADC}" dt="2023-03-06T16:37:50.413" v="46406"/>
          <ac:spMkLst>
            <pc:docMk/>
            <pc:sldMk cId="1589772229" sldId="2134804370"/>
            <ac:spMk id="16" creationId="{74200A09-03E2-B118-1BDA-A94A315A2AE6}"/>
          </ac:spMkLst>
        </pc:spChg>
        <pc:spChg chg="mod">
          <ac:chgData name="Wenwen Zhang" userId="9dd81366-5d6f-445a-b031-6ea562624431" providerId="ADAL" clId="{83AF0EAE-1449-4C87-B14F-64EAAA6BDADC}" dt="2023-03-06T16:38:36.859" v="46454" actId="403"/>
          <ac:spMkLst>
            <pc:docMk/>
            <pc:sldMk cId="1589772229" sldId="2134804370"/>
            <ac:spMk id="29" creationId="{D50B6CAA-A666-5524-85F7-444C607F0970}"/>
          </ac:spMkLst>
        </pc:spChg>
        <pc:spChg chg="del">
          <ac:chgData name="Wenwen Zhang" userId="9dd81366-5d6f-445a-b031-6ea562624431" providerId="ADAL" clId="{83AF0EAE-1449-4C87-B14F-64EAAA6BDADC}" dt="2023-03-06T16:37:50.418" v="46425"/>
          <ac:spMkLst>
            <pc:docMk/>
            <pc:sldMk cId="1589772229" sldId="2134804370"/>
            <ac:spMk id="50" creationId="{E65A8F27-559C-5100-A50C-241B4752E3D8}"/>
          </ac:spMkLst>
        </pc:spChg>
        <pc:spChg chg="del">
          <ac:chgData name="Wenwen Zhang" userId="9dd81366-5d6f-445a-b031-6ea562624431" providerId="ADAL" clId="{83AF0EAE-1449-4C87-B14F-64EAAA6BDADC}" dt="2023-03-06T16:37:50.419" v="46432"/>
          <ac:spMkLst>
            <pc:docMk/>
            <pc:sldMk cId="1589772229" sldId="2134804370"/>
            <ac:spMk id="131" creationId="{96DB64E7-7450-5BAA-7DCA-6F75AE12EF02}"/>
          </ac:spMkLst>
        </pc:spChg>
        <pc:spChg chg="del">
          <ac:chgData name="Wenwen Zhang" userId="9dd81366-5d6f-445a-b031-6ea562624431" providerId="ADAL" clId="{83AF0EAE-1449-4C87-B14F-64EAAA6BDADC}" dt="2023-03-06T16:37:50.418" v="46428"/>
          <ac:spMkLst>
            <pc:docMk/>
            <pc:sldMk cId="1589772229" sldId="2134804370"/>
            <ac:spMk id="176" creationId="{0333CDF8-75B9-FB8B-354B-CE0536B52445}"/>
          </ac:spMkLst>
        </pc:spChg>
        <pc:spChg chg="del">
          <ac:chgData name="Wenwen Zhang" userId="9dd81366-5d6f-445a-b031-6ea562624431" providerId="ADAL" clId="{83AF0EAE-1449-4C87-B14F-64EAAA6BDADC}" dt="2023-03-06T16:37:50.419" v="46431"/>
          <ac:spMkLst>
            <pc:docMk/>
            <pc:sldMk cId="1589772229" sldId="2134804370"/>
            <ac:spMk id="341" creationId="{684A672A-79D1-5720-64EE-C0A5AEEF8BD4}"/>
          </ac:spMkLst>
        </pc:spChg>
        <pc:spChg chg="del">
          <ac:chgData name="Wenwen Zhang" userId="9dd81366-5d6f-445a-b031-6ea562624431" providerId="ADAL" clId="{83AF0EAE-1449-4C87-B14F-64EAAA6BDADC}" dt="2023-03-06T16:37:50.417" v="46422"/>
          <ac:spMkLst>
            <pc:docMk/>
            <pc:sldMk cId="1589772229" sldId="2134804370"/>
            <ac:spMk id="353" creationId="{96DB64E7-7450-5BAA-7DCA-6F75AE12EF02}"/>
          </ac:spMkLst>
        </pc:spChg>
        <pc:spChg chg="del">
          <ac:chgData name="Wenwen Zhang" userId="9dd81366-5d6f-445a-b031-6ea562624431" providerId="ADAL" clId="{83AF0EAE-1449-4C87-B14F-64EAAA6BDADC}" dt="2023-03-06T16:37:50.417" v="46421"/>
          <ac:spMkLst>
            <pc:docMk/>
            <pc:sldMk cId="1589772229" sldId="2134804370"/>
            <ac:spMk id="356" creationId="{96DB64E7-7450-5BAA-7DCA-6F75AE12EF02}"/>
          </ac:spMkLst>
        </pc:spChg>
        <pc:spChg chg="del">
          <ac:chgData name="Wenwen Zhang" userId="9dd81366-5d6f-445a-b031-6ea562624431" providerId="ADAL" clId="{83AF0EAE-1449-4C87-B14F-64EAAA6BDADC}" dt="2023-03-06T16:37:50.416" v="46420"/>
          <ac:spMkLst>
            <pc:docMk/>
            <pc:sldMk cId="1589772229" sldId="2134804370"/>
            <ac:spMk id="359" creationId="{96DB64E7-7450-5BAA-7DCA-6F75AE12EF02}"/>
          </ac:spMkLst>
        </pc:spChg>
        <pc:spChg chg="del">
          <ac:chgData name="Wenwen Zhang" userId="9dd81366-5d6f-445a-b031-6ea562624431" providerId="ADAL" clId="{83AF0EAE-1449-4C87-B14F-64EAAA6BDADC}" dt="2023-03-06T16:37:50.416" v="46419"/>
          <ac:spMkLst>
            <pc:docMk/>
            <pc:sldMk cId="1589772229" sldId="2134804370"/>
            <ac:spMk id="362" creationId="{96DB64E7-7450-5BAA-7DCA-6F75AE12EF02}"/>
          </ac:spMkLst>
        </pc:spChg>
        <pc:spChg chg="del">
          <ac:chgData name="Wenwen Zhang" userId="9dd81366-5d6f-445a-b031-6ea562624431" providerId="ADAL" clId="{83AF0EAE-1449-4C87-B14F-64EAAA6BDADC}" dt="2023-03-06T16:37:50.416" v="46418"/>
          <ac:spMkLst>
            <pc:docMk/>
            <pc:sldMk cId="1589772229" sldId="2134804370"/>
            <ac:spMk id="365" creationId="{96DB64E7-7450-5BAA-7DCA-6F75AE12EF02}"/>
          </ac:spMkLst>
        </pc:spChg>
        <pc:spChg chg="del">
          <ac:chgData name="Wenwen Zhang" userId="9dd81366-5d6f-445a-b031-6ea562624431" providerId="ADAL" clId="{83AF0EAE-1449-4C87-B14F-64EAAA6BDADC}" dt="2023-03-06T16:37:50.416" v="46417"/>
          <ac:spMkLst>
            <pc:docMk/>
            <pc:sldMk cId="1589772229" sldId="2134804370"/>
            <ac:spMk id="368" creationId="{96DB64E7-7450-5BAA-7DCA-6F75AE12EF02}"/>
          </ac:spMkLst>
        </pc:spChg>
        <pc:spChg chg="del">
          <ac:chgData name="Wenwen Zhang" userId="9dd81366-5d6f-445a-b031-6ea562624431" providerId="ADAL" clId="{83AF0EAE-1449-4C87-B14F-64EAAA6BDADC}" dt="2023-03-06T16:37:50.415" v="46416"/>
          <ac:spMkLst>
            <pc:docMk/>
            <pc:sldMk cId="1589772229" sldId="2134804370"/>
            <ac:spMk id="371" creationId="{96DB64E7-7450-5BAA-7DCA-6F75AE12EF02}"/>
          </ac:spMkLst>
        </pc:spChg>
        <pc:spChg chg="del">
          <ac:chgData name="Wenwen Zhang" userId="9dd81366-5d6f-445a-b031-6ea562624431" providerId="ADAL" clId="{83AF0EAE-1449-4C87-B14F-64EAAA6BDADC}" dt="2023-03-06T16:37:50.415" v="46415"/>
          <ac:spMkLst>
            <pc:docMk/>
            <pc:sldMk cId="1589772229" sldId="2134804370"/>
            <ac:spMk id="374" creationId="{96DB64E7-7450-5BAA-7DCA-6F75AE12EF02}"/>
          </ac:spMkLst>
        </pc:spChg>
        <pc:spChg chg="del">
          <ac:chgData name="Wenwen Zhang" userId="9dd81366-5d6f-445a-b031-6ea562624431" providerId="ADAL" clId="{83AF0EAE-1449-4C87-B14F-64EAAA6BDADC}" dt="2023-03-06T16:37:50.415" v="46414"/>
          <ac:spMkLst>
            <pc:docMk/>
            <pc:sldMk cId="1589772229" sldId="2134804370"/>
            <ac:spMk id="377" creationId="{96DB64E7-7450-5BAA-7DCA-6F75AE12EF02}"/>
          </ac:spMkLst>
        </pc:spChg>
        <pc:spChg chg="del">
          <ac:chgData name="Wenwen Zhang" userId="9dd81366-5d6f-445a-b031-6ea562624431" providerId="ADAL" clId="{83AF0EAE-1449-4C87-B14F-64EAAA6BDADC}" dt="2023-03-06T16:37:50.415" v="46413"/>
          <ac:spMkLst>
            <pc:docMk/>
            <pc:sldMk cId="1589772229" sldId="2134804370"/>
            <ac:spMk id="380" creationId="{96DB64E7-7450-5BAA-7DCA-6F75AE12EF02}"/>
          </ac:spMkLst>
        </pc:spChg>
        <pc:spChg chg="del">
          <ac:chgData name="Wenwen Zhang" userId="9dd81366-5d6f-445a-b031-6ea562624431" providerId="ADAL" clId="{83AF0EAE-1449-4C87-B14F-64EAAA6BDADC}" dt="2023-03-06T16:37:50.414" v="46412"/>
          <ac:spMkLst>
            <pc:docMk/>
            <pc:sldMk cId="1589772229" sldId="2134804370"/>
            <ac:spMk id="383" creationId="{96DB64E7-7450-5BAA-7DCA-6F75AE12EF02}"/>
          </ac:spMkLst>
        </pc:spChg>
        <pc:spChg chg="del">
          <ac:chgData name="Wenwen Zhang" userId="9dd81366-5d6f-445a-b031-6ea562624431" providerId="ADAL" clId="{83AF0EAE-1449-4C87-B14F-64EAAA6BDADC}" dt="2023-03-06T16:37:50.412" v="46405"/>
          <ac:spMkLst>
            <pc:docMk/>
            <pc:sldMk cId="1589772229" sldId="2134804370"/>
            <ac:spMk id="732" creationId="{96DB64E7-7450-5BAA-7DCA-6F75AE12EF02}"/>
          </ac:spMkLst>
        </pc:spChg>
        <pc:spChg chg="del">
          <ac:chgData name="Wenwen Zhang" userId="9dd81366-5d6f-445a-b031-6ea562624431" providerId="ADAL" clId="{83AF0EAE-1449-4C87-B14F-64EAAA6BDADC}" dt="2023-03-06T16:37:50.414" v="46411"/>
          <ac:spMkLst>
            <pc:docMk/>
            <pc:sldMk cId="1589772229" sldId="2134804370"/>
            <ac:spMk id="770" creationId="{96DB64E7-7450-5BAA-7DCA-6F75AE12EF02}"/>
          </ac:spMkLst>
        </pc:spChg>
        <pc:spChg chg="del">
          <ac:chgData name="Wenwen Zhang" userId="9dd81366-5d6f-445a-b031-6ea562624431" providerId="ADAL" clId="{83AF0EAE-1449-4C87-B14F-64EAAA6BDADC}" dt="2023-03-06T16:37:50.414" v="46410"/>
          <ac:spMkLst>
            <pc:docMk/>
            <pc:sldMk cId="1589772229" sldId="2134804370"/>
            <ac:spMk id="773" creationId="{96DB64E7-7450-5BAA-7DCA-6F75AE12EF02}"/>
          </ac:spMkLst>
        </pc:spChg>
        <pc:graphicFrameChg chg="mod">
          <ac:chgData name="Wenwen Zhang" userId="9dd81366-5d6f-445a-b031-6ea562624431" providerId="ADAL" clId="{83AF0EAE-1449-4C87-B14F-64EAAA6BDADC}" dt="2023-03-06T16:37:50.425" v="46438"/>
          <ac:graphicFrameMkLst>
            <pc:docMk/>
            <pc:sldMk cId="1589772229" sldId="2134804370"/>
            <ac:graphicFrameMk id="28" creationId="{015DFAEE-F78A-C272-92CE-F25C3417CAD0}"/>
          </ac:graphicFrameMkLst>
        </pc:graphicFrameChg>
        <pc:graphicFrameChg chg="del">
          <ac:chgData name="Wenwen Zhang" userId="9dd81366-5d6f-445a-b031-6ea562624431" providerId="ADAL" clId="{83AF0EAE-1449-4C87-B14F-64EAAA6BDADC}" dt="2023-03-06T16:37:50.420" v="46434"/>
          <ac:graphicFrameMkLst>
            <pc:docMk/>
            <pc:sldMk cId="1589772229" sldId="2134804370"/>
            <ac:graphicFrameMk id="747" creationId="{629DE033-3B3F-65EC-F2AE-3E39455444BF}"/>
          </ac:graphicFrameMkLst>
        </pc:graphicFrameChg>
        <pc:picChg chg="add mod modCrop">
          <ac:chgData name="Wenwen Zhang" userId="9dd81366-5d6f-445a-b031-6ea562624431" providerId="ADAL" clId="{83AF0EAE-1449-4C87-B14F-64EAAA6BDADC}" dt="2023-03-06T16:38:20.717" v="46443" actId="1076"/>
          <ac:picMkLst>
            <pc:docMk/>
            <pc:sldMk cId="1589772229" sldId="2134804370"/>
            <ac:picMk id="4" creationId="{3440E476-FAF2-0FCA-63FA-7C6E909A6F0E}"/>
          </ac:picMkLst>
        </pc:picChg>
        <pc:cxnChg chg="del">
          <ac:chgData name="Wenwen Zhang" userId="9dd81366-5d6f-445a-b031-6ea562624431" providerId="ADAL" clId="{83AF0EAE-1449-4C87-B14F-64EAAA6BDADC}" dt="2023-03-06T16:37:50.417" v="46424"/>
          <ac:cxnSpMkLst>
            <pc:docMk/>
            <pc:sldMk cId="1589772229" sldId="2134804370"/>
            <ac:cxnSpMk id="53" creationId="{C5403623-851C-6292-2BE3-DC334D515CBE}"/>
          </ac:cxnSpMkLst>
        </pc:cxnChg>
        <pc:cxnChg chg="del">
          <ac:chgData name="Wenwen Zhang" userId="9dd81366-5d6f-445a-b031-6ea562624431" providerId="ADAL" clId="{83AF0EAE-1449-4C87-B14F-64EAAA6BDADC}" dt="2023-03-06T16:37:50.418" v="46427"/>
          <ac:cxnSpMkLst>
            <pc:docMk/>
            <pc:sldMk cId="1589772229" sldId="2134804370"/>
            <ac:cxnSpMk id="351" creationId="{B8898D04-479E-C629-732A-6F95BE615BDF}"/>
          </ac:cxnSpMkLst>
        </pc:cxnChg>
        <pc:cxnChg chg="del">
          <ac:chgData name="Wenwen Zhang" userId="9dd81366-5d6f-445a-b031-6ea562624431" providerId="ADAL" clId="{83AF0EAE-1449-4C87-B14F-64EAAA6BDADC}" dt="2023-03-06T16:37:50.412" v="46403"/>
          <ac:cxnSpMkLst>
            <pc:docMk/>
            <pc:sldMk cId="1589772229" sldId="2134804370"/>
            <ac:cxnSpMk id="733" creationId="{BF56C150-6E0A-70DB-F254-51477265455E}"/>
          </ac:cxnSpMkLst>
        </pc:cxnChg>
        <pc:cxnChg chg="del">
          <ac:chgData name="Wenwen Zhang" userId="9dd81366-5d6f-445a-b031-6ea562624431" providerId="ADAL" clId="{83AF0EAE-1449-4C87-B14F-64EAAA6BDADC}" dt="2023-03-06T16:37:50.412" v="46401"/>
          <ac:cxnSpMkLst>
            <pc:docMk/>
            <pc:sldMk cId="1589772229" sldId="2134804370"/>
            <ac:cxnSpMk id="734" creationId="{1D01DFB6-7285-DACC-E2A4-F552198D4AD3}"/>
          </ac:cxnSpMkLst>
        </pc:cxnChg>
        <pc:cxnChg chg="del">
          <ac:chgData name="Wenwen Zhang" userId="9dd81366-5d6f-445a-b031-6ea562624431" providerId="ADAL" clId="{83AF0EAE-1449-4C87-B14F-64EAAA6BDADC}" dt="2023-03-06T16:37:50.411" v="46399"/>
          <ac:cxnSpMkLst>
            <pc:docMk/>
            <pc:sldMk cId="1589772229" sldId="2134804370"/>
            <ac:cxnSpMk id="735" creationId="{980F47FB-5B3F-5FE6-3091-A65FABC27C3B}"/>
          </ac:cxnSpMkLst>
        </pc:cxnChg>
        <pc:cxnChg chg="del">
          <ac:chgData name="Wenwen Zhang" userId="9dd81366-5d6f-445a-b031-6ea562624431" providerId="ADAL" clId="{83AF0EAE-1449-4C87-B14F-64EAAA6BDADC}" dt="2023-03-06T16:37:50.419" v="46430"/>
          <ac:cxnSpMkLst>
            <pc:docMk/>
            <pc:sldMk cId="1589772229" sldId="2134804370"/>
            <ac:cxnSpMk id="744" creationId="{DD26C715-26F1-5C85-6A29-1821B415E66C}"/>
          </ac:cxnSpMkLst>
        </pc:cxnChg>
      </pc:sldChg>
      <pc:sldChg chg="del ord">
        <pc:chgData name="Wenwen Zhang" userId="9dd81366-5d6f-445a-b031-6ea562624431" providerId="ADAL" clId="{83AF0EAE-1449-4C87-B14F-64EAAA6BDADC}" dt="2023-03-06T12:55:07.053" v="18487" actId="47"/>
        <pc:sldMkLst>
          <pc:docMk/>
          <pc:sldMk cId="2167517715" sldId="2134804372"/>
        </pc:sldMkLst>
      </pc:sldChg>
      <pc:sldChg chg="addSp delSp modSp del mod modNotesTx">
        <pc:chgData name="Wenwen Zhang" userId="9dd81366-5d6f-445a-b031-6ea562624431" providerId="ADAL" clId="{83AF0EAE-1449-4C87-B14F-64EAAA6BDADC}" dt="2023-03-06T16:47:56.093" v="48292" actId="47"/>
        <pc:sldMkLst>
          <pc:docMk/>
          <pc:sldMk cId="2573365278" sldId="2134804375"/>
        </pc:sldMkLst>
        <pc:spChg chg="mod ord">
          <ac:chgData name="Wenwen Zhang" userId="9dd81366-5d6f-445a-b031-6ea562624431" providerId="ADAL" clId="{83AF0EAE-1449-4C87-B14F-64EAAA6BDADC}" dt="2023-03-06T16:26:12.599" v="45837"/>
          <ac:spMkLst>
            <pc:docMk/>
            <pc:sldMk cId="2573365278" sldId="2134804375"/>
            <ac:spMk id="2" creationId="{B065B79C-C4D6-5961-7919-6BB68C420868}"/>
          </ac:spMkLst>
        </pc:spChg>
        <pc:spChg chg="mod ord">
          <ac:chgData name="Wenwen Zhang" userId="9dd81366-5d6f-445a-b031-6ea562624431" providerId="ADAL" clId="{83AF0EAE-1449-4C87-B14F-64EAAA6BDADC}" dt="2023-03-06T16:47:03.621" v="48227" actId="20577"/>
          <ac:spMkLst>
            <pc:docMk/>
            <pc:sldMk cId="2573365278" sldId="2134804375"/>
            <ac:spMk id="29" creationId="{D50B6CAA-A666-5524-85F7-444C607F0970}"/>
          </ac:spMkLst>
        </pc:spChg>
        <pc:spChg chg="mod ord">
          <ac:chgData name="Wenwen Zhang" userId="9dd81366-5d6f-445a-b031-6ea562624431" providerId="ADAL" clId="{83AF0EAE-1449-4C87-B14F-64EAAA6BDADC}" dt="2023-03-06T16:26:12.599" v="45841"/>
          <ac:spMkLst>
            <pc:docMk/>
            <pc:sldMk cId="2573365278" sldId="2134804375"/>
            <ac:spMk id="43" creationId="{C58C7321-3BF7-61DC-5B1A-AD075E56AE05}"/>
          </ac:spMkLst>
        </pc:spChg>
        <pc:spChg chg="del">
          <ac:chgData name="Wenwen Zhang" userId="9dd81366-5d6f-445a-b031-6ea562624431" providerId="ADAL" clId="{83AF0EAE-1449-4C87-B14F-64EAAA6BDADC}" dt="2023-03-06T14:03:30.960" v="18527"/>
          <ac:spMkLst>
            <pc:docMk/>
            <pc:sldMk cId="2573365278" sldId="2134804375"/>
            <ac:spMk id="45" creationId="{60A5EDA6-1581-4C1B-0F33-75BB24155868}"/>
          </ac:spMkLst>
        </pc:spChg>
        <pc:spChg chg="del">
          <ac:chgData name="Wenwen Zhang" userId="9dd81366-5d6f-445a-b031-6ea562624431" providerId="ADAL" clId="{83AF0EAE-1449-4C87-B14F-64EAAA6BDADC}" dt="2023-03-06T14:03:30.958" v="18521"/>
          <ac:spMkLst>
            <pc:docMk/>
            <pc:sldMk cId="2573365278" sldId="2134804375"/>
            <ac:spMk id="46" creationId="{F6EE6FC4-06BE-032D-62DA-8AB057C340DB}"/>
          </ac:spMkLst>
        </pc:spChg>
        <pc:spChg chg="add mod replST">
          <ac:chgData name="Wenwen Zhang" userId="9dd81366-5d6f-445a-b031-6ea562624431" providerId="ADAL" clId="{83AF0EAE-1449-4C87-B14F-64EAAA6BDADC}" dt="2023-03-06T16:26:12.615" v="45925"/>
          <ac:spMkLst>
            <pc:docMk/>
            <pc:sldMk cId="2573365278" sldId="2134804375"/>
            <ac:spMk id="50" creationId="{D704A221-C1CD-6735-B476-2ACB998FAFA0}"/>
          </ac:spMkLst>
        </pc:spChg>
        <pc:spChg chg="del">
          <ac:chgData name="Wenwen Zhang" userId="9dd81366-5d6f-445a-b031-6ea562624431" providerId="ADAL" clId="{83AF0EAE-1449-4C87-B14F-64EAAA6BDADC}" dt="2023-03-06T14:03:30.956" v="18509"/>
          <ac:spMkLst>
            <pc:docMk/>
            <pc:sldMk cId="2573365278" sldId="2134804375"/>
            <ac:spMk id="51" creationId="{50326C18-B022-FF85-D344-051B3FE45C20}"/>
          </ac:spMkLst>
        </pc:spChg>
        <pc:spChg chg="add mod replST">
          <ac:chgData name="Wenwen Zhang" userId="9dd81366-5d6f-445a-b031-6ea562624431" providerId="ADAL" clId="{83AF0EAE-1449-4C87-B14F-64EAAA6BDADC}" dt="2023-03-06T16:26:12.617" v="45933"/>
          <ac:spMkLst>
            <pc:docMk/>
            <pc:sldMk cId="2573365278" sldId="2134804375"/>
            <ac:spMk id="52" creationId="{79DB6437-DA66-59A5-4A9E-21E70FD9F892}"/>
          </ac:spMkLst>
        </pc:spChg>
        <pc:spChg chg="add mod replST">
          <ac:chgData name="Wenwen Zhang" userId="9dd81366-5d6f-445a-b031-6ea562624431" providerId="ADAL" clId="{83AF0EAE-1449-4C87-B14F-64EAAA6BDADC}" dt="2023-03-06T16:26:12.612" v="45914"/>
          <ac:spMkLst>
            <pc:docMk/>
            <pc:sldMk cId="2573365278" sldId="2134804375"/>
            <ac:spMk id="53" creationId="{B4E76467-06F7-C06D-1143-BFB2409B175D}"/>
          </ac:spMkLst>
        </pc:spChg>
        <pc:spChg chg="del">
          <ac:chgData name="Wenwen Zhang" userId="9dd81366-5d6f-445a-b031-6ea562624431" providerId="ADAL" clId="{83AF0EAE-1449-4C87-B14F-64EAAA6BDADC}" dt="2023-03-06T14:03:30.954" v="18503"/>
          <ac:spMkLst>
            <pc:docMk/>
            <pc:sldMk cId="2573365278" sldId="2134804375"/>
            <ac:spMk id="54" creationId="{F5AE73F4-2208-7784-5A92-F88EC7C9AF6F}"/>
          </ac:spMkLst>
        </pc:spChg>
        <pc:spChg chg="add mod replST">
          <ac:chgData name="Wenwen Zhang" userId="9dd81366-5d6f-445a-b031-6ea562624431" providerId="ADAL" clId="{83AF0EAE-1449-4C87-B14F-64EAAA6BDADC}" dt="2023-03-06T16:26:12.612" v="45916"/>
          <ac:spMkLst>
            <pc:docMk/>
            <pc:sldMk cId="2573365278" sldId="2134804375"/>
            <ac:spMk id="55" creationId="{0F2B7D9A-2B76-7A86-D1CB-6298E418B73A}"/>
          </ac:spMkLst>
        </pc:spChg>
        <pc:spChg chg="del">
          <ac:chgData name="Wenwen Zhang" userId="9dd81366-5d6f-445a-b031-6ea562624431" providerId="ADAL" clId="{83AF0EAE-1449-4C87-B14F-64EAAA6BDADC}" dt="2023-03-06T14:03:30.953" v="18497"/>
          <ac:spMkLst>
            <pc:docMk/>
            <pc:sldMk cId="2573365278" sldId="2134804375"/>
            <ac:spMk id="56" creationId="{5599528B-8933-8418-470B-4FC962F494AC}"/>
          </ac:spMkLst>
        </pc:spChg>
        <pc:spChg chg="add mod replST">
          <ac:chgData name="Wenwen Zhang" userId="9dd81366-5d6f-445a-b031-6ea562624431" providerId="ADAL" clId="{83AF0EAE-1449-4C87-B14F-64EAAA6BDADC}" dt="2023-03-06T16:26:12.614" v="45920"/>
          <ac:spMkLst>
            <pc:docMk/>
            <pc:sldMk cId="2573365278" sldId="2134804375"/>
            <ac:spMk id="57" creationId="{67A2F1F0-34C5-1E14-9492-F080E73DCC7F}"/>
          </ac:spMkLst>
        </pc:spChg>
        <pc:spChg chg="del">
          <ac:chgData name="Wenwen Zhang" userId="9dd81366-5d6f-445a-b031-6ea562624431" providerId="ADAL" clId="{83AF0EAE-1449-4C87-B14F-64EAAA6BDADC}" dt="2023-03-06T14:03:30.957" v="18515"/>
          <ac:spMkLst>
            <pc:docMk/>
            <pc:sldMk cId="2573365278" sldId="2134804375"/>
            <ac:spMk id="58" creationId="{C29B06AF-B31A-F3FE-15D6-702FB1164441}"/>
          </ac:spMkLst>
        </pc:spChg>
        <pc:spChg chg="add mod replST">
          <ac:chgData name="Wenwen Zhang" userId="9dd81366-5d6f-445a-b031-6ea562624431" providerId="ADAL" clId="{83AF0EAE-1449-4C87-B14F-64EAAA6BDADC}" dt="2023-03-06T16:26:12.616" v="45932"/>
          <ac:spMkLst>
            <pc:docMk/>
            <pc:sldMk cId="2573365278" sldId="2134804375"/>
            <ac:spMk id="59" creationId="{C18E9B07-EED1-16A9-078D-8DCCB1EF088E}"/>
          </ac:spMkLst>
        </pc:spChg>
        <pc:spChg chg="add mod replST">
          <ac:chgData name="Wenwen Zhang" userId="9dd81366-5d6f-445a-b031-6ea562624431" providerId="ADAL" clId="{83AF0EAE-1449-4C87-B14F-64EAAA6BDADC}" dt="2023-03-06T16:26:12.616" v="45929"/>
          <ac:spMkLst>
            <pc:docMk/>
            <pc:sldMk cId="2573365278" sldId="2134804375"/>
            <ac:spMk id="60" creationId="{9E924F7A-EFD0-439E-C196-378FCAE536E6}"/>
          </ac:spMkLst>
        </pc:spChg>
        <pc:spChg chg="del">
          <ac:chgData name="Wenwen Zhang" userId="9dd81366-5d6f-445a-b031-6ea562624431" providerId="ADAL" clId="{83AF0EAE-1449-4C87-B14F-64EAAA6BDADC}" dt="2023-03-06T14:03:30.961" v="18533"/>
          <ac:spMkLst>
            <pc:docMk/>
            <pc:sldMk cId="2573365278" sldId="2134804375"/>
            <ac:spMk id="61" creationId="{2DA10572-55C8-32FE-15E0-4C91B5CD6363}"/>
          </ac:spMkLst>
        </pc:spChg>
        <pc:spChg chg="add mod replST">
          <ac:chgData name="Wenwen Zhang" userId="9dd81366-5d6f-445a-b031-6ea562624431" providerId="ADAL" clId="{83AF0EAE-1449-4C87-B14F-64EAAA6BDADC}" dt="2023-03-06T16:26:12.612" v="45915"/>
          <ac:spMkLst>
            <pc:docMk/>
            <pc:sldMk cId="2573365278" sldId="2134804375"/>
            <ac:spMk id="62" creationId="{2138C2B3-4621-0EFB-9FE3-E864ACF378D7}"/>
          </ac:spMkLst>
        </pc:spChg>
        <pc:spChg chg="add mod replST">
          <ac:chgData name="Wenwen Zhang" userId="9dd81366-5d6f-445a-b031-6ea562624431" providerId="ADAL" clId="{83AF0EAE-1449-4C87-B14F-64EAAA6BDADC}" dt="2023-03-06T16:26:12.612" v="45917"/>
          <ac:spMkLst>
            <pc:docMk/>
            <pc:sldMk cId="2573365278" sldId="2134804375"/>
            <ac:spMk id="63" creationId="{666FABD4-5416-C2FC-0E0A-A36B48F1B768}"/>
          </ac:spMkLst>
        </pc:spChg>
        <pc:spChg chg="del">
          <ac:chgData name="Wenwen Zhang" userId="9dd81366-5d6f-445a-b031-6ea562624431" providerId="ADAL" clId="{83AF0EAE-1449-4C87-B14F-64EAAA6BDADC}" dt="2023-03-06T14:03:30.952" v="18493"/>
          <ac:spMkLst>
            <pc:docMk/>
            <pc:sldMk cId="2573365278" sldId="2134804375"/>
            <ac:spMk id="67" creationId="{EB89D8E5-89C8-6819-6C93-C8672AC4E35E}"/>
          </ac:spMkLst>
        </pc:spChg>
        <pc:spChg chg="del">
          <ac:chgData name="Wenwen Zhang" userId="9dd81366-5d6f-445a-b031-6ea562624431" providerId="ADAL" clId="{83AF0EAE-1449-4C87-B14F-64EAAA6BDADC}" dt="2023-03-06T14:03:30.952" v="18496"/>
          <ac:spMkLst>
            <pc:docMk/>
            <pc:sldMk cId="2573365278" sldId="2134804375"/>
            <ac:spMk id="68" creationId="{13DE25E4-8BDF-BDB0-0042-EA9530B14B34}"/>
          </ac:spMkLst>
        </pc:spChg>
        <pc:spChg chg="del">
          <ac:chgData name="Wenwen Zhang" userId="9dd81366-5d6f-445a-b031-6ea562624431" providerId="ADAL" clId="{83AF0EAE-1449-4C87-B14F-64EAAA6BDADC}" dt="2023-03-06T14:03:30.951" v="18490"/>
          <ac:spMkLst>
            <pc:docMk/>
            <pc:sldMk cId="2573365278" sldId="2134804375"/>
            <ac:spMk id="69" creationId="{D2A41CA4-8CA0-3E40-0028-C13B2D9FC988}"/>
          </ac:spMkLst>
        </pc:spChg>
        <pc:spChg chg="add mod replST">
          <ac:chgData name="Wenwen Zhang" userId="9dd81366-5d6f-445a-b031-6ea562624431" providerId="ADAL" clId="{83AF0EAE-1449-4C87-B14F-64EAAA6BDADC}" dt="2023-03-06T16:26:12.615" v="45926"/>
          <ac:spMkLst>
            <pc:docMk/>
            <pc:sldMk cId="2573365278" sldId="2134804375"/>
            <ac:spMk id="70" creationId="{72023AE1-A439-B900-256B-0D953B22A882}"/>
          </ac:spMkLst>
        </pc:spChg>
        <pc:spChg chg="add mod replST">
          <ac:chgData name="Wenwen Zhang" userId="9dd81366-5d6f-445a-b031-6ea562624431" providerId="ADAL" clId="{83AF0EAE-1449-4C87-B14F-64EAAA6BDADC}" dt="2023-03-06T16:26:12.615" v="45924"/>
          <ac:spMkLst>
            <pc:docMk/>
            <pc:sldMk cId="2573365278" sldId="2134804375"/>
            <ac:spMk id="71" creationId="{9BA9369D-964F-B33F-B466-0912DEA7E379}"/>
          </ac:spMkLst>
        </pc:spChg>
        <pc:spChg chg="add mod replST">
          <ac:chgData name="Wenwen Zhang" userId="9dd81366-5d6f-445a-b031-6ea562624431" providerId="ADAL" clId="{83AF0EAE-1449-4C87-B14F-64EAAA6BDADC}" dt="2023-03-06T16:26:12.615" v="45923"/>
          <ac:spMkLst>
            <pc:docMk/>
            <pc:sldMk cId="2573365278" sldId="2134804375"/>
            <ac:spMk id="72" creationId="{6605DE1C-4948-6AFA-EA3B-0608B754999B}"/>
          </ac:spMkLst>
        </pc:spChg>
        <pc:spChg chg="add mod replST">
          <ac:chgData name="Wenwen Zhang" userId="9dd81366-5d6f-445a-b031-6ea562624431" providerId="ADAL" clId="{83AF0EAE-1449-4C87-B14F-64EAAA6BDADC}" dt="2023-03-06T16:26:12.616" v="45930"/>
          <ac:spMkLst>
            <pc:docMk/>
            <pc:sldMk cId="2573365278" sldId="2134804375"/>
            <ac:spMk id="73" creationId="{76DEBE83-3435-FD63-23E7-899A60C53A22}"/>
          </ac:spMkLst>
        </pc:spChg>
        <pc:spChg chg="add mod replST">
          <ac:chgData name="Wenwen Zhang" userId="9dd81366-5d6f-445a-b031-6ea562624431" providerId="ADAL" clId="{83AF0EAE-1449-4C87-B14F-64EAAA6BDADC}" dt="2023-03-06T16:26:12.614" v="45921"/>
          <ac:spMkLst>
            <pc:docMk/>
            <pc:sldMk cId="2573365278" sldId="2134804375"/>
            <ac:spMk id="74" creationId="{1F4F12DE-80BC-CD1E-CE14-C358C0142033}"/>
          </ac:spMkLst>
        </pc:spChg>
        <pc:spChg chg="add mod replST">
          <ac:chgData name="Wenwen Zhang" userId="9dd81366-5d6f-445a-b031-6ea562624431" providerId="ADAL" clId="{83AF0EAE-1449-4C87-B14F-64EAAA6BDADC}" dt="2023-03-06T16:26:12.611" v="45912"/>
          <ac:spMkLst>
            <pc:docMk/>
            <pc:sldMk cId="2573365278" sldId="2134804375"/>
            <ac:spMk id="75" creationId="{F62950B7-669A-6CD8-9F0A-F95CBD52457B}"/>
          </ac:spMkLst>
        </pc:spChg>
        <pc:spChg chg="add mod replST">
          <ac:chgData name="Wenwen Zhang" userId="9dd81366-5d6f-445a-b031-6ea562624431" providerId="ADAL" clId="{83AF0EAE-1449-4C87-B14F-64EAAA6BDADC}" dt="2023-03-06T16:26:12.616" v="45931"/>
          <ac:spMkLst>
            <pc:docMk/>
            <pc:sldMk cId="2573365278" sldId="2134804375"/>
            <ac:spMk id="76" creationId="{690E012C-FA9F-CB8B-3E51-9D250BF06124}"/>
          </ac:spMkLst>
        </pc:spChg>
        <pc:spChg chg="add mod replST">
          <ac:chgData name="Wenwen Zhang" userId="9dd81366-5d6f-445a-b031-6ea562624431" providerId="ADAL" clId="{83AF0EAE-1449-4C87-B14F-64EAAA6BDADC}" dt="2023-03-06T16:26:12.616" v="45928"/>
          <ac:spMkLst>
            <pc:docMk/>
            <pc:sldMk cId="2573365278" sldId="2134804375"/>
            <ac:spMk id="77" creationId="{9999190A-523B-71F3-E5FD-8F91A46CFF1C}"/>
          </ac:spMkLst>
        </pc:spChg>
        <pc:spChg chg="add mod replST">
          <ac:chgData name="Wenwen Zhang" userId="9dd81366-5d6f-445a-b031-6ea562624431" providerId="ADAL" clId="{83AF0EAE-1449-4C87-B14F-64EAAA6BDADC}" dt="2023-03-06T16:26:12.617" v="45935"/>
          <ac:spMkLst>
            <pc:docMk/>
            <pc:sldMk cId="2573365278" sldId="2134804375"/>
            <ac:spMk id="78" creationId="{682D78E7-CCEC-541B-D006-0EC6F0D719C3}"/>
          </ac:spMkLst>
        </pc:spChg>
        <pc:spChg chg="add mod replST">
          <ac:chgData name="Wenwen Zhang" userId="9dd81366-5d6f-445a-b031-6ea562624431" providerId="ADAL" clId="{83AF0EAE-1449-4C87-B14F-64EAAA6BDADC}" dt="2023-03-06T16:26:12.614" v="45922"/>
          <ac:spMkLst>
            <pc:docMk/>
            <pc:sldMk cId="2573365278" sldId="2134804375"/>
            <ac:spMk id="79" creationId="{BD2CF8F2-A147-09EE-7875-22F736A2CB67}"/>
          </ac:spMkLst>
        </pc:spChg>
        <pc:spChg chg="add mod replST">
          <ac:chgData name="Wenwen Zhang" userId="9dd81366-5d6f-445a-b031-6ea562624431" providerId="ADAL" clId="{83AF0EAE-1449-4C87-B14F-64EAAA6BDADC}" dt="2023-03-06T16:26:12.617" v="45934"/>
          <ac:spMkLst>
            <pc:docMk/>
            <pc:sldMk cId="2573365278" sldId="2134804375"/>
            <ac:spMk id="80" creationId="{6969FBE4-702F-D7ED-B19E-76BDC541D940}"/>
          </ac:spMkLst>
        </pc:spChg>
        <pc:spChg chg="add mod replST">
          <ac:chgData name="Wenwen Zhang" userId="9dd81366-5d6f-445a-b031-6ea562624431" providerId="ADAL" clId="{83AF0EAE-1449-4C87-B14F-64EAAA6BDADC}" dt="2023-03-06T16:26:12.615" v="45927"/>
          <ac:spMkLst>
            <pc:docMk/>
            <pc:sldMk cId="2573365278" sldId="2134804375"/>
            <ac:spMk id="81" creationId="{369B0425-EF39-6BDD-C053-0FCD1744812D}"/>
          </ac:spMkLst>
        </pc:spChg>
        <pc:spChg chg="add mod replST">
          <ac:chgData name="Wenwen Zhang" userId="9dd81366-5d6f-445a-b031-6ea562624431" providerId="ADAL" clId="{83AF0EAE-1449-4C87-B14F-64EAAA6BDADC}" dt="2023-03-06T16:26:12.617" v="45936"/>
          <ac:spMkLst>
            <pc:docMk/>
            <pc:sldMk cId="2573365278" sldId="2134804375"/>
            <ac:spMk id="82" creationId="{E83B378A-A235-A00F-594B-F4312D830C06}"/>
          </ac:spMkLst>
        </pc:spChg>
        <pc:spChg chg="add mod replST">
          <ac:chgData name="Wenwen Zhang" userId="9dd81366-5d6f-445a-b031-6ea562624431" providerId="ADAL" clId="{83AF0EAE-1449-4C87-B14F-64EAAA6BDADC}" dt="2023-03-06T16:26:12.612" v="45913"/>
          <ac:spMkLst>
            <pc:docMk/>
            <pc:sldMk cId="2573365278" sldId="2134804375"/>
            <ac:spMk id="83" creationId="{735FE05C-B482-FEDA-FEC0-EBE1391E1D4B}"/>
          </ac:spMkLst>
        </pc:spChg>
        <pc:spChg chg="add mod replST">
          <ac:chgData name="Wenwen Zhang" userId="9dd81366-5d6f-445a-b031-6ea562624431" providerId="ADAL" clId="{83AF0EAE-1449-4C87-B14F-64EAAA6BDADC}" dt="2023-03-06T16:26:12.614" v="45919"/>
          <ac:spMkLst>
            <pc:docMk/>
            <pc:sldMk cId="2573365278" sldId="2134804375"/>
            <ac:spMk id="84" creationId="{B4D4445E-9887-1D8D-43D4-95043202C2CB}"/>
          </ac:spMkLst>
        </pc:spChg>
        <pc:spChg chg="add mod replST">
          <ac:chgData name="Wenwen Zhang" userId="9dd81366-5d6f-445a-b031-6ea562624431" providerId="ADAL" clId="{83AF0EAE-1449-4C87-B14F-64EAAA6BDADC}" dt="2023-03-06T16:26:12.614" v="45918"/>
          <ac:spMkLst>
            <pc:docMk/>
            <pc:sldMk cId="2573365278" sldId="2134804375"/>
            <ac:spMk id="85" creationId="{B099590B-A727-5B58-A44C-78E1B8A168A4}"/>
          </ac:spMkLst>
        </pc:spChg>
        <pc:spChg chg="add del mod replST">
          <ac:chgData name="Wenwen Zhang" userId="9dd81366-5d6f-445a-b031-6ea562624431" providerId="ADAL" clId="{83AF0EAE-1449-4C87-B14F-64EAAA6BDADC}" dt="2023-03-06T16:26:12.454" v="45678"/>
          <ac:spMkLst>
            <pc:docMk/>
            <pc:sldMk cId="2573365278" sldId="2134804375"/>
            <ac:spMk id="89" creationId="{0ECE1B81-B2D3-AB1B-B784-E61529548726}"/>
          </ac:spMkLst>
        </pc:spChg>
        <pc:spChg chg="add mod ord replST">
          <ac:chgData name="Wenwen Zhang" userId="9dd81366-5d6f-445a-b031-6ea562624431" providerId="ADAL" clId="{83AF0EAE-1449-4C87-B14F-64EAAA6BDADC}" dt="2023-03-06T16:26:12.619" v="45944"/>
          <ac:spMkLst>
            <pc:docMk/>
            <pc:sldMk cId="2573365278" sldId="2134804375"/>
            <ac:spMk id="90" creationId="{AD8BC905-AB1E-8F7F-EACA-0FF03BADC299}"/>
          </ac:spMkLst>
        </pc:spChg>
        <pc:spChg chg="add del mod modVis">
          <ac:chgData name="Wenwen Zhang" userId="9dd81366-5d6f-445a-b031-6ea562624431" providerId="ADAL" clId="{83AF0EAE-1449-4C87-B14F-64EAAA6BDADC}" dt="2023-03-06T14:03:39.537" v="20105"/>
          <ac:spMkLst>
            <pc:docMk/>
            <pc:sldMk cId="2573365278" sldId="2134804375"/>
            <ac:spMk id="91" creationId="{80102AAF-0036-1B74-5AA7-C2637F2EAC15}"/>
          </ac:spMkLst>
        </pc:spChg>
        <pc:spChg chg="add del mod modVis">
          <ac:chgData name="Wenwen Zhang" userId="9dd81366-5d6f-445a-b031-6ea562624431" providerId="ADAL" clId="{83AF0EAE-1449-4C87-B14F-64EAAA6BDADC}" dt="2023-03-06T14:03:45.601" v="22998"/>
          <ac:spMkLst>
            <pc:docMk/>
            <pc:sldMk cId="2573365278" sldId="2134804375"/>
            <ac:spMk id="93" creationId="{970864BA-B947-BD97-E532-1FEA6161B4F2}"/>
          </ac:spMkLst>
        </pc:spChg>
        <pc:spChg chg="add del mod replST">
          <ac:chgData name="Wenwen Zhang" userId="9dd81366-5d6f-445a-b031-6ea562624431" providerId="ADAL" clId="{83AF0EAE-1449-4C87-B14F-64EAAA6BDADC}" dt="2023-03-06T14:04:04.177" v="23195"/>
          <ac:spMkLst>
            <pc:docMk/>
            <pc:sldMk cId="2573365278" sldId="2134804375"/>
            <ac:spMk id="94" creationId="{96DB64E7-7450-5BAA-7DCA-6F75AE12EF02}"/>
          </ac:spMkLst>
        </pc:spChg>
        <pc:spChg chg="add del mod replST">
          <ac:chgData name="Wenwen Zhang" userId="9dd81366-5d6f-445a-b031-6ea562624431" providerId="ADAL" clId="{83AF0EAE-1449-4C87-B14F-64EAAA6BDADC}" dt="2023-03-06T14:04:04.176" v="23192"/>
          <ac:spMkLst>
            <pc:docMk/>
            <pc:sldMk cId="2573365278" sldId="2134804375"/>
            <ac:spMk id="95" creationId="{96DB64E7-7450-5BAA-7DCA-6F75AE12EF02}"/>
          </ac:spMkLst>
        </pc:spChg>
        <pc:spChg chg="add del mod replST">
          <ac:chgData name="Wenwen Zhang" userId="9dd81366-5d6f-445a-b031-6ea562624431" providerId="ADAL" clId="{83AF0EAE-1449-4C87-B14F-64EAAA6BDADC}" dt="2023-03-06T14:04:04.176" v="23189"/>
          <ac:spMkLst>
            <pc:docMk/>
            <pc:sldMk cId="2573365278" sldId="2134804375"/>
            <ac:spMk id="96" creationId="{96DB64E7-7450-5BAA-7DCA-6F75AE12EF02}"/>
          </ac:spMkLst>
        </pc:spChg>
        <pc:spChg chg="add del mod replST">
          <ac:chgData name="Wenwen Zhang" userId="9dd81366-5d6f-445a-b031-6ea562624431" providerId="ADAL" clId="{83AF0EAE-1449-4C87-B14F-64EAAA6BDADC}" dt="2023-03-06T14:04:04.175" v="23186"/>
          <ac:spMkLst>
            <pc:docMk/>
            <pc:sldMk cId="2573365278" sldId="2134804375"/>
            <ac:spMk id="97" creationId="{96DB64E7-7450-5BAA-7DCA-6F75AE12EF02}"/>
          </ac:spMkLst>
        </pc:spChg>
        <pc:spChg chg="add del mod replST">
          <ac:chgData name="Wenwen Zhang" userId="9dd81366-5d6f-445a-b031-6ea562624431" providerId="ADAL" clId="{83AF0EAE-1449-4C87-B14F-64EAAA6BDADC}" dt="2023-03-06T14:04:04.174" v="23183"/>
          <ac:spMkLst>
            <pc:docMk/>
            <pc:sldMk cId="2573365278" sldId="2134804375"/>
            <ac:spMk id="98" creationId="{96DB64E7-7450-5BAA-7DCA-6F75AE12EF02}"/>
          </ac:spMkLst>
        </pc:spChg>
        <pc:spChg chg="add del mod replST">
          <ac:chgData name="Wenwen Zhang" userId="9dd81366-5d6f-445a-b031-6ea562624431" providerId="ADAL" clId="{83AF0EAE-1449-4C87-B14F-64EAAA6BDADC}" dt="2023-03-06T14:04:04.173" v="23180"/>
          <ac:spMkLst>
            <pc:docMk/>
            <pc:sldMk cId="2573365278" sldId="2134804375"/>
            <ac:spMk id="99" creationId="{96DB64E7-7450-5BAA-7DCA-6F75AE12EF02}"/>
          </ac:spMkLst>
        </pc:spChg>
        <pc:spChg chg="add del mod replST">
          <ac:chgData name="Wenwen Zhang" userId="9dd81366-5d6f-445a-b031-6ea562624431" providerId="ADAL" clId="{83AF0EAE-1449-4C87-B14F-64EAAA6BDADC}" dt="2023-03-06T14:04:04.173" v="23177"/>
          <ac:spMkLst>
            <pc:docMk/>
            <pc:sldMk cId="2573365278" sldId="2134804375"/>
            <ac:spMk id="100" creationId="{96DB64E7-7450-5BAA-7DCA-6F75AE12EF02}"/>
          </ac:spMkLst>
        </pc:spChg>
        <pc:spChg chg="add del mod replST">
          <ac:chgData name="Wenwen Zhang" userId="9dd81366-5d6f-445a-b031-6ea562624431" providerId="ADAL" clId="{83AF0EAE-1449-4C87-B14F-64EAAA6BDADC}" dt="2023-03-06T14:04:04.172" v="23174"/>
          <ac:spMkLst>
            <pc:docMk/>
            <pc:sldMk cId="2573365278" sldId="2134804375"/>
            <ac:spMk id="101" creationId="{96DB64E7-7450-5BAA-7DCA-6F75AE12EF02}"/>
          </ac:spMkLst>
        </pc:spChg>
        <pc:spChg chg="add del mod replST">
          <ac:chgData name="Wenwen Zhang" userId="9dd81366-5d6f-445a-b031-6ea562624431" providerId="ADAL" clId="{83AF0EAE-1449-4C87-B14F-64EAAA6BDADC}" dt="2023-03-06T14:04:04.171" v="23171"/>
          <ac:spMkLst>
            <pc:docMk/>
            <pc:sldMk cId="2573365278" sldId="2134804375"/>
            <ac:spMk id="102" creationId="{96DB64E7-7450-5BAA-7DCA-6F75AE12EF02}"/>
          </ac:spMkLst>
        </pc:spChg>
        <pc:spChg chg="add del mod replST">
          <ac:chgData name="Wenwen Zhang" userId="9dd81366-5d6f-445a-b031-6ea562624431" providerId="ADAL" clId="{83AF0EAE-1449-4C87-B14F-64EAAA6BDADC}" dt="2023-03-06T14:04:04.170" v="23168"/>
          <ac:spMkLst>
            <pc:docMk/>
            <pc:sldMk cId="2573365278" sldId="2134804375"/>
            <ac:spMk id="103" creationId="{96DB64E7-7450-5BAA-7DCA-6F75AE12EF02}"/>
          </ac:spMkLst>
        </pc:spChg>
        <pc:spChg chg="add del mod replST">
          <ac:chgData name="Wenwen Zhang" userId="9dd81366-5d6f-445a-b031-6ea562624431" providerId="ADAL" clId="{83AF0EAE-1449-4C87-B14F-64EAAA6BDADC}" dt="2023-03-06T14:04:04.169" v="23165"/>
          <ac:spMkLst>
            <pc:docMk/>
            <pc:sldMk cId="2573365278" sldId="2134804375"/>
            <ac:spMk id="104" creationId="{96DB64E7-7450-5BAA-7DCA-6F75AE12EF02}"/>
          </ac:spMkLst>
        </pc:spChg>
        <pc:spChg chg="add del mod replST">
          <ac:chgData name="Wenwen Zhang" userId="9dd81366-5d6f-445a-b031-6ea562624431" providerId="ADAL" clId="{83AF0EAE-1449-4C87-B14F-64EAAA6BDADC}" dt="2023-03-06T14:04:04.168" v="23162"/>
          <ac:spMkLst>
            <pc:docMk/>
            <pc:sldMk cId="2573365278" sldId="2134804375"/>
            <ac:spMk id="105" creationId="{96DB64E7-7450-5BAA-7DCA-6F75AE12EF02}"/>
          </ac:spMkLst>
        </pc:spChg>
        <pc:spChg chg="add del mod replST">
          <ac:chgData name="Wenwen Zhang" userId="9dd81366-5d6f-445a-b031-6ea562624431" providerId="ADAL" clId="{83AF0EAE-1449-4C87-B14F-64EAAA6BDADC}" dt="2023-03-06T14:04:04.168" v="23159"/>
          <ac:spMkLst>
            <pc:docMk/>
            <pc:sldMk cId="2573365278" sldId="2134804375"/>
            <ac:spMk id="106" creationId="{96DB64E7-7450-5BAA-7DCA-6F75AE12EF02}"/>
          </ac:spMkLst>
        </pc:spChg>
        <pc:spChg chg="add del mod replST">
          <ac:chgData name="Wenwen Zhang" userId="9dd81366-5d6f-445a-b031-6ea562624431" providerId="ADAL" clId="{83AF0EAE-1449-4C87-B14F-64EAAA6BDADC}" dt="2023-03-06T14:04:04.167" v="23156"/>
          <ac:spMkLst>
            <pc:docMk/>
            <pc:sldMk cId="2573365278" sldId="2134804375"/>
            <ac:spMk id="107" creationId="{96DB64E7-7450-5BAA-7DCA-6F75AE12EF02}"/>
          </ac:spMkLst>
        </pc:spChg>
        <pc:spChg chg="add del mod replST">
          <ac:chgData name="Wenwen Zhang" userId="9dd81366-5d6f-445a-b031-6ea562624431" providerId="ADAL" clId="{83AF0EAE-1449-4C87-B14F-64EAAA6BDADC}" dt="2023-03-06T14:04:04.166" v="23153"/>
          <ac:spMkLst>
            <pc:docMk/>
            <pc:sldMk cId="2573365278" sldId="2134804375"/>
            <ac:spMk id="108" creationId="{96DB64E7-7450-5BAA-7DCA-6F75AE12EF02}"/>
          </ac:spMkLst>
        </pc:spChg>
        <pc:spChg chg="add del mod replST">
          <ac:chgData name="Wenwen Zhang" userId="9dd81366-5d6f-445a-b031-6ea562624431" providerId="ADAL" clId="{83AF0EAE-1449-4C87-B14F-64EAAA6BDADC}" dt="2023-03-06T14:04:04.166" v="23150"/>
          <ac:spMkLst>
            <pc:docMk/>
            <pc:sldMk cId="2573365278" sldId="2134804375"/>
            <ac:spMk id="109" creationId="{96DB64E7-7450-5BAA-7DCA-6F75AE12EF02}"/>
          </ac:spMkLst>
        </pc:spChg>
        <pc:spChg chg="add del mod replST">
          <ac:chgData name="Wenwen Zhang" userId="9dd81366-5d6f-445a-b031-6ea562624431" providerId="ADAL" clId="{83AF0EAE-1449-4C87-B14F-64EAAA6BDADC}" dt="2023-03-06T14:04:04.165" v="23147"/>
          <ac:spMkLst>
            <pc:docMk/>
            <pc:sldMk cId="2573365278" sldId="2134804375"/>
            <ac:spMk id="110" creationId="{96DB64E7-7450-5BAA-7DCA-6F75AE12EF02}"/>
          </ac:spMkLst>
        </pc:spChg>
        <pc:spChg chg="add del mod replST">
          <ac:chgData name="Wenwen Zhang" userId="9dd81366-5d6f-445a-b031-6ea562624431" providerId="ADAL" clId="{83AF0EAE-1449-4C87-B14F-64EAAA6BDADC}" dt="2023-03-06T14:04:04.164" v="23144"/>
          <ac:spMkLst>
            <pc:docMk/>
            <pc:sldMk cId="2573365278" sldId="2134804375"/>
            <ac:spMk id="111" creationId="{96DB64E7-7450-5BAA-7DCA-6F75AE12EF02}"/>
          </ac:spMkLst>
        </pc:spChg>
        <pc:spChg chg="add del mod replST">
          <ac:chgData name="Wenwen Zhang" userId="9dd81366-5d6f-445a-b031-6ea562624431" providerId="ADAL" clId="{83AF0EAE-1449-4C87-B14F-64EAAA6BDADC}" dt="2023-03-06T14:04:04.164" v="23141"/>
          <ac:spMkLst>
            <pc:docMk/>
            <pc:sldMk cId="2573365278" sldId="2134804375"/>
            <ac:spMk id="112" creationId="{96DB64E7-7450-5BAA-7DCA-6F75AE12EF02}"/>
          </ac:spMkLst>
        </pc:spChg>
        <pc:spChg chg="add del mod replST">
          <ac:chgData name="Wenwen Zhang" userId="9dd81366-5d6f-445a-b031-6ea562624431" providerId="ADAL" clId="{83AF0EAE-1449-4C87-B14F-64EAAA6BDADC}" dt="2023-03-06T14:04:04.163" v="23138"/>
          <ac:spMkLst>
            <pc:docMk/>
            <pc:sldMk cId="2573365278" sldId="2134804375"/>
            <ac:spMk id="113" creationId="{96DB64E7-7450-5BAA-7DCA-6F75AE12EF02}"/>
          </ac:spMkLst>
        </pc:spChg>
        <pc:spChg chg="add del mod replST">
          <ac:chgData name="Wenwen Zhang" userId="9dd81366-5d6f-445a-b031-6ea562624431" providerId="ADAL" clId="{83AF0EAE-1449-4C87-B14F-64EAAA6BDADC}" dt="2023-03-06T14:04:04.162" v="23135"/>
          <ac:spMkLst>
            <pc:docMk/>
            <pc:sldMk cId="2573365278" sldId="2134804375"/>
            <ac:spMk id="114" creationId="{96DB64E7-7450-5BAA-7DCA-6F75AE12EF02}"/>
          </ac:spMkLst>
        </pc:spChg>
        <pc:spChg chg="add del mod replST">
          <ac:chgData name="Wenwen Zhang" userId="9dd81366-5d6f-445a-b031-6ea562624431" providerId="ADAL" clId="{83AF0EAE-1449-4C87-B14F-64EAAA6BDADC}" dt="2023-03-06T14:04:04.162" v="23132"/>
          <ac:spMkLst>
            <pc:docMk/>
            <pc:sldMk cId="2573365278" sldId="2134804375"/>
            <ac:spMk id="115" creationId="{96DB64E7-7450-5BAA-7DCA-6F75AE12EF02}"/>
          </ac:spMkLst>
        </pc:spChg>
        <pc:spChg chg="add del mod replST">
          <ac:chgData name="Wenwen Zhang" userId="9dd81366-5d6f-445a-b031-6ea562624431" providerId="ADAL" clId="{83AF0EAE-1449-4C87-B14F-64EAAA6BDADC}" dt="2023-03-06T14:04:04.161" v="23129"/>
          <ac:spMkLst>
            <pc:docMk/>
            <pc:sldMk cId="2573365278" sldId="2134804375"/>
            <ac:spMk id="116" creationId="{96DB64E7-7450-5BAA-7DCA-6F75AE12EF02}"/>
          </ac:spMkLst>
        </pc:spChg>
        <pc:spChg chg="add del mod replST">
          <ac:chgData name="Wenwen Zhang" userId="9dd81366-5d6f-445a-b031-6ea562624431" providerId="ADAL" clId="{83AF0EAE-1449-4C87-B14F-64EAAA6BDADC}" dt="2023-03-06T14:04:04.160" v="23126"/>
          <ac:spMkLst>
            <pc:docMk/>
            <pc:sldMk cId="2573365278" sldId="2134804375"/>
            <ac:spMk id="117" creationId="{96DB64E7-7450-5BAA-7DCA-6F75AE12EF02}"/>
          </ac:spMkLst>
        </pc:spChg>
        <pc:spChg chg="add del mod replST">
          <ac:chgData name="Wenwen Zhang" userId="9dd81366-5d6f-445a-b031-6ea562624431" providerId="ADAL" clId="{83AF0EAE-1449-4C87-B14F-64EAAA6BDADC}" dt="2023-03-06T14:04:04.159" v="23123"/>
          <ac:spMkLst>
            <pc:docMk/>
            <pc:sldMk cId="2573365278" sldId="2134804375"/>
            <ac:spMk id="118" creationId="{96DB64E7-7450-5BAA-7DCA-6F75AE12EF02}"/>
          </ac:spMkLst>
        </pc:spChg>
        <pc:spChg chg="add del mod modVis">
          <ac:chgData name="Wenwen Zhang" userId="9dd81366-5d6f-445a-b031-6ea562624431" providerId="ADAL" clId="{83AF0EAE-1449-4C87-B14F-64EAAA6BDADC}" dt="2023-03-06T14:04:04.276" v="23534"/>
          <ac:spMkLst>
            <pc:docMk/>
            <pc:sldMk cId="2573365278" sldId="2134804375"/>
            <ac:spMk id="145" creationId="{1C569116-67F0-633A-92E2-D4B0BEC65648}"/>
          </ac:spMkLst>
        </pc:spChg>
        <pc:spChg chg="add del mod modVis">
          <ac:chgData name="Wenwen Zhang" userId="9dd81366-5d6f-445a-b031-6ea562624431" providerId="ADAL" clId="{83AF0EAE-1449-4C87-B14F-64EAAA6BDADC}" dt="2023-03-06T14:04:09.234" v="24001"/>
          <ac:spMkLst>
            <pc:docMk/>
            <pc:sldMk cId="2573365278" sldId="2134804375"/>
            <ac:spMk id="147" creationId="{4F700DD9-B0E2-6C4F-E176-C6DA45AA242E}"/>
          </ac:spMkLst>
        </pc:spChg>
        <pc:spChg chg="add mod replST">
          <ac:chgData name="Wenwen Zhang" userId="9dd81366-5d6f-445a-b031-6ea562624431" providerId="ADAL" clId="{83AF0EAE-1449-4C87-B14F-64EAAA6BDADC}" dt="2023-03-06T16:26:12.619" v="45945"/>
          <ac:spMkLst>
            <pc:docMk/>
            <pc:sldMk cId="2573365278" sldId="2134804375"/>
            <ac:spMk id="149" creationId="{2EE848B4-1F42-6329-F252-6658C227E1F3}"/>
          </ac:spMkLst>
        </pc:spChg>
        <pc:spChg chg="add del mod modVis">
          <ac:chgData name="Wenwen Zhang" userId="9dd81366-5d6f-445a-b031-6ea562624431" providerId="ADAL" clId="{83AF0EAE-1449-4C87-B14F-64EAAA6BDADC}" dt="2023-03-06T14:04:58.557" v="24056"/>
          <ac:spMkLst>
            <pc:docMk/>
            <pc:sldMk cId="2573365278" sldId="2134804375"/>
            <ac:spMk id="150" creationId="{9B745A12-ACEE-19E4-D257-0F82F9B3B971}"/>
          </ac:spMkLst>
        </pc:spChg>
        <pc:spChg chg="add del mod modVis">
          <ac:chgData name="Wenwen Zhang" userId="9dd81366-5d6f-445a-b031-6ea562624431" providerId="ADAL" clId="{83AF0EAE-1449-4C87-B14F-64EAAA6BDADC}" dt="2023-03-06T16:26:12.620" v="45949"/>
          <ac:spMkLst>
            <pc:docMk/>
            <pc:sldMk cId="2573365278" sldId="2134804375"/>
            <ac:spMk id="151" creationId="{3FA5BC23-89B1-E0EC-2E99-4B802541629D}"/>
          </ac:spMkLst>
        </pc:spChg>
        <pc:spChg chg="del">
          <ac:chgData name="Wenwen Zhang" userId="9dd81366-5d6f-445a-b031-6ea562624431" providerId="ADAL" clId="{83AF0EAE-1449-4C87-B14F-64EAAA6BDADC}" dt="2023-03-06T14:03:30.960" v="18530"/>
          <ac:spMkLst>
            <pc:docMk/>
            <pc:sldMk cId="2573365278" sldId="2134804375"/>
            <ac:spMk id="166" creationId="{96DB64E7-7450-5BAA-7DCA-6F75AE12EF02}"/>
          </ac:spMkLst>
        </pc:spChg>
        <pc:spChg chg="del">
          <ac:chgData name="Wenwen Zhang" userId="9dd81366-5d6f-445a-b031-6ea562624431" providerId="ADAL" clId="{83AF0EAE-1449-4C87-B14F-64EAAA6BDADC}" dt="2023-03-06T14:03:30.959" v="18524"/>
          <ac:spMkLst>
            <pc:docMk/>
            <pc:sldMk cId="2573365278" sldId="2134804375"/>
            <ac:spMk id="167" creationId="{96DB64E7-7450-5BAA-7DCA-6F75AE12EF02}"/>
          </ac:spMkLst>
        </pc:spChg>
        <pc:spChg chg="del">
          <ac:chgData name="Wenwen Zhang" userId="9dd81366-5d6f-445a-b031-6ea562624431" providerId="ADAL" clId="{83AF0EAE-1449-4C87-B14F-64EAAA6BDADC}" dt="2023-03-06T14:03:30.958" v="18518"/>
          <ac:spMkLst>
            <pc:docMk/>
            <pc:sldMk cId="2573365278" sldId="2134804375"/>
            <ac:spMk id="168" creationId="{96DB64E7-7450-5BAA-7DCA-6F75AE12EF02}"/>
          </ac:spMkLst>
        </pc:spChg>
        <pc:spChg chg="del">
          <ac:chgData name="Wenwen Zhang" userId="9dd81366-5d6f-445a-b031-6ea562624431" providerId="ADAL" clId="{83AF0EAE-1449-4C87-B14F-64EAAA6BDADC}" dt="2023-03-06T14:03:30.956" v="18512"/>
          <ac:spMkLst>
            <pc:docMk/>
            <pc:sldMk cId="2573365278" sldId="2134804375"/>
            <ac:spMk id="169" creationId="{96DB64E7-7450-5BAA-7DCA-6F75AE12EF02}"/>
          </ac:spMkLst>
        </pc:spChg>
        <pc:spChg chg="del">
          <ac:chgData name="Wenwen Zhang" userId="9dd81366-5d6f-445a-b031-6ea562624431" providerId="ADAL" clId="{83AF0EAE-1449-4C87-B14F-64EAAA6BDADC}" dt="2023-03-06T14:03:30.955" v="18506"/>
          <ac:spMkLst>
            <pc:docMk/>
            <pc:sldMk cId="2573365278" sldId="2134804375"/>
            <ac:spMk id="170" creationId="{96DB64E7-7450-5BAA-7DCA-6F75AE12EF02}"/>
          </ac:spMkLst>
        </pc:spChg>
        <pc:spChg chg="del">
          <ac:chgData name="Wenwen Zhang" userId="9dd81366-5d6f-445a-b031-6ea562624431" providerId="ADAL" clId="{83AF0EAE-1449-4C87-B14F-64EAAA6BDADC}" dt="2023-03-06T14:03:30.954" v="18500"/>
          <ac:spMkLst>
            <pc:docMk/>
            <pc:sldMk cId="2573365278" sldId="2134804375"/>
            <ac:spMk id="171" creationId="{96DB64E7-7450-5BAA-7DCA-6F75AE12EF02}"/>
          </ac:spMkLst>
        </pc:spChg>
        <pc:spChg chg="mod ord">
          <ac:chgData name="Wenwen Zhang" userId="9dd81366-5d6f-445a-b031-6ea562624431" providerId="ADAL" clId="{83AF0EAE-1449-4C87-B14F-64EAAA6BDADC}" dt="2023-03-06T16:26:12.600" v="45843"/>
          <ac:spMkLst>
            <pc:docMk/>
            <pc:sldMk cId="2573365278" sldId="2134804375"/>
            <ac:spMk id="181" creationId="{7CDC462B-DC01-E701-64AE-27E4845FB608}"/>
          </ac:spMkLst>
        </pc:spChg>
        <pc:graphicFrameChg chg="del">
          <ac:chgData name="Wenwen Zhang" userId="9dd81366-5d6f-445a-b031-6ea562624431" providerId="ADAL" clId="{83AF0EAE-1449-4C87-B14F-64EAAA6BDADC}" dt="2023-03-06T14:03:30.963" v="18537"/>
          <ac:graphicFrameMkLst>
            <pc:docMk/>
            <pc:sldMk cId="2573365278" sldId="2134804375"/>
            <ac:graphicFrameMk id="4" creationId="{865D5F74-4BC7-7419-389A-0FF5B534081A}"/>
          </ac:graphicFrameMkLst>
        </pc:graphicFrameChg>
        <pc:graphicFrameChg chg="mod">
          <ac:chgData name="Wenwen Zhang" userId="9dd81366-5d6f-445a-b031-6ea562624431" providerId="ADAL" clId="{83AF0EAE-1449-4C87-B14F-64EAAA6BDADC}" dt="2023-03-06T16:26:12.638" v="45951"/>
          <ac:graphicFrameMkLst>
            <pc:docMk/>
            <pc:sldMk cId="2573365278" sldId="2134804375"/>
            <ac:graphicFrameMk id="28" creationId="{015DFAEE-F78A-C272-92CE-F25C3417CAD0}"/>
          </ac:graphicFrameMkLst>
        </pc:graphicFrameChg>
        <pc:graphicFrameChg chg="add del mod replST">
          <ac:chgData name="Wenwen Zhang" userId="9dd81366-5d6f-445a-b031-6ea562624431" providerId="ADAL" clId="{83AF0EAE-1449-4C87-B14F-64EAAA6BDADC}" dt="2023-03-06T14:03:39.486" v="19979"/>
          <ac:graphicFrameMkLst>
            <pc:docMk/>
            <pc:sldMk cId="2573365278" sldId="2134804375"/>
            <ac:graphicFrameMk id="49" creationId="{588EB061-A616-E75F-DC72-7A4559220858}"/>
          </ac:graphicFrameMkLst>
        </pc:graphicFrameChg>
        <pc:graphicFrameChg chg="add del mod ord replST">
          <ac:chgData name="Wenwen Zhang" userId="9dd81366-5d6f-445a-b031-6ea562624431" providerId="ADAL" clId="{83AF0EAE-1449-4C87-B14F-64EAAA6BDADC}" dt="2023-03-06T14:03:45.532" v="22782"/>
          <ac:graphicFrameMkLst>
            <pc:docMk/>
            <pc:sldMk cId="2573365278" sldId="2134804375"/>
            <ac:graphicFrameMk id="92" creationId="{3FAC5527-A4AD-63A1-B37B-4EB31F03C788}"/>
          </ac:graphicFrameMkLst>
        </pc:graphicFrameChg>
        <pc:graphicFrameChg chg="add del mod ord replST">
          <ac:chgData name="Wenwen Zhang" userId="9dd81366-5d6f-445a-b031-6ea562624431" providerId="ADAL" clId="{83AF0EAE-1449-4C87-B14F-64EAAA6BDADC}" dt="2023-03-06T14:04:04.238" v="23414"/>
          <ac:graphicFrameMkLst>
            <pc:docMk/>
            <pc:sldMk cId="2573365278" sldId="2134804375"/>
            <ac:graphicFrameMk id="144" creationId="{9A328A93-5586-C88D-4D25-90B8297327DE}"/>
          </ac:graphicFrameMkLst>
        </pc:graphicFrameChg>
        <pc:graphicFrameChg chg="add del mod ord replST">
          <ac:chgData name="Wenwen Zhang" userId="9dd81366-5d6f-445a-b031-6ea562624431" providerId="ADAL" clId="{83AF0EAE-1449-4C87-B14F-64EAAA6BDADC}" dt="2023-03-06T14:04:09.199" v="23881"/>
          <ac:graphicFrameMkLst>
            <pc:docMk/>
            <pc:sldMk cId="2573365278" sldId="2134804375"/>
            <ac:graphicFrameMk id="146" creationId="{B925B2CF-DC25-3491-7CFE-1E80CCFFC9AC}"/>
          </ac:graphicFrameMkLst>
        </pc:graphicFrameChg>
        <pc:graphicFrameChg chg="add del mod ord replST">
          <ac:chgData name="Wenwen Zhang" userId="9dd81366-5d6f-445a-b031-6ea562624431" providerId="ADAL" clId="{83AF0EAE-1449-4C87-B14F-64EAAA6BDADC}" dt="2023-03-06T16:26:12.583" v="45829"/>
          <ac:graphicFrameMkLst>
            <pc:docMk/>
            <pc:sldMk cId="2573365278" sldId="2134804375"/>
            <ac:graphicFrameMk id="148" creationId="{7297D79D-1122-643F-8AB8-3024FAE50276}"/>
          </ac:graphicFrameMkLst>
        </pc:graphicFrameChg>
        <pc:graphicFrameChg chg="add mod ord replST">
          <ac:chgData name="Wenwen Zhang" userId="9dd81366-5d6f-445a-b031-6ea562624431" providerId="ADAL" clId="{83AF0EAE-1449-4C87-B14F-64EAAA6BDADC}" dt="2023-03-06T16:26:12.611" v="45911"/>
          <ac:graphicFrameMkLst>
            <pc:docMk/>
            <pc:sldMk cId="2573365278" sldId="2134804375"/>
            <ac:graphicFrameMk id="152" creationId="{EFE0587E-D9F4-F9BE-EB8C-A0C4BDA85F57}"/>
          </ac:graphicFrameMkLst>
        </pc:graphicFrameChg>
        <pc:cxnChg chg="add mod ord replST">
          <ac:chgData name="Wenwen Zhang" userId="9dd81366-5d6f-445a-b031-6ea562624431" providerId="ADAL" clId="{83AF0EAE-1449-4C87-B14F-64EAAA6BDADC}" dt="2023-03-06T16:26:12.602" v="45859"/>
          <ac:cxnSpMkLst>
            <pc:docMk/>
            <pc:sldMk cId="2573365278" sldId="2134804375"/>
            <ac:cxnSpMk id="3" creationId="{B8372F3A-4838-E400-53DE-EC91B68A78AA}"/>
          </ac:cxnSpMkLst>
        </pc:cxnChg>
        <pc:cxnChg chg="add mod ord replST">
          <ac:chgData name="Wenwen Zhang" userId="9dd81366-5d6f-445a-b031-6ea562624431" providerId="ADAL" clId="{83AF0EAE-1449-4C87-B14F-64EAAA6BDADC}" dt="2023-03-06T16:26:12.601" v="45849"/>
          <ac:cxnSpMkLst>
            <pc:docMk/>
            <pc:sldMk cId="2573365278" sldId="2134804375"/>
            <ac:cxnSpMk id="5" creationId="{3E189A38-D8FD-0788-6407-EDE8E6C492FA}"/>
          </ac:cxnSpMkLst>
        </pc:cxnChg>
        <pc:cxnChg chg="add mod ord replST">
          <ac:chgData name="Wenwen Zhang" userId="9dd81366-5d6f-445a-b031-6ea562624431" providerId="ADAL" clId="{83AF0EAE-1449-4C87-B14F-64EAAA6BDADC}" dt="2023-03-06T16:26:12.602" v="45857"/>
          <ac:cxnSpMkLst>
            <pc:docMk/>
            <pc:sldMk cId="2573365278" sldId="2134804375"/>
            <ac:cxnSpMk id="6" creationId="{86F5ECE4-CCD7-D29D-5152-815E7157229A}"/>
          </ac:cxnSpMkLst>
        </pc:cxnChg>
        <pc:cxnChg chg="add mod ord replST">
          <ac:chgData name="Wenwen Zhang" userId="9dd81366-5d6f-445a-b031-6ea562624431" providerId="ADAL" clId="{83AF0EAE-1449-4C87-B14F-64EAAA6BDADC}" dt="2023-03-06T16:26:12.600" v="45845"/>
          <ac:cxnSpMkLst>
            <pc:docMk/>
            <pc:sldMk cId="2573365278" sldId="2134804375"/>
            <ac:cxnSpMk id="7" creationId="{483464A6-664D-FDAA-88EC-F63CDC91F7C5}"/>
          </ac:cxnSpMkLst>
        </pc:cxnChg>
        <pc:cxnChg chg="add mod ord replST">
          <ac:chgData name="Wenwen Zhang" userId="9dd81366-5d6f-445a-b031-6ea562624431" providerId="ADAL" clId="{83AF0EAE-1449-4C87-B14F-64EAAA6BDADC}" dt="2023-03-06T16:26:12.601" v="45851"/>
          <ac:cxnSpMkLst>
            <pc:docMk/>
            <pc:sldMk cId="2573365278" sldId="2134804375"/>
            <ac:cxnSpMk id="8" creationId="{F019AA97-4AD8-BC06-BCCC-E1EF567722D5}"/>
          </ac:cxnSpMkLst>
        </pc:cxnChg>
        <pc:cxnChg chg="add mod ord replST">
          <ac:chgData name="Wenwen Zhang" userId="9dd81366-5d6f-445a-b031-6ea562624431" providerId="ADAL" clId="{83AF0EAE-1449-4C87-B14F-64EAAA6BDADC}" dt="2023-03-06T16:26:12.601" v="45853"/>
          <ac:cxnSpMkLst>
            <pc:docMk/>
            <pc:sldMk cId="2573365278" sldId="2134804375"/>
            <ac:cxnSpMk id="9" creationId="{9CC3894A-3672-3961-A179-337CB5B2526B}"/>
          </ac:cxnSpMkLst>
        </pc:cxnChg>
        <pc:cxnChg chg="add mod ord replST">
          <ac:chgData name="Wenwen Zhang" userId="9dd81366-5d6f-445a-b031-6ea562624431" providerId="ADAL" clId="{83AF0EAE-1449-4C87-B14F-64EAAA6BDADC}" dt="2023-03-06T16:26:12.600" v="45847"/>
          <ac:cxnSpMkLst>
            <pc:docMk/>
            <pc:sldMk cId="2573365278" sldId="2134804375"/>
            <ac:cxnSpMk id="10" creationId="{ADB88FE3-3BB3-4ACE-3509-BAB58098ED73}"/>
          </ac:cxnSpMkLst>
        </pc:cxnChg>
        <pc:cxnChg chg="del">
          <ac:chgData name="Wenwen Zhang" userId="9dd81366-5d6f-445a-b031-6ea562624431" providerId="ADAL" clId="{83AF0EAE-1449-4C87-B14F-64EAAA6BDADC}" dt="2023-03-06T14:03:30.956" v="18511"/>
          <ac:cxnSpMkLst>
            <pc:docMk/>
            <pc:sldMk cId="2573365278" sldId="2134804375"/>
            <ac:cxnSpMk id="11" creationId="{36989B73-932F-7F73-67AE-4BADF3449F9F}"/>
          </ac:cxnSpMkLst>
        </pc:cxnChg>
        <pc:cxnChg chg="add mod ord replST">
          <ac:chgData name="Wenwen Zhang" userId="9dd81366-5d6f-445a-b031-6ea562624431" providerId="ADAL" clId="{83AF0EAE-1449-4C87-B14F-64EAAA6BDADC}" dt="2023-03-06T16:26:12.602" v="45855"/>
          <ac:cxnSpMkLst>
            <pc:docMk/>
            <pc:sldMk cId="2573365278" sldId="2134804375"/>
            <ac:cxnSpMk id="12" creationId="{53CFB436-18B7-2B5C-95C2-323767883710}"/>
          </ac:cxnSpMkLst>
        </pc:cxnChg>
        <pc:cxnChg chg="add mod ord replST">
          <ac:chgData name="Wenwen Zhang" userId="9dd81366-5d6f-445a-b031-6ea562624431" providerId="ADAL" clId="{83AF0EAE-1449-4C87-B14F-64EAAA6BDADC}" dt="2023-03-06T16:26:12.606" v="45877"/>
          <ac:cxnSpMkLst>
            <pc:docMk/>
            <pc:sldMk cId="2573365278" sldId="2134804375"/>
            <ac:cxnSpMk id="13" creationId="{62DB1B82-F477-3335-E3C6-288484F802F0}"/>
          </ac:cxnSpMkLst>
        </pc:cxnChg>
        <pc:cxnChg chg="add mod ord replST">
          <ac:chgData name="Wenwen Zhang" userId="9dd81366-5d6f-445a-b031-6ea562624431" providerId="ADAL" clId="{83AF0EAE-1449-4C87-B14F-64EAAA6BDADC}" dt="2023-03-06T16:26:12.606" v="45883"/>
          <ac:cxnSpMkLst>
            <pc:docMk/>
            <pc:sldMk cId="2573365278" sldId="2134804375"/>
            <ac:cxnSpMk id="14" creationId="{254A9CCB-0766-5980-49E5-2C5DB8341D75}"/>
          </ac:cxnSpMkLst>
        </pc:cxnChg>
        <pc:cxnChg chg="add mod ord replST">
          <ac:chgData name="Wenwen Zhang" userId="9dd81366-5d6f-445a-b031-6ea562624431" providerId="ADAL" clId="{83AF0EAE-1449-4C87-B14F-64EAAA6BDADC}" dt="2023-03-06T16:26:12.603" v="45865"/>
          <ac:cxnSpMkLst>
            <pc:docMk/>
            <pc:sldMk cId="2573365278" sldId="2134804375"/>
            <ac:cxnSpMk id="15" creationId="{D9076291-744A-7488-586C-3AD0D1B9371E}"/>
          </ac:cxnSpMkLst>
        </pc:cxnChg>
        <pc:cxnChg chg="add mod ord replST">
          <ac:chgData name="Wenwen Zhang" userId="9dd81366-5d6f-445a-b031-6ea562624431" providerId="ADAL" clId="{83AF0EAE-1449-4C87-B14F-64EAAA6BDADC}" dt="2023-03-06T16:26:12.609" v="45899"/>
          <ac:cxnSpMkLst>
            <pc:docMk/>
            <pc:sldMk cId="2573365278" sldId="2134804375"/>
            <ac:cxnSpMk id="16" creationId="{BA4A197D-4F81-AF96-A6A3-DF262C97F04D}"/>
          </ac:cxnSpMkLst>
        </pc:cxnChg>
        <pc:cxnChg chg="add mod ord replST">
          <ac:chgData name="Wenwen Zhang" userId="9dd81366-5d6f-445a-b031-6ea562624431" providerId="ADAL" clId="{83AF0EAE-1449-4C87-B14F-64EAAA6BDADC}" dt="2023-03-06T16:26:12.611" v="45909"/>
          <ac:cxnSpMkLst>
            <pc:docMk/>
            <pc:sldMk cId="2573365278" sldId="2134804375"/>
            <ac:cxnSpMk id="17" creationId="{60CA05B1-4023-2FF3-CFE4-1BB38F0B9F84}"/>
          </ac:cxnSpMkLst>
        </pc:cxnChg>
        <pc:cxnChg chg="add mod ord replST">
          <ac:chgData name="Wenwen Zhang" userId="9dd81366-5d6f-445a-b031-6ea562624431" providerId="ADAL" clId="{83AF0EAE-1449-4C87-B14F-64EAAA6BDADC}" dt="2023-03-06T16:26:12.608" v="45895"/>
          <ac:cxnSpMkLst>
            <pc:docMk/>
            <pc:sldMk cId="2573365278" sldId="2134804375"/>
            <ac:cxnSpMk id="18" creationId="{4624656A-91B5-A0A2-1E21-17D243ABDBB2}"/>
          </ac:cxnSpMkLst>
        </pc:cxnChg>
        <pc:cxnChg chg="add mod ord replST">
          <ac:chgData name="Wenwen Zhang" userId="9dd81366-5d6f-445a-b031-6ea562624431" providerId="ADAL" clId="{83AF0EAE-1449-4C87-B14F-64EAAA6BDADC}" dt="2023-03-06T16:26:12.604" v="45869"/>
          <ac:cxnSpMkLst>
            <pc:docMk/>
            <pc:sldMk cId="2573365278" sldId="2134804375"/>
            <ac:cxnSpMk id="19" creationId="{6C0C0E0E-28E1-7DE4-7016-6B7D6151CC2C}"/>
          </ac:cxnSpMkLst>
        </pc:cxnChg>
        <pc:cxnChg chg="add mod ord replST">
          <ac:chgData name="Wenwen Zhang" userId="9dd81366-5d6f-445a-b031-6ea562624431" providerId="ADAL" clId="{83AF0EAE-1449-4C87-B14F-64EAAA6BDADC}" dt="2023-03-06T16:26:12.606" v="45879"/>
          <ac:cxnSpMkLst>
            <pc:docMk/>
            <pc:sldMk cId="2573365278" sldId="2134804375"/>
            <ac:cxnSpMk id="20" creationId="{3DEA313B-5A9B-3AD5-C5BD-E5B0EE893D4C}"/>
          </ac:cxnSpMkLst>
        </pc:cxnChg>
        <pc:cxnChg chg="add mod ord replST">
          <ac:chgData name="Wenwen Zhang" userId="9dd81366-5d6f-445a-b031-6ea562624431" providerId="ADAL" clId="{83AF0EAE-1449-4C87-B14F-64EAAA6BDADC}" dt="2023-03-06T16:26:12.604" v="45867"/>
          <ac:cxnSpMkLst>
            <pc:docMk/>
            <pc:sldMk cId="2573365278" sldId="2134804375"/>
            <ac:cxnSpMk id="21" creationId="{30A4D48D-6D63-99FD-C306-786B1CDFF126}"/>
          </ac:cxnSpMkLst>
        </pc:cxnChg>
        <pc:cxnChg chg="add mod ord replST">
          <ac:chgData name="Wenwen Zhang" userId="9dd81366-5d6f-445a-b031-6ea562624431" providerId="ADAL" clId="{83AF0EAE-1449-4C87-B14F-64EAAA6BDADC}" dt="2023-03-06T16:26:12.605" v="45871"/>
          <ac:cxnSpMkLst>
            <pc:docMk/>
            <pc:sldMk cId="2573365278" sldId="2134804375"/>
            <ac:cxnSpMk id="22" creationId="{CF4EE4A3-4EAC-BE9D-A5D3-DB31D825A356}"/>
          </ac:cxnSpMkLst>
        </pc:cxnChg>
        <pc:cxnChg chg="add mod ord replST">
          <ac:chgData name="Wenwen Zhang" userId="9dd81366-5d6f-445a-b031-6ea562624431" providerId="ADAL" clId="{83AF0EAE-1449-4C87-B14F-64EAAA6BDADC}" dt="2023-03-06T16:26:12.607" v="45887"/>
          <ac:cxnSpMkLst>
            <pc:docMk/>
            <pc:sldMk cId="2573365278" sldId="2134804375"/>
            <ac:cxnSpMk id="23" creationId="{3D9A2FF7-3FCE-B1B5-2167-01ACEF0F53F4}"/>
          </ac:cxnSpMkLst>
        </pc:cxnChg>
        <pc:cxnChg chg="add mod ord replST">
          <ac:chgData name="Wenwen Zhang" userId="9dd81366-5d6f-445a-b031-6ea562624431" providerId="ADAL" clId="{83AF0EAE-1449-4C87-B14F-64EAAA6BDADC}" dt="2023-03-06T16:26:12.606" v="45881"/>
          <ac:cxnSpMkLst>
            <pc:docMk/>
            <pc:sldMk cId="2573365278" sldId="2134804375"/>
            <ac:cxnSpMk id="24" creationId="{6BF7EA6A-22C6-66CA-3CCE-AB4ABF71E2A4}"/>
          </ac:cxnSpMkLst>
        </pc:cxnChg>
        <pc:cxnChg chg="del">
          <ac:chgData name="Wenwen Zhang" userId="9dd81366-5d6f-445a-b031-6ea562624431" providerId="ADAL" clId="{83AF0EAE-1449-4C87-B14F-64EAAA6BDADC}" dt="2023-03-06T14:03:30.962" v="18535"/>
          <ac:cxnSpMkLst>
            <pc:docMk/>
            <pc:sldMk cId="2573365278" sldId="2134804375"/>
            <ac:cxnSpMk id="25" creationId="{B98B81E8-E7A4-102B-F5B1-935F1709A52E}"/>
          </ac:cxnSpMkLst>
        </pc:cxnChg>
        <pc:cxnChg chg="del">
          <ac:chgData name="Wenwen Zhang" userId="9dd81366-5d6f-445a-b031-6ea562624431" providerId="ADAL" clId="{83AF0EAE-1449-4C87-B14F-64EAAA6BDADC}" dt="2023-03-06T14:03:30.960" v="18529"/>
          <ac:cxnSpMkLst>
            <pc:docMk/>
            <pc:sldMk cId="2573365278" sldId="2134804375"/>
            <ac:cxnSpMk id="26" creationId="{B294AEC1-DDE5-CDAF-3F9B-D8CAE9EE86A4}"/>
          </ac:cxnSpMkLst>
        </pc:cxnChg>
        <pc:cxnChg chg="add mod ord replST">
          <ac:chgData name="Wenwen Zhang" userId="9dd81366-5d6f-445a-b031-6ea562624431" providerId="ADAL" clId="{83AF0EAE-1449-4C87-B14F-64EAAA6BDADC}" dt="2023-03-06T16:26:12.607" v="45889"/>
          <ac:cxnSpMkLst>
            <pc:docMk/>
            <pc:sldMk cId="2573365278" sldId="2134804375"/>
            <ac:cxnSpMk id="27" creationId="{4D076922-0B6F-0A8D-6C35-D0B18A1D6EBD}"/>
          </ac:cxnSpMkLst>
        </pc:cxnChg>
        <pc:cxnChg chg="add mod ord replST">
          <ac:chgData name="Wenwen Zhang" userId="9dd81366-5d6f-445a-b031-6ea562624431" providerId="ADAL" clId="{83AF0EAE-1449-4C87-B14F-64EAAA6BDADC}" dt="2023-03-06T16:26:12.608" v="45893"/>
          <ac:cxnSpMkLst>
            <pc:docMk/>
            <pc:sldMk cId="2573365278" sldId="2134804375"/>
            <ac:cxnSpMk id="30" creationId="{AC6E92A3-FE44-3960-9F94-551ABD771D75}"/>
          </ac:cxnSpMkLst>
        </pc:cxnChg>
        <pc:cxnChg chg="del">
          <ac:chgData name="Wenwen Zhang" userId="9dd81366-5d6f-445a-b031-6ea562624431" providerId="ADAL" clId="{83AF0EAE-1449-4C87-B14F-64EAAA6BDADC}" dt="2023-03-06T14:03:30.959" v="18523"/>
          <ac:cxnSpMkLst>
            <pc:docMk/>
            <pc:sldMk cId="2573365278" sldId="2134804375"/>
            <ac:cxnSpMk id="31" creationId="{BBA4CFD8-50E2-590E-359C-B7B30680283A}"/>
          </ac:cxnSpMkLst>
        </pc:cxnChg>
        <pc:cxnChg chg="add mod ord replST">
          <ac:chgData name="Wenwen Zhang" userId="9dd81366-5d6f-445a-b031-6ea562624431" providerId="ADAL" clId="{83AF0EAE-1449-4C87-B14F-64EAAA6BDADC}" dt="2023-03-06T16:26:12.605" v="45875"/>
          <ac:cxnSpMkLst>
            <pc:docMk/>
            <pc:sldMk cId="2573365278" sldId="2134804375"/>
            <ac:cxnSpMk id="32" creationId="{BA2FB246-084E-44AA-9F42-1A5DA8C9EDAC}"/>
          </ac:cxnSpMkLst>
        </pc:cxnChg>
        <pc:cxnChg chg="add mod ord replST">
          <ac:chgData name="Wenwen Zhang" userId="9dd81366-5d6f-445a-b031-6ea562624431" providerId="ADAL" clId="{83AF0EAE-1449-4C87-B14F-64EAAA6BDADC}" dt="2023-03-06T16:26:12.610" v="45907"/>
          <ac:cxnSpMkLst>
            <pc:docMk/>
            <pc:sldMk cId="2573365278" sldId="2134804375"/>
            <ac:cxnSpMk id="33" creationId="{1F283648-57E5-7280-7CB1-9D71E747F361}"/>
          </ac:cxnSpMkLst>
        </pc:cxnChg>
        <pc:cxnChg chg="del">
          <ac:chgData name="Wenwen Zhang" userId="9dd81366-5d6f-445a-b031-6ea562624431" providerId="ADAL" clId="{83AF0EAE-1449-4C87-B14F-64EAAA6BDADC}" dt="2023-03-06T14:03:30.957" v="18517"/>
          <ac:cxnSpMkLst>
            <pc:docMk/>
            <pc:sldMk cId="2573365278" sldId="2134804375"/>
            <ac:cxnSpMk id="34" creationId="{90466765-2333-EB42-B879-3266B81004F2}"/>
          </ac:cxnSpMkLst>
        </pc:cxnChg>
        <pc:cxnChg chg="add mod ord replST">
          <ac:chgData name="Wenwen Zhang" userId="9dd81366-5d6f-445a-b031-6ea562624431" providerId="ADAL" clId="{83AF0EAE-1449-4C87-B14F-64EAAA6BDADC}" dt="2023-03-06T16:26:12.609" v="45897"/>
          <ac:cxnSpMkLst>
            <pc:docMk/>
            <pc:sldMk cId="2573365278" sldId="2134804375"/>
            <ac:cxnSpMk id="35" creationId="{E2AF6881-D1B3-E873-1DAA-E395823AA7B1}"/>
          </ac:cxnSpMkLst>
        </pc:cxnChg>
        <pc:cxnChg chg="add mod ord replST">
          <ac:chgData name="Wenwen Zhang" userId="9dd81366-5d6f-445a-b031-6ea562624431" providerId="ADAL" clId="{83AF0EAE-1449-4C87-B14F-64EAAA6BDADC}" dt="2023-03-06T16:26:12.607" v="45885"/>
          <ac:cxnSpMkLst>
            <pc:docMk/>
            <pc:sldMk cId="2573365278" sldId="2134804375"/>
            <ac:cxnSpMk id="36" creationId="{F8E3BC0A-7467-8386-8841-28CA0FE36ED5}"/>
          </ac:cxnSpMkLst>
        </pc:cxnChg>
        <pc:cxnChg chg="add mod ord replST">
          <ac:chgData name="Wenwen Zhang" userId="9dd81366-5d6f-445a-b031-6ea562624431" providerId="ADAL" clId="{83AF0EAE-1449-4C87-B14F-64EAAA6BDADC}" dt="2023-03-06T16:26:12.608" v="45891"/>
          <ac:cxnSpMkLst>
            <pc:docMk/>
            <pc:sldMk cId="2573365278" sldId="2134804375"/>
            <ac:cxnSpMk id="37" creationId="{28A5D2BE-01B4-F83C-34A8-E3DC92EC1E7F}"/>
          </ac:cxnSpMkLst>
        </pc:cxnChg>
        <pc:cxnChg chg="add mod ord replST">
          <ac:chgData name="Wenwen Zhang" userId="9dd81366-5d6f-445a-b031-6ea562624431" providerId="ADAL" clId="{83AF0EAE-1449-4C87-B14F-64EAAA6BDADC}" dt="2023-03-06T16:26:12.605" v="45873"/>
          <ac:cxnSpMkLst>
            <pc:docMk/>
            <pc:sldMk cId="2573365278" sldId="2134804375"/>
            <ac:cxnSpMk id="38" creationId="{87ADD07C-4F4D-59E0-7838-FE5EDAB70811}"/>
          </ac:cxnSpMkLst>
        </pc:cxnChg>
        <pc:cxnChg chg="del">
          <ac:chgData name="Wenwen Zhang" userId="9dd81366-5d6f-445a-b031-6ea562624431" providerId="ADAL" clId="{83AF0EAE-1449-4C87-B14F-64EAAA6BDADC}" dt="2023-03-06T14:03:30.955" v="18505"/>
          <ac:cxnSpMkLst>
            <pc:docMk/>
            <pc:sldMk cId="2573365278" sldId="2134804375"/>
            <ac:cxnSpMk id="39" creationId="{64B2D29A-8079-5F0A-1C71-BE7A1F1BEE65}"/>
          </ac:cxnSpMkLst>
        </pc:cxnChg>
        <pc:cxnChg chg="add mod ord replST">
          <ac:chgData name="Wenwen Zhang" userId="9dd81366-5d6f-445a-b031-6ea562624431" providerId="ADAL" clId="{83AF0EAE-1449-4C87-B14F-64EAAA6BDADC}" dt="2023-03-06T16:26:12.603" v="45863"/>
          <ac:cxnSpMkLst>
            <pc:docMk/>
            <pc:sldMk cId="2573365278" sldId="2134804375"/>
            <ac:cxnSpMk id="40" creationId="{7C76AEDC-908D-0E0B-3861-0133ED93FD80}"/>
          </ac:cxnSpMkLst>
        </pc:cxnChg>
        <pc:cxnChg chg="add mod ord replST">
          <ac:chgData name="Wenwen Zhang" userId="9dd81366-5d6f-445a-b031-6ea562624431" providerId="ADAL" clId="{83AF0EAE-1449-4C87-B14F-64EAAA6BDADC}" dt="2023-03-06T16:26:12.610" v="45903"/>
          <ac:cxnSpMkLst>
            <pc:docMk/>
            <pc:sldMk cId="2573365278" sldId="2134804375"/>
            <ac:cxnSpMk id="41" creationId="{598D8386-E53B-8A7D-6F6E-99F29A181B48}"/>
          </ac:cxnSpMkLst>
        </pc:cxnChg>
        <pc:cxnChg chg="del">
          <ac:chgData name="Wenwen Zhang" userId="9dd81366-5d6f-445a-b031-6ea562624431" providerId="ADAL" clId="{83AF0EAE-1449-4C87-B14F-64EAAA6BDADC}" dt="2023-03-06T14:03:30.953" v="18499"/>
          <ac:cxnSpMkLst>
            <pc:docMk/>
            <pc:sldMk cId="2573365278" sldId="2134804375"/>
            <ac:cxnSpMk id="42" creationId="{CA523B21-1A74-CF9C-C27A-9A5B306A90FD}"/>
          </ac:cxnSpMkLst>
        </pc:cxnChg>
        <pc:cxnChg chg="add mod ord replST">
          <ac:chgData name="Wenwen Zhang" userId="9dd81366-5d6f-445a-b031-6ea562624431" providerId="ADAL" clId="{83AF0EAE-1449-4C87-B14F-64EAAA6BDADC}" dt="2023-03-06T16:26:12.609" v="45901"/>
          <ac:cxnSpMkLst>
            <pc:docMk/>
            <pc:sldMk cId="2573365278" sldId="2134804375"/>
            <ac:cxnSpMk id="44" creationId="{6D0FB7E0-6A70-FCA3-FD39-BF2BC08B7C46}"/>
          </ac:cxnSpMkLst>
        </pc:cxnChg>
        <pc:cxnChg chg="add mod ord replST">
          <ac:chgData name="Wenwen Zhang" userId="9dd81366-5d6f-445a-b031-6ea562624431" providerId="ADAL" clId="{83AF0EAE-1449-4C87-B14F-64EAAA6BDADC}" dt="2023-03-06T16:26:12.610" v="45905"/>
          <ac:cxnSpMkLst>
            <pc:docMk/>
            <pc:sldMk cId="2573365278" sldId="2134804375"/>
            <ac:cxnSpMk id="47" creationId="{39A79677-B975-AD1C-8E6D-DBB2523989C9}"/>
          </ac:cxnSpMkLst>
        </pc:cxnChg>
        <pc:cxnChg chg="add mod ord replST">
          <ac:chgData name="Wenwen Zhang" userId="9dd81366-5d6f-445a-b031-6ea562624431" providerId="ADAL" clId="{83AF0EAE-1449-4C87-B14F-64EAAA6BDADC}" dt="2023-03-06T16:26:12.603" v="45861"/>
          <ac:cxnSpMkLst>
            <pc:docMk/>
            <pc:sldMk cId="2573365278" sldId="2134804375"/>
            <ac:cxnSpMk id="48" creationId="{F8EF67F7-D9A7-4221-A634-6030004CC5F0}"/>
          </ac:cxnSpMkLst>
        </pc:cxnChg>
        <pc:cxnChg chg="del">
          <ac:chgData name="Wenwen Zhang" userId="9dd81366-5d6f-445a-b031-6ea562624431" providerId="ADAL" clId="{83AF0EAE-1449-4C87-B14F-64EAAA6BDADC}" dt="2023-03-06T14:03:30.950" v="18489"/>
          <ac:cxnSpMkLst>
            <pc:docMk/>
            <pc:sldMk cId="2573365278" sldId="2134804375"/>
            <ac:cxnSpMk id="64" creationId="{CDC2214B-B624-4ABB-E00E-E9564153FBE5}"/>
          </ac:cxnSpMkLst>
        </pc:cxnChg>
        <pc:cxnChg chg="del">
          <ac:chgData name="Wenwen Zhang" userId="9dd81366-5d6f-445a-b031-6ea562624431" providerId="ADAL" clId="{83AF0EAE-1449-4C87-B14F-64EAAA6BDADC}" dt="2023-03-06T14:03:30.952" v="18495"/>
          <ac:cxnSpMkLst>
            <pc:docMk/>
            <pc:sldMk cId="2573365278" sldId="2134804375"/>
            <ac:cxnSpMk id="65" creationId="{E56A49A2-72D4-FBAC-1B5D-86ED101CA13A}"/>
          </ac:cxnSpMkLst>
        </pc:cxnChg>
        <pc:cxnChg chg="del">
          <ac:chgData name="Wenwen Zhang" userId="9dd81366-5d6f-445a-b031-6ea562624431" providerId="ADAL" clId="{83AF0EAE-1449-4C87-B14F-64EAAA6BDADC}" dt="2023-03-06T14:03:30.951" v="18492"/>
          <ac:cxnSpMkLst>
            <pc:docMk/>
            <pc:sldMk cId="2573365278" sldId="2134804375"/>
            <ac:cxnSpMk id="66" creationId="{D884AC93-119A-B9AF-03F2-E526E09BD973}"/>
          </ac:cxnSpMkLst>
        </pc:cxnChg>
        <pc:cxnChg chg="add mod ord replST">
          <ac:chgData name="Wenwen Zhang" userId="9dd81366-5d6f-445a-b031-6ea562624431" providerId="ADAL" clId="{83AF0EAE-1449-4C87-B14F-64EAAA6BDADC}" dt="2023-03-06T16:26:12.618" v="45938"/>
          <ac:cxnSpMkLst>
            <pc:docMk/>
            <pc:sldMk cId="2573365278" sldId="2134804375"/>
            <ac:cxnSpMk id="86" creationId="{A545D6D7-BBE2-D685-0A7E-7AA082E58617}"/>
          </ac:cxnSpMkLst>
        </pc:cxnChg>
        <pc:cxnChg chg="add mod ord replST">
          <ac:chgData name="Wenwen Zhang" userId="9dd81366-5d6f-445a-b031-6ea562624431" providerId="ADAL" clId="{83AF0EAE-1449-4C87-B14F-64EAAA6BDADC}" dt="2023-03-06T16:26:12.618" v="45942"/>
          <ac:cxnSpMkLst>
            <pc:docMk/>
            <pc:sldMk cId="2573365278" sldId="2134804375"/>
            <ac:cxnSpMk id="87" creationId="{A0D780A5-5136-E70E-1139-861ACF68E1A5}"/>
          </ac:cxnSpMkLst>
        </pc:cxnChg>
        <pc:cxnChg chg="add mod ord replST">
          <ac:chgData name="Wenwen Zhang" userId="9dd81366-5d6f-445a-b031-6ea562624431" providerId="ADAL" clId="{83AF0EAE-1449-4C87-B14F-64EAAA6BDADC}" dt="2023-03-06T16:26:12.618" v="45940"/>
          <ac:cxnSpMkLst>
            <pc:docMk/>
            <pc:sldMk cId="2573365278" sldId="2134804375"/>
            <ac:cxnSpMk id="88" creationId="{50C4C8BB-0E65-EA39-AB25-9A141096C66B}"/>
          </ac:cxnSpMkLst>
        </pc:cxnChg>
        <pc:cxnChg chg="add del mod ord replST">
          <ac:chgData name="Wenwen Zhang" userId="9dd81366-5d6f-445a-b031-6ea562624431" providerId="ADAL" clId="{83AF0EAE-1449-4C87-B14F-64EAAA6BDADC}" dt="2023-03-06T14:04:04.178" v="23197"/>
          <ac:cxnSpMkLst>
            <pc:docMk/>
            <pc:sldMk cId="2573365278" sldId="2134804375"/>
            <ac:cxnSpMk id="119" creationId="{8C759964-7D2D-646D-F86E-D960868D7D96}"/>
          </ac:cxnSpMkLst>
        </pc:cxnChg>
        <pc:cxnChg chg="add del mod ord replST">
          <ac:chgData name="Wenwen Zhang" userId="9dd81366-5d6f-445a-b031-6ea562624431" providerId="ADAL" clId="{83AF0EAE-1449-4C87-B14F-64EAAA6BDADC}" dt="2023-03-06T14:04:04.177" v="23194"/>
          <ac:cxnSpMkLst>
            <pc:docMk/>
            <pc:sldMk cId="2573365278" sldId="2134804375"/>
            <ac:cxnSpMk id="120" creationId="{58CA4876-E153-6AD9-1C45-8A6225F09ED3}"/>
          </ac:cxnSpMkLst>
        </pc:cxnChg>
        <pc:cxnChg chg="add del mod ord replST">
          <ac:chgData name="Wenwen Zhang" userId="9dd81366-5d6f-445a-b031-6ea562624431" providerId="ADAL" clId="{83AF0EAE-1449-4C87-B14F-64EAAA6BDADC}" dt="2023-03-06T14:04:04.176" v="23191"/>
          <ac:cxnSpMkLst>
            <pc:docMk/>
            <pc:sldMk cId="2573365278" sldId="2134804375"/>
            <ac:cxnSpMk id="121" creationId="{6A2FF98F-68F2-B17D-01D4-A274B12D47DC}"/>
          </ac:cxnSpMkLst>
        </pc:cxnChg>
        <pc:cxnChg chg="add del mod ord replST">
          <ac:chgData name="Wenwen Zhang" userId="9dd81366-5d6f-445a-b031-6ea562624431" providerId="ADAL" clId="{83AF0EAE-1449-4C87-B14F-64EAAA6BDADC}" dt="2023-03-06T14:04:04.176" v="23188"/>
          <ac:cxnSpMkLst>
            <pc:docMk/>
            <pc:sldMk cId="2573365278" sldId="2134804375"/>
            <ac:cxnSpMk id="122" creationId="{A47B8330-956D-CC87-E7AA-69EA15755FB2}"/>
          </ac:cxnSpMkLst>
        </pc:cxnChg>
        <pc:cxnChg chg="add del mod ord replST">
          <ac:chgData name="Wenwen Zhang" userId="9dd81366-5d6f-445a-b031-6ea562624431" providerId="ADAL" clId="{83AF0EAE-1449-4C87-B14F-64EAAA6BDADC}" dt="2023-03-06T14:04:04.175" v="23185"/>
          <ac:cxnSpMkLst>
            <pc:docMk/>
            <pc:sldMk cId="2573365278" sldId="2134804375"/>
            <ac:cxnSpMk id="123" creationId="{E14D67DA-FDB9-17A9-E975-9BA4D8C276D0}"/>
          </ac:cxnSpMkLst>
        </pc:cxnChg>
        <pc:cxnChg chg="add del mod ord replST">
          <ac:chgData name="Wenwen Zhang" userId="9dd81366-5d6f-445a-b031-6ea562624431" providerId="ADAL" clId="{83AF0EAE-1449-4C87-B14F-64EAAA6BDADC}" dt="2023-03-06T14:04:04.174" v="23182"/>
          <ac:cxnSpMkLst>
            <pc:docMk/>
            <pc:sldMk cId="2573365278" sldId="2134804375"/>
            <ac:cxnSpMk id="124" creationId="{172875E4-4035-D431-F68A-E693BEB56C92}"/>
          </ac:cxnSpMkLst>
        </pc:cxnChg>
        <pc:cxnChg chg="add del mod ord replST">
          <ac:chgData name="Wenwen Zhang" userId="9dd81366-5d6f-445a-b031-6ea562624431" providerId="ADAL" clId="{83AF0EAE-1449-4C87-B14F-64EAAA6BDADC}" dt="2023-03-06T14:04:04.173" v="23179"/>
          <ac:cxnSpMkLst>
            <pc:docMk/>
            <pc:sldMk cId="2573365278" sldId="2134804375"/>
            <ac:cxnSpMk id="125" creationId="{1949569D-B96E-FF83-8F97-A3CAB785FC46}"/>
          </ac:cxnSpMkLst>
        </pc:cxnChg>
        <pc:cxnChg chg="add del mod ord replST">
          <ac:chgData name="Wenwen Zhang" userId="9dd81366-5d6f-445a-b031-6ea562624431" providerId="ADAL" clId="{83AF0EAE-1449-4C87-B14F-64EAAA6BDADC}" dt="2023-03-06T14:04:04.172" v="23176"/>
          <ac:cxnSpMkLst>
            <pc:docMk/>
            <pc:sldMk cId="2573365278" sldId="2134804375"/>
            <ac:cxnSpMk id="126" creationId="{3F5014B0-E4E4-94C2-E1C8-93F5E710D986}"/>
          </ac:cxnSpMkLst>
        </pc:cxnChg>
        <pc:cxnChg chg="add del mod ord replST">
          <ac:chgData name="Wenwen Zhang" userId="9dd81366-5d6f-445a-b031-6ea562624431" providerId="ADAL" clId="{83AF0EAE-1449-4C87-B14F-64EAAA6BDADC}" dt="2023-03-06T14:04:04.172" v="23173"/>
          <ac:cxnSpMkLst>
            <pc:docMk/>
            <pc:sldMk cId="2573365278" sldId="2134804375"/>
            <ac:cxnSpMk id="127" creationId="{15C38BE2-E119-5FE8-92BE-FE0D9101108B}"/>
          </ac:cxnSpMkLst>
        </pc:cxnChg>
        <pc:cxnChg chg="add del mod ord replST">
          <ac:chgData name="Wenwen Zhang" userId="9dd81366-5d6f-445a-b031-6ea562624431" providerId="ADAL" clId="{83AF0EAE-1449-4C87-B14F-64EAAA6BDADC}" dt="2023-03-06T14:04:04.171" v="23170"/>
          <ac:cxnSpMkLst>
            <pc:docMk/>
            <pc:sldMk cId="2573365278" sldId="2134804375"/>
            <ac:cxnSpMk id="128" creationId="{B6E07E48-9953-437F-75AF-70195FC0D88A}"/>
          </ac:cxnSpMkLst>
        </pc:cxnChg>
        <pc:cxnChg chg="add del mod ord replST">
          <ac:chgData name="Wenwen Zhang" userId="9dd81366-5d6f-445a-b031-6ea562624431" providerId="ADAL" clId="{83AF0EAE-1449-4C87-B14F-64EAAA6BDADC}" dt="2023-03-06T14:04:04.169" v="23167"/>
          <ac:cxnSpMkLst>
            <pc:docMk/>
            <pc:sldMk cId="2573365278" sldId="2134804375"/>
            <ac:cxnSpMk id="129" creationId="{B6180198-692E-5E99-AD55-945B710D379A}"/>
          </ac:cxnSpMkLst>
        </pc:cxnChg>
        <pc:cxnChg chg="add del mod ord replST">
          <ac:chgData name="Wenwen Zhang" userId="9dd81366-5d6f-445a-b031-6ea562624431" providerId="ADAL" clId="{83AF0EAE-1449-4C87-B14F-64EAAA6BDADC}" dt="2023-03-06T14:04:04.169" v="23164"/>
          <ac:cxnSpMkLst>
            <pc:docMk/>
            <pc:sldMk cId="2573365278" sldId="2134804375"/>
            <ac:cxnSpMk id="130" creationId="{0ECA60C1-9AE4-A94B-31FB-1B6F696D9F2C}"/>
          </ac:cxnSpMkLst>
        </pc:cxnChg>
        <pc:cxnChg chg="add del mod ord replST">
          <ac:chgData name="Wenwen Zhang" userId="9dd81366-5d6f-445a-b031-6ea562624431" providerId="ADAL" clId="{83AF0EAE-1449-4C87-B14F-64EAAA6BDADC}" dt="2023-03-06T14:04:04.168" v="23161"/>
          <ac:cxnSpMkLst>
            <pc:docMk/>
            <pc:sldMk cId="2573365278" sldId="2134804375"/>
            <ac:cxnSpMk id="131" creationId="{0FA06656-BDB5-8A92-F613-F7BB16B5A522}"/>
          </ac:cxnSpMkLst>
        </pc:cxnChg>
        <pc:cxnChg chg="add del mod ord replST">
          <ac:chgData name="Wenwen Zhang" userId="9dd81366-5d6f-445a-b031-6ea562624431" providerId="ADAL" clId="{83AF0EAE-1449-4C87-B14F-64EAAA6BDADC}" dt="2023-03-06T14:04:04.167" v="23158"/>
          <ac:cxnSpMkLst>
            <pc:docMk/>
            <pc:sldMk cId="2573365278" sldId="2134804375"/>
            <ac:cxnSpMk id="132" creationId="{CBBE9129-8333-ACAA-ADA0-B05DBA84BB7A}"/>
          </ac:cxnSpMkLst>
        </pc:cxnChg>
        <pc:cxnChg chg="add del mod ord replST">
          <ac:chgData name="Wenwen Zhang" userId="9dd81366-5d6f-445a-b031-6ea562624431" providerId="ADAL" clId="{83AF0EAE-1449-4C87-B14F-64EAAA6BDADC}" dt="2023-03-06T14:04:04.167" v="23155"/>
          <ac:cxnSpMkLst>
            <pc:docMk/>
            <pc:sldMk cId="2573365278" sldId="2134804375"/>
            <ac:cxnSpMk id="133" creationId="{B17CF85F-FAC2-E6A9-3092-3914EC58B5C7}"/>
          </ac:cxnSpMkLst>
        </pc:cxnChg>
        <pc:cxnChg chg="add del mod ord replST">
          <ac:chgData name="Wenwen Zhang" userId="9dd81366-5d6f-445a-b031-6ea562624431" providerId="ADAL" clId="{83AF0EAE-1449-4C87-B14F-64EAAA6BDADC}" dt="2023-03-06T14:04:04.166" v="23152"/>
          <ac:cxnSpMkLst>
            <pc:docMk/>
            <pc:sldMk cId="2573365278" sldId="2134804375"/>
            <ac:cxnSpMk id="134" creationId="{66F006A5-C416-7E6B-103A-400DF2B297F6}"/>
          </ac:cxnSpMkLst>
        </pc:cxnChg>
        <pc:cxnChg chg="add del mod ord replST">
          <ac:chgData name="Wenwen Zhang" userId="9dd81366-5d6f-445a-b031-6ea562624431" providerId="ADAL" clId="{83AF0EAE-1449-4C87-B14F-64EAAA6BDADC}" dt="2023-03-06T14:04:04.165" v="23149"/>
          <ac:cxnSpMkLst>
            <pc:docMk/>
            <pc:sldMk cId="2573365278" sldId="2134804375"/>
            <ac:cxnSpMk id="135" creationId="{7ED282D6-4AB4-948A-4EA5-790B466D3DA3}"/>
          </ac:cxnSpMkLst>
        </pc:cxnChg>
        <pc:cxnChg chg="add del mod ord replST">
          <ac:chgData name="Wenwen Zhang" userId="9dd81366-5d6f-445a-b031-6ea562624431" providerId="ADAL" clId="{83AF0EAE-1449-4C87-B14F-64EAAA6BDADC}" dt="2023-03-06T14:04:04.165" v="23146"/>
          <ac:cxnSpMkLst>
            <pc:docMk/>
            <pc:sldMk cId="2573365278" sldId="2134804375"/>
            <ac:cxnSpMk id="136" creationId="{7E04DD65-24C6-89CB-F534-8B285EC58891}"/>
          </ac:cxnSpMkLst>
        </pc:cxnChg>
        <pc:cxnChg chg="add del mod ord replST">
          <ac:chgData name="Wenwen Zhang" userId="9dd81366-5d6f-445a-b031-6ea562624431" providerId="ADAL" clId="{83AF0EAE-1449-4C87-B14F-64EAAA6BDADC}" dt="2023-03-06T14:04:04.164" v="23143"/>
          <ac:cxnSpMkLst>
            <pc:docMk/>
            <pc:sldMk cId="2573365278" sldId="2134804375"/>
            <ac:cxnSpMk id="137" creationId="{0D6A8481-CD08-D7F1-2D7D-41B4FC06D03F}"/>
          </ac:cxnSpMkLst>
        </pc:cxnChg>
        <pc:cxnChg chg="add del mod ord replST">
          <ac:chgData name="Wenwen Zhang" userId="9dd81366-5d6f-445a-b031-6ea562624431" providerId="ADAL" clId="{83AF0EAE-1449-4C87-B14F-64EAAA6BDADC}" dt="2023-03-06T14:04:04.163" v="23140"/>
          <ac:cxnSpMkLst>
            <pc:docMk/>
            <pc:sldMk cId="2573365278" sldId="2134804375"/>
            <ac:cxnSpMk id="138" creationId="{710E945F-832F-9D2A-3D9F-40ADA4D872E8}"/>
          </ac:cxnSpMkLst>
        </pc:cxnChg>
        <pc:cxnChg chg="add del mod ord replST">
          <ac:chgData name="Wenwen Zhang" userId="9dd81366-5d6f-445a-b031-6ea562624431" providerId="ADAL" clId="{83AF0EAE-1449-4C87-B14F-64EAAA6BDADC}" dt="2023-03-06T14:04:04.163" v="23137"/>
          <ac:cxnSpMkLst>
            <pc:docMk/>
            <pc:sldMk cId="2573365278" sldId="2134804375"/>
            <ac:cxnSpMk id="139" creationId="{5308B347-1ABE-7390-925A-F846917BFABF}"/>
          </ac:cxnSpMkLst>
        </pc:cxnChg>
        <pc:cxnChg chg="add del mod ord replST">
          <ac:chgData name="Wenwen Zhang" userId="9dd81366-5d6f-445a-b031-6ea562624431" providerId="ADAL" clId="{83AF0EAE-1449-4C87-B14F-64EAAA6BDADC}" dt="2023-03-06T14:04:04.162" v="23134"/>
          <ac:cxnSpMkLst>
            <pc:docMk/>
            <pc:sldMk cId="2573365278" sldId="2134804375"/>
            <ac:cxnSpMk id="140" creationId="{FC886809-96D6-7AF7-91AF-2D7A8A2AF0A7}"/>
          </ac:cxnSpMkLst>
        </pc:cxnChg>
        <pc:cxnChg chg="add del mod ord replST">
          <ac:chgData name="Wenwen Zhang" userId="9dd81366-5d6f-445a-b031-6ea562624431" providerId="ADAL" clId="{83AF0EAE-1449-4C87-B14F-64EAAA6BDADC}" dt="2023-03-06T14:04:04.161" v="23131"/>
          <ac:cxnSpMkLst>
            <pc:docMk/>
            <pc:sldMk cId="2573365278" sldId="2134804375"/>
            <ac:cxnSpMk id="141" creationId="{82EFAF60-D109-D1C1-543D-9CFB221D604A}"/>
          </ac:cxnSpMkLst>
        </pc:cxnChg>
        <pc:cxnChg chg="add del mod ord replST">
          <ac:chgData name="Wenwen Zhang" userId="9dd81366-5d6f-445a-b031-6ea562624431" providerId="ADAL" clId="{83AF0EAE-1449-4C87-B14F-64EAAA6BDADC}" dt="2023-03-06T14:04:04.160" v="23128"/>
          <ac:cxnSpMkLst>
            <pc:docMk/>
            <pc:sldMk cId="2573365278" sldId="2134804375"/>
            <ac:cxnSpMk id="142" creationId="{67494864-A236-36A5-5560-60675892FEE3}"/>
          </ac:cxnSpMkLst>
        </pc:cxnChg>
        <pc:cxnChg chg="add del mod ord replST">
          <ac:chgData name="Wenwen Zhang" userId="9dd81366-5d6f-445a-b031-6ea562624431" providerId="ADAL" clId="{83AF0EAE-1449-4C87-B14F-64EAAA6BDADC}" dt="2023-03-06T14:04:04.160" v="23125"/>
          <ac:cxnSpMkLst>
            <pc:docMk/>
            <pc:sldMk cId="2573365278" sldId="2134804375"/>
            <ac:cxnSpMk id="143" creationId="{853FB38D-139D-6CC6-5B55-EB11DBBBFDCC}"/>
          </ac:cxnSpMkLst>
        </pc:cxnChg>
        <pc:cxnChg chg="del">
          <ac:chgData name="Wenwen Zhang" userId="9dd81366-5d6f-445a-b031-6ea562624431" providerId="ADAL" clId="{83AF0EAE-1449-4C87-B14F-64EAAA6BDADC}" dt="2023-03-06T14:03:30.961" v="18532"/>
          <ac:cxnSpMkLst>
            <pc:docMk/>
            <pc:sldMk cId="2573365278" sldId="2134804375"/>
            <ac:cxnSpMk id="172" creationId="{B5F5BC6E-FD1F-6113-F7EF-21987490C173}"/>
          </ac:cxnSpMkLst>
        </pc:cxnChg>
        <pc:cxnChg chg="del">
          <ac:chgData name="Wenwen Zhang" userId="9dd81366-5d6f-445a-b031-6ea562624431" providerId="ADAL" clId="{83AF0EAE-1449-4C87-B14F-64EAAA6BDADC}" dt="2023-03-06T14:03:30.959" v="18526"/>
          <ac:cxnSpMkLst>
            <pc:docMk/>
            <pc:sldMk cId="2573365278" sldId="2134804375"/>
            <ac:cxnSpMk id="173" creationId="{6EFB9C0C-869F-F0AA-4679-52CE8DC641B3}"/>
          </ac:cxnSpMkLst>
        </pc:cxnChg>
        <pc:cxnChg chg="del">
          <ac:chgData name="Wenwen Zhang" userId="9dd81366-5d6f-445a-b031-6ea562624431" providerId="ADAL" clId="{83AF0EAE-1449-4C87-B14F-64EAAA6BDADC}" dt="2023-03-06T14:03:30.958" v="18520"/>
          <ac:cxnSpMkLst>
            <pc:docMk/>
            <pc:sldMk cId="2573365278" sldId="2134804375"/>
            <ac:cxnSpMk id="174" creationId="{EC9C4FBC-F489-FD5A-4129-B3A2E02409C1}"/>
          </ac:cxnSpMkLst>
        </pc:cxnChg>
        <pc:cxnChg chg="del">
          <ac:chgData name="Wenwen Zhang" userId="9dd81366-5d6f-445a-b031-6ea562624431" providerId="ADAL" clId="{83AF0EAE-1449-4C87-B14F-64EAAA6BDADC}" dt="2023-03-06T14:03:30.957" v="18514"/>
          <ac:cxnSpMkLst>
            <pc:docMk/>
            <pc:sldMk cId="2573365278" sldId="2134804375"/>
            <ac:cxnSpMk id="175" creationId="{3D601B5C-8908-8F11-1FCE-3E34B0171AD5}"/>
          </ac:cxnSpMkLst>
        </pc:cxnChg>
        <pc:cxnChg chg="del">
          <ac:chgData name="Wenwen Zhang" userId="9dd81366-5d6f-445a-b031-6ea562624431" providerId="ADAL" clId="{83AF0EAE-1449-4C87-B14F-64EAAA6BDADC}" dt="2023-03-06T14:03:30.956" v="18508"/>
          <ac:cxnSpMkLst>
            <pc:docMk/>
            <pc:sldMk cId="2573365278" sldId="2134804375"/>
            <ac:cxnSpMk id="176" creationId="{F10EAC1F-7C6E-E3E7-88D1-04F55C4CD46F}"/>
          </ac:cxnSpMkLst>
        </pc:cxnChg>
        <pc:cxnChg chg="del">
          <ac:chgData name="Wenwen Zhang" userId="9dd81366-5d6f-445a-b031-6ea562624431" providerId="ADAL" clId="{83AF0EAE-1449-4C87-B14F-64EAAA6BDADC}" dt="2023-03-06T14:03:30.954" v="18502"/>
          <ac:cxnSpMkLst>
            <pc:docMk/>
            <pc:sldMk cId="2573365278" sldId="2134804375"/>
            <ac:cxnSpMk id="177" creationId="{A0509D4F-3A62-D57D-BB3C-A42840FFC36A}"/>
          </ac:cxnSpMkLst>
        </pc:cxnChg>
      </pc:sldChg>
      <pc:sldChg chg="addSp delSp modSp mod ord modNotesTx">
        <pc:chgData name="Wenwen Zhang" userId="9dd81366-5d6f-445a-b031-6ea562624431" providerId="ADAL" clId="{83AF0EAE-1449-4C87-B14F-64EAAA6BDADC}" dt="2023-03-09T13:23:05.593" v="55797" actId="1076"/>
        <pc:sldMkLst>
          <pc:docMk/>
          <pc:sldMk cId="574567390" sldId="2134804376"/>
        </pc:sldMkLst>
        <pc:spChg chg="add del">
          <ac:chgData name="Wenwen Zhang" userId="9dd81366-5d6f-445a-b031-6ea562624431" providerId="ADAL" clId="{83AF0EAE-1449-4C87-B14F-64EAAA6BDADC}" dt="2023-03-06T16:34:52.089" v="46376" actId="478"/>
          <ac:spMkLst>
            <pc:docMk/>
            <pc:sldMk cId="574567390" sldId="2134804376"/>
            <ac:spMk id="2" creationId="{B065B79C-C4D6-5961-7919-6BB68C420868}"/>
          </ac:spMkLst>
        </pc:spChg>
        <pc:spChg chg="add del mod">
          <ac:chgData name="Wenwen Zhang" userId="9dd81366-5d6f-445a-b031-6ea562624431" providerId="ADAL" clId="{83AF0EAE-1449-4C87-B14F-64EAAA6BDADC}" dt="2023-03-06T16:34:34.107" v="46350" actId="403"/>
          <ac:spMkLst>
            <pc:docMk/>
            <pc:sldMk cId="574567390" sldId="2134804376"/>
            <ac:spMk id="29" creationId="{D50B6CAA-A666-5524-85F7-444C607F0970}"/>
          </ac:spMkLst>
        </pc:spChg>
        <pc:spChg chg="add del">
          <ac:chgData name="Wenwen Zhang" userId="9dd81366-5d6f-445a-b031-6ea562624431" providerId="ADAL" clId="{83AF0EAE-1449-4C87-B14F-64EAAA6BDADC}" dt="2023-03-06T16:34:48.352" v="46366"/>
          <ac:spMkLst>
            <pc:docMk/>
            <pc:sldMk cId="574567390" sldId="2134804376"/>
            <ac:spMk id="176" creationId="{0333CDF8-75B9-FB8B-354B-CE0536B52445}"/>
          </ac:spMkLst>
        </pc:spChg>
        <pc:spChg chg="add del">
          <ac:chgData name="Wenwen Zhang" userId="9dd81366-5d6f-445a-b031-6ea562624431" providerId="ADAL" clId="{83AF0EAE-1449-4C87-B14F-64EAAA6BDADC}" dt="2023-03-06T16:34:48.353" v="46369"/>
          <ac:spMkLst>
            <pc:docMk/>
            <pc:sldMk cId="574567390" sldId="2134804376"/>
            <ac:spMk id="341" creationId="{684A672A-79D1-5720-64EE-C0A5AEEF8BD4}"/>
          </ac:spMkLst>
        </pc:spChg>
        <pc:spChg chg="add del">
          <ac:chgData name="Wenwen Zhang" userId="9dd81366-5d6f-445a-b031-6ea562624431" providerId="ADAL" clId="{83AF0EAE-1449-4C87-B14F-64EAAA6BDADC}" dt="2023-03-06T16:34:48.351" v="46363"/>
          <ac:spMkLst>
            <pc:docMk/>
            <pc:sldMk cId="574567390" sldId="2134804376"/>
            <ac:spMk id="353" creationId="{96DB64E7-7450-5BAA-7DCA-6F75AE12EF02}"/>
          </ac:spMkLst>
        </pc:spChg>
        <pc:spChg chg="add del">
          <ac:chgData name="Wenwen Zhang" userId="9dd81366-5d6f-445a-b031-6ea562624431" providerId="ADAL" clId="{83AF0EAE-1449-4C87-B14F-64EAAA6BDADC}" dt="2023-03-06T16:34:48.351" v="46362"/>
          <ac:spMkLst>
            <pc:docMk/>
            <pc:sldMk cId="574567390" sldId="2134804376"/>
            <ac:spMk id="356" creationId="{96DB64E7-7450-5BAA-7DCA-6F75AE12EF02}"/>
          </ac:spMkLst>
        </pc:spChg>
        <pc:spChg chg="add del">
          <ac:chgData name="Wenwen Zhang" userId="9dd81366-5d6f-445a-b031-6ea562624431" providerId="ADAL" clId="{83AF0EAE-1449-4C87-B14F-64EAAA6BDADC}" dt="2023-03-06T16:34:48.351" v="46361"/>
          <ac:spMkLst>
            <pc:docMk/>
            <pc:sldMk cId="574567390" sldId="2134804376"/>
            <ac:spMk id="359" creationId="{96DB64E7-7450-5BAA-7DCA-6F75AE12EF02}"/>
          </ac:spMkLst>
        </pc:spChg>
        <pc:spChg chg="add del">
          <ac:chgData name="Wenwen Zhang" userId="9dd81366-5d6f-445a-b031-6ea562624431" providerId="ADAL" clId="{83AF0EAE-1449-4C87-B14F-64EAAA6BDADC}" dt="2023-03-06T16:34:48.350" v="46360"/>
          <ac:spMkLst>
            <pc:docMk/>
            <pc:sldMk cId="574567390" sldId="2134804376"/>
            <ac:spMk id="362" creationId="{96DB64E7-7450-5BAA-7DCA-6F75AE12EF02}"/>
          </ac:spMkLst>
        </pc:spChg>
        <pc:spChg chg="add del">
          <ac:chgData name="Wenwen Zhang" userId="9dd81366-5d6f-445a-b031-6ea562624431" providerId="ADAL" clId="{83AF0EAE-1449-4C87-B14F-64EAAA6BDADC}" dt="2023-03-06T16:34:48.350" v="46359"/>
          <ac:spMkLst>
            <pc:docMk/>
            <pc:sldMk cId="574567390" sldId="2134804376"/>
            <ac:spMk id="365" creationId="{96DB64E7-7450-5BAA-7DCA-6F75AE12EF02}"/>
          </ac:spMkLst>
        </pc:spChg>
        <pc:spChg chg="add del">
          <ac:chgData name="Wenwen Zhang" userId="9dd81366-5d6f-445a-b031-6ea562624431" providerId="ADAL" clId="{83AF0EAE-1449-4C87-B14F-64EAAA6BDADC}" dt="2023-03-06T16:34:48.350" v="46358"/>
          <ac:spMkLst>
            <pc:docMk/>
            <pc:sldMk cId="574567390" sldId="2134804376"/>
            <ac:spMk id="368" creationId="{96DB64E7-7450-5BAA-7DCA-6F75AE12EF02}"/>
          </ac:spMkLst>
        </pc:spChg>
        <pc:spChg chg="add del">
          <ac:chgData name="Wenwen Zhang" userId="9dd81366-5d6f-445a-b031-6ea562624431" providerId="ADAL" clId="{83AF0EAE-1449-4C87-B14F-64EAAA6BDADC}" dt="2023-03-06T16:34:48.349" v="46357"/>
          <ac:spMkLst>
            <pc:docMk/>
            <pc:sldMk cId="574567390" sldId="2134804376"/>
            <ac:spMk id="371" creationId="{96DB64E7-7450-5BAA-7DCA-6F75AE12EF02}"/>
          </ac:spMkLst>
        </pc:spChg>
        <pc:spChg chg="add del">
          <ac:chgData name="Wenwen Zhang" userId="9dd81366-5d6f-445a-b031-6ea562624431" providerId="ADAL" clId="{83AF0EAE-1449-4C87-B14F-64EAAA6BDADC}" dt="2023-03-06T16:34:48.349" v="46356"/>
          <ac:spMkLst>
            <pc:docMk/>
            <pc:sldMk cId="574567390" sldId="2134804376"/>
            <ac:spMk id="374" creationId="{96DB64E7-7450-5BAA-7DCA-6F75AE12EF02}"/>
          </ac:spMkLst>
        </pc:spChg>
        <pc:spChg chg="add del">
          <ac:chgData name="Wenwen Zhang" userId="9dd81366-5d6f-445a-b031-6ea562624431" providerId="ADAL" clId="{83AF0EAE-1449-4C87-B14F-64EAAA6BDADC}" dt="2023-03-06T16:34:48.349" v="46355"/>
          <ac:spMkLst>
            <pc:docMk/>
            <pc:sldMk cId="574567390" sldId="2134804376"/>
            <ac:spMk id="377" creationId="{96DB64E7-7450-5BAA-7DCA-6F75AE12EF02}"/>
          </ac:spMkLst>
        </pc:spChg>
        <pc:spChg chg="add del">
          <ac:chgData name="Wenwen Zhang" userId="9dd81366-5d6f-445a-b031-6ea562624431" providerId="ADAL" clId="{83AF0EAE-1449-4C87-B14F-64EAAA6BDADC}" dt="2023-03-06T16:34:48.349" v="46354"/>
          <ac:spMkLst>
            <pc:docMk/>
            <pc:sldMk cId="574567390" sldId="2134804376"/>
            <ac:spMk id="380" creationId="{96DB64E7-7450-5BAA-7DCA-6F75AE12EF02}"/>
          </ac:spMkLst>
        </pc:spChg>
        <pc:spChg chg="add del">
          <ac:chgData name="Wenwen Zhang" userId="9dd81366-5d6f-445a-b031-6ea562624431" providerId="ADAL" clId="{83AF0EAE-1449-4C87-B14F-64EAAA6BDADC}" dt="2023-03-06T16:34:48.349" v="46353"/>
          <ac:spMkLst>
            <pc:docMk/>
            <pc:sldMk cId="574567390" sldId="2134804376"/>
            <ac:spMk id="383" creationId="{96DB64E7-7450-5BAA-7DCA-6F75AE12EF02}"/>
          </ac:spMkLst>
        </pc:spChg>
        <pc:spChg chg="add del">
          <ac:chgData name="Wenwen Zhang" userId="9dd81366-5d6f-445a-b031-6ea562624431" providerId="ADAL" clId="{83AF0EAE-1449-4C87-B14F-64EAAA6BDADC}" dt="2023-03-06T16:34:48.348" v="46352"/>
          <ac:spMkLst>
            <pc:docMk/>
            <pc:sldMk cId="574567390" sldId="2134804376"/>
            <ac:spMk id="770" creationId="{96DB64E7-7450-5BAA-7DCA-6F75AE12EF02}"/>
          </ac:spMkLst>
        </pc:spChg>
        <pc:spChg chg="add del">
          <ac:chgData name="Wenwen Zhang" userId="9dd81366-5d6f-445a-b031-6ea562624431" providerId="ADAL" clId="{83AF0EAE-1449-4C87-B14F-64EAAA6BDADC}" dt="2023-03-06T16:34:48.348" v="46351"/>
          <ac:spMkLst>
            <pc:docMk/>
            <pc:sldMk cId="574567390" sldId="2134804376"/>
            <ac:spMk id="773" creationId="{96DB64E7-7450-5BAA-7DCA-6F75AE12EF02}"/>
          </ac:spMkLst>
        </pc:spChg>
        <pc:graphicFrameChg chg="add del">
          <ac:chgData name="Wenwen Zhang" userId="9dd81366-5d6f-445a-b031-6ea562624431" providerId="ADAL" clId="{83AF0EAE-1449-4C87-B14F-64EAAA6BDADC}" dt="2023-03-06T16:34:48.354" v="46371"/>
          <ac:graphicFrameMkLst>
            <pc:docMk/>
            <pc:sldMk cId="574567390" sldId="2134804376"/>
            <ac:graphicFrameMk id="4" creationId="{8364B899-CF4D-D6EF-4018-812A81976F8F}"/>
          </ac:graphicFrameMkLst>
        </pc:graphicFrameChg>
        <pc:graphicFrameChg chg="mod">
          <ac:chgData name="Wenwen Zhang" userId="9dd81366-5d6f-445a-b031-6ea562624431" providerId="ADAL" clId="{83AF0EAE-1449-4C87-B14F-64EAAA6BDADC}" dt="2023-03-06T16:34:48.358" v="46375"/>
          <ac:graphicFrameMkLst>
            <pc:docMk/>
            <pc:sldMk cId="574567390" sldId="2134804376"/>
            <ac:graphicFrameMk id="28" creationId="{015DFAEE-F78A-C272-92CE-F25C3417CAD0}"/>
          </ac:graphicFrameMkLst>
        </pc:graphicFrameChg>
        <pc:picChg chg="add mod">
          <ac:chgData name="Wenwen Zhang" userId="9dd81366-5d6f-445a-b031-6ea562624431" providerId="ADAL" clId="{83AF0EAE-1449-4C87-B14F-64EAAA6BDADC}" dt="2023-03-09T13:23:05.593" v="55797" actId="1076"/>
          <ac:picMkLst>
            <pc:docMk/>
            <pc:sldMk cId="574567390" sldId="2134804376"/>
            <ac:picMk id="3" creationId="{80A22253-20F6-522A-2B88-2D6CC4F1C48A}"/>
          </ac:picMkLst>
        </pc:picChg>
        <pc:picChg chg="add mod">
          <ac:chgData name="Wenwen Zhang" userId="9dd81366-5d6f-445a-b031-6ea562624431" providerId="ADAL" clId="{83AF0EAE-1449-4C87-B14F-64EAAA6BDADC}" dt="2023-03-06T16:34:54.957" v="46379" actId="1076"/>
          <ac:picMkLst>
            <pc:docMk/>
            <pc:sldMk cId="574567390" sldId="2134804376"/>
            <ac:picMk id="5" creationId="{A7DE4E24-A853-D8C3-1DDC-C49AC563978C}"/>
          </ac:picMkLst>
        </pc:picChg>
        <pc:picChg chg="del">
          <ac:chgData name="Wenwen Zhang" userId="9dd81366-5d6f-445a-b031-6ea562624431" providerId="ADAL" clId="{83AF0EAE-1449-4C87-B14F-64EAAA6BDADC}" dt="2023-03-09T13:22:58.806" v="55787" actId="478"/>
          <ac:picMkLst>
            <pc:docMk/>
            <pc:sldMk cId="574567390" sldId="2134804376"/>
            <ac:picMk id="8" creationId="{7D24BF48-4DDA-C401-155B-FE2355B57AE1}"/>
          </ac:picMkLst>
        </pc:picChg>
        <pc:cxnChg chg="add del">
          <ac:chgData name="Wenwen Zhang" userId="9dd81366-5d6f-445a-b031-6ea562624431" providerId="ADAL" clId="{83AF0EAE-1449-4C87-B14F-64EAAA6BDADC}" dt="2023-03-06T16:34:48.352" v="46365"/>
          <ac:cxnSpMkLst>
            <pc:docMk/>
            <pc:sldMk cId="574567390" sldId="2134804376"/>
            <ac:cxnSpMk id="351" creationId="{B8898D04-479E-C629-732A-6F95BE615BDF}"/>
          </ac:cxnSpMkLst>
        </pc:cxnChg>
        <pc:cxnChg chg="add del">
          <ac:chgData name="Wenwen Zhang" userId="9dd81366-5d6f-445a-b031-6ea562624431" providerId="ADAL" clId="{83AF0EAE-1449-4C87-B14F-64EAAA6BDADC}" dt="2023-03-06T16:34:48.352" v="46368"/>
          <ac:cxnSpMkLst>
            <pc:docMk/>
            <pc:sldMk cId="574567390" sldId="2134804376"/>
            <ac:cxnSpMk id="744" creationId="{DD26C715-26F1-5C85-6A29-1821B415E66C}"/>
          </ac:cxnSpMkLst>
        </pc:cxnChg>
      </pc:sldChg>
      <pc:sldChg chg="addSp delSp modSp add mod">
        <pc:chgData name="Wenwen Zhang" userId="9dd81366-5d6f-445a-b031-6ea562624431" providerId="ADAL" clId="{83AF0EAE-1449-4C87-B14F-64EAAA6BDADC}" dt="2023-03-07T15:43:47.764" v="51272"/>
        <pc:sldMkLst>
          <pc:docMk/>
          <pc:sldMk cId="1814704767" sldId="2134804377"/>
        </pc:sldMkLst>
        <pc:spChg chg="mod ord">
          <ac:chgData name="Wenwen Zhang" userId="9dd81366-5d6f-445a-b031-6ea562624431" providerId="ADAL" clId="{83AF0EAE-1449-4C87-B14F-64EAAA6BDADC}" dt="2023-03-07T15:43:31.617" v="51164"/>
          <ac:spMkLst>
            <pc:docMk/>
            <pc:sldMk cId="1814704767" sldId="2134804377"/>
            <ac:spMk id="2" creationId="{B065B79C-C4D6-5961-7919-6BB68C420868}"/>
          </ac:spMkLst>
        </pc:spChg>
        <pc:spChg chg="add mod replST">
          <ac:chgData name="Wenwen Zhang" userId="9dd81366-5d6f-445a-b031-6ea562624431" providerId="ADAL" clId="{83AF0EAE-1449-4C87-B14F-64EAAA6BDADC}" dt="2023-03-07T15:43:31.627" v="51217"/>
          <ac:spMkLst>
            <pc:docMk/>
            <pc:sldMk cId="1814704767" sldId="2134804377"/>
            <ac:spMk id="3" creationId="{4357D43E-9AE5-ED92-9DBB-B7B10E3E3722}"/>
          </ac:spMkLst>
        </pc:spChg>
        <pc:spChg chg="add mod ord replST">
          <ac:chgData name="Wenwen Zhang" userId="9dd81366-5d6f-445a-b031-6ea562624431" providerId="ADAL" clId="{83AF0EAE-1449-4C87-B14F-64EAAA6BDADC}" dt="2023-03-07T15:43:31.628" v="51227"/>
          <ac:spMkLst>
            <pc:docMk/>
            <pc:sldMk cId="1814704767" sldId="2134804377"/>
            <ac:spMk id="4" creationId="{DB9194F6-CE23-7405-5A55-E5903F0A0D40}"/>
          </ac:spMkLst>
        </pc:spChg>
        <pc:spChg chg="mod">
          <ac:chgData name="Wenwen Zhang" userId="9dd81366-5d6f-445a-b031-6ea562624431" providerId="ADAL" clId="{83AF0EAE-1449-4C87-B14F-64EAAA6BDADC}" dt="2023-03-07T15:43:31.621" v="51186"/>
          <ac:spMkLst>
            <pc:docMk/>
            <pc:sldMk cId="1814704767" sldId="2134804377"/>
            <ac:spMk id="5" creationId="{853E3AE6-E7F7-94AD-D7C1-36CA3347A7E8}"/>
          </ac:spMkLst>
        </pc:spChg>
        <pc:spChg chg="mod">
          <ac:chgData name="Wenwen Zhang" userId="9dd81366-5d6f-445a-b031-6ea562624431" providerId="ADAL" clId="{83AF0EAE-1449-4C87-B14F-64EAAA6BDADC}" dt="2023-03-07T15:43:31.620" v="51181"/>
          <ac:spMkLst>
            <pc:docMk/>
            <pc:sldMk cId="1814704767" sldId="2134804377"/>
            <ac:spMk id="6" creationId="{4EB63AB8-68BF-F752-5895-FEE87DE48FB1}"/>
          </ac:spMkLst>
        </pc:spChg>
        <pc:spChg chg="mod">
          <ac:chgData name="Wenwen Zhang" userId="9dd81366-5d6f-445a-b031-6ea562624431" providerId="ADAL" clId="{83AF0EAE-1449-4C87-B14F-64EAAA6BDADC}" dt="2023-03-07T15:43:31.620" v="51184"/>
          <ac:spMkLst>
            <pc:docMk/>
            <pc:sldMk cId="1814704767" sldId="2134804377"/>
            <ac:spMk id="7" creationId="{2A709262-AEC3-7443-4B92-2BD864A8DBA5}"/>
          </ac:spMkLst>
        </pc:spChg>
        <pc:spChg chg="del mod">
          <ac:chgData name="Wenwen Zhang" userId="9dd81366-5d6f-445a-b031-6ea562624431" providerId="ADAL" clId="{83AF0EAE-1449-4C87-B14F-64EAAA6BDADC}" dt="2023-03-06T12:27:08.764" v="7767"/>
          <ac:spMkLst>
            <pc:docMk/>
            <pc:sldMk cId="1814704767" sldId="2134804377"/>
            <ac:spMk id="8" creationId="{1E1F31AE-E546-5758-1E25-6422E62CACCC}"/>
          </ac:spMkLst>
        </pc:spChg>
        <pc:spChg chg="add del mod modVis">
          <ac:chgData name="Wenwen Zhang" userId="9dd81366-5d6f-445a-b031-6ea562624431" providerId="ADAL" clId="{83AF0EAE-1449-4C87-B14F-64EAAA6BDADC}" dt="2023-03-07T15:43:24.618" v="49978"/>
          <ac:spMkLst>
            <pc:docMk/>
            <pc:sldMk cId="1814704767" sldId="2134804377"/>
            <ac:spMk id="8" creationId="{8754AF32-9A4A-747B-E65D-A088246CA00A}"/>
          </ac:spMkLst>
        </pc:spChg>
        <pc:spChg chg="mod">
          <ac:chgData name="Wenwen Zhang" userId="9dd81366-5d6f-445a-b031-6ea562624431" providerId="ADAL" clId="{83AF0EAE-1449-4C87-B14F-64EAAA6BDADC}" dt="2023-03-07T15:43:31.620" v="51182"/>
          <ac:spMkLst>
            <pc:docMk/>
            <pc:sldMk cId="1814704767" sldId="2134804377"/>
            <ac:spMk id="9" creationId="{69F454ED-9CCC-62CF-F30D-A334BC8A0D4B}"/>
          </ac:spMkLst>
        </pc:spChg>
        <pc:spChg chg="add del mod modVis">
          <ac:chgData name="Wenwen Zhang" userId="9dd81366-5d6f-445a-b031-6ea562624431" providerId="ADAL" clId="{83AF0EAE-1449-4C87-B14F-64EAAA6BDADC}" dt="2023-03-06T12:25:13.088" v="4878"/>
          <ac:spMkLst>
            <pc:docMk/>
            <pc:sldMk cId="1814704767" sldId="2134804377"/>
            <ac:spMk id="10" creationId="{4505C266-C001-49D2-6DC1-92B6CE835D0F}"/>
          </ac:spMkLst>
        </pc:spChg>
        <pc:spChg chg="mod">
          <ac:chgData name="Wenwen Zhang" userId="9dd81366-5d6f-445a-b031-6ea562624431" providerId="ADAL" clId="{83AF0EAE-1449-4C87-B14F-64EAAA6BDADC}" dt="2023-03-07T15:43:31.620" v="51185"/>
          <ac:spMkLst>
            <pc:docMk/>
            <pc:sldMk cId="1814704767" sldId="2134804377"/>
            <ac:spMk id="11" creationId="{6AF1F9A0-3633-4E39-B792-CC820F9A9084}"/>
          </ac:spMkLst>
        </pc:spChg>
        <pc:spChg chg="mod">
          <ac:chgData name="Wenwen Zhang" userId="9dd81366-5d6f-445a-b031-6ea562624431" providerId="ADAL" clId="{83AF0EAE-1449-4C87-B14F-64EAAA6BDADC}" dt="2023-03-07T15:43:31.621" v="51187"/>
          <ac:spMkLst>
            <pc:docMk/>
            <pc:sldMk cId="1814704767" sldId="2134804377"/>
            <ac:spMk id="12" creationId="{D2F5D0D7-DC31-0DBB-3B98-5FB9900FF705}"/>
          </ac:spMkLst>
        </pc:spChg>
        <pc:spChg chg="mod">
          <ac:chgData name="Wenwen Zhang" userId="9dd81366-5d6f-445a-b031-6ea562624431" providerId="ADAL" clId="{83AF0EAE-1449-4C87-B14F-64EAAA6BDADC}" dt="2023-03-07T15:43:31.620" v="51183"/>
          <ac:spMkLst>
            <pc:docMk/>
            <pc:sldMk cId="1814704767" sldId="2134804377"/>
            <ac:spMk id="13" creationId="{2F6F6783-6227-334C-241D-B0C69587E518}"/>
          </ac:spMkLst>
        </pc:spChg>
        <pc:spChg chg="add del mod ord replST">
          <ac:chgData name="Wenwen Zhang" userId="9dd81366-5d6f-445a-b031-6ea562624431" providerId="ADAL" clId="{83AF0EAE-1449-4C87-B14F-64EAAA6BDADC}" dt="2023-03-06T12:25:32.716" v="6029"/>
          <ac:spMkLst>
            <pc:docMk/>
            <pc:sldMk cId="1814704767" sldId="2134804377"/>
            <ac:spMk id="14" creationId="{96DB64E7-7450-5BAA-7DCA-6F75AE12EF02}"/>
          </ac:spMkLst>
        </pc:spChg>
        <pc:spChg chg="mod">
          <ac:chgData name="Wenwen Zhang" userId="9dd81366-5d6f-445a-b031-6ea562624431" providerId="ADAL" clId="{83AF0EAE-1449-4C87-B14F-64EAAA6BDADC}" dt="2023-03-07T15:43:31.621" v="51188"/>
          <ac:spMkLst>
            <pc:docMk/>
            <pc:sldMk cId="1814704767" sldId="2134804377"/>
            <ac:spMk id="15" creationId="{9491B75F-DC0D-7DF1-7D8B-A9A8E8FD61E9}"/>
          </ac:spMkLst>
        </pc:spChg>
        <pc:spChg chg="mod">
          <ac:chgData name="Wenwen Zhang" userId="9dd81366-5d6f-445a-b031-6ea562624431" providerId="ADAL" clId="{83AF0EAE-1449-4C87-B14F-64EAAA6BDADC}" dt="2023-03-07T15:43:31.621" v="51189"/>
          <ac:spMkLst>
            <pc:docMk/>
            <pc:sldMk cId="1814704767" sldId="2134804377"/>
            <ac:spMk id="16" creationId="{BF8FEA59-667E-AD81-BD68-2A4C7A58AE22}"/>
          </ac:spMkLst>
        </pc:spChg>
        <pc:spChg chg="mod">
          <ac:chgData name="Wenwen Zhang" userId="9dd81366-5d6f-445a-b031-6ea562624431" providerId="ADAL" clId="{83AF0EAE-1449-4C87-B14F-64EAAA6BDADC}" dt="2023-03-07T15:43:31.621" v="51190"/>
          <ac:spMkLst>
            <pc:docMk/>
            <pc:sldMk cId="1814704767" sldId="2134804377"/>
            <ac:spMk id="17" creationId="{16D3A00E-0760-8004-B7A1-AA8EF6D8D41C}"/>
          </ac:spMkLst>
        </pc:spChg>
        <pc:spChg chg="mod">
          <ac:chgData name="Wenwen Zhang" userId="9dd81366-5d6f-445a-b031-6ea562624431" providerId="ADAL" clId="{83AF0EAE-1449-4C87-B14F-64EAAA6BDADC}" dt="2023-03-07T15:43:31.622" v="51191"/>
          <ac:spMkLst>
            <pc:docMk/>
            <pc:sldMk cId="1814704767" sldId="2134804377"/>
            <ac:spMk id="18" creationId="{6A274FDE-0F5F-A040-099B-09D012D48EE0}"/>
          </ac:spMkLst>
        </pc:spChg>
        <pc:spChg chg="mod ord">
          <ac:chgData name="Wenwen Zhang" userId="9dd81366-5d6f-445a-b031-6ea562624431" providerId="ADAL" clId="{83AF0EAE-1449-4C87-B14F-64EAAA6BDADC}" dt="2023-03-07T15:43:31.622" v="51193"/>
          <ac:spMkLst>
            <pc:docMk/>
            <pc:sldMk cId="1814704767" sldId="2134804377"/>
            <ac:spMk id="19" creationId="{964B1BBF-B407-C44A-77D1-FDF192716AE3}"/>
          </ac:spMkLst>
        </pc:spChg>
        <pc:spChg chg="mod ord">
          <ac:chgData name="Wenwen Zhang" userId="9dd81366-5d6f-445a-b031-6ea562624431" providerId="ADAL" clId="{83AF0EAE-1449-4C87-B14F-64EAAA6BDADC}" dt="2023-03-07T15:43:31.623" v="51198"/>
          <ac:spMkLst>
            <pc:docMk/>
            <pc:sldMk cId="1814704767" sldId="2134804377"/>
            <ac:spMk id="21" creationId="{F6D863E2-8629-3703-6C4F-C073587AB6EB}"/>
          </ac:spMkLst>
        </pc:spChg>
        <pc:spChg chg="mod">
          <ac:chgData name="Wenwen Zhang" userId="9dd81366-5d6f-445a-b031-6ea562624431" providerId="ADAL" clId="{83AF0EAE-1449-4C87-B14F-64EAAA6BDADC}" dt="2023-03-07T15:43:47.751" v="51263"/>
          <ac:spMkLst>
            <pc:docMk/>
            <pc:sldMk cId="1814704767" sldId="2134804377"/>
            <ac:spMk id="22" creationId="{F0104106-670B-C3CB-A81A-41C388F2E107}"/>
          </ac:spMkLst>
        </pc:spChg>
        <pc:spChg chg="mod">
          <ac:chgData name="Wenwen Zhang" userId="9dd81366-5d6f-445a-b031-6ea562624431" providerId="ADAL" clId="{83AF0EAE-1449-4C87-B14F-64EAAA6BDADC}" dt="2023-03-07T15:43:47.751" v="51262"/>
          <ac:spMkLst>
            <pc:docMk/>
            <pc:sldMk cId="1814704767" sldId="2134804377"/>
            <ac:spMk id="23" creationId="{2038CD29-1299-0259-307D-DF3914D77B53}"/>
          </ac:spMkLst>
        </pc:spChg>
        <pc:spChg chg="add del mod modVis">
          <ac:chgData name="Wenwen Zhang" userId="9dd81366-5d6f-445a-b031-6ea562624431" providerId="ADAL" clId="{83AF0EAE-1449-4C87-B14F-64EAAA6BDADC}" dt="2023-03-07T15:43:25.395" v="50232"/>
          <ac:spMkLst>
            <pc:docMk/>
            <pc:sldMk cId="1814704767" sldId="2134804377"/>
            <ac:spMk id="24" creationId="{1A2744A9-3DDC-47A2-25A8-084D812CA9E6}"/>
          </ac:spMkLst>
        </pc:spChg>
        <pc:spChg chg="mod">
          <ac:chgData name="Wenwen Zhang" userId="9dd81366-5d6f-445a-b031-6ea562624431" providerId="ADAL" clId="{83AF0EAE-1449-4C87-B14F-64EAAA6BDADC}" dt="2023-03-07T15:43:31.624" v="51206"/>
          <ac:spMkLst>
            <pc:docMk/>
            <pc:sldMk cId="1814704767" sldId="2134804377"/>
            <ac:spMk id="25" creationId="{AB9E2F6B-2B84-02C0-045A-CFCD982A429E}"/>
          </ac:spMkLst>
        </pc:spChg>
        <pc:spChg chg="mod">
          <ac:chgData name="Wenwen Zhang" userId="9dd81366-5d6f-445a-b031-6ea562624431" providerId="ADAL" clId="{83AF0EAE-1449-4C87-B14F-64EAAA6BDADC}" dt="2023-03-07T15:43:31.626" v="51216"/>
          <ac:spMkLst>
            <pc:docMk/>
            <pc:sldMk cId="1814704767" sldId="2134804377"/>
            <ac:spMk id="26" creationId="{53119203-1966-F90C-AE9F-3794C1A183C6}"/>
          </ac:spMkLst>
        </pc:spChg>
        <pc:spChg chg="del">
          <ac:chgData name="Wenwen Zhang" userId="9dd81366-5d6f-445a-b031-6ea562624431" providerId="ADAL" clId="{83AF0EAE-1449-4C87-B14F-64EAAA6BDADC}" dt="2023-03-06T12:25:12.014" v="4063"/>
          <ac:spMkLst>
            <pc:docMk/>
            <pc:sldMk cId="1814704767" sldId="2134804377"/>
            <ac:spMk id="27" creationId="{EC74EA2F-5FEC-8047-0151-87BA9BC98889}"/>
          </ac:spMkLst>
        </pc:spChg>
        <pc:spChg chg="mod ord">
          <ac:chgData name="Wenwen Zhang" userId="9dd81366-5d6f-445a-b031-6ea562624431" providerId="ADAL" clId="{83AF0EAE-1449-4C87-B14F-64EAAA6BDADC}" dt="2023-03-07T15:43:31.617" v="51166"/>
          <ac:spMkLst>
            <pc:docMk/>
            <pc:sldMk cId="1814704767" sldId="2134804377"/>
            <ac:spMk id="29" creationId="{D50B6CAA-A666-5524-85F7-444C607F0970}"/>
          </ac:spMkLst>
        </pc:spChg>
        <pc:spChg chg="mod ord">
          <ac:chgData name="Wenwen Zhang" userId="9dd81366-5d6f-445a-b031-6ea562624431" providerId="ADAL" clId="{83AF0EAE-1449-4C87-B14F-64EAAA6BDADC}" dt="2023-03-07T15:43:31.628" v="51225"/>
          <ac:spMkLst>
            <pc:docMk/>
            <pc:sldMk cId="1814704767" sldId="2134804377"/>
            <ac:spMk id="30" creationId="{97CB27C6-CC4E-EDB4-2314-D3DBC18B1CF7}"/>
          </ac:spMkLst>
        </pc:spChg>
        <pc:spChg chg="mod">
          <ac:chgData name="Wenwen Zhang" userId="9dd81366-5d6f-445a-b031-6ea562624431" providerId="ADAL" clId="{83AF0EAE-1449-4C87-B14F-64EAAA6BDADC}" dt="2023-03-07T15:43:31.625" v="51208"/>
          <ac:spMkLst>
            <pc:docMk/>
            <pc:sldMk cId="1814704767" sldId="2134804377"/>
            <ac:spMk id="31" creationId="{9868FAD0-B8F2-E443-C250-70CB3FDE89C1}"/>
          </ac:spMkLst>
        </pc:spChg>
        <pc:spChg chg="mod">
          <ac:chgData name="Wenwen Zhang" userId="9dd81366-5d6f-445a-b031-6ea562624431" providerId="ADAL" clId="{83AF0EAE-1449-4C87-B14F-64EAAA6BDADC}" dt="2023-03-07T15:43:31.626" v="51212"/>
          <ac:spMkLst>
            <pc:docMk/>
            <pc:sldMk cId="1814704767" sldId="2134804377"/>
            <ac:spMk id="32" creationId="{8FEB97FD-6E7E-7B96-376B-FAB55B1B1F8F}"/>
          </ac:spMkLst>
        </pc:spChg>
        <pc:spChg chg="mod">
          <ac:chgData name="Wenwen Zhang" userId="9dd81366-5d6f-445a-b031-6ea562624431" providerId="ADAL" clId="{83AF0EAE-1449-4C87-B14F-64EAAA6BDADC}" dt="2023-03-07T15:43:31.625" v="51211"/>
          <ac:spMkLst>
            <pc:docMk/>
            <pc:sldMk cId="1814704767" sldId="2134804377"/>
            <ac:spMk id="33" creationId="{9EBDCB96-5BD5-A57F-2034-98D1F0C95EAE}"/>
          </ac:spMkLst>
        </pc:spChg>
        <pc:spChg chg="mod">
          <ac:chgData name="Wenwen Zhang" userId="9dd81366-5d6f-445a-b031-6ea562624431" providerId="ADAL" clId="{83AF0EAE-1449-4C87-B14F-64EAAA6BDADC}" dt="2023-03-07T15:43:31.625" v="51210"/>
          <ac:spMkLst>
            <pc:docMk/>
            <pc:sldMk cId="1814704767" sldId="2134804377"/>
            <ac:spMk id="34" creationId="{B87F1555-C46A-D821-2BE6-DE6AEF246171}"/>
          </ac:spMkLst>
        </pc:spChg>
        <pc:spChg chg="mod">
          <ac:chgData name="Wenwen Zhang" userId="9dd81366-5d6f-445a-b031-6ea562624431" providerId="ADAL" clId="{83AF0EAE-1449-4C87-B14F-64EAAA6BDADC}" dt="2023-03-07T15:43:31.624" v="51205"/>
          <ac:spMkLst>
            <pc:docMk/>
            <pc:sldMk cId="1814704767" sldId="2134804377"/>
            <ac:spMk id="35" creationId="{69DD3290-EEBF-C51D-DFF8-EDB59B191428}"/>
          </ac:spMkLst>
        </pc:spChg>
        <pc:spChg chg="mod">
          <ac:chgData name="Wenwen Zhang" userId="9dd81366-5d6f-445a-b031-6ea562624431" providerId="ADAL" clId="{83AF0EAE-1449-4C87-B14F-64EAAA6BDADC}" dt="2023-03-07T15:43:31.626" v="51213"/>
          <ac:spMkLst>
            <pc:docMk/>
            <pc:sldMk cId="1814704767" sldId="2134804377"/>
            <ac:spMk id="36" creationId="{3BB2B606-69AB-62A0-C612-34A4AA1254EB}"/>
          </ac:spMkLst>
        </pc:spChg>
        <pc:spChg chg="mod">
          <ac:chgData name="Wenwen Zhang" userId="9dd81366-5d6f-445a-b031-6ea562624431" providerId="ADAL" clId="{83AF0EAE-1449-4C87-B14F-64EAAA6BDADC}" dt="2023-03-07T15:43:31.625" v="51209"/>
          <ac:spMkLst>
            <pc:docMk/>
            <pc:sldMk cId="1814704767" sldId="2134804377"/>
            <ac:spMk id="37" creationId="{AC6FED6D-C2DF-17D8-7318-ADAD1B98B704}"/>
          </ac:spMkLst>
        </pc:spChg>
        <pc:spChg chg="mod">
          <ac:chgData name="Wenwen Zhang" userId="9dd81366-5d6f-445a-b031-6ea562624431" providerId="ADAL" clId="{83AF0EAE-1449-4C87-B14F-64EAAA6BDADC}" dt="2023-03-07T15:43:31.626" v="51214"/>
          <ac:spMkLst>
            <pc:docMk/>
            <pc:sldMk cId="1814704767" sldId="2134804377"/>
            <ac:spMk id="38" creationId="{B69A8E11-E0A8-6335-99C6-97086BD4E80F}"/>
          </ac:spMkLst>
        </pc:spChg>
        <pc:spChg chg="mod">
          <ac:chgData name="Wenwen Zhang" userId="9dd81366-5d6f-445a-b031-6ea562624431" providerId="ADAL" clId="{83AF0EAE-1449-4C87-B14F-64EAAA6BDADC}" dt="2023-03-07T15:43:31.624" v="51207"/>
          <ac:spMkLst>
            <pc:docMk/>
            <pc:sldMk cId="1814704767" sldId="2134804377"/>
            <ac:spMk id="39" creationId="{B3D0FA62-B746-9A3C-340D-33F07301D01D}"/>
          </ac:spMkLst>
        </pc:spChg>
        <pc:spChg chg="mod">
          <ac:chgData name="Wenwen Zhang" userId="9dd81366-5d6f-445a-b031-6ea562624431" providerId="ADAL" clId="{83AF0EAE-1449-4C87-B14F-64EAAA6BDADC}" dt="2023-03-07T15:43:31.626" v="51215"/>
          <ac:spMkLst>
            <pc:docMk/>
            <pc:sldMk cId="1814704767" sldId="2134804377"/>
            <ac:spMk id="40" creationId="{769C75A2-E94D-BF50-1DEC-33B46545A3D3}"/>
          </ac:spMkLst>
        </pc:spChg>
        <pc:spChg chg="mod ord">
          <ac:chgData name="Wenwen Zhang" userId="9dd81366-5d6f-445a-b031-6ea562624431" providerId="ADAL" clId="{83AF0EAE-1449-4C87-B14F-64EAAA6BDADC}" dt="2023-03-07T15:43:31.627" v="51219"/>
          <ac:spMkLst>
            <pc:docMk/>
            <pc:sldMk cId="1814704767" sldId="2134804377"/>
            <ac:spMk id="41" creationId="{E19D14A1-BE43-D4FD-95B0-853AE9BFBE95}"/>
          </ac:spMkLst>
        </pc:spChg>
        <pc:spChg chg="mod ord">
          <ac:chgData name="Wenwen Zhang" userId="9dd81366-5d6f-445a-b031-6ea562624431" providerId="ADAL" clId="{83AF0EAE-1449-4C87-B14F-64EAAA6BDADC}" dt="2023-03-07T15:43:31.627" v="51221"/>
          <ac:spMkLst>
            <pc:docMk/>
            <pc:sldMk cId="1814704767" sldId="2134804377"/>
            <ac:spMk id="42" creationId="{3B915FA7-4008-034D-CBC8-ACD766542AD7}"/>
          </ac:spMkLst>
        </pc:spChg>
        <pc:spChg chg="mod ord">
          <ac:chgData name="Wenwen Zhang" userId="9dd81366-5d6f-445a-b031-6ea562624431" providerId="ADAL" clId="{83AF0EAE-1449-4C87-B14F-64EAAA6BDADC}" dt="2023-03-07T15:43:31.617" v="51168"/>
          <ac:spMkLst>
            <pc:docMk/>
            <pc:sldMk cId="1814704767" sldId="2134804377"/>
            <ac:spMk id="43" creationId="{C58C7321-3BF7-61DC-5B1A-AD075E56AE05}"/>
          </ac:spMkLst>
        </pc:spChg>
        <pc:spChg chg="mod ord">
          <ac:chgData name="Wenwen Zhang" userId="9dd81366-5d6f-445a-b031-6ea562624431" providerId="ADAL" clId="{83AF0EAE-1449-4C87-B14F-64EAAA6BDADC}" dt="2023-03-07T15:43:31.628" v="51223"/>
          <ac:spMkLst>
            <pc:docMk/>
            <pc:sldMk cId="1814704767" sldId="2134804377"/>
            <ac:spMk id="44" creationId="{EDB8905F-73E0-2EA7-E716-975A4BA8B0EE}"/>
          </ac:spMkLst>
        </pc:spChg>
        <pc:spChg chg="add del mod modVis">
          <ac:chgData name="Wenwen Zhang" userId="9dd81366-5d6f-445a-b031-6ea562624431" providerId="ADAL" clId="{83AF0EAE-1449-4C87-B14F-64EAAA6BDADC}" dt="2023-03-06T12:25:19.638" v="5172"/>
          <ac:spMkLst>
            <pc:docMk/>
            <pc:sldMk cId="1814704767" sldId="2134804377"/>
            <ac:spMk id="45" creationId="{8F70E331-4CE1-BE27-CBBE-2337544894F0}"/>
          </ac:spMkLst>
        </pc:spChg>
        <pc:spChg chg="mod">
          <ac:chgData name="Wenwen Zhang" userId="9dd81366-5d6f-445a-b031-6ea562624431" providerId="ADAL" clId="{83AF0EAE-1449-4C87-B14F-64EAAA6BDADC}" dt="2023-03-07T15:43:31.629" v="51230"/>
          <ac:spMkLst>
            <pc:docMk/>
            <pc:sldMk cId="1814704767" sldId="2134804377"/>
            <ac:spMk id="46" creationId="{E2EE8D59-14AB-6168-980E-461BF5D90CA1}"/>
          </ac:spMkLst>
        </pc:spChg>
        <pc:spChg chg="mod">
          <ac:chgData name="Wenwen Zhang" userId="9dd81366-5d6f-445a-b031-6ea562624431" providerId="ADAL" clId="{83AF0EAE-1449-4C87-B14F-64EAAA6BDADC}" dt="2023-03-07T15:43:31.630" v="51236"/>
          <ac:spMkLst>
            <pc:docMk/>
            <pc:sldMk cId="1814704767" sldId="2134804377"/>
            <ac:spMk id="47" creationId="{A56801FC-52D5-FD82-E79A-FF6C2D8D21F8}"/>
          </ac:spMkLst>
        </pc:spChg>
        <pc:spChg chg="add del mod modVis">
          <ac:chgData name="Wenwen Zhang" userId="9dd81366-5d6f-445a-b031-6ea562624431" providerId="ADAL" clId="{83AF0EAE-1449-4C87-B14F-64EAAA6BDADC}" dt="2023-03-07T15:43:26.629" v="50486"/>
          <ac:spMkLst>
            <pc:docMk/>
            <pc:sldMk cId="1814704767" sldId="2134804377"/>
            <ac:spMk id="48" creationId="{8259B77A-B18A-7E0A-789C-53BA6028A67A}"/>
          </ac:spMkLst>
        </pc:spChg>
        <pc:spChg chg="del mod">
          <ac:chgData name="Wenwen Zhang" userId="9dd81366-5d6f-445a-b031-6ea562624431" providerId="ADAL" clId="{83AF0EAE-1449-4C87-B14F-64EAAA6BDADC}" dt="2023-03-06T12:25:51.433" v="6160"/>
          <ac:spMkLst>
            <pc:docMk/>
            <pc:sldMk cId="1814704767" sldId="2134804377"/>
            <ac:spMk id="48" creationId="{82E2B5F8-8800-20FE-A098-4A4341C77113}"/>
          </ac:spMkLst>
        </pc:spChg>
        <pc:spChg chg="mod">
          <ac:chgData name="Wenwen Zhang" userId="9dd81366-5d6f-445a-b031-6ea562624431" providerId="ADAL" clId="{83AF0EAE-1449-4C87-B14F-64EAAA6BDADC}" dt="2023-03-07T15:43:31.630" v="51233"/>
          <ac:spMkLst>
            <pc:docMk/>
            <pc:sldMk cId="1814704767" sldId="2134804377"/>
            <ac:spMk id="49" creationId="{1E2BD2A2-F9FF-580F-EA64-DB601A18DF1D}"/>
          </ac:spMkLst>
        </pc:spChg>
        <pc:spChg chg="mod">
          <ac:chgData name="Wenwen Zhang" userId="9dd81366-5d6f-445a-b031-6ea562624431" providerId="ADAL" clId="{83AF0EAE-1449-4C87-B14F-64EAAA6BDADC}" dt="2023-03-07T15:43:31.630" v="51234"/>
          <ac:spMkLst>
            <pc:docMk/>
            <pc:sldMk cId="1814704767" sldId="2134804377"/>
            <ac:spMk id="50" creationId="{39ED134F-C219-DFBA-7FB2-F05ABE290C6A}"/>
          </ac:spMkLst>
        </pc:spChg>
        <pc:spChg chg="mod">
          <ac:chgData name="Wenwen Zhang" userId="9dd81366-5d6f-445a-b031-6ea562624431" providerId="ADAL" clId="{83AF0EAE-1449-4C87-B14F-64EAAA6BDADC}" dt="2023-03-07T15:43:31.630" v="51235"/>
          <ac:spMkLst>
            <pc:docMk/>
            <pc:sldMk cId="1814704767" sldId="2134804377"/>
            <ac:spMk id="51" creationId="{A74A81A4-AA17-9EC0-FC7F-42E6DCD344A0}"/>
          </ac:spMkLst>
        </pc:spChg>
        <pc:spChg chg="mod">
          <ac:chgData name="Wenwen Zhang" userId="9dd81366-5d6f-445a-b031-6ea562624431" providerId="ADAL" clId="{83AF0EAE-1449-4C87-B14F-64EAAA6BDADC}" dt="2023-03-07T15:43:31.631" v="51238"/>
          <ac:spMkLst>
            <pc:docMk/>
            <pc:sldMk cId="1814704767" sldId="2134804377"/>
            <ac:spMk id="52" creationId="{2CE6E10C-0277-326E-DFBD-BA21483B32F3}"/>
          </ac:spMkLst>
        </pc:spChg>
        <pc:spChg chg="mod">
          <ac:chgData name="Wenwen Zhang" userId="9dd81366-5d6f-445a-b031-6ea562624431" providerId="ADAL" clId="{83AF0EAE-1449-4C87-B14F-64EAAA6BDADC}" dt="2023-03-07T15:43:31.631" v="51239"/>
          <ac:spMkLst>
            <pc:docMk/>
            <pc:sldMk cId="1814704767" sldId="2134804377"/>
            <ac:spMk id="53" creationId="{63158D60-5E8C-70DA-BF7C-FF6EF9580536}"/>
          </ac:spMkLst>
        </pc:spChg>
        <pc:spChg chg="mod">
          <ac:chgData name="Wenwen Zhang" userId="9dd81366-5d6f-445a-b031-6ea562624431" providerId="ADAL" clId="{83AF0EAE-1449-4C87-B14F-64EAAA6BDADC}" dt="2023-03-07T15:43:31.630" v="51237"/>
          <ac:spMkLst>
            <pc:docMk/>
            <pc:sldMk cId="1814704767" sldId="2134804377"/>
            <ac:spMk id="54" creationId="{B42DF3A8-B17B-BA3C-C721-D5C2DB297F9B}"/>
          </ac:spMkLst>
        </pc:spChg>
        <pc:spChg chg="mod">
          <ac:chgData name="Wenwen Zhang" userId="9dd81366-5d6f-445a-b031-6ea562624431" providerId="ADAL" clId="{83AF0EAE-1449-4C87-B14F-64EAAA6BDADC}" dt="2023-03-07T15:43:31.629" v="51232"/>
          <ac:spMkLst>
            <pc:docMk/>
            <pc:sldMk cId="1814704767" sldId="2134804377"/>
            <ac:spMk id="55" creationId="{311AA0AC-1DDB-DA34-B33F-F0C59DBF80BF}"/>
          </ac:spMkLst>
        </pc:spChg>
        <pc:spChg chg="mod">
          <ac:chgData name="Wenwen Zhang" userId="9dd81366-5d6f-445a-b031-6ea562624431" providerId="ADAL" clId="{83AF0EAE-1449-4C87-B14F-64EAAA6BDADC}" dt="2023-03-07T15:43:31.631" v="51240"/>
          <ac:spMkLst>
            <pc:docMk/>
            <pc:sldMk cId="1814704767" sldId="2134804377"/>
            <ac:spMk id="56" creationId="{BD223F99-13C0-CED5-F96A-2FEF4EED44FF}"/>
          </ac:spMkLst>
        </pc:spChg>
        <pc:spChg chg="mod">
          <ac:chgData name="Wenwen Zhang" userId="9dd81366-5d6f-445a-b031-6ea562624431" providerId="ADAL" clId="{83AF0EAE-1449-4C87-B14F-64EAAA6BDADC}" dt="2023-03-07T15:43:31.631" v="51241"/>
          <ac:spMkLst>
            <pc:docMk/>
            <pc:sldMk cId="1814704767" sldId="2134804377"/>
            <ac:spMk id="57" creationId="{C121003B-0169-F5C0-5E4C-C00DD42C4C23}"/>
          </ac:spMkLst>
        </pc:spChg>
        <pc:spChg chg="mod">
          <ac:chgData name="Wenwen Zhang" userId="9dd81366-5d6f-445a-b031-6ea562624431" providerId="ADAL" clId="{83AF0EAE-1449-4C87-B14F-64EAAA6BDADC}" dt="2023-03-07T15:43:31.631" v="51242"/>
          <ac:spMkLst>
            <pc:docMk/>
            <pc:sldMk cId="1814704767" sldId="2134804377"/>
            <ac:spMk id="58" creationId="{2669642C-B27B-33D8-C064-7525934725F6}"/>
          </ac:spMkLst>
        </pc:spChg>
        <pc:spChg chg="add del mod replST">
          <ac:chgData name="Wenwen Zhang" userId="9dd81366-5d6f-445a-b031-6ea562624431" providerId="ADAL" clId="{83AF0EAE-1449-4C87-B14F-64EAAA6BDADC}" dt="2023-03-06T12:25:23.581" v="5633"/>
          <ac:spMkLst>
            <pc:docMk/>
            <pc:sldMk cId="1814704767" sldId="2134804377"/>
            <ac:spMk id="59" creationId="{96DB64E7-7450-5BAA-7DCA-6F75AE12EF02}"/>
          </ac:spMkLst>
        </pc:spChg>
        <pc:spChg chg="mod">
          <ac:chgData name="Wenwen Zhang" userId="9dd81366-5d6f-445a-b031-6ea562624431" providerId="ADAL" clId="{83AF0EAE-1449-4C87-B14F-64EAAA6BDADC}" dt="2023-03-07T15:43:31.615" v="51153"/>
          <ac:spMkLst>
            <pc:docMk/>
            <pc:sldMk cId="1814704767" sldId="2134804377"/>
            <ac:spMk id="60" creationId="{C17F1F52-E2B2-3B14-A615-F82D4475EB11}"/>
          </ac:spMkLst>
        </pc:spChg>
        <pc:spChg chg="mod">
          <ac:chgData name="Wenwen Zhang" userId="9dd81366-5d6f-445a-b031-6ea562624431" providerId="ADAL" clId="{83AF0EAE-1449-4C87-B14F-64EAAA6BDADC}" dt="2023-03-07T15:43:31.614" v="51152"/>
          <ac:spMkLst>
            <pc:docMk/>
            <pc:sldMk cId="1814704767" sldId="2134804377"/>
            <ac:spMk id="61" creationId="{16D777DE-43BB-E2E8-6385-F670C8514427}"/>
          </ac:spMkLst>
        </pc:spChg>
        <pc:spChg chg="mod">
          <ac:chgData name="Wenwen Zhang" userId="9dd81366-5d6f-445a-b031-6ea562624431" providerId="ADAL" clId="{83AF0EAE-1449-4C87-B14F-64EAAA6BDADC}" dt="2023-03-07T15:43:31.614" v="51151"/>
          <ac:spMkLst>
            <pc:docMk/>
            <pc:sldMk cId="1814704767" sldId="2134804377"/>
            <ac:spMk id="62" creationId="{6D6D65D4-3CD7-22B9-C292-E027F47AD9D2}"/>
          </ac:spMkLst>
        </pc:spChg>
        <pc:spChg chg="del mod">
          <ac:chgData name="Wenwen Zhang" userId="9dd81366-5d6f-445a-b031-6ea562624431" providerId="ADAL" clId="{83AF0EAE-1449-4C87-B14F-64EAAA6BDADC}" dt="2023-03-06T12:26:55.352" v="6941"/>
          <ac:spMkLst>
            <pc:docMk/>
            <pc:sldMk cId="1814704767" sldId="2134804377"/>
            <ac:spMk id="63" creationId="{5DE968DE-144B-4107-C003-446ACE20576B}"/>
          </ac:spMkLst>
        </pc:spChg>
        <pc:spChg chg="mod">
          <ac:chgData name="Wenwen Zhang" userId="9dd81366-5d6f-445a-b031-6ea562624431" providerId="ADAL" clId="{83AF0EAE-1449-4C87-B14F-64EAAA6BDADC}" dt="2023-03-07T15:43:31.615" v="51157"/>
          <ac:spMkLst>
            <pc:docMk/>
            <pc:sldMk cId="1814704767" sldId="2134804377"/>
            <ac:spMk id="64" creationId="{27CFDB97-300E-FEE7-F71E-CD5CC4B99346}"/>
          </ac:spMkLst>
        </pc:spChg>
        <pc:spChg chg="mod">
          <ac:chgData name="Wenwen Zhang" userId="9dd81366-5d6f-445a-b031-6ea562624431" providerId="ADAL" clId="{83AF0EAE-1449-4C87-B14F-64EAAA6BDADC}" dt="2023-03-07T15:43:31.615" v="51156"/>
          <ac:spMkLst>
            <pc:docMk/>
            <pc:sldMk cId="1814704767" sldId="2134804377"/>
            <ac:spMk id="65" creationId="{3A75F3AE-E3AD-7D85-5695-252797AF2D68}"/>
          </ac:spMkLst>
        </pc:spChg>
        <pc:spChg chg="mod">
          <ac:chgData name="Wenwen Zhang" userId="9dd81366-5d6f-445a-b031-6ea562624431" providerId="ADAL" clId="{83AF0EAE-1449-4C87-B14F-64EAAA6BDADC}" dt="2023-03-07T15:43:31.615" v="51155"/>
          <ac:spMkLst>
            <pc:docMk/>
            <pc:sldMk cId="1814704767" sldId="2134804377"/>
            <ac:spMk id="66" creationId="{BC8BA645-27FB-55D9-725B-197AED4D14EE}"/>
          </ac:spMkLst>
        </pc:spChg>
        <pc:spChg chg="mod">
          <ac:chgData name="Wenwen Zhang" userId="9dd81366-5d6f-445a-b031-6ea562624431" providerId="ADAL" clId="{83AF0EAE-1449-4C87-B14F-64EAAA6BDADC}" dt="2023-03-07T15:43:31.614" v="51150"/>
          <ac:spMkLst>
            <pc:docMk/>
            <pc:sldMk cId="1814704767" sldId="2134804377"/>
            <ac:spMk id="67" creationId="{3BFE40D0-8C48-04E6-55EE-967C15D602FE}"/>
          </ac:spMkLst>
        </pc:spChg>
        <pc:spChg chg="mod">
          <ac:chgData name="Wenwen Zhang" userId="9dd81366-5d6f-445a-b031-6ea562624431" providerId="ADAL" clId="{83AF0EAE-1449-4C87-B14F-64EAAA6BDADC}" dt="2023-03-07T15:43:31.615" v="51154"/>
          <ac:spMkLst>
            <pc:docMk/>
            <pc:sldMk cId="1814704767" sldId="2134804377"/>
            <ac:spMk id="68" creationId="{9DA597FC-D7C9-D230-994F-8101E73C3E9E}"/>
          </ac:spMkLst>
        </pc:spChg>
        <pc:spChg chg="mod">
          <ac:chgData name="Wenwen Zhang" userId="9dd81366-5d6f-445a-b031-6ea562624431" providerId="ADAL" clId="{83AF0EAE-1449-4C87-B14F-64EAAA6BDADC}" dt="2023-03-07T15:43:31.616" v="51158"/>
          <ac:spMkLst>
            <pc:docMk/>
            <pc:sldMk cId="1814704767" sldId="2134804377"/>
            <ac:spMk id="69" creationId="{088D4523-2BBB-DBB8-5F8E-7A5C30DD24B2}"/>
          </ac:spMkLst>
        </pc:spChg>
        <pc:spChg chg="mod">
          <ac:chgData name="Wenwen Zhang" userId="9dd81366-5d6f-445a-b031-6ea562624431" providerId="ADAL" clId="{83AF0EAE-1449-4C87-B14F-64EAAA6BDADC}" dt="2023-03-07T15:43:31.616" v="51159"/>
          <ac:spMkLst>
            <pc:docMk/>
            <pc:sldMk cId="1814704767" sldId="2134804377"/>
            <ac:spMk id="70" creationId="{012FD37D-A2F9-8BEC-6799-B3B7F2AB47E2}"/>
          </ac:spMkLst>
        </pc:spChg>
        <pc:spChg chg="mod">
          <ac:chgData name="Wenwen Zhang" userId="9dd81366-5d6f-445a-b031-6ea562624431" providerId="ADAL" clId="{83AF0EAE-1449-4C87-B14F-64EAAA6BDADC}" dt="2023-03-07T15:43:31.616" v="51160"/>
          <ac:spMkLst>
            <pc:docMk/>
            <pc:sldMk cId="1814704767" sldId="2134804377"/>
            <ac:spMk id="71" creationId="{7821D557-C5CE-6470-944C-DB0ECDA83824}"/>
          </ac:spMkLst>
        </pc:spChg>
        <pc:spChg chg="mod">
          <ac:chgData name="Wenwen Zhang" userId="9dd81366-5d6f-445a-b031-6ea562624431" providerId="ADAL" clId="{83AF0EAE-1449-4C87-B14F-64EAAA6BDADC}" dt="2023-03-07T15:43:31.616" v="51161"/>
          <ac:spMkLst>
            <pc:docMk/>
            <pc:sldMk cId="1814704767" sldId="2134804377"/>
            <ac:spMk id="72" creationId="{9810C514-FEC7-DADF-69A6-8995AA438520}"/>
          </ac:spMkLst>
        </pc:spChg>
        <pc:spChg chg="add del mod modVis">
          <ac:chgData name="Wenwen Zhang" userId="9dd81366-5d6f-445a-b031-6ea562624431" providerId="ADAL" clId="{83AF0EAE-1449-4C87-B14F-64EAAA6BDADC}" dt="2023-03-07T15:43:27.482" v="50740"/>
          <ac:spMkLst>
            <pc:docMk/>
            <pc:sldMk cId="1814704767" sldId="2134804377"/>
            <ac:spMk id="73" creationId="{A59BE331-CF02-AE4F-03FC-C759F51352EF}"/>
          </ac:spMkLst>
        </pc:spChg>
        <pc:spChg chg="add del mod modVis">
          <ac:chgData name="Wenwen Zhang" userId="9dd81366-5d6f-445a-b031-6ea562624431" providerId="ADAL" clId="{83AF0EAE-1449-4C87-B14F-64EAAA6BDADC}" dt="2023-03-06T12:25:21.114" v="5354"/>
          <ac:spMkLst>
            <pc:docMk/>
            <pc:sldMk cId="1814704767" sldId="2134804377"/>
            <ac:spMk id="74" creationId="{E31E4B80-F9B1-40AE-AECC-A530428C5DE5}"/>
          </ac:spMkLst>
        </pc:spChg>
        <pc:spChg chg="add del mod modVis">
          <ac:chgData name="Wenwen Zhang" userId="9dd81366-5d6f-445a-b031-6ea562624431" providerId="ADAL" clId="{83AF0EAE-1449-4C87-B14F-64EAAA6BDADC}" dt="2023-03-07T15:43:29.026" v="50994"/>
          <ac:spMkLst>
            <pc:docMk/>
            <pc:sldMk cId="1814704767" sldId="2134804377"/>
            <ac:spMk id="76" creationId="{301AAC75-FE30-4705-3D4B-B061434E5E16}"/>
          </ac:spMkLst>
        </pc:spChg>
        <pc:spChg chg="add del mod modVis">
          <ac:chgData name="Wenwen Zhang" userId="9dd81366-5d6f-445a-b031-6ea562624431" providerId="ADAL" clId="{83AF0EAE-1449-4C87-B14F-64EAAA6BDADC}" dt="2023-03-06T12:25:22.627" v="5559"/>
          <ac:spMkLst>
            <pc:docMk/>
            <pc:sldMk cId="1814704767" sldId="2134804377"/>
            <ac:spMk id="76" creationId="{F8EB01E5-C763-9DCB-70BA-D2FB095BBED7}"/>
          </ac:spMkLst>
        </pc:spChg>
        <pc:spChg chg="add del mod modVis">
          <ac:chgData name="Wenwen Zhang" userId="9dd81366-5d6f-445a-b031-6ea562624431" providerId="ADAL" clId="{83AF0EAE-1449-4C87-B14F-64EAAA6BDADC}" dt="2023-03-07T15:43:31.631" v="51248"/>
          <ac:spMkLst>
            <pc:docMk/>
            <pc:sldMk cId="1814704767" sldId="2134804377"/>
            <ac:spMk id="79" creationId="{395509B8-A52C-1295-1342-2C56B7F4777B}"/>
          </ac:spMkLst>
        </pc:spChg>
        <pc:spChg chg="add del mod modVis">
          <ac:chgData name="Wenwen Zhang" userId="9dd81366-5d6f-445a-b031-6ea562624431" providerId="ADAL" clId="{83AF0EAE-1449-4C87-B14F-64EAAA6BDADC}" dt="2023-03-06T12:25:23.664" v="5773"/>
          <ac:spMkLst>
            <pc:docMk/>
            <pc:sldMk cId="1814704767" sldId="2134804377"/>
            <ac:spMk id="79" creationId="{91DD4188-FA9E-45F6-C228-C36F68DD0F75}"/>
          </ac:spMkLst>
        </pc:spChg>
        <pc:spChg chg="add del mod modVis">
          <ac:chgData name="Wenwen Zhang" userId="9dd81366-5d6f-445a-b031-6ea562624431" providerId="ADAL" clId="{83AF0EAE-1449-4C87-B14F-64EAAA6BDADC}" dt="2023-03-06T12:25:31.885" v="5953"/>
          <ac:spMkLst>
            <pc:docMk/>
            <pc:sldMk cId="1814704767" sldId="2134804377"/>
            <ac:spMk id="81" creationId="{3A6DCA7D-08FA-840B-FC34-B451F9568DCB}"/>
          </ac:spMkLst>
        </pc:spChg>
        <pc:spChg chg="add del mod modVis">
          <ac:chgData name="Wenwen Zhang" userId="9dd81366-5d6f-445a-b031-6ea562624431" providerId="ADAL" clId="{83AF0EAE-1449-4C87-B14F-64EAAA6BDADC}" dt="2023-03-06T12:25:32.779" v="6157"/>
          <ac:spMkLst>
            <pc:docMk/>
            <pc:sldMk cId="1814704767" sldId="2134804377"/>
            <ac:spMk id="83" creationId="{B0B426A7-D57A-5DC0-749F-64DBCAE821E5}"/>
          </ac:spMkLst>
        </pc:spChg>
        <pc:spChg chg="add mod replST">
          <ac:chgData name="Wenwen Zhang" userId="9dd81366-5d6f-445a-b031-6ea562624431" providerId="ADAL" clId="{83AF0EAE-1449-4C87-B14F-64EAAA6BDADC}" dt="2023-03-07T15:43:31.629" v="51231"/>
          <ac:spMkLst>
            <pc:docMk/>
            <pc:sldMk cId="1814704767" sldId="2134804377"/>
            <ac:spMk id="86" creationId="{906D4A11-4918-E29B-1A9F-D5E86C81E2E1}"/>
          </ac:spMkLst>
        </pc:spChg>
        <pc:spChg chg="add del mod modVis">
          <ac:chgData name="Wenwen Zhang" userId="9dd81366-5d6f-445a-b031-6ea562624431" providerId="ADAL" clId="{83AF0EAE-1449-4C87-B14F-64EAAA6BDADC}" dt="2023-03-06T12:25:52.028" v="6875"/>
          <ac:spMkLst>
            <pc:docMk/>
            <pc:sldMk cId="1814704767" sldId="2134804377"/>
            <ac:spMk id="87" creationId="{1C88A37B-AC52-DBDF-FD16-D8EA1992EEB2}"/>
          </ac:spMkLst>
        </pc:spChg>
        <pc:spChg chg="add del mod modVis">
          <ac:chgData name="Wenwen Zhang" userId="9dd81366-5d6f-445a-b031-6ea562624431" providerId="ADAL" clId="{83AF0EAE-1449-4C87-B14F-64EAAA6BDADC}" dt="2023-03-06T12:26:42.550" v="6938"/>
          <ac:spMkLst>
            <pc:docMk/>
            <pc:sldMk cId="1814704767" sldId="2134804377"/>
            <ac:spMk id="89" creationId="{6C7E733D-2164-BB9B-0BE5-387E1D6594C2}"/>
          </ac:spMkLst>
        </pc:spChg>
        <pc:spChg chg="add mod replST">
          <ac:chgData name="Wenwen Zhang" userId="9dd81366-5d6f-445a-b031-6ea562624431" providerId="ADAL" clId="{83AF0EAE-1449-4C87-B14F-64EAAA6BDADC}" dt="2023-03-07T15:43:31.617" v="51162"/>
          <ac:spMkLst>
            <pc:docMk/>
            <pc:sldMk cId="1814704767" sldId="2134804377"/>
            <ac:spMk id="90" creationId="{9FA8ACA6-CF42-EF1A-E6EB-F8EC8BAC2E30}"/>
          </ac:spMkLst>
        </pc:spChg>
        <pc:spChg chg="add del mod modVis">
          <ac:chgData name="Wenwen Zhang" userId="9dd81366-5d6f-445a-b031-6ea562624431" providerId="ADAL" clId="{83AF0EAE-1449-4C87-B14F-64EAAA6BDADC}" dt="2023-03-06T12:26:56.269" v="7764"/>
          <ac:spMkLst>
            <pc:docMk/>
            <pc:sldMk cId="1814704767" sldId="2134804377"/>
            <ac:spMk id="91" creationId="{A70073A3-A5AE-62F6-604E-0CCB66DAAD94}"/>
          </ac:spMkLst>
        </pc:spChg>
        <pc:spChg chg="add mod ord replST">
          <ac:chgData name="Wenwen Zhang" userId="9dd81366-5d6f-445a-b031-6ea562624431" providerId="ADAL" clId="{83AF0EAE-1449-4C87-B14F-64EAAA6BDADC}" dt="2023-03-07T15:43:31.622" v="51194"/>
          <ac:spMkLst>
            <pc:docMk/>
            <pc:sldMk cId="1814704767" sldId="2134804377"/>
            <ac:spMk id="93" creationId="{EAAB5816-5E95-A9C2-2A11-5D82EF62D996}"/>
          </ac:spMkLst>
        </pc:spChg>
        <pc:spChg chg="add del mod modVis">
          <ac:chgData name="Wenwen Zhang" userId="9dd81366-5d6f-445a-b031-6ea562624431" providerId="ADAL" clId="{83AF0EAE-1449-4C87-B14F-64EAAA6BDADC}" dt="2023-03-06T12:27:09.586" v="8660"/>
          <ac:spMkLst>
            <pc:docMk/>
            <pc:sldMk cId="1814704767" sldId="2134804377"/>
            <ac:spMk id="94" creationId="{29CAB264-FD00-4F37-F37A-3316931C343F}"/>
          </ac:spMkLst>
        </pc:spChg>
        <pc:spChg chg="add del mod modVis">
          <ac:chgData name="Wenwen Zhang" userId="9dd81366-5d6f-445a-b031-6ea562624431" providerId="ADAL" clId="{83AF0EAE-1449-4C87-B14F-64EAAA6BDADC}" dt="2023-03-06T12:27:11.654" v="8945"/>
          <ac:spMkLst>
            <pc:docMk/>
            <pc:sldMk cId="1814704767" sldId="2134804377"/>
            <ac:spMk id="97" creationId="{7BF3129E-6483-112D-1E3C-588E422E62F9}"/>
          </ac:spMkLst>
        </pc:spChg>
        <pc:spChg chg="add del mod replST">
          <ac:chgData name="Wenwen Zhang" userId="9dd81366-5d6f-445a-b031-6ea562624431" providerId="ADAL" clId="{83AF0EAE-1449-4C87-B14F-64EAAA6BDADC}" dt="2023-03-06T12:27:14.503" v="9191"/>
          <ac:spMkLst>
            <pc:docMk/>
            <pc:sldMk cId="1814704767" sldId="2134804377"/>
            <ac:spMk id="98" creationId="{96DB64E7-7450-5BAA-7DCA-6F75AE12EF02}"/>
          </ac:spMkLst>
        </pc:spChg>
        <pc:spChg chg="add del mod modVis">
          <ac:chgData name="Wenwen Zhang" userId="9dd81366-5d6f-445a-b031-6ea562624431" providerId="ADAL" clId="{83AF0EAE-1449-4C87-B14F-64EAAA6BDADC}" dt="2023-03-06T12:27:12.805" v="9121"/>
          <ac:spMkLst>
            <pc:docMk/>
            <pc:sldMk cId="1814704767" sldId="2134804377"/>
            <ac:spMk id="101" creationId="{4AD0413F-21C9-2C1F-FF47-0E0F17499377}"/>
          </ac:spMkLst>
        </pc:spChg>
        <pc:spChg chg="add del mod modVis">
          <ac:chgData name="Wenwen Zhang" userId="9dd81366-5d6f-445a-b031-6ea562624431" providerId="ADAL" clId="{83AF0EAE-1449-4C87-B14F-64EAAA6BDADC}" dt="2023-03-06T12:27:14.578" v="9298"/>
          <ac:spMkLst>
            <pc:docMk/>
            <pc:sldMk cId="1814704767" sldId="2134804377"/>
            <ac:spMk id="103" creationId="{DAE6A27E-88F5-7603-E458-84AE7929F1D6}"/>
          </ac:spMkLst>
        </pc:spChg>
        <pc:spChg chg="mod ord">
          <ac:chgData name="Wenwen Zhang" userId="9dd81366-5d6f-445a-b031-6ea562624431" providerId="ADAL" clId="{83AF0EAE-1449-4C87-B14F-64EAAA6BDADC}" dt="2023-03-07T15:43:31.618" v="51170"/>
          <ac:spMkLst>
            <pc:docMk/>
            <pc:sldMk cId="1814704767" sldId="2134804377"/>
            <ac:spMk id="104" creationId="{FDBD28FE-864B-3639-481F-9B88362F82CC}"/>
          </ac:spMkLst>
        </pc:spChg>
        <pc:spChg chg="mod ord">
          <ac:chgData name="Wenwen Zhang" userId="9dd81366-5d6f-445a-b031-6ea562624431" providerId="ADAL" clId="{83AF0EAE-1449-4C87-B14F-64EAAA6BDADC}" dt="2023-03-07T15:43:31.618" v="51172"/>
          <ac:spMkLst>
            <pc:docMk/>
            <pc:sldMk cId="1814704767" sldId="2134804377"/>
            <ac:spMk id="105" creationId="{1363392A-1BB3-B133-547E-68E043C4DA98}"/>
          </ac:spMkLst>
        </pc:spChg>
        <pc:spChg chg="mod ord">
          <ac:chgData name="Wenwen Zhang" userId="9dd81366-5d6f-445a-b031-6ea562624431" providerId="ADAL" clId="{83AF0EAE-1449-4C87-B14F-64EAAA6BDADC}" dt="2023-03-07T15:43:31.618" v="51174"/>
          <ac:spMkLst>
            <pc:docMk/>
            <pc:sldMk cId="1814704767" sldId="2134804377"/>
            <ac:spMk id="106" creationId="{B6CECE3F-2DD3-9848-61CB-5D61B786F6D6}"/>
          </ac:spMkLst>
        </pc:spChg>
        <pc:spChg chg="mod ord">
          <ac:chgData name="Wenwen Zhang" userId="9dd81366-5d6f-445a-b031-6ea562624431" providerId="ADAL" clId="{83AF0EAE-1449-4C87-B14F-64EAAA6BDADC}" dt="2023-03-07T15:43:31.619" v="51176"/>
          <ac:spMkLst>
            <pc:docMk/>
            <pc:sldMk cId="1814704767" sldId="2134804377"/>
            <ac:spMk id="107" creationId="{92A4A1AE-F0BD-E696-BBF1-927ADB68572C}"/>
          </ac:spMkLst>
        </pc:spChg>
        <pc:spChg chg="add del mod modVis">
          <ac:chgData name="Wenwen Zhang" userId="9dd81366-5d6f-445a-b031-6ea562624431" providerId="ADAL" clId="{83AF0EAE-1449-4C87-B14F-64EAAA6BDADC}" dt="2023-03-06T12:27:16.789" v="9586"/>
          <ac:spMkLst>
            <pc:docMk/>
            <pc:sldMk cId="1814704767" sldId="2134804377"/>
            <ac:spMk id="110" creationId="{BD18F9E8-B896-0A22-61A9-A46A994FC6A2}"/>
          </ac:spMkLst>
        </pc:spChg>
        <pc:spChg chg="add del mod replST">
          <ac:chgData name="Wenwen Zhang" userId="9dd81366-5d6f-445a-b031-6ea562624431" providerId="ADAL" clId="{83AF0EAE-1449-4C87-B14F-64EAAA6BDADC}" dt="2023-03-06T12:27:19.357" v="9834"/>
          <ac:spMkLst>
            <pc:docMk/>
            <pc:sldMk cId="1814704767" sldId="2134804377"/>
            <ac:spMk id="111" creationId="{96DB64E7-7450-5BAA-7DCA-6F75AE12EF02}"/>
          </ac:spMkLst>
        </pc:spChg>
        <pc:spChg chg="add del mod modVis">
          <ac:chgData name="Wenwen Zhang" userId="9dd81366-5d6f-445a-b031-6ea562624431" providerId="ADAL" clId="{83AF0EAE-1449-4C87-B14F-64EAAA6BDADC}" dt="2023-03-06T12:27:18.731" v="9765"/>
          <ac:spMkLst>
            <pc:docMk/>
            <pc:sldMk cId="1814704767" sldId="2134804377"/>
            <ac:spMk id="113" creationId="{D178733A-3186-4778-5230-7DF4EDD1CAA8}"/>
          </ac:spMkLst>
        </pc:spChg>
        <pc:spChg chg="add del mod modVis">
          <ac:chgData name="Wenwen Zhang" userId="9dd81366-5d6f-445a-b031-6ea562624431" providerId="ADAL" clId="{83AF0EAE-1449-4C87-B14F-64EAAA6BDADC}" dt="2023-03-06T12:27:19.429" v="9941"/>
          <ac:spMkLst>
            <pc:docMk/>
            <pc:sldMk cId="1814704767" sldId="2134804377"/>
            <ac:spMk id="115" creationId="{28FA0E1E-7FDC-717C-4365-40135CABA543}"/>
          </ac:spMkLst>
        </pc:spChg>
        <pc:spChg chg="add del mod modVis">
          <ac:chgData name="Wenwen Zhang" userId="9dd81366-5d6f-445a-b031-6ea562624431" providerId="ADAL" clId="{83AF0EAE-1449-4C87-B14F-64EAAA6BDADC}" dt="2023-03-06T12:27:22.796" v="10228"/>
          <ac:spMkLst>
            <pc:docMk/>
            <pc:sldMk cId="1814704767" sldId="2134804377"/>
            <ac:spMk id="117" creationId="{E9ACB9D9-9651-BD3F-50B3-A1D6C8C702F3}"/>
          </ac:spMkLst>
        </pc:spChg>
        <pc:spChg chg="add del mod replST">
          <ac:chgData name="Wenwen Zhang" userId="9dd81366-5d6f-445a-b031-6ea562624431" providerId="ADAL" clId="{83AF0EAE-1449-4C87-B14F-64EAAA6BDADC}" dt="2023-03-06T12:27:25.486" v="10476"/>
          <ac:spMkLst>
            <pc:docMk/>
            <pc:sldMk cId="1814704767" sldId="2134804377"/>
            <ac:spMk id="119" creationId="{96DB64E7-7450-5BAA-7DCA-6F75AE12EF02}"/>
          </ac:spMkLst>
        </pc:spChg>
        <pc:spChg chg="add del mod modVis">
          <ac:chgData name="Wenwen Zhang" userId="9dd81366-5d6f-445a-b031-6ea562624431" providerId="ADAL" clId="{83AF0EAE-1449-4C87-B14F-64EAAA6BDADC}" dt="2023-03-06T12:27:24.705" v="10407"/>
          <ac:spMkLst>
            <pc:docMk/>
            <pc:sldMk cId="1814704767" sldId="2134804377"/>
            <ac:spMk id="121" creationId="{E974B70B-0CCB-CC58-A1F3-D0295602C7EF}"/>
          </ac:spMkLst>
        </pc:spChg>
        <pc:spChg chg="add del mod modVis">
          <ac:chgData name="Wenwen Zhang" userId="9dd81366-5d6f-445a-b031-6ea562624431" providerId="ADAL" clId="{83AF0EAE-1449-4C87-B14F-64EAAA6BDADC}" dt="2023-03-06T12:27:25.552" v="10583"/>
          <ac:spMkLst>
            <pc:docMk/>
            <pc:sldMk cId="1814704767" sldId="2134804377"/>
            <ac:spMk id="123" creationId="{A18444DF-1CEC-9CE3-6793-EEEA12FBDCC6}"/>
          </ac:spMkLst>
        </pc:spChg>
        <pc:spChg chg="add del mod modVis">
          <ac:chgData name="Wenwen Zhang" userId="9dd81366-5d6f-445a-b031-6ea562624431" providerId="ADAL" clId="{83AF0EAE-1449-4C87-B14F-64EAAA6BDADC}" dt="2023-03-06T12:28:01.089" v="10808"/>
          <ac:spMkLst>
            <pc:docMk/>
            <pc:sldMk cId="1814704767" sldId="2134804377"/>
            <ac:spMk id="125" creationId="{8E59431C-39CB-83E3-0CB7-BF64AD062B30}"/>
          </ac:spMkLst>
        </pc:spChg>
        <pc:spChg chg="add del mod modVis">
          <ac:chgData name="Wenwen Zhang" userId="9dd81366-5d6f-445a-b031-6ea562624431" providerId="ADAL" clId="{83AF0EAE-1449-4C87-B14F-64EAAA6BDADC}" dt="2023-03-06T12:28:40.399" v="11065" actId="962"/>
          <ac:spMkLst>
            <pc:docMk/>
            <pc:sldMk cId="1814704767" sldId="2134804377"/>
            <ac:spMk id="127" creationId="{02D2A567-1B38-9A0D-16C9-B7AAC28B51F9}"/>
          </ac:spMkLst>
        </pc:spChg>
        <pc:spChg chg="add del mod modVis">
          <ac:chgData name="Wenwen Zhang" userId="9dd81366-5d6f-445a-b031-6ea562624431" providerId="ADAL" clId="{83AF0EAE-1449-4C87-B14F-64EAAA6BDADC}" dt="2023-03-06T12:29:10.801" v="12400"/>
          <ac:spMkLst>
            <pc:docMk/>
            <pc:sldMk cId="1814704767" sldId="2134804377"/>
            <ac:spMk id="257" creationId="{FB866C9A-362B-8C2A-2F71-A6CF7B122BFC}"/>
          </ac:spMkLst>
        </pc:spChg>
        <pc:spChg chg="add del mod modVis">
          <ac:chgData name="Wenwen Zhang" userId="9dd81366-5d6f-445a-b031-6ea562624431" providerId="ADAL" clId="{83AF0EAE-1449-4C87-B14F-64EAAA6BDADC}" dt="2023-03-06T12:29:27.036" v="13993" actId="207"/>
          <ac:spMkLst>
            <pc:docMk/>
            <pc:sldMk cId="1814704767" sldId="2134804377"/>
            <ac:spMk id="259" creationId="{71696259-42C1-3C33-4E48-9BF97435EAE9}"/>
          </ac:spMkLst>
        </pc:spChg>
        <pc:spChg chg="add del mod modVis">
          <ac:chgData name="Wenwen Zhang" userId="9dd81366-5d6f-445a-b031-6ea562624431" providerId="ADAL" clId="{83AF0EAE-1449-4C87-B14F-64EAAA6BDADC}" dt="2023-03-06T12:29:33.911" v="14837"/>
          <ac:spMkLst>
            <pc:docMk/>
            <pc:sldMk cId="1814704767" sldId="2134804377"/>
            <ac:spMk id="261" creationId="{FA26D8D8-CC59-FA6D-8642-9178959DA0AA}"/>
          </ac:spMkLst>
        </pc:spChg>
        <pc:spChg chg="add del mod modVis">
          <ac:chgData name="Wenwen Zhang" userId="9dd81366-5d6f-445a-b031-6ea562624431" providerId="ADAL" clId="{83AF0EAE-1449-4C87-B14F-64EAAA6BDADC}" dt="2023-03-06T12:30:10.352" v="15066"/>
          <ac:spMkLst>
            <pc:docMk/>
            <pc:sldMk cId="1814704767" sldId="2134804377"/>
            <ac:spMk id="263" creationId="{D51403BC-D00B-CB96-D666-1FB6EB7DE74C}"/>
          </ac:spMkLst>
        </pc:spChg>
        <pc:spChg chg="add del mod modVis">
          <ac:chgData name="Wenwen Zhang" userId="9dd81366-5d6f-445a-b031-6ea562624431" providerId="ADAL" clId="{83AF0EAE-1449-4C87-B14F-64EAAA6BDADC}" dt="2023-03-06T12:30:11.124" v="15291"/>
          <ac:spMkLst>
            <pc:docMk/>
            <pc:sldMk cId="1814704767" sldId="2134804377"/>
            <ac:spMk id="265" creationId="{5072467F-284A-26EA-03A0-0E4330CF2404}"/>
          </ac:spMkLst>
        </pc:spChg>
        <pc:spChg chg="add del mod modVis">
          <ac:chgData name="Wenwen Zhang" userId="9dd81366-5d6f-445a-b031-6ea562624431" providerId="ADAL" clId="{83AF0EAE-1449-4C87-B14F-64EAAA6BDADC}" dt="2023-03-06T12:30:24.071" v="15513"/>
          <ac:spMkLst>
            <pc:docMk/>
            <pc:sldMk cId="1814704767" sldId="2134804377"/>
            <ac:spMk id="267" creationId="{226599BF-C57A-423A-CB5E-DB7FC3AF5E2B}"/>
          </ac:spMkLst>
        </pc:spChg>
        <pc:spChg chg="add del mod modVis">
          <ac:chgData name="Wenwen Zhang" userId="9dd81366-5d6f-445a-b031-6ea562624431" providerId="ADAL" clId="{83AF0EAE-1449-4C87-B14F-64EAAA6BDADC}" dt="2023-03-06T12:30:40.856" v="16253"/>
          <ac:spMkLst>
            <pc:docMk/>
            <pc:sldMk cId="1814704767" sldId="2134804377"/>
            <ac:spMk id="269" creationId="{4C3EA830-FFA7-0380-37CC-558B798A76A2}"/>
          </ac:spMkLst>
        </pc:spChg>
        <pc:spChg chg="add del mod replST">
          <ac:chgData name="Wenwen Zhang" userId="9dd81366-5d6f-445a-b031-6ea562624431" providerId="ADAL" clId="{83AF0EAE-1449-4C87-B14F-64EAAA6BDADC}" dt="2023-03-06T12:30:42.607" v="16323"/>
          <ac:spMkLst>
            <pc:docMk/>
            <pc:sldMk cId="1814704767" sldId="2134804377"/>
            <ac:spMk id="270" creationId="{96DB64E7-7450-5BAA-7DCA-6F75AE12EF02}"/>
          </ac:spMkLst>
        </pc:spChg>
        <pc:spChg chg="mod ord">
          <ac:chgData name="Wenwen Zhang" userId="9dd81366-5d6f-445a-b031-6ea562624431" providerId="ADAL" clId="{83AF0EAE-1449-4C87-B14F-64EAAA6BDADC}" dt="2023-03-07T15:43:47.758" v="51268"/>
          <ac:spMkLst>
            <pc:docMk/>
            <pc:sldMk cId="1814704767" sldId="2134804377"/>
            <ac:spMk id="271" creationId="{61094CDF-3D01-5126-7969-6F62789EAC01}"/>
          </ac:spMkLst>
        </pc:spChg>
        <pc:spChg chg="add del mod modVis">
          <ac:chgData name="Wenwen Zhang" userId="9dd81366-5d6f-445a-b031-6ea562624431" providerId="ADAL" clId="{83AF0EAE-1449-4C87-B14F-64EAAA6BDADC}" dt="2023-03-06T12:30:42.721" v="16431"/>
          <ac:spMkLst>
            <pc:docMk/>
            <pc:sldMk cId="1814704767" sldId="2134804377"/>
            <ac:spMk id="273" creationId="{BAD204FC-CD29-E0D9-60FC-F3FD936CF6BA}"/>
          </ac:spMkLst>
        </pc:spChg>
        <pc:spChg chg="add del mod modVis">
          <ac:chgData name="Wenwen Zhang" userId="9dd81366-5d6f-445a-b031-6ea562624431" providerId="ADAL" clId="{83AF0EAE-1449-4C87-B14F-64EAAA6BDADC}" dt="2023-03-06T12:30:44.793" v="16724"/>
          <ac:spMkLst>
            <pc:docMk/>
            <pc:sldMk cId="1814704767" sldId="2134804377"/>
            <ac:spMk id="275" creationId="{45F9CA7F-531D-5D16-45D0-8756EDE6A490}"/>
          </ac:spMkLst>
        </pc:spChg>
        <pc:spChg chg="add mod ord replST">
          <ac:chgData name="Wenwen Zhang" userId="9dd81366-5d6f-445a-b031-6ea562624431" providerId="ADAL" clId="{83AF0EAE-1449-4C87-B14F-64EAAA6BDADC}" dt="2023-03-07T15:43:31.631" v="51244"/>
          <ac:spMkLst>
            <pc:docMk/>
            <pc:sldMk cId="1814704767" sldId="2134804377"/>
            <ac:spMk id="276" creationId="{96DB64E7-7450-5BAA-7DCA-6F75AE12EF02}"/>
          </ac:spMkLst>
        </pc:spChg>
        <pc:spChg chg="add del mod modVis">
          <ac:chgData name="Wenwen Zhang" userId="9dd81366-5d6f-445a-b031-6ea562624431" providerId="ADAL" clId="{83AF0EAE-1449-4C87-B14F-64EAAA6BDADC}" dt="2023-03-06T16:24:30.680" v="45208"/>
          <ac:spMkLst>
            <pc:docMk/>
            <pc:sldMk cId="1814704767" sldId="2134804377"/>
            <ac:spMk id="278" creationId="{CD36FC07-4C71-5FD2-57F3-0FB3085F0C00}"/>
          </ac:spMkLst>
        </pc:spChg>
        <pc:spChg chg="add del mod modVis">
          <ac:chgData name="Wenwen Zhang" userId="9dd81366-5d6f-445a-b031-6ea562624431" providerId="ADAL" clId="{83AF0EAE-1449-4C87-B14F-64EAAA6BDADC}" dt="2023-03-06T16:24:32.654" v="45391"/>
          <ac:spMkLst>
            <pc:docMk/>
            <pc:sldMk cId="1814704767" sldId="2134804377"/>
            <ac:spMk id="280" creationId="{82152827-CB4A-7A1E-BBD6-22A95BF0AA5B}"/>
          </ac:spMkLst>
        </pc:spChg>
        <pc:graphicFrameChg chg="add del mod ord replST">
          <ac:chgData name="Wenwen Zhang" userId="9dd81366-5d6f-445a-b031-6ea562624431" providerId="ADAL" clId="{83AF0EAE-1449-4C87-B14F-64EAAA6BDADC}" dt="2023-03-07T15:43:25.267" v="50076"/>
          <ac:graphicFrameMkLst>
            <pc:docMk/>
            <pc:sldMk cId="1814704767" sldId="2134804377"/>
            <ac:graphicFrameMk id="10" creationId="{C0DF971E-7D51-FB53-3EE5-516331257D0C}"/>
          </ac:graphicFrameMkLst>
        </pc:graphicFrameChg>
        <pc:graphicFrameChg chg="add del mod ord replST">
          <ac:chgData name="Wenwen Zhang" userId="9dd81366-5d6f-445a-b031-6ea562624431" providerId="ADAL" clId="{83AF0EAE-1449-4C87-B14F-64EAAA6BDADC}" dt="2023-03-07T15:43:25.331" v="50125"/>
          <ac:graphicFrameMkLst>
            <pc:docMk/>
            <pc:sldMk cId="1814704767" sldId="2134804377"/>
            <ac:graphicFrameMk id="14" creationId="{C0111B3A-F11E-E704-F752-3A4BDFCA6029}"/>
          </ac:graphicFrameMkLst>
        </pc:graphicFrameChg>
        <pc:graphicFrameChg chg="add del mod ord replST">
          <ac:chgData name="Wenwen Zhang" userId="9dd81366-5d6f-445a-b031-6ea562624431" providerId="ADAL" clId="{83AF0EAE-1449-4C87-B14F-64EAAA6BDADC}" dt="2023-03-06T12:25:19.557" v="5043"/>
          <ac:graphicFrameMkLst>
            <pc:docMk/>
            <pc:sldMk cId="1814704767" sldId="2134804377"/>
            <ac:graphicFrameMk id="24" creationId="{39D9126E-1464-3DBF-CD59-1DDE96202C08}"/>
          </ac:graphicFrameMkLst>
        </pc:graphicFrameChg>
        <pc:graphicFrameChg chg="add del mod ord replST">
          <ac:chgData name="Wenwen Zhang" userId="9dd81366-5d6f-445a-b031-6ea562624431" providerId="ADAL" clId="{83AF0EAE-1449-4C87-B14F-64EAAA6BDADC}" dt="2023-03-07T15:43:26.529" v="50330"/>
          <ac:graphicFrameMkLst>
            <pc:docMk/>
            <pc:sldMk cId="1814704767" sldId="2134804377"/>
            <ac:graphicFrameMk id="27" creationId="{BD8793DE-358C-58BD-3EC0-DF8FE1F8794A}"/>
          </ac:graphicFrameMkLst>
        </pc:graphicFrameChg>
        <pc:graphicFrameChg chg="mod">
          <ac:chgData name="Wenwen Zhang" userId="9dd81366-5d6f-445a-b031-6ea562624431" providerId="ADAL" clId="{83AF0EAE-1449-4C87-B14F-64EAAA6BDADC}" dt="2023-03-07T15:43:47.764" v="51272"/>
          <ac:graphicFrameMkLst>
            <pc:docMk/>
            <pc:sldMk cId="1814704767" sldId="2134804377"/>
            <ac:graphicFrameMk id="28" creationId="{015DFAEE-F78A-C272-92CE-F25C3417CAD0}"/>
          </ac:graphicFrameMkLst>
        </pc:graphicFrameChg>
        <pc:graphicFrameChg chg="add del mod ord replST">
          <ac:chgData name="Wenwen Zhang" userId="9dd81366-5d6f-445a-b031-6ea562624431" providerId="ADAL" clId="{83AF0EAE-1449-4C87-B14F-64EAAA6BDADC}" dt="2023-03-07T15:43:26.584" v="50379"/>
          <ac:graphicFrameMkLst>
            <pc:docMk/>
            <pc:sldMk cId="1814704767" sldId="2134804377"/>
            <ac:graphicFrameMk id="45" creationId="{FF5AE611-334D-3DED-FDA6-BDFA39FC72FB}"/>
          </ac:graphicFrameMkLst>
        </pc:graphicFrameChg>
        <pc:graphicFrameChg chg="add del mod ord replST">
          <ac:chgData name="Wenwen Zhang" userId="9dd81366-5d6f-445a-b031-6ea562624431" providerId="ADAL" clId="{83AF0EAE-1449-4C87-B14F-64EAAA6BDADC}" dt="2023-03-07T15:43:27.377" v="50584"/>
          <ac:graphicFrameMkLst>
            <pc:docMk/>
            <pc:sldMk cId="1814704767" sldId="2134804377"/>
            <ac:graphicFrameMk id="59" creationId="{09055B84-9615-1383-8743-180147834039}"/>
          </ac:graphicFrameMkLst>
        </pc:graphicFrameChg>
        <pc:graphicFrameChg chg="add del mod ord replST">
          <ac:chgData name="Wenwen Zhang" userId="9dd81366-5d6f-445a-b031-6ea562624431" providerId="ADAL" clId="{83AF0EAE-1449-4C87-B14F-64EAAA6BDADC}" dt="2023-03-07T15:43:27.435" v="50633"/>
          <ac:graphicFrameMkLst>
            <pc:docMk/>
            <pc:sldMk cId="1814704767" sldId="2134804377"/>
            <ac:graphicFrameMk id="63" creationId="{BD7207F2-7256-A3DE-D80D-780B9656DF61}"/>
          </ac:graphicFrameMkLst>
        </pc:graphicFrameChg>
        <pc:graphicFrameChg chg="add del mod ord replST">
          <ac:chgData name="Wenwen Zhang" userId="9dd81366-5d6f-445a-b031-6ea562624431" providerId="ADAL" clId="{83AF0EAE-1449-4C87-B14F-64EAAA6BDADC}" dt="2023-03-06T12:25:21.041" v="5249"/>
          <ac:graphicFrameMkLst>
            <pc:docMk/>
            <pc:sldMk cId="1814704767" sldId="2134804377"/>
            <ac:graphicFrameMk id="73" creationId="{AF06CA41-997C-DF82-C376-A2B366666752}"/>
          </ac:graphicFrameMkLst>
        </pc:graphicFrameChg>
        <pc:graphicFrameChg chg="add del mod ord replST">
          <ac:chgData name="Wenwen Zhang" userId="9dd81366-5d6f-445a-b031-6ea562624431" providerId="ADAL" clId="{83AF0EAE-1449-4C87-B14F-64EAAA6BDADC}" dt="2023-03-07T15:43:28.915" v="50838"/>
          <ac:graphicFrameMkLst>
            <pc:docMk/>
            <pc:sldMk cId="1814704767" sldId="2134804377"/>
            <ac:graphicFrameMk id="74" creationId="{A8EED87B-C123-A75F-B4AA-F09B7993AD4A}"/>
          </ac:graphicFrameMkLst>
        </pc:graphicFrameChg>
        <pc:graphicFrameChg chg="add del mod ord replST">
          <ac:chgData name="Wenwen Zhang" userId="9dd81366-5d6f-445a-b031-6ea562624431" providerId="ADAL" clId="{83AF0EAE-1449-4C87-B14F-64EAAA6BDADC}" dt="2023-03-07T15:43:28.970" v="50887"/>
          <ac:graphicFrameMkLst>
            <pc:docMk/>
            <pc:sldMk cId="1814704767" sldId="2134804377"/>
            <ac:graphicFrameMk id="75" creationId="{6D5383C4-8997-729D-BFBE-2DEC249DF24A}"/>
          </ac:graphicFrameMkLst>
        </pc:graphicFrameChg>
        <pc:graphicFrameChg chg="add del mod ord replST">
          <ac:chgData name="Wenwen Zhang" userId="9dd81366-5d6f-445a-b031-6ea562624431" providerId="ADAL" clId="{83AF0EAE-1449-4C87-B14F-64EAAA6BDADC}" dt="2023-03-06T12:25:22.556" v="5452"/>
          <ac:graphicFrameMkLst>
            <pc:docMk/>
            <pc:sldMk cId="1814704767" sldId="2134804377"/>
            <ac:graphicFrameMk id="75" creationId="{8C5ABCC7-D428-3AFC-3024-02CC828FD519}"/>
          </ac:graphicFrameMkLst>
        </pc:graphicFrameChg>
        <pc:graphicFrameChg chg="add del mod ord replST">
          <ac:chgData name="Wenwen Zhang" userId="9dd81366-5d6f-445a-b031-6ea562624431" providerId="ADAL" clId="{83AF0EAE-1449-4C87-B14F-64EAAA6BDADC}" dt="2023-03-07T15:43:31.526" v="51092"/>
          <ac:graphicFrameMkLst>
            <pc:docMk/>
            <pc:sldMk cId="1814704767" sldId="2134804377"/>
            <ac:graphicFrameMk id="77" creationId="{5FAC80E2-2615-690E-D753-B07B1B2D6009}"/>
          </ac:graphicFrameMkLst>
        </pc:graphicFrameChg>
        <pc:graphicFrameChg chg="add del mod ord replST">
          <ac:chgData name="Wenwen Zhang" userId="9dd81366-5d6f-445a-b031-6ea562624431" providerId="ADAL" clId="{83AF0EAE-1449-4C87-B14F-64EAAA6BDADC}" dt="2023-03-07T15:43:31.571" v="51141"/>
          <ac:graphicFrameMkLst>
            <pc:docMk/>
            <pc:sldMk cId="1814704767" sldId="2134804377"/>
            <ac:graphicFrameMk id="78" creationId="{29872D24-633C-D60E-D423-F73CB624A4B5}"/>
          </ac:graphicFrameMkLst>
        </pc:graphicFrameChg>
        <pc:graphicFrameChg chg="add del mod ord replST">
          <ac:chgData name="Wenwen Zhang" userId="9dd81366-5d6f-445a-b031-6ea562624431" providerId="ADAL" clId="{83AF0EAE-1449-4C87-B14F-64EAAA6BDADC}" dt="2023-03-06T12:25:23.596" v="5669"/>
          <ac:graphicFrameMkLst>
            <pc:docMk/>
            <pc:sldMk cId="1814704767" sldId="2134804377"/>
            <ac:graphicFrameMk id="78" creationId="{DC6D6FED-7C69-42E8-E027-2A4819114E7B}"/>
          </ac:graphicFrameMkLst>
        </pc:graphicFrameChg>
        <pc:graphicFrameChg chg="add mod ord replST">
          <ac:chgData name="Wenwen Zhang" userId="9dd81366-5d6f-445a-b031-6ea562624431" providerId="ADAL" clId="{83AF0EAE-1449-4C87-B14F-64EAAA6BDADC}" dt="2023-03-07T15:43:31.614" v="51149"/>
          <ac:graphicFrameMkLst>
            <pc:docMk/>
            <pc:sldMk cId="1814704767" sldId="2134804377"/>
            <ac:graphicFrameMk id="80" creationId="{A896BDE0-0EE3-D544-D445-0FEA80DE6610}"/>
          </ac:graphicFrameMkLst>
        </pc:graphicFrameChg>
        <pc:graphicFrameChg chg="add del mod ord replST">
          <ac:chgData name="Wenwen Zhang" userId="9dd81366-5d6f-445a-b031-6ea562624431" providerId="ADAL" clId="{83AF0EAE-1449-4C87-B14F-64EAAA6BDADC}" dt="2023-03-06T12:25:31.820" v="5849"/>
          <ac:graphicFrameMkLst>
            <pc:docMk/>
            <pc:sldMk cId="1814704767" sldId="2134804377"/>
            <ac:graphicFrameMk id="80" creationId="{FB419073-A643-01D1-9D17-8E3AF6C7A495}"/>
          </ac:graphicFrameMkLst>
        </pc:graphicFrameChg>
        <pc:graphicFrameChg chg="add mod ord replST">
          <ac:chgData name="Wenwen Zhang" userId="9dd81366-5d6f-445a-b031-6ea562624431" providerId="ADAL" clId="{83AF0EAE-1449-4C87-B14F-64EAAA6BDADC}" dt="2023-03-07T15:43:31.619" v="51180"/>
          <ac:graphicFrameMkLst>
            <pc:docMk/>
            <pc:sldMk cId="1814704767" sldId="2134804377"/>
            <ac:graphicFrameMk id="81" creationId="{1FDCAC27-7BED-8ABE-2984-622A47D1F965}"/>
          </ac:graphicFrameMkLst>
        </pc:graphicFrameChg>
        <pc:graphicFrameChg chg="add del mod ord replST">
          <ac:chgData name="Wenwen Zhang" userId="9dd81366-5d6f-445a-b031-6ea562624431" providerId="ADAL" clId="{83AF0EAE-1449-4C87-B14F-64EAAA6BDADC}" dt="2023-03-06T12:25:32.722" v="6053"/>
          <ac:graphicFrameMkLst>
            <pc:docMk/>
            <pc:sldMk cId="1814704767" sldId="2134804377"/>
            <ac:graphicFrameMk id="82" creationId="{BD661A24-A540-EE6E-38A2-400629D18580}"/>
          </ac:graphicFrameMkLst>
        </pc:graphicFrameChg>
        <pc:graphicFrameChg chg="add del mod ord replST">
          <ac:chgData name="Wenwen Zhang" userId="9dd81366-5d6f-445a-b031-6ea562624431" providerId="ADAL" clId="{83AF0EAE-1449-4C87-B14F-64EAAA6BDADC}" dt="2023-03-06T16:24:30.616" v="45092"/>
          <ac:graphicFrameMkLst>
            <pc:docMk/>
            <pc:sldMk cId="1814704767" sldId="2134804377"/>
            <ac:graphicFrameMk id="85" creationId="{C3DAB6E8-3DA5-7BA1-D83E-4B0973B217CD}"/>
          </ac:graphicFrameMkLst>
        </pc:graphicFrameChg>
        <pc:graphicFrameChg chg="add del mod ord replST">
          <ac:chgData name="Wenwen Zhang" userId="9dd81366-5d6f-445a-b031-6ea562624431" providerId="ADAL" clId="{83AF0EAE-1449-4C87-B14F-64EAAA6BDADC}" dt="2023-03-06T12:27:16.705" v="9457"/>
          <ac:graphicFrameMkLst>
            <pc:docMk/>
            <pc:sldMk cId="1814704767" sldId="2134804377"/>
            <ac:graphicFrameMk id="88" creationId="{086FFEAE-3847-42BF-9741-EC78236BFF83}"/>
          </ac:graphicFrameMkLst>
        </pc:graphicFrameChg>
        <pc:graphicFrameChg chg="add del mod ord replST">
          <ac:chgData name="Wenwen Zhang" userId="9dd81366-5d6f-445a-b031-6ea562624431" providerId="ADAL" clId="{83AF0EAE-1449-4C87-B14F-64EAAA6BDADC}" dt="2023-03-06T12:27:22.722" v="10099"/>
          <ac:graphicFrameMkLst>
            <pc:docMk/>
            <pc:sldMk cId="1814704767" sldId="2134804377"/>
            <ac:graphicFrameMk id="92" creationId="{5CCBFE1E-0F3D-9CC2-9797-AA102E45A3CB}"/>
          </ac:graphicFrameMkLst>
        </pc:graphicFrameChg>
        <pc:graphicFrameChg chg="add del mod ord replST">
          <ac:chgData name="Wenwen Zhang" userId="9dd81366-5d6f-445a-b031-6ea562624431" providerId="ADAL" clId="{83AF0EAE-1449-4C87-B14F-64EAAA6BDADC}" dt="2023-03-06T12:27:11.579" v="8818"/>
          <ac:graphicFrameMkLst>
            <pc:docMk/>
            <pc:sldMk cId="1814704767" sldId="2134804377"/>
            <ac:graphicFrameMk id="95" creationId="{F5E89FCF-26A4-FCAF-52EC-1B0CC649FC9F}"/>
          </ac:graphicFrameMkLst>
        </pc:graphicFrameChg>
        <pc:graphicFrameChg chg="del">
          <ac:chgData name="Wenwen Zhang" userId="9dd81366-5d6f-445a-b031-6ea562624431" providerId="ADAL" clId="{83AF0EAE-1449-4C87-B14F-64EAAA6BDADC}" dt="2023-03-06T12:25:12.885" v="4766"/>
          <ac:graphicFrameMkLst>
            <pc:docMk/>
            <pc:sldMk cId="1814704767" sldId="2134804377"/>
            <ac:graphicFrameMk id="96" creationId="{8AE6098F-487B-B091-1CFD-A5A2E1CAFD07}"/>
          </ac:graphicFrameMkLst>
        </pc:graphicFrameChg>
        <pc:graphicFrameChg chg="add del mod ord replST">
          <ac:chgData name="Wenwen Zhang" userId="9dd81366-5d6f-445a-b031-6ea562624431" providerId="ADAL" clId="{83AF0EAE-1449-4C87-B14F-64EAAA6BDADC}" dt="2023-03-06T12:27:12.728" v="9016"/>
          <ac:graphicFrameMkLst>
            <pc:docMk/>
            <pc:sldMk cId="1814704767" sldId="2134804377"/>
            <ac:graphicFrameMk id="99" creationId="{41836E1C-9A0A-380B-E78A-BFEFF99B0739}"/>
          </ac:graphicFrameMkLst>
        </pc:graphicFrameChg>
        <pc:graphicFrameChg chg="del mod ord">
          <ac:chgData name="Wenwen Zhang" userId="9dd81366-5d6f-445a-b031-6ea562624431" providerId="ADAL" clId="{83AF0EAE-1449-4C87-B14F-64EAAA6BDADC}" dt="2023-03-06T12:25:51.922" v="6747"/>
          <ac:graphicFrameMkLst>
            <pc:docMk/>
            <pc:sldMk cId="1814704767" sldId="2134804377"/>
            <ac:graphicFrameMk id="100" creationId="{DF8FDDDD-767C-BE45-5BE2-375C55C98296}"/>
          </ac:graphicFrameMkLst>
        </pc:graphicFrameChg>
        <pc:graphicFrameChg chg="add del mod ord replST">
          <ac:chgData name="Wenwen Zhang" userId="9dd81366-5d6f-445a-b031-6ea562624431" providerId="ADAL" clId="{83AF0EAE-1449-4C87-B14F-64EAAA6BDADC}" dt="2023-03-06T12:27:14.510" v="9194"/>
          <ac:graphicFrameMkLst>
            <pc:docMk/>
            <pc:sldMk cId="1814704767" sldId="2134804377"/>
            <ac:graphicFrameMk id="102" creationId="{BAB5F468-0665-96AD-30E2-96F10CA7F913}"/>
          </ac:graphicFrameMkLst>
        </pc:graphicFrameChg>
        <pc:graphicFrameChg chg="del mod ord">
          <ac:chgData name="Wenwen Zhang" userId="9dd81366-5d6f-445a-b031-6ea562624431" providerId="ADAL" clId="{83AF0EAE-1449-4C87-B14F-64EAAA6BDADC}" dt="2023-03-06T12:26:56.166" v="7636"/>
          <ac:graphicFrameMkLst>
            <pc:docMk/>
            <pc:sldMk cId="1814704767" sldId="2134804377"/>
            <ac:graphicFrameMk id="108" creationId="{BAB30B52-7ACB-57DA-63D6-EDC1C5B4C641}"/>
          </ac:graphicFrameMkLst>
        </pc:graphicFrameChg>
        <pc:graphicFrameChg chg="add del mod ord replST">
          <ac:chgData name="Wenwen Zhang" userId="9dd81366-5d6f-445a-b031-6ea562624431" providerId="ADAL" clId="{83AF0EAE-1449-4C87-B14F-64EAAA6BDADC}" dt="2023-03-06T12:28:01.014" v="10677"/>
          <ac:graphicFrameMkLst>
            <pc:docMk/>
            <pc:sldMk cId="1814704767" sldId="2134804377"/>
            <ac:graphicFrameMk id="109" creationId="{45EDCDFD-DE31-375B-5731-EFEBC3492F7D}"/>
          </ac:graphicFrameMkLst>
        </pc:graphicFrameChg>
        <pc:graphicFrameChg chg="add del mod ord replST">
          <ac:chgData name="Wenwen Zhang" userId="9dd81366-5d6f-445a-b031-6ea562624431" providerId="ADAL" clId="{83AF0EAE-1449-4C87-B14F-64EAAA6BDADC}" dt="2023-03-06T12:27:18.665" v="9660"/>
          <ac:graphicFrameMkLst>
            <pc:docMk/>
            <pc:sldMk cId="1814704767" sldId="2134804377"/>
            <ac:graphicFrameMk id="112" creationId="{39F6A550-E896-05F4-35B2-8F0214A01595}"/>
          </ac:graphicFrameMkLst>
        </pc:graphicFrameChg>
        <pc:graphicFrameChg chg="add del mod ord replST">
          <ac:chgData name="Wenwen Zhang" userId="9dd81366-5d6f-445a-b031-6ea562624431" providerId="ADAL" clId="{83AF0EAE-1449-4C87-B14F-64EAAA6BDADC}" dt="2023-03-06T12:27:19.364" v="9837"/>
          <ac:graphicFrameMkLst>
            <pc:docMk/>
            <pc:sldMk cId="1814704767" sldId="2134804377"/>
            <ac:graphicFrameMk id="114" creationId="{B96BCAF1-8322-A22A-5CD5-3F327FD8DAA1}"/>
          </ac:graphicFrameMkLst>
        </pc:graphicFrameChg>
        <pc:graphicFrameChg chg="add del mod ord replST">
          <ac:chgData name="Wenwen Zhang" userId="9dd81366-5d6f-445a-b031-6ea562624431" providerId="ADAL" clId="{83AF0EAE-1449-4C87-B14F-64EAAA6BDADC}" dt="2023-03-06T12:30:40.791" v="16122"/>
          <ac:graphicFrameMkLst>
            <pc:docMk/>
            <pc:sldMk cId="1814704767" sldId="2134804377"/>
            <ac:graphicFrameMk id="116" creationId="{71381217-221D-C7DF-F6B4-A4DAD5845B72}"/>
          </ac:graphicFrameMkLst>
        </pc:graphicFrameChg>
        <pc:graphicFrameChg chg="del mod ord">
          <ac:chgData name="Wenwen Zhang" userId="9dd81366-5d6f-445a-b031-6ea562624431" providerId="ADAL" clId="{83AF0EAE-1449-4C87-B14F-64EAAA6BDADC}" dt="2023-03-06T12:27:09.496" v="8536"/>
          <ac:graphicFrameMkLst>
            <pc:docMk/>
            <pc:sldMk cId="1814704767" sldId="2134804377"/>
            <ac:graphicFrameMk id="118" creationId="{70FB3161-F919-986B-A788-04CA38732AE4}"/>
          </ac:graphicFrameMkLst>
        </pc:graphicFrameChg>
        <pc:graphicFrameChg chg="add del mod ord replST">
          <ac:chgData name="Wenwen Zhang" userId="9dd81366-5d6f-445a-b031-6ea562624431" providerId="ADAL" clId="{83AF0EAE-1449-4C87-B14F-64EAAA6BDADC}" dt="2023-03-06T12:27:24.634" v="10302"/>
          <ac:graphicFrameMkLst>
            <pc:docMk/>
            <pc:sldMk cId="1814704767" sldId="2134804377"/>
            <ac:graphicFrameMk id="120" creationId="{06CF4287-4CD3-4F05-D4CD-76B6225E8082}"/>
          </ac:graphicFrameMkLst>
        </pc:graphicFrameChg>
        <pc:graphicFrameChg chg="add del mod ord replST">
          <ac:chgData name="Wenwen Zhang" userId="9dd81366-5d6f-445a-b031-6ea562624431" providerId="ADAL" clId="{83AF0EAE-1449-4C87-B14F-64EAAA6BDADC}" dt="2023-03-06T12:27:25.491" v="10479"/>
          <ac:graphicFrameMkLst>
            <pc:docMk/>
            <pc:sldMk cId="1814704767" sldId="2134804377"/>
            <ac:graphicFrameMk id="122" creationId="{35642098-B6F1-8ACE-A355-047ABD65C432}"/>
          </ac:graphicFrameMkLst>
        </pc:graphicFrameChg>
        <pc:graphicFrameChg chg="add del mod ord replST">
          <ac:chgData name="Wenwen Zhang" userId="9dd81366-5d6f-445a-b031-6ea562624431" providerId="ADAL" clId="{83AF0EAE-1449-4C87-B14F-64EAAA6BDADC}" dt="2023-03-07T15:43:24.083" v="49164"/>
          <ac:graphicFrameMkLst>
            <pc:docMk/>
            <pc:sldMk cId="1814704767" sldId="2134804377"/>
            <ac:graphicFrameMk id="124" creationId="{6F360CF2-49D9-AFE5-2618-A254942E9742}"/>
          </ac:graphicFrameMkLst>
        </pc:graphicFrameChg>
        <pc:graphicFrameChg chg="add del mod ord replST">
          <ac:chgData name="Wenwen Zhang" userId="9dd81366-5d6f-445a-b031-6ea562624431" providerId="ADAL" clId="{83AF0EAE-1449-4C87-B14F-64EAAA6BDADC}" dt="2023-03-06T12:29:33.852" v="14723"/>
          <ac:graphicFrameMkLst>
            <pc:docMk/>
            <pc:sldMk cId="1814704767" sldId="2134804377"/>
            <ac:graphicFrameMk id="126" creationId="{F01692CC-1FCB-447F-A5C2-598CD10F038B}"/>
          </ac:graphicFrameMkLst>
        </pc:graphicFrameChg>
        <pc:graphicFrameChg chg="add mod ord replST delST">
          <ac:chgData name="Wenwen Zhang" userId="9dd81366-5d6f-445a-b031-6ea562624431" providerId="ADAL" clId="{83AF0EAE-1449-4C87-B14F-64EAAA6BDADC}" dt="2023-03-06T12:28:40.387" v="11015" actId="1076"/>
          <ac:graphicFrameMkLst>
            <pc:docMk/>
            <pc:sldMk cId="1814704767" sldId="2134804377"/>
            <ac:graphicFrameMk id="256" creationId="{A5E3411C-1F56-10F8-123C-A4C9015D83D1}"/>
          </ac:graphicFrameMkLst>
        </pc:graphicFrameChg>
        <pc:graphicFrameChg chg="add mod ord replST delST">
          <ac:chgData name="Wenwen Zhang" userId="9dd81366-5d6f-445a-b031-6ea562624431" providerId="ADAL" clId="{83AF0EAE-1449-4C87-B14F-64EAAA6BDADC}" dt="2023-03-06T12:29:10.801" v="12400"/>
          <ac:graphicFrameMkLst>
            <pc:docMk/>
            <pc:sldMk cId="1814704767" sldId="2134804377"/>
            <ac:graphicFrameMk id="258" creationId="{E5AC2CD8-BBBE-6E00-A9C9-92741A5B5D7A}"/>
          </ac:graphicFrameMkLst>
        </pc:graphicFrameChg>
        <pc:graphicFrameChg chg="add mod ord replST delST">
          <ac:chgData name="Wenwen Zhang" userId="9dd81366-5d6f-445a-b031-6ea562624431" providerId="ADAL" clId="{83AF0EAE-1449-4C87-B14F-64EAAA6BDADC}" dt="2023-03-06T12:29:27.036" v="13993" actId="207"/>
          <ac:graphicFrameMkLst>
            <pc:docMk/>
            <pc:sldMk cId="1814704767" sldId="2134804377"/>
            <ac:graphicFrameMk id="260" creationId="{0A51438F-9E7F-1BFB-CE35-385B821BD160}"/>
          </ac:graphicFrameMkLst>
        </pc:graphicFrameChg>
        <pc:graphicFrameChg chg="add del mod ord replST">
          <ac:chgData name="Wenwen Zhang" userId="9dd81366-5d6f-445a-b031-6ea562624431" providerId="ADAL" clId="{83AF0EAE-1449-4C87-B14F-64EAAA6BDADC}" dt="2023-03-06T12:30:10.266" v="14935"/>
          <ac:graphicFrameMkLst>
            <pc:docMk/>
            <pc:sldMk cId="1814704767" sldId="2134804377"/>
            <ac:graphicFrameMk id="262" creationId="{C23845A7-A525-0BED-FCD7-62658581B888}"/>
          </ac:graphicFrameMkLst>
        </pc:graphicFrameChg>
        <pc:graphicFrameChg chg="add del mod ord replST">
          <ac:chgData name="Wenwen Zhang" userId="9dd81366-5d6f-445a-b031-6ea562624431" providerId="ADAL" clId="{83AF0EAE-1449-4C87-B14F-64EAAA6BDADC}" dt="2023-03-06T12:30:11.051" v="15160"/>
          <ac:graphicFrameMkLst>
            <pc:docMk/>
            <pc:sldMk cId="1814704767" sldId="2134804377"/>
            <ac:graphicFrameMk id="264" creationId="{D7AFBAAC-3A9D-BB21-14C1-80E820F852D0}"/>
          </ac:graphicFrameMkLst>
        </pc:graphicFrameChg>
        <pc:graphicFrameChg chg="add del mod ord replST">
          <ac:chgData name="Wenwen Zhang" userId="9dd81366-5d6f-445a-b031-6ea562624431" providerId="ADAL" clId="{83AF0EAE-1449-4C87-B14F-64EAAA6BDADC}" dt="2023-03-06T12:30:24.003" v="15381"/>
          <ac:graphicFrameMkLst>
            <pc:docMk/>
            <pc:sldMk cId="1814704767" sldId="2134804377"/>
            <ac:graphicFrameMk id="266" creationId="{00A3AB56-E918-EBAD-5000-CB1D67D30FD8}"/>
          </ac:graphicFrameMkLst>
        </pc:graphicFrameChg>
        <pc:graphicFrameChg chg="add del mod ord replST">
          <ac:chgData name="Wenwen Zhang" userId="9dd81366-5d6f-445a-b031-6ea562624431" providerId="ADAL" clId="{83AF0EAE-1449-4C87-B14F-64EAAA6BDADC}" dt="2023-03-07T15:43:24.553" v="49863"/>
          <ac:graphicFrameMkLst>
            <pc:docMk/>
            <pc:sldMk cId="1814704767" sldId="2134804377"/>
            <ac:graphicFrameMk id="268" creationId="{5BDE7D24-3F56-3814-1D9A-A3F05BEE6472}"/>
          </ac:graphicFrameMkLst>
        </pc:graphicFrameChg>
        <pc:graphicFrameChg chg="add del mod ord replST">
          <ac:chgData name="Wenwen Zhang" userId="9dd81366-5d6f-445a-b031-6ea562624431" providerId="ADAL" clId="{83AF0EAE-1449-4C87-B14F-64EAAA6BDADC}" dt="2023-03-06T12:30:42.608" v="16325"/>
          <ac:graphicFrameMkLst>
            <pc:docMk/>
            <pc:sldMk cId="1814704767" sldId="2134804377"/>
            <ac:graphicFrameMk id="272" creationId="{E78606AD-7999-4730-2EEC-BDCE018F9007}"/>
          </ac:graphicFrameMkLst>
        </pc:graphicFrameChg>
        <pc:graphicFrameChg chg="add del mod ord replST">
          <ac:chgData name="Wenwen Zhang" userId="9dd81366-5d6f-445a-b031-6ea562624431" providerId="ADAL" clId="{83AF0EAE-1449-4C87-B14F-64EAAA6BDADC}" dt="2023-03-06T12:30:44.736" v="16592"/>
          <ac:graphicFrameMkLst>
            <pc:docMk/>
            <pc:sldMk cId="1814704767" sldId="2134804377"/>
            <ac:graphicFrameMk id="274" creationId="{9C71AE91-4E8D-5472-EE31-2C98F65D74DF}"/>
          </ac:graphicFrameMkLst>
        </pc:graphicFrameChg>
        <pc:graphicFrameChg chg="add mod ord replST">
          <ac:chgData name="Wenwen Zhang" userId="9dd81366-5d6f-445a-b031-6ea562624431" providerId="ADAL" clId="{83AF0EAE-1449-4C87-B14F-64EAAA6BDADC}" dt="2023-03-07T15:43:31.629" v="51229"/>
          <ac:graphicFrameMkLst>
            <pc:docMk/>
            <pc:sldMk cId="1814704767" sldId="2134804377"/>
            <ac:graphicFrameMk id="277" creationId="{3F509422-0A80-DA6D-1AD5-7D39870F0C36}"/>
          </ac:graphicFrameMkLst>
        </pc:graphicFrameChg>
        <pc:graphicFrameChg chg="add del mod ord replST">
          <ac:chgData name="Wenwen Zhang" userId="9dd81366-5d6f-445a-b031-6ea562624431" providerId="ADAL" clId="{83AF0EAE-1449-4C87-B14F-64EAAA6BDADC}" dt="2023-03-06T16:24:32.549" v="45283"/>
          <ac:graphicFrameMkLst>
            <pc:docMk/>
            <pc:sldMk cId="1814704767" sldId="2134804377"/>
            <ac:graphicFrameMk id="279" creationId="{30EB4E8D-C641-4518-2D3C-9369CC2992C4}"/>
          </ac:graphicFrameMkLst>
        </pc:graphicFrameChg>
        <pc:graphicFrameChg chg="add mod ord replST">
          <ac:chgData name="Wenwen Zhang" userId="9dd81366-5d6f-445a-b031-6ea562624431" providerId="ADAL" clId="{83AF0EAE-1449-4C87-B14F-64EAAA6BDADC}" dt="2023-03-07T15:43:31.624" v="51202"/>
          <ac:graphicFrameMkLst>
            <pc:docMk/>
            <pc:sldMk cId="1814704767" sldId="2134804377"/>
            <ac:graphicFrameMk id="281" creationId="{91D9BA3B-0C32-9EFA-0BC0-68A4C765DB99}"/>
          </ac:graphicFrameMkLst>
        </pc:graphicFrameChg>
        <pc:cxnChg chg="mod ord">
          <ac:chgData name="Wenwen Zhang" userId="9dd81366-5d6f-445a-b031-6ea562624431" providerId="ADAL" clId="{83AF0EAE-1449-4C87-B14F-64EAAA6BDADC}" dt="2023-03-07T15:43:31.622" v="51196"/>
          <ac:cxnSpMkLst>
            <pc:docMk/>
            <pc:sldMk cId="1814704767" sldId="2134804377"/>
            <ac:cxnSpMk id="20" creationId="{1FB62189-8AB0-B291-48A9-3CB51B77C18E}"/>
          </ac:cxnSpMkLst>
        </pc:cxnChg>
        <pc:cxnChg chg="add del mod ord replST">
          <ac:chgData name="Wenwen Zhang" userId="9dd81366-5d6f-445a-b031-6ea562624431" providerId="ADAL" clId="{83AF0EAE-1449-4C87-B14F-64EAAA6BDADC}" dt="2023-03-06T12:25:23.581" v="5632"/>
          <ac:cxnSpMkLst>
            <pc:docMk/>
            <pc:sldMk cId="1814704767" sldId="2134804377"/>
            <ac:cxnSpMk id="77" creationId="{AD265179-E094-BD3B-ADA8-FAB59A426CBE}"/>
          </ac:cxnSpMkLst>
        </pc:cxnChg>
        <pc:cxnChg chg="add mod ord replST">
          <ac:chgData name="Wenwen Zhang" userId="9dd81366-5d6f-445a-b031-6ea562624431" providerId="ADAL" clId="{83AF0EAE-1449-4C87-B14F-64EAAA6BDADC}" dt="2023-03-07T15:43:31.624" v="51204"/>
          <ac:cxnSpMkLst>
            <pc:docMk/>
            <pc:sldMk cId="1814704767" sldId="2134804377"/>
            <ac:cxnSpMk id="84" creationId="{2F2C082A-C374-67E6-79A0-35A045E51C80}"/>
          </ac:cxnSpMkLst>
        </pc:cxnChg>
      </pc:sldChg>
      <pc:sldChg chg="addSp delSp modSp add mod modNotesTx">
        <pc:chgData name="Wenwen Zhang" userId="9dd81366-5d6f-445a-b031-6ea562624431" providerId="ADAL" clId="{83AF0EAE-1449-4C87-B14F-64EAAA6BDADC}" dt="2023-03-09T03:48:09.913" v="55773" actId="20577"/>
        <pc:sldMkLst>
          <pc:docMk/>
          <pc:sldMk cId="2379220786" sldId="2134804378"/>
        </pc:sldMkLst>
        <pc:spChg chg="mod ord">
          <ac:chgData name="Wenwen Zhang" userId="9dd81366-5d6f-445a-b031-6ea562624431" providerId="ADAL" clId="{83AF0EAE-1449-4C87-B14F-64EAAA6BDADC}" dt="2023-03-09T03:32:43.427" v="55631"/>
          <ac:spMkLst>
            <pc:docMk/>
            <pc:sldMk cId="2379220786" sldId="2134804378"/>
            <ac:spMk id="2" creationId="{B065B79C-C4D6-5961-7919-6BB68C420868}"/>
          </ac:spMkLst>
        </pc:spChg>
        <pc:spChg chg="add del mod modVis">
          <ac:chgData name="Wenwen Zhang" userId="9dd81366-5d6f-445a-b031-6ea562624431" providerId="ADAL" clId="{83AF0EAE-1449-4C87-B14F-64EAAA6BDADC}" dt="2023-03-09T03:32:40.355" v="55025"/>
          <ac:spMkLst>
            <pc:docMk/>
            <pc:sldMk cId="2379220786" sldId="2134804378"/>
            <ac:spMk id="3" creationId="{9F95003E-E0A2-FC4C-9424-FC393E63A4EB}"/>
          </ac:spMkLst>
        </pc:spChg>
        <pc:spChg chg="add del mod modVis">
          <ac:chgData name="Wenwen Zhang" userId="9dd81366-5d6f-445a-b031-6ea562624431" providerId="ADAL" clId="{83AF0EAE-1449-4C87-B14F-64EAAA6BDADC}" dt="2023-03-06T14:18:50.301" v="24326"/>
          <ac:spMkLst>
            <pc:docMk/>
            <pc:sldMk cId="2379220786" sldId="2134804378"/>
            <ac:spMk id="4" creationId="{368462B5-650E-3422-18ED-2254021C32C3}"/>
          </ac:spMkLst>
        </pc:spChg>
        <pc:spChg chg="add del mod modVis">
          <ac:chgData name="Wenwen Zhang" userId="9dd81366-5d6f-445a-b031-6ea562624431" providerId="ADAL" clId="{83AF0EAE-1449-4C87-B14F-64EAAA6BDADC}" dt="2023-03-09T03:32:43.445" v="55749"/>
          <ac:spMkLst>
            <pc:docMk/>
            <pc:sldMk cId="2379220786" sldId="2134804378"/>
            <ac:spMk id="4" creationId="{DB7B05F3-F5D8-7D97-9ED3-173EE76110B7}"/>
          </ac:spMkLst>
        </pc:spChg>
        <pc:spChg chg="mod ord">
          <ac:chgData name="Wenwen Zhang" userId="9dd81366-5d6f-445a-b031-6ea562624431" providerId="ADAL" clId="{83AF0EAE-1449-4C87-B14F-64EAAA6BDADC}" dt="2023-03-09T03:32:43.427" v="55633"/>
          <ac:spMkLst>
            <pc:docMk/>
            <pc:sldMk cId="2379220786" sldId="2134804378"/>
            <ac:spMk id="29" creationId="{D50B6CAA-A666-5524-85F7-444C607F0970}"/>
          </ac:spMkLst>
        </pc:spChg>
        <pc:spChg chg="mod ord">
          <ac:chgData name="Wenwen Zhang" userId="9dd81366-5d6f-445a-b031-6ea562624431" providerId="ADAL" clId="{83AF0EAE-1449-4C87-B14F-64EAAA6BDADC}" dt="2023-03-09T03:32:43.427" v="55635"/>
          <ac:spMkLst>
            <pc:docMk/>
            <pc:sldMk cId="2379220786" sldId="2134804378"/>
            <ac:spMk id="43" creationId="{C58C7321-3BF7-61DC-5B1A-AD075E56AE05}"/>
          </ac:spMkLst>
        </pc:spChg>
        <pc:spChg chg="del">
          <ac:chgData name="Wenwen Zhang" userId="9dd81366-5d6f-445a-b031-6ea562624431" providerId="ADAL" clId="{83AF0EAE-1449-4C87-B14F-64EAAA6BDADC}" dt="2023-03-06T14:18:50.266" v="24234"/>
          <ac:spMkLst>
            <pc:docMk/>
            <pc:sldMk cId="2379220786" sldId="2134804378"/>
            <ac:spMk id="50" creationId="{D704A221-C1CD-6735-B476-2ACB998FAFA0}"/>
          </ac:spMkLst>
        </pc:spChg>
        <pc:spChg chg="del">
          <ac:chgData name="Wenwen Zhang" userId="9dd81366-5d6f-445a-b031-6ea562624431" providerId="ADAL" clId="{83AF0EAE-1449-4C87-B14F-64EAAA6BDADC}" dt="2023-03-06T14:18:50.270" v="24252"/>
          <ac:spMkLst>
            <pc:docMk/>
            <pc:sldMk cId="2379220786" sldId="2134804378"/>
            <ac:spMk id="52" creationId="{79DB6437-DA66-59A5-4A9E-21E70FD9F892}"/>
          </ac:spMkLst>
        </pc:spChg>
        <pc:spChg chg="del">
          <ac:chgData name="Wenwen Zhang" userId="9dd81366-5d6f-445a-b031-6ea562624431" providerId="ADAL" clId="{83AF0EAE-1449-4C87-B14F-64EAAA6BDADC}" dt="2023-03-06T14:18:50.276" v="24279"/>
          <ac:spMkLst>
            <pc:docMk/>
            <pc:sldMk cId="2379220786" sldId="2134804378"/>
            <ac:spMk id="53" creationId="{B4E76467-06F7-C06D-1143-BFB2409B175D}"/>
          </ac:spMkLst>
        </pc:spChg>
        <pc:spChg chg="del">
          <ac:chgData name="Wenwen Zhang" userId="9dd81366-5d6f-445a-b031-6ea562624431" providerId="ADAL" clId="{83AF0EAE-1449-4C87-B14F-64EAAA6BDADC}" dt="2023-03-06T14:18:50.274" v="24270"/>
          <ac:spMkLst>
            <pc:docMk/>
            <pc:sldMk cId="2379220786" sldId="2134804378"/>
            <ac:spMk id="55" creationId="{0F2B7D9A-2B76-7A86-D1CB-6298E418B73A}"/>
          </ac:spMkLst>
        </pc:spChg>
        <pc:spChg chg="del">
          <ac:chgData name="Wenwen Zhang" userId="9dd81366-5d6f-445a-b031-6ea562624431" providerId="ADAL" clId="{83AF0EAE-1449-4C87-B14F-64EAAA6BDADC}" dt="2023-03-06T14:18:50.263" v="24219"/>
          <ac:spMkLst>
            <pc:docMk/>
            <pc:sldMk cId="2379220786" sldId="2134804378"/>
            <ac:spMk id="57" creationId="{67A2F1F0-34C5-1E14-9492-F080E73DCC7F}"/>
          </ac:spMkLst>
        </pc:spChg>
        <pc:spChg chg="del">
          <ac:chgData name="Wenwen Zhang" userId="9dd81366-5d6f-445a-b031-6ea562624431" providerId="ADAL" clId="{83AF0EAE-1449-4C87-B14F-64EAAA6BDADC}" dt="2023-03-06T14:18:50.275" v="24276"/>
          <ac:spMkLst>
            <pc:docMk/>
            <pc:sldMk cId="2379220786" sldId="2134804378"/>
            <ac:spMk id="59" creationId="{C18E9B07-EED1-16A9-078D-8DCCB1EF088E}"/>
          </ac:spMkLst>
        </pc:spChg>
        <pc:spChg chg="del">
          <ac:chgData name="Wenwen Zhang" userId="9dd81366-5d6f-445a-b031-6ea562624431" providerId="ADAL" clId="{83AF0EAE-1449-4C87-B14F-64EAAA6BDADC}" dt="2023-03-06T14:18:50.263" v="24216"/>
          <ac:spMkLst>
            <pc:docMk/>
            <pc:sldMk cId="2379220786" sldId="2134804378"/>
            <ac:spMk id="60" creationId="{9E924F7A-EFD0-439E-C196-378FCAE536E6}"/>
          </ac:spMkLst>
        </pc:spChg>
        <pc:spChg chg="del">
          <ac:chgData name="Wenwen Zhang" userId="9dd81366-5d6f-445a-b031-6ea562624431" providerId="ADAL" clId="{83AF0EAE-1449-4C87-B14F-64EAAA6BDADC}" dt="2023-03-06T14:18:50.274" v="24273"/>
          <ac:spMkLst>
            <pc:docMk/>
            <pc:sldMk cId="2379220786" sldId="2134804378"/>
            <ac:spMk id="62" creationId="{2138C2B3-4621-0EFB-9FE3-E864ACF378D7}"/>
          </ac:spMkLst>
        </pc:spChg>
        <pc:spChg chg="del">
          <ac:chgData name="Wenwen Zhang" userId="9dd81366-5d6f-445a-b031-6ea562624431" providerId="ADAL" clId="{83AF0EAE-1449-4C87-B14F-64EAAA6BDADC}" dt="2023-03-06T14:18:50.273" v="24267"/>
          <ac:spMkLst>
            <pc:docMk/>
            <pc:sldMk cId="2379220786" sldId="2134804378"/>
            <ac:spMk id="63" creationId="{666FABD4-5416-C2FC-0E0A-A36B48F1B768}"/>
          </ac:spMkLst>
        </pc:spChg>
        <pc:spChg chg="del">
          <ac:chgData name="Wenwen Zhang" userId="9dd81366-5d6f-445a-b031-6ea562624431" providerId="ADAL" clId="{83AF0EAE-1449-4C87-B14F-64EAAA6BDADC}" dt="2023-03-06T14:18:50.264" v="24225"/>
          <ac:spMkLst>
            <pc:docMk/>
            <pc:sldMk cId="2379220786" sldId="2134804378"/>
            <ac:spMk id="70" creationId="{72023AE1-A439-B900-256B-0D953B22A882}"/>
          </ac:spMkLst>
        </pc:spChg>
        <pc:spChg chg="del">
          <ac:chgData name="Wenwen Zhang" userId="9dd81366-5d6f-445a-b031-6ea562624431" providerId="ADAL" clId="{83AF0EAE-1449-4C87-B14F-64EAAA6BDADC}" dt="2023-03-06T14:18:50.265" v="24228"/>
          <ac:spMkLst>
            <pc:docMk/>
            <pc:sldMk cId="2379220786" sldId="2134804378"/>
            <ac:spMk id="71" creationId="{9BA9369D-964F-B33F-B466-0912DEA7E379}"/>
          </ac:spMkLst>
        </pc:spChg>
        <pc:spChg chg="del">
          <ac:chgData name="Wenwen Zhang" userId="9dd81366-5d6f-445a-b031-6ea562624431" providerId="ADAL" clId="{83AF0EAE-1449-4C87-B14F-64EAAA6BDADC}" dt="2023-03-06T14:18:50.268" v="24240"/>
          <ac:spMkLst>
            <pc:docMk/>
            <pc:sldMk cId="2379220786" sldId="2134804378"/>
            <ac:spMk id="72" creationId="{6605DE1C-4948-6AFA-EA3B-0608B754999B}"/>
          </ac:spMkLst>
        </pc:spChg>
        <pc:spChg chg="del">
          <ac:chgData name="Wenwen Zhang" userId="9dd81366-5d6f-445a-b031-6ea562624431" providerId="ADAL" clId="{83AF0EAE-1449-4C87-B14F-64EAAA6BDADC}" dt="2023-03-06T14:18:50.261" v="24210"/>
          <ac:spMkLst>
            <pc:docMk/>
            <pc:sldMk cId="2379220786" sldId="2134804378"/>
            <ac:spMk id="73" creationId="{76DEBE83-3435-FD63-23E7-899A60C53A22}"/>
          </ac:spMkLst>
        </pc:spChg>
        <pc:spChg chg="del">
          <ac:chgData name="Wenwen Zhang" userId="9dd81366-5d6f-445a-b031-6ea562624431" providerId="ADAL" clId="{83AF0EAE-1449-4C87-B14F-64EAAA6BDADC}" dt="2023-03-06T14:18:50.269" v="24246"/>
          <ac:spMkLst>
            <pc:docMk/>
            <pc:sldMk cId="2379220786" sldId="2134804378"/>
            <ac:spMk id="74" creationId="{1F4F12DE-80BC-CD1E-CE14-C358C0142033}"/>
          </ac:spMkLst>
        </pc:spChg>
        <pc:spChg chg="del">
          <ac:chgData name="Wenwen Zhang" userId="9dd81366-5d6f-445a-b031-6ea562624431" providerId="ADAL" clId="{83AF0EAE-1449-4C87-B14F-64EAAA6BDADC}" dt="2023-03-06T14:18:50.264" v="24222"/>
          <ac:spMkLst>
            <pc:docMk/>
            <pc:sldMk cId="2379220786" sldId="2134804378"/>
            <ac:spMk id="75" creationId="{F62950B7-669A-6CD8-9F0A-F95CBD52457B}"/>
          </ac:spMkLst>
        </pc:spChg>
        <pc:spChg chg="del">
          <ac:chgData name="Wenwen Zhang" userId="9dd81366-5d6f-445a-b031-6ea562624431" providerId="ADAL" clId="{83AF0EAE-1449-4C87-B14F-64EAAA6BDADC}" dt="2023-03-06T14:18:50.260" v="24207"/>
          <ac:spMkLst>
            <pc:docMk/>
            <pc:sldMk cId="2379220786" sldId="2134804378"/>
            <ac:spMk id="76" creationId="{690E012C-FA9F-CB8B-3E51-9D250BF06124}"/>
          </ac:spMkLst>
        </pc:spChg>
        <pc:spChg chg="del">
          <ac:chgData name="Wenwen Zhang" userId="9dd81366-5d6f-445a-b031-6ea562624431" providerId="ADAL" clId="{83AF0EAE-1449-4C87-B14F-64EAAA6BDADC}" dt="2023-03-06T14:18:50.269" v="24249"/>
          <ac:spMkLst>
            <pc:docMk/>
            <pc:sldMk cId="2379220786" sldId="2134804378"/>
            <ac:spMk id="77" creationId="{9999190A-523B-71F3-E5FD-8F91A46CFF1C}"/>
          </ac:spMkLst>
        </pc:spChg>
        <pc:spChg chg="del">
          <ac:chgData name="Wenwen Zhang" userId="9dd81366-5d6f-445a-b031-6ea562624431" providerId="ADAL" clId="{83AF0EAE-1449-4C87-B14F-64EAAA6BDADC}" dt="2023-03-06T14:18:50.271" v="24255"/>
          <ac:spMkLst>
            <pc:docMk/>
            <pc:sldMk cId="2379220786" sldId="2134804378"/>
            <ac:spMk id="78" creationId="{682D78E7-CCEC-541B-D006-0EC6F0D719C3}"/>
          </ac:spMkLst>
        </pc:spChg>
        <pc:spChg chg="del">
          <ac:chgData name="Wenwen Zhang" userId="9dd81366-5d6f-445a-b031-6ea562624431" providerId="ADAL" clId="{83AF0EAE-1449-4C87-B14F-64EAAA6BDADC}" dt="2023-03-06T14:18:50.268" v="24243"/>
          <ac:spMkLst>
            <pc:docMk/>
            <pc:sldMk cId="2379220786" sldId="2134804378"/>
            <ac:spMk id="79" creationId="{BD2CF8F2-A147-09EE-7875-22F736A2CB67}"/>
          </ac:spMkLst>
        </pc:spChg>
        <pc:spChg chg="del">
          <ac:chgData name="Wenwen Zhang" userId="9dd81366-5d6f-445a-b031-6ea562624431" providerId="ADAL" clId="{83AF0EAE-1449-4C87-B14F-64EAAA6BDADC}" dt="2023-03-06T14:18:50.262" v="24213"/>
          <ac:spMkLst>
            <pc:docMk/>
            <pc:sldMk cId="2379220786" sldId="2134804378"/>
            <ac:spMk id="80" creationId="{6969FBE4-702F-D7ED-B19E-76BDC541D940}"/>
          </ac:spMkLst>
        </pc:spChg>
        <pc:spChg chg="del">
          <ac:chgData name="Wenwen Zhang" userId="9dd81366-5d6f-445a-b031-6ea562624431" providerId="ADAL" clId="{83AF0EAE-1449-4C87-B14F-64EAAA6BDADC}" dt="2023-03-06T14:18:50.266" v="24231"/>
          <ac:spMkLst>
            <pc:docMk/>
            <pc:sldMk cId="2379220786" sldId="2134804378"/>
            <ac:spMk id="81" creationId="{369B0425-EF39-6BDD-C053-0FCD1744812D}"/>
          </ac:spMkLst>
        </pc:spChg>
        <pc:spChg chg="del">
          <ac:chgData name="Wenwen Zhang" userId="9dd81366-5d6f-445a-b031-6ea562624431" providerId="ADAL" clId="{83AF0EAE-1449-4C87-B14F-64EAAA6BDADC}" dt="2023-03-06T14:18:50.271" v="24258"/>
          <ac:spMkLst>
            <pc:docMk/>
            <pc:sldMk cId="2379220786" sldId="2134804378"/>
            <ac:spMk id="82" creationId="{E83B378A-A235-A00F-594B-F4312D830C06}"/>
          </ac:spMkLst>
        </pc:spChg>
        <pc:spChg chg="del">
          <ac:chgData name="Wenwen Zhang" userId="9dd81366-5d6f-445a-b031-6ea562624431" providerId="ADAL" clId="{83AF0EAE-1449-4C87-B14F-64EAAA6BDADC}" dt="2023-03-06T14:18:50.272" v="24261"/>
          <ac:spMkLst>
            <pc:docMk/>
            <pc:sldMk cId="2379220786" sldId="2134804378"/>
            <ac:spMk id="83" creationId="{735FE05C-B482-FEDA-FEC0-EBE1391E1D4B}"/>
          </ac:spMkLst>
        </pc:spChg>
        <pc:spChg chg="del">
          <ac:chgData name="Wenwen Zhang" userId="9dd81366-5d6f-445a-b031-6ea562624431" providerId="ADAL" clId="{83AF0EAE-1449-4C87-B14F-64EAAA6BDADC}" dt="2023-03-06T14:18:50.267" v="24237"/>
          <ac:spMkLst>
            <pc:docMk/>
            <pc:sldMk cId="2379220786" sldId="2134804378"/>
            <ac:spMk id="84" creationId="{B4D4445E-9887-1D8D-43D4-95043202C2CB}"/>
          </ac:spMkLst>
        </pc:spChg>
        <pc:spChg chg="del">
          <ac:chgData name="Wenwen Zhang" userId="9dd81366-5d6f-445a-b031-6ea562624431" providerId="ADAL" clId="{83AF0EAE-1449-4C87-B14F-64EAAA6BDADC}" dt="2023-03-06T14:18:50.273" v="24264"/>
          <ac:spMkLst>
            <pc:docMk/>
            <pc:sldMk cId="2379220786" sldId="2134804378"/>
            <ac:spMk id="85" creationId="{B099590B-A727-5B58-A44C-78E1B8A168A4}"/>
          </ac:spMkLst>
        </pc:spChg>
        <pc:spChg chg="del">
          <ac:chgData name="Wenwen Zhang" userId="9dd81366-5d6f-445a-b031-6ea562624431" providerId="ADAL" clId="{83AF0EAE-1449-4C87-B14F-64EAAA6BDADC}" dt="2023-03-06T14:18:50.260" v="24206"/>
          <ac:spMkLst>
            <pc:docMk/>
            <pc:sldMk cId="2379220786" sldId="2134804378"/>
            <ac:spMk id="89" creationId="{0ECE1B81-B2D3-AB1B-B784-E61529548726}"/>
          </ac:spMkLst>
        </pc:spChg>
        <pc:spChg chg="del">
          <ac:chgData name="Wenwen Zhang" userId="9dd81366-5d6f-445a-b031-6ea562624431" providerId="ADAL" clId="{83AF0EAE-1449-4C87-B14F-64EAAA6BDADC}" dt="2023-03-06T14:18:50.253" v="24189"/>
          <ac:spMkLst>
            <pc:docMk/>
            <pc:sldMk cId="2379220786" sldId="2134804378"/>
            <ac:spMk id="90" creationId="{AD8BC905-AB1E-8F7F-EACA-0FF03BADC299}"/>
          </ac:spMkLst>
        </pc:spChg>
        <pc:spChg chg="add mod replST">
          <ac:chgData name="Wenwen Zhang" userId="9dd81366-5d6f-445a-b031-6ea562624431" providerId="ADAL" clId="{83AF0EAE-1449-4C87-B14F-64EAAA6BDADC}" dt="2023-03-09T03:32:43.441" v="55725"/>
          <ac:spMkLst>
            <pc:docMk/>
            <pc:sldMk cId="2379220786" sldId="2134804378"/>
            <ac:spMk id="104" creationId="{A9566EFA-74F7-3DDA-F05E-93C53BB2AA97}"/>
          </ac:spMkLst>
        </pc:spChg>
        <pc:spChg chg="add mod replST">
          <ac:chgData name="Wenwen Zhang" userId="9dd81366-5d6f-445a-b031-6ea562624431" providerId="ADAL" clId="{83AF0EAE-1449-4C87-B14F-64EAAA6BDADC}" dt="2023-03-09T03:32:43.440" v="55722"/>
          <ac:spMkLst>
            <pc:docMk/>
            <pc:sldMk cId="2379220786" sldId="2134804378"/>
            <ac:spMk id="105" creationId="{3A8DF813-9A1B-2779-792A-3FAED26079F9}"/>
          </ac:spMkLst>
        </pc:spChg>
        <pc:spChg chg="add mod replST">
          <ac:chgData name="Wenwen Zhang" userId="9dd81366-5d6f-445a-b031-6ea562624431" providerId="ADAL" clId="{83AF0EAE-1449-4C87-B14F-64EAAA6BDADC}" dt="2023-03-09T03:32:43.437" v="55708"/>
          <ac:spMkLst>
            <pc:docMk/>
            <pc:sldMk cId="2379220786" sldId="2134804378"/>
            <ac:spMk id="106" creationId="{7D99CB6E-1D23-4F83-4BEB-CD18BD12C810}"/>
          </ac:spMkLst>
        </pc:spChg>
        <pc:spChg chg="add mod replST">
          <ac:chgData name="Wenwen Zhang" userId="9dd81366-5d6f-445a-b031-6ea562624431" providerId="ADAL" clId="{83AF0EAE-1449-4C87-B14F-64EAAA6BDADC}" dt="2023-03-09T03:32:43.442" v="55730"/>
          <ac:spMkLst>
            <pc:docMk/>
            <pc:sldMk cId="2379220786" sldId="2134804378"/>
            <ac:spMk id="107" creationId="{D69C42B8-4C60-26CC-0D19-29FD30EB03D5}"/>
          </ac:spMkLst>
        </pc:spChg>
        <pc:spChg chg="add mod replST">
          <ac:chgData name="Wenwen Zhang" userId="9dd81366-5d6f-445a-b031-6ea562624431" providerId="ADAL" clId="{83AF0EAE-1449-4C87-B14F-64EAAA6BDADC}" dt="2023-03-09T03:32:43.439" v="55716"/>
          <ac:spMkLst>
            <pc:docMk/>
            <pc:sldMk cId="2379220786" sldId="2134804378"/>
            <ac:spMk id="108" creationId="{1B3714F0-FB11-6CFF-B870-4A13F4771623}"/>
          </ac:spMkLst>
        </pc:spChg>
        <pc:spChg chg="add mod replST">
          <ac:chgData name="Wenwen Zhang" userId="9dd81366-5d6f-445a-b031-6ea562624431" providerId="ADAL" clId="{83AF0EAE-1449-4C87-B14F-64EAAA6BDADC}" dt="2023-03-09T03:32:43.438" v="55711"/>
          <ac:spMkLst>
            <pc:docMk/>
            <pc:sldMk cId="2379220786" sldId="2134804378"/>
            <ac:spMk id="109" creationId="{B13C4469-198D-B852-22BB-6739427CE5F2}"/>
          </ac:spMkLst>
        </pc:spChg>
        <pc:spChg chg="add mod replST">
          <ac:chgData name="Wenwen Zhang" userId="9dd81366-5d6f-445a-b031-6ea562624431" providerId="ADAL" clId="{83AF0EAE-1449-4C87-B14F-64EAAA6BDADC}" dt="2023-03-09T03:32:43.439" v="55717"/>
          <ac:spMkLst>
            <pc:docMk/>
            <pc:sldMk cId="2379220786" sldId="2134804378"/>
            <ac:spMk id="110" creationId="{DC8BACB4-7C89-08C3-CDB4-9F3F60A76FE4}"/>
          </ac:spMkLst>
        </pc:spChg>
        <pc:spChg chg="add mod replST">
          <ac:chgData name="Wenwen Zhang" userId="9dd81366-5d6f-445a-b031-6ea562624431" providerId="ADAL" clId="{83AF0EAE-1449-4C87-B14F-64EAAA6BDADC}" dt="2023-03-09T03:32:43.437" v="55710"/>
          <ac:spMkLst>
            <pc:docMk/>
            <pc:sldMk cId="2379220786" sldId="2134804378"/>
            <ac:spMk id="111" creationId="{B0CDCDCF-3A08-7E90-1BAF-B8913112CDB9}"/>
          </ac:spMkLst>
        </pc:spChg>
        <pc:spChg chg="add mod replST">
          <ac:chgData name="Wenwen Zhang" userId="9dd81366-5d6f-445a-b031-6ea562624431" providerId="ADAL" clId="{83AF0EAE-1449-4C87-B14F-64EAAA6BDADC}" dt="2023-03-09T03:32:43.438" v="55713"/>
          <ac:spMkLst>
            <pc:docMk/>
            <pc:sldMk cId="2379220786" sldId="2134804378"/>
            <ac:spMk id="112" creationId="{B653AB44-96C0-EEBA-9451-224DB7D70401}"/>
          </ac:spMkLst>
        </pc:spChg>
        <pc:spChg chg="add mod replST">
          <ac:chgData name="Wenwen Zhang" userId="9dd81366-5d6f-445a-b031-6ea562624431" providerId="ADAL" clId="{83AF0EAE-1449-4C87-B14F-64EAAA6BDADC}" dt="2023-03-09T03:32:43.442" v="55728"/>
          <ac:spMkLst>
            <pc:docMk/>
            <pc:sldMk cId="2379220786" sldId="2134804378"/>
            <ac:spMk id="113" creationId="{057CDBA5-728A-FA1E-05B7-3BD89CF1BEE7}"/>
          </ac:spMkLst>
        </pc:spChg>
        <pc:spChg chg="add del mod replST">
          <ac:chgData name="Wenwen Zhang" userId="9dd81366-5d6f-445a-b031-6ea562624431" providerId="ADAL" clId="{83AF0EAE-1449-4C87-B14F-64EAAA6BDADC}" dt="2023-03-09T03:32:43.437" v="55709"/>
          <ac:spMkLst>
            <pc:docMk/>
            <pc:sldMk cId="2379220786" sldId="2134804378"/>
            <ac:spMk id="114" creationId="{E8635B72-F4D2-02CE-C7C7-9587809CECD5}"/>
          </ac:spMkLst>
        </pc:spChg>
        <pc:spChg chg="add mod replST">
          <ac:chgData name="Wenwen Zhang" userId="9dd81366-5d6f-445a-b031-6ea562624431" providerId="ADAL" clId="{83AF0EAE-1449-4C87-B14F-64EAAA6BDADC}" dt="2023-03-09T03:32:43.441" v="55723"/>
          <ac:spMkLst>
            <pc:docMk/>
            <pc:sldMk cId="2379220786" sldId="2134804378"/>
            <ac:spMk id="115" creationId="{1CC87783-104E-D409-4C73-ED257A0808EC}"/>
          </ac:spMkLst>
        </pc:spChg>
        <pc:spChg chg="add mod replST">
          <ac:chgData name="Wenwen Zhang" userId="9dd81366-5d6f-445a-b031-6ea562624431" providerId="ADAL" clId="{83AF0EAE-1449-4C87-B14F-64EAAA6BDADC}" dt="2023-03-09T03:32:43.442" v="55729"/>
          <ac:spMkLst>
            <pc:docMk/>
            <pc:sldMk cId="2379220786" sldId="2134804378"/>
            <ac:spMk id="116" creationId="{E5D67288-B5AD-F8FA-A2A2-F7DE4F29C023}"/>
          </ac:spMkLst>
        </pc:spChg>
        <pc:spChg chg="add mod replST">
          <ac:chgData name="Wenwen Zhang" userId="9dd81366-5d6f-445a-b031-6ea562624431" providerId="ADAL" clId="{83AF0EAE-1449-4C87-B14F-64EAAA6BDADC}" dt="2023-03-09T03:32:43.441" v="55724"/>
          <ac:spMkLst>
            <pc:docMk/>
            <pc:sldMk cId="2379220786" sldId="2134804378"/>
            <ac:spMk id="117" creationId="{509F5596-1340-D291-3256-B99CFC2B346C}"/>
          </ac:spMkLst>
        </pc:spChg>
        <pc:spChg chg="add mod replST">
          <ac:chgData name="Wenwen Zhang" userId="9dd81366-5d6f-445a-b031-6ea562624431" providerId="ADAL" clId="{83AF0EAE-1449-4C87-B14F-64EAAA6BDADC}" dt="2023-03-09T03:32:43.441" v="55726"/>
          <ac:spMkLst>
            <pc:docMk/>
            <pc:sldMk cId="2379220786" sldId="2134804378"/>
            <ac:spMk id="118" creationId="{08B8ABB9-04BA-07AF-BD6C-E7D71FFD0E2B}"/>
          </ac:spMkLst>
        </pc:spChg>
        <pc:spChg chg="add mod replST">
          <ac:chgData name="Wenwen Zhang" userId="9dd81366-5d6f-445a-b031-6ea562624431" providerId="ADAL" clId="{83AF0EAE-1449-4C87-B14F-64EAAA6BDADC}" dt="2023-03-09T03:32:43.438" v="55712"/>
          <ac:spMkLst>
            <pc:docMk/>
            <pc:sldMk cId="2379220786" sldId="2134804378"/>
            <ac:spMk id="119" creationId="{D6A00346-BF8C-0977-FC79-E34711910C06}"/>
          </ac:spMkLst>
        </pc:spChg>
        <pc:spChg chg="add mod replST">
          <ac:chgData name="Wenwen Zhang" userId="9dd81366-5d6f-445a-b031-6ea562624431" providerId="ADAL" clId="{83AF0EAE-1449-4C87-B14F-64EAAA6BDADC}" dt="2023-03-09T03:32:43.436" v="55706"/>
          <ac:spMkLst>
            <pc:docMk/>
            <pc:sldMk cId="2379220786" sldId="2134804378"/>
            <ac:spMk id="120" creationId="{227DD4AF-FBFF-94DA-B02A-6E7850C7E7D8}"/>
          </ac:spMkLst>
        </pc:spChg>
        <pc:spChg chg="add mod replST">
          <ac:chgData name="Wenwen Zhang" userId="9dd81366-5d6f-445a-b031-6ea562624431" providerId="ADAL" clId="{83AF0EAE-1449-4C87-B14F-64EAAA6BDADC}" dt="2023-03-09T03:32:43.438" v="55714"/>
          <ac:spMkLst>
            <pc:docMk/>
            <pc:sldMk cId="2379220786" sldId="2134804378"/>
            <ac:spMk id="121" creationId="{432AC78C-8996-78EA-2C3C-C914CB0BA96C}"/>
          </ac:spMkLst>
        </pc:spChg>
        <pc:spChg chg="add mod replST">
          <ac:chgData name="Wenwen Zhang" userId="9dd81366-5d6f-445a-b031-6ea562624431" providerId="ADAL" clId="{83AF0EAE-1449-4C87-B14F-64EAAA6BDADC}" dt="2023-03-09T03:32:43.442" v="55727"/>
          <ac:spMkLst>
            <pc:docMk/>
            <pc:sldMk cId="2379220786" sldId="2134804378"/>
            <ac:spMk id="122" creationId="{211D1667-71CF-DAE2-F8DB-8BA875197FF5}"/>
          </ac:spMkLst>
        </pc:spChg>
        <pc:spChg chg="add mod replST">
          <ac:chgData name="Wenwen Zhang" userId="9dd81366-5d6f-445a-b031-6ea562624431" providerId="ADAL" clId="{83AF0EAE-1449-4C87-B14F-64EAAA6BDADC}" dt="2023-03-09T03:32:43.437" v="55707"/>
          <ac:spMkLst>
            <pc:docMk/>
            <pc:sldMk cId="2379220786" sldId="2134804378"/>
            <ac:spMk id="123" creationId="{4E8D93E6-7DB4-9D3D-D966-317FB4863F0A}"/>
          </ac:spMkLst>
        </pc:spChg>
        <pc:spChg chg="add mod replST">
          <ac:chgData name="Wenwen Zhang" userId="9dd81366-5d6f-445a-b031-6ea562624431" providerId="ADAL" clId="{83AF0EAE-1449-4C87-B14F-64EAAA6BDADC}" dt="2023-03-09T03:32:43.440" v="55719"/>
          <ac:spMkLst>
            <pc:docMk/>
            <pc:sldMk cId="2379220786" sldId="2134804378"/>
            <ac:spMk id="124" creationId="{F5416F8A-DB55-9CAE-1F3D-9BBF3DB9D7E4}"/>
          </ac:spMkLst>
        </pc:spChg>
        <pc:spChg chg="add mod replST">
          <ac:chgData name="Wenwen Zhang" userId="9dd81366-5d6f-445a-b031-6ea562624431" providerId="ADAL" clId="{83AF0EAE-1449-4C87-B14F-64EAAA6BDADC}" dt="2023-03-09T03:32:43.440" v="55720"/>
          <ac:spMkLst>
            <pc:docMk/>
            <pc:sldMk cId="2379220786" sldId="2134804378"/>
            <ac:spMk id="125" creationId="{2E1BE011-4D99-DC89-7007-EEEE1188A90E}"/>
          </ac:spMkLst>
        </pc:spChg>
        <pc:spChg chg="add mod replST">
          <ac:chgData name="Wenwen Zhang" userId="9dd81366-5d6f-445a-b031-6ea562624431" providerId="ADAL" clId="{83AF0EAE-1449-4C87-B14F-64EAAA6BDADC}" dt="2023-03-09T03:32:43.439" v="55718"/>
          <ac:spMkLst>
            <pc:docMk/>
            <pc:sldMk cId="2379220786" sldId="2134804378"/>
            <ac:spMk id="126" creationId="{2BA4A63C-91D0-B25D-6E71-FBE09FF4C474}"/>
          </ac:spMkLst>
        </pc:spChg>
        <pc:spChg chg="add mod replST">
          <ac:chgData name="Wenwen Zhang" userId="9dd81366-5d6f-445a-b031-6ea562624431" providerId="ADAL" clId="{83AF0EAE-1449-4C87-B14F-64EAAA6BDADC}" dt="2023-03-09T03:32:43.440" v="55721"/>
          <ac:spMkLst>
            <pc:docMk/>
            <pc:sldMk cId="2379220786" sldId="2134804378"/>
            <ac:spMk id="127" creationId="{8BF47315-055B-2430-AC40-B6919707E659}"/>
          </ac:spMkLst>
        </pc:spChg>
        <pc:spChg chg="add mod replST">
          <ac:chgData name="Wenwen Zhang" userId="9dd81366-5d6f-445a-b031-6ea562624431" providerId="ADAL" clId="{83AF0EAE-1449-4C87-B14F-64EAAA6BDADC}" dt="2023-03-09T03:32:43.439" v="55715"/>
          <ac:spMkLst>
            <pc:docMk/>
            <pc:sldMk cId="2379220786" sldId="2134804378"/>
            <ac:spMk id="128" creationId="{82957DE4-02C5-962B-D2C2-993D7C2172E4}"/>
          </ac:spMkLst>
        </pc:spChg>
        <pc:spChg chg="add mod replST">
          <ac:chgData name="Wenwen Zhang" userId="9dd81366-5d6f-445a-b031-6ea562624431" providerId="ADAL" clId="{83AF0EAE-1449-4C87-B14F-64EAAA6BDADC}" dt="2023-03-09T03:32:43.443" v="55738"/>
          <ac:spMkLst>
            <pc:docMk/>
            <pc:sldMk cId="2379220786" sldId="2134804378"/>
            <ac:spMk id="132" creationId="{A23A4658-6E59-77D4-37D9-17C9563BC8F5}"/>
          </ac:spMkLst>
        </pc:spChg>
        <pc:spChg chg="add mod replST">
          <ac:chgData name="Wenwen Zhang" userId="9dd81366-5d6f-445a-b031-6ea562624431" providerId="ADAL" clId="{83AF0EAE-1449-4C87-B14F-64EAAA6BDADC}" dt="2023-03-09T03:32:43.443" v="55737"/>
          <ac:spMkLst>
            <pc:docMk/>
            <pc:sldMk cId="2379220786" sldId="2134804378"/>
            <ac:spMk id="133" creationId="{B208B45B-6E7F-879C-F7BD-53CF3859C404}"/>
          </ac:spMkLst>
        </pc:spChg>
        <pc:spChg chg="add del mod replST">
          <ac:chgData name="Wenwen Zhang" userId="9dd81366-5d6f-445a-b031-6ea562624431" providerId="ADAL" clId="{83AF0EAE-1449-4C87-B14F-64EAAA6BDADC}" dt="2023-03-06T16:25:07.085" v="45394"/>
          <ac:spMkLst>
            <pc:docMk/>
            <pc:sldMk cId="2379220786" sldId="2134804378"/>
            <ac:spMk id="134" creationId="{5C17C063-9A4B-B9AD-EABA-9D654625AACE}"/>
          </ac:spMkLst>
        </pc:spChg>
        <pc:spChg chg="add mod ord replST">
          <ac:chgData name="Wenwen Zhang" userId="9dd81366-5d6f-445a-b031-6ea562624431" providerId="ADAL" clId="{83AF0EAE-1449-4C87-B14F-64EAAA6BDADC}" dt="2023-03-09T03:32:43.444" v="55740"/>
          <ac:spMkLst>
            <pc:docMk/>
            <pc:sldMk cId="2379220786" sldId="2134804378"/>
            <ac:spMk id="135" creationId="{3B7515DF-22AD-A557-30E6-B8261A562FA2}"/>
          </ac:spMkLst>
        </pc:spChg>
        <pc:spChg chg="add mod ord replST">
          <ac:chgData name="Wenwen Zhang" userId="9dd81366-5d6f-445a-b031-6ea562624431" providerId="ADAL" clId="{83AF0EAE-1449-4C87-B14F-64EAAA6BDADC}" dt="2023-03-09T03:32:43.444" v="55742"/>
          <ac:spMkLst>
            <pc:docMk/>
            <pc:sldMk cId="2379220786" sldId="2134804378"/>
            <ac:spMk id="136" creationId="{C6E8FB93-ECBB-BC92-DAF9-D87490248993}"/>
          </ac:spMkLst>
        </pc:spChg>
        <pc:spChg chg="add mod ord replST">
          <ac:chgData name="Wenwen Zhang" userId="9dd81366-5d6f-445a-b031-6ea562624431" providerId="ADAL" clId="{83AF0EAE-1449-4C87-B14F-64EAAA6BDADC}" dt="2023-03-09T03:32:43.444" v="55744"/>
          <ac:spMkLst>
            <pc:docMk/>
            <pc:sldMk cId="2379220786" sldId="2134804378"/>
            <ac:spMk id="137" creationId="{1EBD1EBF-C7D5-8C7C-3271-B5E201E7016F}"/>
          </ac:spMkLst>
        </pc:spChg>
        <pc:spChg chg="add del mod modVis">
          <ac:chgData name="Wenwen Zhang" userId="9dd81366-5d6f-445a-b031-6ea562624431" providerId="ADAL" clId="{83AF0EAE-1449-4C87-B14F-64EAAA6BDADC}" dt="2023-03-06T14:19:05.521" v="26015"/>
          <ac:spMkLst>
            <pc:docMk/>
            <pc:sldMk cId="2379220786" sldId="2134804378"/>
            <ac:spMk id="138" creationId="{2C9EF4B1-4737-A786-B7F0-90CE00A031B4}"/>
          </ac:spMkLst>
        </pc:spChg>
        <pc:spChg chg="add del mod modVis">
          <ac:chgData name="Wenwen Zhang" userId="9dd81366-5d6f-445a-b031-6ea562624431" providerId="ADAL" clId="{83AF0EAE-1449-4C87-B14F-64EAAA6BDADC}" dt="2023-03-06T14:19:09.269" v="26497"/>
          <ac:spMkLst>
            <pc:docMk/>
            <pc:sldMk cId="2379220786" sldId="2134804378"/>
            <ac:spMk id="140" creationId="{32B549C3-B598-D3FB-3715-65202FFF17AA}"/>
          </ac:spMkLst>
        </pc:spChg>
        <pc:spChg chg="add del mod modVis">
          <ac:chgData name="Wenwen Zhang" userId="9dd81366-5d6f-445a-b031-6ea562624431" providerId="ADAL" clId="{83AF0EAE-1449-4C87-B14F-64EAAA6BDADC}" dt="2023-03-06T14:19:33.390" v="39167"/>
          <ac:spMkLst>
            <pc:docMk/>
            <pc:sldMk cId="2379220786" sldId="2134804378"/>
            <ac:spMk id="142" creationId="{F79715BD-4FD4-D010-B23F-3CED514BEBD0}"/>
          </ac:spMkLst>
        </pc:spChg>
        <pc:spChg chg="add mod replST delST">
          <ac:chgData name="Wenwen Zhang" userId="9dd81366-5d6f-445a-b031-6ea562624431" providerId="ADAL" clId="{83AF0EAE-1449-4C87-B14F-64EAAA6BDADC}" dt="2023-03-06T14:19:33.390" v="39167"/>
          <ac:spMkLst>
            <pc:docMk/>
            <pc:sldMk cId="2379220786" sldId="2134804378"/>
            <ac:spMk id="143"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44"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45"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46"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47" creationId="{96DB64E7-7450-5BAA-7DCA-6F75AE12EF02}"/>
          </ac:spMkLst>
        </pc:spChg>
        <pc:spChg chg="del mod">
          <ac:chgData name="Wenwen Zhang" userId="9dd81366-5d6f-445a-b031-6ea562624431" providerId="ADAL" clId="{83AF0EAE-1449-4C87-B14F-64EAAA6BDADC}" dt="2023-03-06T14:20:00.040" v="43064"/>
          <ac:spMkLst>
            <pc:docMk/>
            <pc:sldMk cId="2379220786" sldId="2134804378"/>
            <ac:spMk id="149" creationId="{2EE848B4-1F42-6329-F252-6658C227E1F3}"/>
          </ac:spMkLst>
        </pc:spChg>
        <pc:spChg chg="add mod replST delST">
          <ac:chgData name="Wenwen Zhang" userId="9dd81366-5d6f-445a-b031-6ea562624431" providerId="ADAL" clId="{83AF0EAE-1449-4C87-B14F-64EAAA6BDADC}" dt="2023-03-06T14:19:33.390" v="39167"/>
          <ac:spMkLst>
            <pc:docMk/>
            <pc:sldMk cId="2379220786" sldId="2134804378"/>
            <ac:spMk id="150"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51"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52"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53"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54"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55"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56"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57"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58"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59"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60"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61"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62"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63"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64"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65"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66"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67" creationId="{96DB64E7-7450-5BAA-7DCA-6F75AE12EF02}"/>
          </ac:spMkLst>
        </pc:spChg>
        <pc:spChg chg="add mod replST delST">
          <ac:chgData name="Wenwen Zhang" userId="9dd81366-5d6f-445a-b031-6ea562624431" providerId="ADAL" clId="{83AF0EAE-1449-4C87-B14F-64EAAA6BDADC}" dt="2023-03-06T14:19:33.390" v="39167"/>
          <ac:spMkLst>
            <pc:docMk/>
            <pc:sldMk cId="2379220786" sldId="2134804378"/>
            <ac:spMk id="168" creationId="{96DB64E7-7450-5BAA-7DCA-6F75AE12EF02}"/>
          </ac:spMkLst>
        </pc:spChg>
        <pc:spChg chg="add del mod replST delST">
          <ac:chgData name="Wenwen Zhang" userId="9dd81366-5d6f-445a-b031-6ea562624431" providerId="ADAL" clId="{83AF0EAE-1449-4C87-B14F-64EAAA6BDADC}" dt="2023-03-06T14:19:33.390" v="39167"/>
          <ac:spMkLst>
            <pc:docMk/>
            <pc:sldMk cId="2379220786" sldId="2134804378"/>
            <ac:spMk id="169" creationId="{96DB64E7-7450-5BAA-7DCA-6F75AE12EF02}"/>
          </ac:spMkLst>
        </pc:spChg>
        <pc:spChg chg="mod ord">
          <ac:chgData name="Wenwen Zhang" userId="9dd81366-5d6f-445a-b031-6ea562624431" providerId="ADAL" clId="{83AF0EAE-1449-4C87-B14F-64EAAA6BDADC}" dt="2023-03-09T03:32:43.428" v="55637"/>
          <ac:spMkLst>
            <pc:docMk/>
            <pc:sldMk cId="2379220786" sldId="2134804378"/>
            <ac:spMk id="181" creationId="{7CDC462B-DC01-E701-64AE-27E4845FB608}"/>
          </ac:spMkLst>
        </pc:spChg>
        <pc:spChg chg="add del mod modVis">
          <ac:chgData name="Wenwen Zhang" userId="9dd81366-5d6f-445a-b031-6ea562624431" providerId="ADAL" clId="{83AF0EAE-1449-4C87-B14F-64EAAA6BDADC}" dt="2023-03-06T14:19:32.162" v="37264"/>
          <ac:spMkLst>
            <pc:docMk/>
            <pc:sldMk cId="2379220786" sldId="2134804378"/>
            <ac:spMk id="197" creationId="{4B168B61-64B0-A875-A3B0-BF8D569CEDA6}"/>
          </ac:spMkLst>
        </pc:spChg>
        <pc:spChg chg="add del mod modVis">
          <ac:chgData name="Wenwen Zhang" userId="9dd81366-5d6f-445a-b031-6ea562624431" providerId="ADAL" clId="{83AF0EAE-1449-4C87-B14F-64EAAA6BDADC}" dt="2023-03-06T14:19:18.757" v="31762" actId="962"/>
          <ac:spMkLst>
            <pc:docMk/>
            <pc:sldMk cId="2379220786" sldId="2134804378"/>
            <ac:spMk id="199" creationId="{E71F28D3-0876-3E82-7C02-4316C4409C18}"/>
          </ac:spMkLst>
        </pc:spChg>
        <pc:spChg chg="add del mod modVis">
          <ac:chgData name="Wenwen Zhang" userId="9dd81366-5d6f-445a-b031-6ea562624431" providerId="ADAL" clId="{83AF0EAE-1449-4C87-B14F-64EAAA6BDADC}" dt="2023-03-06T14:19:18.667" v="31441" actId="962"/>
          <ac:spMkLst>
            <pc:docMk/>
            <pc:sldMk cId="2379220786" sldId="2134804378"/>
            <ac:spMk id="201" creationId="{B9529345-51A0-CB44-2D09-4F167780C63A}"/>
          </ac:spMkLst>
        </pc:spChg>
        <pc:spChg chg="add del mod modVis">
          <ac:chgData name="Wenwen Zhang" userId="9dd81366-5d6f-445a-b031-6ea562624431" providerId="ADAL" clId="{83AF0EAE-1449-4C87-B14F-64EAAA6BDADC}" dt="2023-03-06T14:19:32.162" v="37264"/>
          <ac:spMkLst>
            <pc:docMk/>
            <pc:sldMk cId="2379220786" sldId="2134804378"/>
            <ac:spMk id="203" creationId="{A02DFA6C-C594-F3C7-03E7-5E48127C85DD}"/>
          </ac:spMkLst>
        </pc:spChg>
        <pc:spChg chg="add del mod modVis">
          <ac:chgData name="Wenwen Zhang" userId="9dd81366-5d6f-445a-b031-6ea562624431" providerId="ADAL" clId="{83AF0EAE-1449-4C87-B14F-64EAAA6BDADC}" dt="2023-03-06T14:19:32.162" v="37264"/>
          <ac:spMkLst>
            <pc:docMk/>
            <pc:sldMk cId="2379220786" sldId="2134804378"/>
            <ac:spMk id="205" creationId="{101E1E73-997F-790C-45AE-4443990EAD60}"/>
          </ac:spMkLst>
        </pc:spChg>
        <pc:spChg chg="add del mod modVis">
          <ac:chgData name="Wenwen Zhang" userId="9dd81366-5d6f-445a-b031-6ea562624431" providerId="ADAL" clId="{83AF0EAE-1449-4C87-B14F-64EAAA6BDADC}" dt="2023-03-06T14:19:24.094" v="34964" actId="962"/>
          <ac:spMkLst>
            <pc:docMk/>
            <pc:sldMk cId="2379220786" sldId="2134804378"/>
            <ac:spMk id="207" creationId="{4501FD58-CE26-FEAC-08FA-5A79C9994E0C}"/>
          </ac:spMkLst>
        </pc:spChg>
        <pc:spChg chg="add del mod modVis">
          <ac:chgData name="Wenwen Zhang" userId="9dd81366-5d6f-445a-b031-6ea562624431" providerId="ADAL" clId="{83AF0EAE-1449-4C87-B14F-64EAAA6BDADC}" dt="2023-03-06T14:19:23.990" v="34643" actId="962"/>
          <ac:spMkLst>
            <pc:docMk/>
            <pc:sldMk cId="2379220786" sldId="2134804378"/>
            <ac:spMk id="209" creationId="{437F9A70-4CE8-6E2E-93F4-98D2EFDA4455}"/>
          </ac:spMkLst>
        </pc:spChg>
        <pc:spChg chg="add del mod modVis">
          <ac:chgData name="Wenwen Zhang" userId="9dd81366-5d6f-445a-b031-6ea562624431" providerId="ADAL" clId="{83AF0EAE-1449-4C87-B14F-64EAAA6BDADC}" dt="2023-03-06T14:19:32.162" v="37264"/>
          <ac:spMkLst>
            <pc:docMk/>
            <pc:sldMk cId="2379220786" sldId="2134804378"/>
            <ac:spMk id="211" creationId="{BD879790-441C-5BE5-0EC7-4233A8B23B28}"/>
          </ac:spMkLst>
        </pc:spChg>
        <pc:spChg chg="add del mod modVis">
          <ac:chgData name="Wenwen Zhang" userId="9dd81366-5d6f-445a-b031-6ea562624431" providerId="ADAL" clId="{83AF0EAE-1449-4C87-B14F-64EAAA6BDADC}" dt="2023-03-06T14:19:42.065" v="39210"/>
          <ac:spMkLst>
            <pc:docMk/>
            <pc:sldMk cId="2379220786" sldId="2134804378"/>
            <ac:spMk id="213" creationId="{26611B54-4FA0-7151-2FAC-CA05326334CE}"/>
          </ac:spMkLst>
        </pc:spChg>
        <pc:spChg chg="add del mod modVis">
          <ac:chgData name="Wenwen Zhang" userId="9dd81366-5d6f-445a-b031-6ea562624431" providerId="ADAL" clId="{83AF0EAE-1449-4C87-B14F-64EAAA6BDADC}" dt="2023-03-06T14:19:46.679" v="43000"/>
          <ac:spMkLst>
            <pc:docMk/>
            <pc:sldMk cId="2379220786" sldId="2134804378"/>
            <ac:spMk id="214" creationId="{965945C9-A0C7-6FE7-EC7C-C1CBEB430115}"/>
          </ac:spMkLst>
        </pc:spChg>
        <pc:spChg chg="add del mod replST">
          <ac:chgData name="Wenwen Zhang" userId="9dd81366-5d6f-445a-b031-6ea562624431" providerId="ADAL" clId="{83AF0EAE-1449-4C87-B14F-64EAAA6BDADC}" dt="2023-03-06T16:17:09.958" v="44339"/>
          <ac:spMkLst>
            <pc:docMk/>
            <pc:sldMk cId="2379220786" sldId="2134804378"/>
            <ac:spMk id="215" creationId="{96DB64E7-7450-5BAA-7DCA-6F75AE12EF02}"/>
          </ac:spMkLst>
        </pc:spChg>
        <pc:spChg chg="add del mod replST">
          <ac:chgData name="Wenwen Zhang" userId="9dd81366-5d6f-445a-b031-6ea562624431" providerId="ADAL" clId="{83AF0EAE-1449-4C87-B14F-64EAAA6BDADC}" dt="2023-03-06T16:17:09.957" v="44336"/>
          <ac:spMkLst>
            <pc:docMk/>
            <pc:sldMk cId="2379220786" sldId="2134804378"/>
            <ac:spMk id="216" creationId="{96DB64E7-7450-5BAA-7DCA-6F75AE12EF02}"/>
          </ac:spMkLst>
        </pc:spChg>
        <pc:spChg chg="add del mod replST">
          <ac:chgData name="Wenwen Zhang" userId="9dd81366-5d6f-445a-b031-6ea562624431" providerId="ADAL" clId="{83AF0EAE-1449-4C87-B14F-64EAAA6BDADC}" dt="2023-03-06T16:17:09.957" v="44333"/>
          <ac:spMkLst>
            <pc:docMk/>
            <pc:sldMk cId="2379220786" sldId="2134804378"/>
            <ac:spMk id="217" creationId="{96DB64E7-7450-5BAA-7DCA-6F75AE12EF02}"/>
          </ac:spMkLst>
        </pc:spChg>
        <pc:spChg chg="add del mod replST">
          <ac:chgData name="Wenwen Zhang" userId="9dd81366-5d6f-445a-b031-6ea562624431" providerId="ADAL" clId="{83AF0EAE-1449-4C87-B14F-64EAAA6BDADC}" dt="2023-03-06T16:17:09.956" v="44330"/>
          <ac:spMkLst>
            <pc:docMk/>
            <pc:sldMk cId="2379220786" sldId="2134804378"/>
            <ac:spMk id="218" creationId="{96DB64E7-7450-5BAA-7DCA-6F75AE12EF02}"/>
          </ac:spMkLst>
        </pc:spChg>
        <pc:spChg chg="add del mod replST">
          <ac:chgData name="Wenwen Zhang" userId="9dd81366-5d6f-445a-b031-6ea562624431" providerId="ADAL" clId="{83AF0EAE-1449-4C87-B14F-64EAAA6BDADC}" dt="2023-03-06T16:17:09.955" v="44327"/>
          <ac:spMkLst>
            <pc:docMk/>
            <pc:sldMk cId="2379220786" sldId="2134804378"/>
            <ac:spMk id="219" creationId="{96DB64E7-7450-5BAA-7DCA-6F75AE12EF02}"/>
          </ac:spMkLst>
        </pc:spChg>
        <pc:spChg chg="add del mod replST">
          <ac:chgData name="Wenwen Zhang" userId="9dd81366-5d6f-445a-b031-6ea562624431" providerId="ADAL" clId="{83AF0EAE-1449-4C87-B14F-64EAAA6BDADC}" dt="2023-03-06T16:17:09.955" v="44324"/>
          <ac:spMkLst>
            <pc:docMk/>
            <pc:sldMk cId="2379220786" sldId="2134804378"/>
            <ac:spMk id="220" creationId="{96DB64E7-7450-5BAA-7DCA-6F75AE12EF02}"/>
          </ac:spMkLst>
        </pc:spChg>
        <pc:spChg chg="add del mod replST">
          <ac:chgData name="Wenwen Zhang" userId="9dd81366-5d6f-445a-b031-6ea562624431" providerId="ADAL" clId="{83AF0EAE-1449-4C87-B14F-64EAAA6BDADC}" dt="2023-03-06T16:17:09.954" v="44321"/>
          <ac:spMkLst>
            <pc:docMk/>
            <pc:sldMk cId="2379220786" sldId="2134804378"/>
            <ac:spMk id="221" creationId="{96DB64E7-7450-5BAA-7DCA-6F75AE12EF02}"/>
          </ac:spMkLst>
        </pc:spChg>
        <pc:spChg chg="add del mod replST">
          <ac:chgData name="Wenwen Zhang" userId="9dd81366-5d6f-445a-b031-6ea562624431" providerId="ADAL" clId="{83AF0EAE-1449-4C87-B14F-64EAAA6BDADC}" dt="2023-03-06T16:17:09.953" v="44318"/>
          <ac:spMkLst>
            <pc:docMk/>
            <pc:sldMk cId="2379220786" sldId="2134804378"/>
            <ac:spMk id="222" creationId="{96DB64E7-7450-5BAA-7DCA-6F75AE12EF02}"/>
          </ac:spMkLst>
        </pc:spChg>
        <pc:spChg chg="add del mod replST">
          <ac:chgData name="Wenwen Zhang" userId="9dd81366-5d6f-445a-b031-6ea562624431" providerId="ADAL" clId="{83AF0EAE-1449-4C87-B14F-64EAAA6BDADC}" dt="2023-03-06T16:17:09.953" v="44315"/>
          <ac:spMkLst>
            <pc:docMk/>
            <pc:sldMk cId="2379220786" sldId="2134804378"/>
            <ac:spMk id="223" creationId="{96DB64E7-7450-5BAA-7DCA-6F75AE12EF02}"/>
          </ac:spMkLst>
        </pc:spChg>
        <pc:spChg chg="add del mod replST">
          <ac:chgData name="Wenwen Zhang" userId="9dd81366-5d6f-445a-b031-6ea562624431" providerId="ADAL" clId="{83AF0EAE-1449-4C87-B14F-64EAAA6BDADC}" dt="2023-03-06T16:17:09.952" v="44312"/>
          <ac:spMkLst>
            <pc:docMk/>
            <pc:sldMk cId="2379220786" sldId="2134804378"/>
            <ac:spMk id="224" creationId="{96DB64E7-7450-5BAA-7DCA-6F75AE12EF02}"/>
          </ac:spMkLst>
        </pc:spChg>
        <pc:spChg chg="add del mod replST">
          <ac:chgData name="Wenwen Zhang" userId="9dd81366-5d6f-445a-b031-6ea562624431" providerId="ADAL" clId="{83AF0EAE-1449-4C87-B14F-64EAAA6BDADC}" dt="2023-03-06T16:17:09.951" v="44309"/>
          <ac:spMkLst>
            <pc:docMk/>
            <pc:sldMk cId="2379220786" sldId="2134804378"/>
            <ac:spMk id="225" creationId="{96DB64E7-7450-5BAA-7DCA-6F75AE12EF02}"/>
          </ac:spMkLst>
        </pc:spChg>
        <pc:spChg chg="add del mod replST">
          <ac:chgData name="Wenwen Zhang" userId="9dd81366-5d6f-445a-b031-6ea562624431" providerId="ADAL" clId="{83AF0EAE-1449-4C87-B14F-64EAAA6BDADC}" dt="2023-03-06T16:17:09.950" v="44306"/>
          <ac:spMkLst>
            <pc:docMk/>
            <pc:sldMk cId="2379220786" sldId="2134804378"/>
            <ac:spMk id="226" creationId="{96DB64E7-7450-5BAA-7DCA-6F75AE12EF02}"/>
          </ac:spMkLst>
        </pc:spChg>
        <pc:spChg chg="add del mod replST">
          <ac:chgData name="Wenwen Zhang" userId="9dd81366-5d6f-445a-b031-6ea562624431" providerId="ADAL" clId="{83AF0EAE-1449-4C87-B14F-64EAAA6BDADC}" dt="2023-03-06T16:17:09.950" v="44303"/>
          <ac:spMkLst>
            <pc:docMk/>
            <pc:sldMk cId="2379220786" sldId="2134804378"/>
            <ac:spMk id="227" creationId="{96DB64E7-7450-5BAA-7DCA-6F75AE12EF02}"/>
          </ac:spMkLst>
        </pc:spChg>
        <pc:spChg chg="add del mod replST">
          <ac:chgData name="Wenwen Zhang" userId="9dd81366-5d6f-445a-b031-6ea562624431" providerId="ADAL" clId="{83AF0EAE-1449-4C87-B14F-64EAAA6BDADC}" dt="2023-03-06T16:17:09.949" v="44300"/>
          <ac:spMkLst>
            <pc:docMk/>
            <pc:sldMk cId="2379220786" sldId="2134804378"/>
            <ac:spMk id="228" creationId="{96DB64E7-7450-5BAA-7DCA-6F75AE12EF02}"/>
          </ac:spMkLst>
        </pc:spChg>
        <pc:spChg chg="add del mod replST">
          <ac:chgData name="Wenwen Zhang" userId="9dd81366-5d6f-445a-b031-6ea562624431" providerId="ADAL" clId="{83AF0EAE-1449-4C87-B14F-64EAAA6BDADC}" dt="2023-03-06T16:17:09.948" v="44297"/>
          <ac:spMkLst>
            <pc:docMk/>
            <pc:sldMk cId="2379220786" sldId="2134804378"/>
            <ac:spMk id="229" creationId="{96DB64E7-7450-5BAA-7DCA-6F75AE12EF02}"/>
          </ac:spMkLst>
        </pc:spChg>
        <pc:spChg chg="add del mod replST">
          <ac:chgData name="Wenwen Zhang" userId="9dd81366-5d6f-445a-b031-6ea562624431" providerId="ADAL" clId="{83AF0EAE-1449-4C87-B14F-64EAAA6BDADC}" dt="2023-03-06T16:17:09.948" v="44294"/>
          <ac:spMkLst>
            <pc:docMk/>
            <pc:sldMk cId="2379220786" sldId="2134804378"/>
            <ac:spMk id="230" creationId="{96DB64E7-7450-5BAA-7DCA-6F75AE12EF02}"/>
          </ac:spMkLst>
        </pc:spChg>
        <pc:spChg chg="add del mod replST">
          <ac:chgData name="Wenwen Zhang" userId="9dd81366-5d6f-445a-b031-6ea562624431" providerId="ADAL" clId="{83AF0EAE-1449-4C87-B14F-64EAAA6BDADC}" dt="2023-03-06T16:17:09.947" v="44291"/>
          <ac:spMkLst>
            <pc:docMk/>
            <pc:sldMk cId="2379220786" sldId="2134804378"/>
            <ac:spMk id="231" creationId="{96DB64E7-7450-5BAA-7DCA-6F75AE12EF02}"/>
          </ac:spMkLst>
        </pc:spChg>
        <pc:spChg chg="add del mod replST">
          <ac:chgData name="Wenwen Zhang" userId="9dd81366-5d6f-445a-b031-6ea562624431" providerId="ADAL" clId="{83AF0EAE-1449-4C87-B14F-64EAAA6BDADC}" dt="2023-03-06T16:17:09.946" v="44288"/>
          <ac:spMkLst>
            <pc:docMk/>
            <pc:sldMk cId="2379220786" sldId="2134804378"/>
            <ac:spMk id="232" creationId="{96DB64E7-7450-5BAA-7DCA-6F75AE12EF02}"/>
          </ac:spMkLst>
        </pc:spChg>
        <pc:spChg chg="add del mod replST">
          <ac:chgData name="Wenwen Zhang" userId="9dd81366-5d6f-445a-b031-6ea562624431" providerId="ADAL" clId="{83AF0EAE-1449-4C87-B14F-64EAAA6BDADC}" dt="2023-03-06T16:17:09.945" v="44285"/>
          <ac:spMkLst>
            <pc:docMk/>
            <pc:sldMk cId="2379220786" sldId="2134804378"/>
            <ac:spMk id="233" creationId="{96DB64E7-7450-5BAA-7DCA-6F75AE12EF02}"/>
          </ac:spMkLst>
        </pc:spChg>
        <pc:spChg chg="add del mod replST">
          <ac:chgData name="Wenwen Zhang" userId="9dd81366-5d6f-445a-b031-6ea562624431" providerId="ADAL" clId="{83AF0EAE-1449-4C87-B14F-64EAAA6BDADC}" dt="2023-03-06T16:17:09.945" v="44282"/>
          <ac:spMkLst>
            <pc:docMk/>
            <pc:sldMk cId="2379220786" sldId="2134804378"/>
            <ac:spMk id="234" creationId="{96DB64E7-7450-5BAA-7DCA-6F75AE12EF02}"/>
          </ac:spMkLst>
        </pc:spChg>
        <pc:spChg chg="add del mod replST">
          <ac:chgData name="Wenwen Zhang" userId="9dd81366-5d6f-445a-b031-6ea562624431" providerId="ADAL" clId="{83AF0EAE-1449-4C87-B14F-64EAAA6BDADC}" dt="2023-03-06T16:17:09.944" v="44279"/>
          <ac:spMkLst>
            <pc:docMk/>
            <pc:sldMk cId="2379220786" sldId="2134804378"/>
            <ac:spMk id="235" creationId="{96DB64E7-7450-5BAA-7DCA-6F75AE12EF02}"/>
          </ac:spMkLst>
        </pc:spChg>
        <pc:spChg chg="add del mod replST">
          <ac:chgData name="Wenwen Zhang" userId="9dd81366-5d6f-445a-b031-6ea562624431" providerId="ADAL" clId="{83AF0EAE-1449-4C87-B14F-64EAAA6BDADC}" dt="2023-03-06T16:17:09.943" v="44276"/>
          <ac:spMkLst>
            <pc:docMk/>
            <pc:sldMk cId="2379220786" sldId="2134804378"/>
            <ac:spMk id="236" creationId="{96DB64E7-7450-5BAA-7DCA-6F75AE12EF02}"/>
          </ac:spMkLst>
        </pc:spChg>
        <pc:spChg chg="add del mod replST">
          <ac:chgData name="Wenwen Zhang" userId="9dd81366-5d6f-445a-b031-6ea562624431" providerId="ADAL" clId="{83AF0EAE-1449-4C87-B14F-64EAAA6BDADC}" dt="2023-03-06T16:17:09.942" v="44273"/>
          <ac:spMkLst>
            <pc:docMk/>
            <pc:sldMk cId="2379220786" sldId="2134804378"/>
            <ac:spMk id="237" creationId="{96DB64E7-7450-5BAA-7DCA-6F75AE12EF02}"/>
          </ac:spMkLst>
        </pc:spChg>
        <pc:spChg chg="add del mod replST">
          <ac:chgData name="Wenwen Zhang" userId="9dd81366-5d6f-445a-b031-6ea562624431" providerId="ADAL" clId="{83AF0EAE-1449-4C87-B14F-64EAAA6BDADC}" dt="2023-03-06T16:17:09.942" v="44270"/>
          <ac:spMkLst>
            <pc:docMk/>
            <pc:sldMk cId="2379220786" sldId="2134804378"/>
            <ac:spMk id="238" creationId="{96DB64E7-7450-5BAA-7DCA-6F75AE12EF02}"/>
          </ac:spMkLst>
        </pc:spChg>
        <pc:spChg chg="add del mod replST">
          <ac:chgData name="Wenwen Zhang" userId="9dd81366-5d6f-445a-b031-6ea562624431" providerId="ADAL" clId="{83AF0EAE-1449-4C87-B14F-64EAAA6BDADC}" dt="2023-03-06T16:17:09.941" v="44267"/>
          <ac:spMkLst>
            <pc:docMk/>
            <pc:sldMk cId="2379220786" sldId="2134804378"/>
            <ac:spMk id="239" creationId="{96DB64E7-7450-5BAA-7DCA-6F75AE12EF02}"/>
          </ac:spMkLst>
        </pc:spChg>
        <pc:spChg chg="add del mod modVis">
          <ac:chgData name="Wenwen Zhang" userId="9dd81366-5d6f-445a-b031-6ea562624431" providerId="ADAL" clId="{83AF0EAE-1449-4C87-B14F-64EAAA6BDADC}" dt="2023-03-06T14:19:53.342" v="43047"/>
          <ac:spMkLst>
            <pc:docMk/>
            <pc:sldMk cId="2379220786" sldId="2134804378"/>
            <ac:spMk id="266" creationId="{953D0CC5-B2FE-637E-03AE-40CA9FB92A58}"/>
          </ac:spMkLst>
        </pc:spChg>
        <pc:spChg chg="add del mod modVis">
          <ac:chgData name="Wenwen Zhang" userId="9dd81366-5d6f-445a-b031-6ea562624431" providerId="ADAL" clId="{83AF0EAE-1449-4C87-B14F-64EAAA6BDADC}" dt="2023-03-06T14:20:04.560" v="43793"/>
          <ac:spMkLst>
            <pc:docMk/>
            <pc:sldMk cId="2379220786" sldId="2134804378"/>
            <ac:spMk id="267" creationId="{E8E7D01B-E905-00F0-576C-EA33869CBAD1}"/>
          </ac:spMkLst>
        </pc:spChg>
        <pc:spChg chg="add del mod modVis">
          <ac:chgData name="Wenwen Zhang" userId="9dd81366-5d6f-445a-b031-6ea562624431" providerId="ADAL" clId="{83AF0EAE-1449-4C87-B14F-64EAAA6BDADC}" dt="2023-03-06T16:17:06.273" v="44168"/>
          <ac:spMkLst>
            <pc:docMk/>
            <pc:sldMk cId="2379220786" sldId="2134804378"/>
            <ac:spMk id="269" creationId="{E151E23F-8300-92F6-B752-8F1738D12AFD}"/>
          </ac:spMkLst>
        </pc:spChg>
        <pc:spChg chg="add del mod modVis">
          <ac:chgData name="Wenwen Zhang" userId="9dd81366-5d6f-445a-b031-6ea562624431" providerId="ADAL" clId="{83AF0EAE-1449-4C87-B14F-64EAAA6BDADC}" dt="2023-03-06T16:17:10.014" v="44500"/>
          <ac:spMkLst>
            <pc:docMk/>
            <pc:sldMk cId="2379220786" sldId="2134804378"/>
            <ac:spMk id="271" creationId="{5323724E-CC48-FC34-C042-16ABB155C450}"/>
          </ac:spMkLst>
        </pc:spChg>
        <pc:spChg chg="add mod replST">
          <ac:chgData name="Wenwen Zhang" userId="9dd81366-5d6f-445a-b031-6ea562624431" providerId="ADAL" clId="{83AF0EAE-1449-4C87-B14F-64EAAA6BDADC}" dt="2023-03-09T03:33:06.957" v="55768"/>
          <ac:spMkLst>
            <pc:docMk/>
            <pc:sldMk cId="2379220786" sldId="2134804378"/>
            <ac:spMk id="273" creationId="{A52F662B-8EA0-8C7F-49C9-EDAE3CCBB551}"/>
          </ac:spMkLst>
        </pc:spChg>
        <pc:spChg chg="add del mod modVis">
          <ac:chgData name="Wenwen Zhang" userId="9dd81366-5d6f-445a-b031-6ea562624431" providerId="ADAL" clId="{83AF0EAE-1449-4C87-B14F-64EAAA6BDADC}" dt="2023-03-06T16:17:18.250" v="44549"/>
          <ac:spMkLst>
            <pc:docMk/>
            <pc:sldMk cId="2379220786" sldId="2134804378"/>
            <ac:spMk id="274" creationId="{74EB7579-E439-08DA-8133-D038FD48F763}"/>
          </ac:spMkLst>
        </pc:spChg>
        <pc:spChg chg="add del mod modVis">
          <ac:chgData name="Wenwen Zhang" userId="9dd81366-5d6f-445a-b031-6ea562624431" providerId="ADAL" clId="{83AF0EAE-1449-4C87-B14F-64EAAA6BDADC}" dt="2023-03-06T16:25:07.215" v="45649"/>
          <ac:spMkLst>
            <pc:docMk/>
            <pc:sldMk cId="2379220786" sldId="2134804378"/>
            <ac:spMk id="275" creationId="{D61BB57D-4195-8BE4-0D27-0DD375544739}"/>
          </ac:spMkLst>
        </pc:spChg>
        <pc:graphicFrameChg chg="add mod ord replST">
          <ac:chgData name="Wenwen Zhang" userId="9dd81366-5d6f-445a-b031-6ea562624431" providerId="ADAL" clId="{83AF0EAE-1449-4C87-B14F-64EAAA6BDADC}" dt="2023-03-09T03:32:43.436" v="55705"/>
          <ac:graphicFrameMkLst>
            <pc:docMk/>
            <pc:sldMk cId="2379220786" sldId="2134804378"/>
            <ac:graphicFrameMk id="5" creationId="{CE95D88C-4C45-3F2E-3A04-BD41328E4757}"/>
          </ac:graphicFrameMkLst>
        </pc:graphicFrameChg>
        <pc:graphicFrameChg chg="del">
          <ac:chgData name="Wenwen Zhang" userId="9dd81366-5d6f-445a-b031-6ea562624431" providerId="ADAL" clId="{83AF0EAE-1449-4C87-B14F-64EAAA6BDADC}" dt="2023-03-09T03:32:43.394" v="55605"/>
          <ac:graphicFrameMkLst>
            <pc:docMk/>
            <pc:sldMk cId="2379220786" sldId="2134804378"/>
            <ac:graphicFrameMk id="6" creationId="{51F3EFAA-BBE8-0517-7203-97BBF487AC22}"/>
          </ac:graphicFrameMkLst>
        </pc:graphicFrameChg>
        <pc:graphicFrameChg chg="mod">
          <ac:chgData name="Wenwen Zhang" userId="9dd81366-5d6f-445a-b031-6ea562624431" providerId="ADAL" clId="{83AF0EAE-1449-4C87-B14F-64EAAA6BDADC}" dt="2023-03-09T03:33:06.980" v="55772"/>
          <ac:graphicFrameMkLst>
            <pc:docMk/>
            <pc:sldMk cId="2379220786" sldId="2134804378"/>
            <ac:graphicFrameMk id="28" creationId="{015DFAEE-F78A-C272-92CE-F25C3417CAD0}"/>
          </ac:graphicFrameMkLst>
        </pc:graphicFrameChg>
        <pc:graphicFrameChg chg="add del mod replST">
          <ac:chgData name="Wenwen Zhang" userId="9dd81366-5d6f-445a-b031-6ea562624431" providerId="ADAL" clId="{83AF0EAE-1449-4C87-B14F-64EAAA6BDADC}" dt="2023-03-06T14:19:05.475" v="25870"/>
          <ac:graphicFrameMkLst>
            <pc:docMk/>
            <pc:sldMk cId="2379220786" sldId="2134804378"/>
            <ac:graphicFrameMk id="103" creationId="{E04BB797-B26E-DBD2-429E-6B025ADA2135}"/>
          </ac:graphicFrameMkLst>
        </pc:graphicFrameChg>
        <pc:graphicFrameChg chg="add del mod ord replST">
          <ac:chgData name="Wenwen Zhang" userId="9dd81366-5d6f-445a-b031-6ea562624431" providerId="ADAL" clId="{83AF0EAE-1449-4C87-B14F-64EAAA6BDADC}" dt="2023-03-06T14:19:09.234" v="26370"/>
          <ac:graphicFrameMkLst>
            <pc:docMk/>
            <pc:sldMk cId="2379220786" sldId="2134804378"/>
            <ac:graphicFrameMk id="139" creationId="{F3C14F6E-368D-4000-1137-390FEDEF9B33}"/>
          </ac:graphicFrameMkLst>
        </pc:graphicFrameChg>
        <pc:graphicFrameChg chg="add del mod ord replST">
          <ac:chgData name="Wenwen Zhang" userId="9dd81366-5d6f-445a-b031-6ea562624431" providerId="ADAL" clId="{83AF0EAE-1449-4C87-B14F-64EAAA6BDADC}" dt="2023-03-06T14:19:46.609" v="42780"/>
          <ac:graphicFrameMkLst>
            <pc:docMk/>
            <pc:sldMk cId="2379220786" sldId="2134804378"/>
            <ac:graphicFrameMk id="141" creationId="{A1286E3A-BF3B-C1EE-8B6B-4C0ED392F876}"/>
          </ac:graphicFrameMkLst>
        </pc:graphicFrameChg>
        <pc:graphicFrameChg chg="del">
          <ac:chgData name="Wenwen Zhang" userId="9dd81366-5d6f-445a-b031-6ea562624431" providerId="ADAL" clId="{83AF0EAE-1449-4C87-B14F-64EAAA6BDADC}" dt="2023-03-06T14:18:50.277" v="24283"/>
          <ac:graphicFrameMkLst>
            <pc:docMk/>
            <pc:sldMk cId="2379220786" sldId="2134804378"/>
            <ac:graphicFrameMk id="148" creationId="{7297D79D-1122-643F-8AB8-3024FAE50276}"/>
          </ac:graphicFrameMkLst>
        </pc:graphicFrameChg>
        <pc:graphicFrameChg chg="add del mod ord replST delST">
          <ac:chgData name="Wenwen Zhang" userId="9dd81366-5d6f-445a-b031-6ea562624431" providerId="ADAL" clId="{83AF0EAE-1449-4C87-B14F-64EAAA6BDADC}" dt="2023-03-06T14:19:33.390" v="39167"/>
          <ac:graphicFrameMkLst>
            <pc:docMk/>
            <pc:sldMk cId="2379220786" sldId="2134804378"/>
            <ac:graphicFrameMk id="196" creationId="{D8244ED4-0EF1-B4FB-E6CC-A10AA1DB9A42}"/>
          </ac:graphicFrameMkLst>
        </pc:graphicFrameChg>
        <pc:graphicFrameChg chg="add del mod ord replST delST">
          <ac:chgData name="Wenwen Zhang" userId="9dd81366-5d6f-445a-b031-6ea562624431" providerId="ADAL" clId="{83AF0EAE-1449-4C87-B14F-64EAAA6BDADC}" dt="2023-03-06T14:19:32.162" v="37264"/>
          <ac:graphicFrameMkLst>
            <pc:docMk/>
            <pc:sldMk cId="2379220786" sldId="2134804378"/>
            <ac:graphicFrameMk id="198" creationId="{9B2A87E7-FAA4-586A-E9A7-4639581A3206}"/>
          </ac:graphicFrameMkLst>
        </pc:graphicFrameChg>
        <pc:graphicFrameChg chg="add del mod ord replST delST">
          <ac:chgData name="Wenwen Zhang" userId="9dd81366-5d6f-445a-b031-6ea562624431" providerId="ADAL" clId="{83AF0EAE-1449-4C87-B14F-64EAAA6BDADC}" dt="2023-03-06T14:19:18.679" v="31517" actId="1076"/>
          <ac:graphicFrameMkLst>
            <pc:docMk/>
            <pc:sldMk cId="2379220786" sldId="2134804378"/>
            <ac:graphicFrameMk id="200" creationId="{AABEE096-D852-2E94-D444-1284A26E6A85}"/>
          </ac:graphicFrameMkLst>
        </pc:graphicFrameChg>
        <pc:graphicFrameChg chg="add mod ord replST delST">
          <ac:chgData name="Wenwen Zhang" userId="9dd81366-5d6f-445a-b031-6ea562624431" providerId="ADAL" clId="{83AF0EAE-1449-4C87-B14F-64EAAA6BDADC}" dt="2023-03-06T14:19:18.629" v="31327" actId="1076"/>
          <ac:graphicFrameMkLst>
            <pc:docMk/>
            <pc:sldMk cId="2379220786" sldId="2134804378"/>
            <ac:graphicFrameMk id="202" creationId="{4AF204D4-2948-BDA5-8D7F-0E4BB296A965}"/>
          </ac:graphicFrameMkLst>
        </pc:graphicFrameChg>
        <pc:graphicFrameChg chg="add del mod ord replST delST">
          <ac:chgData name="Wenwen Zhang" userId="9dd81366-5d6f-445a-b031-6ea562624431" providerId="ADAL" clId="{83AF0EAE-1449-4C87-B14F-64EAAA6BDADC}" dt="2023-03-06T14:19:32.162" v="37264"/>
          <ac:graphicFrameMkLst>
            <pc:docMk/>
            <pc:sldMk cId="2379220786" sldId="2134804378"/>
            <ac:graphicFrameMk id="204" creationId="{FA7E68D2-AC75-08D1-2133-260D69C09E21}"/>
          </ac:graphicFrameMkLst>
        </pc:graphicFrameChg>
        <pc:graphicFrameChg chg="add del mod ord replST delST">
          <ac:chgData name="Wenwen Zhang" userId="9dd81366-5d6f-445a-b031-6ea562624431" providerId="ADAL" clId="{83AF0EAE-1449-4C87-B14F-64EAAA6BDADC}" dt="2023-03-06T14:19:32.162" v="37264"/>
          <ac:graphicFrameMkLst>
            <pc:docMk/>
            <pc:sldMk cId="2379220786" sldId="2134804378"/>
            <ac:graphicFrameMk id="206" creationId="{D3DF0D04-CF70-E4CA-192F-BB13045A78EF}"/>
          </ac:graphicFrameMkLst>
        </pc:graphicFrameChg>
        <pc:graphicFrameChg chg="add del mod ord replST delST">
          <ac:chgData name="Wenwen Zhang" userId="9dd81366-5d6f-445a-b031-6ea562624431" providerId="ADAL" clId="{83AF0EAE-1449-4C87-B14F-64EAAA6BDADC}" dt="2023-03-06T14:19:24.008" v="34719" actId="1076"/>
          <ac:graphicFrameMkLst>
            <pc:docMk/>
            <pc:sldMk cId="2379220786" sldId="2134804378"/>
            <ac:graphicFrameMk id="208" creationId="{A6E4C4CB-EE93-F12A-BD03-340420F5F986}"/>
          </ac:graphicFrameMkLst>
        </pc:graphicFrameChg>
        <pc:graphicFrameChg chg="add mod ord replST delST">
          <ac:chgData name="Wenwen Zhang" userId="9dd81366-5d6f-445a-b031-6ea562624431" providerId="ADAL" clId="{83AF0EAE-1449-4C87-B14F-64EAAA6BDADC}" dt="2023-03-06T14:19:23.945" v="34529" actId="1076"/>
          <ac:graphicFrameMkLst>
            <pc:docMk/>
            <pc:sldMk cId="2379220786" sldId="2134804378"/>
            <ac:graphicFrameMk id="210" creationId="{A197B93C-9A13-7FFC-1B57-3796EE5FFF07}"/>
          </ac:graphicFrameMkLst>
        </pc:graphicFrameChg>
        <pc:graphicFrameChg chg="add mod ord replST delST">
          <ac:chgData name="Wenwen Zhang" userId="9dd81366-5d6f-445a-b031-6ea562624431" providerId="ADAL" clId="{83AF0EAE-1449-4C87-B14F-64EAAA6BDADC}" dt="2023-03-06T14:19:32.162" v="37264"/>
          <ac:graphicFrameMkLst>
            <pc:docMk/>
            <pc:sldMk cId="2379220786" sldId="2134804378"/>
            <ac:graphicFrameMk id="212" creationId="{9CBFE60A-19A1-C390-972C-FF97F672A0B9}"/>
          </ac:graphicFrameMkLst>
        </pc:graphicFrameChg>
        <pc:graphicFrameChg chg="add del mod ord replST">
          <ac:chgData name="Wenwen Zhang" userId="9dd81366-5d6f-445a-b031-6ea562624431" providerId="ADAL" clId="{83AF0EAE-1449-4C87-B14F-64EAAA6BDADC}" dt="2023-03-06T14:20:04.500" v="43592"/>
          <ac:graphicFrameMkLst>
            <pc:docMk/>
            <pc:sldMk cId="2379220786" sldId="2134804378"/>
            <ac:graphicFrameMk id="265" creationId="{06F5AF47-89FD-F4E2-C336-3B9C25F219EA}"/>
          </ac:graphicFrameMkLst>
        </pc:graphicFrameChg>
        <pc:graphicFrameChg chg="add del mod ord replST">
          <ac:chgData name="Wenwen Zhang" userId="9dd81366-5d6f-445a-b031-6ea562624431" providerId="ADAL" clId="{83AF0EAE-1449-4C87-B14F-64EAAA6BDADC}" dt="2023-03-06T16:17:06.220" v="43967"/>
          <ac:graphicFrameMkLst>
            <pc:docMk/>
            <pc:sldMk cId="2379220786" sldId="2134804378"/>
            <ac:graphicFrameMk id="268" creationId="{62916B5D-8DB7-78C7-B673-47091C1BFFA1}"/>
          </ac:graphicFrameMkLst>
        </pc:graphicFrameChg>
        <pc:graphicFrameChg chg="add del mod ord replST">
          <ac:chgData name="Wenwen Zhang" userId="9dd81366-5d6f-445a-b031-6ea562624431" providerId="ADAL" clId="{83AF0EAE-1449-4C87-B14F-64EAAA6BDADC}" dt="2023-03-06T16:17:09.980" v="44374"/>
          <ac:graphicFrameMkLst>
            <pc:docMk/>
            <pc:sldMk cId="2379220786" sldId="2134804378"/>
            <ac:graphicFrameMk id="270" creationId="{240447FC-7AAF-2D69-9F0E-425F8CEB5D74}"/>
          </ac:graphicFrameMkLst>
        </pc:graphicFrameChg>
        <pc:graphicFrameChg chg="add del mod ord replST">
          <ac:chgData name="Wenwen Zhang" userId="9dd81366-5d6f-445a-b031-6ea562624431" providerId="ADAL" clId="{83AF0EAE-1449-4C87-B14F-64EAAA6BDADC}" dt="2023-03-06T16:25:07.179" v="45523"/>
          <ac:graphicFrameMkLst>
            <pc:docMk/>
            <pc:sldMk cId="2379220786" sldId="2134804378"/>
            <ac:graphicFrameMk id="272" creationId="{7812A3A9-C7A1-D44F-23CF-8135C37D5481}"/>
          </ac:graphicFrameMkLst>
        </pc:graphicFrameChg>
        <pc:graphicFrameChg chg="add mod ord replST">
          <ac:chgData name="Wenwen Zhang" userId="9dd81366-5d6f-445a-b031-6ea562624431" providerId="ADAL" clId="{83AF0EAE-1449-4C87-B14F-64EAAA6BDADC}" dt="2023-03-06T16:25:07.207" v="45605"/>
          <ac:graphicFrameMkLst>
            <pc:docMk/>
            <pc:sldMk cId="2379220786" sldId="2134804378"/>
            <ac:graphicFrameMk id="276" creationId="{8FA43A64-0C29-1AF9-600B-D709E3B62648}"/>
          </ac:graphicFrameMkLst>
        </pc:graphicFrameChg>
        <pc:cxnChg chg="del">
          <ac:chgData name="Wenwen Zhang" userId="9dd81366-5d6f-445a-b031-6ea562624431" providerId="ADAL" clId="{83AF0EAE-1449-4C87-B14F-64EAAA6BDADC}" dt="2023-03-06T14:18:50.259" v="24201"/>
          <ac:cxnSpMkLst>
            <pc:docMk/>
            <pc:sldMk cId="2379220786" sldId="2134804378"/>
            <ac:cxnSpMk id="3" creationId="{B8372F3A-4838-E400-53DE-EC91B68A78AA}"/>
          </ac:cxnSpMkLst>
        </pc:cxnChg>
        <pc:cxnChg chg="del">
          <ac:chgData name="Wenwen Zhang" userId="9dd81366-5d6f-445a-b031-6ea562624431" providerId="ADAL" clId="{83AF0EAE-1449-4C87-B14F-64EAAA6BDADC}" dt="2023-03-06T14:18:50.256" v="24191"/>
          <ac:cxnSpMkLst>
            <pc:docMk/>
            <pc:sldMk cId="2379220786" sldId="2134804378"/>
            <ac:cxnSpMk id="5" creationId="{3E189A38-D8FD-0788-6407-EDE8E6C492FA}"/>
          </ac:cxnSpMkLst>
        </pc:cxnChg>
        <pc:cxnChg chg="del">
          <ac:chgData name="Wenwen Zhang" userId="9dd81366-5d6f-445a-b031-6ea562624431" providerId="ADAL" clId="{83AF0EAE-1449-4C87-B14F-64EAAA6BDADC}" dt="2023-03-06T14:18:50.257" v="24193"/>
          <ac:cxnSpMkLst>
            <pc:docMk/>
            <pc:sldMk cId="2379220786" sldId="2134804378"/>
            <ac:cxnSpMk id="6" creationId="{86F5ECE4-CCD7-D29D-5152-815E7157229A}"/>
          </ac:cxnSpMkLst>
        </pc:cxnChg>
        <pc:cxnChg chg="del">
          <ac:chgData name="Wenwen Zhang" userId="9dd81366-5d6f-445a-b031-6ea562624431" providerId="ADAL" clId="{83AF0EAE-1449-4C87-B14F-64EAAA6BDADC}" dt="2023-03-06T14:18:50.257" v="24195"/>
          <ac:cxnSpMkLst>
            <pc:docMk/>
            <pc:sldMk cId="2379220786" sldId="2134804378"/>
            <ac:cxnSpMk id="7" creationId="{483464A6-664D-FDAA-88EC-F63CDC91F7C5}"/>
          </ac:cxnSpMkLst>
        </pc:cxnChg>
        <pc:cxnChg chg="del">
          <ac:chgData name="Wenwen Zhang" userId="9dd81366-5d6f-445a-b031-6ea562624431" providerId="ADAL" clId="{83AF0EAE-1449-4C87-B14F-64EAAA6BDADC}" dt="2023-03-06T14:18:50.258" v="24197"/>
          <ac:cxnSpMkLst>
            <pc:docMk/>
            <pc:sldMk cId="2379220786" sldId="2134804378"/>
            <ac:cxnSpMk id="8" creationId="{F019AA97-4AD8-BC06-BCCC-E1EF567722D5}"/>
          </ac:cxnSpMkLst>
        </pc:cxnChg>
        <pc:cxnChg chg="del">
          <ac:chgData name="Wenwen Zhang" userId="9dd81366-5d6f-445a-b031-6ea562624431" providerId="ADAL" clId="{83AF0EAE-1449-4C87-B14F-64EAAA6BDADC}" dt="2023-03-06T14:18:50.259" v="24203"/>
          <ac:cxnSpMkLst>
            <pc:docMk/>
            <pc:sldMk cId="2379220786" sldId="2134804378"/>
            <ac:cxnSpMk id="9" creationId="{9CC3894A-3672-3961-A179-337CB5B2526B}"/>
          </ac:cxnSpMkLst>
        </pc:cxnChg>
        <pc:cxnChg chg="del">
          <ac:chgData name="Wenwen Zhang" userId="9dd81366-5d6f-445a-b031-6ea562624431" providerId="ADAL" clId="{83AF0EAE-1449-4C87-B14F-64EAAA6BDADC}" dt="2023-03-06T14:18:50.258" v="24199"/>
          <ac:cxnSpMkLst>
            <pc:docMk/>
            <pc:sldMk cId="2379220786" sldId="2134804378"/>
            <ac:cxnSpMk id="10" creationId="{ADB88FE3-3BB3-4ACE-3509-BAB58098ED73}"/>
          </ac:cxnSpMkLst>
        </pc:cxnChg>
        <pc:cxnChg chg="add mod ord replST">
          <ac:chgData name="Wenwen Zhang" userId="9dd81366-5d6f-445a-b031-6ea562624431" providerId="ADAL" clId="{83AF0EAE-1449-4C87-B14F-64EAAA6BDADC}" dt="2023-03-09T03:32:43.429" v="55653"/>
          <ac:cxnSpMkLst>
            <pc:docMk/>
            <pc:sldMk cId="2379220786" sldId="2134804378"/>
            <ac:cxnSpMk id="11" creationId="{3AB2DAA1-3E59-94EE-DF74-BE1897C6F763}"/>
          </ac:cxnSpMkLst>
        </pc:cxnChg>
        <pc:cxnChg chg="del">
          <ac:chgData name="Wenwen Zhang" userId="9dd81366-5d6f-445a-b031-6ea562624431" providerId="ADAL" clId="{83AF0EAE-1449-4C87-B14F-64EAAA6BDADC}" dt="2023-03-06T14:18:50.260" v="24205"/>
          <ac:cxnSpMkLst>
            <pc:docMk/>
            <pc:sldMk cId="2379220786" sldId="2134804378"/>
            <ac:cxnSpMk id="12" creationId="{53CFB436-18B7-2B5C-95C2-323767883710}"/>
          </ac:cxnSpMkLst>
        </pc:cxnChg>
        <pc:cxnChg chg="del">
          <ac:chgData name="Wenwen Zhang" userId="9dd81366-5d6f-445a-b031-6ea562624431" providerId="ADAL" clId="{83AF0EAE-1449-4C87-B14F-64EAAA6BDADC}" dt="2023-03-06T14:18:50.275" v="24275"/>
          <ac:cxnSpMkLst>
            <pc:docMk/>
            <pc:sldMk cId="2379220786" sldId="2134804378"/>
            <ac:cxnSpMk id="13" creationId="{62DB1B82-F477-3335-E3C6-288484F802F0}"/>
          </ac:cxnSpMkLst>
        </pc:cxnChg>
        <pc:cxnChg chg="del">
          <ac:chgData name="Wenwen Zhang" userId="9dd81366-5d6f-445a-b031-6ea562624431" providerId="ADAL" clId="{83AF0EAE-1449-4C87-B14F-64EAAA6BDADC}" dt="2023-03-06T14:18:50.274" v="24272"/>
          <ac:cxnSpMkLst>
            <pc:docMk/>
            <pc:sldMk cId="2379220786" sldId="2134804378"/>
            <ac:cxnSpMk id="14" creationId="{254A9CCB-0766-5980-49E5-2C5DB8341D75}"/>
          </ac:cxnSpMkLst>
        </pc:cxnChg>
        <pc:cxnChg chg="del">
          <ac:chgData name="Wenwen Zhang" userId="9dd81366-5d6f-445a-b031-6ea562624431" providerId="ADAL" clId="{83AF0EAE-1449-4C87-B14F-64EAAA6BDADC}" dt="2023-03-06T14:18:50.275" v="24278"/>
          <ac:cxnSpMkLst>
            <pc:docMk/>
            <pc:sldMk cId="2379220786" sldId="2134804378"/>
            <ac:cxnSpMk id="15" creationId="{D9076291-744A-7488-586C-3AD0D1B9371E}"/>
          </ac:cxnSpMkLst>
        </pc:cxnChg>
        <pc:cxnChg chg="del">
          <ac:chgData name="Wenwen Zhang" userId="9dd81366-5d6f-445a-b031-6ea562624431" providerId="ADAL" clId="{83AF0EAE-1449-4C87-B14F-64EAAA6BDADC}" dt="2023-03-06T14:18:50.269" v="24245"/>
          <ac:cxnSpMkLst>
            <pc:docMk/>
            <pc:sldMk cId="2379220786" sldId="2134804378"/>
            <ac:cxnSpMk id="16" creationId="{BA4A197D-4F81-AF96-A6A3-DF262C97F04D}"/>
          </ac:cxnSpMkLst>
        </pc:cxnChg>
        <pc:cxnChg chg="del">
          <ac:chgData name="Wenwen Zhang" userId="9dd81366-5d6f-445a-b031-6ea562624431" providerId="ADAL" clId="{83AF0EAE-1449-4C87-B14F-64EAAA6BDADC}" dt="2023-03-06T14:18:50.269" v="24248"/>
          <ac:cxnSpMkLst>
            <pc:docMk/>
            <pc:sldMk cId="2379220786" sldId="2134804378"/>
            <ac:cxnSpMk id="17" creationId="{60CA05B1-4023-2FF3-CFE4-1BB38F0B9F84}"/>
          </ac:cxnSpMkLst>
        </pc:cxnChg>
        <pc:cxnChg chg="del">
          <ac:chgData name="Wenwen Zhang" userId="9dd81366-5d6f-445a-b031-6ea562624431" providerId="ADAL" clId="{83AF0EAE-1449-4C87-B14F-64EAAA6BDADC}" dt="2023-03-06T14:18:50.262" v="24215"/>
          <ac:cxnSpMkLst>
            <pc:docMk/>
            <pc:sldMk cId="2379220786" sldId="2134804378"/>
            <ac:cxnSpMk id="18" creationId="{4624656A-91B5-A0A2-1E21-17D243ABDBB2}"/>
          </ac:cxnSpMkLst>
        </pc:cxnChg>
        <pc:cxnChg chg="del">
          <ac:chgData name="Wenwen Zhang" userId="9dd81366-5d6f-445a-b031-6ea562624431" providerId="ADAL" clId="{83AF0EAE-1449-4C87-B14F-64EAAA6BDADC}" dt="2023-03-06T14:18:50.267" v="24236"/>
          <ac:cxnSpMkLst>
            <pc:docMk/>
            <pc:sldMk cId="2379220786" sldId="2134804378"/>
            <ac:cxnSpMk id="19" creationId="{6C0C0E0E-28E1-7DE4-7016-6B7D6151CC2C}"/>
          </ac:cxnSpMkLst>
        </pc:cxnChg>
        <pc:cxnChg chg="del">
          <ac:chgData name="Wenwen Zhang" userId="9dd81366-5d6f-445a-b031-6ea562624431" providerId="ADAL" clId="{83AF0EAE-1449-4C87-B14F-64EAAA6BDADC}" dt="2023-03-06T14:18:50.266" v="24230"/>
          <ac:cxnSpMkLst>
            <pc:docMk/>
            <pc:sldMk cId="2379220786" sldId="2134804378"/>
            <ac:cxnSpMk id="20" creationId="{3DEA313B-5A9B-3AD5-C5BD-E5B0EE893D4C}"/>
          </ac:cxnSpMkLst>
        </pc:cxnChg>
        <pc:cxnChg chg="del">
          <ac:chgData name="Wenwen Zhang" userId="9dd81366-5d6f-445a-b031-6ea562624431" providerId="ADAL" clId="{83AF0EAE-1449-4C87-B14F-64EAAA6BDADC}" dt="2023-03-06T14:18:50.267" v="24239"/>
          <ac:cxnSpMkLst>
            <pc:docMk/>
            <pc:sldMk cId="2379220786" sldId="2134804378"/>
            <ac:cxnSpMk id="21" creationId="{30A4D48D-6D63-99FD-C306-786B1CDFF126}"/>
          </ac:cxnSpMkLst>
        </pc:cxnChg>
        <pc:cxnChg chg="del">
          <ac:chgData name="Wenwen Zhang" userId="9dd81366-5d6f-445a-b031-6ea562624431" providerId="ADAL" clId="{83AF0EAE-1449-4C87-B14F-64EAAA6BDADC}" dt="2023-03-06T14:18:50.276" v="24281"/>
          <ac:cxnSpMkLst>
            <pc:docMk/>
            <pc:sldMk cId="2379220786" sldId="2134804378"/>
            <ac:cxnSpMk id="22" creationId="{CF4EE4A3-4EAC-BE9D-A5D3-DB31D825A356}"/>
          </ac:cxnSpMkLst>
        </pc:cxnChg>
        <pc:cxnChg chg="del">
          <ac:chgData name="Wenwen Zhang" userId="9dd81366-5d6f-445a-b031-6ea562624431" providerId="ADAL" clId="{83AF0EAE-1449-4C87-B14F-64EAAA6BDADC}" dt="2023-03-06T14:18:50.265" v="24227"/>
          <ac:cxnSpMkLst>
            <pc:docMk/>
            <pc:sldMk cId="2379220786" sldId="2134804378"/>
            <ac:cxnSpMk id="23" creationId="{3D9A2FF7-3FCE-B1B5-2167-01ACEF0F53F4}"/>
          </ac:cxnSpMkLst>
        </pc:cxnChg>
        <pc:cxnChg chg="del">
          <ac:chgData name="Wenwen Zhang" userId="9dd81366-5d6f-445a-b031-6ea562624431" providerId="ADAL" clId="{83AF0EAE-1449-4C87-B14F-64EAAA6BDADC}" dt="2023-03-06T14:18:50.261" v="24212"/>
          <ac:cxnSpMkLst>
            <pc:docMk/>
            <pc:sldMk cId="2379220786" sldId="2134804378"/>
            <ac:cxnSpMk id="24" creationId="{6BF7EA6A-22C6-66CA-3CCE-AB4ABF71E2A4}"/>
          </ac:cxnSpMkLst>
        </pc:cxnChg>
        <pc:cxnChg chg="add mod ord replST">
          <ac:chgData name="Wenwen Zhang" userId="9dd81366-5d6f-445a-b031-6ea562624431" providerId="ADAL" clId="{83AF0EAE-1449-4C87-B14F-64EAAA6BDADC}" dt="2023-03-09T03:32:43.429" v="55647"/>
          <ac:cxnSpMkLst>
            <pc:docMk/>
            <pc:sldMk cId="2379220786" sldId="2134804378"/>
            <ac:cxnSpMk id="25" creationId="{336FF9A9-5049-239A-520B-377D98FD8E31}"/>
          </ac:cxnSpMkLst>
        </pc:cxnChg>
        <pc:cxnChg chg="add mod ord replST">
          <ac:chgData name="Wenwen Zhang" userId="9dd81366-5d6f-445a-b031-6ea562624431" providerId="ADAL" clId="{83AF0EAE-1449-4C87-B14F-64EAAA6BDADC}" dt="2023-03-09T03:32:43.428" v="55639"/>
          <ac:cxnSpMkLst>
            <pc:docMk/>
            <pc:sldMk cId="2379220786" sldId="2134804378"/>
            <ac:cxnSpMk id="26" creationId="{265BE6CD-C1A3-4367-D284-626B6363AC49}"/>
          </ac:cxnSpMkLst>
        </pc:cxnChg>
        <pc:cxnChg chg="del">
          <ac:chgData name="Wenwen Zhang" userId="9dd81366-5d6f-445a-b031-6ea562624431" providerId="ADAL" clId="{83AF0EAE-1449-4C87-B14F-64EAAA6BDADC}" dt="2023-03-06T14:18:50.264" v="24224"/>
          <ac:cxnSpMkLst>
            <pc:docMk/>
            <pc:sldMk cId="2379220786" sldId="2134804378"/>
            <ac:cxnSpMk id="27" creationId="{4D076922-0B6F-0A8D-6C35-D0B18A1D6EBD}"/>
          </ac:cxnSpMkLst>
        </pc:cxnChg>
        <pc:cxnChg chg="del">
          <ac:chgData name="Wenwen Zhang" userId="9dd81366-5d6f-445a-b031-6ea562624431" providerId="ADAL" clId="{83AF0EAE-1449-4C87-B14F-64EAAA6BDADC}" dt="2023-03-06T14:18:50.263" v="24218"/>
          <ac:cxnSpMkLst>
            <pc:docMk/>
            <pc:sldMk cId="2379220786" sldId="2134804378"/>
            <ac:cxnSpMk id="30" creationId="{AC6E92A3-FE44-3960-9F94-551ABD771D75}"/>
          </ac:cxnSpMkLst>
        </pc:cxnChg>
        <pc:cxnChg chg="add mod ord replST">
          <ac:chgData name="Wenwen Zhang" userId="9dd81366-5d6f-445a-b031-6ea562624431" providerId="ADAL" clId="{83AF0EAE-1449-4C87-B14F-64EAAA6BDADC}" dt="2023-03-09T03:32:43.429" v="55649"/>
          <ac:cxnSpMkLst>
            <pc:docMk/>
            <pc:sldMk cId="2379220786" sldId="2134804378"/>
            <ac:cxnSpMk id="31" creationId="{9024785D-81D4-EF50-AF14-F6FED7108444}"/>
          </ac:cxnSpMkLst>
        </pc:cxnChg>
        <pc:cxnChg chg="del">
          <ac:chgData name="Wenwen Zhang" userId="9dd81366-5d6f-445a-b031-6ea562624431" providerId="ADAL" clId="{83AF0EAE-1449-4C87-B14F-64EAAA6BDADC}" dt="2023-03-06T14:18:50.266" v="24233"/>
          <ac:cxnSpMkLst>
            <pc:docMk/>
            <pc:sldMk cId="2379220786" sldId="2134804378"/>
            <ac:cxnSpMk id="32" creationId="{BA2FB246-084E-44AA-9F42-1A5DA8C9EDAC}"/>
          </ac:cxnSpMkLst>
        </pc:cxnChg>
        <pc:cxnChg chg="del">
          <ac:chgData name="Wenwen Zhang" userId="9dd81366-5d6f-445a-b031-6ea562624431" providerId="ADAL" clId="{83AF0EAE-1449-4C87-B14F-64EAAA6BDADC}" dt="2023-03-06T14:18:50.261" v="24209"/>
          <ac:cxnSpMkLst>
            <pc:docMk/>
            <pc:sldMk cId="2379220786" sldId="2134804378"/>
            <ac:cxnSpMk id="33" creationId="{1F283648-57E5-7280-7CB1-9D71E747F361}"/>
          </ac:cxnSpMkLst>
        </pc:cxnChg>
        <pc:cxnChg chg="add mod ord replST">
          <ac:chgData name="Wenwen Zhang" userId="9dd81366-5d6f-445a-b031-6ea562624431" providerId="ADAL" clId="{83AF0EAE-1449-4C87-B14F-64EAAA6BDADC}" dt="2023-03-09T03:32:43.429" v="55651"/>
          <ac:cxnSpMkLst>
            <pc:docMk/>
            <pc:sldMk cId="2379220786" sldId="2134804378"/>
            <ac:cxnSpMk id="34" creationId="{241A5E73-6688-AD0E-8452-8FBFDFD5988E}"/>
          </ac:cxnSpMkLst>
        </pc:cxnChg>
        <pc:cxnChg chg="del">
          <ac:chgData name="Wenwen Zhang" userId="9dd81366-5d6f-445a-b031-6ea562624431" providerId="ADAL" clId="{83AF0EAE-1449-4C87-B14F-64EAAA6BDADC}" dt="2023-03-06T14:18:50.272" v="24263"/>
          <ac:cxnSpMkLst>
            <pc:docMk/>
            <pc:sldMk cId="2379220786" sldId="2134804378"/>
            <ac:cxnSpMk id="35" creationId="{E2AF6881-D1B3-E873-1DAA-E395823AA7B1}"/>
          </ac:cxnSpMkLst>
        </pc:cxnChg>
        <pc:cxnChg chg="del">
          <ac:chgData name="Wenwen Zhang" userId="9dd81366-5d6f-445a-b031-6ea562624431" providerId="ADAL" clId="{83AF0EAE-1449-4C87-B14F-64EAAA6BDADC}" dt="2023-03-06T14:18:50.274" v="24269"/>
          <ac:cxnSpMkLst>
            <pc:docMk/>
            <pc:sldMk cId="2379220786" sldId="2134804378"/>
            <ac:cxnSpMk id="36" creationId="{F8E3BC0A-7467-8386-8841-28CA0FE36ED5}"/>
          </ac:cxnSpMkLst>
        </pc:cxnChg>
        <pc:cxnChg chg="del">
          <ac:chgData name="Wenwen Zhang" userId="9dd81366-5d6f-445a-b031-6ea562624431" providerId="ADAL" clId="{83AF0EAE-1449-4C87-B14F-64EAAA6BDADC}" dt="2023-03-06T14:18:50.273" v="24266"/>
          <ac:cxnSpMkLst>
            <pc:docMk/>
            <pc:sldMk cId="2379220786" sldId="2134804378"/>
            <ac:cxnSpMk id="37" creationId="{28A5D2BE-01B4-F83C-34A8-E3DC92EC1E7F}"/>
          </ac:cxnSpMkLst>
        </pc:cxnChg>
        <pc:cxnChg chg="del">
          <ac:chgData name="Wenwen Zhang" userId="9dd81366-5d6f-445a-b031-6ea562624431" providerId="ADAL" clId="{83AF0EAE-1449-4C87-B14F-64EAAA6BDADC}" dt="2023-03-06T14:18:50.270" v="24251"/>
          <ac:cxnSpMkLst>
            <pc:docMk/>
            <pc:sldMk cId="2379220786" sldId="2134804378"/>
            <ac:cxnSpMk id="38" creationId="{87ADD07C-4F4D-59E0-7838-FE5EDAB70811}"/>
          </ac:cxnSpMkLst>
        </pc:cxnChg>
        <pc:cxnChg chg="add mod ord replST">
          <ac:chgData name="Wenwen Zhang" userId="9dd81366-5d6f-445a-b031-6ea562624431" providerId="ADAL" clId="{83AF0EAE-1449-4C87-B14F-64EAAA6BDADC}" dt="2023-03-09T03:32:43.428" v="55645"/>
          <ac:cxnSpMkLst>
            <pc:docMk/>
            <pc:sldMk cId="2379220786" sldId="2134804378"/>
            <ac:cxnSpMk id="39" creationId="{FDAD9809-E73C-88A3-2F69-212BFB70F321}"/>
          </ac:cxnSpMkLst>
        </pc:cxnChg>
        <pc:cxnChg chg="del">
          <ac:chgData name="Wenwen Zhang" userId="9dd81366-5d6f-445a-b031-6ea562624431" providerId="ADAL" clId="{83AF0EAE-1449-4C87-B14F-64EAAA6BDADC}" dt="2023-03-06T14:18:50.272" v="24260"/>
          <ac:cxnSpMkLst>
            <pc:docMk/>
            <pc:sldMk cId="2379220786" sldId="2134804378"/>
            <ac:cxnSpMk id="40" creationId="{7C76AEDC-908D-0E0B-3861-0133ED93FD80}"/>
          </ac:cxnSpMkLst>
        </pc:cxnChg>
        <pc:cxnChg chg="del">
          <ac:chgData name="Wenwen Zhang" userId="9dd81366-5d6f-445a-b031-6ea562624431" providerId="ADAL" clId="{83AF0EAE-1449-4C87-B14F-64EAAA6BDADC}" dt="2023-03-06T14:18:50.264" v="24221"/>
          <ac:cxnSpMkLst>
            <pc:docMk/>
            <pc:sldMk cId="2379220786" sldId="2134804378"/>
            <ac:cxnSpMk id="41" creationId="{598D8386-E53B-8A7D-6F6E-99F29A181B48}"/>
          </ac:cxnSpMkLst>
        </pc:cxnChg>
        <pc:cxnChg chg="add mod ord replST">
          <ac:chgData name="Wenwen Zhang" userId="9dd81366-5d6f-445a-b031-6ea562624431" providerId="ADAL" clId="{83AF0EAE-1449-4C87-B14F-64EAAA6BDADC}" dt="2023-03-09T03:32:43.428" v="55643"/>
          <ac:cxnSpMkLst>
            <pc:docMk/>
            <pc:sldMk cId="2379220786" sldId="2134804378"/>
            <ac:cxnSpMk id="42" creationId="{4B91479E-077F-AAEA-4AFA-FDA68DF3B1B5}"/>
          </ac:cxnSpMkLst>
        </pc:cxnChg>
        <pc:cxnChg chg="del">
          <ac:chgData name="Wenwen Zhang" userId="9dd81366-5d6f-445a-b031-6ea562624431" providerId="ADAL" clId="{83AF0EAE-1449-4C87-B14F-64EAAA6BDADC}" dt="2023-03-06T14:18:50.271" v="24257"/>
          <ac:cxnSpMkLst>
            <pc:docMk/>
            <pc:sldMk cId="2379220786" sldId="2134804378"/>
            <ac:cxnSpMk id="44" creationId="{6D0FB7E0-6A70-FCA3-FD39-BF2BC08B7C46}"/>
          </ac:cxnSpMkLst>
        </pc:cxnChg>
        <pc:cxnChg chg="add mod ord replST">
          <ac:chgData name="Wenwen Zhang" userId="9dd81366-5d6f-445a-b031-6ea562624431" providerId="ADAL" clId="{83AF0EAE-1449-4C87-B14F-64EAAA6BDADC}" dt="2023-03-09T03:32:43.428" v="55641"/>
          <ac:cxnSpMkLst>
            <pc:docMk/>
            <pc:sldMk cId="2379220786" sldId="2134804378"/>
            <ac:cxnSpMk id="45" creationId="{05F551DD-D5F1-2387-646F-4DC5D5684413}"/>
          </ac:cxnSpMkLst>
        </pc:cxnChg>
        <pc:cxnChg chg="add mod ord replST">
          <ac:chgData name="Wenwen Zhang" userId="9dd81366-5d6f-445a-b031-6ea562624431" providerId="ADAL" clId="{83AF0EAE-1449-4C87-B14F-64EAAA6BDADC}" dt="2023-03-09T03:32:43.432" v="55673"/>
          <ac:cxnSpMkLst>
            <pc:docMk/>
            <pc:sldMk cId="2379220786" sldId="2134804378"/>
            <ac:cxnSpMk id="46" creationId="{FE9E92A6-8B3E-6DA3-491C-5EF6729E1BDE}"/>
          </ac:cxnSpMkLst>
        </pc:cxnChg>
        <pc:cxnChg chg="del">
          <ac:chgData name="Wenwen Zhang" userId="9dd81366-5d6f-445a-b031-6ea562624431" providerId="ADAL" clId="{83AF0EAE-1449-4C87-B14F-64EAAA6BDADC}" dt="2023-03-06T14:18:50.271" v="24254"/>
          <ac:cxnSpMkLst>
            <pc:docMk/>
            <pc:sldMk cId="2379220786" sldId="2134804378"/>
            <ac:cxnSpMk id="47" creationId="{39A79677-B975-AD1C-8E6D-DBB2523989C9}"/>
          </ac:cxnSpMkLst>
        </pc:cxnChg>
        <pc:cxnChg chg="del">
          <ac:chgData name="Wenwen Zhang" userId="9dd81366-5d6f-445a-b031-6ea562624431" providerId="ADAL" clId="{83AF0EAE-1449-4C87-B14F-64EAAA6BDADC}" dt="2023-03-06T14:18:50.268" v="24242"/>
          <ac:cxnSpMkLst>
            <pc:docMk/>
            <pc:sldMk cId="2379220786" sldId="2134804378"/>
            <ac:cxnSpMk id="48" creationId="{F8EF67F7-D9A7-4221-A634-6030004CC5F0}"/>
          </ac:cxnSpMkLst>
        </pc:cxnChg>
        <pc:cxnChg chg="add mod ord replST">
          <ac:chgData name="Wenwen Zhang" userId="9dd81366-5d6f-445a-b031-6ea562624431" providerId="ADAL" clId="{83AF0EAE-1449-4C87-B14F-64EAAA6BDADC}" dt="2023-03-09T03:32:43.435" v="55699"/>
          <ac:cxnSpMkLst>
            <pc:docMk/>
            <pc:sldMk cId="2379220786" sldId="2134804378"/>
            <ac:cxnSpMk id="49" creationId="{AD318768-8345-1CDC-87D8-4BA4A65E1CCA}"/>
          </ac:cxnSpMkLst>
        </pc:cxnChg>
        <pc:cxnChg chg="add mod ord replST">
          <ac:chgData name="Wenwen Zhang" userId="9dd81366-5d6f-445a-b031-6ea562624431" providerId="ADAL" clId="{83AF0EAE-1449-4C87-B14F-64EAAA6BDADC}" dt="2023-03-09T03:32:43.433" v="55683"/>
          <ac:cxnSpMkLst>
            <pc:docMk/>
            <pc:sldMk cId="2379220786" sldId="2134804378"/>
            <ac:cxnSpMk id="51" creationId="{E2DA5F7F-567F-77A6-E771-0893940250B1}"/>
          </ac:cxnSpMkLst>
        </pc:cxnChg>
        <pc:cxnChg chg="add mod ord replST">
          <ac:chgData name="Wenwen Zhang" userId="9dd81366-5d6f-445a-b031-6ea562624431" providerId="ADAL" clId="{83AF0EAE-1449-4C87-B14F-64EAAA6BDADC}" dt="2023-03-09T03:32:43.431" v="55663"/>
          <ac:cxnSpMkLst>
            <pc:docMk/>
            <pc:sldMk cId="2379220786" sldId="2134804378"/>
            <ac:cxnSpMk id="54" creationId="{78737749-53D7-3AA3-C2D2-737950D3F89C}"/>
          </ac:cxnSpMkLst>
        </pc:cxnChg>
        <pc:cxnChg chg="add mod ord replST">
          <ac:chgData name="Wenwen Zhang" userId="9dd81366-5d6f-445a-b031-6ea562624431" providerId="ADAL" clId="{83AF0EAE-1449-4C87-B14F-64EAAA6BDADC}" dt="2023-03-09T03:32:43.434" v="55691"/>
          <ac:cxnSpMkLst>
            <pc:docMk/>
            <pc:sldMk cId="2379220786" sldId="2134804378"/>
            <ac:cxnSpMk id="56" creationId="{04E527E6-2F99-F292-501A-00BC8F587AD8}"/>
          </ac:cxnSpMkLst>
        </pc:cxnChg>
        <pc:cxnChg chg="add mod ord replST">
          <ac:chgData name="Wenwen Zhang" userId="9dd81366-5d6f-445a-b031-6ea562624431" providerId="ADAL" clId="{83AF0EAE-1449-4C87-B14F-64EAAA6BDADC}" dt="2023-03-09T03:32:43.431" v="55667"/>
          <ac:cxnSpMkLst>
            <pc:docMk/>
            <pc:sldMk cId="2379220786" sldId="2134804378"/>
            <ac:cxnSpMk id="58" creationId="{11368B81-35B2-DE32-8979-3AC61DE7CAD6}"/>
          </ac:cxnSpMkLst>
        </pc:cxnChg>
        <pc:cxnChg chg="add mod ord replST">
          <ac:chgData name="Wenwen Zhang" userId="9dd81366-5d6f-445a-b031-6ea562624431" providerId="ADAL" clId="{83AF0EAE-1449-4C87-B14F-64EAAA6BDADC}" dt="2023-03-09T03:32:43.431" v="55669"/>
          <ac:cxnSpMkLst>
            <pc:docMk/>
            <pc:sldMk cId="2379220786" sldId="2134804378"/>
            <ac:cxnSpMk id="61" creationId="{8FD78D1F-2A8C-B1D9-581B-33AF7FDCCD5E}"/>
          </ac:cxnSpMkLst>
        </pc:cxnChg>
        <pc:cxnChg chg="add mod ord replST">
          <ac:chgData name="Wenwen Zhang" userId="9dd81366-5d6f-445a-b031-6ea562624431" providerId="ADAL" clId="{83AF0EAE-1449-4C87-B14F-64EAAA6BDADC}" dt="2023-03-09T03:32:43.432" v="55675"/>
          <ac:cxnSpMkLst>
            <pc:docMk/>
            <pc:sldMk cId="2379220786" sldId="2134804378"/>
            <ac:cxnSpMk id="64" creationId="{19D88002-1C93-A488-6209-18F5CBCA7BA6}"/>
          </ac:cxnSpMkLst>
        </pc:cxnChg>
        <pc:cxnChg chg="add mod ord replST">
          <ac:chgData name="Wenwen Zhang" userId="9dd81366-5d6f-445a-b031-6ea562624431" providerId="ADAL" clId="{83AF0EAE-1449-4C87-B14F-64EAAA6BDADC}" dt="2023-03-09T03:32:43.432" v="55671"/>
          <ac:cxnSpMkLst>
            <pc:docMk/>
            <pc:sldMk cId="2379220786" sldId="2134804378"/>
            <ac:cxnSpMk id="65" creationId="{50A6BC4E-F992-63ED-52A6-7ADAE7DD0EB8}"/>
          </ac:cxnSpMkLst>
        </pc:cxnChg>
        <pc:cxnChg chg="add mod ord replST">
          <ac:chgData name="Wenwen Zhang" userId="9dd81366-5d6f-445a-b031-6ea562624431" providerId="ADAL" clId="{83AF0EAE-1449-4C87-B14F-64EAAA6BDADC}" dt="2023-03-09T03:32:43.430" v="55659"/>
          <ac:cxnSpMkLst>
            <pc:docMk/>
            <pc:sldMk cId="2379220786" sldId="2134804378"/>
            <ac:cxnSpMk id="66" creationId="{3712CCA0-EF97-AB6C-EBEB-0E90B5D0ECB2}"/>
          </ac:cxnSpMkLst>
        </pc:cxnChg>
        <pc:cxnChg chg="add mod ord replST">
          <ac:chgData name="Wenwen Zhang" userId="9dd81366-5d6f-445a-b031-6ea562624431" providerId="ADAL" clId="{83AF0EAE-1449-4C87-B14F-64EAAA6BDADC}" dt="2023-03-09T03:32:43.432" v="55677"/>
          <ac:cxnSpMkLst>
            <pc:docMk/>
            <pc:sldMk cId="2379220786" sldId="2134804378"/>
            <ac:cxnSpMk id="67" creationId="{0830087B-8653-64E0-2D3D-AA89A3B2A703}"/>
          </ac:cxnSpMkLst>
        </pc:cxnChg>
        <pc:cxnChg chg="add mod ord replST">
          <ac:chgData name="Wenwen Zhang" userId="9dd81366-5d6f-445a-b031-6ea562624431" providerId="ADAL" clId="{83AF0EAE-1449-4C87-B14F-64EAAA6BDADC}" dt="2023-03-09T03:32:43.430" v="55661"/>
          <ac:cxnSpMkLst>
            <pc:docMk/>
            <pc:sldMk cId="2379220786" sldId="2134804378"/>
            <ac:cxnSpMk id="68" creationId="{69931BFB-DF5A-06A4-07CB-1DC566B73B9A}"/>
          </ac:cxnSpMkLst>
        </pc:cxnChg>
        <pc:cxnChg chg="add mod ord replST">
          <ac:chgData name="Wenwen Zhang" userId="9dd81366-5d6f-445a-b031-6ea562624431" providerId="ADAL" clId="{83AF0EAE-1449-4C87-B14F-64EAAA6BDADC}" dt="2023-03-09T03:32:43.431" v="55665"/>
          <ac:cxnSpMkLst>
            <pc:docMk/>
            <pc:sldMk cId="2379220786" sldId="2134804378"/>
            <ac:cxnSpMk id="69" creationId="{CEDBBC1E-E32B-B7DF-5BED-EECA97F0D05F}"/>
          </ac:cxnSpMkLst>
        </pc:cxnChg>
        <pc:cxnChg chg="del">
          <ac:chgData name="Wenwen Zhang" userId="9dd81366-5d6f-445a-b031-6ea562624431" providerId="ADAL" clId="{83AF0EAE-1449-4C87-B14F-64EAAA6BDADC}" dt="2023-03-06T14:18:50.253" v="24187"/>
          <ac:cxnSpMkLst>
            <pc:docMk/>
            <pc:sldMk cId="2379220786" sldId="2134804378"/>
            <ac:cxnSpMk id="86" creationId="{A545D6D7-BBE2-D685-0A7E-7AA082E58617}"/>
          </ac:cxnSpMkLst>
        </pc:cxnChg>
        <pc:cxnChg chg="del">
          <ac:chgData name="Wenwen Zhang" userId="9dd81366-5d6f-445a-b031-6ea562624431" providerId="ADAL" clId="{83AF0EAE-1449-4C87-B14F-64EAAA6BDADC}" dt="2023-03-06T14:18:50.252" v="24185"/>
          <ac:cxnSpMkLst>
            <pc:docMk/>
            <pc:sldMk cId="2379220786" sldId="2134804378"/>
            <ac:cxnSpMk id="87" creationId="{A0D780A5-5136-E70E-1139-861ACF68E1A5}"/>
          </ac:cxnSpMkLst>
        </pc:cxnChg>
        <pc:cxnChg chg="del">
          <ac:chgData name="Wenwen Zhang" userId="9dd81366-5d6f-445a-b031-6ea562624431" providerId="ADAL" clId="{83AF0EAE-1449-4C87-B14F-64EAAA6BDADC}" dt="2023-03-06T14:18:50.247" v="24183"/>
          <ac:cxnSpMkLst>
            <pc:docMk/>
            <pc:sldMk cId="2379220786" sldId="2134804378"/>
            <ac:cxnSpMk id="88" creationId="{50C4C8BB-0E65-EA39-AB25-9A141096C66B}"/>
          </ac:cxnSpMkLst>
        </pc:cxnChg>
        <pc:cxnChg chg="add mod ord replST">
          <ac:chgData name="Wenwen Zhang" userId="9dd81366-5d6f-445a-b031-6ea562624431" providerId="ADAL" clId="{83AF0EAE-1449-4C87-B14F-64EAAA6BDADC}" dt="2023-03-09T03:32:43.433" v="55679"/>
          <ac:cxnSpMkLst>
            <pc:docMk/>
            <pc:sldMk cId="2379220786" sldId="2134804378"/>
            <ac:cxnSpMk id="91" creationId="{CE521B16-057A-63F8-D57A-FED52303F486}"/>
          </ac:cxnSpMkLst>
        </pc:cxnChg>
        <pc:cxnChg chg="add mod ord replST">
          <ac:chgData name="Wenwen Zhang" userId="9dd81366-5d6f-445a-b031-6ea562624431" providerId="ADAL" clId="{83AF0EAE-1449-4C87-B14F-64EAAA6BDADC}" dt="2023-03-09T03:32:43.433" v="55685"/>
          <ac:cxnSpMkLst>
            <pc:docMk/>
            <pc:sldMk cId="2379220786" sldId="2134804378"/>
            <ac:cxnSpMk id="92" creationId="{6B0D399C-CF40-0849-B6DF-EC64EC5EB9BE}"/>
          </ac:cxnSpMkLst>
        </pc:cxnChg>
        <pc:cxnChg chg="add mod ord replST">
          <ac:chgData name="Wenwen Zhang" userId="9dd81366-5d6f-445a-b031-6ea562624431" providerId="ADAL" clId="{83AF0EAE-1449-4C87-B14F-64EAAA6BDADC}" dt="2023-03-09T03:32:43.430" v="55655"/>
          <ac:cxnSpMkLst>
            <pc:docMk/>
            <pc:sldMk cId="2379220786" sldId="2134804378"/>
            <ac:cxnSpMk id="93" creationId="{4751189C-9E3E-9705-D713-805B2FC82A71}"/>
          </ac:cxnSpMkLst>
        </pc:cxnChg>
        <pc:cxnChg chg="add mod ord replST">
          <ac:chgData name="Wenwen Zhang" userId="9dd81366-5d6f-445a-b031-6ea562624431" providerId="ADAL" clId="{83AF0EAE-1449-4C87-B14F-64EAAA6BDADC}" dt="2023-03-09T03:32:43.433" v="55681"/>
          <ac:cxnSpMkLst>
            <pc:docMk/>
            <pc:sldMk cId="2379220786" sldId="2134804378"/>
            <ac:cxnSpMk id="94" creationId="{530CD842-ADC7-C3B6-BBB1-A39580CE39FE}"/>
          </ac:cxnSpMkLst>
        </pc:cxnChg>
        <pc:cxnChg chg="add mod ord replST">
          <ac:chgData name="Wenwen Zhang" userId="9dd81366-5d6f-445a-b031-6ea562624431" providerId="ADAL" clId="{83AF0EAE-1449-4C87-B14F-64EAAA6BDADC}" dt="2023-03-09T03:32:43.434" v="55693"/>
          <ac:cxnSpMkLst>
            <pc:docMk/>
            <pc:sldMk cId="2379220786" sldId="2134804378"/>
            <ac:cxnSpMk id="95" creationId="{BF2C3B5B-1473-F918-C1C3-FD7C6C7336DA}"/>
          </ac:cxnSpMkLst>
        </pc:cxnChg>
        <pc:cxnChg chg="add mod ord replST">
          <ac:chgData name="Wenwen Zhang" userId="9dd81366-5d6f-445a-b031-6ea562624431" providerId="ADAL" clId="{83AF0EAE-1449-4C87-B14F-64EAAA6BDADC}" dt="2023-03-09T03:32:43.435" v="55697"/>
          <ac:cxnSpMkLst>
            <pc:docMk/>
            <pc:sldMk cId="2379220786" sldId="2134804378"/>
            <ac:cxnSpMk id="96" creationId="{CACC21A9-A2CC-4090-0263-B5665C103D9A}"/>
          </ac:cxnSpMkLst>
        </pc:cxnChg>
        <pc:cxnChg chg="add mod ord replST">
          <ac:chgData name="Wenwen Zhang" userId="9dd81366-5d6f-445a-b031-6ea562624431" providerId="ADAL" clId="{83AF0EAE-1449-4C87-B14F-64EAAA6BDADC}" dt="2023-03-09T03:32:43.434" v="55687"/>
          <ac:cxnSpMkLst>
            <pc:docMk/>
            <pc:sldMk cId="2379220786" sldId="2134804378"/>
            <ac:cxnSpMk id="97" creationId="{22B59B7C-C11D-305B-725E-309F5B27B27F}"/>
          </ac:cxnSpMkLst>
        </pc:cxnChg>
        <pc:cxnChg chg="add mod ord replST">
          <ac:chgData name="Wenwen Zhang" userId="9dd81366-5d6f-445a-b031-6ea562624431" providerId="ADAL" clId="{83AF0EAE-1449-4C87-B14F-64EAAA6BDADC}" dt="2023-03-09T03:32:43.435" v="55695"/>
          <ac:cxnSpMkLst>
            <pc:docMk/>
            <pc:sldMk cId="2379220786" sldId="2134804378"/>
            <ac:cxnSpMk id="98" creationId="{296A3914-4A37-1934-A016-EE0DE2E75970}"/>
          </ac:cxnSpMkLst>
        </pc:cxnChg>
        <pc:cxnChg chg="add mod ord replST">
          <ac:chgData name="Wenwen Zhang" userId="9dd81366-5d6f-445a-b031-6ea562624431" providerId="ADAL" clId="{83AF0EAE-1449-4C87-B14F-64EAAA6BDADC}" dt="2023-03-09T03:32:43.436" v="55701"/>
          <ac:cxnSpMkLst>
            <pc:docMk/>
            <pc:sldMk cId="2379220786" sldId="2134804378"/>
            <ac:cxnSpMk id="99" creationId="{217A9E90-E119-4F81-6907-D35FC3588CD8}"/>
          </ac:cxnSpMkLst>
        </pc:cxnChg>
        <pc:cxnChg chg="add mod ord replST">
          <ac:chgData name="Wenwen Zhang" userId="9dd81366-5d6f-445a-b031-6ea562624431" providerId="ADAL" clId="{83AF0EAE-1449-4C87-B14F-64EAAA6BDADC}" dt="2023-03-09T03:32:43.430" v="55657"/>
          <ac:cxnSpMkLst>
            <pc:docMk/>
            <pc:sldMk cId="2379220786" sldId="2134804378"/>
            <ac:cxnSpMk id="100" creationId="{45BD88E9-D04C-25E9-C14E-F455A579436B}"/>
          </ac:cxnSpMkLst>
        </pc:cxnChg>
        <pc:cxnChg chg="add mod ord replST">
          <ac:chgData name="Wenwen Zhang" userId="9dd81366-5d6f-445a-b031-6ea562624431" providerId="ADAL" clId="{83AF0EAE-1449-4C87-B14F-64EAAA6BDADC}" dt="2023-03-09T03:32:43.434" v="55689"/>
          <ac:cxnSpMkLst>
            <pc:docMk/>
            <pc:sldMk cId="2379220786" sldId="2134804378"/>
            <ac:cxnSpMk id="101" creationId="{BA497DDE-5F40-D3E5-7825-017206854254}"/>
          </ac:cxnSpMkLst>
        </pc:cxnChg>
        <pc:cxnChg chg="add mod ord replST">
          <ac:chgData name="Wenwen Zhang" userId="9dd81366-5d6f-445a-b031-6ea562624431" providerId="ADAL" clId="{83AF0EAE-1449-4C87-B14F-64EAAA6BDADC}" dt="2023-03-09T03:32:43.436" v="55703"/>
          <ac:cxnSpMkLst>
            <pc:docMk/>
            <pc:sldMk cId="2379220786" sldId="2134804378"/>
            <ac:cxnSpMk id="102" creationId="{43913C8B-95D3-BFDF-EF11-BA8D71F1DF1C}"/>
          </ac:cxnSpMkLst>
        </pc:cxnChg>
        <pc:cxnChg chg="add mod ord replST">
          <ac:chgData name="Wenwen Zhang" userId="9dd81366-5d6f-445a-b031-6ea562624431" providerId="ADAL" clId="{83AF0EAE-1449-4C87-B14F-64EAAA6BDADC}" dt="2023-03-09T03:32:43.443" v="55734"/>
          <ac:cxnSpMkLst>
            <pc:docMk/>
            <pc:sldMk cId="2379220786" sldId="2134804378"/>
            <ac:cxnSpMk id="129" creationId="{B1B0B1E0-382D-B8C0-D476-03536818D2B6}"/>
          </ac:cxnSpMkLst>
        </pc:cxnChg>
        <pc:cxnChg chg="add mod ord replST">
          <ac:chgData name="Wenwen Zhang" userId="9dd81366-5d6f-445a-b031-6ea562624431" providerId="ADAL" clId="{83AF0EAE-1449-4C87-B14F-64EAAA6BDADC}" dt="2023-03-09T03:32:43.442" v="55732"/>
          <ac:cxnSpMkLst>
            <pc:docMk/>
            <pc:sldMk cId="2379220786" sldId="2134804378"/>
            <ac:cxnSpMk id="130" creationId="{E957EBFD-0754-FE08-5D12-7C5700C13FE2}"/>
          </ac:cxnSpMkLst>
        </pc:cxnChg>
        <pc:cxnChg chg="add mod ord replST">
          <ac:chgData name="Wenwen Zhang" userId="9dd81366-5d6f-445a-b031-6ea562624431" providerId="ADAL" clId="{83AF0EAE-1449-4C87-B14F-64EAAA6BDADC}" dt="2023-03-09T03:32:43.443" v="55736"/>
          <ac:cxnSpMkLst>
            <pc:docMk/>
            <pc:sldMk cId="2379220786" sldId="2134804378"/>
            <ac:cxnSpMk id="131" creationId="{C79F18F8-6519-347D-5E19-4C61613C4819}"/>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70" creationId="{E9D2F84A-12FD-642B-EBFE-C4E5F7CE76E1}"/>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71" creationId="{EAF65CC6-7A35-B569-CEB4-BEF92AC92AAF}"/>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72" creationId="{8028EB2E-073C-D6C9-DF71-816241E1B30B}"/>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73" creationId="{D06FB430-0DD8-9841-48BA-97D69502D1AD}"/>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74" creationId="{5DF32985-CCB7-8C3F-F504-6CD19E1AA7D9}"/>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75" creationId="{2E982D06-8EDF-874B-56FA-EAC8E32FB5F4}"/>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76" creationId="{79DE691F-7772-6EC6-CAA8-4698329D20D7}"/>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77" creationId="{911FB9DC-3292-ED63-C842-BDD80791388E}"/>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78" creationId="{3A759D22-7F9D-FD75-7C2E-5E1E002982C9}"/>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79" creationId="{A5207C5A-E116-1313-198F-65E918D3C1C1}"/>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80" creationId="{A8857DB6-82E4-14D2-0C12-E921C699E77F}"/>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82" creationId="{6F1DA328-125B-928D-C5EE-17DAECE48E1A}"/>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83" creationId="{FE94276F-559D-8F03-D2CA-71617602EE35}"/>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84" creationId="{5F71018F-3711-FED0-94E6-4071F034D068}"/>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85" creationId="{B06DD1B5-3212-B081-F557-2629E5081D97}"/>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86" creationId="{172935F4-A70B-5CB9-0116-EF49599513E2}"/>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87" creationId="{6F2B74A5-8575-57C7-440D-9E172A87095B}"/>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88" creationId="{493EDFE7-AC2E-F1FC-D99F-85112C1DA774}"/>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89" creationId="{DBDEC31F-9F2F-7038-A283-31DA2872ACCC}"/>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90" creationId="{D16765FC-ADB3-1557-C6A2-AA620D5BBEDE}"/>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91" creationId="{CD4AE274-9E37-DFE9-ADDA-AEE1420B4100}"/>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92" creationId="{68D959D2-16FE-3F88-FE7D-1FE1A7B71C37}"/>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93" creationId="{B38B4C65-1819-0C95-42D5-2B20C977F593}"/>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94" creationId="{410275F6-68E1-0243-8868-478E7F157ED0}"/>
          </ac:cxnSpMkLst>
        </pc:cxnChg>
        <pc:cxnChg chg="add del mod ord replST delST">
          <ac:chgData name="Wenwen Zhang" userId="9dd81366-5d6f-445a-b031-6ea562624431" providerId="ADAL" clId="{83AF0EAE-1449-4C87-B14F-64EAAA6BDADC}" dt="2023-03-06T14:19:33.390" v="39167"/>
          <ac:cxnSpMkLst>
            <pc:docMk/>
            <pc:sldMk cId="2379220786" sldId="2134804378"/>
            <ac:cxnSpMk id="195" creationId="{9EEB1242-989B-B2F9-67C6-87AE776B857B}"/>
          </ac:cxnSpMkLst>
        </pc:cxnChg>
        <pc:cxnChg chg="add del mod ord replST">
          <ac:chgData name="Wenwen Zhang" userId="9dd81366-5d6f-445a-b031-6ea562624431" providerId="ADAL" clId="{83AF0EAE-1449-4C87-B14F-64EAAA6BDADC}" dt="2023-03-06T16:17:09.958" v="44341"/>
          <ac:cxnSpMkLst>
            <pc:docMk/>
            <pc:sldMk cId="2379220786" sldId="2134804378"/>
            <ac:cxnSpMk id="240" creationId="{E8C822BE-139D-E524-14E8-F339C3ACA8BF}"/>
          </ac:cxnSpMkLst>
        </pc:cxnChg>
        <pc:cxnChg chg="add del mod ord replST">
          <ac:chgData name="Wenwen Zhang" userId="9dd81366-5d6f-445a-b031-6ea562624431" providerId="ADAL" clId="{83AF0EAE-1449-4C87-B14F-64EAAA6BDADC}" dt="2023-03-06T16:17:09.958" v="44338"/>
          <ac:cxnSpMkLst>
            <pc:docMk/>
            <pc:sldMk cId="2379220786" sldId="2134804378"/>
            <ac:cxnSpMk id="241" creationId="{3D62E3BE-4D31-4E10-117D-C099D3999B1E}"/>
          </ac:cxnSpMkLst>
        </pc:cxnChg>
        <pc:cxnChg chg="add del mod ord replST">
          <ac:chgData name="Wenwen Zhang" userId="9dd81366-5d6f-445a-b031-6ea562624431" providerId="ADAL" clId="{83AF0EAE-1449-4C87-B14F-64EAAA6BDADC}" dt="2023-03-06T16:17:09.957" v="44335"/>
          <ac:cxnSpMkLst>
            <pc:docMk/>
            <pc:sldMk cId="2379220786" sldId="2134804378"/>
            <ac:cxnSpMk id="242" creationId="{FCCF48C2-64F1-20F3-DA48-F7AB6D64F021}"/>
          </ac:cxnSpMkLst>
        </pc:cxnChg>
        <pc:cxnChg chg="add del mod ord replST">
          <ac:chgData name="Wenwen Zhang" userId="9dd81366-5d6f-445a-b031-6ea562624431" providerId="ADAL" clId="{83AF0EAE-1449-4C87-B14F-64EAAA6BDADC}" dt="2023-03-06T16:17:09.956" v="44332"/>
          <ac:cxnSpMkLst>
            <pc:docMk/>
            <pc:sldMk cId="2379220786" sldId="2134804378"/>
            <ac:cxnSpMk id="243" creationId="{90AB9C24-5C32-67DC-FF0D-84CC68B54862}"/>
          </ac:cxnSpMkLst>
        </pc:cxnChg>
        <pc:cxnChg chg="add del mod ord replST">
          <ac:chgData name="Wenwen Zhang" userId="9dd81366-5d6f-445a-b031-6ea562624431" providerId="ADAL" clId="{83AF0EAE-1449-4C87-B14F-64EAAA6BDADC}" dt="2023-03-06T16:17:09.956" v="44329"/>
          <ac:cxnSpMkLst>
            <pc:docMk/>
            <pc:sldMk cId="2379220786" sldId="2134804378"/>
            <ac:cxnSpMk id="244" creationId="{1B2380AD-08A4-7FFD-8C1E-71D039FFA0C4}"/>
          </ac:cxnSpMkLst>
        </pc:cxnChg>
        <pc:cxnChg chg="add del mod ord replST">
          <ac:chgData name="Wenwen Zhang" userId="9dd81366-5d6f-445a-b031-6ea562624431" providerId="ADAL" clId="{83AF0EAE-1449-4C87-B14F-64EAAA6BDADC}" dt="2023-03-06T16:17:09.955" v="44326"/>
          <ac:cxnSpMkLst>
            <pc:docMk/>
            <pc:sldMk cId="2379220786" sldId="2134804378"/>
            <ac:cxnSpMk id="245" creationId="{8BC06D70-018E-34FB-634A-7EC836D5A6E5}"/>
          </ac:cxnSpMkLst>
        </pc:cxnChg>
        <pc:cxnChg chg="add del mod ord replST">
          <ac:chgData name="Wenwen Zhang" userId="9dd81366-5d6f-445a-b031-6ea562624431" providerId="ADAL" clId="{83AF0EAE-1449-4C87-B14F-64EAAA6BDADC}" dt="2023-03-06T16:17:09.954" v="44323"/>
          <ac:cxnSpMkLst>
            <pc:docMk/>
            <pc:sldMk cId="2379220786" sldId="2134804378"/>
            <ac:cxnSpMk id="246" creationId="{424D3915-B30A-5950-2B7F-C338FBFE5B8C}"/>
          </ac:cxnSpMkLst>
        </pc:cxnChg>
        <pc:cxnChg chg="add del mod ord replST">
          <ac:chgData name="Wenwen Zhang" userId="9dd81366-5d6f-445a-b031-6ea562624431" providerId="ADAL" clId="{83AF0EAE-1449-4C87-B14F-64EAAA6BDADC}" dt="2023-03-06T16:17:09.954" v="44320"/>
          <ac:cxnSpMkLst>
            <pc:docMk/>
            <pc:sldMk cId="2379220786" sldId="2134804378"/>
            <ac:cxnSpMk id="247" creationId="{F9D6F731-311F-572C-7D1F-92E9C66F031B}"/>
          </ac:cxnSpMkLst>
        </pc:cxnChg>
        <pc:cxnChg chg="add del mod ord replST">
          <ac:chgData name="Wenwen Zhang" userId="9dd81366-5d6f-445a-b031-6ea562624431" providerId="ADAL" clId="{83AF0EAE-1449-4C87-B14F-64EAAA6BDADC}" dt="2023-03-06T16:17:09.953" v="44317"/>
          <ac:cxnSpMkLst>
            <pc:docMk/>
            <pc:sldMk cId="2379220786" sldId="2134804378"/>
            <ac:cxnSpMk id="248" creationId="{A9E5B24E-D8D5-D68B-8AA9-76EF963987A7}"/>
          </ac:cxnSpMkLst>
        </pc:cxnChg>
        <pc:cxnChg chg="add del mod ord replST">
          <ac:chgData name="Wenwen Zhang" userId="9dd81366-5d6f-445a-b031-6ea562624431" providerId="ADAL" clId="{83AF0EAE-1449-4C87-B14F-64EAAA6BDADC}" dt="2023-03-06T16:17:09.952" v="44314"/>
          <ac:cxnSpMkLst>
            <pc:docMk/>
            <pc:sldMk cId="2379220786" sldId="2134804378"/>
            <ac:cxnSpMk id="249" creationId="{0FB7C1CA-C3A8-2BE7-A7FA-6EAE327F552F}"/>
          </ac:cxnSpMkLst>
        </pc:cxnChg>
        <pc:cxnChg chg="add del mod ord replST">
          <ac:chgData name="Wenwen Zhang" userId="9dd81366-5d6f-445a-b031-6ea562624431" providerId="ADAL" clId="{83AF0EAE-1449-4C87-B14F-64EAAA6BDADC}" dt="2023-03-06T16:17:09.951" v="44311"/>
          <ac:cxnSpMkLst>
            <pc:docMk/>
            <pc:sldMk cId="2379220786" sldId="2134804378"/>
            <ac:cxnSpMk id="250" creationId="{79952653-D8FF-1771-5B73-3D864692F05C}"/>
          </ac:cxnSpMkLst>
        </pc:cxnChg>
        <pc:cxnChg chg="add del mod ord replST">
          <ac:chgData name="Wenwen Zhang" userId="9dd81366-5d6f-445a-b031-6ea562624431" providerId="ADAL" clId="{83AF0EAE-1449-4C87-B14F-64EAAA6BDADC}" dt="2023-03-06T16:17:09.951" v="44308"/>
          <ac:cxnSpMkLst>
            <pc:docMk/>
            <pc:sldMk cId="2379220786" sldId="2134804378"/>
            <ac:cxnSpMk id="251" creationId="{58131E3B-772B-61A5-A8BB-6C599C660886}"/>
          </ac:cxnSpMkLst>
        </pc:cxnChg>
        <pc:cxnChg chg="add del mod ord replST">
          <ac:chgData name="Wenwen Zhang" userId="9dd81366-5d6f-445a-b031-6ea562624431" providerId="ADAL" clId="{83AF0EAE-1449-4C87-B14F-64EAAA6BDADC}" dt="2023-03-06T16:17:09.950" v="44305"/>
          <ac:cxnSpMkLst>
            <pc:docMk/>
            <pc:sldMk cId="2379220786" sldId="2134804378"/>
            <ac:cxnSpMk id="252" creationId="{2509EE5B-CAED-693E-88C2-367BAD959111}"/>
          </ac:cxnSpMkLst>
        </pc:cxnChg>
        <pc:cxnChg chg="add del mod ord replST">
          <ac:chgData name="Wenwen Zhang" userId="9dd81366-5d6f-445a-b031-6ea562624431" providerId="ADAL" clId="{83AF0EAE-1449-4C87-B14F-64EAAA6BDADC}" dt="2023-03-06T16:17:09.949" v="44302"/>
          <ac:cxnSpMkLst>
            <pc:docMk/>
            <pc:sldMk cId="2379220786" sldId="2134804378"/>
            <ac:cxnSpMk id="253" creationId="{94A34B4E-78EC-4E8F-C253-A4742A932178}"/>
          </ac:cxnSpMkLst>
        </pc:cxnChg>
        <pc:cxnChg chg="add del mod ord replST">
          <ac:chgData name="Wenwen Zhang" userId="9dd81366-5d6f-445a-b031-6ea562624431" providerId="ADAL" clId="{83AF0EAE-1449-4C87-B14F-64EAAA6BDADC}" dt="2023-03-06T16:17:09.949" v="44299"/>
          <ac:cxnSpMkLst>
            <pc:docMk/>
            <pc:sldMk cId="2379220786" sldId="2134804378"/>
            <ac:cxnSpMk id="254" creationId="{C06AEEA6-2C21-77AF-23F2-16D5621FDE4A}"/>
          </ac:cxnSpMkLst>
        </pc:cxnChg>
        <pc:cxnChg chg="add del mod ord replST">
          <ac:chgData name="Wenwen Zhang" userId="9dd81366-5d6f-445a-b031-6ea562624431" providerId="ADAL" clId="{83AF0EAE-1449-4C87-B14F-64EAAA6BDADC}" dt="2023-03-06T16:17:09.948" v="44296"/>
          <ac:cxnSpMkLst>
            <pc:docMk/>
            <pc:sldMk cId="2379220786" sldId="2134804378"/>
            <ac:cxnSpMk id="255" creationId="{05627992-91D2-42BF-49D5-50EE13ED3BD4}"/>
          </ac:cxnSpMkLst>
        </pc:cxnChg>
        <pc:cxnChg chg="add del mod ord replST">
          <ac:chgData name="Wenwen Zhang" userId="9dd81366-5d6f-445a-b031-6ea562624431" providerId="ADAL" clId="{83AF0EAE-1449-4C87-B14F-64EAAA6BDADC}" dt="2023-03-06T16:17:09.947" v="44293"/>
          <ac:cxnSpMkLst>
            <pc:docMk/>
            <pc:sldMk cId="2379220786" sldId="2134804378"/>
            <ac:cxnSpMk id="256" creationId="{E246F22D-5D38-01F5-1B52-6961382B2036}"/>
          </ac:cxnSpMkLst>
        </pc:cxnChg>
        <pc:cxnChg chg="add del mod ord replST">
          <ac:chgData name="Wenwen Zhang" userId="9dd81366-5d6f-445a-b031-6ea562624431" providerId="ADAL" clId="{83AF0EAE-1449-4C87-B14F-64EAAA6BDADC}" dt="2023-03-06T16:17:09.946" v="44290"/>
          <ac:cxnSpMkLst>
            <pc:docMk/>
            <pc:sldMk cId="2379220786" sldId="2134804378"/>
            <ac:cxnSpMk id="257" creationId="{600CC747-7302-1550-5B2B-BA8413833BE9}"/>
          </ac:cxnSpMkLst>
        </pc:cxnChg>
        <pc:cxnChg chg="add del mod ord replST">
          <ac:chgData name="Wenwen Zhang" userId="9dd81366-5d6f-445a-b031-6ea562624431" providerId="ADAL" clId="{83AF0EAE-1449-4C87-B14F-64EAAA6BDADC}" dt="2023-03-06T16:17:09.946" v="44287"/>
          <ac:cxnSpMkLst>
            <pc:docMk/>
            <pc:sldMk cId="2379220786" sldId="2134804378"/>
            <ac:cxnSpMk id="258" creationId="{C0BD5B82-DD2A-C694-C920-D99CA906C7E5}"/>
          </ac:cxnSpMkLst>
        </pc:cxnChg>
        <pc:cxnChg chg="add del mod ord replST">
          <ac:chgData name="Wenwen Zhang" userId="9dd81366-5d6f-445a-b031-6ea562624431" providerId="ADAL" clId="{83AF0EAE-1449-4C87-B14F-64EAAA6BDADC}" dt="2023-03-06T16:17:09.945" v="44284"/>
          <ac:cxnSpMkLst>
            <pc:docMk/>
            <pc:sldMk cId="2379220786" sldId="2134804378"/>
            <ac:cxnSpMk id="259" creationId="{5B1E2B39-CD29-9E2B-0F68-F27473770091}"/>
          </ac:cxnSpMkLst>
        </pc:cxnChg>
        <pc:cxnChg chg="add del mod ord replST">
          <ac:chgData name="Wenwen Zhang" userId="9dd81366-5d6f-445a-b031-6ea562624431" providerId="ADAL" clId="{83AF0EAE-1449-4C87-B14F-64EAAA6BDADC}" dt="2023-03-06T16:17:09.944" v="44281"/>
          <ac:cxnSpMkLst>
            <pc:docMk/>
            <pc:sldMk cId="2379220786" sldId="2134804378"/>
            <ac:cxnSpMk id="260" creationId="{0A610592-BE5F-FDC9-AB7E-5B620FAFEC29}"/>
          </ac:cxnSpMkLst>
        </pc:cxnChg>
        <pc:cxnChg chg="add del mod ord replST">
          <ac:chgData name="Wenwen Zhang" userId="9dd81366-5d6f-445a-b031-6ea562624431" providerId="ADAL" clId="{83AF0EAE-1449-4C87-B14F-64EAAA6BDADC}" dt="2023-03-06T16:17:09.944" v="44278"/>
          <ac:cxnSpMkLst>
            <pc:docMk/>
            <pc:sldMk cId="2379220786" sldId="2134804378"/>
            <ac:cxnSpMk id="261" creationId="{BAE3FF11-E9B3-7B37-8491-1EE495A1BE79}"/>
          </ac:cxnSpMkLst>
        </pc:cxnChg>
        <pc:cxnChg chg="add del mod ord replST">
          <ac:chgData name="Wenwen Zhang" userId="9dd81366-5d6f-445a-b031-6ea562624431" providerId="ADAL" clId="{83AF0EAE-1449-4C87-B14F-64EAAA6BDADC}" dt="2023-03-06T16:17:09.943" v="44275"/>
          <ac:cxnSpMkLst>
            <pc:docMk/>
            <pc:sldMk cId="2379220786" sldId="2134804378"/>
            <ac:cxnSpMk id="262" creationId="{775F3245-4EB3-B0FF-5D43-B2D5BB729509}"/>
          </ac:cxnSpMkLst>
        </pc:cxnChg>
        <pc:cxnChg chg="add del mod ord replST">
          <ac:chgData name="Wenwen Zhang" userId="9dd81366-5d6f-445a-b031-6ea562624431" providerId="ADAL" clId="{83AF0EAE-1449-4C87-B14F-64EAAA6BDADC}" dt="2023-03-06T16:17:09.942" v="44272"/>
          <ac:cxnSpMkLst>
            <pc:docMk/>
            <pc:sldMk cId="2379220786" sldId="2134804378"/>
            <ac:cxnSpMk id="263" creationId="{8E1641FA-984B-BF27-87C7-AF315EC164DF}"/>
          </ac:cxnSpMkLst>
        </pc:cxnChg>
        <pc:cxnChg chg="add del mod ord replST">
          <ac:chgData name="Wenwen Zhang" userId="9dd81366-5d6f-445a-b031-6ea562624431" providerId="ADAL" clId="{83AF0EAE-1449-4C87-B14F-64EAAA6BDADC}" dt="2023-03-06T16:17:09.941" v="44269"/>
          <ac:cxnSpMkLst>
            <pc:docMk/>
            <pc:sldMk cId="2379220786" sldId="2134804378"/>
            <ac:cxnSpMk id="264" creationId="{571EB74E-6315-EDD8-9999-0D309129558C}"/>
          </ac:cxnSpMkLst>
        </pc:cxnChg>
      </pc:sldChg>
      <pc:sldChg chg="addSp delSp modSp add mod ord modNotesTx">
        <pc:chgData name="Wenwen Zhang" userId="9dd81366-5d6f-445a-b031-6ea562624431" providerId="ADAL" clId="{83AF0EAE-1449-4C87-B14F-64EAAA6BDADC}" dt="2023-03-09T08:11:55.156" v="55775" actId="20577"/>
        <pc:sldMkLst>
          <pc:docMk/>
          <pc:sldMk cId="229238195" sldId="2134804379"/>
        </pc:sldMkLst>
        <pc:spChg chg="mod ord">
          <ac:chgData name="Wenwen Zhang" userId="9dd81366-5d6f-445a-b031-6ea562624431" providerId="ADAL" clId="{83AF0EAE-1449-4C87-B14F-64EAAA6BDADC}" dt="2023-03-08T15:37:47.976" v="54875" actId="6549"/>
          <ac:spMkLst>
            <pc:docMk/>
            <pc:sldMk cId="229238195" sldId="2134804379"/>
            <ac:spMk id="2" creationId="{B065B79C-C4D6-5961-7919-6BB68C420868}"/>
          </ac:spMkLst>
        </pc:spChg>
        <pc:spChg chg="add del mod modVis">
          <ac:chgData name="Wenwen Zhang" userId="9dd81366-5d6f-445a-b031-6ea562624431" providerId="ADAL" clId="{83AF0EAE-1449-4C87-B14F-64EAAA6BDADC}" dt="2023-03-08T15:31:24.536" v="52027"/>
          <ac:spMkLst>
            <pc:docMk/>
            <pc:sldMk cId="229238195" sldId="2134804379"/>
            <ac:spMk id="3" creationId="{98EC2651-E443-6BF6-42B3-59F9426C1D31}"/>
          </ac:spMkLst>
        </pc:spChg>
        <pc:spChg chg="add del mod modVis">
          <ac:chgData name="Wenwen Zhang" userId="9dd81366-5d6f-445a-b031-6ea562624431" providerId="ADAL" clId="{83AF0EAE-1449-4C87-B14F-64EAAA6BDADC}" dt="2023-03-06T16:42:06.960" v="46600"/>
          <ac:spMkLst>
            <pc:docMk/>
            <pc:sldMk cId="229238195" sldId="2134804379"/>
            <ac:spMk id="4" creationId="{666884E7-0DD8-3324-AEED-90558B40C0A8}"/>
          </ac:spMkLst>
        </pc:spChg>
        <pc:spChg chg="add del mod modVis">
          <ac:chgData name="Wenwen Zhang" userId="9dd81366-5d6f-445a-b031-6ea562624431" providerId="ADAL" clId="{83AF0EAE-1449-4C87-B14F-64EAAA6BDADC}" dt="2023-03-08T15:31:27.323" v="52252"/>
          <ac:spMkLst>
            <pc:docMk/>
            <pc:sldMk cId="229238195" sldId="2134804379"/>
            <ac:spMk id="6" creationId="{D3AA01FB-82DE-825C-B387-08C823922D6D}"/>
          </ac:spMkLst>
        </pc:spChg>
        <pc:spChg chg="add del mod replST">
          <ac:chgData name="Wenwen Zhang" userId="9dd81366-5d6f-445a-b031-6ea562624431" providerId="ADAL" clId="{83AF0EAE-1449-4C87-B14F-64EAAA6BDADC}" dt="2023-03-08T15:32:29.296" v="54233"/>
          <ac:spMkLst>
            <pc:docMk/>
            <pc:sldMk cId="229238195" sldId="2134804379"/>
            <ac:spMk id="15" creationId="{DA8A9EFE-137F-F0D8-734C-FDF67BA31C9B}"/>
          </ac:spMkLst>
        </pc:spChg>
        <pc:spChg chg="add mod replST">
          <ac:chgData name="Wenwen Zhang" userId="9dd81366-5d6f-445a-b031-6ea562624431" providerId="ADAL" clId="{83AF0EAE-1449-4C87-B14F-64EAAA6BDADC}" dt="2023-03-08T15:32:46.610" v="54829"/>
          <ac:spMkLst>
            <pc:docMk/>
            <pc:sldMk cId="229238195" sldId="2134804379"/>
            <ac:spMk id="19" creationId="{6BA931FB-D2F6-7B03-1C6E-B3E256511AA6}"/>
          </ac:spMkLst>
        </pc:spChg>
        <pc:spChg chg="add mod replST">
          <ac:chgData name="Wenwen Zhang" userId="9dd81366-5d6f-445a-b031-6ea562624431" providerId="ADAL" clId="{83AF0EAE-1449-4C87-B14F-64EAAA6BDADC}" dt="2023-03-08T15:32:46.610" v="54828"/>
          <ac:spMkLst>
            <pc:docMk/>
            <pc:sldMk cId="229238195" sldId="2134804379"/>
            <ac:spMk id="20" creationId="{93C51345-D221-4736-4937-14AA2C879330}"/>
          </ac:spMkLst>
        </pc:spChg>
        <pc:spChg chg="add mod replST">
          <ac:chgData name="Wenwen Zhang" userId="9dd81366-5d6f-445a-b031-6ea562624431" providerId="ADAL" clId="{83AF0EAE-1449-4C87-B14F-64EAAA6BDADC}" dt="2023-03-08T15:32:46.611" v="54831"/>
          <ac:spMkLst>
            <pc:docMk/>
            <pc:sldMk cId="229238195" sldId="2134804379"/>
            <ac:spMk id="21" creationId="{19AE7E3D-9236-53E9-4ED3-BB3C1FA75616}"/>
          </ac:spMkLst>
        </pc:spChg>
        <pc:spChg chg="add mod replST">
          <ac:chgData name="Wenwen Zhang" userId="9dd81366-5d6f-445a-b031-6ea562624431" providerId="ADAL" clId="{83AF0EAE-1449-4C87-B14F-64EAAA6BDADC}" dt="2023-03-08T15:32:46.611" v="54832"/>
          <ac:spMkLst>
            <pc:docMk/>
            <pc:sldMk cId="229238195" sldId="2134804379"/>
            <ac:spMk id="22" creationId="{59BF8219-EBED-C2C9-B954-CEC721433D48}"/>
          </ac:spMkLst>
        </pc:spChg>
        <pc:spChg chg="add mod replST">
          <ac:chgData name="Wenwen Zhang" userId="9dd81366-5d6f-445a-b031-6ea562624431" providerId="ADAL" clId="{83AF0EAE-1449-4C87-B14F-64EAAA6BDADC}" dt="2023-03-08T15:32:46.611" v="54833"/>
          <ac:spMkLst>
            <pc:docMk/>
            <pc:sldMk cId="229238195" sldId="2134804379"/>
            <ac:spMk id="23" creationId="{FF0169E0-F76C-D62D-979D-0B6C6A52A89F}"/>
          </ac:spMkLst>
        </pc:spChg>
        <pc:spChg chg="add mod replST">
          <ac:chgData name="Wenwen Zhang" userId="9dd81366-5d6f-445a-b031-6ea562624431" providerId="ADAL" clId="{83AF0EAE-1449-4C87-B14F-64EAAA6BDADC}" dt="2023-03-08T15:32:46.610" v="54830"/>
          <ac:spMkLst>
            <pc:docMk/>
            <pc:sldMk cId="229238195" sldId="2134804379"/>
            <ac:spMk id="24" creationId="{ACF6F0E5-E9F0-0944-A836-0E4896541B66}"/>
          </ac:spMkLst>
        </pc:spChg>
        <pc:spChg chg="add mod replST">
          <ac:chgData name="Wenwen Zhang" userId="9dd81366-5d6f-445a-b031-6ea562624431" providerId="ADAL" clId="{83AF0EAE-1449-4C87-B14F-64EAAA6BDADC}" dt="2023-03-08T15:32:46.611" v="54835"/>
          <ac:spMkLst>
            <pc:docMk/>
            <pc:sldMk cId="229238195" sldId="2134804379"/>
            <ac:spMk id="27" creationId="{70BED28C-82AE-8F68-461E-E29770E77E20}"/>
          </ac:spMkLst>
        </pc:spChg>
        <pc:spChg chg="mod ord">
          <ac:chgData name="Wenwen Zhang" userId="9dd81366-5d6f-445a-b031-6ea562624431" providerId="ADAL" clId="{83AF0EAE-1449-4C87-B14F-64EAAA6BDADC}" dt="2023-03-08T15:32:46.603" v="54788"/>
          <ac:spMkLst>
            <pc:docMk/>
            <pc:sldMk cId="229238195" sldId="2134804379"/>
            <ac:spMk id="29" creationId="{D50B6CAA-A666-5524-85F7-444C607F0970}"/>
          </ac:spMkLst>
        </pc:spChg>
        <pc:spChg chg="add mod replST">
          <ac:chgData name="Wenwen Zhang" userId="9dd81366-5d6f-445a-b031-6ea562624431" providerId="ADAL" clId="{83AF0EAE-1449-4C87-B14F-64EAAA6BDADC}" dt="2023-03-08T15:32:46.611" v="54834"/>
          <ac:spMkLst>
            <pc:docMk/>
            <pc:sldMk cId="229238195" sldId="2134804379"/>
            <ac:spMk id="30" creationId="{F1870CC0-1190-996D-BA67-37571E5C657C}"/>
          </ac:spMkLst>
        </pc:spChg>
        <pc:spChg chg="add mod replST">
          <ac:chgData name="Wenwen Zhang" userId="9dd81366-5d6f-445a-b031-6ea562624431" providerId="ADAL" clId="{83AF0EAE-1449-4C87-B14F-64EAAA6BDADC}" dt="2023-03-08T15:32:46.611" v="54836"/>
          <ac:spMkLst>
            <pc:docMk/>
            <pc:sldMk cId="229238195" sldId="2134804379"/>
            <ac:spMk id="32" creationId="{57147525-4423-97A1-A2F1-096414A3D7F7}"/>
          </ac:spMkLst>
        </pc:spChg>
        <pc:spChg chg="add del mod replST">
          <ac:chgData name="Wenwen Zhang" userId="9dd81366-5d6f-445a-b031-6ea562624431" providerId="ADAL" clId="{83AF0EAE-1449-4C87-B14F-64EAAA6BDADC}" dt="2023-03-08T15:32:29.296" v="54234"/>
          <ac:spMkLst>
            <pc:docMk/>
            <pc:sldMk cId="229238195" sldId="2134804379"/>
            <ac:spMk id="33" creationId="{5104DE9E-030E-6E8B-BCC1-2A968D9F91F3}"/>
          </ac:spMkLst>
        </pc:spChg>
        <pc:spChg chg="add mod ord replST">
          <ac:chgData name="Wenwen Zhang" userId="9dd81366-5d6f-445a-b031-6ea562624431" providerId="ADAL" clId="{83AF0EAE-1449-4C87-B14F-64EAAA6BDADC}" dt="2023-03-08T15:32:46.612" v="54838"/>
          <ac:spMkLst>
            <pc:docMk/>
            <pc:sldMk cId="229238195" sldId="2134804379"/>
            <ac:spMk id="35" creationId="{FDC3AF04-E9AA-00FE-63DA-F9FBBBACEC70}"/>
          </ac:spMkLst>
        </pc:spChg>
        <pc:spChg chg="add del mod ord replST">
          <ac:chgData name="Wenwen Zhang" userId="9dd81366-5d6f-445a-b031-6ea562624431" providerId="ADAL" clId="{83AF0EAE-1449-4C87-B14F-64EAAA6BDADC}" dt="2023-03-08T15:32:09.183" v="53722"/>
          <ac:spMkLst>
            <pc:docMk/>
            <pc:sldMk cId="229238195" sldId="2134804379"/>
            <ac:spMk id="36" creationId="{FE2C56EC-E227-D6E9-A770-15AE6C9E72FF}"/>
          </ac:spMkLst>
        </pc:spChg>
        <pc:spChg chg="add del mod ord replST">
          <ac:chgData name="Wenwen Zhang" userId="9dd81366-5d6f-445a-b031-6ea562624431" providerId="ADAL" clId="{83AF0EAE-1449-4C87-B14F-64EAAA6BDADC}" dt="2023-03-08T15:32:20.895" v="54097"/>
          <ac:spMkLst>
            <pc:docMk/>
            <pc:sldMk cId="229238195" sldId="2134804379"/>
            <ac:spMk id="37" creationId="{B327AEC4-0C4B-AD72-223A-C07DC1EC42C9}"/>
          </ac:spMkLst>
        </pc:spChg>
        <pc:spChg chg="add del mod ord replST">
          <ac:chgData name="Wenwen Zhang" userId="9dd81366-5d6f-445a-b031-6ea562624431" providerId="ADAL" clId="{83AF0EAE-1449-4C87-B14F-64EAAA6BDADC}" dt="2023-03-08T15:32:09.181" v="53713"/>
          <ac:spMkLst>
            <pc:docMk/>
            <pc:sldMk cId="229238195" sldId="2134804379"/>
            <ac:spMk id="38" creationId="{C1DB4CB0-857B-E84F-C2C3-68E2B599CBFE}"/>
          </ac:spMkLst>
        </pc:spChg>
        <pc:spChg chg="add del mod replST">
          <ac:chgData name="Wenwen Zhang" userId="9dd81366-5d6f-445a-b031-6ea562624431" providerId="ADAL" clId="{83AF0EAE-1449-4C87-B14F-64EAAA6BDADC}" dt="2023-03-08T15:32:20.895" v="54098"/>
          <ac:spMkLst>
            <pc:docMk/>
            <pc:sldMk cId="229238195" sldId="2134804379"/>
            <ac:spMk id="40" creationId="{A6708C51-FA46-F96C-955E-D8CF02A96BEA}"/>
          </ac:spMkLst>
        </pc:spChg>
        <pc:spChg chg="add del mod replST">
          <ac:chgData name="Wenwen Zhang" userId="9dd81366-5d6f-445a-b031-6ea562624431" providerId="ADAL" clId="{83AF0EAE-1449-4C87-B14F-64EAAA6BDADC}" dt="2023-03-08T15:32:09.181" v="53714"/>
          <ac:spMkLst>
            <pc:docMk/>
            <pc:sldMk cId="229238195" sldId="2134804379"/>
            <ac:spMk id="41" creationId="{E6AFC199-5A12-CF06-5B0F-23DCA7779A09}"/>
          </ac:spMkLst>
        </pc:spChg>
        <pc:spChg chg="mod ord">
          <ac:chgData name="Wenwen Zhang" userId="9dd81366-5d6f-445a-b031-6ea562624431" providerId="ADAL" clId="{83AF0EAE-1449-4C87-B14F-64EAAA6BDADC}" dt="2023-03-08T15:32:46.603" v="54790"/>
          <ac:spMkLst>
            <pc:docMk/>
            <pc:sldMk cId="229238195" sldId="2134804379"/>
            <ac:spMk id="43" creationId="{C58C7321-3BF7-61DC-5B1A-AD075E56AE05}"/>
          </ac:spMkLst>
        </pc:spChg>
        <pc:spChg chg="add del mod modVis">
          <ac:chgData name="Wenwen Zhang" userId="9dd81366-5d6f-445a-b031-6ea562624431" providerId="ADAL" clId="{83AF0EAE-1449-4C87-B14F-64EAAA6BDADC}" dt="2023-03-08T15:31:38.468" v="53237"/>
          <ac:spMkLst>
            <pc:docMk/>
            <pc:sldMk cId="229238195" sldId="2134804379"/>
            <ac:spMk id="44" creationId="{0860221F-2B39-4B71-2AFC-DF58712CF545}"/>
          </ac:spMkLst>
        </pc:spChg>
        <pc:spChg chg="add del mod replST">
          <ac:chgData name="Wenwen Zhang" userId="9dd81366-5d6f-445a-b031-6ea562624431" providerId="ADAL" clId="{83AF0EAE-1449-4C87-B14F-64EAAA6BDADC}" dt="2023-03-08T15:32:27.875" v="54103"/>
          <ac:spMkLst>
            <pc:docMk/>
            <pc:sldMk cId="229238195" sldId="2134804379"/>
            <ac:spMk id="45" creationId="{0ABD2072-E852-E887-9816-6E05A1B50D27}"/>
          </ac:spMkLst>
        </pc:spChg>
        <pc:spChg chg="add del mod modVis">
          <ac:chgData name="Wenwen Zhang" userId="9dd81366-5d6f-445a-b031-6ea562624431" providerId="ADAL" clId="{83AF0EAE-1449-4C87-B14F-64EAAA6BDADC}" dt="2023-03-08T15:31:49.342" v="53477"/>
          <ac:spMkLst>
            <pc:docMk/>
            <pc:sldMk cId="229238195" sldId="2134804379"/>
            <ac:spMk id="48" creationId="{A62B03C1-E0D2-DF0A-0D61-071A0672AD21}"/>
          </ac:spMkLst>
        </pc:spChg>
        <pc:spChg chg="del">
          <ac:chgData name="Wenwen Zhang" userId="9dd81366-5d6f-445a-b031-6ea562624431" providerId="ADAL" clId="{83AF0EAE-1449-4C87-B14F-64EAAA6BDADC}" dt="2023-03-06T16:42:06.918" v="46508"/>
          <ac:spMkLst>
            <pc:docMk/>
            <pc:sldMk cId="229238195" sldId="2134804379"/>
            <ac:spMk id="50" creationId="{D704A221-C1CD-6735-B476-2ACB998FAFA0}"/>
          </ac:spMkLst>
        </pc:spChg>
        <pc:spChg chg="add del mod modVis">
          <ac:chgData name="Wenwen Zhang" userId="9dd81366-5d6f-445a-b031-6ea562624431" providerId="ADAL" clId="{83AF0EAE-1449-4C87-B14F-64EAAA6BDADC}" dt="2023-03-08T15:31:57.261" v="53700"/>
          <ac:spMkLst>
            <pc:docMk/>
            <pc:sldMk cId="229238195" sldId="2134804379"/>
            <ac:spMk id="52" creationId="{6BA30126-3690-7CD6-6EC7-32A2E345A7FA}"/>
          </ac:spMkLst>
        </pc:spChg>
        <pc:spChg chg="del">
          <ac:chgData name="Wenwen Zhang" userId="9dd81366-5d6f-445a-b031-6ea562624431" providerId="ADAL" clId="{83AF0EAE-1449-4C87-B14F-64EAAA6BDADC}" dt="2023-03-06T16:42:06.923" v="46526"/>
          <ac:spMkLst>
            <pc:docMk/>
            <pc:sldMk cId="229238195" sldId="2134804379"/>
            <ac:spMk id="52" creationId="{79DB6437-DA66-59A5-4A9E-21E70FD9F892}"/>
          </ac:spMkLst>
        </pc:spChg>
        <pc:spChg chg="del">
          <ac:chgData name="Wenwen Zhang" userId="9dd81366-5d6f-445a-b031-6ea562624431" providerId="ADAL" clId="{83AF0EAE-1449-4C87-B14F-64EAAA6BDADC}" dt="2023-03-06T16:42:06.928" v="46553"/>
          <ac:spMkLst>
            <pc:docMk/>
            <pc:sldMk cId="229238195" sldId="2134804379"/>
            <ac:spMk id="53" creationId="{B4E76467-06F7-C06D-1143-BFB2409B175D}"/>
          </ac:spMkLst>
        </pc:spChg>
        <pc:spChg chg="add mod replST">
          <ac:chgData name="Wenwen Zhang" userId="9dd81366-5d6f-445a-b031-6ea562624431" providerId="ADAL" clId="{83AF0EAE-1449-4C87-B14F-64EAAA6BDADC}" dt="2023-03-08T15:32:46.606" v="54806"/>
          <ac:spMkLst>
            <pc:docMk/>
            <pc:sldMk cId="229238195" sldId="2134804379"/>
            <ac:spMk id="54" creationId="{707B4D60-51C7-0AF0-04C6-BAD0C1E8E91E}"/>
          </ac:spMkLst>
        </pc:spChg>
        <pc:spChg chg="del">
          <ac:chgData name="Wenwen Zhang" userId="9dd81366-5d6f-445a-b031-6ea562624431" providerId="ADAL" clId="{83AF0EAE-1449-4C87-B14F-64EAAA6BDADC}" dt="2023-03-06T16:42:06.927" v="46544"/>
          <ac:spMkLst>
            <pc:docMk/>
            <pc:sldMk cId="229238195" sldId="2134804379"/>
            <ac:spMk id="55" creationId="{0F2B7D9A-2B76-7A86-D1CB-6298E418B73A}"/>
          </ac:spMkLst>
        </pc:spChg>
        <pc:spChg chg="add del mod modVis">
          <ac:chgData name="Wenwen Zhang" userId="9dd81366-5d6f-445a-b031-6ea562624431" providerId="ADAL" clId="{83AF0EAE-1449-4C87-B14F-64EAAA6BDADC}" dt="2023-03-08T15:32:09.277" v="53914"/>
          <ac:spMkLst>
            <pc:docMk/>
            <pc:sldMk cId="229238195" sldId="2134804379"/>
            <ac:spMk id="55" creationId="{545089F4-3A85-BCB0-C01E-F0E46DED910C}"/>
          </ac:spMkLst>
        </pc:spChg>
        <pc:spChg chg="add mod replST">
          <ac:chgData name="Wenwen Zhang" userId="9dd81366-5d6f-445a-b031-6ea562624431" providerId="ADAL" clId="{83AF0EAE-1449-4C87-B14F-64EAAA6BDADC}" dt="2023-03-08T15:32:46.607" v="54809"/>
          <ac:spMkLst>
            <pc:docMk/>
            <pc:sldMk cId="229238195" sldId="2134804379"/>
            <ac:spMk id="56" creationId="{EB96B161-D8D5-E0FC-78BC-A904E9A4C9C2}"/>
          </ac:spMkLst>
        </pc:spChg>
        <pc:spChg chg="del">
          <ac:chgData name="Wenwen Zhang" userId="9dd81366-5d6f-445a-b031-6ea562624431" providerId="ADAL" clId="{83AF0EAE-1449-4C87-B14F-64EAAA6BDADC}" dt="2023-03-06T16:42:06.915" v="46493"/>
          <ac:spMkLst>
            <pc:docMk/>
            <pc:sldMk cId="229238195" sldId="2134804379"/>
            <ac:spMk id="57" creationId="{67A2F1F0-34C5-1E14-9492-F080E73DCC7F}"/>
          </ac:spMkLst>
        </pc:spChg>
        <pc:spChg chg="add del mod modVis">
          <ac:chgData name="Wenwen Zhang" userId="9dd81366-5d6f-445a-b031-6ea562624431" providerId="ADAL" clId="{83AF0EAE-1449-4C87-B14F-64EAAA6BDADC}" dt="2023-03-08T15:32:18.589" v="54093"/>
          <ac:spMkLst>
            <pc:docMk/>
            <pc:sldMk cId="229238195" sldId="2134804379"/>
            <ac:spMk id="58" creationId="{33877DAC-A130-EC70-15E3-B28547F11FD0}"/>
          </ac:spMkLst>
        </pc:spChg>
        <pc:spChg chg="add del mod replST">
          <ac:chgData name="Wenwen Zhang" userId="9dd81366-5d6f-445a-b031-6ea562624431" providerId="ADAL" clId="{83AF0EAE-1449-4C87-B14F-64EAAA6BDADC}" dt="2023-03-06T16:43:11.595" v="48065"/>
          <ac:spMkLst>
            <pc:docMk/>
            <pc:sldMk cId="229238195" sldId="2134804379"/>
            <ac:spMk id="58" creationId="{D4A16344-6D0A-FFB7-7B72-BE71F52EA597}"/>
          </ac:spMkLst>
        </pc:spChg>
        <pc:spChg chg="del">
          <ac:chgData name="Wenwen Zhang" userId="9dd81366-5d6f-445a-b031-6ea562624431" providerId="ADAL" clId="{83AF0EAE-1449-4C87-B14F-64EAAA6BDADC}" dt="2023-03-06T16:42:06.928" v="46550"/>
          <ac:spMkLst>
            <pc:docMk/>
            <pc:sldMk cId="229238195" sldId="2134804379"/>
            <ac:spMk id="59" creationId="{C18E9B07-EED1-16A9-078D-8DCCB1EF088E}"/>
          </ac:spMkLst>
        </pc:spChg>
        <pc:spChg chg="add del mod modVis">
          <ac:chgData name="Wenwen Zhang" userId="9dd81366-5d6f-445a-b031-6ea562624431" providerId="ADAL" clId="{83AF0EAE-1449-4C87-B14F-64EAAA6BDADC}" dt="2023-03-08T15:32:27.949" v="54230"/>
          <ac:spMkLst>
            <pc:docMk/>
            <pc:sldMk cId="229238195" sldId="2134804379"/>
            <ac:spMk id="60" creationId="{690E40E5-6EDB-A2C8-E965-667BB7ABB708}"/>
          </ac:spMkLst>
        </pc:spChg>
        <pc:spChg chg="del">
          <ac:chgData name="Wenwen Zhang" userId="9dd81366-5d6f-445a-b031-6ea562624431" providerId="ADAL" clId="{83AF0EAE-1449-4C87-B14F-64EAAA6BDADC}" dt="2023-03-06T16:42:06.914" v="46490"/>
          <ac:spMkLst>
            <pc:docMk/>
            <pc:sldMk cId="229238195" sldId="2134804379"/>
            <ac:spMk id="60" creationId="{9E924F7A-EFD0-439E-C196-378FCAE536E6}"/>
          </ac:spMkLst>
        </pc:spChg>
        <pc:spChg chg="add mod replST">
          <ac:chgData name="Wenwen Zhang" userId="9dd81366-5d6f-445a-b031-6ea562624431" providerId="ADAL" clId="{83AF0EAE-1449-4C87-B14F-64EAAA6BDADC}" dt="2023-03-08T15:32:46.606" v="54808"/>
          <ac:spMkLst>
            <pc:docMk/>
            <pc:sldMk cId="229238195" sldId="2134804379"/>
            <ac:spMk id="61" creationId="{501D4586-E55F-01BF-5AAE-601C31CAB984}"/>
          </ac:spMkLst>
        </pc:spChg>
        <pc:spChg chg="del">
          <ac:chgData name="Wenwen Zhang" userId="9dd81366-5d6f-445a-b031-6ea562624431" providerId="ADAL" clId="{83AF0EAE-1449-4C87-B14F-64EAAA6BDADC}" dt="2023-03-06T16:42:06.927" v="46547"/>
          <ac:spMkLst>
            <pc:docMk/>
            <pc:sldMk cId="229238195" sldId="2134804379"/>
            <ac:spMk id="62" creationId="{2138C2B3-4621-0EFB-9FE3-E864ACF378D7}"/>
          </ac:spMkLst>
        </pc:spChg>
        <pc:spChg chg="add del mod modVis">
          <ac:chgData name="Wenwen Zhang" userId="9dd81366-5d6f-445a-b031-6ea562624431" providerId="ADAL" clId="{83AF0EAE-1449-4C87-B14F-64EAAA6BDADC}" dt="2023-03-08T15:32:29.371" v="54358"/>
          <ac:spMkLst>
            <pc:docMk/>
            <pc:sldMk cId="229238195" sldId="2134804379"/>
            <ac:spMk id="63" creationId="{52B9D490-EC2C-4C6A-1D50-9B3944BEE6B0}"/>
          </ac:spMkLst>
        </pc:spChg>
        <pc:spChg chg="del">
          <ac:chgData name="Wenwen Zhang" userId="9dd81366-5d6f-445a-b031-6ea562624431" providerId="ADAL" clId="{83AF0EAE-1449-4C87-B14F-64EAAA6BDADC}" dt="2023-03-06T16:42:06.926" v="46541"/>
          <ac:spMkLst>
            <pc:docMk/>
            <pc:sldMk cId="229238195" sldId="2134804379"/>
            <ac:spMk id="63" creationId="{666FABD4-5416-C2FC-0E0A-A36B48F1B768}"/>
          </ac:spMkLst>
        </pc:spChg>
        <pc:spChg chg="add mod replST">
          <ac:chgData name="Wenwen Zhang" userId="9dd81366-5d6f-445a-b031-6ea562624431" providerId="ADAL" clId="{83AF0EAE-1449-4C87-B14F-64EAAA6BDADC}" dt="2023-03-08T15:32:46.606" v="54805"/>
          <ac:spMkLst>
            <pc:docMk/>
            <pc:sldMk cId="229238195" sldId="2134804379"/>
            <ac:spMk id="64" creationId="{6C13068D-0191-ABA0-2CDE-297D6EE1F0E4}"/>
          </ac:spMkLst>
        </pc:spChg>
        <pc:spChg chg="add mod replST">
          <ac:chgData name="Wenwen Zhang" userId="9dd81366-5d6f-445a-b031-6ea562624431" providerId="ADAL" clId="{83AF0EAE-1449-4C87-B14F-64EAAA6BDADC}" dt="2023-03-08T15:32:46.606" v="54807"/>
          <ac:spMkLst>
            <pc:docMk/>
            <pc:sldMk cId="229238195" sldId="2134804379"/>
            <ac:spMk id="65" creationId="{38354BFB-BCCB-274E-4B35-BF146ED75CCA}"/>
          </ac:spMkLst>
        </pc:spChg>
        <pc:spChg chg="add mod replST">
          <ac:chgData name="Wenwen Zhang" userId="9dd81366-5d6f-445a-b031-6ea562624431" providerId="ADAL" clId="{83AF0EAE-1449-4C87-B14F-64EAAA6BDADC}" dt="2023-03-08T15:32:46.607" v="54811"/>
          <ac:spMkLst>
            <pc:docMk/>
            <pc:sldMk cId="229238195" sldId="2134804379"/>
            <ac:spMk id="66" creationId="{78160A0E-E066-F3A0-5A8A-BCBA9B0855C5}"/>
          </ac:spMkLst>
        </pc:spChg>
        <pc:spChg chg="add mod replST">
          <ac:chgData name="Wenwen Zhang" userId="9dd81366-5d6f-445a-b031-6ea562624431" providerId="ADAL" clId="{83AF0EAE-1449-4C87-B14F-64EAAA6BDADC}" dt="2023-03-08T15:32:46.607" v="54810"/>
          <ac:spMkLst>
            <pc:docMk/>
            <pc:sldMk cId="229238195" sldId="2134804379"/>
            <ac:spMk id="67" creationId="{8ED46171-FE10-7EDD-D77A-B5821F51D4C2}"/>
          </ac:spMkLst>
        </pc:spChg>
        <pc:spChg chg="add mod replST">
          <ac:chgData name="Wenwen Zhang" userId="9dd81366-5d6f-445a-b031-6ea562624431" providerId="ADAL" clId="{83AF0EAE-1449-4C87-B14F-64EAAA6BDADC}" dt="2023-03-08T15:32:46.607" v="54812"/>
          <ac:spMkLst>
            <pc:docMk/>
            <pc:sldMk cId="229238195" sldId="2134804379"/>
            <ac:spMk id="68" creationId="{BDCBAD0F-6B29-3D00-24DE-2719E3E5644F}"/>
          </ac:spMkLst>
        </pc:spChg>
        <pc:spChg chg="add mod replST">
          <ac:chgData name="Wenwen Zhang" userId="9dd81366-5d6f-445a-b031-6ea562624431" providerId="ADAL" clId="{83AF0EAE-1449-4C87-B14F-64EAAA6BDADC}" dt="2023-03-08T15:32:46.607" v="54813"/>
          <ac:spMkLst>
            <pc:docMk/>
            <pc:sldMk cId="229238195" sldId="2134804379"/>
            <ac:spMk id="69" creationId="{600DC356-2B08-37E2-00A7-0D71E622B682}"/>
          </ac:spMkLst>
        </pc:spChg>
        <pc:spChg chg="del">
          <ac:chgData name="Wenwen Zhang" userId="9dd81366-5d6f-445a-b031-6ea562624431" providerId="ADAL" clId="{83AF0EAE-1449-4C87-B14F-64EAAA6BDADC}" dt="2023-03-06T16:42:06.916" v="46499"/>
          <ac:spMkLst>
            <pc:docMk/>
            <pc:sldMk cId="229238195" sldId="2134804379"/>
            <ac:spMk id="70" creationId="{72023AE1-A439-B900-256B-0D953B22A882}"/>
          </ac:spMkLst>
        </pc:spChg>
        <pc:spChg chg="del">
          <ac:chgData name="Wenwen Zhang" userId="9dd81366-5d6f-445a-b031-6ea562624431" providerId="ADAL" clId="{83AF0EAE-1449-4C87-B14F-64EAAA6BDADC}" dt="2023-03-06T16:42:06.917" v="46502"/>
          <ac:spMkLst>
            <pc:docMk/>
            <pc:sldMk cId="229238195" sldId="2134804379"/>
            <ac:spMk id="71" creationId="{9BA9369D-964F-B33F-B466-0912DEA7E379}"/>
          </ac:spMkLst>
        </pc:spChg>
        <pc:spChg chg="add del mod modVis">
          <ac:chgData name="Wenwen Zhang" userId="9dd81366-5d6f-445a-b031-6ea562624431" providerId="ADAL" clId="{83AF0EAE-1449-4C87-B14F-64EAAA6BDADC}" dt="2023-03-08T15:32:42.637" v="54600"/>
          <ac:spMkLst>
            <pc:docMk/>
            <pc:sldMk cId="229238195" sldId="2134804379"/>
            <ac:spMk id="71" creationId="{D5B60404-0865-7B66-F1D1-3D9083F11EB7}"/>
          </ac:spMkLst>
        </pc:spChg>
        <pc:spChg chg="del">
          <ac:chgData name="Wenwen Zhang" userId="9dd81366-5d6f-445a-b031-6ea562624431" providerId="ADAL" clId="{83AF0EAE-1449-4C87-B14F-64EAAA6BDADC}" dt="2023-03-06T16:42:06.920" v="46514"/>
          <ac:spMkLst>
            <pc:docMk/>
            <pc:sldMk cId="229238195" sldId="2134804379"/>
            <ac:spMk id="72" creationId="{6605DE1C-4948-6AFA-EA3B-0608B754999B}"/>
          </ac:spMkLst>
        </pc:spChg>
        <pc:spChg chg="del">
          <ac:chgData name="Wenwen Zhang" userId="9dd81366-5d6f-445a-b031-6ea562624431" providerId="ADAL" clId="{83AF0EAE-1449-4C87-B14F-64EAAA6BDADC}" dt="2023-03-06T16:42:06.913" v="46484"/>
          <ac:spMkLst>
            <pc:docMk/>
            <pc:sldMk cId="229238195" sldId="2134804379"/>
            <ac:spMk id="73" creationId="{76DEBE83-3435-FD63-23E7-899A60C53A22}"/>
          </ac:spMkLst>
        </pc:spChg>
        <pc:spChg chg="add del mod modVis">
          <ac:chgData name="Wenwen Zhang" userId="9dd81366-5d6f-445a-b031-6ea562624431" providerId="ADAL" clId="{83AF0EAE-1449-4C87-B14F-64EAAA6BDADC}" dt="2023-03-08T15:32:46.613" v="54842"/>
          <ac:spMkLst>
            <pc:docMk/>
            <pc:sldMk cId="229238195" sldId="2134804379"/>
            <ac:spMk id="73" creationId="{A648449E-11E6-2E90-11F7-5F6341FDB3ED}"/>
          </ac:spMkLst>
        </pc:spChg>
        <pc:spChg chg="del">
          <ac:chgData name="Wenwen Zhang" userId="9dd81366-5d6f-445a-b031-6ea562624431" providerId="ADAL" clId="{83AF0EAE-1449-4C87-B14F-64EAAA6BDADC}" dt="2023-03-06T16:42:06.921" v="46520"/>
          <ac:spMkLst>
            <pc:docMk/>
            <pc:sldMk cId="229238195" sldId="2134804379"/>
            <ac:spMk id="74" creationId="{1F4F12DE-80BC-CD1E-CE14-C358C0142033}"/>
          </ac:spMkLst>
        </pc:spChg>
        <pc:spChg chg="del">
          <ac:chgData name="Wenwen Zhang" userId="9dd81366-5d6f-445a-b031-6ea562624431" providerId="ADAL" clId="{83AF0EAE-1449-4C87-B14F-64EAAA6BDADC}" dt="2023-03-06T16:42:06.916" v="46496"/>
          <ac:spMkLst>
            <pc:docMk/>
            <pc:sldMk cId="229238195" sldId="2134804379"/>
            <ac:spMk id="75" creationId="{F62950B7-669A-6CD8-9F0A-F95CBD52457B}"/>
          </ac:spMkLst>
        </pc:spChg>
        <pc:spChg chg="add mod">
          <ac:chgData name="Wenwen Zhang" userId="9dd81366-5d6f-445a-b031-6ea562624431" providerId="ADAL" clId="{83AF0EAE-1449-4C87-B14F-64EAAA6BDADC}" dt="2023-03-08T15:37:50.765" v="54880" actId="20577"/>
          <ac:spMkLst>
            <pc:docMk/>
            <pc:sldMk cId="229238195" sldId="2134804379"/>
            <ac:spMk id="75" creationId="{F7802D48-548E-A01E-777F-C1F73FF4CB1B}"/>
          </ac:spMkLst>
        </pc:spChg>
        <pc:spChg chg="del">
          <ac:chgData name="Wenwen Zhang" userId="9dd81366-5d6f-445a-b031-6ea562624431" providerId="ADAL" clId="{83AF0EAE-1449-4C87-B14F-64EAAA6BDADC}" dt="2023-03-06T16:42:06.912" v="46481"/>
          <ac:spMkLst>
            <pc:docMk/>
            <pc:sldMk cId="229238195" sldId="2134804379"/>
            <ac:spMk id="76" creationId="{690E012C-FA9F-CB8B-3E51-9D250BF06124}"/>
          </ac:spMkLst>
        </pc:spChg>
        <pc:spChg chg="del">
          <ac:chgData name="Wenwen Zhang" userId="9dd81366-5d6f-445a-b031-6ea562624431" providerId="ADAL" clId="{83AF0EAE-1449-4C87-B14F-64EAAA6BDADC}" dt="2023-03-06T16:42:06.922" v="46523"/>
          <ac:spMkLst>
            <pc:docMk/>
            <pc:sldMk cId="229238195" sldId="2134804379"/>
            <ac:spMk id="77" creationId="{9999190A-523B-71F3-E5FD-8F91A46CFF1C}"/>
          </ac:spMkLst>
        </pc:spChg>
        <pc:spChg chg="del">
          <ac:chgData name="Wenwen Zhang" userId="9dd81366-5d6f-445a-b031-6ea562624431" providerId="ADAL" clId="{83AF0EAE-1449-4C87-B14F-64EAAA6BDADC}" dt="2023-03-06T16:42:06.923" v="46529"/>
          <ac:spMkLst>
            <pc:docMk/>
            <pc:sldMk cId="229238195" sldId="2134804379"/>
            <ac:spMk id="78" creationId="{682D78E7-CCEC-541B-D006-0EC6F0D719C3}"/>
          </ac:spMkLst>
        </pc:spChg>
        <pc:spChg chg="del">
          <ac:chgData name="Wenwen Zhang" userId="9dd81366-5d6f-445a-b031-6ea562624431" providerId="ADAL" clId="{83AF0EAE-1449-4C87-B14F-64EAAA6BDADC}" dt="2023-03-06T16:42:06.920" v="46517"/>
          <ac:spMkLst>
            <pc:docMk/>
            <pc:sldMk cId="229238195" sldId="2134804379"/>
            <ac:spMk id="79" creationId="{BD2CF8F2-A147-09EE-7875-22F736A2CB67}"/>
          </ac:spMkLst>
        </pc:spChg>
        <pc:spChg chg="del">
          <ac:chgData name="Wenwen Zhang" userId="9dd81366-5d6f-445a-b031-6ea562624431" providerId="ADAL" clId="{83AF0EAE-1449-4C87-B14F-64EAAA6BDADC}" dt="2023-03-06T16:42:06.914" v="46487"/>
          <ac:spMkLst>
            <pc:docMk/>
            <pc:sldMk cId="229238195" sldId="2134804379"/>
            <ac:spMk id="80" creationId="{6969FBE4-702F-D7ED-B19E-76BDC541D940}"/>
          </ac:spMkLst>
        </pc:spChg>
        <pc:spChg chg="del">
          <ac:chgData name="Wenwen Zhang" userId="9dd81366-5d6f-445a-b031-6ea562624431" providerId="ADAL" clId="{83AF0EAE-1449-4C87-B14F-64EAAA6BDADC}" dt="2023-03-06T16:42:06.918" v="46505"/>
          <ac:spMkLst>
            <pc:docMk/>
            <pc:sldMk cId="229238195" sldId="2134804379"/>
            <ac:spMk id="81" creationId="{369B0425-EF39-6BDD-C053-0FCD1744812D}"/>
          </ac:spMkLst>
        </pc:spChg>
        <pc:spChg chg="del">
          <ac:chgData name="Wenwen Zhang" userId="9dd81366-5d6f-445a-b031-6ea562624431" providerId="ADAL" clId="{83AF0EAE-1449-4C87-B14F-64EAAA6BDADC}" dt="2023-03-06T16:42:06.924" v="46532"/>
          <ac:spMkLst>
            <pc:docMk/>
            <pc:sldMk cId="229238195" sldId="2134804379"/>
            <ac:spMk id="82" creationId="{E83B378A-A235-A00F-594B-F4312D830C06}"/>
          </ac:spMkLst>
        </pc:spChg>
        <pc:spChg chg="del">
          <ac:chgData name="Wenwen Zhang" userId="9dd81366-5d6f-445a-b031-6ea562624431" providerId="ADAL" clId="{83AF0EAE-1449-4C87-B14F-64EAAA6BDADC}" dt="2023-03-06T16:42:06.925" v="46535"/>
          <ac:spMkLst>
            <pc:docMk/>
            <pc:sldMk cId="229238195" sldId="2134804379"/>
            <ac:spMk id="83" creationId="{735FE05C-B482-FEDA-FEC0-EBE1391E1D4B}"/>
          </ac:spMkLst>
        </pc:spChg>
        <pc:spChg chg="del">
          <ac:chgData name="Wenwen Zhang" userId="9dd81366-5d6f-445a-b031-6ea562624431" providerId="ADAL" clId="{83AF0EAE-1449-4C87-B14F-64EAAA6BDADC}" dt="2023-03-06T16:42:06.919" v="46511"/>
          <ac:spMkLst>
            <pc:docMk/>
            <pc:sldMk cId="229238195" sldId="2134804379"/>
            <ac:spMk id="84" creationId="{B4D4445E-9887-1D8D-43D4-95043202C2CB}"/>
          </ac:spMkLst>
        </pc:spChg>
        <pc:spChg chg="del">
          <ac:chgData name="Wenwen Zhang" userId="9dd81366-5d6f-445a-b031-6ea562624431" providerId="ADAL" clId="{83AF0EAE-1449-4C87-B14F-64EAAA6BDADC}" dt="2023-03-06T16:42:06.925" v="46538"/>
          <ac:spMkLst>
            <pc:docMk/>
            <pc:sldMk cId="229238195" sldId="2134804379"/>
            <ac:spMk id="85" creationId="{B099590B-A727-5B58-A44C-78E1B8A168A4}"/>
          </ac:spMkLst>
        </pc:spChg>
        <pc:spChg chg="add del mod replST">
          <ac:chgData name="Wenwen Zhang" userId="9dd81366-5d6f-445a-b031-6ea562624431" providerId="ADAL" clId="{83AF0EAE-1449-4C87-B14F-64EAAA6BDADC}" dt="2023-03-08T15:32:27.876" v="54104"/>
          <ac:spMkLst>
            <pc:docMk/>
            <pc:sldMk cId="229238195" sldId="2134804379"/>
            <ac:spMk id="89" creationId="{C2E540BC-E123-D25A-87EC-7358306395BA}"/>
          </ac:spMkLst>
        </pc:spChg>
        <pc:spChg chg="del">
          <ac:chgData name="Wenwen Zhang" userId="9dd81366-5d6f-445a-b031-6ea562624431" providerId="ADAL" clId="{83AF0EAE-1449-4C87-B14F-64EAAA6BDADC}" dt="2023-03-06T16:42:06.906" v="46464"/>
          <ac:spMkLst>
            <pc:docMk/>
            <pc:sldMk cId="229238195" sldId="2134804379"/>
            <ac:spMk id="90" creationId="{AD8BC905-AB1E-8F7F-EACA-0FF03BADC299}"/>
          </ac:spMkLst>
        </pc:spChg>
        <pc:spChg chg="add del mod ord replST">
          <ac:chgData name="Wenwen Zhang" userId="9dd81366-5d6f-445a-b031-6ea562624431" providerId="ADAL" clId="{83AF0EAE-1449-4C87-B14F-64EAAA6BDADC}" dt="2023-03-08T15:31:49.222" v="53250"/>
          <ac:spMkLst>
            <pc:docMk/>
            <pc:sldMk cId="229238195" sldId="2134804379"/>
            <ac:spMk id="91" creationId="{07FBEAE2-A474-C915-6F53-92F013B61173}"/>
          </ac:spMkLst>
        </pc:spChg>
        <pc:spChg chg="add mod ord replST">
          <ac:chgData name="Wenwen Zhang" userId="9dd81366-5d6f-445a-b031-6ea562624431" providerId="ADAL" clId="{83AF0EAE-1449-4C87-B14F-64EAAA6BDADC}" dt="2023-03-08T15:32:46.608" v="54815"/>
          <ac:spMkLst>
            <pc:docMk/>
            <pc:sldMk cId="229238195" sldId="2134804379"/>
            <ac:spMk id="92" creationId="{1611B45B-1A54-E7E2-0293-2779D6A87517}"/>
          </ac:spMkLst>
        </pc:spChg>
        <pc:spChg chg="add del mod ord replST">
          <ac:chgData name="Wenwen Zhang" userId="9dd81366-5d6f-445a-b031-6ea562624431" providerId="ADAL" clId="{83AF0EAE-1449-4C87-B14F-64EAAA6BDADC}" dt="2023-03-08T15:31:49.220" v="53241"/>
          <ac:spMkLst>
            <pc:docMk/>
            <pc:sldMk cId="229238195" sldId="2134804379"/>
            <ac:spMk id="93" creationId="{DBE9A994-0836-B1C7-B036-FF1011C16D59}"/>
          </ac:spMkLst>
        </pc:spChg>
        <pc:spChg chg="add del mod ord replST">
          <ac:chgData name="Wenwen Zhang" userId="9dd81366-5d6f-445a-b031-6ea562624431" providerId="ADAL" clId="{83AF0EAE-1449-4C87-B14F-64EAAA6BDADC}" dt="2023-03-08T15:32:03.129" v="53704"/>
          <ac:spMkLst>
            <pc:docMk/>
            <pc:sldMk cId="229238195" sldId="2134804379"/>
            <ac:spMk id="94" creationId="{E8945E1F-98D9-C804-3D5B-273F67C4B32A}"/>
          </ac:spMkLst>
        </pc:spChg>
        <pc:spChg chg="add del mod replST">
          <ac:chgData name="Wenwen Zhang" userId="9dd81366-5d6f-445a-b031-6ea562624431" providerId="ADAL" clId="{83AF0EAE-1449-4C87-B14F-64EAAA6BDADC}" dt="2023-03-08T15:31:49.220" v="53242"/>
          <ac:spMkLst>
            <pc:docMk/>
            <pc:sldMk cId="229238195" sldId="2134804379"/>
            <ac:spMk id="95" creationId="{DE197F1D-0369-B38A-203B-A60FE9FEA215}"/>
          </ac:spMkLst>
        </pc:spChg>
        <pc:spChg chg="add del mod replST">
          <ac:chgData name="Wenwen Zhang" userId="9dd81366-5d6f-445a-b031-6ea562624431" providerId="ADAL" clId="{83AF0EAE-1449-4C87-B14F-64EAAA6BDADC}" dt="2023-03-08T15:32:03.129" v="53705"/>
          <ac:spMkLst>
            <pc:docMk/>
            <pc:sldMk cId="229238195" sldId="2134804379"/>
            <ac:spMk id="96" creationId="{57779CD8-5012-A3AC-9B51-F6498D5F813F}"/>
          </ac:spMkLst>
        </pc:spChg>
        <pc:spChg chg="add del mod modVis">
          <ac:chgData name="Wenwen Zhang" userId="9dd81366-5d6f-445a-b031-6ea562624431" providerId="ADAL" clId="{83AF0EAE-1449-4C87-B14F-64EAAA6BDADC}" dt="2023-03-06T16:42:30.600" v="47554"/>
          <ac:spMkLst>
            <pc:docMk/>
            <pc:sldMk cId="229238195" sldId="2134804379"/>
            <ac:spMk id="97" creationId="{E990DB39-1DED-D18C-082A-39F11DB6AF5A}"/>
          </ac:spMkLst>
        </pc:spChg>
        <pc:spChg chg="add del mod modVis">
          <ac:chgData name="Wenwen Zhang" userId="9dd81366-5d6f-445a-b031-6ea562624431" providerId="ADAL" clId="{83AF0EAE-1449-4C87-B14F-64EAAA6BDADC}" dt="2023-03-06T16:42:39.119" v="47802"/>
          <ac:spMkLst>
            <pc:docMk/>
            <pc:sldMk cId="229238195" sldId="2134804379"/>
            <ac:spMk id="99" creationId="{C644CFCE-CC19-B864-79F7-E3DB6CF62754}"/>
          </ac:spMkLst>
        </pc:spChg>
        <pc:spChg chg="add del mod modVis">
          <ac:chgData name="Wenwen Zhang" userId="9dd81366-5d6f-445a-b031-6ea562624431" providerId="ADAL" clId="{83AF0EAE-1449-4C87-B14F-64EAAA6BDADC}" dt="2023-03-06T16:42:42.343" v="48002"/>
          <ac:spMkLst>
            <pc:docMk/>
            <pc:sldMk cId="229238195" sldId="2134804379"/>
            <ac:spMk id="101" creationId="{8BF2A5FD-DE5E-1D4A-C2D8-6EBFB5F3BB90}"/>
          </ac:spMkLst>
        </pc:spChg>
        <pc:spChg chg="add del mod modVis">
          <ac:chgData name="Wenwen Zhang" userId="9dd81366-5d6f-445a-b031-6ea562624431" providerId="ADAL" clId="{83AF0EAE-1449-4C87-B14F-64EAAA6BDADC}" dt="2023-03-06T16:42:46.524" v="48054"/>
          <ac:spMkLst>
            <pc:docMk/>
            <pc:sldMk cId="229238195" sldId="2134804379"/>
            <ac:spMk id="103" creationId="{BDA57536-F7F5-D437-D939-AF5D0458CD47}"/>
          </ac:spMkLst>
        </pc:spChg>
        <pc:spChg chg="add mod ord">
          <ac:chgData name="Wenwen Zhang" userId="9dd81366-5d6f-445a-b031-6ea562624431" providerId="ADAL" clId="{83AF0EAE-1449-4C87-B14F-64EAAA6BDADC}" dt="2023-03-08T15:32:46.608" v="54817"/>
          <ac:spMkLst>
            <pc:docMk/>
            <pc:sldMk cId="229238195" sldId="2134804379"/>
            <ac:spMk id="104" creationId="{863F4845-5A80-8922-6F8D-CC5A636B3C7F}"/>
          </ac:spMkLst>
        </pc:spChg>
        <pc:spChg chg="add del mod modVis">
          <ac:chgData name="Wenwen Zhang" userId="9dd81366-5d6f-445a-b031-6ea562624431" providerId="ADAL" clId="{83AF0EAE-1449-4C87-B14F-64EAAA6BDADC}" dt="2023-03-06T16:43:11.662" v="48190"/>
          <ac:spMkLst>
            <pc:docMk/>
            <pc:sldMk cId="229238195" sldId="2134804379"/>
            <ac:spMk id="105" creationId="{B1791338-06B4-7A1C-AD7F-DA2D49F2D638}"/>
          </ac:spMkLst>
        </pc:spChg>
        <pc:spChg chg="del mod">
          <ac:chgData name="Wenwen Zhang" userId="9dd81366-5d6f-445a-b031-6ea562624431" providerId="ADAL" clId="{83AF0EAE-1449-4C87-B14F-64EAAA6BDADC}" dt="2023-03-06T16:42:49.326" v="48057"/>
          <ac:spMkLst>
            <pc:docMk/>
            <pc:sldMk cId="229238195" sldId="2134804379"/>
            <ac:spMk id="149" creationId="{2EE848B4-1F42-6329-F252-6658C227E1F3}"/>
          </ac:spMkLst>
        </pc:spChg>
        <pc:spChg chg="mod ord">
          <ac:chgData name="Wenwen Zhang" userId="9dd81366-5d6f-445a-b031-6ea562624431" providerId="ADAL" clId="{83AF0EAE-1449-4C87-B14F-64EAAA6BDADC}" dt="2023-03-06T16:43:11.654" v="48143"/>
          <ac:spMkLst>
            <pc:docMk/>
            <pc:sldMk cId="229238195" sldId="2134804379"/>
            <ac:spMk id="181" creationId="{7CDC462B-DC01-E701-64AE-27E4845FB608}"/>
          </ac:spMkLst>
        </pc:spChg>
        <pc:graphicFrameChg chg="del">
          <ac:chgData name="Wenwen Zhang" userId="9dd81366-5d6f-445a-b031-6ea562624431" providerId="ADAL" clId="{83AF0EAE-1449-4C87-B14F-64EAAA6BDADC}" dt="2023-03-08T15:31:24.496" v="51948"/>
          <ac:graphicFrameMkLst>
            <pc:docMk/>
            <pc:sldMk cId="229238195" sldId="2134804379"/>
            <ac:graphicFrameMk id="4" creationId="{0D4B4D3C-A196-D6BF-B2AA-2A451BAEF372}"/>
          </ac:graphicFrameMkLst>
        </pc:graphicFrameChg>
        <pc:graphicFrameChg chg="add del mod ord replST">
          <ac:chgData name="Wenwen Zhang" userId="9dd81366-5d6f-445a-b031-6ea562624431" providerId="ADAL" clId="{83AF0EAE-1449-4C87-B14F-64EAAA6BDADC}" dt="2023-03-08T15:31:27.299" v="52193"/>
          <ac:graphicFrameMkLst>
            <pc:docMk/>
            <pc:sldMk cId="229238195" sldId="2134804379"/>
            <ac:graphicFrameMk id="5" creationId="{2E7075C9-E803-545E-6FD6-CFAF7AC01528}"/>
          </ac:graphicFrameMkLst>
        </pc:graphicFrameChg>
        <pc:graphicFrameChg chg="add del mod ord replST">
          <ac:chgData name="Wenwen Zhang" userId="9dd81366-5d6f-445a-b031-6ea562624431" providerId="ADAL" clId="{83AF0EAE-1449-4C87-B14F-64EAAA6BDADC}" dt="2023-03-08T15:31:49.287" v="53382"/>
          <ac:graphicFrameMkLst>
            <pc:docMk/>
            <pc:sldMk cId="229238195" sldId="2134804379"/>
            <ac:graphicFrameMk id="7" creationId="{E0119665-7BEA-E7AD-7086-B37FA6D5BE23}"/>
          </ac:graphicFrameMkLst>
        </pc:graphicFrameChg>
        <pc:graphicFrameChg chg="add del mod replST">
          <ac:chgData name="Wenwen Zhang" userId="9dd81366-5d6f-445a-b031-6ea562624431" providerId="ADAL" clId="{83AF0EAE-1449-4C87-B14F-64EAAA6BDADC}" dt="2023-03-08T15:31:38.406" v="53093"/>
          <ac:graphicFrameMkLst>
            <pc:docMk/>
            <pc:sldMk cId="229238195" sldId="2134804379"/>
            <ac:graphicFrameMk id="8" creationId="{7AE7B73C-343B-56F5-2BAC-1E19C688185E}"/>
          </ac:graphicFrameMkLst>
        </pc:graphicFrameChg>
        <pc:graphicFrameChg chg="add del mod replST">
          <ac:chgData name="Wenwen Zhang" userId="9dd81366-5d6f-445a-b031-6ea562624431" providerId="ADAL" clId="{83AF0EAE-1449-4C87-B14F-64EAAA6BDADC}" dt="2023-03-06T16:42:30.557" v="47449"/>
          <ac:graphicFrameMkLst>
            <pc:docMk/>
            <pc:sldMk cId="229238195" sldId="2134804379"/>
            <ac:graphicFrameMk id="11" creationId="{22702A48-8E14-33A4-2F77-93BA9E4CB455}"/>
          </ac:graphicFrameMkLst>
        </pc:graphicFrameChg>
        <pc:graphicFrameChg chg="mod">
          <ac:chgData name="Wenwen Zhang" userId="9dd81366-5d6f-445a-b031-6ea562624431" providerId="ADAL" clId="{83AF0EAE-1449-4C87-B14F-64EAAA6BDADC}" dt="2023-03-08T15:32:46.617" v="54844"/>
          <ac:graphicFrameMkLst>
            <pc:docMk/>
            <pc:sldMk cId="229238195" sldId="2134804379"/>
            <ac:graphicFrameMk id="28" creationId="{015DFAEE-F78A-C272-92CE-F25C3417CAD0}"/>
          </ac:graphicFrameMkLst>
        </pc:graphicFrameChg>
        <pc:graphicFrameChg chg="add del mod ord replST">
          <ac:chgData name="Wenwen Zhang" userId="9dd81366-5d6f-445a-b031-6ea562624431" providerId="ADAL" clId="{83AF0EAE-1449-4C87-B14F-64EAAA6BDADC}" dt="2023-03-08T15:32:09.239" v="53837"/>
          <ac:graphicFrameMkLst>
            <pc:docMk/>
            <pc:sldMk cId="229238195" sldId="2134804379"/>
            <ac:graphicFrameMk id="47" creationId="{A201ACC9-E43B-DBAD-2344-6AC45B5EC9AF}"/>
          </ac:graphicFrameMkLst>
        </pc:graphicFrameChg>
        <pc:graphicFrameChg chg="add del mod ord replST">
          <ac:chgData name="Wenwen Zhang" userId="9dd81366-5d6f-445a-b031-6ea562624431" providerId="ADAL" clId="{83AF0EAE-1449-4C87-B14F-64EAAA6BDADC}" dt="2023-03-08T15:31:57.213" v="53611"/>
          <ac:graphicFrameMkLst>
            <pc:docMk/>
            <pc:sldMk cId="229238195" sldId="2134804379"/>
            <ac:graphicFrameMk id="50" creationId="{CEA80A11-0C6B-7647-37EE-EE8BF0912FD6}"/>
          </ac:graphicFrameMkLst>
        </pc:graphicFrameChg>
        <pc:graphicFrameChg chg="add del mod ord replST">
          <ac:chgData name="Wenwen Zhang" userId="9dd81366-5d6f-445a-b031-6ea562624431" providerId="ADAL" clId="{83AF0EAE-1449-4C87-B14F-64EAAA6BDADC}" dt="2023-03-08T15:32:27.913" v="54164"/>
          <ac:graphicFrameMkLst>
            <pc:docMk/>
            <pc:sldMk cId="229238195" sldId="2134804379"/>
            <ac:graphicFrameMk id="53" creationId="{5430810A-AB93-6223-CD6D-22749A507AE8}"/>
          </ac:graphicFrameMkLst>
        </pc:graphicFrameChg>
        <pc:graphicFrameChg chg="add del mod ord replST">
          <ac:chgData name="Wenwen Zhang" userId="9dd81366-5d6f-445a-b031-6ea562624431" providerId="ADAL" clId="{83AF0EAE-1449-4C87-B14F-64EAAA6BDADC}" dt="2023-03-08T15:32:18.555" v="54022"/>
          <ac:graphicFrameMkLst>
            <pc:docMk/>
            <pc:sldMk cId="229238195" sldId="2134804379"/>
            <ac:graphicFrameMk id="57" creationId="{097C0DB0-222D-853F-59D6-76C0A8A33923}"/>
          </ac:graphicFrameMkLst>
        </pc:graphicFrameChg>
        <pc:graphicFrameChg chg="add del mod ord replST">
          <ac:chgData name="Wenwen Zhang" userId="9dd81366-5d6f-445a-b031-6ea562624431" providerId="ADAL" clId="{83AF0EAE-1449-4C87-B14F-64EAAA6BDADC}" dt="2023-03-08T15:32:29.335" v="54294"/>
          <ac:graphicFrameMkLst>
            <pc:docMk/>
            <pc:sldMk cId="229238195" sldId="2134804379"/>
            <ac:graphicFrameMk id="59" creationId="{2A602263-6CA4-47C6-2074-F6E2BDB59372}"/>
          </ac:graphicFrameMkLst>
        </pc:graphicFrameChg>
        <pc:graphicFrameChg chg="add del mod ord replST">
          <ac:chgData name="Wenwen Zhang" userId="9dd81366-5d6f-445a-b031-6ea562624431" providerId="ADAL" clId="{83AF0EAE-1449-4C87-B14F-64EAAA6BDADC}" dt="2023-03-08T15:32:42.595" v="54516"/>
          <ac:graphicFrameMkLst>
            <pc:docMk/>
            <pc:sldMk cId="229238195" sldId="2134804379"/>
            <ac:graphicFrameMk id="62" creationId="{12C5DC73-9DA9-6DAE-D164-1B100EE9CF81}"/>
          </ac:graphicFrameMkLst>
        </pc:graphicFrameChg>
        <pc:graphicFrameChg chg="add del mod ord replST">
          <ac:chgData name="Wenwen Zhang" userId="9dd81366-5d6f-445a-b031-6ea562624431" providerId="ADAL" clId="{83AF0EAE-1449-4C87-B14F-64EAAA6BDADC}" dt="2023-03-08T15:32:46.568" v="54758"/>
          <ac:graphicFrameMkLst>
            <pc:docMk/>
            <pc:sldMk cId="229238195" sldId="2134804379"/>
            <ac:graphicFrameMk id="70" creationId="{D372C70F-B43D-2BA0-8DA9-A865125DB2BF}"/>
          </ac:graphicFrameMkLst>
        </pc:graphicFrameChg>
        <pc:graphicFrameChg chg="add mod ord replST">
          <ac:chgData name="Wenwen Zhang" userId="9dd81366-5d6f-445a-b031-6ea562624431" providerId="ADAL" clId="{83AF0EAE-1449-4C87-B14F-64EAAA6BDADC}" dt="2023-03-08T15:32:46.604" v="54792"/>
          <ac:graphicFrameMkLst>
            <pc:docMk/>
            <pc:sldMk cId="229238195" sldId="2134804379"/>
            <ac:graphicFrameMk id="72" creationId="{822719C9-F7FD-A392-025E-38E2FA972109}"/>
          </ac:graphicFrameMkLst>
        </pc:graphicFrameChg>
        <pc:graphicFrameChg chg="add mod ord replST">
          <ac:chgData name="Wenwen Zhang" userId="9dd81366-5d6f-445a-b031-6ea562624431" providerId="ADAL" clId="{83AF0EAE-1449-4C87-B14F-64EAAA6BDADC}" dt="2023-03-08T15:32:46.608" v="54819"/>
          <ac:graphicFrameMkLst>
            <pc:docMk/>
            <pc:sldMk cId="229238195" sldId="2134804379"/>
            <ac:graphicFrameMk id="74" creationId="{16725533-F7A1-D0B0-8F8B-29A0F3A1C873}"/>
          </ac:graphicFrameMkLst>
        </pc:graphicFrameChg>
        <pc:graphicFrameChg chg="add del mod ord replST">
          <ac:chgData name="Wenwen Zhang" userId="9dd81366-5d6f-445a-b031-6ea562624431" providerId="ADAL" clId="{83AF0EAE-1449-4C87-B14F-64EAAA6BDADC}" dt="2023-03-06T16:42:39.091" v="47741"/>
          <ac:graphicFrameMkLst>
            <pc:docMk/>
            <pc:sldMk cId="229238195" sldId="2134804379"/>
            <ac:graphicFrameMk id="98" creationId="{1CBC2C81-120D-15D6-6736-E69EA19B6EC3}"/>
          </ac:graphicFrameMkLst>
        </pc:graphicFrameChg>
        <pc:graphicFrameChg chg="add del mod ord replST">
          <ac:chgData name="Wenwen Zhang" userId="9dd81366-5d6f-445a-b031-6ea562624431" providerId="ADAL" clId="{83AF0EAE-1449-4C87-B14F-64EAAA6BDADC}" dt="2023-03-06T16:42:42.318" v="47941"/>
          <ac:graphicFrameMkLst>
            <pc:docMk/>
            <pc:sldMk cId="229238195" sldId="2134804379"/>
            <ac:graphicFrameMk id="100" creationId="{A5A5CEE1-2E61-FDE3-33FD-43B9D06E8F66}"/>
          </ac:graphicFrameMkLst>
        </pc:graphicFrameChg>
        <pc:graphicFrameChg chg="add del mod ord replST">
          <ac:chgData name="Wenwen Zhang" userId="9dd81366-5d6f-445a-b031-6ea562624431" providerId="ADAL" clId="{83AF0EAE-1449-4C87-B14F-64EAAA6BDADC}" dt="2023-03-06T16:43:11.637" v="48129"/>
          <ac:graphicFrameMkLst>
            <pc:docMk/>
            <pc:sldMk cId="229238195" sldId="2134804379"/>
            <ac:graphicFrameMk id="102" creationId="{B5094EA3-D09B-C13A-EA70-86A19DD88915}"/>
          </ac:graphicFrameMkLst>
        </pc:graphicFrameChg>
        <pc:graphicFrameChg chg="add mod ord replST">
          <ac:chgData name="Wenwen Zhang" userId="9dd81366-5d6f-445a-b031-6ea562624431" providerId="ADAL" clId="{83AF0EAE-1449-4C87-B14F-64EAAA6BDADC}" dt="2023-03-06T16:43:11.654" v="48145"/>
          <ac:graphicFrameMkLst>
            <pc:docMk/>
            <pc:sldMk cId="229238195" sldId="2134804379"/>
            <ac:graphicFrameMk id="106" creationId="{935B6E83-3FE4-1776-1C19-AB33AD02D761}"/>
          </ac:graphicFrameMkLst>
        </pc:graphicFrameChg>
        <pc:graphicFrameChg chg="del">
          <ac:chgData name="Wenwen Zhang" userId="9dd81366-5d6f-445a-b031-6ea562624431" providerId="ADAL" clId="{83AF0EAE-1449-4C87-B14F-64EAAA6BDADC}" dt="2023-03-06T16:42:06.930" v="46557"/>
          <ac:graphicFrameMkLst>
            <pc:docMk/>
            <pc:sldMk cId="229238195" sldId="2134804379"/>
            <ac:graphicFrameMk id="152" creationId="{EFE0587E-D9F4-F9BE-EB8C-A0C4BDA85F57}"/>
          </ac:graphicFrameMkLst>
        </pc:graphicFrameChg>
        <pc:cxnChg chg="del">
          <ac:chgData name="Wenwen Zhang" userId="9dd81366-5d6f-445a-b031-6ea562624431" providerId="ADAL" clId="{83AF0EAE-1449-4C87-B14F-64EAAA6BDADC}" dt="2023-03-06T16:42:06.911" v="46476"/>
          <ac:cxnSpMkLst>
            <pc:docMk/>
            <pc:sldMk cId="229238195" sldId="2134804379"/>
            <ac:cxnSpMk id="3" creationId="{B8372F3A-4838-E400-53DE-EC91B68A78AA}"/>
          </ac:cxnSpMkLst>
        </pc:cxnChg>
        <pc:cxnChg chg="del">
          <ac:chgData name="Wenwen Zhang" userId="9dd81366-5d6f-445a-b031-6ea562624431" providerId="ADAL" clId="{83AF0EAE-1449-4C87-B14F-64EAAA6BDADC}" dt="2023-03-06T16:42:06.909" v="46466"/>
          <ac:cxnSpMkLst>
            <pc:docMk/>
            <pc:sldMk cId="229238195" sldId="2134804379"/>
            <ac:cxnSpMk id="5" creationId="{3E189A38-D8FD-0788-6407-EDE8E6C492FA}"/>
          </ac:cxnSpMkLst>
        </pc:cxnChg>
        <pc:cxnChg chg="del">
          <ac:chgData name="Wenwen Zhang" userId="9dd81366-5d6f-445a-b031-6ea562624431" providerId="ADAL" clId="{83AF0EAE-1449-4C87-B14F-64EAAA6BDADC}" dt="2023-03-06T16:42:06.909" v="46468"/>
          <ac:cxnSpMkLst>
            <pc:docMk/>
            <pc:sldMk cId="229238195" sldId="2134804379"/>
            <ac:cxnSpMk id="6" creationId="{86F5ECE4-CCD7-D29D-5152-815E7157229A}"/>
          </ac:cxnSpMkLst>
        </pc:cxnChg>
        <pc:cxnChg chg="del">
          <ac:chgData name="Wenwen Zhang" userId="9dd81366-5d6f-445a-b031-6ea562624431" providerId="ADAL" clId="{83AF0EAE-1449-4C87-B14F-64EAAA6BDADC}" dt="2023-03-06T16:42:06.910" v="46470"/>
          <ac:cxnSpMkLst>
            <pc:docMk/>
            <pc:sldMk cId="229238195" sldId="2134804379"/>
            <ac:cxnSpMk id="7" creationId="{483464A6-664D-FDAA-88EC-F63CDC91F7C5}"/>
          </ac:cxnSpMkLst>
        </pc:cxnChg>
        <pc:cxnChg chg="del">
          <ac:chgData name="Wenwen Zhang" userId="9dd81366-5d6f-445a-b031-6ea562624431" providerId="ADAL" clId="{83AF0EAE-1449-4C87-B14F-64EAAA6BDADC}" dt="2023-03-06T16:42:06.910" v="46472"/>
          <ac:cxnSpMkLst>
            <pc:docMk/>
            <pc:sldMk cId="229238195" sldId="2134804379"/>
            <ac:cxnSpMk id="8" creationId="{F019AA97-4AD8-BC06-BCCC-E1EF567722D5}"/>
          </ac:cxnSpMkLst>
        </pc:cxnChg>
        <pc:cxnChg chg="add mod ord replST">
          <ac:chgData name="Wenwen Zhang" userId="9dd81366-5d6f-445a-b031-6ea562624431" providerId="ADAL" clId="{83AF0EAE-1449-4C87-B14F-64EAAA6BDADC}" dt="2023-03-08T15:32:46.609" v="54821"/>
          <ac:cxnSpMkLst>
            <pc:docMk/>
            <pc:sldMk cId="229238195" sldId="2134804379"/>
            <ac:cxnSpMk id="9" creationId="{758AA5AC-17B3-02D7-CD9E-146FE5E66B27}"/>
          </ac:cxnSpMkLst>
        </pc:cxnChg>
        <pc:cxnChg chg="del">
          <ac:chgData name="Wenwen Zhang" userId="9dd81366-5d6f-445a-b031-6ea562624431" providerId="ADAL" clId="{83AF0EAE-1449-4C87-B14F-64EAAA6BDADC}" dt="2023-03-06T16:42:06.912" v="46478"/>
          <ac:cxnSpMkLst>
            <pc:docMk/>
            <pc:sldMk cId="229238195" sldId="2134804379"/>
            <ac:cxnSpMk id="9" creationId="{9CC3894A-3672-3961-A179-337CB5B2526B}"/>
          </ac:cxnSpMkLst>
        </pc:cxnChg>
        <pc:cxnChg chg="del">
          <ac:chgData name="Wenwen Zhang" userId="9dd81366-5d6f-445a-b031-6ea562624431" providerId="ADAL" clId="{83AF0EAE-1449-4C87-B14F-64EAAA6BDADC}" dt="2023-03-06T16:42:06.911" v="46474"/>
          <ac:cxnSpMkLst>
            <pc:docMk/>
            <pc:sldMk cId="229238195" sldId="2134804379"/>
            <ac:cxnSpMk id="10" creationId="{ADB88FE3-3BB3-4ACE-3509-BAB58098ED73}"/>
          </ac:cxnSpMkLst>
        </pc:cxnChg>
        <pc:cxnChg chg="add mod ord replST">
          <ac:chgData name="Wenwen Zhang" userId="9dd81366-5d6f-445a-b031-6ea562624431" providerId="ADAL" clId="{83AF0EAE-1449-4C87-B14F-64EAAA6BDADC}" dt="2023-03-08T15:32:46.609" v="54823"/>
          <ac:cxnSpMkLst>
            <pc:docMk/>
            <pc:sldMk cId="229238195" sldId="2134804379"/>
            <ac:cxnSpMk id="10" creationId="{EAFCF7EB-4283-8A49-FA82-2100DB8F33A7}"/>
          </ac:cxnSpMkLst>
        </pc:cxnChg>
        <pc:cxnChg chg="add mod ord replST">
          <ac:chgData name="Wenwen Zhang" userId="9dd81366-5d6f-445a-b031-6ea562624431" providerId="ADAL" clId="{83AF0EAE-1449-4C87-B14F-64EAAA6BDADC}" dt="2023-03-08T15:32:46.609" v="54825"/>
          <ac:cxnSpMkLst>
            <pc:docMk/>
            <pc:sldMk cId="229238195" sldId="2134804379"/>
            <ac:cxnSpMk id="11" creationId="{F78D58E3-5CC4-85D8-2463-8A6E6A7F3CE7}"/>
          </ac:cxnSpMkLst>
        </pc:cxnChg>
        <pc:cxnChg chg="add del mod ord replST">
          <ac:chgData name="Wenwen Zhang" userId="9dd81366-5d6f-445a-b031-6ea562624431" providerId="ADAL" clId="{83AF0EAE-1449-4C87-B14F-64EAAA6BDADC}" dt="2023-03-08T15:32:09.183" v="53720"/>
          <ac:cxnSpMkLst>
            <pc:docMk/>
            <pc:sldMk cId="229238195" sldId="2134804379"/>
            <ac:cxnSpMk id="12" creationId="{4C3984EE-8DED-9155-5A3D-475BE47AECA1}"/>
          </ac:cxnSpMkLst>
        </pc:cxnChg>
        <pc:cxnChg chg="del">
          <ac:chgData name="Wenwen Zhang" userId="9dd81366-5d6f-445a-b031-6ea562624431" providerId="ADAL" clId="{83AF0EAE-1449-4C87-B14F-64EAAA6BDADC}" dt="2023-03-06T16:42:06.912" v="46480"/>
          <ac:cxnSpMkLst>
            <pc:docMk/>
            <pc:sldMk cId="229238195" sldId="2134804379"/>
            <ac:cxnSpMk id="12" creationId="{53CFB436-18B7-2B5C-95C2-323767883710}"/>
          </ac:cxnSpMkLst>
        </pc:cxnChg>
        <pc:cxnChg chg="add del mod ord replST">
          <ac:chgData name="Wenwen Zhang" userId="9dd81366-5d6f-445a-b031-6ea562624431" providerId="ADAL" clId="{83AF0EAE-1449-4C87-B14F-64EAAA6BDADC}" dt="2023-03-08T15:32:09.182" v="53718"/>
          <ac:cxnSpMkLst>
            <pc:docMk/>
            <pc:sldMk cId="229238195" sldId="2134804379"/>
            <ac:cxnSpMk id="13" creationId="{209174C1-2207-E040-CC64-EA3520196FF5}"/>
          </ac:cxnSpMkLst>
        </pc:cxnChg>
        <pc:cxnChg chg="del">
          <ac:chgData name="Wenwen Zhang" userId="9dd81366-5d6f-445a-b031-6ea562624431" providerId="ADAL" clId="{83AF0EAE-1449-4C87-B14F-64EAAA6BDADC}" dt="2023-03-06T16:42:06.928" v="46549"/>
          <ac:cxnSpMkLst>
            <pc:docMk/>
            <pc:sldMk cId="229238195" sldId="2134804379"/>
            <ac:cxnSpMk id="13" creationId="{62DB1B82-F477-3335-E3C6-288484F802F0}"/>
          </ac:cxnSpMkLst>
        </pc:cxnChg>
        <pc:cxnChg chg="del">
          <ac:chgData name="Wenwen Zhang" userId="9dd81366-5d6f-445a-b031-6ea562624431" providerId="ADAL" clId="{83AF0EAE-1449-4C87-B14F-64EAAA6BDADC}" dt="2023-03-06T16:42:06.927" v="46546"/>
          <ac:cxnSpMkLst>
            <pc:docMk/>
            <pc:sldMk cId="229238195" sldId="2134804379"/>
            <ac:cxnSpMk id="14" creationId="{254A9CCB-0766-5980-49E5-2C5DB8341D75}"/>
          </ac:cxnSpMkLst>
        </pc:cxnChg>
        <pc:cxnChg chg="add del mod ord replST">
          <ac:chgData name="Wenwen Zhang" userId="9dd81366-5d6f-445a-b031-6ea562624431" providerId="ADAL" clId="{83AF0EAE-1449-4C87-B14F-64EAAA6BDADC}" dt="2023-03-08T15:32:09.182" v="53716"/>
          <ac:cxnSpMkLst>
            <pc:docMk/>
            <pc:sldMk cId="229238195" sldId="2134804379"/>
            <ac:cxnSpMk id="14" creationId="{65293F6E-DA13-723D-94D7-90F637CAC149}"/>
          </ac:cxnSpMkLst>
        </pc:cxnChg>
        <pc:cxnChg chg="del">
          <ac:chgData name="Wenwen Zhang" userId="9dd81366-5d6f-445a-b031-6ea562624431" providerId="ADAL" clId="{83AF0EAE-1449-4C87-B14F-64EAAA6BDADC}" dt="2023-03-06T16:42:06.928" v="46552"/>
          <ac:cxnSpMkLst>
            <pc:docMk/>
            <pc:sldMk cId="229238195" sldId="2134804379"/>
            <ac:cxnSpMk id="15" creationId="{D9076291-744A-7488-586C-3AD0D1B9371E}"/>
          </ac:cxnSpMkLst>
        </pc:cxnChg>
        <pc:cxnChg chg="del">
          <ac:chgData name="Wenwen Zhang" userId="9dd81366-5d6f-445a-b031-6ea562624431" providerId="ADAL" clId="{83AF0EAE-1449-4C87-B14F-64EAAA6BDADC}" dt="2023-03-06T16:42:06.921" v="46519"/>
          <ac:cxnSpMkLst>
            <pc:docMk/>
            <pc:sldMk cId="229238195" sldId="2134804379"/>
            <ac:cxnSpMk id="16" creationId="{BA4A197D-4F81-AF96-A6A3-DF262C97F04D}"/>
          </ac:cxnSpMkLst>
        </pc:cxnChg>
        <pc:cxnChg chg="add mod ord replST">
          <ac:chgData name="Wenwen Zhang" userId="9dd81366-5d6f-445a-b031-6ea562624431" providerId="ADAL" clId="{83AF0EAE-1449-4C87-B14F-64EAAA6BDADC}" dt="2023-03-08T15:32:46.610" v="54827"/>
          <ac:cxnSpMkLst>
            <pc:docMk/>
            <pc:sldMk cId="229238195" sldId="2134804379"/>
            <ac:cxnSpMk id="16" creationId="{F73E55E4-DE90-B981-80DA-40CA0E388C1B}"/>
          </ac:cxnSpMkLst>
        </pc:cxnChg>
        <pc:cxnChg chg="del">
          <ac:chgData name="Wenwen Zhang" userId="9dd81366-5d6f-445a-b031-6ea562624431" providerId="ADAL" clId="{83AF0EAE-1449-4C87-B14F-64EAAA6BDADC}" dt="2023-03-06T16:42:06.922" v="46522"/>
          <ac:cxnSpMkLst>
            <pc:docMk/>
            <pc:sldMk cId="229238195" sldId="2134804379"/>
            <ac:cxnSpMk id="17" creationId="{60CA05B1-4023-2FF3-CFE4-1BB38F0B9F84}"/>
          </ac:cxnSpMkLst>
        </pc:cxnChg>
        <pc:cxnChg chg="add del mod ord replST">
          <ac:chgData name="Wenwen Zhang" userId="9dd81366-5d6f-445a-b031-6ea562624431" providerId="ADAL" clId="{83AF0EAE-1449-4C87-B14F-64EAAA6BDADC}" dt="2023-03-08T15:32:09.235" v="53824"/>
          <ac:cxnSpMkLst>
            <pc:docMk/>
            <pc:sldMk cId="229238195" sldId="2134804379"/>
            <ac:cxnSpMk id="17" creationId="{F75EEAF1-D3CD-4D0E-FE92-62F35ACD233D}"/>
          </ac:cxnSpMkLst>
        </pc:cxnChg>
        <pc:cxnChg chg="del">
          <ac:chgData name="Wenwen Zhang" userId="9dd81366-5d6f-445a-b031-6ea562624431" providerId="ADAL" clId="{83AF0EAE-1449-4C87-B14F-64EAAA6BDADC}" dt="2023-03-06T16:42:06.914" v="46489"/>
          <ac:cxnSpMkLst>
            <pc:docMk/>
            <pc:sldMk cId="229238195" sldId="2134804379"/>
            <ac:cxnSpMk id="18" creationId="{4624656A-91B5-A0A2-1E21-17D243ABDBB2}"/>
          </ac:cxnSpMkLst>
        </pc:cxnChg>
        <pc:cxnChg chg="add del mod ord replST">
          <ac:chgData name="Wenwen Zhang" userId="9dd81366-5d6f-445a-b031-6ea562624431" providerId="ADAL" clId="{83AF0EAE-1449-4C87-B14F-64EAAA6BDADC}" dt="2023-03-08T15:32:09.236" v="53826"/>
          <ac:cxnSpMkLst>
            <pc:docMk/>
            <pc:sldMk cId="229238195" sldId="2134804379"/>
            <ac:cxnSpMk id="18" creationId="{959223CE-0D19-3263-1959-7063AEC57E15}"/>
          </ac:cxnSpMkLst>
        </pc:cxnChg>
        <pc:cxnChg chg="del">
          <ac:chgData name="Wenwen Zhang" userId="9dd81366-5d6f-445a-b031-6ea562624431" providerId="ADAL" clId="{83AF0EAE-1449-4C87-B14F-64EAAA6BDADC}" dt="2023-03-06T16:42:06.919" v="46510"/>
          <ac:cxnSpMkLst>
            <pc:docMk/>
            <pc:sldMk cId="229238195" sldId="2134804379"/>
            <ac:cxnSpMk id="19" creationId="{6C0C0E0E-28E1-7DE4-7016-6B7D6151CC2C}"/>
          </ac:cxnSpMkLst>
        </pc:cxnChg>
        <pc:cxnChg chg="del">
          <ac:chgData name="Wenwen Zhang" userId="9dd81366-5d6f-445a-b031-6ea562624431" providerId="ADAL" clId="{83AF0EAE-1449-4C87-B14F-64EAAA6BDADC}" dt="2023-03-06T16:42:06.918" v="46504"/>
          <ac:cxnSpMkLst>
            <pc:docMk/>
            <pc:sldMk cId="229238195" sldId="2134804379"/>
            <ac:cxnSpMk id="20" creationId="{3DEA313B-5A9B-3AD5-C5BD-E5B0EE893D4C}"/>
          </ac:cxnSpMkLst>
        </pc:cxnChg>
        <pc:cxnChg chg="del">
          <ac:chgData name="Wenwen Zhang" userId="9dd81366-5d6f-445a-b031-6ea562624431" providerId="ADAL" clId="{83AF0EAE-1449-4C87-B14F-64EAAA6BDADC}" dt="2023-03-06T16:42:06.920" v="46513"/>
          <ac:cxnSpMkLst>
            <pc:docMk/>
            <pc:sldMk cId="229238195" sldId="2134804379"/>
            <ac:cxnSpMk id="21" creationId="{30A4D48D-6D63-99FD-C306-786B1CDFF126}"/>
          </ac:cxnSpMkLst>
        </pc:cxnChg>
        <pc:cxnChg chg="del">
          <ac:chgData name="Wenwen Zhang" userId="9dd81366-5d6f-445a-b031-6ea562624431" providerId="ADAL" clId="{83AF0EAE-1449-4C87-B14F-64EAAA6BDADC}" dt="2023-03-06T16:42:06.929" v="46555"/>
          <ac:cxnSpMkLst>
            <pc:docMk/>
            <pc:sldMk cId="229238195" sldId="2134804379"/>
            <ac:cxnSpMk id="22" creationId="{CF4EE4A3-4EAC-BE9D-A5D3-DB31D825A356}"/>
          </ac:cxnSpMkLst>
        </pc:cxnChg>
        <pc:cxnChg chg="del">
          <ac:chgData name="Wenwen Zhang" userId="9dd81366-5d6f-445a-b031-6ea562624431" providerId="ADAL" clId="{83AF0EAE-1449-4C87-B14F-64EAAA6BDADC}" dt="2023-03-06T16:42:06.917" v="46501"/>
          <ac:cxnSpMkLst>
            <pc:docMk/>
            <pc:sldMk cId="229238195" sldId="2134804379"/>
            <ac:cxnSpMk id="23" creationId="{3D9A2FF7-3FCE-B1B5-2167-01ACEF0F53F4}"/>
          </ac:cxnSpMkLst>
        </pc:cxnChg>
        <pc:cxnChg chg="del">
          <ac:chgData name="Wenwen Zhang" userId="9dd81366-5d6f-445a-b031-6ea562624431" providerId="ADAL" clId="{83AF0EAE-1449-4C87-B14F-64EAAA6BDADC}" dt="2023-03-06T16:42:06.914" v="46486"/>
          <ac:cxnSpMkLst>
            <pc:docMk/>
            <pc:sldMk cId="229238195" sldId="2134804379"/>
            <ac:cxnSpMk id="24" creationId="{6BF7EA6A-22C6-66CA-3CCE-AB4ABF71E2A4}"/>
          </ac:cxnSpMkLst>
        </pc:cxnChg>
        <pc:cxnChg chg="add del mod ord replST">
          <ac:chgData name="Wenwen Zhang" userId="9dd81366-5d6f-445a-b031-6ea562624431" providerId="ADAL" clId="{83AF0EAE-1449-4C87-B14F-64EAAA6BDADC}" dt="2023-03-08T15:31:49.222" v="53248"/>
          <ac:cxnSpMkLst>
            <pc:docMk/>
            <pc:sldMk cId="229238195" sldId="2134804379"/>
            <ac:cxnSpMk id="25" creationId="{3EFD6AED-9797-29AD-D16A-59B6AE1A2A92}"/>
          </ac:cxnSpMkLst>
        </pc:cxnChg>
        <pc:cxnChg chg="add del mod ord replST">
          <ac:chgData name="Wenwen Zhang" userId="9dd81366-5d6f-445a-b031-6ea562624431" providerId="ADAL" clId="{83AF0EAE-1449-4C87-B14F-64EAAA6BDADC}" dt="2023-03-08T15:31:49.221" v="53246"/>
          <ac:cxnSpMkLst>
            <pc:docMk/>
            <pc:sldMk cId="229238195" sldId="2134804379"/>
            <ac:cxnSpMk id="26" creationId="{0D25D1F4-D54F-A499-C9AC-608C2AB6656E}"/>
          </ac:cxnSpMkLst>
        </pc:cxnChg>
        <pc:cxnChg chg="del">
          <ac:chgData name="Wenwen Zhang" userId="9dd81366-5d6f-445a-b031-6ea562624431" providerId="ADAL" clId="{83AF0EAE-1449-4C87-B14F-64EAAA6BDADC}" dt="2023-03-06T16:42:06.916" v="46498"/>
          <ac:cxnSpMkLst>
            <pc:docMk/>
            <pc:sldMk cId="229238195" sldId="2134804379"/>
            <ac:cxnSpMk id="27" creationId="{4D076922-0B6F-0A8D-6C35-D0B18A1D6EBD}"/>
          </ac:cxnSpMkLst>
        </pc:cxnChg>
        <pc:cxnChg chg="del">
          <ac:chgData name="Wenwen Zhang" userId="9dd81366-5d6f-445a-b031-6ea562624431" providerId="ADAL" clId="{83AF0EAE-1449-4C87-B14F-64EAAA6BDADC}" dt="2023-03-06T16:42:06.915" v="46492"/>
          <ac:cxnSpMkLst>
            <pc:docMk/>
            <pc:sldMk cId="229238195" sldId="2134804379"/>
            <ac:cxnSpMk id="30" creationId="{AC6E92A3-FE44-3960-9F94-551ABD771D75}"/>
          </ac:cxnSpMkLst>
        </pc:cxnChg>
        <pc:cxnChg chg="add del mod ord replST">
          <ac:chgData name="Wenwen Zhang" userId="9dd81366-5d6f-445a-b031-6ea562624431" providerId="ADAL" clId="{83AF0EAE-1449-4C87-B14F-64EAAA6BDADC}" dt="2023-03-08T15:31:49.221" v="53244"/>
          <ac:cxnSpMkLst>
            <pc:docMk/>
            <pc:sldMk cId="229238195" sldId="2134804379"/>
            <ac:cxnSpMk id="31" creationId="{749D6DA3-3DED-E986-45A3-9AF9C4E5A74A}"/>
          </ac:cxnSpMkLst>
        </pc:cxnChg>
        <pc:cxnChg chg="del">
          <ac:chgData name="Wenwen Zhang" userId="9dd81366-5d6f-445a-b031-6ea562624431" providerId="ADAL" clId="{83AF0EAE-1449-4C87-B14F-64EAAA6BDADC}" dt="2023-03-06T16:42:06.918" v="46507"/>
          <ac:cxnSpMkLst>
            <pc:docMk/>
            <pc:sldMk cId="229238195" sldId="2134804379"/>
            <ac:cxnSpMk id="32" creationId="{BA2FB246-084E-44AA-9F42-1A5DA8C9EDAC}"/>
          </ac:cxnSpMkLst>
        </pc:cxnChg>
        <pc:cxnChg chg="del">
          <ac:chgData name="Wenwen Zhang" userId="9dd81366-5d6f-445a-b031-6ea562624431" providerId="ADAL" clId="{83AF0EAE-1449-4C87-B14F-64EAAA6BDADC}" dt="2023-03-06T16:42:06.913" v="46483"/>
          <ac:cxnSpMkLst>
            <pc:docMk/>
            <pc:sldMk cId="229238195" sldId="2134804379"/>
            <ac:cxnSpMk id="33" creationId="{1F283648-57E5-7280-7CB1-9D71E747F361}"/>
          </ac:cxnSpMkLst>
        </pc:cxnChg>
        <pc:cxnChg chg="add mod ord replST">
          <ac:chgData name="Wenwen Zhang" userId="9dd81366-5d6f-445a-b031-6ea562624431" providerId="ADAL" clId="{83AF0EAE-1449-4C87-B14F-64EAAA6BDADC}" dt="2023-03-08T15:32:46.604" v="54794"/>
          <ac:cxnSpMkLst>
            <pc:docMk/>
            <pc:sldMk cId="229238195" sldId="2134804379"/>
            <ac:cxnSpMk id="34" creationId="{0398ED31-7E67-5895-3CDA-D88F43A18BDF}"/>
          </ac:cxnSpMkLst>
        </pc:cxnChg>
        <pc:cxnChg chg="del">
          <ac:chgData name="Wenwen Zhang" userId="9dd81366-5d6f-445a-b031-6ea562624431" providerId="ADAL" clId="{83AF0EAE-1449-4C87-B14F-64EAAA6BDADC}" dt="2023-03-06T16:42:06.925" v="46537"/>
          <ac:cxnSpMkLst>
            <pc:docMk/>
            <pc:sldMk cId="229238195" sldId="2134804379"/>
            <ac:cxnSpMk id="35" creationId="{E2AF6881-D1B3-E873-1DAA-E395823AA7B1}"/>
          </ac:cxnSpMkLst>
        </pc:cxnChg>
        <pc:cxnChg chg="del">
          <ac:chgData name="Wenwen Zhang" userId="9dd81366-5d6f-445a-b031-6ea562624431" providerId="ADAL" clId="{83AF0EAE-1449-4C87-B14F-64EAAA6BDADC}" dt="2023-03-06T16:42:06.926" v="46543"/>
          <ac:cxnSpMkLst>
            <pc:docMk/>
            <pc:sldMk cId="229238195" sldId="2134804379"/>
            <ac:cxnSpMk id="36" creationId="{F8E3BC0A-7467-8386-8841-28CA0FE36ED5}"/>
          </ac:cxnSpMkLst>
        </pc:cxnChg>
        <pc:cxnChg chg="del">
          <ac:chgData name="Wenwen Zhang" userId="9dd81366-5d6f-445a-b031-6ea562624431" providerId="ADAL" clId="{83AF0EAE-1449-4C87-B14F-64EAAA6BDADC}" dt="2023-03-06T16:42:06.926" v="46540"/>
          <ac:cxnSpMkLst>
            <pc:docMk/>
            <pc:sldMk cId="229238195" sldId="2134804379"/>
            <ac:cxnSpMk id="37" creationId="{28A5D2BE-01B4-F83C-34A8-E3DC92EC1E7F}"/>
          </ac:cxnSpMkLst>
        </pc:cxnChg>
        <pc:cxnChg chg="del">
          <ac:chgData name="Wenwen Zhang" userId="9dd81366-5d6f-445a-b031-6ea562624431" providerId="ADAL" clId="{83AF0EAE-1449-4C87-B14F-64EAAA6BDADC}" dt="2023-03-06T16:42:06.922" v="46525"/>
          <ac:cxnSpMkLst>
            <pc:docMk/>
            <pc:sldMk cId="229238195" sldId="2134804379"/>
            <ac:cxnSpMk id="38" creationId="{87ADD07C-4F4D-59E0-7838-FE5EDAB70811}"/>
          </ac:cxnSpMkLst>
        </pc:cxnChg>
        <pc:cxnChg chg="add mod ord replST">
          <ac:chgData name="Wenwen Zhang" userId="9dd81366-5d6f-445a-b031-6ea562624431" providerId="ADAL" clId="{83AF0EAE-1449-4C87-B14F-64EAAA6BDADC}" dt="2023-03-08T15:32:46.604" v="54796"/>
          <ac:cxnSpMkLst>
            <pc:docMk/>
            <pc:sldMk cId="229238195" sldId="2134804379"/>
            <ac:cxnSpMk id="39" creationId="{3CB0C1EF-4CEC-8D55-BAC7-7198C2DC42FA}"/>
          </ac:cxnSpMkLst>
        </pc:cxnChg>
        <pc:cxnChg chg="del">
          <ac:chgData name="Wenwen Zhang" userId="9dd81366-5d6f-445a-b031-6ea562624431" providerId="ADAL" clId="{83AF0EAE-1449-4C87-B14F-64EAAA6BDADC}" dt="2023-03-06T16:42:06.924" v="46534"/>
          <ac:cxnSpMkLst>
            <pc:docMk/>
            <pc:sldMk cId="229238195" sldId="2134804379"/>
            <ac:cxnSpMk id="40" creationId="{7C76AEDC-908D-0E0B-3861-0133ED93FD80}"/>
          </ac:cxnSpMkLst>
        </pc:cxnChg>
        <pc:cxnChg chg="del">
          <ac:chgData name="Wenwen Zhang" userId="9dd81366-5d6f-445a-b031-6ea562624431" providerId="ADAL" clId="{83AF0EAE-1449-4C87-B14F-64EAAA6BDADC}" dt="2023-03-06T16:42:06.916" v="46495"/>
          <ac:cxnSpMkLst>
            <pc:docMk/>
            <pc:sldMk cId="229238195" sldId="2134804379"/>
            <ac:cxnSpMk id="41" creationId="{598D8386-E53B-8A7D-6F6E-99F29A181B48}"/>
          </ac:cxnSpMkLst>
        </pc:cxnChg>
        <pc:cxnChg chg="add mod ord replST">
          <ac:chgData name="Wenwen Zhang" userId="9dd81366-5d6f-445a-b031-6ea562624431" providerId="ADAL" clId="{83AF0EAE-1449-4C87-B14F-64EAAA6BDADC}" dt="2023-03-08T15:32:46.605" v="54798"/>
          <ac:cxnSpMkLst>
            <pc:docMk/>
            <pc:sldMk cId="229238195" sldId="2134804379"/>
            <ac:cxnSpMk id="42" creationId="{3167218B-1460-7671-72D1-2C793F72B29F}"/>
          </ac:cxnSpMkLst>
        </pc:cxnChg>
        <pc:cxnChg chg="del">
          <ac:chgData name="Wenwen Zhang" userId="9dd81366-5d6f-445a-b031-6ea562624431" providerId="ADAL" clId="{83AF0EAE-1449-4C87-B14F-64EAAA6BDADC}" dt="2023-03-06T16:42:06.924" v="46531"/>
          <ac:cxnSpMkLst>
            <pc:docMk/>
            <pc:sldMk cId="229238195" sldId="2134804379"/>
            <ac:cxnSpMk id="44" creationId="{6D0FB7E0-6A70-FCA3-FD39-BF2BC08B7C46}"/>
          </ac:cxnSpMkLst>
        </pc:cxnChg>
        <pc:cxnChg chg="add mod ord replST">
          <ac:chgData name="Wenwen Zhang" userId="9dd81366-5d6f-445a-b031-6ea562624431" providerId="ADAL" clId="{83AF0EAE-1449-4C87-B14F-64EAAA6BDADC}" dt="2023-03-08T15:32:46.605" v="54802"/>
          <ac:cxnSpMkLst>
            <pc:docMk/>
            <pc:sldMk cId="229238195" sldId="2134804379"/>
            <ac:cxnSpMk id="46" creationId="{7A09C8AC-EB4F-A6AF-3010-8D5068026D99}"/>
          </ac:cxnSpMkLst>
        </pc:cxnChg>
        <pc:cxnChg chg="del">
          <ac:chgData name="Wenwen Zhang" userId="9dd81366-5d6f-445a-b031-6ea562624431" providerId="ADAL" clId="{83AF0EAE-1449-4C87-B14F-64EAAA6BDADC}" dt="2023-03-06T16:42:06.923" v="46528"/>
          <ac:cxnSpMkLst>
            <pc:docMk/>
            <pc:sldMk cId="229238195" sldId="2134804379"/>
            <ac:cxnSpMk id="47" creationId="{39A79677-B975-AD1C-8E6D-DBB2523989C9}"/>
          </ac:cxnSpMkLst>
        </pc:cxnChg>
        <pc:cxnChg chg="del">
          <ac:chgData name="Wenwen Zhang" userId="9dd81366-5d6f-445a-b031-6ea562624431" providerId="ADAL" clId="{83AF0EAE-1449-4C87-B14F-64EAAA6BDADC}" dt="2023-03-06T16:42:06.920" v="46516"/>
          <ac:cxnSpMkLst>
            <pc:docMk/>
            <pc:sldMk cId="229238195" sldId="2134804379"/>
            <ac:cxnSpMk id="48" creationId="{F8EF67F7-D9A7-4221-A634-6030004CC5F0}"/>
          </ac:cxnSpMkLst>
        </pc:cxnChg>
        <pc:cxnChg chg="add mod ord replST">
          <ac:chgData name="Wenwen Zhang" userId="9dd81366-5d6f-445a-b031-6ea562624431" providerId="ADAL" clId="{83AF0EAE-1449-4C87-B14F-64EAAA6BDADC}" dt="2023-03-08T15:32:46.605" v="54804"/>
          <ac:cxnSpMkLst>
            <pc:docMk/>
            <pc:sldMk cId="229238195" sldId="2134804379"/>
            <ac:cxnSpMk id="49" creationId="{5C8BD742-EA78-1EF1-EA4D-856393FDC817}"/>
          </ac:cxnSpMkLst>
        </pc:cxnChg>
        <pc:cxnChg chg="add mod ord replST">
          <ac:chgData name="Wenwen Zhang" userId="9dd81366-5d6f-445a-b031-6ea562624431" providerId="ADAL" clId="{83AF0EAE-1449-4C87-B14F-64EAAA6BDADC}" dt="2023-03-08T15:32:46.605" v="54800"/>
          <ac:cxnSpMkLst>
            <pc:docMk/>
            <pc:sldMk cId="229238195" sldId="2134804379"/>
            <ac:cxnSpMk id="51" creationId="{C58AB0B0-7434-B756-DD82-E1EDB0CA6B2E}"/>
          </ac:cxnSpMkLst>
        </pc:cxnChg>
        <pc:cxnChg chg="del">
          <ac:chgData name="Wenwen Zhang" userId="9dd81366-5d6f-445a-b031-6ea562624431" providerId="ADAL" clId="{83AF0EAE-1449-4C87-B14F-64EAAA6BDADC}" dt="2023-03-06T16:42:06.906" v="46462"/>
          <ac:cxnSpMkLst>
            <pc:docMk/>
            <pc:sldMk cId="229238195" sldId="2134804379"/>
            <ac:cxnSpMk id="86" creationId="{A545D6D7-BBE2-D685-0A7E-7AA082E58617}"/>
          </ac:cxnSpMkLst>
        </pc:cxnChg>
        <pc:cxnChg chg="del">
          <ac:chgData name="Wenwen Zhang" userId="9dd81366-5d6f-445a-b031-6ea562624431" providerId="ADAL" clId="{83AF0EAE-1449-4C87-B14F-64EAAA6BDADC}" dt="2023-03-06T16:42:06.905" v="46460"/>
          <ac:cxnSpMkLst>
            <pc:docMk/>
            <pc:sldMk cId="229238195" sldId="2134804379"/>
            <ac:cxnSpMk id="87" creationId="{A0D780A5-5136-E70E-1139-861ACF68E1A5}"/>
          </ac:cxnSpMkLst>
        </pc:cxnChg>
        <pc:cxnChg chg="del">
          <ac:chgData name="Wenwen Zhang" userId="9dd81366-5d6f-445a-b031-6ea562624431" providerId="ADAL" clId="{83AF0EAE-1449-4C87-B14F-64EAAA6BDADC}" dt="2023-03-06T16:42:06.904" v="46458"/>
          <ac:cxnSpMkLst>
            <pc:docMk/>
            <pc:sldMk cId="229238195" sldId="2134804379"/>
            <ac:cxnSpMk id="88" creationId="{50C4C8BB-0E65-EA39-AB25-9A141096C66B}"/>
          </ac:cxnSpMkLst>
        </pc:cxnChg>
      </pc:sldChg>
      <pc:sldChg chg="del">
        <pc:chgData name="Wenwen Zhang" userId="9dd81366-5d6f-445a-b031-6ea562624431" providerId="ADAL" clId="{83AF0EAE-1449-4C87-B14F-64EAAA6BDADC}" dt="2023-03-08T12:43:36.413" v="51273" actId="47"/>
        <pc:sldMkLst>
          <pc:docMk/>
          <pc:sldMk cId="455276524" sldId="2134804380"/>
        </pc:sldMkLst>
      </pc:sldChg>
      <pc:sldChg chg="delSp modSp add mod">
        <pc:chgData name="Wenwen Zhang" userId="9dd81366-5d6f-445a-b031-6ea562624431" providerId="ADAL" clId="{83AF0EAE-1449-4C87-B14F-64EAAA6BDADC}" dt="2023-03-06T16:49:06.310" v="48454"/>
        <pc:sldMkLst>
          <pc:docMk/>
          <pc:sldMk cId="3620572039" sldId="2134804380"/>
        </pc:sldMkLst>
        <pc:spChg chg="mod">
          <ac:chgData name="Wenwen Zhang" userId="9dd81366-5d6f-445a-b031-6ea562624431" providerId="ADAL" clId="{83AF0EAE-1449-4C87-B14F-64EAAA6BDADC}" dt="2023-03-06T16:49:01.673" v="48409" actId="20577"/>
          <ac:spMkLst>
            <pc:docMk/>
            <pc:sldMk cId="3620572039" sldId="2134804380"/>
            <ac:spMk id="29" creationId="{D50B6CAA-A666-5524-85F7-444C607F0970}"/>
          </ac:spMkLst>
        </pc:spChg>
        <pc:spChg chg="del">
          <ac:chgData name="Wenwen Zhang" userId="9dd81366-5d6f-445a-b031-6ea562624431" providerId="ADAL" clId="{83AF0EAE-1449-4C87-B14F-64EAAA6BDADC}" dt="2023-03-06T16:49:06.300" v="48432"/>
          <ac:spMkLst>
            <pc:docMk/>
            <pc:sldMk cId="3620572039" sldId="2134804380"/>
            <ac:spMk id="45" creationId="{0ABD2072-E852-E887-9816-6E05A1B50D27}"/>
          </ac:spMkLst>
        </pc:spChg>
        <pc:spChg chg="del">
          <ac:chgData name="Wenwen Zhang" userId="9dd81366-5d6f-445a-b031-6ea562624431" providerId="ADAL" clId="{83AF0EAE-1449-4C87-B14F-64EAAA6BDADC}" dt="2023-03-06T16:49:06.300" v="48436"/>
          <ac:spMkLst>
            <pc:docMk/>
            <pc:sldMk cId="3620572039" sldId="2134804380"/>
            <ac:spMk id="54" creationId="{707B4D60-51C7-0AF0-04C6-BAD0C1E8E91E}"/>
          </ac:spMkLst>
        </pc:spChg>
        <pc:spChg chg="del">
          <ac:chgData name="Wenwen Zhang" userId="9dd81366-5d6f-445a-b031-6ea562624431" providerId="ADAL" clId="{83AF0EAE-1449-4C87-B14F-64EAAA6BDADC}" dt="2023-03-06T16:49:06.301" v="48438"/>
          <ac:spMkLst>
            <pc:docMk/>
            <pc:sldMk cId="3620572039" sldId="2134804380"/>
            <ac:spMk id="56" creationId="{EB96B161-D8D5-E0FC-78BC-A904E9A4C9C2}"/>
          </ac:spMkLst>
        </pc:spChg>
        <pc:spChg chg="del">
          <ac:chgData name="Wenwen Zhang" userId="9dd81366-5d6f-445a-b031-6ea562624431" providerId="ADAL" clId="{83AF0EAE-1449-4C87-B14F-64EAAA6BDADC}" dt="2023-03-06T16:49:06.301" v="48440"/>
          <ac:spMkLst>
            <pc:docMk/>
            <pc:sldMk cId="3620572039" sldId="2134804380"/>
            <ac:spMk id="61" creationId="{501D4586-E55F-01BF-5AAE-601C31CAB984}"/>
          </ac:spMkLst>
        </pc:spChg>
        <pc:spChg chg="del">
          <ac:chgData name="Wenwen Zhang" userId="9dd81366-5d6f-445a-b031-6ea562624431" providerId="ADAL" clId="{83AF0EAE-1449-4C87-B14F-64EAAA6BDADC}" dt="2023-03-06T16:49:06.302" v="48442"/>
          <ac:spMkLst>
            <pc:docMk/>
            <pc:sldMk cId="3620572039" sldId="2134804380"/>
            <ac:spMk id="64" creationId="{6C13068D-0191-ABA0-2CDE-297D6EE1F0E4}"/>
          </ac:spMkLst>
        </pc:spChg>
        <pc:spChg chg="del">
          <ac:chgData name="Wenwen Zhang" userId="9dd81366-5d6f-445a-b031-6ea562624431" providerId="ADAL" clId="{83AF0EAE-1449-4C87-B14F-64EAAA6BDADC}" dt="2023-03-06T16:49:06.302" v="48441"/>
          <ac:spMkLst>
            <pc:docMk/>
            <pc:sldMk cId="3620572039" sldId="2134804380"/>
            <ac:spMk id="65" creationId="{38354BFB-BCCB-274E-4B35-BF146ED75CCA}"/>
          </ac:spMkLst>
        </pc:spChg>
        <pc:spChg chg="del">
          <ac:chgData name="Wenwen Zhang" userId="9dd81366-5d6f-445a-b031-6ea562624431" providerId="ADAL" clId="{83AF0EAE-1449-4C87-B14F-64EAAA6BDADC}" dt="2023-03-06T16:49:06.301" v="48437"/>
          <ac:spMkLst>
            <pc:docMk/>
            <pc:sldMk cId="3620572039" sldId="2134804380"/>
            <ac:spMk id="66" creationId="{78160A0E-E066-F3A0-5A8A-BCBA9B0855C5}"/>
          </ac:spMkLst>
        </pc:spChg>
        <pc:spChg chg="del">
          <ac:chgData name="Wenwen Zhang" userId="9dd81366-5d6f-445a-b031-6ea562624431" providerId="ADAL" clId="{83AF0EAE-1449-4C87-B14F-64EAAA6BDADC}" dt="2023-03-06T16:49:06.301" v="48439"/>
          <ac:spMkLst>
            <pc:docMk/>
            <pc:sldMk cId="3620572039" sldId="2134804380"/>
            <ac:spMk id="67" creationId="{8ED46171-FE10-7EDD-D77A-B5821F51D4C2}"/>
          </ac:spMkLst>
        </pc:spChg>
        <pc:spChg chg="del">
          <ac:chgData name="Wenwen Zhang" userId="9dd81366-5d6f-445a-b031-6ea562624431" providerId="ADAL" clId="{83AF0EAE-1449-4C87-B14F-64EAAA6BDADC}" dt="2023-03-06T16:49:06.300" v="48435"/>
          <ac:spMkLst>
            <pc:docMk/>
            <pc:sldMk cId="3620572039" sldId="2134804380"/>
            <ac:spMk id="68" creationId="{BDCBAD0F-6B29-3D00-24DE-2719E3E5644F}"/>
          </ac:spMkLst>
        </pc:spChg>
        <pc:spChg chg="del">
          <ac:chgData name="Wenwen Zhang" userId="9dd81366-5d6f-445a-b031-6ea562624431" providerId="ADAL" clId="{83AF0EAE-1449-4C87-B14F-64EAAA6BDADC}" dt="2023-03-06T16:49:06.300" v="48434"/>
          <ac:spMkLst>
            <pc:docMk/>
            <pc:sldMk cId="3620572039" sldId="2134804380"/>
            <ac:spMk id="69" creationId="{600DC356-2B08-37E2-00A7-0D71E622B682}"/>
          </ac:spMkLst>
        </pc:spChg>
        <pc:spChg chg="del">
          <ac:chgData name="Wenwen Zhang" userId="9dd81366-5d6f-445a-b031-6ea562624431" providerId="ADAL" clId="{83AF0EAE-1449-4C87-B14F-64EAAA6BDADC}" dt="2023-03-06T16:49:06.300" v="48433"/>
          <ac:spMkLst>
            <pc:docMk/>
            <pc:sldMk cId="3620572039" sldId="2134804380"/>
            <ac:spMk id="89" creationId="{C2E540BC-E123-D25A-87EC-7358306395BA}"/>
          </ac:spMkLst>
        </pc:spChg>
        <pc:spChg chg="del">
          <ac:chgData name="Wenwen Zhang" userId="9dd81366-5d6f-445a-b031-6ea562624431" providerId="ADAL" clId="{83AF0EAE-1449-4C87-B14F-64EAAA6BDADC}" dt="2023-03-06T16:49:06.298" v="48425"/>
          <ac:spMkLst>
            <pc:docMk/>
            <pc:sldMk cId="3620572039" sldId="2134804380"/>
            <ac:spMk id="91" creationId="{07FBEAE2-A474-C915-6F53-92F013B61173}"/>
          </ac:spMkLst>
        </pc:spChg>
        <pc:spChg chg="del">
          <ac:chgData name="Wenwen Zhang" userId="9dd81366-5d6f-445a-b031-6ea562624431" providerId="ADAL" clId="{83AF0EAE-1449-4C87-B14F-64EAAA6BDADC}" dt="2023-03-06T16:49:06.295" v="48417"/>
          <ac:spMkLst>
            <pc:docMk/>
            <pc:sldMk cId="3620572039" sldId="2134804380"/>
            <ac:spMk id="92" creationId="{1611B45B-1A54-E7E2-0293-2779D6A87517}"/>
          </ac:spMkLst>
        </pc:spChg>
        <pc:spChg chg="del">
          <ac:chgData name="Wenwen Zhang" userId="9dd81366-5d6f-445a-b031-6ea562624431" providerId="ADAL" clId="{83AF0EAE-1449-4C87-B14F-64EAAA6BDADC}" dt="2023-03-06T16:49:06.303" v="48447"/>
          <ac:spMkLst>
            <pc:docMk/>
            <pc:sldMk cId="3620572039" sldId="2134804380"/>
            <ac:spMk id="93" creationId="{DBE9A994-0836-B1C7-B036-FF1011C16D59}"/>
          </ac:spMkLst>
        </pc:spChg>
        <pc:spChg chg="del">
          <ac:chgData name="Wenwen Zhang" userId="9dd81366-5d6f-445a-b031-6ea562624431" providerId="ADAL" clId="{83AF0EAE-1449-4C87-B14F-64EAAA6BDADC}" dt="2023-03-06T16:49:06.302" v="48444"/>
          <ac:spMkLst>
            <pc:docMk/>
            <pc:sldMk cId="3620572039" sldId="2134804380"/>
            <ac:spMk id="94" creationId="{E8945E1F-98D9-C804-3D5B-273F67C4B32A}"/>
          </ac:spMkLst>
        </pc:spChg>
        <pc:spChg chg="del">
          <ac:chgData name="Wenwen Zhang" userId="9dd81366-5d6f-445a-b031-6ea562624431" providerId="ADAL" clId="{83AF0EAE-1449-4C87-B14F-64EAAA6BDADC}" dt="2023-03-06T16:49:06.303" v="48448"/>
          <ac:spMkLst>
            <pc:docMk/>
            <pc:sldMk cId="3620572039" sldId="2134804380"/>
            <ac:spMk id="95" creationId="{DE197F1D-0369-B38A-203B-A60FE9FEA215}"/>
          </ac:spMkLst>
        </pc:spChg>
        <pc:spChg chg="del">
          <ac:chgData name="Wenwen Zhang" userId="9dd81366-5d6f-445a-b031-6ea562624431" providerId="ADAL" clId="{83AF0EAE-1449-4C87-B14F-64EAAA6BDADC}" dt="2023-03-06T16:49:06.303" v="48445"/>
          <ac:spMkLst>
            <pc:docMk/>
            <pc:sldMk cId="3620572039" sldId="2134804380"/>
            <ac:spMk id="96" creationId="{57779CD8-5012-A3AC-9B51-F6498D5F813F}"/>
          </ac:spMkLst>
        </pc:spChg>
        <pc:graphicFrameChg chg="mod">
          <ac:chgData name="Wenwen Zhang" userId="9dd81366-5d6f-445a-b031-6ea562624431" providerId="ADAL" clId="{83AF0EAE-1449-4C87-B14F-64EAAA6BDADC}" dt="2023-03-06T16:49:06.310" v="48454"/>
          <ac:graphicFrameMkLst>
            <pc:docMk/>
            <pc:sldMk cId="3620572039" sldId="2134804380"/>
            <ac:graphicFrameMk id="28" creationId="{015DFAEE-F78A-C272-92CE-F25C3417CAD0}"/>
          </ac:graphicFrameMkLst>
        </pc:graphicFrameChg>
        <pc:graphicFrameChg chg="del">
          <ac:chgData name="Wenwen Zhang" userId="9dd81366-5d6f-445a-b031-6ea562624431" providerId="ADAL" clId="{83AF0EAE-1449-4C87-B14F-64EAAA6BDADC}" dt="2023-03-06T16:49:06.305" v="48450"/>
          <ac:graphicFrameMkLst>
            <pc:docMk/>
            <pc:sldMk cId="3620572039" sldId="2134804380"/>
            <ac:graphicFrameMk id="106" creationId="{935B6E83-3FE4-1776-1C19-AB33AD02D761}"/>
          </ac:graphicFrameMkLst>
        </pc:graphicFrameChg>
        <pc:cxnChg chg="del">
          <ac:chgData name="Wenwen Zhang" userId="9dd81366-5d6f-445a-b031-6ea562624431" providerId="ADAL" clId="{83AF0EAE-1449-4C87-B14F-64EAAA6BDADC}" dt="2023-03-06T16:49:06.297" v="48423"/>
          <ac:cxnSpMkLst>
            <pc:docMk/>
            <pc:sldMk cId="3620572039" sldId="2134804380"/>
            <ac:cxnSpMk id="25" creationId="{3EFD6AED-9797-29AD-D16A-59B6AE1A2A92}"/>
          </ac:cxnSpMkLst>
        </pc:cxnChg>
        <pc:cxnChg chg="del">
          <ac:chgData name="Wenwen Zhang" userId="9dd81366-5d6f-445a-b031-6ea562624431" providerId="ADAL" clId="{83AF0EAE-1449-4C87-B14F-64EAAA6BDADC}" dt="2023-03-06T16:49:06.297" v="48421"/>
          <ac:cxnSpMkLst>
            <pc:docMk/>
            <pc:sldMk cId="3620572039" sldId="2134804380"/>
            <ac:cxnSpMk id="26" creationId="{0D25D1F4-D54F-A499-C9AC-608C2AB6656E}"/>
          </ac:cxnSpMkLst>
        </pc:cxnChg>
        <pc:cxnChg chg="del">
          <ac:chgData name="Wenwen Zhang" userId="9dd81366-5d6f-445a-b031-6ea562624431" providerId="ADAL" clId="{83AF0EAE-1449-4C87-B14F-64EAAA6BDADC}" dt="2023-03-06T16:49:06.296" v="48419"/>
          <ac:cxnSpMkLst>
            <pc:docMk/>
            <pc:sldMk cId="3620572039" sldId="2134804380"/>
            <ac:cxnSpMk id="31" creationId="{749D6DA3-3DED-E986-45A3-9AF9C4E5A74A}"/>
          </ac:cxnSpMkLst>
        </pc:cxnChg>
        <pc:cxnChg chg="del">
          <ac:chgData name="Wenwen Zhang" userId="9dd81366-5d6f-445a-b031-6ea562624431" providerId="ADAL" clId="{83AF0EAE-1449-4C87-B14F-64EAAA6BDADC}" dt="2023-03-06T16:49:06.295" v="48415"/>
          <ac:cxnSpMkLst>
            <pc:docMk/>
            <pc:sldMk cId="3620572039" sldId="2134804380"/>
            <ac:cxnSpMk id="34" creationId="{0398ED31-7E67-5895-3CDA-D88F43A18BDF}"/>
          </ac:cxnSpMkLst>
        </pc:cxnChg>
        <pc:cxnChg chg="del">
          <ac:chgData name="Wenwen Zhang" userId="9dd81366-5d6f-445a-b031-6ea562624431" providerId="ADAL" clId="{83AF0EAE-1449-4C87-B14F-64EAAA6BDADC}" dt="2023-03-06T16:49:06.293" v="48413"/>
          <ac:cxnSpMkLst>
            <pc:docMk/>
            <pc:sldMk cId="3620572039" sldId="2134804380"/>
            <ac:cxnSpMk id="39" creationId="{3CB0C1EF-4CEC-8D55-BAC7-7198C2DC42FA}"/>
          </ac:cxnSpMkLst>
        </pc:cxnChg>
        <pc:cxnChg chg="del">
          <ac:chgData name="Wenwen Zhang" userId="9dd81366-5d6f-445a-b031-6ea562624431" providerId="ADAL" clId="{83AF0EAE-1449-4C87-B14F-64EAAA6BDADC}" dt="2023-03-06T16:49:06.293" v="48411"/>
          <ac:cxnSpMkLst>
            <pc:docMk/>
            <pc:sldMk cId="3620572039" sldId="2134804380"/>
            <ac:cxnSpMk id="42" creationId="{3167218B-1460-7671-72D1-2C793F72B29F}"/>
          </ac:cxnSpMkLst>
        </pc:cxnChg>
        <pc:cxnChg chg="del">
          <ac:chgData name="Wenwen Zhang" userId="9dd81366-5d6f-445a-b031-6ea562624431" providerId="ADAL" clId="{83AF0EAE-1449-4C87-B14F-64EAAA6BDADC}" dt="2023-03-06T16:49:06.299" v="48431"/>
          <ac:cxnSpMkLst>
            <pc:docMk/>
            <pc:sldMk cId="3620572039" sldId="2134804380"/>
            <ac:cxnSpMk id="46" creationId="{7A09C8AC-EB4F-A6AF-3010-8D5068026D99}"/>
          </ac:cxnSpMkLst>
        </pc:cxnChg>
        <pc:cxnChg chg="del">
          <ac:chgData name="Wenwen Zhang" userId="9dd81366-5d6f-445a-b031-6ea562624431" providerId="ADAL" clId="{83AF0EAE-1449-4C87-B14F-64EAAA6BDADC}" dt="2023-03-06T16:49:06.299" v="48429"/>
          <ac:cxnSpMkLst>
            <pc:docMk/>
            <pc:sldMk cId="3620572039" sldId="2134804380"/>
            <ac:cxnSpMk id="49" creationId="{5C8BD742-EA78-1EF1-EA4D-856393FDC817}"/>
          </ac:cxnSpMkLst>
        </pc:cxnChg>
        <pc:cxnChg chg="del">
          <ac:chgData name="Wenwen Zhang" userId="9dd81366-5d6f-445a-b031-6ea562624431" providerId="ADAL" clId="{83AF0EAE-1449-4C87-B14F-64EAAA6BDADC}" dt="2023-03-06T16:49:06.298" v="48427"/>
          <ac:cxnSpMkLst>
            <pc:docMk/>
            <pc:sldMk cId="3620572039" sldId="2134804380"/>
            <ac:cxnSpMk id="51" creationId="{C58AB0B0-7434-B756-DD82-E1EDB0CA6B2E}"/>
          </ac:cxnSpMkLst>
        </pc:cxnChg>
      </pc:sldChg>
      <pc:sldChg chg="addSp delSp modSp mod ord modNotesTx">
        <pc:chgData name="Wenwen Zhang" userId="9dd81366-5d6f-445a-b031-6ea562624431" providerId="ADAL" clId="{83AF0EAE-1449-4C87-B14F-64EAAA6BDADC}" dt="2023-03-09T13:23:33.043" v="55808" actId="1076"/>
        <pc:sldMkLst>
          <pc:docMk/>
          <pc:sldMk cId="1499735398" sldId="2134804381"/>
        </pc:sldMkLst>
        <pc:picChg chg="del">
          <ac:chgData name="Wenwen Zhang" userId="9dd81366-5d6f-445a-b031-6ea562624431" providerId="ADAL" clId="{83AF0EAE-1449-4C87-B14F-64EAAA6BDADC}" dt="2023-03-09T13:23:25.030" v="55798" actId="478"/>
          <ac:picMkLst>
            <pc:docMk/>
            <pc:sldMk cId="1499735398" sldId="2134804381"/>
            <ac:picMk id="3" creationId="{EDB93C58-4F7C-B4BF-8ECC-9EE8325DFA6C}"/>
          </ac:picMkLst>
        </pc:picChg>
        <pc:picChg chg="add mod">
          <ac:chgData name="Wenwen Zhang" userId="9dd81366-5d6f-445a-b031-6ea562624431" providerId="ADAL" clId="{83AF0EAE-1449-4C87-B14F-64EAAA6BDADC}" dt="2023-03-09T13:23:33.043" v="55808" actId="1076"/>
          <ac:picMkLst>
            <pc:docMk/>
            <pc:sldMk cId="1499735398" sldId="2134804381"/>
            <ac:picMk id="4" creationId="{24DCD867-8755-A03C-0FEC-4ED45ECE3BED}"/>
          </ac:picMkLst>
        </pc:picChg>
      </pc:sldChg>
      <pc:sldChg chg="addSp delSp modSp mod ord">
        <pc:chgData name="Wenwen Zhang" userId="9dd81366-5d6f-445a-b031-6ea562624431" providerId="ADAL" clId="{83AF0EAE-1449-4C87-B14F-64EAAA6BDADC}" dt="2023-03-09T13:35:20.336" v="55830" actId="1076"/>
        <pc:sldMkLst>
          <pc:docMk/>
          <pc:sldMk cId="2362765680" sldId="2134804382"/>
        </pc:sldMkLst>
        <pc:picChg chg="del">
          <ac:chgData name="Wenwen Zhang" userId="9dd81366-5d6f-445a-b031-6ea562624431" providerId="ADAL" clId="{83AF0EAE-1449-4C87-B14F-64EAAA6BDADC}" dt="2023-03-09T13:34:28.991" v="55811" actId="478"/>
          <ac:picMkLst>
            <pc:docMk/>
            <pc:sldMk cId="2362765680" sldId="2134804382"/>
            <ac:picMk id="3" creationId="{58A145C7-C8D5-5409-7C2C-FB6D61066B98}"/>
          </ac:picMkLst>
        </pc:picChg>
        <pc:picChg chg="add mod modCrop">
          <ac:chgData name="Wenwen Zhang" userId="9dd81366-5d6f-445a-b031-6ea562624431" providerId="ADAL" clId="{83AF0EAE-1449-4C87-B14F-64EAAA6BDADC}" dt="2023-03-09T13:35:20.336" v="55830" actId="1076"/>
          <ac:picMkLst>
            <pc:docMk/>
            <pc:sldMk cId="2362765680" sldId="2134804382"/>
            <ac:picMk id="4" creationId="{9763084D-CFD4-A9B3-7675-4480BBD5A5EF}"/>
          </ac:picMkLst>
        </pc:picChg>
      </pc:sldChg>
    </pc:docChg>
  </pc:docChgLst>
  <pc:docChgLst>
    <pc:chgData name="Wenwen Zhang" userId="9dd81366-5d6f-445a-b031-6ea562624431" providerId="ADAL" clId="{D6FBF965-026B-43DA-A554-C6861A0A35E4}"/>
    <pc:docChg chg="undo redo custSel addSld delSld modSld sldOrd modSection replTag">
      <pc:chgData name="Wenwen Zhang" userId="9dd81366-5d6f-445a-b031-6ea562624431" providerId="ADAL" clId="{D6FBF965-026B-43DA-A554-C6861A0A35E4}" dt="2023-02-02T14:55:42.398" v="133193" actId="14100"/>
      <pc:docMkLst>
        <pc:docMk/>
      </pc:docMkLst>
      <pc:sldChg chg="modSp mod">
        <pc:chgData name="Wenwen Zhang" userId="9dd81366-5d6f-445a-b031-6ea562624431" providerId="ADAL" clId="{D6FBF965-026B-43DA-A554-C6861A0A35E4}" dt="2023-02-02T07:58:55.924" v="105511" actId="1076"/>
        <pc:sldMkLst>
          <pc:docMk/>
          <pc:sldMk cId="1412010782" sldId="289"/>
        </pc:sldMkLst>
        <pc:spChg chg="mod">
          <ac:chgData name="Wenwen Zhang" userId="9dd81366-5d6f-445a-b031-6ea562624431" providerId="ADAL" clId="{D6FBF965-026B-43DA-A554-C6861A0A35E4}" dt="2023-02-02T07:58:55.924" v="105511" actId="1076"/>
          <ac:spMkLst>
            <pc:docMk/>
            <pc:sldMk cId="1412010782" sldId="289"/>
            <ac:spMk id="2" creationId="{4651C5D7-EBA3-2D90-C751-2E83C27B5CBA}"/>
          </ac:spMkLst>
        </pc:spChg>
        <pc:spChg chg="mod">
          <ac:chgData name="Wenwen Zhang" userId="9dd81366-5d6f-445a-b031-6ea562624431" providerId="ADAL" clId="{D6FBF965-026B-43DA-A554-C6861A0A35E4}" dt="2023-02-01T22:20:23.033" v="102985" actId="20577"/>
          <ac:spMkLst>
            <pc:docMk/>
            <pc:sldMk cId="1412010782" sldId="289"/>
            <ac:spMk id="7" creationId="{42CC6F60-7061-52F2-AADD-A44A534602DF}"/>
          </ac:spMkLst>
        </pc:spChg>
      </pc:sldChg>
      <pc:sldChg chg="addSp delSp modSp mod modNotesTx">
        <pc:chgData name="Wenwen Zhang" userId="9dd81366-5d6f-445a-b031-6ea562624431" providerId="ADAL" clId="{D6FBF965-026B-43DA-A554-C6861A0A35E4}" dt="2023-02-01T22:21:53.232" v="102998" actId="20577"/>
        <pc:sldMkLst>
          <pc:docMk/>
          <pc:sldMk cId="95124222" sldId="326"/>
        </pc:sldMkLst>
        <pc:spChg chg="mod ord">
          <ac:chgData name="Wenwen Zhang" userId="9dd81366-5d6f-445a-b031-6ea562624431" providerId="ADAL" clId="{D6FBF965-026B-43DA-A554-C6861A0A35E4}" dt="2023-02-01T17:21:09.583" v="10254"/>
          <ac:spMkLst>
            <pc:docMk/>
            <pc:sldMk cId="95124222" sldId="326"/>
            <ac:spMk id="2" creationId="{6A15B527-DF64-B80B-421E-C9A6463D1F44}"/>
          </ac:spMkLst>
        </pc:spChg>
        <pc:spChg chg="add del mod">
          <ac:chgData name="Wenwen Zhang" userId="9dd81366-5d6f-445a-b031-6ea562624431" providerId="ADAL" clId="{D6FBF965-026B-43DA-A554-C6861A0A35E4}" dt="2023-02-01T17:20:05.351" v="10009" actId="478"/>
          <ac:spMkLst>
            <pc:docMk/>
            <pc:sldMk cId="95124222" sldId="326"/>
            <ac:spMk id="5" creationId="{B1C37613-0D42-354F-F1DC-52D0A3D03906}"/>
          </ac:spMkLst>
        </pc:spChg>
        <pc:spChg chg="add del mod">
          <ac:chgData name="Wenwen Zhang" userId="9dd81366-5d6f-445a-b031-6ea562624431" providerId="ADAL" clId="{D6FBF965-026B-43DA-A554-C6861A0A35E4}" dt="2023-02-01T17:20:00.025" v="10006" actId="478"/>
          <ac:spMkLst>
            <pc:docMk/>
            <pc:sldMk cId="95124222" sldId="326"/>
            <ac:spMk id="7" creationId="{35B5C44E-350A-831A-4BF7-E188CAD559A8}"/>
          </ac:spMkLst>
        </pc:spChg>
        <pc:spChg chg="add del mod">
          <ac:chgData name="Wenwen Zhang" userId="9dd81366-5d6f-445a-b031-6ea562624431" providerId="ADAL" clId="{D6FBF965-026B-43DA-A554-C6861A0A35E4}" dt="2023-02-01T17:20:03.578" v="10008" actId="478"/>
          <ac:spMkLst>
            <pc:docMk/>
            <pc:sldMk cId="95124222" sldId="326"/>
            <ac:spMk id="9" creationId="{A4AE1D92-ED65-A831-26F2-68CF4302ADE0}"/>
          </ac:spMkLst>
        </pc:spChg>
        <pc:spChg chg="add del mod">
          <ac:chgData name="Wenwen Zhang" userId="9dd81366-5d6f-445a-b031-6ea562624431" providerId="ADAL" clId="{D6FBF965-026B-43DA-A554-C6861A0A35E4}" dt="2023-02-01T17:19:58.049" v="10004" actId="478"/>
          <ac:spMkLst>
            <pc:docMk/>
            <pc:sldMk cId="95124222" sldId="326"/>
            <ac:spMk id="13" creationId="{3A3F7D2E-3017-8016-823D-8F7B3736ABDE}"/>
          </ac:spMkLst>
        </pc:spChg>
        <pc:spChg chg="add del mod">
          <ac:chgData name="Wenwen Zhang" userId="9dd81366-5d6f-445a-b031-6ea562624431" providerId="ADAL" clId="{D6FBF965-026B-43DA-A554-C6861A0A35E4}" dt="2023-02-01T17:19:55.135" v="10003" actId="478"/>
          <ac:spMkLst>
            <pc:docMk/>
            <pc:sldMk cId="95124222" sldId="326"/>
            <ac:spMk id="15" creationId="{3E075DB7-6B57-7C79-A52D-349F93E42B0A}"/>
          </ac:spMkLst>
        </pc:spChg>
        <pc:spChg chg="mod ord">
          <ac:chgData name="Wenwen Zhang" userId="9dd81366-5d6f-445a-b031-6ea562624431" providerId="ADAL" clId="{D6FBF965-026B-43DA-A554-C6861A0A35E4}" dt="2023-02-01T17:21:09.575" v="10240"/>
          <ac:spMkLst>
            <pc:docMk/>
            <pc:sldMk cId="95124222" sldId="326"/>
            <ac:spMk id="24" creationId="{E78D2A77-9AAF-BD13-DB49-60CFDD94CA71}"/>
          </ac:spMkLst>
        </pc:spChg>
        <pc:spChg chg="add del mod">
          <ac:chgData name="Wenwen Zhang" userId="9dd81366-5d6f-445a-b031-6ea562624431" providerId="ADAL" clId="{D6FBF965-026B-43DA-A554-C6861A0A35E4}" dt="2023-02-01T17:19:53.312" v="10002" actId="478"/>
          <ac:spMkLst>
            <pc:docMk/>
            <pc:sldMk cId="95124222" sldId="326"/>
            <ac:spMk id="29" creationId="{D1533C5B-92B3-140A-5A92-019164D73629}"/>
          </ac:spMkLst>
        </pc:spChg>
        <pc:spChg chg="add del mod">
          <ac:chgData name="Wenwen Zhang" userId="9dd81366-5d6f-445a-b031-6ea562624431" providerId="ADAL" clId="{D6FBF965-026B-43DA-A554-C6861A0A35E4}" dt="2023-02-01T17:19:53.312" v="10002" actId="478"/>
          <ac:spMkLst>
            <pc:docMk/>
            <pc:sldMk cId="95124222" sldId="326"/>
            <ac:spMk id="30" creationId="{3B295752-D1FA-905F-390C-82F444C736AE}"/>
          </ac:spMkLst>
        </pc:spChg>
        <pc:spChg chg="mod ord">
          <ac:chgData name="Wenwen Zhang" userId="9dd81366-5d6f-445a-b031-6ea562624431" providerId="ADAL" clId="{D6FBF965-026B-43DA-A554-C6861A0A35E4}" dt="2023-02-01T21:02:34.045" v="64543" actId="20577"/>
          <ac:spMkLst>
            <pc:docMk/>
            <pc:sldMk cId="95124222" sldId="326"/>
            <ac:spMk id="32" creationId="{72265772-1579-7BE0-41E3-501213E083D7}"/>
          </ac:spMkLst>
        </pc:spChg>
        <pc:spChg chg="mod ord">
          <ac:chgData name="Wenwen Zhang" userId="9dd81366-5d6f-445a-b031-6ea562624431" providerId="ADAL" clId="{D6FBF965-026B-43DA-A554-C6861A0A35E4}" dt="2023-02-01T17:21:09.583" v="10256"/>
          <ac:spMkLst>
            <pc:docMk/>
            <pc:sldMk cId="95124222" sldId="326"/>
            <ac:spMk id="36" creationId="{F55868CD-D0D8-FB04-3717-1FF148201707}"/>
          </ac:spMkLst>
        </pc:spChg>
        <pc:spChg chg="mod ord">
          <ac:chgData name="Wenwen Zhang" userId="9dd81366-5d6f-445a-b031-6ea562624431" providerId="ADAL" clId="{D6FBF965-026B-43DA-A554-C6861A0A35E4}" dt="2023-02-01T17:21:09.583" v="10258"/>
          <ac:spMkLst>
            <pc:docMk/>
            <pc:sldMk cId="95124222" sldId="326"/>
            <ac:spMk id="37" creationId="{04948244-AE20-07D3-7B68-9E3511F96494}"/>
          </ac:spMkLst>
        </pc:spChg>
        <pc:spChg chg="mod ord">
          <ac:chgData name="Wenwen Zhang" userId="9dd81366-5d6f-445a-b031-6ea562624431" providerId="ADAL" clId="{D6FBF965-026B-43DA-A554-C6861A0A35E4}" dt="2023-02-01T22:21:53.232" v="102998" actId="20577"/>
          <ac:spMkLst>
            <pc:docMk/>
            <pc:sldMk cId="95124222" sldId="326"/>
            <ac:spMk id="38" creationId="{9AA87FE2-26FF-55F3-D2DF-AD7FF5DB9D6D}"/>
          </ac:spMkLst>
        </pc:spChg>
        <pc:graphicFrameChg chg="mod">
          <ac:chgData name="Wenwen Zhang" userId="9dd81366-5d6f-445a-b031-6ea562624431" providerId="ADAL" clId="{D6FBF965-026B-43DA-A554-C6861A0A35E4}" dt="2023-02-01T17:21:09.583" v="10262"/>
          <ac:graphicFrameMkLst>
            <pc:docMk/>
            <pc:sldMk cId="95124222" sldId="326"/>
            <ac:graphicFrameMk id="4" creationId="{485A9725-724D-191E-3C79-D50A2378CEDC}"/>
          </ac:graphicFrameMkLst>
        </pc:graphicFrameChg>
        <pc:graphicFrameChg chg="add del mod">
          <ac:chgData name="Wenwen Zhang" userId="9dd81366-5d6f-445a-b031-6ea562624431" providerId="ADAL" clId="{D6FBF965-026B-43DA-A554-C6861A0A35E4}" dt="2023-02-01T17:19:27.905" v="9994" actId="478"/>
          <ac:graphicFrameMkLst>
            <pc:docMk/>
            <pc:sldMk cId="95124222" sldId="326"/>
            <ac:graphicFrameMk id="10" creationId="{2BDAF0FF-6FC2-76A7-5CB5-15678E677F36}"/>
          </ac:graphicFrameMkLst>
        </pc:graphicFrameChg>
        <pc:graphicFrameChg chg="add del mod">
          <ac:chgData name="Wenwen Zhang" userId="9dd81366-5d6f-445a-b031-6ea562624431" providerId="ADAL" clId="{D6FBF965-026B-43DA-A554-C6861A0A35E4}" dt="2023-02-01T17:19:27.905" v="9994" actId="478"/>
          <ac:graphicFrameMkLst>
            <pc:docMk/>
            <pc:sldMk cId="95124222" sldId="326"/>
            <ac:graphicFrameMk id="11" creationId="{BD7A654E-4FF4-0B54-A0CB-1EA3A5878DA0}"/>
          </ac:graphicFrameMkLst>
        </pc:graphicFrameChg>
        <pc:graphicFrameChg chg="add mod ord">
          <ac:chgData name="Wenwen Zhang" userId="9dd81366-5d6f-445a-b031-6ea562624431" providerId="ADAL" clId="{D6FBF965-026B-43DA-A554-C6861A0A35E4}" dt="2023-02-01T17:21:09.575" v="10244"/>
          <ac:graphicFrameMkLst>
            <pc:docMk/>
            <pc:sldMk cId="95124222" sldId="326"/>
            <ac:graphicFrameMk id="16" creationId="{00D0A552-4E8C-1A37-4FC8-8CD0E482F756}"/>
          </ac:graphicFrameMkLst>
        </pc:graphicFrameChg>
        <pc:graphicFrameChg chg="add mod ord">
          <ac:chgData name="Wenwen Zhang" userId="9dd81366-5d6f-445a-b031-6ea562624431" providerId="ADAL" clId="{D6FBF965-026B-43DA-A554-C6861A0A35E4}" dt="2023-02-01T17:21:09.571" v="10236"/>
          <ac:graphicFrameMkLst>
            <pc:docMk/>
            <pc:sldMk cId="95124222" sldId="326"/>
            <ac:graphicFrameMk id="17" creationId="{99DB3AE5-A39C-124C-AE50-92A2C6C18B2F}"/>
          </ac:graphicFrameMkLst>
        </pc:graphicFrameChg>
        <pc:graphicFrameChg chg="add mod ord">
          <ac:chgData name="Wenwen Zhang" userId="9dd81366-5d6f-445a-b031-6ea562624431" providerId="ADAL" clId="{D6FBF965-026B-43DA-A554-C6861A0A35E4}" dt="2023-02-01T17:21:09.575" v="10238"/>
          <ac:graphicFrameMkLst>
            <pc:docMk/>
            <pc:sldMk cId="95124222" sldId="326"/>
            <ac:graphicFrameMk id="18" creationId="{1720EAA4-2169-A7D1-3888-50EB26D7771D}"/>
          </ac:graphicFrameMkLst>
        </pc:graphicFrameChg>
        <pc:graphicFrameChg chg="add mod ord">
          <ac:chgData name="Wenwen Zhang" userId="9dd81366-5d6f-445a-b031-6ea562624431" providerId="ADAL" clId="{D6FBF965-026B-43DA-A554-C6861A0A35E4}" dt="2023-02-01T17:21:09.583" v="10246"/>
          <ac:graphicFrameMkLst>
            <pc:docMk/>
            <pc:sldMk cId="95124222" sldId="326"/>
            <ac:graphicFrameMk id="19" creationId="{03E94FA7-D62A-6175-7CEC-771ED90C4F6E}"/>
          </ac:graphicFrameMkLst>
        </pc:graphicFrameChg>
        <pc:graphicFrameChg chg="del">
          <ac:chgData name="Wenwen Zhang" userId="9dd81366-5d6f-445a-b031-6ea562624431" providerId="ADAL" clId="{D6FBF965-026B-43DA-A554-C6861A0A35E4}" dt="2023-02-01T17:19:32.383" v="9996" actId="478"/>
          <ac:graphicFrameMkLst>
            <pc:docMk/>
            <pc:sldMk cId="95124222" sldId="326"/>
            <ac:graphicFrameMk id="20" creationId="{2745D5A6-0111-EC11-975E-7CD5E635D310}"/>
          </ac:graphicFrameMkLst>
        </pc:graphicFrameChg>
        <pc:graphicFrameChg chg="del">
          <ac:chgData name="Wenwen Zhang" userId="9dd81366-5d6f-445a-b031-6ea562624431" providerId="ADAL" clId="{D6FBF965-026B-43DA-A554-C6861A0A35E4}" dt="2023-02-01T17:19:30.757" v="9995" actId="478"/>
          <ac:graphicFrameMkLst>
            <pc:docMk/>
            <pc:sldMk cId="95124222" sldId="326"/>
            <ac:graphicFrameMk id="21" creationId="{A3F197C2-8869-8B37-CD76-B283DE170691}"/>
          </ac:graphicFrameMkLst>
        </pc:graphicFrameChg>
        <pc:graphicFrameChg chg="del">
          <ac:chgData name="Wenwen Zhang" userId="9dd81366-5d6f-445a-b031-6ea562624431" providerId="ADAL" clId="{D6FBF965-026B-43DA-A554-C6861A0A35E4}" dt="2023-02-01T17:19:27.905" v="9994" actId="478"/>
          <ac:graphicFrameMkLst>
            <pc:docMk/>
            <pc:sldMk cId="95124222" sldId="326"/>
            <ac:graphicFrameMk id="22" creationId="{35F718D1-EBCB-EBC9-996B-71AC3D2D8484}"/>
          </ac:graphicFrameMkLst>
        </pc:graphicFrameChg>
        <pc:graphicFrameChg chg="del">
          <ac:chgData name="Wenwen Zhang" userId="9dd81366-5d6f-445a-b031-6ea562624431" providerId="ADAL" clId="{D6FBF965-026B-43DA-A554-C6861A0A35E4}" dt="2023-02-01T17:19:22.018" v="9991" actId="478"/>
          <ac:graphicFrameMkLst>
            <pc:docMk/>
            <pc:sldMk cId="95124222" sldId="326"/>
            <ac:graphicFrameMk id="23" creationId="{E6B87F90-02B8-E5CC-601F-8E4D1C7DD04D}"/>
          </ac:graphicFrameMkLst>
        </pc:graphicFrameChg>
        <pc:graphicFrameChg chg="del">
          <ac:chgData name="Wenwen Zhang" userId="9dd81366-5d6f-445a-b031-6ea562624431" providerId="ADAL" clId="{D6FBF965-026B-43DA-A554-C6861A0A35E4}" dt="2023-02-01T17:19:24.030" v="9992" actId="478"/>
          <ac:graphicFrameMkLst>
            <pc:docMk/>
            <pc:sldMk cId="95124222" sldId="326"/>
            <ac:graphicFrameMk id="25" creationId="{FA27A8E8-439A-B546-8D8C-52D4004FE5E4}"/>
          </ac:graphicFrameMkLst>
        </pc:graphicFrameChg>
        <pc:graphicFrameChg chg="del">
          <ac:chgData name="Wenwen Zhang" userId="9dd81366-5d6f-445a-b031-6ea562624431" providerId="ADAL" clId="{D6FBF965-026B-43DA-A554-C6861A0A35E4}" dt="2023-02-01T17:19:22.018" v="9991" actId="478"/>
          <ac:graphicFrameMkLst>
            <pc:docMk/>
            <pc:sldMk cId="95124222" sldId="326"/>
            <ac:graphicFrameMk id="26" creationId="{26EC784F-167D-88A4-0877-1372CB708A67}"/>
          </ac:graphicFrameMkLst>
        </pc:graphicFrameChg>
        <pc:graphicFrameChg chg="add mod ord">
          <ac:chgData name="Wenwen Zhang" userId="9dd81366-5d6f-445a-b031-6ea562624431" providerId="ADAL" clId="{D6FBF965-026B-43DA-A554-C6861A0A35E4}" dt="2023-02-01T17:21:09.583" v="10248"/>
          <ac:graphicFrameMkLst>
            <pc:docMk/>
            <pc:sldMk cId="95124222" sldId="326"/>
            <ac:graphicFrameMk id="27" creationId="{DD51ED56-1225-CC5B-A5D7-795FB2A06DB4}"/>
          </ac:graphicFrameMkLst>
        </pc:graphicFrameChg>
        <pc:graphicFrameChg chg="add mod ord">
          <ac:chgData name="Wenwen Zhang" userId="9dd81366-5d6f-445a-b031-6ea562624431" providerId="ADAL" clId="{D6FBF965-026B-43DA-A554-C6861A0A35E4}" dt="2023-02-01T17:21:09.583" v="10250"/>
          <ac:graphicFrameMkLst>
            <pc:docMk/>
            <pc:sldMk cId="95124222" sldId="326"/>
            <ac:graphicFrameMk id="28" creationId="{EFD12FC7-CDCB-9D9E-649B-68C4FA7A00B6}"/>
          </ac:graphicFrameMkLst>
        </pc:graphicFrameChg>
      </pc:sldChg>
      <pc:sldChg chg="addSp delSp modSp del mod ord delAnim">
        <pc:chgData name="Wenwen Zhang" userId="9dd81366-5d6f-445a-b031-6ea562624431" providerId="ADAL" clId="{D6FBF965-026B-43DA-A554-C6861A0A35E4}" dt="2023-02-02T11:46:11.256" v="117677" actId="2696"/>
        <pc:sldMkLst>
          <pc:docMk/>
          <pc:sldMk cId="2884773076" sldId="2134804360"/>
        </pc:sldMkLst>
        <pc:spChg chg="del mod topLvl">
          <ac:chgData name="Wenwen Zhang" userId="9dd81366-5d6f-445a-b031-6ea562624431" providerId="ADAL" clId="{D6FBF965-026B-43DA-A554-C6861A0A35E4}" dt="2023-02-02T00:14:32.956" v="105484" actId="478"/>
          <ac:spMkLst>
            <pc:docMk/>
            <pc:sldMk cId="2884773076" sldId="2134804360"/>
            <ac:spMk id="5" creationId="{B1C7F52F-C566-AF5C-07F0-48C6788B0B96}"/>
          </ac:spMkLst>
        </pc:spChg>
        <pc:spChg chg="mod ord topLvl">
          <ac:chgData name="Wenwen Zhang" userId="9dd81366-5d6f-445a-b031-6ea562624431" providerId="ADAL" clId="{D6FBF965-026B-43DA-A554-C6861A0A35E4}" dt="2023-02-02T00:36:29.160" v="105493"/>
          <ac:spMkLst>
            <pc:docMk/>
            <pc:sldMk cId="2884773076" sldId="2134804360"/>
            <ac:spMk id="6" creationId="{5CFC7B4E-BFD2-8098-69F3-D88FD95E1A72}"/>
          </ac:spMkLst>
        </pc:spChg>
        <pc:spChg chg="del mod ord">
          <ac:chgData name="Wenwen Zhang" userId="9dd81366-5d6f-445a-b031-6ea562624431" providerId="ADAL" clId="{D6FBF965-026B-43DA-A554-C6861A0A35E4}" dt="2023-02-02T11:46:04.962" v="117676" actId="478"/>
          <ac:spMkLst>
            <pc:docMk/>
            <pc:sldMk cId="2884773076" sldId="2134804360"/>
            <ac:spMk id="19" creationId="{4E502307-998D-CC45-0767-C5405733E328}"/>
          </ac:spMkLst>
        </pc:spChg>
        <pc:grpChg chg="del mod ord">
          <ac:chgData name="Wenwen Zhang" userId="9dd81366-5d6f-445a-b031-6ea562624431" providerId="ADAL" clId="{D6FBF965-026B-43DA-A554-C6861A0A35E4}" dt="2023-02-02T00:14:32.956" v="105484" actId="478"/>
          <ac:grpSpMkLst>
            <pc:docMk/>
            <pc:sldMk cId="2884773076" sldId="2134804360"/>
            <ac:grpSpMk id="11" creationId="{29671453-A171-DBA9-E86D-1725DD3EF2AC}"/>
          </ac:grpSpMkLst>
        </pc:grpChg>
        <pc:graphicFrameChg chg="mod">
          <ac:chgData name="Wenwen Zhang" userId="9dd81366-5d6f-445a-b031-6ea562624431" providerId="ADAL" clId="{D6FBF965-026B-43DA-A554-C6861A0A35E4}" dt="2023-02-02T00:36:29.166" v="105503"/>
          <ac:graphicFrameMkLst>
            <pc:docMk/>
            <pc:sldMk cId="2884773076" sldId="2134804360"/>
            <ac:graphicFrameMk id="9" creationId="{9E623100-FD89-1DB8-6F4F-B410DD8D5A15}"/>
          </ac:graphicFrameMkLst>
        </pc:graphicFrameChg>
        <pc:picChg chg="add del mod ord modCrop">
          <ac:chgData name="Wenwen Zhang" userId="9dd81366-5d6f-445a-b031-6ea562624431" providerId="ADAL" clId="{D6FBF965-026B-43DA-A554-C6861A0A35E4}" dt="2023-02-02T00:11:29.200" v="105435" actId="478"/>
          <ac:picMkLst>
            <pc:docMk/>
            <pc:sldMk cId="2884773076" sldId="2134804360"/>
            <ac:picMk id="3" creationId="{EDD0AB20-6618-03F8-3EE7-2049D9C88B24}"/>
          </ac:picMkLst>
        </pc:picChg>
        <pc:picChg chg="add del mod ord modCrop">
          <ac:chgData name="Wenwen Zhang" userId="9dd81366-5d6f-445a-b031-6ea562624431" providerId="ADAL" clId="{D6FBF965-026B-43DA-A554-C6861A0A35E4}" dt="2023-02-02T11:46:02.850" v="117675" actId="478"/>
          <ac:picMkLst>
            <pc:docMk/>
            <pc:sldMk cId="2884773076" sldId="2134804360"/>
            <ac:picMk id="8" creationId="{E090F9C2-2B15-06A6-A8B7-B4BF32DA32F4}"/>
          </ac:picMkLst>
        </pc:picChg>
        <pc:picChg chg="del">
          <ac:chgData name="Wenwen Zhang" userId="9dd81366-5d6f-445a-b031-6ea562624431" providerId="ADAL" clId="{D6FBF965-026B-43DA-A554-C6861A0A35E4}" dt="2023-02-02T00:06:15.880" v="105376" actId="478"/>
          <ac:picMkLst>
            <pc:docMk/>
            <pc:sldMk cId="2884773076" sldId="2134804360"/>
            <ac:picMk id="12" creationId="{214B7397-073E-817E-2579-251A9655CEEB}"/>
          </ac:picMkLst>
        </pc:picChg>
        <pc:cxnChg chg="del mod ord">
          <ac:chgData name="Wenwen Zhang" userId="9dd81366-5d6f-445a-b031-6ea562624431" providerId="ADAL" clId="{D6FBF965-026B-43DA-A554-C6861A0A35E4}" dt="2023-02-02T11:46:04.962" v="117676" actId="478"/>
          <ac:cxnSpMkLst>
            <pc:docMk/>
            <pc:sldMk cId="2884773076" sldId="2134804360"/>
            <ac:cxnSpMk id="15" creationId="{27CDE051-5074-DF89-0EB9-13DA0EC65EFB}"/>
          </ac:cxnSpMkLst>
        </pc:cxnChg>
      </pc:sldChg>
      <pc:sldChg chg="addSp delSp modSp mod modNotesTx">
        <pc:chgData name="Wenwen Zhang" userId="9dd81366-5d6f-445a-b031-6ea562624431" providerId="ADAL" clId="{D6FBF965-026B-43DA-A554-C6861A0A35E4}" dt="2023-02-02T00:03:53.035" v="105373" actId="20577"/>
        <pc:sldMkLst>
          <pc:docMk/>
          <pc:sldMk cId="853588367" sldId="2134804361"/>
        </pc:sldMkLst>
        <pc:spChg chg="mod ord">
          <ac:chgData name="Wenwen Zhang" userId="9dd81366-5d6f-445a-b031-6ea562624431" providerId="ADAL" clId="{D6FBF965-026B-43DA-A554-C6861A0A35E4}" dt="2023-02-01T17:07:07.383" v="9814"/>
          <ac:spMkLst>
            <pc:docMk/>
            <pc:sldMk cId="853588367" sldId="2134804361"/>
            <ac:spMk id="2" creationId="{B065B79C-C4D6-5961-7919-6BB68C420868}"/>
          </ac:spMkLst>
        </pc:spChg>
        <pc:spChg chg="add del mod modVis">
          <ac:chgData name="Wenwen Zhang" userId="9dd81366-5d6f-445a-b031-6ea562624431" providerId="ADAL" clId="{D6FBF965-026B-43DA-A554-C6861A0A35E4}" dt="2023-02-01T17:01:19.527" v="125"/>
          <ac:spMkLst>
            <pc:docMk/>
            <pc:sldMk cId="853588367" sldId="2134804361"/>
            <ac:spMk id="3" creationId="{84D01445-9587-9CF0-18F9-236E73977C22}"/>
          </ac:spMkLst>
        </pc:spChg>
        <pc:spChg chg="add mod replST">
          <ac:chgData name="Wenwen Zhang" userId="9dd81366-5d6f-445a-b031-6ea562624431" providerId="ADAL" clId="{D6FBF965-026B-43DA-A554-C6861A0A35E4}" dt="2023-02-01T17:07:07.399" v="9838"/>
          <ac:spMkLst>
            <pc:docMk/>
            <pc:sldMk cId="853588367" sldId="2134804361"/>
            <ac:spMk id="5" creationId="{853E3AE6-E7F7-94AD-D7C1-36CA3347A7E8}"/>
          </ac:spMkLst>
        </pc:spChg>
        <pc:spChg chg="add mod replST">
          <ac:chgData name="Wenwen Zhang" userId="9dd81366-5d6f-445a-b031-6ea562624431" providerId="ADAL" clId="{D6FBF965-026B-43DA-A554-C6861A0A35E4}" dt="2023-02-01T17:07:07.399" v="9837"/>
          <ac:spMkLst>
            <pc:docMk/>
            <pc:sldMk cId="853588367" sldId="2134804361"/>
            <ac:spMk id="6" creationId="{4EB63AB8-68BF-F752-5895-FEE87DE48FB1}"/>
          </ac:spMkLst>
        </pc:spChg>
        <pc:spChg chg="add mod replST">
          <ac:chgData name="Wenwen Zhang" userId="9dd81366-5d6f-445a-b031-6ea562624431" providerId="ADAL" clId="{D6FBF965-026B-43DA-A554-C6861A0A35E4}" dt="2023-02-01T17:07:07.399" v="9834"/>
          <ac:spMkLst>
            <pc:docMk/>
            <pc:sldMk cId="853588367" sldId="2134804361"/>
            <ac:spMk id="7" creationId="{2A709262-AEC3-7443-4B92-2BD864A8DBA5}"/>
          </ac:spMkLst>
        </pc:spChg>
        <pc:spChg chg="add mod replST">
          <ac:chgData name="Wenwen Zhang" userId="9dd81366-5d6f-445a-b031-6ea562624431" providerId="ADAL" clId="{D6FBF965-026B-43DA-A554-C6861A0A35E4}" dt="2023-02-01T17:07:07.399" v="9833"/>
          <ac:spMkLst>
            <pc:docMk/>
            <pc:sldMk cId="853588367" sldId="2134804361"/>
            <ac:spMk id="8" creationId="{1E1F31AE-E546-5758-1E25-6422E62CACCC}"/>
          </ac:spMkLst>
        </pc:spChg>
        <pc:spChg chg="add mod replST">
          <ac:chgData name="Wenwen Zhang" userId="9dd81366-5d6f-445a-b031-6ea562624431" providerId="ADAL" clId="{D6FBF965-026B-43DA-A554-C6861A0A35E4}" dt="2023-02-01T17:07:07.399" v="9836"/>
          <ac:spMkLst>
            <pc:docMk/>
            <pc:sldMk cId="853588367" sldId="2134804361"/>
            <ac:spMk id="9" creationId="{69F454ED-9CCC-62CF-F30D-A334BC8A0D4B}"/>
          </ac:spMkLst>
        </pc:spChg>
        <pc:spChg chg="add mod replST">
          <ac:chgData name="Wenwen Zhang" userId="9dd81366-5d6f-445a-b031-6ea562624431" providerId="ADAL" clId="{D6FBF965-026B-43DA-A554-C6861A0A35E4}" dt="2023-02-01T17:07:07.399" v="9835"/>
          <ac:spMkLst>
            <pc:docMk/>
            <pc:sldMk cId="853588367" sldId="2134804361"/>
            <ac:spMk id="11" creationId="{6AF1F9A0-3633-4E39-B792-CC820F9A9084}"/>
          </ac:spMkLst>
        </pc:spChg>
        <pc:spChg chg="add mod replST">
          <ac:chgData name="Wenwen Zhang" userId="9dd81366-5d6f-445a-b031-6ea562624431" providerId="ADAL" clId="{D6FBF965-026B-43DA-A554-C6861A0A35E4}" dt="2023-02-01T17:07:07.399" v="9831"/>
          <ac:spMkLst>
            <pc:docMk/>
            <pc:sldMk cId="853588367" sldId="2134804361"/>
            <ac:spMk id="12" creationId="{D2F5D0D7-DC31-0DBB-3B98-5FB9900FF705}"/>
          </ac:spMkLst>
        </pc:spChg>
        <pc:spChg chg="add mod replST">
          <ac:chgData name="Wenwen Zhang" userId="9dd81366-5d6f-445a-b031-6ea562624431" providerId="ADAL" clId="{D6FBF965-026B-43DA-A554-C6861A0A35E4}" dt="2023-02-01T17:07:07.399" v="9832"/>
          <ac:spMkLst>
            <pc:docMk/>
            <pc:sldMk cId="853588367" sldId="2134804361"/>
            <ac:spMk id="13" creationId="{2F6F6783-6227-334C-241D-B0C69587E518}"/>
          </ac:spMkLst>
        </pc:spChg>
        <pc:spChg chg="add mod replST">
          <ac:chgData name="Wenwen Zhang" userId="9dd81366-5d6f-445a-b031-6ea562624431" providerId="ADAL" clId="{D6FBF965-026B-43DA-A554-C6861A0A35E4}" dt="2023-02-01T17:07:07.399" v="9839"/>
          <ac:spMkLst>
            <pc:docMk/>
            <pc:sldMk cId="853588367" sldId="2134804361"/>
            <ac:spMk id="15" creationId="{9491B75F-DC0D-7DF1-7D8B-A9A8E8FD61E9}"/>
          </ac:spMkLst>
        </pc:spChg>
        <pc:spChg chg="add mod replST">
          <ac:chgData name="Wenwen Zhang" userId="9dd81366-5d6f-445a-b031-6ea562624431" providerId="ADAL" clId="{D6FBF965-026B-43DA-A554-C6861A0A35E4}" dt="2023-02-01T17:07:07.399" v="9841"/>
          <ac:spMkLst>
            <pc:docMk/>
            <pc:sldMk cId="853588367" sldId="2134804361"/>
            <ac:spMk id="16" creationId="{BF8FEA59-667E-AD81-BD68-2A4C7A58AE22}"/>
          </ac:spMkLst>
        </pc:spChg>
        <pc:spChg chg="add mod replST">
          <ac:chgData name="Wenwen Zhang" userId="9dd81366-5d6f-445a-b031-6ea562624431" providerId="ADAL" clId="{D6FBF965-026B-43DA-A554-C6861A0A35E4}" dt="2023-02-01T17:07:07.399" v="9840"/>
          <ac:spMkLst>
            <pc:docMk/>
            <pc:sldMk cId="853588367" sldId="2134804361"/>
            <ac:spMk id="17" creationId="{16D3A00E-0760-8004-B7A1-AA8EF6D8D41C}"/>
          </ac:spMkLst>
        </pc:spChg>
        <pc:spChg chg="add mod replST">
          <ac:chgData name="Wenwen Zhang" userId="9dd81366-5d6f-445a-b031-6ea562624431" providerId="ADAL" clId="{D6FBF965-026B-43DA-A554-C6861A0A35E4}" dt="2023-02-01T17:07:07.399" v="9842"/>
          <ac:spMkLst>
            <pc:docMk/>
            <pc:sldMk cId="853588367" sldId="2134804361"/>
            <ac:spMk id="18" creationId="{6A274FDE-0F5F-A040-099B-09D012D48EE0}"/>
          </ac:spMkLst>
        </pc:spChg>
        <pc:spChg chg="add mod replST">
          <ac:chgData name="Wenwen Zhang" userId="9dd81366-5d6f-445a-b031-6ea562624431" providerId="ADAL" clId="{D6FBF965-026B-43DA-A554-C6861A0A35E4}" dt="2023-02-01T17:07:07.399" v="9843"/>
          <ac:spMkLst>
            <pc:docMk/>
            <pc:sldMk cId="853588367" sldId="2134804361"/>
            <ac:spMk id="19" creationId="{964B1BBF-B407-C44A-77D1-FDF192716AE3}"/>
          </ac:spMkLst>
        </pc:spChg>
        <pc:spChg chg="add mod ord replST">
          <ac:chgData name="Wenwen Zhang" userId="9dd81366-5d6f-445a-b031-6ea562624431" providerId="ADAL" clId="{D6FBF965-026B-43DA-A554-C6861A0A35E4}" dt="2023-02-01T17:07:07.399" v="9847"/>
          <ac:spMkLst>
            <pc:docMk/>
            <pc:sldMk cId="853588367" sldId="2134804361"/>
            <ac:spMk id="21" creationId="{F6D863E2-8629-3703-6C4F-C073587AB6EB}"/>
          </ac:spMkLst>
        </pc:spChg>
        <pc:spChg chg="add mod replST">
          <ac:chgData name="Wenwen Zhang" userId="9dd81366-5d6f-445a-b031-6ea562624431" providerId="ADAL" clId="{D6FBF965-026B-43DA-A554-C6861A0A35E4}" dt="2023-02-01T17:07:34.449" v="9974"/>
          <ac:spMkLst>
            <pc:docMk/>
            <pc:sldMk cId="853588367" sldId="2134804361"/>
            <ac:spMk id="22" creationId="{F0104106-670B-C3CB-A81A-41C388F2E107}"/>
          </ac:spMkLst>
        </pc:spChg>
        <pc:spChg chg="add mod replST">
          <ac:chgData name="Wenwen Zhang" userId="9dd81366-5d6f-445a-b031-6ea562624431" providerId="ADAL" clId="{D6FBF965-026B-43DA-A554-C6861A0A35E4}" dt="2023-02-01T17:07:34.449" v="9973"/>
          <ac:spMkLst>
            <pc:docMk/>
            <pc:sldMk cId="853588367" sldId="2134804361"/>
            <ac:spMk id="23" creationId="{2038CD29-1299-0259-307D-DF3914D77B53}"/>
          </ac:spMkLst>
        </pc:spChg>
        <pc:spChg chg="add mod replST">
          <ac:chgData name="Wenwen Zhang" userId="9dd81366-5d6f-445a-b031-6ea562624431" providerId="ADAL" clId="{D6FBF965-026B-43DA-A554-C6861A0A35E4}" dt="2023-02-01T17:07:07.399" v="9854"/>
          <ac:spMkLst>
            <pc:docMk/>
            <pc:sldMk cId="853588367" sldId="2134804361"/>
            <ac:spMk id="25" creationId="{AB9E2F6B-2B84-02C0-045A-CFCD982A429E}"/>
          </ac:spMkLst>
        </pc:spChg>
        <pc:spChg chg="add mod replST">
          <ac:chgData name="Wenwen Zhang" userId="9dd81366-5d6f-445a-b031-6ea562624431" providerId="ADAL" clId="{D6FBF965-026B-43DA-A554-C6861A0A35E4}" dt="2023-02-01T17:07:07.407" v="9866"/>
          <ac:spMkLst>
            <pc:docMk/>
            <pc:sldMk cId="853588367" sldId="2134804361"/>
            <ac:spMk id="26" creationId="{53119203-1966-F90C-AE9F-3794C1A183C6}"/>
          </ac:spMkLst>
        </pc:spChg>
        <pc:spChg chg="add mod replST">
          <ac:chgData name="Wenwen Zhang" userId="9dd81366-5d6f-445a-b031-6ea562624431" providerId="ADAL" clId="{D6FBF965-026B-43DA-A554-C6861A0A35E4}" dt="2023-02-01T17:07:07.399" v="9855"/>
          <ac:spMkLst>
            <pc:docMk/>
            <pc:sldMk cId="853588367" sldId="2134804361"/>
            <ac:spMk id="27" creationId="{EC74EA2F-5FEC-8047-0151-87BA9BC98889}"/>
          </ac:spMkLst>
        </pc:spChg>
        <pc:spChg chg="mod ord">
          <ac:chgData name="Wenwen Zhang" userId="9dd81366-5d6f-445a-b031-6ea562624431" providerId="ADAL" clId="{D6FBF965-026B-43DA-A554-C6861A0A35E4}" dt="2023-02-01T22:21:41.363" v="102997" actId="6549"/>
          <ac:spMkLst>
            <pc:docMk/>
            <pc:sldMk cId="853588367" sldId="2134804361"/>
            <ac:spMk id="29" creationId="{D50B6CAA-A666-5524-85F7-444C607F0970}"/>
          </ac:spMkLst>
        </pc:spChg>
        <pc:spChg chg="add mod ord replST">
          <ac:chgData name="Wenwen Zhang" userId="9dd81366-5d6f-445a-b031-6ea562624431" providerId="ADAL" clId="{D6FBF965-026B-43DA-A554-C6861A0A35E4}" dt="2023-02-01T17:07:07.399" v="9853"/>
          <ac:spMkLst>
            <pc:docMk/>
            <pc:sldMk cId="853588367" sldId="2134804361"/>
            <ac:spMk id="30" creationId="{97CB27C6-CC4E-EDB4-2314-D3DBC18B1CF7}"/>
          </ac:spMkLst>
        </pc:spChg>
        <pc:spChg chg="add mod replST">
          <ac:chgData name="Wenwen Zhang" userId="9dd81366-5d6f-445a-b031-6ea562624431" providerId="ADAL" clId="{D6FBF965-026B-43DA-A554-C6861A0A35E4}" dt="2023-02-01T17:07:07.399" v="9856"/>
          <ac:spMkLst>
            <pc:docMk/>
            <pc:sldMk cId="853588367" sldId="2134804361"/>
            <ac:spMk id="31" creationId="{9868FAD0-B8F2-E443-C250-70CB3FDE89C1}"/>
          </ac:spMkLst>
        </pc:spChg>
        <pc:spChg chg="add mod replST">
          <ac:chgData name="Wenwen Zhang" userId="9dd81366-5d6f-445a-b031-6ea562624431" providerId="ADAL" clId="{D6FBF965-026B-43DA-A554-C6861A0A35E4}" dt="2023-02-01T17:07:07.399" v="9858"/>
          <ac:spMkLst>
            <pc:docMk/>
            <pc:sldMk cId="853588367" sldId="2134804361"/>
            <ac:spMk id="32" creationId="{8FEB97FD-6E7E-7B96-376B-FAB55B1B1F8F}"/>
          </ac:spMkLst>
        </pc:spChg>
        <pc:spChg chg="add mod replST">
          <ac:chgData name="Wenwen Zhang" userId="9dd81366-5d6f-445a-b031-6ea562624431" providerId="ADAL" clId="{D6FBF965-026B-43DA-A554-C6861A0A35E4}" dt="2023-02-01T17:07:07.399" v="9861"/>
          <ac:spMkLst>
            <pc:docMk/>
            <pc:sldMk cId="853588367" sldId="2134804361"/>
            <ac:spMk id="33" creationId="{9EBDCB96-5BD5-A57F-2034-98D1F0C95EAE}"/>
          </ac:spMkLst>
        </pc:spChg>
        <pc:spChg chg="add mod replST">
          <ac:chgData name="Wenwen Zhang" userId="9dd81366-5d6f-445a-b031-6ea562624431" providerId="ADAL" clId="{D6FBF965-026B-43DA-A554-C6861A0A35E4}" dt="2023-02-01T17:07:07.399" v="9859"/>
          <ac:spMkLst>
            <pc:docMk/>
            <pc:sldMk cId="853588367" sldId="2134804361"/>
            <ac:spMk id="34" creationId="{B87F1555-C46A-D821-2BE6-DE6AEF246171}"/>
          </ac:spMkLst>
        </pc:spChg>
        <pc:spChg chg="add mod replST">
          <ac:chgData name="Wenwen Zhang" userId="9dd81366-5d6f-445a-b031-6ea562624431" providerId="ADAL" clId="{D6FBF965-026B-43DA-A554-C6861A0A35E4}" dt="2023-02-01T17:07:07.399" v="9860"/>
          <ac:spMkLst>
            <pc:docMk/>
            <pc:sldMk cId="853588367" sldId="2134804361"/>
            <ac:spMk id="35" creationId="{69DD3290-EEBF-C51D-DFF8-EDB59B191428}"/>
          </ac:spMkLst>
        </pc:spChg>
        <pc:spChg chg="add mod replST">
          <ac:chgData name="Wenwen Zhang" userId="9dd81366-5d6f-445a-b031-6ea562624431" providerId="ADAL" clId="{D6FBF965-026B-43DA-A554-C6861A0A35E4}" dt="2023-02-01T17:07:07.399" v="9857"/>
          <ac:spMkLst>
            <pc:docMk/>
            <pc:sldMk cId="853588367" sldId="2134804361"/>
            <ac:spMk id="36" creationId="{3BB2B606-69AB-62A0-C612-34A4AA1254EB}"/>
          </ac:spMkLst>
        </pc:spChg>
        <pc:spChg chg="add mod replST">
          <ac:chgData name="Wenwen Zhang" userId="9dd81366-5d6f-445a-b031-6ea562624431" providerId="ADAL" clId="{D6FBF965-026B-43DA-A554-C6861A0A35E4}" dt="2023-02-01T17:07:07.399" v="9862"/>
          <ac:spMkLst>
            <pc:docMk/>
            <pc:sldMk cId="853588367" sldId="2134804361"/>
            <ac:spMk id="37" creationId="{AC6FED6D-C2DF-17D8-7318-ADAD1B98B704}"/>
          </ac:spMkLst>
        </pc:spChg>
        <pc:spChg chg="add mod replST">
          <ac:chgData name="Wenwen Zhang" userId="9dd81366-5d6f-445a-b031-6ea562624431" providerId="ADAL" clId="{D6FBF965-026B-43DA-A554-C6861A0A35E4}" dt="2023-02-01T17:07:07.399" v="9863"/>
          <ac:spMkLst>
            <pc:docMk/>
            <pc:sldMk cId="853588367" sldId="2134804361"/>
            <ac:spMk id="38" creationId="{B69A8E11-E0A8-6335-99C6-97086BD4E80F}"/>
          </ac:spMkLst>
        </pc:spChg>
        <pc:spChg chg="add mod replST">
          <ac:chgData name="Wenwen Zhang" userId="9dd81366-5d6f-445a-b031-6ea562624431" providerId="ADAL" clId="{D6FBF965-026B-43DA-A554-C6861A0A35E4}" dt="2023-02-01T17:07:07.407" v="9864"/>
          <ac:spMkLst>
            <pc:docMk/>
            <pc:sldMk cId="853588367" sldId="2134804361"/>
            <ac:spMk id="39" creationId="{B3D0FA62-B746-9A3C-340D-33F07301D01D}"/>
          </ac:spMkLst>
        </pc:spChg>
        <pc:spChg chg="add mod replST">
          <ac:chgData name="Wenwen Zhang" userId="9dd81366-5d6f-445a-b031-6ea562624431" providerId="ADAL" clId="{D6FBF965-026B-43DA-A554-C6861A0A35E4}" dt="2023-02-01T17:07:07.407" v="9865"/>
          <ac:spMkLst>
            <pc:docMk/>
            <pc:sldMk cId="853588367" sldId="2134804361"/>
            <ac:spMk id="40" creationId="{769C75A2-E94D-BF50-1DEC-33B46545A3D3}"/>
          </ac:spMkLst>
        </pc:spChg>
        <pc:spChg chg="add mod ord replST">
          <ac:chgData name="Wenwen Zhang" userId="9dd81366-5d6f-445a-b031-6ea562624431" providerId="ADAL" clId="{D6FBF965-026B-43DA-A554-C6861A0A35E4}" dt="2023-02-01T17:07:07.407" v="9868"/>
          <ac:spMkLst>
            <pc:docMk/>
            <pc:sldMk cId="853588367" sldId="2134804361"/>
            <ac:spMk id="41" creationId="{E19D14A1-BE43-D4FD-95B0-853AE9BFBE95}"/>
          </ac:spMkLst>
        </pc:spChg>
        <pc:spChg chg="add mod ord replST">
          <ac:chgData name="Wenwen Zhang" userId="9dd81366-5d6f-445a-b031-6ea562624431" providerId="ADAL" clId="{D6FBF965-026B-43DA-A554-C6861A0A35E4}" dt="2023-02-01T17:07:07.407" v="9870"/>
          <ac:spMkLst>
            <pc:docMk/>
            <pc:sldMk cId="853588367" sldId="2134804361"/>
            <ac:spMk id="42" creationId="{3B915FA7-4008-034D-CBC8-ACD766542AD7}"/>
          </ac:spMkLst>
        </pc:spChg>
        <pc:spChg chg="mod ord">
          <ac:chgData name="Wenwen Zhang" userId="9dd81366-5d6f-445a-b031-6ea562624431" providerId="ADAL" clId="{D6FBF965-026B-43DA-A554-C6861A0A35E4}" dt="2023-02-01T17:07:07.383" v="9818"/>
          <ac:spMkLst>
            <pc:docMk/>
            <pc:sldMk cId="853588367" sldId="2134804361"/>
            <ac:spMk id="43" creationId="{C58C7321-3BF7-61DC-5B1A-AD075E56AE05}"/>
          </ac:spMkLst>
        </pc:spChg>
        <pc:spChg chg="add mod ord replST">
          <ac:chgData name="Wenwen Zhang" userId="9dd81366-5d6f-445a-b031-6ea562624431" providerId="ADAL" clId="{D6FBF965-026B-43DA-A554-C6861A0A35E4}" dt="2023-02-01T17:07:07.407" v="9872"/>
          <ac:spMkLst>
            <pc:docMk/>
            <pc:sldMk cId="853588367" sldId="2134804361"/>
            <ac:spMk id="44" creationId="{EDB8905F-73E0-2EA7-E716-975A4BA8B0EE}"/>
          </ac:spMkLst>
        </pc:spChg>
        <pc:spChg chg="add mod replST">
          <ac:chgData name="Wenwen Zhang" userId="9dd81366-5d6f-445a-b031-6ea562624431" providerId="ADAL" clId="{D6FBF965-026B-43DA-A554-C6861A0A35E4}" dt="2023-02-01T17:07:07.407" v="9879"/>
          <ac:spMkLst>
            <pc:docMk/>
            <pc:sldMk cId="853588367" sldId="2134804361"/>
            <ac:spMk id="46" creationId="{E2EE8D59-14AB-6168-980E-461BF5D90CA1}"/>
          </ac:spMkLst>
        </pc:spChg>
        <pc:spChg chg="add mod replST">
          <ac:chgData name="Wenwen Zhang" userId="9dd81366-5d6f-445a-b031-6ea562624431" providerId="ADAL" clId="{D6FBF965-026B-43DA-A554-C6861A0A35E4}" dt="2023-02-01T17:07:07.407" v="9878"/>
          <ac:spMkLst>
            <pc:docMk/>
            <pc:sldMk cId="853588367" sldId="2134804361"/>
            <ac:spMk id="47" creationId="{A56801FC-52D5-FD82-E79A-FF6C2D8D21F8}"/>
          </ac:spMkLst>
        </pc:spChg>
        <pc:spChg chg="add mod replST">
          <ac:chgData name="Wenwen Zhang" userId="9dd81366-5d6f-445a-b031-6ea562624431" providerId="ADAL" clId="{D6FBF965-026B-43DA-A554-C6861A0A35E4}" dt="2023-02-01T17:07:07.407" v="9880"/>
          <ac:spMkLst>
            <pc:docMk/>
            <pc:sldMk cId="853588367" sldId="2134804361"/>
            <ac:spMk id="48" creationId="{82E2B5F8-8800-20FE-A098-4A4341C77113}"/>
          </ac:spMkLst>
        </pc:spChg>
        <pc:spChg chg="add mod replST">
          <ac:chgData name="Wenwen Zhang" userId="9dd81366-5d6f-445a-b031-6ea562624431" providerId="ADAL" clId="{D6FBF965-026B-43DA-A554-C6861A0A35E4}" dt="2023-02-01T17:07:07.407" v="9877"/>
          <ac:spMkLst>
            <pc:docMk/>
            <pc:sldMk cId="853588367" sldId="2134804361"/>
            <ac:spMk id="49" creationId="{1E2BD2A2-F9FF-580F-EA64-DB601A18DF1D}"/>
          </ac:spMkLst>
        </pc:spChg>
        <pc:spChg chg="add mod replST">
          <ac:chgData name="Wenwen Zhang" userId="9dd81366-5d6f-445a-b031-6ea562624431" providerId="ADAL" clId="{D6FBF965-026B-43DA-A554-C6861A0A35E4}" dt="2023-02-01T17:07:07.407" v="9881"/>
          <ac:spMkLst>
            <pc:docMk/>
            <pc:sldMk cId="853588367" sldId="2134804361"/>
            <ac:spMk id="50" creationId="{39ED134F-C219-DFBA-7FB2-F05ABE290C6A}"/>
          </ac:spMkLst>
        </pc:spChg>
        <pc:spChg chg="add mod replST">
          <ac:chgData name="Wenwen Zhang" userId="9dd81366-5d6f-445a-b031-6ea562624431" providerId="ADAL" clId="{D6FBF965-026B-43DA-A554-C6861A0A35E4}" dt="2023-02-01T17:07:07.407" v="9882"/>
          <ac:spMkLst>
            <pc:docMk/>
            <pc:sldMk cId="853588367" sldId="2134804361"/>
            <ac:spMk id="51" creationId="{A74A81A4-AA17-9EC0-FC7F-42E6DCD344A0}"/>
          </ac:spMkLst>
        </pc:spChg>
        <pc:spChg chg="add mod replST">
          <ac:chgData name="Wenwen Zhang" userId="9dd81366-5d6f-445a-b031-6ea562624431" providerId="ADAL" clId="{D6FBF965-026B-43DA-A554-C6861A0A35E4}" dt="2023-02-01T17:07:07.407" v="9883"/>
          <ac:spMkLst>
            <pc:docMk/>
            <pc:sldMk cId="853588367" sldId="2134804361"/>
            <ac:spMk id="52" creationId="{2CE6E10C-0277-326E-DFBD-BA21483B32F3}"/>
          </ac:spMkLst>
        </pc:spChg>
        <pc:spChg chg="add mod replST">
          <ac:chgData name="Wenwen Zhang" userId="9dd81366-5d6f-445a-b031-6ea562624431" providerId="ADAL" clId="{D6FBF965-026B-43DA-A554-C6861A0A35E4}" dt="2023-02-01T17:07:07.407" v="9876"/>
          <ac:spMkLst>
            <pc:docMk/>
            <pc:sldMk cId="853588367" sldId="2134804361"/>
            <ac:spMk id="53" creationId="{63158D60-5E8C-70DA-BF7C-FF6EF9580536}"/>
          </ac:spMkLst>
        </pc:spChg>
        <pc:spChg chg="add mod replST">
          <ac:chgData name="Wenwen Zhang" userId="9dd81366-5d6f-445a-b031-6ea562624431" providerId="ADAL" clId="{D6FBF965-026B-43DA-A554-C6861A0A35E4}" dt="2023-02-01T17:07:07.407" v="9884"/>
          <ac:spMkLst>
            <pc:docMk/>
            <pc:sldMk cId="853588367" sldId="2134804361"/>
            <ac:spMk id="54" creationId="{B42DF3A8-B17B-BA3C-C721-D5C2DB297F9B}"/>
          </ac:spMkLst>
        </pc:spChg>
        <pc:spChg chg="add mod replST">
          <ac:chgData name="Wenwen Zhang" userId="9dd81366-5d6f-445a-b031-6ea562624431" providerId="ADAL" clId="{D6FBF965-026B-43DA-A554-C6861A0A35E4}" dt="2023-02-01T17:07:07.407" v="9886"/>
          <ac:spMkLst>
            <pc:docMk/>
            <pc:sldMk cId="853588367" sldId="2134804361"/>
            <ac:spMk id="55" creationId="{311AA0AC-1DDB-DA34-B33F-F0C59DBF80BF}"/>
          </ac:spMkLst>
        </pc:spChg>
        <pc:spChg chg="add mod replST">
          <ac:chgData name="Wenwen Zhang" userId="9dd81366-5d6f-445a-b031-6ea562624431" providerId="ADAL" clId="{D6FBF965-026B-43DA-A554-C6861A0A35E4}" dt="2023-02-01T17:07:07.407" v="9885"/>
          <ac:spMkLst>
            <pc:docMk/>
            <pc:sldMk cId="853588367" sldId="2134804361"/>
            <ac:spMk id="56" creationId="{BD223F99-13C0-CED5-F96A-2FEF4EED44FF}"/>
          </ac:spMkLst>
        </pc:spChg>
        <pc:spChg chg="add mod replST">
          <ac:chgData name="Wenwen Zhang" userId="9dd81366-5d6f-445a-b031-6ea562624431" providerId="ADAL" clId="{D6FBF965-026B-43DA-A554-C6861A0A35E4}" dt="2023-02-01T17:07:07.407" v="9887"/>
          <ac:spMkLst>
            <pc:docMk/>
            <pc:sldMk cId="853588367" sldId="2134804361"/>
            <ac:spMk id="57" creationId="{C121003B-0169-F5C0-5E4C-C00DD42C4C23}"/>
          </ac:spMkLst>
        </pc:spChg>
        <pc:spChg chg="add mod replST">
          <ac:chgData name="Wenwen Zhang" userId="9dd81366-5d6f-445a-b031-6ea562624431" providerId="ADAL" clId="{D6FBF965-026B-43DA-A554-C6861A0A35E4}" dt="2023-02-01T17:07:07.407" v="9875"/>
          <ac:spMkLst>
            <pc:docMk/>
            <pc:sldMk cId="853588367" sldId="2134804361"/>
            <ac:spMk id="58" creationId="{2669642C-B27B-33D8-C064-7525934725F6}"/>
          </ac:spMkLst>
        </pc:spChg>
        <pc:spChg chg="add mod replST">
          <ac:chgData name="Wenwen Zhang" userId="9dd81366-5d6f-445a-b031-6ea562624431" providerId="ADAL" clId="{D6FBF965-026B-43DA-A554-C6861A0A35E4}" dt="2023-02-01T17:07:07.383" v="9803"/>
          <ac:spMkLst>
            <pc:docMk/>
            <pc:sldMk cId="853588367" sldId="2134804361"/>
            <ac:spMk id="60" creationId="{C17F1F52-E2B2-3B14-A615-F82D4475EB11}"/>
          </ac:spMkLst>
        </pc:spChg>
        <pc:spChg chg="add mod replST">
          <ac:chgData name="Wenwen Zhang" userId="9dd81366-5d6f-445a-b031-6ea562624431" providerId="ADAL" clId="{D6FBF965-026B-43DA-A554-C6861A0A35E4}" dt="2023-02-01T17:07:07.383" v="9801"/>
          <ac:spMkLst>
            <pc:docMk/>
            <pc:sldMk cId="853588367" sldId="2134804361"/>
            <ac:spMk id="61" creationId="{16D777DE-43BB-E2E8-6385-F670C8514427}"/>
          </ac:spMkLst>
        </pc:spChg>
        <pc:spChg chg="add mod replST">
          <ac:chgData name="Wenwen Zhang" userId="9dd81366-5d6f-445a-b031-6ea562624431" providerId="ADAL" clId="{D6FBF965-026B-43DA-A554-C6861A0A35E4}" dt="2023-02-01T17:07:07.383" v="9804"/>
          <ac:spMkLst>
            <pc:docMk/>
            <pc:sldMk cId="853588367" sldId="2134804361"/>
            <ac:spMk id="62" creationId="{6D6D65D4-3CD7-22B9-C292-E027F47AD9D2}"/>
          </ac:spMkLst>
        </pc:spChg>
        <pc:spChg chg="add mod replST">
          <ac:chgData name="Wenwen Zhang" userId="9dd81366-5d6f-445a-b031-6ea562624431" providerId="ADAL" clId="{D6FBF965-026B-43DA-A554-C6861A0A35E4}" dt="2023-02-01T17:07:07.383" v="9800"/>
          <ac:spMkLst>
            <pc:docMk/>
            <pc:sldMk cId="853588367" sldId="2134804361"/>
            <ac:spMk id="63" creationId="{5DE968DE-144B-4107-C003-446ACE20576B}"/>
          </ac:spMkLst>
        </pc:spChg>
        <pc:spChg chg="add mod replST">
          <ac:chgData name="Wenwen Zhang" userId="9dd81366-5d6f-445a-b031-6ea562624431" providerId="ADAL" clId="{D6FBF965-026B-43DA-A554-C6861A0A35E4}" dt="2023-02-01T17:07:07.383" v="9802"/>
          <ac:spMkLst>
            <pc:docMk/>
            <pc:sldMk cId="853588367" sldId="2134804361"/>
            <ac:spMk id="64" creationId="{27CFDB97-300E-FEE7-F71E-CD5CC4B99346}"/>
          </ac:spMkLst>
        </pc:spChg>
        <pc:spChg chg="add mod replST">
          <ac:chgData name="Wenwen Zhang" userId="9dd81366-5d6f-445a-b031-6ea562624431" providerId="ADAL" clId="{D6FBF965-026B-43DA-A554-C6861A0A35E4}" dt="2023-02-01T17:07:07.383" v="9805"/>
          <ac:spMkLst>
            <pc:docMk/>
            <pc:sldMk cId="853588367" sldId="2134804361"/>
            <ac:spMk id="65" creationId="{3A75F3AE-E3AD-7D85-5695-252797AF2D68}"/>
          </ac:spMkLst>
        </pc:spChg>
        <pc:spChg chg="add mod replST">
          <ac:chgData name="Wenwen Zhang" userId="9dd81366-5d6f-445a-b031-6ea562624431" providerId="ADAL" clId="{D6FBF965-026B-43DA-A554-C6861A0A35E4}" dt="2023-02-01T17:07:07.383" v="9806"/>
          <ac:spMkLst>
            <pc:docMk/>
            <pc:sldMk cId="853588367" sldId="2134804361"/>
            <ac:spMk id="66" creationId="{BC8BA645-27FB-55D9-725B-197AED4D14EE}"/>
          </ac:spMkLst>
        </pc:spChg>
        <pc:spChg chg="add mod replST">
          <ac:chgData name="Wenwen Zhang" userId="9dd81366-5d6f-445a-b031-6ea562624431" providerId="ADAL" clId="{D6FBF965-026B-43DA-A554-C6861A0A35E4}" dt="2023-02-01T17:07:07.383" v="9807"/>
          <ac:spMkLst>
            <pc:docMk/>
            <pc:sldMk cId="853588367" sldId="2134804361"/>
            <ac:spMk id="67" creationId="{3BFE40D0-8C48-04E6-55EE-967C15D602FE}"/>
          </ac:spMkLst>
        </pc:spChg>
        <pc:spChg chg="add mod replST">
          <ac:chgData name="Wenwen Zhang" userId="9dd81366-5d6f-445a-b031-6ea562624431" providerId="ADAL" clId="{D6FBF965-026B-43DA-A554-C6861A0A35E4}" dt="2023-02-01T17:07:07.383" v="9808"/>
          <ac:spMkLst>
            <pc:docMk/>
            <pc:sldMk cId="853588367" sldId="2134804361"/>
            <ac:spMk id="68" creationId="{9DA597FC-D7C9-D230-994F-8101E73C3E9E}"/>
          </ac:spMkLst>
        </pc:spChg>
        <pc:spChg chg="add mod replST">
          <ac:chgData name="Wenwen Zhang" userId="9dd81366-5d6f-445a-b031-6ea562624431" providerId="ADAL" clId="{D6FBF965-026B-43DA-A554-C6861A0A35E4}" dt="2023-02-01T17:07:07.383" v="9809"/>
          <ac:spMkLst>
            <pc:docMk/>
            <pc:sldMk cId="853588367" sldId="2134804361"/>
            <ac:spMk id="69" creationId="{088D4523-2BBB-DBB8-5F8E-7A5C30DD24B2}"/>
          </ac:spMkLst>
        </pc:spChg>
        <pc:spChg chg="add mod replST">
          <ac:chgData name="Wenwen Zhang" userId="9dd81366-5d6f-445a-b031-6ea562624431" providerId="ADAL" clId="{D6FBF965-026B-43DA-A554-C6861A0A35E4}" dt="2023-02-01T17:07:07.383" v="9810"/>
          <ac:spMkLst>
            <pc:docMk/>
            <pc:sldMk cId="853588367" sldId="2134804361"/>
            <ac:spMk id="70" creationId="{012FD37D-A2F9-8BEC-6799-B3B7F2AB47E2}"/>
          </ac:spMkLst>
        </pc:spChg>
        <pc:spChg chg="add mod replST">
          <ac:chgData name="Wenwen Zhang" userId="9dd81366-5d6f-445a-b031-6ea562624431" providerId="ADAL" clId="{D6FBF965-026B-43DA-A554-C6861A0A35E4}" dt="2023-02-01T17:07:07.383" v="9811"/>
          <ac:spMkLst>
            <pc:docMk/>
            <pc:sldMk cId="853588367" sldId="2134804361"/>
            <ac:spMk id="71" creationId="{7821D557-C5CE-6470-944C-DB0ECDA83824}"/>
          </ac:spMkLst>
        </pc:spChg>
        <pc:spChg chg="add mod replST">
          <ac:chgData name="Wenwen Zhang" userId="9dd81366-5d6f-445a-b031-6ea562624431" providerId="ADAL" clId="{D6FBF965-026B-43DA-A554-C6861A0A35E4}" dt="2023-02-01T17:07:07.383" v="9812"/>
          <ac:spMkLst>
            <pc:docMk/>
            <pc:sldMk cId="853588367" sldId="2134804361"/>
            <ac:spMk id="72" creationId="{9810C514-FEC7-DADF-69A6-8995AA438520}"/>
          </ac:spMkLst>
        </pc:spChg>
        <pc:spChg chg="add del mod modVis">
          <ac:chgData name="Wenwen Zhang" userId="9dd81366-5d6f-445a-b031-6ea562624431" providerId="ADAL" clId="{D6FBF965-026B-43DA-A554-C6861A0A35E4}" dt="2023-02-01T17:01:40.041" v="3506"/>
          <ac:spMkLst>
            <pc:docMk/>
            <pc:sldMk cId="853588367" sldId="2134804361"/>
            <ac:spMk id="73" creationId="{DF1AC382-B8F4-735F-EF65-A5AE99182F61}"/>
          </ac:spMkLst>
        </pc:spChg>
        <pc:spChg chg="add del mod modVis">
          <ac:chgData name="Wenwen Zhang" userId="9dd81366-5d6f-445a-b031-6ea562624431" providerId="ADAL" clId="{D6FBF965-026B-43DA-A554-C6861A0A35E4}" dt="2023-02-01T17:01:54.716" v="3813"/>
          <ac:spMkLst>
            <pc:docMk/>
            <pc:sldMk cId="853588367" sldId="2134804361"/>
            <ac:spMk id="78" creationId="{BB70C700-2D09-3213-DDA2-91087F77FA7B}"/>
          </ac:spMkLst>
        </pc:spChg>
        <pc:spChg chg="add del mod modVis">
          <ac:chgData name="Wenwen Zhang" userId="9dd81366-5d6f-445a-b031-6ea562624431" providerId="ADAL" clId="{D6FBF965-026B-43DA-A554-C6861A0A35E4}" dt="2023-02-01T17:02:00.292" v="4120"/>
          <ac:spMkLst>
            <pc:docMk/>
            <pc:sldMk cId="853588367" sldId="2134804361"/>
            <ac:spMk id="81" creationId="{88E9975C-E8A5-827F-BD79-3A3C81526C0D}"/>
          </ac:spMkLst>
        </pc:spChg>
        <pc:spChg chg="add del mod modVis">
          <ac:chgData name="Wenwen Zhang" userId="9dd81366-5d6f-445a-b031-6ea562624431" providerId="ADAL" clId="{D6FBF965-026B-43DA-A554-C6861A0A35E4}" dt="2023-02-01T17:02:12.732" v="4451"/>
          <ac:spMkLst>
            <pc:docMk/>
            <pc:sldMk cId="853588367" sldId="2134804361"/>
            <ac:spMk id="84" creationId="{F49B885D-69D9-CBBA-7DD1-502CF2B2D3A6}"/>
          </ac:spMkLst>
        </pc:spChg>
        <pc:spChg chg="add del mod modVis">
          <ac:chgData name="Wenwen Zhang" userId="9dd81366-5d6f-445a-b031-6ea562624431" providerId="ADAL" clId="{D6FBF965-026B-43DA-A554-C6861A0A35E4}" dt="2023-02-01T17:02:40.559" v="4729"/>
          <ac:spMkLst>
            <pc:docMk/>
            <pc:sldMk cId="853588367" sldId="2134804361"/>
            <ac:spMk id="87" creationId="{939FF729-3E56-2D37-CE37-EDBA2F4AB637}"/>
          </ac:spMkLst>
        </pc:spChg>
        <pc:spChg chg="add mod">
          <ac:chgData name="Wenwen Zhang" userId="9dd81366-5d6f-445a-b031-6ea562624431" providerId="ADAL" clId="{D6FBF965-026B-43DA-A554-C6861A0A35E4}" dt="2023-02-01T17:02:43.371" v="4733" actId="571"/>
          <ac:spMkLst>
            <pc:docMk/>
            <pc:sldMk cId="853588367" sldId="2134804361"/>
            <ac:spMk id="89" creationId="{B198F869-B847-35E9-0A52-CB535A9E9F07}"/>
          </ac:spMkLst>
        </pc:spChg>
        <pc:spChg chg="add del mod modVis">
          <ac:chgData name="Wenwen Zhang" userId="9dd81366-5d6f-445a-b031-6ea562624431" providerId="ADAL" clId="{D6FBF965-026B-43DA-A554-C6861A0A35E4}" dt="2023-02-01T17:02:49.216" v="4835"/>
          <ac:spMkLst>
            <pc:docMk/>
            <pc:sldMk cId="853588367" sldId="2134804361"/>
            <ac:spMk id="90" creationId="{9681280A-3ACB-7FA7-136D-505D70D66348}"/>
          </ac:spMkLst>
        </pc:spChg>
        <pc:spChg chg="add del mod modVis">
          <ac:chgData name="Wenwen Zhang" userId="9dd81366-5d6f-445a-b031-6ea562624431" providerId="ADAL" clId="{D6FBF965-026B-43DA-A554-C6861A0A35E4}" dt="2023-02-01T17:03:39.058" v="5489"/>
          <ac:spMkLst>
            <pc:docMk/>
            <pc:sldMk cId="853588367" sldId="2134804361"/>
            <ac:spMk id="91" creationId="{81EF7F0C-4DA3-0B29-EF06-D5789FF194F9}"/>
          </ac:spMkLst>
        </pc:spChg>
        <pc:spChg chg="add del mod modVis">
          <ac:chgData name="Wenwen Zhang" userId="9dd81366-5d6f-445a-b031-6ea562624431" providerId="ADAL" clId="{D6FBF965-026B-43DA-A554-C6861A0A35E4}" dt="2023-02-01T17:03:43.544" v="5706"/>
          <ac:spMkLst>
            <pc:docMk/>
            <pc:sldMk cId="853588367" sldId="2134804361"/>
            <ac:spMk id="93" creationId="{11F0D36C-B389-3250-EE4C-4158C2DB33FF}"/>
          </ac:spMkLst>
        </pc:spChg>
        <pc:spChg chg="add del mod modVis">
          <ac:chgData name="Wenwen Zhang" userId="9dd81366-5d6f-445a-b031-6ea562624431" providerId="ADAL" clId="{D6FBF965-026B-43DA-A554-C6861A0A35E4}" dt="2023-02-01T17:03:55.509" v="5923"/>
          <ac:spMkLst>
            <pc:docMk/>
            <pc:sldMk cId="853588367" sldId="2134804361"/>
            <ac:spMk id="95" creationId="{FDA2A590-932C-0A7D-0F16-A5E28E2A47F5}"/>
          </ac:spMkLst>
        </pc:spChg>
        <pc:spChg chg="add del mod modVis">
          <ac:chgData name="Wenwen Zhang" userId="9dd81366-5d6f-445a-b031-6ea562624431" providerId="ADAL" clId="{D6FBF965-026B-43DA-A554-C6861A0A35E4}" dt="2023-02-01T17:04:01.131" v="6609"/>
          <ac:spMkLst>
            <pc:docMk/>
            <pc:sldMk cId="853588367" sldId="2134804361"/>
            <ac:spMk id="97" creationId="{602FBD75-6509-A007-709F-B5932C50BF96}"/>
          </ac:spMkLst>
        </pc:spChg>
        <pc:spChg chg="add del mod modVis">
          <ac:chgData name="Wenwen Zhang" userId="9dd81366-5d6f-445a-b031-6ea562624431" providerId="ADAL" clId="{D6FBF965-026B-43DA-A554-C6861A0A35E4}" dt="2023-02-01T17:04:04.675" v="6806"/>
          <ac:spMkLst>
            <pc:docMk/>
            <pc:sldMk cId="853588367" sldId="2134804361"/>
            <ac:spMk id="99" creationId="{17B95839-62EB-9FCD-5C91-0F8BDD680D0F}"/>
          </ac:spMkLst>
        </pc:spChg>
        <pc:spChg chg="add del mod modVis">
          <ac:chgData name="Wenwen Zhang" userId="9dd81366-5d6f-445a-b031-6ea562624431" providerId="ADAL" clId="{D6FBF965-026B-43DA-A554-C6861A0A35E4}" dt="2023-02-01T17:04:12.417" v="7600"/>
          <ac:spMkLst>
            <pc:docMk/>
            <pc:sldMk cId="853588367" sldId="2134804361"/>
            <ac:spMk id="101" creationId="{3C49C064-1AE7-B328-210A-C02137A7F595}"/>
          </ac:spMkLst>
        </pc:spChg>
        <pc:spChg chg="add del mod modVis">
          <ac:chgData name="Wenwen Zhang" userId="9dd81366-5d6f-445a-b031-6ea562624431" providerId="ADAL" clId="{D6FBF965-026B-43DA-A554-C6861A0A35E4}" dt="2023-02-01T17:04:15.472" v="7797"/>
          <ac:spMkLst>
            <pc:docMk/>
            <pc:sldMk cId="853588367" sldId="2134804361"/>
            <ac:spMk id="103" creationId="{BD2E81A6-3CEF-5879-9608-34B8AC8CF1DA}"/>
          </ac:spMkLst>
        </pc:spChg>
        <pc:spChg chg="mod ord">
          <ac:chgData name="Wenwen Zhang" userId="9dd81366-5d6f-445a-b031-6ea562624431" providerId="ADAL" clId="{D6FBF965-026B-43DA-A554-C6861A0A35E4}" dt="2023-02-01T17:07:07.383" v="9820"/>
          <ac:spMkLst>
            <pc:docMk/>
            <pc:sldMk cId="853588367" sldId="2134804361"/>
            <ac:spMk id="104" creationId="{FDBD28FE-864B-3639-481F-9B88362F82CC}"/>
          </ac:spMkLst>
        </pc:spChg>
        <pc:spChg chg="mod ord">
          <ac:chgData name="Wenwen Zhang" userId="9dd81366-5d6f-445a-b031-6ea562624431" providerId="ADAL" clId="{D6FBF965-026B-43DA-A554-C6861A0A35E4}" dt="2023-02-01T17:07:07.383" v="9822"/>
          <ac:spMkLst>
            <pc:docMk/>
            <pc:sldMk cId="853588367" sldId="2134804361"/>
            <ac:spMk id="105" creationId="{1363392A-1BB3-B133-547E-68E043C4DA98}"/>
          </ac:spMkLst>
        </pc:spChg>
        <pc:spChg chg="mod ord">
          <ac:chgData name="Wenwen Zhang" userId="9dd81366-5d6f-445a-b031-6ea562624431" providerId="ADAL" clId="{D6FBF965-026B-43DA-A554-C6861A0A35E4}" dt="2023-02-01T17:07:07.383" v="9824"/>
          <ac:spMkLst>
            <pc:docMk/>
            <pc:sldMk cId="853588367" sldId="2134804361"/>
            <ac:spMk id="106" creationId="{B6CECE3F-2DD3-9848-61CB-5D61B786F6D6}"/>
          </ac:spMkLst>
        </pc:spChg>
        <pc:spChg chg="mod ord">
          <ac:chgData name="Wenwen Zhang" userId="9dd81366-5d6f-445a-b031-6ea562624431" providerId="ADAL" clId="{D6FBF965-026B-43DA-A554-C6861A0A35E4}" dt="2023-02-01T17:07:07.383" v="9826"/>
          <ac:spMkLst>
            <pc:docMk/>
            <pc:sldMk cId="853588367" sldId="2134804361"/>
            <ac:spMk id="107" creationId="{92A4A1AE-F0BD-E696-BBF1-927ADB68572C}"/>
          </ac:spMkLst>
        </pc:spChg>
        <pc:spChg chg="add del mod modVis">
          <ac:chgData name="Wenwen Zhang" userId="9dd81366-5d6f-445a-b031-6ea562624431" providerId="ADAL" clId="{D6FBF965-026B-43DA-A554-C6861A0A35E4}" dt="2023-02-01T17:04:21.520" v="8613"/>
          <ac:spMkLst>
            <pc:docMk/>
            <pc:sldMk cId="853588367" sldId="2134804361"/>
            <ac:spMk id="109" creationId="{3684A5A8-3059-37F4-92BA-155806913A7E}"/>
          </ac:spMkLst>
        </pc:spChg>
        <pc:spChg chg="add del mod modVis">
          <ac:chgData name="Wenwen Zhang" userId="9dd81366-5d6f-445a-b031-6ea562624431" providerId="ADAL" clId="{D6FBF965-026B-43DA-A554-C6861A0A35E4}" dt="2023-02-01T17:04:27.769" v="8810"/>
          <ac:spMkLst>
            <pc:docMk/>
            <pc:sldMk cId="853588367" sldId="2134804361"/>
            <ac:spMk id="111" creationId="{387E2ADF-DDE5-D7B9-0BDE-1F6D0EC68360}"/>
          </ac:spMkLst>
        </pc:spChg>
        <pc:spChg chg="add del mod modVis">
          <ac:chgData name="Wenwen Zhang" userId="9dd81366-5d6f-445a-b031-6ea562624431" providerId="ADAL" clId="{D6FBF965-026B-43DA-A554-C6861A0A35E4}" dt="2023-02-01T17:05:42.574" v="9061"/>
          <ac:spMkLst>
            <pc:docMk/>
            <pc:sldMk cId="853588367" sldId="2134804361"/>
            <ac:spMk id="113" creationId="{E298869D-C90F-8A34-6247-D669CA0FFBC4}"/>
          </ac:spMkLst>
        </pc:spChg>
        <pc:spChg chg="add del mod modVis">
          <ac:chgData name="Wenwen Zhang" userId="9dd81366-5d6f-445a-b031-6ea562624431" providerId="ADAL" clId="{D6FBF965-026B-43DA-A554-C6861A0A35E4}" dt="2023-02-01T17:05:50.814" v="9281"/>
          <ac:spMkLst>
            <pc:docMk/>
            <pc:sldMk cId="853588367" sldId="2134804361"/>
            <ac:spMk id="115" creationId="{B5576A47-013B-5E90-4D92-5DDBDE4A50E6}"/>
          </ac:spMkLst>
        </pc:spChg>
        <pc:spChg chg="add del mod modVis">
          <ac:chgData name="Wenwen Zhang" userId="9dd81366-5d6f-445a-b031-6ea562624431" providerId="ADAL" clId="{D6FBF965-026B-43DA-A554-C6861A0A35E4}" dt="2023-02-01T17:06:09.427" v="9501"/>
          <ac:spMkLst>
            <pc:docMk/>
            <pc:sldMk cId="853588367" sldId="2134804361"/>
            <ac:spMk id="117" creationId="{8D66BF55-AEF6-B4CB-5F62-BF478A057260}"/>
          </ac:spMkLst>
        </pc:spChg>
        <pc:spChg chg="del">
          <ac:chgData name="Wenwen Zhang" userId="9dd81366-5d6f-445a-b031-6ea562624431" providerId="ADAL" clId="{D6FBF965-026B-43DA-A554-C6861A0A35E4}" dt="2023-02-01T17:01:19.463" v="67"/>
          <ac:spMkLst>
            <pc:docMk/>
            <pc:sldMk cId="853588367" sldId="2134804361"/>
            <ac:spMk id="182" creationId="{B3AEE46D-7FC3-DC00-382C-8F8CB930C29C}"/>
          </ac:spMkLst>
        </pc:spChg>
        <pc:spChg chg="del">
          <ac:chgData name="Wenwen Zhang" userId="9dd81366-5d6f-445a-b031-6ea562624431" providerId="ADAL" clId="{D6FBF965-026B-43DA-A554-C6861A0A35E4}" dt="2023-02-01T17:01:19.463" v="58"/>
          <ac:spMkLst>
            <pc:docMk/>
            <pc:sldMk cId="853588367" sldId="2134804361"/>
            <ac:spMk id="183" creationId="{7C80A0FA-5102-1B37-436D-7E21A5DF75FD}"/>
          </ac:spMkLst>
        </pc:spChg>
        <pc:spChg chg="del">
          <ac:chgData name="Wenwen Zhang" userId="9dd81366-5d6f-445a-b031-6ea562624431" providerId="ADAL" clId="{D6FBF965-026B-43DA-A554-C6861A0A35E4}" dt="2023-02-01T17:01:19.463" v="66"/>
          <ac:spMkLst>
            <pc:docMk/>
            <pc:sldMk cId="853588367" sldId="2134804361"/>
            <ac:spMk id="184" creationId="{466F2837-939E-12F1-3E52-0DDC3E542483}"/>
          </ac:spMkLst>
        </pc:spChg>
        <pc:spChg chg="del">
          <ac:chgData name="Wenwen Zhang" userId="9dd81366-5d6f-445a-b031-6ea562624431" providerId="ADAL" clId="{D6FBF965-026B-43DA-A554-C6861A0A35E4}" dt="2023-02-01T17:01:19.463" v="59"/>
          <ac:spMkLst>
            <pc:docMk/>
            <pc:sldMk cId="853588367" sldId="2134804361"/>
            <ac:spMk id="185" creationId="{4BF34A46-6D08-8467-E8FD-438F836232AB}"/>
          </ac:spMkLst>
        </pc:spChg>
        <pc:spChg chg="del">
          <ac:chgData name="Wenwen Zhang" userId="9dd81366-5d6f-445a-b031-6ea562624431" providerId="ADAL" clId="{D6FBF965-026B-43DA-A554-C6861A0A35E4}" dt="2023-02-01T17:01:19.463" v="56"/>
          <ac:spMkLst>
            <pc:docMk/>
            <pc:sldMk cId="853588367" sldId="2134804361"/>
            <ac:spMk id="186" creationId="{21A1A72D-C3C6-6F44-7C60-2B97B8EB0332}"/>
          </ac:spMkLst>
        </pc:spChg>
        <pc:spChg chg="del">
          <ac:chgData name="Wenwen Zhang" userId="9dd81366-5d6f-445a-b031-6ea562624431" providerId="ADAL" clId="{D6FBF965-026B-43DA-A554-C6861A0A35E4}" dt="2023-02-01T17:01:19.463" v="65"/>
          <ac:spMkLst>
            <pc:docMk/>
            <pc:sldMk cId="853588367" sldId="2134804361"/>
            <ac:spMk id="187" creationId="{478A4F0E-9B6C-7A7F-D3C1-32E256B74298}"/>
          </ac:spMkLst>
        </pc:spChg>
        <pc:spChg chg="del">
          <ac:chgData name="Wenwen Zhang" userId="9dd81366-5d6f-445a-b031-6ea562624431" providerId="ADAL" clId="{D6FBF965-026B-43DA-A554-C6861A0A35E4}" dt="2023-02-01T17:01:19.463" v="64"/>
          <ac:spMkLst>
            <pc:docMk/>
            <pc:sldMk cId="853588367" sldId="2134804361"/>
            <ac:spMk id="188" creationId="{9D9687CC-DB46-CC00-540E-4669B8F657EB}"/>
          </ac:spMkLst>
        </pc:spChg>
        <pc:spChg chg="del">
          <ac:chgData name="Wenwen Zhang" userId="9dd81366-5d6f-445a-b031-6ea562624431" providerId="ADAL" clId="{D6FBF965-026B-43DA-A554-C6861A0A35E4}" dt="2023-02-01T17:01:19.463" v="51"/>
          <ac:spMkLst>
            <pc:docMk/>
            <pc:sldMk cId="853588367" sldId="2134804361"/>
            <ac:spMk id="189" creationId="{C59FD56A-50EE-3BA6-D621-7FD10E5A2A27}"/>
          </ac:spMkLst>
        </pc:spChg>
        <pc:spChg chg="del">
          <ac:chgData name="Wenwen Zhang" userId="9dd81366-5d6f-445a-b031-6ea562624431" providerId="ADAL" clId="{D6FBF965-026B-43DA-A554-C6861A0A35E4}" dt="2023-02-01T17:01:19.463" v="61"/>
          <ac:spMkLst>
            <pc:docMk/>
            <pc:sldMk cId="853588367" sldId="2134804361"/>
            <ac:spMk id="190" creationId="{AC1FAA8A-949B-BD0C-207A-07B05B145E0D}"/>
          </ac:spMkLst>
        </pc:spChg>
        <pc:spChg chg="del">
          <ac:chgData name="Wenwen Zhang" userId="9dd81366-5d6f-445a-b031-6ea562624431" providerId="ADAL" clId="{D6FBF965-026B-43DA-A554-C6861A0A35E4}" dt="2023-02-01T17:01:19.463" v="60"/>
          <ac:spMkLst>
            <pc:docMk/>
            <pc:sldMk cId="853588367" sldId="2134804361"/>
            <ac:spMk id="191" creationId="{4643F17C-190F-98D7-7502-3B3CCE2572F2}"/>
          </ac:spMkLst>
        </pc:spChg>
        <pc:spChg chg="del">
          <ac:chgData name="Wenwen Zhang" userId="9dd81366-5d6f-445a-b031-6ea562624431" providerId="ADAL" clId="{D6FBF965-026B-43DA-A554-C6861A0A35E4}" dt="2023-02-01T17:01:19.463" v="57"/>
          <ac:spMkLst>
            <pc:docMk/>
            <pc:sldMk cId="853588367" sldId="2134804361"/>
            <ac:spMk id="192" creationId="{CE96726D-DA07-1CA7-4492-CA5167CE313E}"/>
          </ac:spMkLst>
        </pc:spChg>
        <pc:spChg chg="del">
          <ac:chgData name="Wenwen Zhang" userId="9dd81366-5d6f-445a-b031-6ea562624431" providerId="ADAL" clId="{D6FBF965-026B-43DA-A554-C6861A0A35E4}" dt="2023-02-01T17:01:19.463" v="55"/>
          <ac:spMkLst>
            <pc:docMk/>
            <pc:sldMk cId="853588367" sldId="2134804361"/>
            <ac:spMk id="193" creationId="{9A644342-E14C-788E-4626-0AB2D7DA728C}"/>
          </ac:spMkLst>
        </pc:spChg>
        <pc:spChg chg="del">
          <ac:chgData name="Wenwen Zhang" userId="9dd81366-5d6f-445a-b031-6ea562624431" providerId="ADAL" clId="{D6FBF965-026B-43DA-A554-C6861A0A35E4}" dt="2023-02-01T17:01:19.463" v="53"/>
          <ac:spMkLst>
            <pc:docMk/>
            <pc:sldMk cId="853588367" sldId="2134804361"/>
            <ac:spMk id="194" creationId="{EDEF8D30-39FB-7CF6-1C27-E53DF8B0676C}"/>
          </ac:spMkLst>
        </pc:spChg>
        <pc:spChg chg="del">
          <ac:chgData name="Wenwen Zhang" userId="9dd81366-5d6f-445a-b031-6ea562624431" providerId="ADAL" clId="{D6FBF965-026B-43DA-A554-C6861A0A35E4}" dt="2023-02-01T17:01:19.463" v="54"/>
          <ac:spMkLst>
            <pc:docMk/>
            <pc:sldMk cId="853588367" sldId="2134804361"/>
            <ac:spMk id="195" creationId="{536B64B2-8A96-9AA6-2EBC-61EA93E64843}"/>
          </ac:spMkLst>
        </pc:spChg>
        <pc:spChg chg="del">
          <ac:chgData name="Wenwen Zhang" userId="9dd81366-5d6f-445a-b031-6ea562624431" providerId="ADAL" clId="{D6FBF965-026B-43DA-A554-C6861A0A35E4}" dt="2023-02-01T17:01:19.463" v="63"/>
          <ac:spMkLst>
            <pc:docMk/>
            <pc:sldMk cId="853588367" sldId="2134804361"/>
            <ac:spMk id="197" creationId="{A7DB2152-384A-C09A-A536-62AD203AC80E}"/>
          </ac:spMkLst>
        </pc:spChg>
        <pc:spChg chg="del">
          <ac:chgData name="Wenwen Zhang" userId="9dd81366-5d6f-445a-b031-6ea562624431" providerId="ADAL" clId="{D6FBF965-026B-43DA-A554-C6861A0A35E4}" dt="2023-02-01T17:01:19.447" v="12"/>
          <ac:spMkLst>
            <pc:docMk/>
            <pc:sldMk cId="853588367" sldId="2134804361"/>
            <ac:spMk id="200" creationId="{F85D49DF-C99E-BC99-7621-99708DE4BE65}"/>
          </ac:spMkLst>
        </pc:spChg>
        <pc:spChg chg="del">
          <ac:chgData name="Wenwen Zhang" userId="9dd81366-5d6f-445a-b031-6ea562624431" providerId="ADAL" clId="{D6FBF965-026B-43DA-A554-C6861A0A35E4}" dt="2023-02-01T17:01:19.447" v="5"/>
          <ac:spMkLst>
            <pc:docMk/>
            <pc:sldMk cId="853588367" sldId="2134804361"/>
            <ac:spMk id="201" creationId="{4CD16581-8625-DCD4-849D-03167426D997}"/>
          </ac:spMkLst>
        </pc:spChg>
        <pc:spChg chg="del">
          <ac:chgData name="Wenwen Zhang" userId="9dd81366-5d6f-445a-b031-6ea562624431" providerId="ADAL" clId="{D6FBF965-026B-43DA-A554-C6861A0A35E4}" dt="2023-02-01T17:01:19.447" v="11"/>
          <ac:spMkLst>
            <pc:docMk/>
            <pc:sldMk cId="853588367" sldId="2134804361"/>
            <ac:spMk id="202" creationId="{60B3A55A-8F80-7819-5787-9E47A71CEA93}"/>
          </ac:spMkLst>
        </pc:spChg>
        <pc:spChg chg="del">
          <ac:chgData name="Wenwen Zhang" userId="9dd81366-5d6f-445a-b031-6ea562624431" providerId="ADAL" clId="{D6FBF965-026B-43DA-A554-C6861A0A35E4}" dt="2023-02-01T17:01:19.447" v="6"/>
          <ac:spMkLst>
            <pc:docMk/>
            <pc:sldMk cId="853588367" sldId="2134804361"/>
            <ac:spMk id="203" creationId="{22B40922-59C5-C95D-9CD2-0D659FB17000}"/>
          </ac:spMkLst>
        </pc:spChg>
        <pc:spChg chg="del">
          <ac:chgData name="Wenwen Zhang" userId="9dd81366-5d6f-445a-b031-6ea562624431" providerId="ADAL" clId="{D6FBF965-026B-43DA-A554-C6861A0A35E4}" dt="2023-02-01T17:01:19.447" v="10"/>
          <ac:spMkLst>
            <pc:docMk/>
            <pc:sldMk cId="853588367" sldId="2134804361"/>
            <ac:spMk id="204" creationId="{FBBE7D84-59E9-72D1-BA65-945450F9D196}"/>
          </ac:spMkLst>
        </pc:spChg>
        <pc:spChg chg="del">
          <ac:chgData name="Wenwen Zhang" userId="9dd81366-5d6f-445a-b031-6ea562624431" providerId="ADAL" clId="{D6FBF965-026B-43DA-A554-C6861A0A35E4}" dt="2023-02-01T17:01:19.447" v="9"/>
          <ac:spMkLst>
            <pc:docMk/>
            <pc:sldMk cId="853588367" sldId="2134804361"/>
            <ac:spMk id="205" creationId="{10A7F65C-6640-20BE-537B-C840C779E89D}"/>
          </ac:spMkLst>
        </pc:spChg>
        <pc:spChg chg="del">
          <ac:chgData name="Wenwen Zhang" userId="9dd81366-5d6f-445a-b031-6ea562624431" providerId="ADAL" clId="{D6FBF965-026B-43DA-A554-C6861A0A35E4}" dt="2023-02-01T17:01:19.447" v="7"/>
          <ac:spMkLst>
            <pc:docMk/>
            <pc:sldMk cId="853588367" sldId="2134804361"/>
            <ac:spMk id="206" creationId="{B16C651D-C92F-F21D-30D1-E8B8980F9897}"/>
          </ac:spMkLst>
        </pc:spChg>
        <pc:spChg chg="del">
          <ac:chgData name="Wenwen Zhang" userId="9dd81366-5d6f-445a-b031-6ea562624431" providerId="ADAL" clId="{D6FBF965-026B-43DA-A554-C6861A0A35E4}" dt="2023-02-01T17:01:19.447" v="8"/>
          <ac:spMkLst>
            <pc:docMk/>
            <pc:sldMk cId="853588367" sldId="2134804361"/>
            <ac:spMk id="207" creationId="{6C2E7F76-E911-F79A-E65F-26D61CD6A7DD}"/>
          </ac:spMkLst>
        </pc:spChg>
        <pc:spChg chg="del">
          <ac:chgData name="Wenwen Zhang" userId="9dd81366-5d6f-445a-b031-6ea562624431" providerId="ADAL" clId="{D6FBF965-026B-43DA-A554-C6861A0A35E4}" dt="2023-02-01T17:01:19.447" v="4"/>
          <ac:spMkLst>
            <pc:docMk/>
            <pc:sldMk cId="853588367" sldId="2134804361"/>
            <ac:spMk id="208" creationId="{4DC5568B-B330-B67A-E340-D73EAD652E6C}"/>
          </ac:spMkLst>
        </pc:spChg>
        <pc:spChg chg="del">
          <ac:chgData name="Wenwen Zhang" userId="9dd81366-5d6f-445a-b031-6ea562624431" providerId="ADAL" clId="{D6FBF965-026B-43DA-A554-C6861A0A35E4}" dt="2023-02-01T17:01:19.447" v="3"/>
          <ac:spMkLst>
            <pc:docMk/>
            <pc:sldMk cId="853588367" sldId="2134804361"/>
            <ac:spMk id="209" creationId="{FE7824FE-A243-732E-E19C-828260E7BF4E}"/>
          </ac:spMkLst>
        </pc:spChg>
        <pc:spChg chg="del">
          <ac:chgData name="Wenwen Zhang" userId="9dd81366-5d6f-445a-b031-6ea562624431" providerId="ADAL" clId="{D6FBF965-026B-43DA-A554-C6861A0A35E4}" dt="2023-02-01T17:01:19.447" v="2"/>
          <ac:spMkLst>
            <pc:docMk/>
            <pc:sldMk cId="853588367" sldId="2134804361"/>
            <ac:spMk id="210" creationId="{00B41D97-BDB2-DFFB-B4D8-07505D7D11A3}"/>
          </ac:spMkLst>
        </pc:spChg>
        <pc:spChg chg="del">
          <ac:chgData name="Wenwen Zhang" userId="9dd81366-5d6f-445a-b031-6ea562624431" providerId="ADAL" clId="{D6FBF965-026B-43DA-A554-C6861A0A35E4}" dt="2023-02-01T17:01:19.447" v="1"/>
          <ac:spMkLst>
            <pc:docMk/>
            <pc:sldMk cId="853588367" sldId="2134804361"/>
            <ac:spMk id="211" creationId="{E6564AAB-1173-815E-B5BD-E205ADBA76CB}"/>
          </ac:spMkLst>
        </pc:spChg>
        <pc:spChg chg="del">
          <ac:chgData name="Wenwen Zhang" userId="9dd81366-5d6f-445a-b031-6ea562624431" providerId="ADAL" clId="{D6FBF965-026B-43DA-A554-C6861A0A35E4}" dt="2023-02-01T17:01:19.447" v="0"/>
          <ac:spMkLst>
            <pc:docMk/>
            <pc:sldMk cId="853588367" sldId="2134804361"/>
            <ac:spMk id="212" creationId="{21DBC94A-5A9E-44BD-CB01-1D3D6B995961}"/>
          </ac:spMkLst>
        </pc:spChg>
        <pc:spChg chg="del">
          <ac:chgData name="Wenwen Zhang" userId="9dd81366-5d6f-445a-b031-6ea562624431" providerId="ADAL" clId="{D6FBF965-026B-43DA-A554-C6861A0A35E4}" dt="2023-02-01T17:01:19.447" v="36"/>
          <ac:spMkLst>
            <pc:docMk/>
            <pc:sldMk cId="853588367" sldId="2134804361"/>
            <ac:spMk id="225" creationId="{A44EB96E-6295-E39A-EA08-3DC00FF34690}"/>
          </ac:spMkLst>
        </pc:spChg>
        <pc:spChg chg="del">
          <ac:chgData name="Wenwen Zhang" userId="9dd81366-5d6f-445a-b031-6ea562624431" providerId="ADAL" clId="{D6FBF965-026B-43DA-A554-C6861A0A35E4}" dt="2023-02-01T17:01:19.463" v="39"/>
          <ac:spMkLst>
            <pc:docMk/>
            <pc:sldMk cId="853588367" sldId="2134804361"/>
            <ac:spMk id="226" creationId="{CFB5A497-53E0-EFDB-4052-90A38CE6DBE6}"/>
          </ac:spMkLst>
        </pc:spChg>
        <pc:spChg chg="del">
          <ac:chgData name="Wenwen Zhang" userId="9dd81366-5d6f-445a-b031-6ea562624431" providerId="ADAL" clId="{D6FBF965-026B-43DA-A554-C6861A0A35E4}" dt="2023-02-01T17:01:19.463" v="42"/>
          <ac:spMkLst>
            <pc:docMk/>
            <pc:sldMk cId="853588367" sldId="2134804361"/>
            <ac:spMk id="227" creationId="{F14DAB98-5845-AF7D-7617-B46DDC477C31}"/>
          </ac:spMkLst>
        </pc:spChg>
        <pc:spChg chg="del">
          <ac:chgData name="Wenwen Zhang" userId="9dd81366-5d6f-445a-b031-6ea562624431" providerId="ADAL" clId="{D6FBF965-026B-43DA-A554-C6861A0A35E4}" dt="2023-02-01T17:01:19.463" v="41"/>
          <ac:spMkLst>
            <pc:docMk/>
            <pc:sldMk cId="853588367" sldId="2134804361"/>
            <ac:spMk id="228" creationId="{147A806E-57E7-24E8-1A24-FE3B8139F034}"/>
          </ac:spMkLst>
        </pc:spChg>
        <pc:spChg chg="del">
          <ac:chgData name="Wenwen Zhang" userId="9dd81366-5d6f-445a-b031-6ea562624431" providerId="ADAL" clId="{D6FBF965-026B-43DA-A554-C6861A0A35E4}" dt="2023-02-01T17:01:19.463" v="40"/>
          <ac:spMkLst>
            <pc:docMk/>
            <pc:sldMk cId="853588367" sldId="2134804361"/>
            <ac:spMk id="229" creationId="{36859ED8-BDDA-8EDF-5F8A-7F3773F98A1D}"/>
          </ac:spMkLst>
        </pc:spChg>
        <pc:spChg chg="del">
          <ac:chgData name="Wenwen Zhang" userId="9dd81366-5d6f-445a-b031-6ea562624431" providerId="ADAL" clId="{D6FBF965-026B-43DA-A554-C6861A0A35E4}" dt="2023-02-01T17:01:19.463" v="38"/>
          <ac:spMkLst>
            <pc:docMk/>
            <pc:sldMk cId="853588367" sldId="2134804361"/>
            <ac:spMk id="230" creationId="{0B47B3B3-68D7-336D-2B9E-E787921A554A}"/>
          </ac:spMkLst>
        </pc:spChg>
        <pc:spChg chg="del">
          <ac:chgData name="Wenwen Zhang" userId="9dd81366-5d6f-445a-b031-6ea562624431" providerId="ADAL" clId="{D6FBF965-026B-43DA-A554-C6861A0A35E4}" dt="2023-02-01T17:01:19.463" v="37"/>
          <ac:spMkLst>
            <pc:docMk/>
            <pc:sldMk cId="853588367" sldId="2134804361"/>
            <ac:spMk id="231" creationId="{B69ACB20-68C5-2A07-F6CA-B0F0CB6086F7}"/>
          </ac:spMkLst>
        </pc:spChg>
        <pc:spChg chg="del">
          <ac:chgData name="Wenwen Zhang" userId="9dd81366-5d6f-445a-b031-6ea562624431" providerId="ADAL" clId="{D6FBF965-026B-43DA-A554-C6861A0A35E4}" dt="2023-02-01T17:01:19.447" v="35"/>
          <ac:spMkLst>
            <pc:docMk/>
            <pc:sldMk cId="853588367" sldId="2134804361"/>
            <ac:spMk id="232" creationId="{52F5FA8B-E32C-F283-5258-43E385076D4F}"/>
          </ac:spMkLst>
        </pc:spChg>
        <pc:spChg chg="del">
          <ac:chgData name="Wenwen Zhang" userId="9dd81366-5d6f-445a-b031-6ea562624431" providerId="ADAL" clId="{D6FBF965-026B-43DA-A554-C6861A0A35E4}" dt="2023-02-01T17:01:19.447" v="33"/>
          <ac:spMkLst>
            <pc:docMk/>
            <pc:sldMk cId="853588367" sldId="2134804361"/>
            <ac:spMk id="233" creationId="{715C685F-BC23-F8D8-4ACF-61C0FDDA18EC}"/>
          </ac:spMkLst>
        </pc:spChg>
        <pc:spChg chg="del">
          <ac:chgData name="Wenwen Zhang" userId="9dd81366-5d6f-445a-b031-6ea562624431" providerId="ADAL" clId="{D6FBF965-026B-43DA-A554-C6861A0A35E4}" dt="2023-02-01T17:01:19.447" v="34"/>
          <ac:spMkLst>
            <pc:docMk/>
            <pc:sldMk cId="853588367" sldId="2134804361"/>
            <ac:spMk id="234" creationId="{648E7460-B0FE-4C60-8447-B2114FAB2EC8}"/>
          </ac:spMkLst>
        </pc:spChg>
        <pc:spChg chg="del">
          <ac:chgData name="Wenwen Zhang" userId="9dd81366-5d6f-445a-b031-6ea562624431" providerId="ADAL" clId="{D6FBF965-026B-43DA-A554-C6861A0A35E4}" dt="2023-02-01T17:01:19.447" v="32"/>
          <ac:spMkLst>
            <pc:docMk/>
            <pc:sldMk cId="853588367" sldId="2134804361"/>
            <ac:spMk id="235" creationId="{04919520-DDB6-A4FF-8422-C51F6295FF6D}"/>
          </ac:spMkLst>
        </pc:spChg>
        <pc:spChg chg="del">
          <ac:chgData name="Wenwen Zhang" userId="9dd81366-5d6f-445a-b031-6ea562624431" providerId="ADAL" clId="{D6FBF965-026B-43DA-A554-C6861A0A35E4}" dt="2023-02-01T17:01:19.447" v="31"/>
          <ac:spMkLst>
            <pc:docMk/>
            <pc:sldMk cId="853588367" sldId="2134804361"/>
            <ac:spMk id="236" creationId="{FC3F9517-036A-3BDB-014D-0C0025A2813E}"/>
          </ac:spMkLst>
        </pc:spChg>
        <pc:spChg chg="del">
          <ac:chgData name="Wenwen Zhang" userId="9dd81366-5d6f-445a-b031-6ea562624431" providerId="ADAL" clId="{D6FBF965-026B-43DA-A554-C6861A0A35E4}" dt="2023-02-01T17:01:19.447" v="30"/>
          <ac:spMkLst>
            <pc:docMk/>
            <pc:sldMk cId="853588367" sldId="2134804361"/>
            <ac:spMk id="238" creationId="{E3963AB7-67B6-13E3-A842-F6DCD1B37E07}"/>
          </ac:spMkLst>
        </pc:spChg>
        <pc:spChg chg="del">
          <ac:chgData name="Wenwen Zhang" userId="9dd81366-5d6f-445a-b031-6ea562624431" providerId="ADAL" clId="{D6FBF965-026B-43DA-A554-C6861A0A35E4}" dt="2023-02-01T17:01:19.463" v="44"/>
          <ac:spMkLst>
            <pc:docMk/>
            <pc:sldMk cId="853588367" sldId="2134804361"/>
            <ac:spMk id="240" creationId="{177321B5-2152-DFC5-12B4-01511B7366CF}"/>
          </ac:spMkLst>
        </pc:spChg>
        <pc:spChg chg="del">
          <ac:chgData name="Wenwen Zhang" userId="9dd81366-5d6f-445a-b031-6ea562624431" providerId="ADAL" clId="{D6FBF965-026B-43DA-A554-C6861A0A35E4}" dt="2023-02-01T17:01:19.463" v="48"/>
          <ac:spMkLst>
            <pc:docMk/>
            <pc:sldMk cId="853588367" sldId="2134804361"/>
            <ac:spMk id="241" creationId="{1AF221D4-CC72-3909-6227-8BBE3508917B}"/>
          </ac:spMkLst>
        </pc:spChg>
        <pc:spChg chg="del">
          <ac:chgData name="Wenwen Zhang" userId="9dd81366-5d6f-445a-b031-6ea562624431" providerId="ADAL" clId="{D6FBF965-026B-43DA-A554-C6861A0A35E4}" dt="2023-02-01T17:01:19.463" v="45"/>
          <ac:spMkLst>
            <pc:docMk/>
            <pc:sldMk cId="853588367" sldId="2134804361"/>
            <ac:spMk id="242" creationId="{5AB53019-5439-3E56-AD42-D65C5D782EF3}"/>
          </ac:spMkLst>
        </pc:spChg>
        <pc:spChg chg="del">
          <ac:chgData name="Wenwen Zhang" userId="9dd81366-5d6f-445a-b031-6ea562624431" providerId="ADAL" clId="{D6FBF965-026B-43DA-A554-C6861A0A35E4}" dt="2023-02-01T17:01:19.447" v="20"/>
          <ac:spMkLst>
            <pc:docMk/>
            <pc:sldMk cId="853588367" sldId="2134804361"/>
            <ac:spMk id="244" creationId="{9789662B-8AF3-ECEC-8D92-8542CA5A5415}"/>
          </ac:spMkLst>
        </pc:spChg>
        <pc:spChg chg="del">
          <ac:chgData name="Wenwen Zhang" userId="9dd81366-5d6f-445a-b031-6ea562624431" providerId="ADAL" clId="{D6FBF965-026B-43DA-A554-C6861A0A35E4}" dt="2023-02-01T17:01:19.447" v="15"/>
          <ac:spMkLst>
            <pc:docMk/>
            <pc:sldMk cId="853588367" sldId="2134804361"/>
            <ac:spMk id="245" creationId="{AE636016-24A6-B580-91F8-8BEDF1449A18}"/>
          </ac:spMkLst>
        </pc:spChg>
        <pc:spChg chg="del">
          <ac:chgData name="Wenwen Zhang" userId="9dd81366-5d6f-445a-b031-6ea562624431" providerId="ADAL" clId="{D6FBF965-026B-43DA-A554-C6861A0A35E4}" dt="2023-02-01T17:01:19.447" v="19"/>
          <ac:spMkLst>
            <pc:docMk/>
            <pc:sldMk cId="853588367" sldId="2134804361"/>
            <ac:spMk id="246" creationId="{FEA8AF75-575A-538D-03E9-9DCC1AE5255B}"/>
          </ac:spMkLst>
        </pc:spChg>
        <pc:spChg chg="del">
          <ac:chgData name="Wenwen Zhang" userId="9dd81366-5d6f-445a-b031-6ea562624431" providerId="ADAL" clId="{D6FBF965-026B-43DA-A554-C6861A0A35E4}" dt="2023-02-01T17:01:19.447" v="27"/>
          <ac:spMkLst>
            <pc:docMk/>
            <pc:sldMk cId="853588367" sldId="2134804361"/>
            <ac:spMk id="247" creationId="{5AD77F35-6016-21E8-FC55-015EC259FC3B}"/>
          </ac:spMkLst>
        </pc:spChg>
        <pc:spChg chg="del">
          <ac:chgData name="Wenwen Zhang" userId="9dd81366-5d6f-445a-b031-6ea562624431" providerId="ADAL" clId="{D6FBF965-026B-43DA-A554-C6861A0A35E4}" dt="2023-02-01T17:01:19.447" v="21"/>
          <ac:spMkLst>
            <pc:docMk/>
            <pc:sldMk cId="853588367" sldId="2134804361"/>
            <ac:spMk id="248" creationId="{98361EF5-FDA7-6450-5D38-60826448E76D}"/>
          </ac:spMkLst>
        </pc:spChg>
        <pc:spChg chg="del">
          <ac:chgData name="Wenwen Zhang" userId="9dd81366-5d6f-445a-b031-6ea562624431" providerId="ADAL" clId="{D6FBF965-026B-43DA-A554-C6861A0A35E4}" dt="2023-02-01T17:01:19.447" v="23"/>
          <ac:spMkLst>
            <pc:docMk/>
            <pc:sldMk cId="853588367" sldId="2134804361"/>
            <ac:spMk id="249" creationId="{60F1E809-E828-79E0-15A6-EC9EC9A7FD5D}"/>
          </ac:spMkLst>
        </pc:spChg>
        <pc:spChg chg="del">
          <ac:chgData name="Wenwen Zhang" userId="9dd81366-5d6f-445a-b031-6ea562624431" providerId="ADAL" clId="{D6FBF965-026B-43DA-A554-C6861A0A35E4}" dt="2023-02-01T17:01:19.447" v="24"/>
          <ac:spMkLst>
            <pc:docMk/>
            <pc:sldMk cId="853588367" sldId="2134804361"/>
            <ac:spMk id="250" creationId="{7EF30611-060A-FE2E-8316-8CFD469678E5}"/>
          </ac:spMkLst>
        </pc:spChg>
        <pc:spChg chg="del">
          <ac:chgData name="Wenwen Zhang" userId="9dd81366-5d6f-445a-b031-6ea562624431" providerId="ADAL" clId="{D6FBF965-026B-43DA-A554-C6861A0A35E4}" dt="2023-02-01T17:01:19.447" v="25"/>
          <ac:spMkLst>
            <pc:docMk/>
            <pc:sldMk cId="853588367" sldId="2134804361"/>
            <ac:spMk id="251" creationId="{C9CF0188-2F15-9B81-C729-A33BAEF0C7AF}"/>
          </ac:spMkLst>
        </pc:spChg>
        <pc:spChg chg="del">
          <ac:chgData name="Wenwen Zhang" userId="9dd81366-5d6f-445a-b031-6ea562624431" providerId="ADAL" clId="{D6FBF965-026B-43DA-A554-C6861A0A35E4}" dt="2023-02-01T17:01:19.447" v="26"/>
          <ac:spMkLst>
            <pc:docMk/>
            <pc:sldMk cId="853588367" sldId="2134804361"/>
            <ac:spMk id="252" creationId="{51791C48-C4E9-7099-9496-37046B03DD13}"/>
          </ac:spMkLst>
        </pc:spChg>
        <pc:spChg chg="del">
          <ac:chgData name="Wenwen Zhang" userId="9dd81366-5d6f-445a-b031-6ea562624431" providerId="ADAL" clId="{D6FBF965-026B-43DA-A554-C6861A0A35E4}" dt="2023-02-01T17:01:19.447" v="22"/>
          <ac:spMkLst>
            <pc:docMk/>
            <pc:sldMk cId="853588367" sldId="2134804361"/>
            <ac:spMk id="253" creationId="{3FFF2848-F769-7F73-7528-B4E48771D47B}"/>
          </ac:spMkLst>
        </pc:spChg>
        <pc:spChg chg="del">
          <ac:chgData name="Wenwen Zhang" userId="9dd81366-5d6f-445a-b031-6ea562624431" providerId="ADAL" clId="{D6FBF965-026B-43DA-A554-C6861A0A35E4}" dt="2023-02-01T17:01:19.447" v="18"/>
          <ac:spMkLst>
            <pc:docMk/>
            <pc:sldMk cId="853588367" sldId="2134804361"/>
            <ac:spMk id="254" creationId="{6DA8F0AF-ACE3-B446-D6B0-A89278C59A5D}"/>
          </ac:spMkLst>
        </pc:spChg>
        <pc:spChg chg="del">
          <ac:chgData name="Wenwen Zhang" userId="9dd81366-5d6f-445a-b031-6ea562624431" providerId="ADAL" clId="{D6FBF965-026B-43DA-A554-C6861A0A35E4}" dt="2023-02-01T17:01:19.447" v="17"/>
          <ac:spMkLst>
            <pc:docMk/>
            <pc:sldMk cId="853588367" sldId="2134804361"/>
            <ac:spMk id="255" creationId="{7C4C10AB-DF6E-D883-04DC-C681581435D3}"/>
          </ac:spMkLst>
        </pc:spChg>
        <pc:spChg chg="del">
          <ac:chgData name="Wenwen Zhang" userId="9dd81366-5d6f-445a-b031-6ea562624431" providerId="ADAL" clId="{D6FBF965-026B-43DA-A554-C6861A0A35E4}" dt="2023-02-01T17:01:19.447" v="16"/>
          <ac:spMkLst>
            <pc:docMk/>
            <pc:sldMk cId="853588367" sldId="2134804361"/>
            <ac:spMk id="256" creationId="{8FFE36DF-40C8-5EF9-8EDC-3538D471D5F9}"/>
          </ac:spMkLst>
        </pc:spChg>
        <pc:spChg chg="mod ord">
          <ac:chgData name="Wenwen Zhang" userId="9dd81366-5d6f-445a-b031-6ea562624431" providerId="ADAL" clId="{D6FBF965-026B-43DA-A554-C6861A0A35E4}" dt="2023-02-01T17:07:34.468" v="9979"/>
          <ac:spMkLst>
            <pc:docMk/>
            <pc:sldMk cId="853588367" sldId="2134804361"/>
            <ac:spMk id="271" creationId="{61094CDF-3D01-5126-7969-6F62789EAC01}"/>
          </ac:spMkLst>
        </pc:spChg>
        <pc:graphicFrameChg chg="add del mod replST">
          <ac:chgData name="Wenwen Zhang" userId="9dd81366-5d6f-445a-b031-6ea562624431" providerId="ADAL" clId="{D6FBF965-026B-43DA-A554-C6861A0A35E4}" dt="2023-02-01T17:01:38.680" v="1597"/>
          <ac:graphicFrameMkLst>
            <pc:docMk/>
            <pc:sldMk cId="853588367" sldId="2134804361"/>
            <ac:graphicFrameMk id="4" creationId="{71198CB4-3FEE-A8FA-1B08-4EFC2A5BE1C9}"/>
          </ac:graphicFrameMkLst>
        </pc:graphicFrameChg>
        <pc:graphicFrameChg chg="del">
          <ac:chgData name="Wenwen Zhang" userId="9dd81366-5d6f-445a-b031-6ea562624431" providerId="ADAL" clId="{D6FBF965-026B-43DA-A554-C6861A0A35E4}" dt="2023-02-01T17:01:19.463" v="69"/>
          <ac:graphicFrameMkLst>
            <pc:docMk/>
            <pc:sldMk cId="853588367" sldId="2134804361"/>
            <ac:graphicFrameMk id="10" creationId="{7925454E-2909-D57B-FEFE-EECD06B33CEB}"/>
          </ac:graphicFrameMkLst>
        </pc:graphicFrameChg>
        <pc:graphicFrameChg chg="del">
          <ac:chgData name="Wenwen Zhang" userId="9dd81366-5d6f-445a-b031-6ea562624431" providerId="ADAL" clId="{D6FBF965-026B-43DA-A554-C6861A0A35E4}" dt="2023-02-01T17:01:19.463" v="50"/>
          <ac:graphicFrameMkLst>
            <pc:docMk/>
            <pc:sldMk cId="853588367" sldId="2134804361"/>
            <ac:graphicFrameMk id="14" creationId="{895EF841-22D9-1FAB-85F5-9F6FFF7CA150}"/>
          </ac:graphicFrameMkLst>
        </pc:graphicFrameChg>
        <pc:graphicFrameChg chg="add del mod replST">
          <ac:chgData name="Wenwen Zhang" userId="9dd81366-5d6f-445a-b031-6ea562624431" providerId="ADAL" clId="{D6FBF965-026B-43DA-A554-C6861A0A35E4}" dt="2023-02-01T17:01:39.077" v="2140"/>
          <ac:graphicFrameMkLst>
            <pc:docMk/>
            <pc:sldMk cId="853588367" sldId="2134804361"/>
            <ac:graphicFrameMk id="24" creationId="{281A3088-BA39-8B95-D763-14B39C1A8CF1}"/>
          </ac:graphicFrameMkLst>
        </pc:graphicFrameChg>
        <pc:graphicFrameChg chg="mod">
          <ac:chgData name="Wenwen Zhang" userId="9dd81366-5d6f-445a-b031-6ea562624431" providerId="ADAL" clId="{D6FBF965-026B-43DA-A554-C6861A0A35E4}" dt="2023-02-01T17:07:34.481" v="9983"/>
          <ac:graphicFrameMkLst>
            <pc:docMk/>
            <pc:sldMk cId="853588367" sldId="2134804361"/>
            <ac:graphicFrameMk id="28" creationId="{015DFAEE-F78A-C272-92CE-F25C3417CAD0}"/>
          </ac:graphicFrameMkLst>
        </pc:graphicFrameChg>
        <pc:graphicFrameChg chg="add del mod replST">
          <ac:chgData name="Wenwen Zhang" userId="9dd81366-5d6f-445a-b031-6ea562624431" providerId="ADAL" clId="{D6FBF965-026B-43DA-A554-C6861A0A35E4}" dt="2023-02-01T17:01:39.487" v="2699"/>
          <ac:graphicFrameMkLst>
            <pc:docMk/>
            <pc:sldMk cId="853588367" sldId="2134804361"/>
            <ac:graphicFrameMk id="45" creationId="{B1403E26-C10E-965A-20E5-2C7EECBE14F0}"/>
          </ac:graphicFrameMkLst>
        </pc:graphicFrameChg>
        <pc:graphicFrameChg chg="add del mod replST">
          <ac:chgData name="Wenwen Zhang" userId="9dd81366-5d6f-445a-b031-6ea562624431" providerId="ADAL" clId="{D6FBF965-026B-43DA-A554-C6861A0A35E4}" dt="2023-02-01T17:01:39.960" v="3382"/>
          <ac:graphicFrameMkLst>
            <pc:docMk/>
            <pc:sldMk cId="853588367" sldId="2134804361"/>
            <ac:graphicFrameMk id="59" creationId="{7B7104E3-55C9-0B75-5F23-522E7A92F2F0}"/>
          </ac:graphicFrameMkLst>
        </pc:graphicFrameChg>
        <pc:graphicFrameChg chg="add del mod ord replST">
          <ac:chgData name="Wenwen Zhang" userId="9dd81366-5d6f-445a-b031-6ea562624431" providerId="ADAL" clId="{D6FBF965-026B-43DA-A554-C6861A0A35E4}" dt="2023-02-01T17:01:54.583" v="3628"/>
          <ac:graphicFrameMkLst>
            <pc:docMk/>
            <pc:sldMk cId="853588367" sldId="2134804361"/>
            <ac:graphicFrameMk id="74" creationId="{0B1115D4-DE1A-1B9A-01B1-F3FC33441FB0}"/>
          </ac:graphicFrameMkLst>
        </pc:graphicFrameChg>
        <pc:graphicFrameChg chg="add del mod ord replST">
          <ac:chgData name="Wenwen Zhang" userId="9dd81366-5d6f-445a-b031-6ea562624431" providerId="ADAL" clId="{D6FBF965-026B-43DA-A554-C6861A0A35E4}" dt="2023-02-01T17:02:12.608" v="4278"/>
          <ac:graphicFrameMkLst>
            <pc:docMk/>
            <pc:sldMk cId="853588367" sldId="2134804361"/>
            <ac:graphicFrameMk id="75" creationId="{9E861F00-F7C3-3B88-B213-4433BECDD709}"/>
          </ac:graphicFrameMkLst>
        </pc:graphicFrameChg>
        <pc:graphicFrameChg chg="add del mod ord replST">
          <ac:chgData name="Wenwen Zhang" userId="9dd81366-5d6f-445a-b031-6ea562624431" providerId="ADAL" clId="{D6FBF965-026B-43DA-A554-C6861A0A35E4}" dt="2023-02-01T17:01:54.646" v="3713"/>
          <ac:graphicFrameMkLst>
            <pc:docMk/>
            <pc:sldMk cId="853588367" sldId="2134804361"/>
            <ac:graphicFrameMk id="76" creationId="{C0FCD01A-C834-CC2B-48D4-AFFAB4EBA801}"/>
          </ac:graphicFrameMkLst>
        </pc:graphicFrameChg>
        <pc:graphicFrameChg chg="add del mod ord replST">
          <ac:chgData name="Wenwen Zhang" userId="9dd81366-5d6f-445a-b031-6ea562624431" providerId="ADAL" clId="{D6FBF965-026B-43DA-A554-C6861A0A35E4}" dt="2023-02-01T17:02:12.670" v="4351"/>
          <ac:graphicFrameMkLst>
            <pc:docMk/>
            <pc:sldMk cId="853588367" sldId="2134804361"/>
            <ac:graphicFrameMk id="77" creationId="{9546E183-BAAA-CB34-54BD-0A4DAEE4655C}"/>
          </ac:graphicFrameMkLst>
        </pc:graphicFrameChg>
        <pc:graphicFrameChg chg="add del mod ord replST">
          <ac:chgData name="Wenwen Zhang" userId="9dd81366-5d6f-445a-b031-6ea562624431" providerId="ADAL" clId="{D6FBF965-026B-43DA-A554-C6861A0A35E4}" dt="2023-02-01T17:02:00.151" v="3935"/>
          <ac:graphicFrameMkLst>
            <pc:docMk/>
            <pc:sldMk cId="853588367" sldId="2134804361"/>
            <ac:graphicFrameMk id="79" creationId="{D6154639-4C25-ECBA-8ACA-297972CA78D0}"/>
          </ac:graphicFrameMkLst>
        </pc:graphicFrameChg>
        <pc:graphicFrameChg chg="add del mod ord replST">
          <ac:chgData name="Wenwen Zhang" userId="9dd81366-5d6f-445a-b031-6ea562624431" providerId="ADAL" clId="{D6FBF965-026B-43DA-A554-C6861A0A35E4}" dt="2023-02-01T17:02:00.230" v="4020"/>
          <ac:graphicFrameMkLst>
            <pc:docMk/>
            <pc:sldMk cId="853588367" sldId="2134804361"/>
            <ac:graphicFrameMk id="80" creationId="{961EDB2E-8C24-DA1A-78C5-C923567A8EC2}"/>
          </ac:graphicFrameMkLst>
        </pc:graphicFrameChg>
        <pc:graphicFrameChg chg="add del mod ord replST">
          <ac:chgData name="Wenwen Zhang" userId="9dd81366-5d6f-445a-b031-6ea562624431" providerId="ADAL" clId="{D6FBF965-026B-43DA-A554-C6861A0A35E4}" dt="2023-02-01T17:04:21.443" v="8505"/>
          <ac:graphicFrameMkLst>
            <pc:docMk/>
            <pc:sldMk cId="853588367" sldId="2134804361"/>
            <ac:graphicFrameMk id="82" creationId="{F85F0EB1-736A-4536-1970-8AB1E34C98F2}"/>
          </ac:graphicFrameMkLst>
        </pc:graphicFrameChg>
        <pc:graphicFrameChg chg="add del mod ord replST">
          <ac:chgData name="Wenwen Zhang" userId="9dd81366-5d6f-445a-b031-6ea562624431" providerId="ADAL" clId="{D6FBF965-026B-43DA-A554-C6861A0A35E4}" dt="2023-02-01T17:04:01.037" v="6485"/>
          <ac:graphicFrameMkLst>
            <pc:docMk/>
            <pc:sldMk cId="853588367" sldId="2134804361"/>
            <ac:graphicFrameMk id="83" creationId="{17E69B72-8F77-7DD4-8524-A5318A955585}"/>
          </ac:graphicFrameMkLst>
        </pc:graphicFrameChg>
        <pc:graphicFrameChg chg="add del mod ord replST">
          <ac:chgData name="Wenwen Zhang" userId="9dd81366-5d6f-445a-b031-6ea562624431" providerId="ADAL" clId="{D6FBF965-026B-43DA-A554-C6861A0A35E4}" dt="2023-02-01T17:03:38.984" v="5381"/>
          <ac:graphicFrameMkLst>
            <pc:docMk/>
            <pc:sldMk cId="853588367" sldId="2134804361"/>
            <ac:graphicFrameMk id="85" creationId="{B0D6DD38-C7F2-8B0E-7EC8-6162C9A8F776}"/>
          </ac:graphicFrameMkLst>
        </pc:graphicFrameChg>
        <pc:graphicFrameChg chg="add del mod ord replST">
          <ac:chgData name="Wenwen Zhang" userId="9dd81366-5d6f-445a-b031-6ea562624431" providerId="ADAL" clId="{D6FBF965-026B-43DA-A554-C6861A0A35E4}" dt="2023-02-01T17:04:12.323" v="7476"/>
          <ac:graphicFrameMkLst>
            <pc:docMk/>
            <pc:sldMk cId="853588367" sldId="2134804361"/>
            <ac:graphicFrameMk id="86" creationId="{6990E95C-77BD-4C87-99AB-A24B9446D2B6}"/>
          </ac:graphicFrameMkLst>
        </pc:graphicFrameChg>
        <pc:graphicFrameChg chg="add mod ord replST delST">
          <ac:chgData name="Wenwen Zhang" userId="9dd81366-5d6f-445a-b031-6ea562624431" providerId="ADAL" clId="{D6FBF965-026B-43DA-A554-C6861A0A35E4}" dt="2023-02-01T17:02:40.559" v="4729"/>
          <ac:graphicFrameMkLst>
            <pc:docMk/>
            <pc:sldMk cId="853588367" sldId="2134804361"/>
            <ac:graphicFrameMk id="88" creationId="{BB7A33C8-2787-B9A5-668E-FEC15C8B8151}"/>
          </ac:graphicFrameMkLst>
        </pc:graphicFrameChg>
        <pc:graphicFrameChg chg="add del mod ord replST">
          <ac:chgData name="Wenwen Zhang" userId="9dd81366-5d6f-445a-b031-6ea562624431" providerId="ADAL" clId="{D6FBF965-026B-43DA-A554-C6861A0A35E4}" dt="2023-02-01T17:03:43.470" v="5606"/>
          <ac:graphicFrameMkLst>
            <pc:docMk/>
            <pc:sldMk cId="853588367" sldId="2134804361"/>
            <ac:graphicFrameMk id="92" creationId="{F2D766AE-DBEB-13CA-BFF5-10D8EF915728}"/>
          </ac:graphicFrameMkLst>
        </pc:graphicFrameChg>
        <pc:graphicFrameChg chg="add del mod ord replST">
          <ac:chgData name="Wenwen Zhang" userId="9dd81366-5d6f-445a-b031-6ea562624431" providerId="ADAL" clId="{D6FBF965-026B-43DA-A554-C6861A0A35E4}" dt="2023-02-01T17:03:55.437" v="5823"/>
          <ac:graphicFrameMkLst>
            <pc:docMk/>
            <pc:sldMk cId="853588367" sldId="2134804361"/>
            <ac:graphicFrameMk id="94" creationId="{F16F0EC1-7378-7145-4295-D168F2B03EC7}"/>
          </ac:graphicFrameMkLst>
        </pc:graphicFrameChg>
        <pc:graphicFrameChg chg="add mod ord replST">
          <ac:chgData name="Wenwen Zhang" userId="9dd81366-5d6f-445a-b031-6ea562624431" providerId="ADAL" clId="{D6FBF965-026B-43DA-A554-C6861A0A35E4}" dt="2023-02-01T17:07:07.399" v="9851"/>
          <ac:graphicFrameMkLst>
            <pc:docMk/>
            <pc:sldMk cId="853588367" sldId="2134804361"/>
            <ac:graphicFrameMk id="96" creationId="{8AE6098F-487B-B091-1CFD-A5A2E1CAFD07}"/>
          </ac:graphicFrameMkLst>
        </pc:graphicFrameChg>
        <pc:graphicFrameChg chg="add del mod ord replST">
          <ac:chgData name="Wenwen Zhang" userId="9dd81366-5d6f-445a-b031-6ea562624431" providerId="ADAL" clId="{D6FBF965-026B-43DA-A554-C6861A0A35E4}" dt="2023-02-01T17:04:04.612" v="6706"/>
          <ac:graphicFrameMkLst>
            <pc:docMk/>
            <pc:sldMk cId="853588367" sldId="2134804361"/>
            <ac:graphicFrameMk id="98" creationId="{B4CED4BE-96E5-56D6-2639-15B10950225F}"/>
          </ac:graphicFrameMkLst>
        </pc:graphicFrameChg>
        <pc:graphicFrameChg chg="add mod ord replST">
          <ac:chgData name="Wenwen Zhang" userId="9dd81366-5d6f-445a-b031-6ea562624431" providerId="ADAL" clId="{D6FBF965-026B-43DA-A554-C6861A0A35E4}" dt="2023-02-01T17:07:07.407" v="9874"/>
          <ac:graphicFrameMkLst>
            <pc:docMk/>
            <pc:sldMk cId="853588367" sldId="2134804361"/>
            <ac:graphicFrameMk id="100" creationId="{DF8FDDDD-767C-BE45-5BE2-375C55C98296}"/>
          </ac:graphicFrameMkLst>
        </pc:graphicFrameChg>
        <pc:graphicFrameChg chg="add del mod ord replST">
          <ac:chgData name="Wenwen Zhang" userId="9dd81366-5d6f-445a-b031-6ea562624431" providerId="ADAL" clId="{D6FBF965-026B-43DA-A554-C6861A0A35E4}" dt="2023-02-01T17:04:15.408" v="7697"/>
          <ac:graphicFrameMkLst>
            <pc:docMk/>
            <pc:sldMk cId="853588367" sldId="2134804361"/>
            <ac:graphicFrameMk id="102" creationId="{5DC15797-317B-33A2-DC6E-95891D6DBF72}"/>
          </ac:graphicFrameMkLst>
        </pc:graphicFrameChg>
        <pc:graphicFrameChg chg="add mod ord replST">
          <ac:chgData name="Wenwen Zhang" userId="9dd81366-5d6f-445a-b031-6ea562624431" providerId="ADAL" clId="{D6FBF965-026B-43DA-A554-C6861A0A35E4}" dt="2023-02-01T17:07:07.383" v="9799"/>
          <ac:graphicFrameMkLst>
            <pc:docMk/>
            <pc:sldMk cId="853588367" sldId="2134804361"/>
            <ac:graphicFrameMk id="108" creationId="{BAB30B52-7ACB-57DA-63D6-EDC1C5B4C641}"/>
          </ac:graphicFrameMkLst>
        </pc:graphicFrameChg>
        <pc:graphicFrameChg chg="add del mod ord replST">
          <ac:chgData name="Wenwen Zhang" userId="9dd81366-5d6f-445a-b031-6ea562624431" providerId="ADAL" clId="{D6FBF965-026B-43DA-A554-C6861A0A35E4}" dt="2023-02-01T17:04:27.706" v="8710"/>
          <ac:graphicFrameMkLst>
            <pc:docMk/>
            <pc:sldMk cId="853588367" sldId="2134804361"/>
            <ac:graphicFrameMk id="110" creationId="{9B36C845-567B-6E65-05B6-95AC0011D994}"/>
          </ac:graphicFrameMkLst>
        </pc:graphicFrameChg>
        <pc:graphicFrameChg chg="add del mod ord replST">
          <ac:chgData name="Wenwen Zhang" userId="9dd81366-5d6f-445a-b031-6ea562624431" providerId="ADAL" clId="{D6FBF965-026B-43DA-A554-C6861A0A35E4}" dt="2023-02-01T17:05:42.480" v="8935"/>
          <ac:graphicFrameMkLst>
            <pc:docMk/>
            <pc:sldMk cId="853588367" sldId="2134804361"/>
            <ac:graphicFrameMk id="112" creationId="{D200E8F7-6F8D-CDBF-F3AA-2FE53BBC6FC8}"/>
          </ac:graphicFrameMkLst>
        </pc:graphicFrameChg>
        <pc:graphicFrameChg chg="add del mod ord replST">
          <ac:chgData name="Wenwen Zhang" userId="9dd81366-5d6f-445a-b031-6ea562624431" providerId="ADAL" clId="{D6FBF965-026B-43DA-A554-C6861A0A35E4}" dt="2023-02-01T17:05:50.718" v="9155"/>
          <ac:graphicFrameMkLst>
            <pc:docMk/>
            <pc:sldMk cId="853588367" sldId="2134804361"/>
            <ac:graphicFrameMk id="114" creationId="{C02040EA-4F27-27EB-DC44-059D9AF3A467}"/>
          </ac:graphicFrameMkLst>
        </pc:graphicFrameChg>
        <pc:graphicFrameChg chg="add del mod ord replST">
          <ac:chgData name="Wenwen Zhang" userId="9dd81366-5d6f-445a-b031-6ea562624431" providerId="ADAL" clId="{D6FBF965-026B-43DA-A554-C6861A0A35E4}" dt="2023-02-01T17:06:09.348" v="9375"/>
          <ac:graphicFrameMkLst>
            <pc:docMk/>
            <pc:sldMk cId="853588367" sldId="2134804361"/>
            <ac:graphicFrameMk id="116" creationId="{48DAB9FE-D8CF-DFDC-0984-C499BCA179DD}"/>
          </ac:graphicFrameMkLst>
        </pc:graphicFrameChg>
        <pc:graphicFrameChg chg="add mod ord replST">
          <ac:chgData name="Wenwen Zhang" userId="9dd81366-5d6f-445a-b031-6ea562624431" providerId="ADAL" clId="{D6FBF965-026B-43DA-A554-C6861A0A35E4}" dt="2023-02-01T17:07:07.383" v="9830"/>
          <ac:graphicFrameMkLst>
            <pc:docMk/>
            <pc:sldMk cId="853588367" sldId="2134804361"/>
            <ac:graphicFrameMk id="118" creationId="{70FB3161-F919-986B-A788-04CA38732AE4}"/>
          </ac:graphicFrameMkLst>
        </pc:graphicFrameChg>
        <pc:graphicFrameChg chg="del">
          <ac:chgData name="Wenwen Zhang" userId="9dd81366-5d6f-445a-b031-6ea562624431" providerId="ADAL" clId="{D6FBF965-026B-43DA-A554-C6861A0A35E4}" dt="2023-02-01T17:01:19.447" v="14"/>
          <ac:graphicFrameMkLst>
            <pc:docMk/>
            <pc:sldMk cId="853588367" sldId="2134804361"/>
            <ac:graphicFrameMk id="295" creationId="{B7D78346-EC74-3257-D335-4CB5D45EB885}"/>
          </ac:graphicFrameMkLst>
        </pc:graphicFrameChg>
        <pc:graphicFrameChg chg="del">
          <ac:chgData name="Wenwen Zhang" userId="9dd81366-5d6f-445a-b031-6ea562624431" providerId="ADAL" clId="{D6FBF965-026B-43DA-A554-C6861A0A35E4}" dt="2023-02-01T17:01:19.447" v="29"/>
          <ac:graphicFrameMkLst>
            <pc:docMk/>
            <pc:sldMk cId="853588367" sldId="2134804361"/>
            <ac:graphicFrameMk id="297" creationId="{278DE53A-411E-6562-8E4E-8B1EAB961DD1}"/>
          </ac:graphicFrameMkLst>
        </pc:graphicFrameChg>
        <pc:cxnChg chg="add mod ord replST">
          <ac:chgData name="Wenwen Zhang" userId="9dd81366-5d6f-445a-b031-6ea562624431" providerId="ADAL" clId="{D6FBF965-026B-43DA-A554-C6861A0A35E4}" dt="2023-02-01T17:07:07.399" v="9845"/>
          <ac:cxnSpMkLst>
            <pc:docMk/>
            <pc:sldMk cId="853588367" sldId="2134804361"/>
            <ac:cxnSpMk id="20" creationId="{1FB62189-8AB0-B291-48A9-3CB51B77C18E}"/>
          </ac:cxnSpMkLst>
        </pc:cxnChg>
        <pc:cxnChg chg="del">
          <ac:chgData name="Wenwen Zhang" userId="9dd81366-5d6f-445a-b031-6ea562624431" providerId="ADAL" clId="{D6FBF965-026B-43DA-A554-C6861A0A35E4}" dt="2023-02-01T17:01:19.463" v="47"/>
          <ac:cxnSpMkLst>
            <pc:docMk/>
            <pc:sldMk cId="853588367" sldId="2134804361"/>
            <ac:cxnSpMk id="239" creationId="{E14A5F61-E5FC-EFD3-20CE-AD6202D77B62}"/>
          </ac:cxnSpMkLst>
        </pc:cxnChg>
      </pc:sldChg>
      <pc:sldChg chg="del">
        <pc:chgData name="Wenwen Zhang" userId="9dd81366-5d6f-445a-b031-6ea562624431" providerId="ADAL" clId="{D6FBF965-026B-43DA-A554-C6861A0A35E4}" dt="2023-02-02T00:15:38.554" v="105489" actId="2696"/>
        <pc:sldMkLst>
          <pc:docMk/>
          <pc:sldMk cId="3474282986" sldId="2134804366"/>
        </pc:sldMkLst>
      </pc:sldChg>
      <pc:sldChg chg="addSp delSp modSp mod ord modNotesTx">
        <pc:chgData name="Wenwen Zhang" userId="9dd81366-5d6f-445a-b031-6ea562624431" providerId="ADAL" clId="{D6FBF965-026B-43DA-A554-C6861A0A35E4}" dt="2023-02-02T14:55:13.426" v="133173" actId="20577"/>
        <pc:sldMkLst>
          <pc:docMk/>
          <pc:sldMk cId="200733304" sldId="2134804369"/>
        </pc:sldMkLst>
        <pc:spChg chg="mod ord">
          <ac:chgData name="Wenwen Zhang" userId="9dd81366-5d6f-445a-b031-6ea562624431" providerId="ADAL" clId="{D6FBF965-026B-43DA-A554-C6861A0A35E4}" dt="2023-02-02T10:07:24.657" v="111038"/>
          <ac:spMkLst>
            <pc:docMk/>
            <pc:sldMk cId="200733304" sldId="2134804369"/>
            <ac:spMk id="2" creationId="{B065B79C-C4D6-5961-7919-6BB68C420868}"/>
          </ac:spMkLst>
        </pc:spChg>
        <pc:spChg chg="add del mod modVis">
          <ac:chgData name="Wenwen Zhang" userId="9dd81366-5d6f-445a-b031-6ea562624431" providerId="ADAL" clId="{D6FBF965-026B-43DA-A554-C6861A0A35E4}" dt="2023-02-01T18:26:00.666" v="10359"/>
          <ac:spMkLst>
            <pc:docMk/>
            <pc:sldMk cId="200733304" sldId="2134804369"/>
            <ac:spMk id="3" creationId="{9CC82554-BE90-4C9E-68D8-62AFBD81A228}"/>
          </ac:spMkLst>
        </pc:spChg>
        <pc:spChg chg="add del mod modVis">
          <ac:chgData name="Wenwen Zhang" userId="9dd81366-5d6f-445a-b031-6ea562624431" providerId="ADAL" clId="{D6FBF965-026B-43DA-A554-C6861A0A35E4}" dt="2023-02-02T10:06:17.032" v="108418"/>
          <ac:spMkLst>
            <pc:docMk/>
            <pc:sldMk cId="200733304" sldId="2134804369"/>
            <ac:spMk id="3" creationId="{BB812DEC-36DD-A937-6EA0-0F62E2628220}"/>
          </ac:spMkLst>
        </pc:spChg>
        <pc:spChg chg="del mod ord">
          <ac:chgData name="Wenwen Zhang" userId="9dd81366-5d6f-445a-b031-6ea562624431" providerId="ADAL" clId="{D6FBF965-026B-43DA-A554-C6861A0A35E4}" dt="2023-02-01T18:28:41.915" v="14688" actId="478"/>
          <ac:spMkLst>
            <pc:docMk/>
            <pc:sldMk cId="200733304" sldId="2134804369"/>
            <ac:spMk id="4" creationId="{AD0E97D5-5A4C-F8E8-8C92-74ED86E2BF79}"/>
          </ac:spMkLst>
        </pc:spChg>
        <pc:spChg chg="add del mod modVis">
          <ac:chgData name="Wenwen Zhang" userId="9dd81366-5d6f-445a-b031-6ea562624431" providerId="ADAL" clId="{D6FBF965-026B-43DA-A554-C6861A0A35E4}" dt="2023-02-02T10:06:22.145" v="108926"/>
          <ac:spMkLst>
            <pc:docMk/>
            <pc:sldMk cId="200733304" sldId="2134804369"/>
            <ac:spMk id="4" creationId="{E22EB60F-EA02-12F0-9EDB-573237035E6C}"/>
          </ac:spMkLst>
        </pc:spChg>
        <pc:spChg chg="del mod">
          <ac:chgData name="Wenwen Zhang" userId="9dd81366-5d6f-445a-b031-6ea562624431" providerId="ADAL" clId="{D6FBF965-026B-43DA-A554-C6861A0A35E4}" dt="2023-02-01T18:26:07.715" v="10364" actId="478"/>
          <ac:spMkLst>
            <pc:docMk/>
            <pc:sldMk cId="200733304" sldId="2134804369"/>
            <ac:spMk id="5" creationId="{C3A93218-CE18-A4B3-81CE-9F30E61F8154}"/>
          </ac:spMkLst>
        </pc:spChg>
        <pc:spChg chg="add del mod modVis">
          <ac:chgData name="Wenwen Zhang" userId="9dd81366-5d6f-445a-b031-6ea562624431" providerId="ADAL" clId="{D6FBF965-026B-43DA-A554-C6861A0A35E4}" dt="2023-02-02T10:06:28.396" v="109178"/>
          <ac:spMkLst>
            <pc:docMk/>
            <pc:sldMk cId="200733304" sldId="2134804369"/>
            <ac:spMk id="6" creationId="{5847A2E6-F9FB-DBBA-EA93-89D743960763}"/>
          </ac:spMkLst>
        </pc:spChg>
        <pc:spChg chg="del">
          <ac:chgData name="Wenwen Zhang" userId="9dd81366-5d6f-445a-b031-6ea562624431" providerId="ADAL" clId="{D6FBF965-026B-43DA-A554-C6861A0A35E4}" dt="2023-02-01T18:26:00.616" v="10305"/>
          <ac:spMkLst>
            <pc:docMk/>
            <pc:sldMk cId="200733304" sldId="2134804369"/>
            <ac:spMk id="7" creationId="{1486C0F6-529B-18EC-CA86-12B8F894AF65}"/>
          </ac:spMkLst>
        </pc:spChg>
        <pc:spChg chg="add del mod modVis">
          <ac:chgData name="Wenwen Zhang" userId="9dd81366-5d6f-445a-b031-6ea562624431" providerId="ADAL" clId="{D6FBF965-026B-43DA-A554-C6861A0A35E4}" dt="2023-02-02T10:06:33.496" v="109430"/>
          <ac:spMkLst>
            <pc:docMk/>
            <pc:sldMk cId="200733304" sldId="2134804369"/>
            <ac:spMk id="8" creationId="{275CDB91-3484-90EA-F04D-99C28E6ACA97}"/>
          </ac:spMkLst>
        </pc:spChg>
        <pc:spChg chg="del">
          <ac:chgData name="Wenwen Zhang" userId="9dd81366-5d6f-445a-b031-6ea562624431" providerId="ADAL" clId="{D6FBF965-026B-43DA-A554-C6861A0A35E4}" dt="2023-02-01T18:26:00.616" v="10307"/>
          <ac:spMkLst>
            <pc:docMk/>
            <pc:sldMk cId="200733304" sldId="2134804369"/>
            <ac:spMk id="8" creationId="{75FC8E37-0852-66AB-4534-54657E443CA9}"/>
          </ac:spMkLst>
        </pc:spChg>
        <pc:spChg chg="add del">
          <ac:chgData name="Wenwen Zhang" userId="9dd81366-5d6f-445a-b031-6ea562624431" providerId="ADAL" clId="{D6FBF965-026B-43DA-A554-C6861A0A35E4}" dt="2023-02-01T18:26:09.418" v="10367" actId="22"/>
          <ac:spMkLst>
            <pc:docMk/>
            <pc:sldMk cId="200733304" sldId="2134804369"/>
            <ac:spMk id="9" creationId="{3AA2977B-B844-6FF5-63F5-0EEE7D83C059}"/>
          </ac:spMkLst>
        </pc:spChg>
        <pc:spChg chg="add del mod modVis">
          <ac:chgData name="Wenwen Zhang" userId="9dd81366-5d6f-445a-b031-6ea562624431" providerId="ADAL" clId="{D6FBF965-026B-43DA-A554-C6861A0A35E4}" dt="2023-02-02T10:07:24.665" v="111098"/>
          <ac:spMkLst>
            <pc:docMk/>
            <pc:sldMk cId="200733304" sldId="2134804369"/>
            <ac:spMk id="10" creationId="{7F89372C-09C0-5AC8-84F7-C9C7201F6093}"/>
          </ac:spMkLst>
        </pc:spChg>
        <pc:spChg chg="del mod ord">
          <ac:chgData name="Wenwen Zhang" userId="9dd81366-5d6f-445a-b031-6ea562624431" providerId="ADAL" clId="{D6FBF965-026B-43DA-A554-C6861A0A35E4}" dt="2023-02-01T18:27:28.456" v="13226"/>
          <ac:spMkLst>
            <pc:docMk/>
            <pc:sldMk cId="200733304" sldId="2134804369"/>
            <ac:spMk id="13" creationId="{BA45B395-127A-7235-5ABC-DDC3D3FB3BEC}"/>
          </ac:spMkLst>
        </pc:spChg>
        <pc:spChg chg="del mod ord">
          <ac:chgData name="Wenwen Zhang" userId="9dd81366-5d6f-445a-b031-6ea562624431" providerId="ADAL" clId="{D6FBF965-026B-43DA-A554-C6861A0A35E4}" dt="2023-02-01T18:27:28.456" v="13229"/>
          <ac:spMkLst>
            <pc:docMk/>
            <pc:sldMk cId="200733304" sldId="2134804369"/>
            <ac:spMk id="14" creationId="{F9C00B20-32C4-0CAA-ED50-43E4E1DCECD6}"/>
          </ac:spMkLst>
        </pc:spChg>
        <pc:spChg chg="del mod ord">
          <ac:chgData name="Wenwen Zhang" userId="9dd81366-5d6f-445a-b031-6ea562624431" providerId="ADAL" clId="{D6FBF965-026B-43DA-A554-C6861A0A35E4}" dt="2023-02-01T18:27:28.456" v="13232"/>
          <ac:spMkLst>
            <pc:docMk/>
            <pc:sldMk cId="200733304" sldId="2134804369"/>
            <ac:spMk id="15" creationId="{D8E4A8D2-FBCC-03F4-23CE-047F4A6EB15F}"/>
          </ac:spMkLst>
        </pc:spChg>
        <pc:spChg chg="del mod">
          <ac:chgData name="Wenwen Zhang" userId="9dd81366-5d6f-445a-b031-6ea562624431" providerId="ADAL" clId="{D6FBF965-026B-43DA-A554-C6861A0A35E4}" dt="2023-02-01T18:27:28.456" v="13227"/>
          <ac:spMkLst>
            <pc:docMk/>
            <pc:sldMk cId="200733304" sldId="2134804369"/>
            <ac:spMk id="16" creationId="{B02D853D-3B4C-EBD6-DC84-111BFDD5ADBA}"/>
          </ac:spMkLst>
        </pc:spChg>
        <pc:spChg chg="del mod">
          <ac:chgData name="Wenwen Zhang" userId="9dd81366-5d6f-445a-b031-6ea562624431" providerId="ADAL" clId="{D6FBF965-026B-43DA-A554-C6861A0A35E4}" dt="2023-02-01T18:27:28.456" v="13233"/>
          <ac:spMkLst>
            <pc:docMk/>
            <pc:sldMk cId="200733304" sldId="2134804369"/>
            <ac:spMk id="17" creationId="{45F8CFBF-7CC3-7831-6317-BBF422525390}"/>
          </ac:spMkLst>
        </pc:spChg>
        <pc:spChg chg="del mod">
          <ac:chgData name="Wenwen Zhang" userId="9dd81366-5d6f-445a-b031-6ea562624431" providerId="ADAL" clId="{D6FBF965-026B-43DA-A554-C6861A0A35E4}" dt="2023-02-01T18:27:28.456" v="13230"/>
          <ac:spMkLst>
            <pc:docMk/>
            <pc:sldMk cId="200733304" sldId="2134804369"/>
            <ac:spMk id="18" creationId="{9ECD677A-484C-F30C-75F3-7373B8521242}"/>
          </ac:spMkLst>
        </pc:spChg>
        <pc:spChg chg="mod ord">
          <ac:chgData name="Wenwen Zhang" userId="9dd81366-5d6f-445a-b031-6ea562624431" providerId="ADAL" clId="{D6FBF965-026B-43DA-A554-C6861A0A35E4}" dt="2023-02-02T14:55:13.426" v="133173" actId="20577"/>
          <ac:spMkLst>
            <pc:docMk/>
            <pc:sldMk cId="200733304" sldId="2134804369"/>
            <ac:spMk id="29" creationId="{D50B6CAA-A666-5524-85F7-444C607F0970}"/>
          </ac:spMkLst>
        </pc:spChg>
        <pc:spChg chg="mod ord">
          <ac:chgData name="Wenwen Zhang" userId="9dd81366-5d6f-445a-b031-6ea562624431" providerId="ADAL" clId="{D6FBF965-026B-43DA-A554-C6861A0A35E4}" dt="2023-02-02T10:07:24.657" v="111042"/>
          <ac:spMkLst>
            <pc:docMk/>
            <pc:sldMk cId="200733304" sldId="2134804369"/>
            <ac:spMk id="43" creationId="{C58C7321-3BF7-61DC-5B1A-AD075E56AE05}"/>
          </ac:spMkLst>
        </pc:spChg>
        <pc:spChg chg="add mod replST">
          <ac:chgData name="Wenwen Zhang" userId="9dd81366-5d6f-445a-b031-6ea562624431" providerId="ADAL" clId="{D6FBF965-026B-43DA-A554-C6861A0A35E4}" dt="2023-02-02T10:07:24.660" v="111071"/>
          <ac:spMkLst>
            <pc:docMk/>
            <pc:sldMk cId="200733304" sldId="2134804369"/>
            <ac:spMk id="45" creationId="{60A5EDA6-1581-4C1B-0F33-75BB24155868}"/>
          </ac:spMkLst>
        </pc:spChg>
        <pc:spChg chg="add mod replST">
          <ac:chgData name="Wenwen Zhang" userId="9dd81366-5d6f-445a-b031-6ea562624431" providerId="ADAL" clId="{D6FBF965-026B-43DA-A554-C6861A0A35E4}" dt="2023-02-02T10:07:24.662" v="111077"/>
          <ac:spMkLst>
            <pc:docMk/>
            <pc:sldMk cId="200733304" sldId="2134804369"/>
            <ac:spMk id="46" creationId="{F6EE6FC4-06BE-032D-62DA-8AB057C340DB}"/>
          </ac:spMkLst>
        </pc:spChg>
        <pc:spChg chg="add del mod replST">
          <ac:chgData name="Wenwen Zhang" userId="9dd81366-5d6f-445a-b031-6ea562624431" providerId="ADAL" clId="{D6FBF965-026B-43DA-A554-C6861A0A35E4}" dt="2023-02-01T18:31:28.502" v="22099"/>
          <ac:spMkLst>
            <pc:docMk/>
            <pc:sldMk cId="200733304" sldId="2134804369"/>
            <ac:spMk id="47" creationId="{88210889-5E5B-8763-1D77-CFDD6959832E}"/>
          </ac:spMkLst>
        </pc:spChg>
        <pc:spChg chg="add del mod replST">
          <ac:chgData name="Wenwen Zhang" userId="9dd81366-5d6f-445a-b031-6ea562624431" providerId="ADAL" clId="{D6FBF965-026B-43DA-A554-C6861A0A35E4}" dt="2023-02-01T18:31:28.498" v="22087"/>
          <ac:spMkLst>
            <pc:docMk/>
            <pc:sldMk cId="200733304" sldId="2134804369"/>
            <ac:spMk id="48" creationId="{265890C1-006F-8A1D-C423-C4AABED3B58E}"/>
          </ac:spMkLst>
        </pc:spChg>
        <pc:spChg chg="add del mod replST">
          <ac:chgData name="Wenwen Zhang" userId="9dd81366-5d6f-445a-b031-6ea562624431" providerId="ADAL" clId="{D6FBF965-026B-43DA-A554-C6861A0A35E4}" dt="2023-02-01T18:31:28.506" v="22105"/>
          <ac:spMkLst>
            <pc:docMk/>
            <pc:sldMk cId="200733304" sldId="2134804369"/>
            <ac:spMk id="49" creationId="{C3B41738-822E-8E52-10C8-280EA4F45FE9}"/>
          </ac:spMkLst>
        </pc:spChg>
        <pc:spChg chg="add del mod replST">
          <ac:chgData name="Wenwen Zhang" userId="9dd81366-5d6f-445a-b031-6ea562624431" providerId="ADAL" clId="{D6FBF965-026B-43DA-A554-C6861A0A35E4}" dt="2023-02-01T18:31:28.506" v="22102"/>
          <ac:spMkLst>
            <pc:docMk/>
            <pc:sldMk cId="200733304" sldId="2134804369"/>
            <ac:spMk id="50" creationId="{0782997D-8044-049F-E175-39B0E15DE08B}"/>
          </ac:spMkLst>
        </pc:spChg>
        <pc:spChg chg="add mod replST">
          <ac:chgData name="Wenwen Zhang" userId="9dd81366-5d6f-445a-b031-6ea562624431" providerId="ADAL" clId="{D6FBF965-026B-43DA-A554-C6861A0A35E4}" dt="2023-02-02T10:07:24.662" v="111080"/>
          <ac:spMkLst>
            <pc:docMk/>
            <pc:sldMk cId="200733304" sldId="2134804369"/>
            <ac:spMk id="51" creationId="{50326C18-B022-FF85-D344-051B3FE45C20}"/>
          </ac:spMkLst>
        </pc:spChg>
        <pc:spChg chg="add del mod replST">
          <ac:chgData name="Wenwen Zhang" userId="9dd81366-5d6f-445a-b031-6ea562624431" providerId="ADAL" clId="{D6FBF965-026B-43DA-A554-C6861A0A35E4}" dt="2023-02-01T18:31:28.502" v="22096"/>
          <ac:spMkLst>
            <pc:docMk/>
            <pc:sldMk cId="200733304" sldId="2134804369"/>
            <ac:spMk id="52" creationId="{F0C973EF-DD07-9D07-CFFD-60B67D52C929}"/>
          </ac:spMkLst>
        </pc:spChg>
        <pc:spChg chg="add del mod replST">
          <ac:chgData name="Wenwen Zhang" userId="9dd81366-5d6f-445a-b031-6ea562624431" providerId="ADAL" clId="{D6FBF965-026B-43DA-A554-C6861A0A35E4}" dt="2023-02-01T18:31:28.502" v="22090"/>
          <ac:spMkLst>
            <pc:docMk/>
            <pc:sldMk cId="200733304" sldId="2134804369"/>
            <ac:spMk id="53" creationId="{A15AFB0D-18F6-34E6-63DF-D2C6411D2074}"/>
          </ac:spMkLst>
        </pc:spChg>
        <pc:spChg chg="add mod replST">
          <ac:chgData name="Wenwen Zhang" userId="9dd81366-5d6f-445a-b031-6ea562624431" providerId="ADAL" clId="{D6FBF965-026B-43DA-A554-C6861A0A35E4}" dt="2023-02-02T10:07:24.663" v="111082"/>
          <ac:spMkLst>
            <pc:docMk/>
            <pc:sldMk cId="200733304" sldId="2134804369"/>
            <ac:spMk id="54" creationId="{F5AE73F4-2208-7784-5A92-F88EC7C9AF6F}"/>
          </ac:spMkLst>
        </pc:spChg>
        <pc:spChg chg="add del mod replST">
          <ac:chgData name="Wenwen Zhang" userId="9dd81366-5d6f-445a-b031-6ea562624431" providerId="ADAL" clId="{D6FBF965-026B-43DA-A554-C6861A0A35E4}" dt="2023-02-01T18:31:28.509" v="22114"/>
          <ac:spMkLst>
            <pc:docMk/>
            <pc:sldMk cId="200733304" sldId="2134804369"/>
            <ac:spMk id="55" creationId="{381DBC4F-2549-4664-4145-9D828D16870C}"/>
          </ac:spMkLst>
        </pc:spChg>
        <pc:spChg chg="add mod replST">
          <ac:chgData name="Wenwen Zhang" userId="9dd81366-5d6f-445a-b031-6ea562624431" providerId="ADAL" clId="{D6FBF965-026B-43DA-A554-C6861A0A35E4}" dt="2023-02-02T10:07:24.661" v="111074"/>
          <ac:spMkLst>
            <pc:docMk/>
            <pc:sldMk cId="200733304" sldId="2134804369"/>
            <ac:spMk id="56" creationId="{5599528B-8933-8418-470B-4FC962F494AC}"/>
          </ac:spMkLst>
        </pc:spChg>
        <pc:spChg chg="add del mod replST">
          <ac:chgData name="Wenwen Zhang" userId="9dd81366-5d6f-445a-b031-6ea562624431" providerId="ADAL" clId="{D6FBF965-026B-43DA-A554-C6861A0A35E4}" dt="2023-02-01T18:31:28.502" v="22093"/>
          <ac:spMkLst>
            <pc:docMk/>
            <pc:sldMk cId="200733304" sldId="2134804369"/>
            <ac:spMk id="57" creationId="{99568477-66D5-224D-2AE3-538253C5490D}"/>
          </ac:spMkLst>
        </pc:spChg>
        <pc:spChg chg="add mod replST">
          <ac:chgData name="Wenwen Zhang" userId="9dd81366-5d6f-445a-b031-6ea562624431" providerId="ADAL" clId="{D6FBF965-026B-43DA-A554-C6861A0A35E4}" dt="2023-02-02T10:07:24.662" v="111078"/>
          <ac:spMkLst>
            <pc:docMk/>
            <pc:sldMk cId="200733304" sldId="2134804369"/>
            <ac:spMk id="58" creationId="{C29B06AF-B31A-F3FE-15D6-702FB1164441}"/>
          </ac:spMkLst>
        </pc:spChg>
        <pc:spChg chg="add del mod replST">
          <ac:chgData name="Wenwen Zhang" userId="9dd81366-5d6f-445a-b031-6ea562624431" providerId="ADAL" clId="{D6FBF965-026B-43DA-A554-C6861A0A35E4}" dt="2023-02-01T18:31:28.498" v="22081"/>
          <ac:spMkLst>
            <pc:docMk/>
            <pc:sldMk cId="200733304" sldId="2134804369"/>
            <ac:spMk id="59" creationId="{B7B41025-16A6-80FE-8DF3-9F44901D92AC}"/>
          </ac:spMkLst>
        </pc:spChg>
        <pc:spChg chg="add del mod replST">
          <ac:chgData name="Wenwen Zhang" userId="9dd81366-5d6f-445a-b031-6ea562624431" providerId="ADAL" clId="{D6FBF965-026B-43DA-A554-C6861A0A35E4}" dt="2023-02-01T18:31:28.498" v="22084"/>
          <ac:spMkLst>
            <pc:docMk/>
            <pc:sldMk cId="200733304" sldId="2134804369"/>
            <ac:spMk id="60" creationId="{69A45308-4D0A-16DC-5F00-7204DFC16629}"/>
          </ac:spMkLst>
        </pc:spChg>
        <pc:spChg chg="add mod replST">
          <ac:chgData name="Wenwen Zhang" userId="9dd81366-5d6f-445a-b031-6ea562624431" providerId="ADAL" clId="{D6FBF965-026B-43DA-A554-C6861A0A35E4}" dt="2023-02-02T10:07:24.661" v="111072"/>
          <ac:spMkLst>
            <pc:docMk/>
            <pc:sldMk cId="200733304" sldId="2134804369"/>
            <ac:spMk id="61" creationId="{2DA10572-55C8-32FE-15E0-4C91B5CD6363}"/>
          </ac:spMkLst>
        </pc:spChg>
        <pc:spChg chg="add del mod replST">
          <ac:chgData name="Wenwen Zhang" userId="9dd81366-5d6f-445a-b031-6ea562624431" providerId="ADAL" clId="{D6FBF965-026B-43DA-A554-C6861A0A35E4}" dt="2023-02-01T18:31:28.506" v="22108"/>
          <ac:spMkLst>
            <pc:docMk/>
            <pc:sldMk cId="200733304" sldId="2134804369"/>
            <ac:spMk id="62" creationId="{28B55C84-D32E-8547-8976-C68D3D08F96A}"/>
          </ac:spMkLst>
        </pc:spChg>
        <pc:spChg chg="add del mod replST">
          <ac:chgData name="Wenwen Zhang" userId="9dd81366-5d6f-445a-b031-6ea562624431" providerId="ADAL" clId="{D6FBF965-026B-43DA-A554-C6861A0A35E4}" dt="2023-02-01T18:31:28.506" v="22111"/>
          <ac:spMkLst>
            <pc:docMk/>
            <pc:sldMk cId="200733304" sldId="2134804369"/>
            <ac:spMk id="63" creationId="{9B881742-C576-6159-C30A-76DF751BAA4E}"/>
          </ac:spMkLst>
        </pc:spChg>
        <pc:spChg chg="add mod replST">
          <ac:chgData name="Wenwen Zhang" userId="9dd81366-5d6f-445a-b031-6ea562624431" providerId="ADAL" clId="{D6FBF965-026B-43DA-A554-C6861A0A35E4}" dt="2023-02-02T10:07:24.664" v="111091"/>
          <ac:spMkLst>
            <pc:docMk/>
            <pc:sldMk cId="200733304" sldId="2134804369"/>
            <ac:spMk id="67" creationId="{EB89D8E5-89C8-6819-6C93-C8672AC4E35E}"/>
          </ac:spMkLst>
        </pc:spChg>
        <pc:spChg chg="add mod replST">
          <ac:chgData name="Wenwen Zhang" userId="9dd81366-5d6f-445a-b031-6ea562624431" providerId="ADAL" clId="{D6FBF965-026B-43DA-A554-C6861A0A35E4}" dt="2023-02-02T10:07:24.663" v="111090"/>
          <ac:spMkLst>
            <pc:docMk/>
            <pc:sldMk cId="200733304" sldId="2134804369"/>
            <ac:spMk id="68" creationId="{13DE25E4-8BDF-BDB0-0042-EA9530B14B34}"/>
          </ac:spMkLst>
        </pc:spChg>
        <pc:spChg chg="add del mod replST">
          <ac:chgData name="Wenwen Zhang" userId="9dd81366-5d6f-445a-b031-6ea562624431" providerId="ADAL" clId="{D6FBF965-026B-43DA-A554-C6861A0A35E4}" dt="2023-02-02T10:07:24.664" v="111092"/>
          <ac:spMkLst>
            <pc:docMk/>
            <pc:sldMk cId="200733304" sldId="2134804369"/>
            <ac:spMk id="69" creationId="{D2A41CA4-8CA0-3E40-0028-C13B2D9FC988}"/>
          </ac:spMkLst>
        </pc:spChg>
        <pc:spChg chg="add del mod modVis">
          <ac:chgData name="Wenwen Zhang" userId="9dd81366-5d6f-445a-b031-6ea562624431" providerId="ADAL" clId="{D6FBF965-026B-43DA-A554-C6861A0A35E4}" dt="2023-02-01T18:27:05.527" v="11855"/>
          <ac:spMkLst>
            <pc:docMk/>
            <pc:sldMk cId="200733304" sldId="2134804369"/>
            <ac:spMk id="70" creationId="{92FC6C82-B6E6-77B6-865F-ACE1EA4BE711}"/>
          </ac:spMkLst>
        </pc:spChg>
        <pc:spChg chg="add del mod modVis">
          <ac:chgData name="Wenwen Zhang" userId="9dd81366-5d6f-445a-b031-6ea562624431" providerId="ADAL" clId="{D6FBF965-026B-43DA-A554-C6861A0A35E4}" dt="2023-02-01T18:27:10.972" v="12297"/>
          <ac:spMkLst>
            <pc:docMk/>
            <pc:sldMk cId="200733304" sldId="2134804369"/>
            <ac:spMk id="72" creationId="{A6CDB696-4E4E-216B-9503-CF2FAC2F5912}"/>
          </ac:spMkLst>
        </pc:spChg>
        <pc:spChg chg="add del mod modVis">
          <ac:chgData name="Wenwen Zhang" userId="9dd81366-5d6f-445a-b031-6ea562624431" providerId="ADAL" clId="{D6FBF965-026B-43DA-A554-C6861A0A35E4}" dt="2023-02-01T18:27:25.197" v="13222"/>
          <ac:spMkLst>
            <pc:docMk/>
            <pc:sldMk cId="200733304" sldId="2134804369"/>
            <ac:spMk id="74" creationId="{757CD97B-47B7-0CB3-C9B0-39B51D75505D}"/>
          </ac:spMkLst>
        </pc:spChg>
        <pc:spChg chg="add del mod replST">
          <ac:chgData name="Wenwen Zhang" userId="9dd81366-5d6f-445a-b031-6ea562624431" providerId="ADAL" clId="{D6FBF965-026B-43DA-A554-C6861A0A35E4}" dt="2023-02-01T18:27:28.463" v="13242"/>
          <ac:spMkLst>
            <pc:docMk/>
            <pc:sldMk cId="200733304" sldId="2134804369"/>
            <ac:spMk id="75" creationId="{96DB64E7-7450-5BAA-7DCA-6F75AE12EF02}"/>
          </ac:spMkLst>
        </pc:spChg>
        <pc:spChg chg="add del mod replST">
          <ac:chgData name="Wenwen Zhang" userId="9dd81366-5d6f-445a-b031-6ea562624431" providerId="ADAL" clId="{D6FBF965-026B-43DA-A554-C6861A0A35E4}" dt="2023-02-01T18:27:28.463" v="13241"/>
          <ac:spMkLst>
            <pc:docMk/>
            <pc:sldMk cId="200733304" sldId="2134804369"/>
            <ac:spMk id="76" creationId="{96DB64E7-7450-5BAA-7DCA-6F75AE12EF02}"/>
          </ac:spMkLst>
        </pc:spChg>
        <pc:spChg chg="add del mod replST">
          <ac:chgData name="Wenwen Zhang" userId="9dd81366-5d6f-445a-b031-6ea562624431" providerId="ADAL" clId="{D6FBF965-026B-43DA-A554-C6861A0A35E4}" dt="2023-02-01T18:27:28.463" v="13240"/>
          <ac:spMkLst>
            <pc:docMk/>
            <pc:sldMk cId="200733304" sldId="2134804369"/>
            <ac:spMk id="77" creationId="{96DB64E7-7450-5BAA-7DCA-6F75AE12EF02}"/>
          </ac:spMkLst>
        </pc:spChg>
        <pc:spChg chg="add del mod replST">
          <ac:chgData name="Wenwen Zhang" userId="9dd81366-5d6f-445a-b031-6ea562624431" providerId="ADAL" clId="{D6FBF965-026B-43DA-A554-C6861A0A35E4}" dt="2023-02-01T18:27:28.463" v="13239"/>
          <ac:spMkLst>
            <pc:docMk/>
            <pc:sldMk cId="200733304" sldId="2134804369"/>
            <ac:spMk id="78" creationId="{96DB64E7-7450-5BAA-7DCA-6F75AE12EF02}"/>
          </ac:spMkLst>
        </pc:spChg>
        <pc:spChg chg="add del mod replST">
          <ac:chgData name="Wenwen Zhang" userId="9dd81366-5d6f-445a-b031-6ea562624431" providerId="ADAL" clId="{D6FBF965-026B-43DA-A554-C6861A0A35E4}" dt="2023-02-01T18:27:28.463" v="13238"/>
          <ac:spMkLst>
            <pc:docMk/>
            <pc:sldMk cId="200733304" sldId="2134804369"/>
            <ac:spMk id="79" creationId="{96DB64E7-7450-5BAA-7DCA-6F75AE12EF02}"/>
          </ac:spMkLst>
        </pc:spChg>
        <pc:spChg chg="add del mod replST">
          <ac:chgData name="Wenwen Zhang" userId="9dd81366-5d6f-445a-b031-6ea562624431" providerId="ADAL" clId="{D6FBF965-026B-43DA-A554-C6861A0A35E4}" dt="2023-02-01T18:27:28.463" v="13237"/>
          <ac:spMkLst>
            <pc:docMk/>
            <pc:sldMk cId="200733304" sldId="2134804369"/>
            <ac:spMk id="80" creationId="{96DB64E7-7450-5BAA-7DCA-6F75AE12EF02}"/>
          </ac:spMkLst>
        </pc:spChg>
        <pc:spChg chg="add del mod replST">
          <ac:chgData name="Wenwen Zhang" userId="9dd81366-5d6f-445a-b031-6ea562624431" providerId="ADAL" clId="{D6FBF965-026B-43DA-A554-C6861A0A35E4}" dt="2023-02-01T18:27:28.463" v="13236"/>
          <ac:spMkLst>
            <pc:docMk/>
            <pc:sldMk cId="200733304" sldId="2134804369"/>
            <ac:spMk id="81" creationId="{96DB64E7-7450-5BAA-7DCA-6F75AE12EF02}"/>
          </ac:spMkLst>
        </pc:spChg>
        <pc:spChg chg="add del mod replST">
          <ac:chgData name="Wenwen Zhang" userId="9dd81366-5d6f-445a-b031-6ea562624431" providerId="ADAL" clId="{D6FBF965-026B-43DA-A554-C6861A0A35E4}" dt="2023-02-01T18:27:28.463" v="13235"/>
          <ac:spMkLst>
            <pc:docMk/>
            <pc:sldMk cId="200733304" sldId="2134804369"/>
            <ac:spMk id="82" creationId="{96DB64E7-7450-5BAA-7DCA-6F75AE12EF02}"/>
          </ac:spMkLst>
        </pc:spChg>
        <pc:spChg chg="add del mod replST">
          <ac:chgData name="Wenwen Zhang" userId="9dd81366-5d6f-445a-b031-6ea562624431" providerId="ADAL" clId="{D6FBF965-026B-43DA-A554-C6861A0A35E4}" dt="2023-02-01T18:27:28.463" v="13234"/>
          <ac:spMkLst>
            <pc:docMk/>
            <pc:sldMk cId="200733304" sldId="2134804369"/>
            <ac:spMk id="83" creationId="{96DB64E7-7450-5BAA-7DCA-6F75AE12EF02}"/>
          </ac:spMkLst>
        </pc:spChg>
        <pc:spChg chg="add del mod modVis">
          <ac:chgData name="Wenwen Zhang" userId="9dd81366-5d6f-445a-b031-6ea562624431" providerId="ADAL" clId="{D6FBF965-026B-43DA-A554-C6861A0A35E4}" dt="2023-02-01T18:28:59.137" v="18540"/>
          <ac:spMkLst>
            <pc:docMk/>
            <pc:sldMk cId="200733304" sldId="2134804369"/>
            <ac:spMk id="85" creationId="{B7626D1D-4F49-72AF-6C89-FFB76E379C5F}"/>
          </ac:spMkLst>
        </pc:spChg>
        <pc:spChg chg="add mod replST delST">
          <ac:chgData name="Wenwen Zhang" userId="9dd81366-5d6f-445a-b031-6ea562624431" providerId="ADAL" clId="{D6FBF965-026B-43DA-A554-C6861A0A35E4}" dt="2023-02-01T18:28:59.137" v="18540"/>
          <ac:spMkLst>
            <pc:docMk/>
            <pc:sldMk cId="200733304" sldId="2134804369"/>
            <ac:spMk id="86" creationId="{96DB64E7-7450-5BAA-7DCA-6F75AE12EF02}"/>
          </ac:spMkLst>
        </pc:spChg>
        <pc:spChg chg="add mod replST delST">
          <ac:chgData name="Wenwen Zhang" userId="9dd81366-5d6f-445a-b031-6ea562624431" providerId="ADAL" clId="{D6FBF965-026B-43DA-A554-C6861A0A35E4}" dt="2023-02-01T18:28:59.137" v="18540"/>
          <ac:spMkLst>
            <pc:docMk/>
            <pc:sldMk cId="200733304" sldId="2134804369"/>
            <ac:spMk id="87" creationId="{96DB64E7-7450-5BAA-7DCA-6F75AE12EF02}"/>
          </ac:spMkLst>
        </pc:spChg>
        <pc:spChg chg="add mod replST delST">
          <ac:chgData name="Wenwen Zhang" userId="9dd81366-5d6f-445a-b031-6ea562624431" providerId="ADAL" clId="{D6FBF965-026B-43DA-A554-C6861A0A35E4}" dt="2023-02-01T18:28:59.137" v="18540"/>
          <ac:spMkLst>
            <pc:docMk/>
            <pc:sldMk cId="200733304" sldId="2134804369"/>
            <ac:spMk id="88" creationId="{96DB64E7-7450-5BAA-7DCA-6F75AE12EF02}"/>
          </ac:spMkLst>
        </pc:spChg>
        <pc:spChg chg="add mod replST delST">
          <ac:chgData name="Wenwen Zhang" userId="9dd81366-5d6f-445a-b031-6ea562624431" providerId="ADAL" clId="{D6FBF965-026B-43DA-A554-C6861A0A35E4}" dt="2023-02-01T18:28:59.137" v="18540"/>
          <ac:spMkLst>
            <pc:docMk/>
            <pc:sldMk cId="200733304" sldId="2134804369"/>
            <ac:spMk id="89" creationId="{96DB64E7-7450-5BAA-7DCA-6F75AE12EF02}"/>
          </ac:spMkLst>
        </pc:spChg>
        <pc:spChg chg="add mod replST delST">
          <ac:chgData name="Wenwen Zhang" userId="9dd81366-5d6f-445a-b031-6ea562624431" providerId="ADAL" clId="{D6FBF965-026B-43DA-A554-C6861A0A35E4}" dt="2023-02-01T18:28:59.137" v="18540"/>
          <ac:spMkLst>
            <pc:docMk/>
            <pc:sldMk cId="200733304" sldId="2134804369"/>
            <ac:spMk id="90" creationId="{96DB64E7-7450-5BAA-7DCA-6F75AE12EF02}"/>
          </ac:spMkLst>
        </pc:spChg>
        <pc:spChg chg="add mod replST delST">
          <ac:chgData name="Wenwen Zhang" userId="9dd81366-5d6f-445a-b031-6ea562624431" providerId="ADAL" clId="{D6FBF965-026B-43DA-A554-C6861A0A35E4}" dt="2023-02-01T18:28:59.137" v="18540"/>
          <ac:spMkLst>
            <pc:docMk/>
            <pc:sldMk cId="200733304" sldId="2134804369"/>
            <ac:spMk id="91" creationId="{96DB64E7-7450-5BAA-7DCA-6F75AE12EF02}"/>
          </ac:spMkLst>
        </pc:spChg>
        <pc:spChg chg="add mod replST delST">
          <ac:chgData name="Wenwen Zhang" userId="9dd81366-5d6f-445a-b031-6ea562624431" providerId="ADAL" clId="{D6FBF965-026B-43DA-A554-C6861A0A35E4}" dt="2023-02-01T18:28:59.137" v="18540"/>
          <ac:spMkLst>
            <pc:docMk/>
            <pc:sldMk cId="200733304" sldId="2134804369"/>
            <ac:spMk id="92" creationId="{96DB64E7-7450-5BAA-7DCA-6F75AE12EF02}"/>
          </ac:spMkLst>
        </pc:spChg>
        <pc:spChg chg="add mod replST delST">
          <ac:chgData name="Wenwen Zhang" userId="9dd81366-5d6f-445a-b031-6ea562624431" providerId="ADAL" clId="{D6FBF965-026B-43DA-A554-C6861A0A35E4}" dt="2023-02-01T18:28:59.137" v="18540"/>
          <ac:spMkLst>
            <pc:docMk/>
            <pc:sldMk cId="200733304" sldId="2134804369"/>
            <ac:spMk id="93" creationId="{96DB64E7-7450-5BAA-7DCA-6F75AE12EF02}"/>
          </ac:spMkLst>
        </pc:spChg>
        <pc:spChg chg="add mod replST delST">
          <ac:chgData name="Wenwen Zhang" userId="9dd81366-5d6f-445a-b031-6ea562624431" providerId="ADAL" clId="{D6FBF965-026B-43DA-A554-C6861A0A35E4}" dt="2023-02-01T18:28:59.137" v="18540"/>
          <ac:spMkLst>
            <pc:docMk/>
            <pc:sldMk cId="200733304" sldId="2134804369"/>
            <ac:spMk id="94" creationId="{96DB64E7-7450-5BAA-7DCA-6F75AE12EF02}"/>
          </ac:spMkLst>
        </pc:spChg>
        <pc:spChg chg="add mod replST delST">
          <ac:chgData name="Wenwen Zhang" userId="9dd81366-5d6f-445a-b031-6ea562624431" providerId="ADAL" clId="{D6FBF965-026B-43DA-A554-C6861A0A35E4}" dt="2023-02-01T18:28:59.137" v="18540"/>
          <ac:spMkLst>
            <pc:docMk/>
            <pc:sldMk cId="200733304" sldId="2134804369"/>
            <ac:spMk id="95" creationId="{96DB64E7-7450-5BAA-7DCA-6F75AE12EF02}"/>
          </ac:spMkLst>
        </pc:spChg>
        <pc:spChg chg="add mod replST delST">
          <ac:chgData name="Wenwen Zhang" userId="9dd81366-5d6f-445a-b031-6ea562624431" providerId="ADAL" clId="{D6FBF965-026B-43DA-A554-C6861A0A35E4}" dt="2023-02-01T18:28:59.137" v="18540"/>
          <ac:spMkLst>
            <pc:docMk/>
            <pc:sldMk cId="200733304" sldId="2134804369"/>
            <ac:spMk id="96" creationId="{96DB64E7-7450-5BAA-7DCA-6F75AE12EF02}"/>
          </ac:spMkLst>
        </pc:spChg>
        <pc:spChg chg="add mod replST delST">
          <ac:chgData name="Wenwen Zhang" userId="9dd81366-5d6f-445a-b031-6ea562624431" providerId="ADAL" clId="{D6FBF965-026B-43DA-A554-C6861A0A35E4}" dt="2023-02-01T18:28:59.137" v="18540"/>
          <ac:spMkLst>
            <pc:docMk/>
            <pc:sldMk cId="200733304" sldId="2134804369"/>
            <ac:spMk id="97" creationId="{96DB64E7-7450-5BAA-7DCA-6F75AE12EF02}"/>
          </ac:spMkLst>
        </pc:spChg>
        <pc:spChg chg="add mod replST delST">
          <ac:chgData name="Wenwen Zhang" userId="9dd81366-5d6f-445a-b031-6ea562624431" providerId="ADAL" clId="{D6FBF965-026B-43DA-A554-C6861A0A35E4}" dt="2023-02-01T18:28:59.137" v="18540"/>
          <ac:spMkLst>
            <pc:docMk/>
            <pc:sldMk cId="200733304" sldId="2134804369"/>
            <ac:spMk id="98" creationId="{96DB64E7-7450-5BAA-7DCA-6F75AE12EF02}"/>
          </ac:spMkLst>
        </pc:spChg>
        <pc:spChg chg="add mod replST delST">
          <ac:chgData name="Wenwen Zhang" userId="9dd81366-5d6f-445a-b031-6ea562624431" providerId="ADAL" clId="{D6FBF965-026B-43DA-A554-C6861A0A35E4}" dt="2023-02-01T18:28:59.137" v="18540"/>
          <ac:spMkLst>
            <pc:docMk/>
            <pc:sldMk cId="200733304" sldId="2134804369"/>
            <ac:spMk id="99" creationId="{96DB64E7-7450-5BAA-7DCA-6F75AE12EF02}"/>
          </ac:spMkLst>
        </pc:spChg>
        <pc:spChg chg="add mod replST delST">
          <ac:chgData name="Wenwen Zhang" userId="9dd81366-5d6f-445a-b031-6ea562624431" providerId="ADAL" clId="{D6FBF965-026B-43DA-A554-C6861A0A35E4}" dt="2023-02-01T18:28:59.137" v="18540"/>
          <ac:spMkLst>
            <pc:docMk/>
            <pc:sldMk cId="200733304" sldId="2134804369"/>
            <ac:spMk id="100" creationId="{96DB64E7-7450-5BAA-7DCA-6F75AE12EF02}"/>
          </ac:spMkLst>
        </pc:spChg>
        <pc:spChg chg="add mod replST delST">
          <ac:chgData name="Wenwen Zhang" userId="9dd81366-5d6f-445a-b031-6ea562624431" providerId="ADAL" clId="{D6FBF965-026B-43DA-A554-C6861A0A35E4}" dt="2023-02-01T18:28:59.137" v="18540"/>
          <ac:spMkLst>
            <pc:docMk/>
            <pc:sldMk cId="200733304" sldId="2134804369"/>
            <ac:spMk id="101" creationId="{96DB64E7-7450-5BAA-7DCA-6F75AE12EF02}"/>
          </ac:spMkLst>
        </pc:spChg>
        <pc:spChg chg="add mod replST delST">
          <ac:chgData name="Wenwen Zhang" userId="9dd81366-5d6f-445a-b031-6ea562624431" providerId="ADAL" clId="{D6FBF965-026B-43DA-A554-C6861A0A35E4}" dt="2023-02-01T18:28:59.137" v="18540"/>
          <ac:spMkLst>
            <pc:docMk/>
            <pc:sldMk cId="200733304" sldId="2134804369"/>
            <ac:spMk id="102" creationId="{96DB64E7-7450-5BAA-7DCA-6F75AE12EF02}"/>
          </ac:spMkLst>
        </pc:spChg>
        <pc:spChg chg="add mod replST delST">
          <ac:chgData name="Wenwen Zhang" userId="9dd81366-5d6f-445a-b031-6ea562624431" providerId="ADAL" clId="{D6FBF965-026B-43DA-A554-C6861A0A35E4}" dt="2023-02-01T18:28:59.137" v="18540"/>
          <ac:spMkLst>
            <pc:docMk/>
            <pc:sldMk cId="200733304" sldId="2134804369"/>
            <ac:spMk id="103" creationId="{96DB64E7-7450-5BAA-7DCA-6F75AE12EF02}"/>
          </ac:spMkLst>
        </pc:spChg>
        <pc:spChg chg="add mod replST delST">
          <ac:chgData name="Wenwen Zhang" userId="9dd81366-5d6f-445a-b031-6ea562624431" providerId="ADAL" clId="{D6FBF965-026B-43DA-A554-C6861A0A35E4}" dt="2023-02-01T18:28:59.137" v="18540"/>
          <ac:spMkLst>
            <pc:docMk/>
            <pc:sldMk cId="200733304" sldId="2134804369"/>
            <ac:spMk id="104" creationId="{96DB64E7-7450-5BAA-7DCA-6F75AE12EF02}"/>
          </ac:spMkLst>
        </pc:spChg>
        <pc:spChg chg="add del mod replST">
          <ac:chgData name="Wenwen Zhang" userId="9dd81366-5d6f-445a-b031-6ea562624431" providerId="ADAL" clId="{D6FBF965-026B-43DA-A554-C6861A0A35E4}" dt="2023-02-02T10:06:16.972" v="108337"/>
          <ac:spMkLst>
            <pc:docMk/>
            <pc:sldMk cId="200733304" sldId="2134804369"/>
            <ac:spMk id="139" creationId="{BCF033E6-0677-DC7C-2A20-FE34CF547E82}"/>
          </ac:spMkLst>
        </pc:spChg>
        <pc:spChg chg="add del mod replST">
          <ac:chgData name="Wenwen Zhang" userId="9dd81366-5d6f-445a-b031-6ea562624431" providerId="ADAL" clId="{D6FBF965-026B-43DA-A554-C6861A0A35E4}" dt="2023-02-02T10:06:16.978" v="108358"/>
          <ac:spMkLst>
            <pc:docMk/>
            <pc:sldMk cId="200733304" sldId="2134804369"/>
            <ac:spMk id="140" creationId="{33D060D9-8E33-A77D-F666-74FA16AE1288}"/>
          </ac:spMkLst>
        </pc:spChg>
        <pc:spChg chg="add del mod replST">
          <ac:chgData name="Wenwen Zhang" userId="9dd81366-5d6f-445a-b031-6ea562624431" providerId="ADAL" clId="{D6FBF965-026B-43DA-A554-C6861A0A35E4}" dt="2023-02-02T10:06:16.975" v="108349"/>
          <ac:spMkLst>
            <pc:docMk/>
            <pc:sldMk cId="200733304" sldId="2134804369"/>
            <ac:spMk id="141" creationId="{6C652CC7-19A5-18F7-E747-01F412CCE31D}"/>
          </ac:spMkLst>
        </pc:spChg>
        <pc:spChg chg="add del mod replST">
          <ac:chgData name="Wenwen Zhang" userId="9dd81366-5d6f-445a-b031-6ea562624431" providerId="ADAL" clId="{D6FBF965-026B-43DA-A554-C6861A0A35E4}" dt="2023-02-02T10:06:16.976" v="108352"/>
          <ac:spMkLst>
            <pc:docMk/>
            <pc:sldMk cId="200733304" sldId="2134804369"/>
            <ac:spMk id="142" creationId="{F0030C4C-2B9A-146B-370A-EB01E3D964DF}"/>
          </ac:spMkLst>
        </pc:spChg>
        <pc:spChg chg="add del mod replST">
          <ac:chgData name="Wenwen Zhang" userId="9dd81366-5d6f-445a-b031-6ea562624431" providerId="ADAL" clId="{D6FBF965-026B-43DA-A554-C6861A0A35E4}" dt="2023-02-02T10:06:16.977" v="108355"/>
          <ac:spMkLst>
            <pc:docMk/>
            <pc:sldMk cId="200733304" sldId="2134804369"/>
            <ac:spMk id="143" creationId="{52774453-C7FA-CC10-9B80-840652DE358B}"/>
          </ac:spMkLst>
        </pc:spChg>
        <pc:spChg chg="add del mod replST">
          <ac:chgData name="Wenwen Zhang" userId="9dd81366-5d6f-445a-b031-6ea562624431" providerId="ADAL" clId="{D6FBF965-026B-43DA-A554-C6861A0A35E4}" dt="2023-02-02T10:06:16.973" v="108340"/>
          <ac:spMkLst>
            <pc:docMk/>
            <pc:sldMk cId="200733304" sldId="2134804369"/>
            <ac:spMk id="144" creationId="{EBEFE3C2-74AE-7BA5-FCE4-30AA5D1B77A4}"/>
          </ac:spMkLst>
        </pc:spChg>
        <pc:spChg chg="add del mod replST">
          <ac:chgData name="Wenwen Zhang" userId="9dd81366-5d6f-445a-b031-6ea562624431" providerId="ADAL" clId="{D6FBF965-026B-43DA-A554-C6861A0A35E4}" dt="2023-02-02T10:06:16.974" v="108346"/>
          <ac:spMkLst>
            <pc:docMk/>
            <pc:sldMk cId="200733304" sldId="2134804369"/>
            <ac:spMk id="145" creationId="{3499B3BD-E464-B4AF-2CB0-94A85BA56744}"/>
          </ac:spMkLst>
        </pc:spChg>
        <pc:spChg chg="add del mod replST">
          <ac:chgData name="Wenwen Zhang" userId="9dd81366-5d6f-445a-b031-6ea562624431" providerId="ADAL" clId="{D6FBF965-026B-43DA-A554-C6861A0A35E4}" dt="2023-02-02T10:06:16.973" v="108343"/>
          <ac:spMkLst>
            <pc:docMk/>
            <pc:sldMk cId="200733304" sldId="2134804369"/>
            <ac:spMk id="146" creationId="{4AD9EF50-A352-9C31-2056-1A7ED554AAC5}"/>
          </ac:spMkLst>
        </pc:spChg>
        <pc:spChg chg="add del mod replST">
          <ac:chgData name="Wenwen Zhang" userId="9dd81366-5d6f-445a-b031-6ea562624431" providerId="ADAL" clId="{D6FBF965-026B-43DA-A554-C6861A0A35E4}" dt="2023-02-02T10:06:16.967" v="108322"/>
          <ac:spMkLst>
            <pc:docMk/>
            <pc:sldMk cId="200733304" sldId="2134804369"/>
            <ac:spMk id="147" creationId="{F39B6819-F063-240E-87F6-ACA1EA730704}"/>
          </ac:spMkLst>
        </pc:spChg>
        <pc:spChg chg="add del mod replST">
          <ac:chgData name="Wenwen Zhang" userId="9dd81366-5d6f-445a-b031-6ea562624431" providerId="ADAL" clId="{D6FBF965-026B-43DA-A554-C6861A0A35E4}" dt="2023-02-02T10:06:16.971" v="108334"/>
          <ac:spMkLst>
            <pc:docMk/>
            <pc:sldMk cId="200733304" sldId="2134804369"/>
            <ac:spMk id="148" creationId="{41BDADE6-3189-9D92-637C-64761C37C072}"/>
          </ac:spMkLst>
        </pc:spChg>
        <pc:spChg chg="add del mod replST">
          <ac:chgData name="Wenwen Zhang" userId="9dd81366-5d6f-445a-b031-6ea562624431" providerId="ADAL" clId="{D6FBF965-026B-43DA-A554-C6861A0A35E4}" dt="2023-02-02T10:06:16.970" v="108331"/>
          <ac:spMkLst>
            <pc:docMk/>
            <pc:sldMk cId="200733304" sldId="2134804369"/>
            <ac:spMk id="149" creationId="{0348978A-25D2-A7A4-C578-62B06127AAD4}"/>
          </ac:spMkLst>
        </pc:spChg>
        <pc:spChg chg="add del mod replST">
          <ac:chgData name="Wenwen Zhang" userId="9dd81366-5d6f-445a-b031-6ea562624431" providerId="ADAL" clId="{D6FBF965-026B-43DA-A554-C6861A0A35E4}" dt="2023-02-02T10:06:16.969" v="108328"/>
          <ac:spMkLst>
            <pc:docMk/>
            <pc:sldMk cId="200733304" sldId="2134804369"/>
            <ac:spMk id="150" creationId="{04B38771-A702-2E24-78A7-12C559B4546A}"/>
          </ac:spMkLst>
        </pc:spChg>
        <pc:spChg chg="add del mod replST">
          <ac:chgData name="Wenwen Zhang" userId="9dd81366-5d6f-445a-b031-6ea562624431" providerId="ADAL" clId="{D6FBF965-026B-43DA-A554-C6861A0A35E4}" dt="2023-02-02T10:06:16.968" v="108325"/>
          <ac:spMkLst>
            <pc:docMk/>
            <pc:sldMk cId="200733304" sldId="2134804369"/>
            <ac:spMk id="151" creationId="{05E8580D-3CFC-3F12-73FB-6527163F6F0E}"/>
          </ac:spMkLst>
        </pc:spChg>
        <pc:spChg chg="add del mod modVis">
          <ac:chgData name="Wenwen Zhang" userId="9dd81366-5d6f-445a-b031-6ea562624431" providerId="ADAL" clId="{D6FBF965-026B-43DA-A554-C6861A0A35E4}" dt="2023-02-01T18:29:05.555" v="19445"/>
          <ac:spMkLst>
            <pc:docMk/>
            <pc:sldMk cId="200733304" sldId="2134804369"/>
            <ac:spMk id="152" creationId="{E77FACBB-0268-1667-18B9-21CD8222581F}"/>
          </ac:spMkLst>
        </pc:spChg>
        <pc:spChg chg="add del mod modVis">
          <ac:chgData name="Wenwen Zhang" userId="9dd81366-5d6f-445a-b031-6ea562624431" providerId="ADAL" clId="{D6FBF965-026B-43DA-A554-C6861A0A35E4}" dt="2023-02-01T18:29:10.041" v="19848"/>
          <ac:spMkLst>
            <pc:docMk/>
            <pc:sldMk cId="200733304" sldId="2134804369"/>
            <ac:spMk id="154" creationId="{4C3F5EFF-2B33-25CC-C74E-0C547DA2E044}"/>
          </ac:spMkLst>
        </pc:spChg>
        <pc:spChg chg="add del mod modVis">
          <ac:chgData name="Wenwen Zhang" userId="9dd81366-5d6f-445a-b031-6ea562624431" providerId="ADAL" clId="{D6FBF965-026B-43DA-A554-C6861A0A35E4}" dt="2023-02-01T18:29:16.998" v="20562"/>
          <ac:spMkLst>
            <pc:docMk/>
            <pc:sldMk cId="200733304" sldId="2134804369"/>
            <ac:spMk id="156" creationId="{B4282B1F-815D-D66B-3145-86A85867C6B0}"/>
          </ac:spMkLst>
        </pc:spChg>
        <pc:spChg chg="add del mod modVis">
          <ac:chgData name="Wenwen Zhang" userId="9dd81366-5d6f-445a-b031-6ea562624431" providerId="ADAL" clId="{D6FBF965-026B-43DA-A554-C6861A0A35E4}" dt="2023-02-01T18:29:27.416" v="20965"/>
          <ac:spMkLst>
            <pc:docMk/>
            <pc:sldMk cId="200733304" sldId="2134804369"/>
            <ac:spMk id="158" creationId="{E528D8F5-B749-8433-B6F9-79754D2EFD4B}"/>
          </ac:spMkLst>
        </pc:spChg>
        <pc:spChg chg="add del mod ord">
          <ac:chgData name="Wenwen Zhang" userId="9dd81366-5d6f-445a-b031-6ea562624431" providerId="ADAL" clId="{D6FBF965-026B-43DA-A554-C6861A0A35E4}" dt="2023-02-02T10:06:18.813" v="108421" actId="478"/>
          <ac:spMkLst>
            <pc:docMk/>
            <pc:sldMk cId="200733304" sldId="2134804369"/>
            <ac:spMk id="160" creationId="{DC005067-E5FF-BD2C-B588-BE82E8613CC6}"/>
          </ac:spMkLst>
        </pc:spChg>
        <pc:spChg chg="add del mod modVis">
          <ac:chgData name="Wenwen Zhang" userId="9dd81366-5d6f-445a-b031-6ea562624431" providerId="ADAL" clId="{D6FBF965-026B-43DA-A554-C6861A0A35E4}" dt="2023-02-01T18:30:44.695" v="21429"/>
          <ac:spMkLst>
            <pc:docMk/>
            <pc:sldMk cId="200733304" sldId="2134804369"/>
            <ac:spMk id="161" creationId="{A0AC297D-5B0C-C85C-B4E8-39CE869E718D}"/>
          </ac:spMkLst>
        </pc:spChg>
        <pc:spChg chg="add del mod modVis">
          <ac:chgData name="Wenwen Zhang" userId="9dd81366-5d6f-445a-b031-6ea562624431" providerId="ADAL" clId="{D6FBF965-026B-43DA-A554-C6861A0A35E4}" dt="2023-02-01T18:30:49.206" v="21856"/>
          <ac:spMkLst>
            <pc:docMk/>
            <pc:sldMk cId="200733304" sldId="2134804369"/>
            <ac:spMk id="163" creationId="{4F593B62-AFAE-CAAE-46A9-B5F247622F57}"/>
          </ac:spMkLst>
        </pc:spChg>
        <pc:spChg chg="add del mod modVis">
          <ac:chgData name="Wenwen Zhang" userId="9dd81366-5d6f-445a-b031-6ea562624431" providerId="ADAL" clId="{D6FBF965-026B-43DA-A554-C6861A0A35E4}" dt="2023-02-01T18:31:29.067" v="22851"/>
          <ac:spMkLst>
            <pc:docMk/>
            <pc:sldMk cId="200733304" sldId="2134804369"/>
            <ac:spMk id="165" creationId="{85631CB5-973D-0B3F-F0E2-E54535769B8F}"/>
          </ac:spMkLst>
        </pc:spChg>
        <pc:spChg chg="add mod replST">
          <ac:chgData name="Wenwen Zhang" userId="9dd81366-5d6f-445a-b031-6ea562624431" providerId="ADAL" clId="{D6FBF965-026B-43DA-A554-C6861A0A35E4}" dt="2023-02-02T10:07:24.661" v="111073"/>
          <ac:spMkLst>
            <pc:docMk/>
            <pc:sldMk cId="200733304" sldId="2134804369"/>
            <ac:spMk id="166" creationId="{96DB64E7-7450-5BAA-7DCA-6F75AE12EF02}"/>
          </ac:spMkLst>
        </pc:spChg>
        <pc:spChg chg="add mod replST">
          <ac:chgData name="Wenwen Zhang" userId="9dd81366-5d6f-445a-b031-6ea562624431" providerId="ADAL" clId="{D6FBF965-026B-43DA-A554-C6861A0A35E4}" dt="2023-02-02T10:07:24.662" v="111076"/>
          <ac:spMkLst>
            <pc:docMk/>
            <pc:sldMk cId="200733304" sldId="2134804369"/>
            <ac:spMk id="167" creationId="{96DB64E7-7450-5BAA-7DCA-6F75AE12EF02}"/>
          </ac:spMkLst>
        </pc:spChg>
        <pc:spChg chg="add mod replST">
          <ac:chgData name="Wenwen Zhang" userId="9dd81366-5d6f-445a-b031-6ea562624431" providerId="ADAL" clId="{D6FBF965-026B-43DA-A554-C6861A0A35E4}" dt="2023-02-02T10:07:24.661" v="111075"/>
          <ac:spMkLst>
            <pc:docMk/>
            <pc:sldMk cId="200733304" sldId="2134804369"/>
            <ac:spMk id="168" creationId="{96DB64E7-7450-5BAA-7DCA-6F75AE12EF02}"/>
          </ac:spMkLst>
        </pc:spChg>
        <pc:spChg chg="add mod replST">
          <ac:chgData name="Wenwen Zhang" userId="9dd81366-5d6f-445a-b031-6ea562624431" providerId="ADAL" clId="{D6FBF965-026B-43DA-A554-C6861A0A35E4}" dt="2023-02-02T10:07:24.662" v="111079"/>
          <ac:spMkLst>
            <pc:docMk/>
            <pc:sldMk cId="200733304" sldId="2134804369"/>
            <ac:spMk id="169" creationId="{96DB64E7-7450-5BAA-7DCA-6F75AE12EF02}"/>
          </ac:spMkLst>
        </pc:spChg>
        <pc:spChg chg="add mod replST">
          <ac:chgData name="Wenwen Zhang" userId="9dd81366-5d6f-445a-b031-6ea562624431" providerId="ADAL" clId="{D6FBF965-026B-43DA-A554-C6861A0A35E4}" dt="2023-02-02T10:07:24.663" v="111081"/>
          <ac:spMkLst>
            <pc:docMk/>
            <pc:sldMk cId="200733304" sldId="2134804369"/>
            <ac:spMk id="170" creationId="{96DB64E7-7450-5BAA-7DCA-6F75AE12EF02}"/>
          </ac:spMkLst>
        </pc:spChg>
        <pc:spChg chg="add mod replST">
          <ac:chgData name="Wenwen Zhang" userId="9dd81366-5d6f-445a-b031-6ea562624431" providerId="ADAL" clId="{D6FBF965-026B-43DA-A554-C6861A0A35E4}" dt="2023-02-02T10:07:24.663" v="111083"/>
          <ac:spMkLst>
            <pc:docMk/>
            <pc:sldMk cId="200733304" sldId="2134804369"/>
            <ac:spMk id="171" creationId="{96DB64E7-7450-5BAA-7DCA-6F75AE12EF02}"/>
          </ac:spMkLst>
        </pc:spChg>
        <pc:spChg chg="add del mod modVis">
          <ac:chgData name="Wenwen Zhang" userId="9dd81366-5d6f-445a-b031-6ea562624431" providerId="ADAL" clId="{D6FBF965-026B-43DA-A554-C6861A0A35E4}" dt="2023-02-01T18:32:35.640" v="23222"/>
          <ac:spMkLst>
            <pc:docMk/>
            <pc:sldMk cId="200733304" sldId="2134804369"/>
            <ac:spMk id="179" creationId="{CE88C17C-4C85-555B-837B-ED5E8DD17C42}"/>
          </ac:spMkLst>
        </pc:spChg>
        <pc:spChg chg="add mod ord">
          <ac:chgData name="Wenwen Zhang" userId="9dd81366-5d6f-445a-b031-6ea562624431" providerId="ADAL" clId="{D6FBF965-026B-43DA-A554-C6861A0A35E4}" dt="2023-02-02T10:07:24.664" v="111094"/>
          <ac:spMkLst>
            <pc:docMk/>
            <pc:sldMk cId="200733304" sldId="2134804369"/>
            <ac:spMk id="181" creationId="{7CDC462B-DC01-E701-64AE-27E4845FB608}"/>
          </ac:spMkLst>
        </pc:spChg>
        <pc:spChg chg="add del mod modVis">
          <ac:chgData name="Wenwen Zhang" userId="9dd81366-5d6f-445a-b031-6ea562624431" providerId="ADAL" clId="{D6FBF965-026B-43DA-A554-C6861A0A35E4}" dt="2023-02-01T20:29:02.987" v="48305"/>
          <ac:spMkLst>
            <pc:docMk/>
            <pc:sldMk cId="200733304" sldId="2134804369"/>
            <ac:spMk id="182" creationId="{0C87BCCA-DA33-2141-BF8B-C6072CEFBFF9}"/>
          </ac:spMkLst>
        </pc:spChg>
        <pc:spChg chg="add del mod replST">
          <ac:chgData name="Wenwen Zhang" userId="9dd81366-5d6f-445a-b031-6ea562624431" providerId="ADAL" clId="{D6FBF965-026B-43DA-A554-C6861A0A35E4}" dt="2023-02-01T20:29:04.904" v="48420"/>
          <ac:spMkLst>
            <pc:docMk/>
            <pc:sldMk cId="200733304" sldId="2134804369"/>
            <ac:spMk id="183" creationId="{96DB64E7-7450-5BAA-7DCA-6F75AE12EF02}"/>
          </ac:spMkLst>
        </pc:spChg>
        <pc:spChg chg="add del mod replST">
          <ac:chgData name="Wenwen Zhang" userId="9dd81366-5d6f-445a-b031-6ea562624431" providerId="ADAL" clId="{D6FBF965-026B-43DA-A554-C6861A0A35E4}" dt="2023-02-01T20:29:04.905" v="48421"/>
          <ac:spMkLst>
            <pc:docMk/>
            <pc:sldMk cId="200733304" sldId="2134804369"/>
            <ac:spMk id="184" creationId="{96DB64E7-7450-5BAA-7DCA-6F75AE12EF02}"/>
          </ac:spMkLst>
        </pc:spChg>
        <pc:spChg chg="add del mod replST">
          <ac:chgData name="Wenwen Zhang" userId="9dd81366-5d6f-445a-b031-6ea562624431" providerId="ADAL" clId="{D6FBF965-026B-43DA-A554-C6861A0A35E4}" dt="2023-02-01T20:29:04.905" v="48422"/>
          <ac:spMkLst>
            <pc:docMk/>
            <pc:sldMk cId="200733304" sldId="2134804369"/>
            <ac:spMk id="185" creationId="{96DB64E7-7450-5BAA-7DCA-6F75AE12EF02}"/>
          </ac:spMkLst>
        </pc:spChg>
        <pc:spChg chg="add del mod replST">
          <ac:chgData name="Wenwen Zhang" userId="9dd81366-5d6f-445a-b031-6ea562624431" providerId="ADAL" clId="{D6FBF965-026B-43DA-A554-C6861A0A35E4}" dt="2023-02-01T20:29:04.905" v="48423"/>
          <ac:spMkLst>
            <pc:docMk/>
            <pc:sldMk cId="200733304" sldId="2134804369"/>
            <ac:spMk id="186" creationId="{96DB64E7-7450-5BAA-7DCA-6F75AE12EF02}"/>
          </ac:spMkLst>
        </pc:spChg>
        <pc:spChg chg="add del mod replST">
          <ac:chgData name="Wenwen Zhang" userId="9dd81366-5d6f-445a-b031-6ea562624431" providerId="ADAL" clId="{D6FBF965-026B-43DA-A554-C6861A0A35E4}" dt="2023-02-01T20:29:04.907" v="48424"/>
          <ac:spMkLst>
            <pc:docMk/>
            <pc:sldMk cId="200733304" sldId="2134804369"/>
            <ac:spMk id="187" creationId="{96DB64E7-7450-5BAA-7DCA-6F75AE12EF02}"/>
          </ac:spMkLst>
        </pc:spChg>
        <pc:spChg chg="add del mod replST">
          <ac:chgData name="Wenwen Zhang" userId="9dd81366-5d6f-445a-b031-6ea562624431" providerId="ADAL" clId="{D6FBF965-026B-43DA-A554-C6861A0A35E4}" dt="2023-02-01T20:29:04.907" v="48425"/>
          <ac:spMkLst>
            <pc:docMk/>
            <pc:sldMk cId="200733304" sldId="2134804369"/>
            <ac:spMk id="188" creationId="{96DB64E7-7450-5BAA-7DCA-6F75AE12EF02}"/>
          </ac:spMkLst>
        </pc:spChg>
        <pc:spChg chg="add del mod replST">
          <ac:chgData name="Wenwen Zhang" userId="9dd81366-5d6f-445a-b031-6ea562624431" providerId="ADAL" clId="{D6FBF965-026B-43DA-A554-C6861A0A35E4}" dt="2023-02-01T20:29:04.908" v="48426"/>
          <ac:spMkLst>
            <pc:docMk/>
            <pc:sldMk cId="200733304" sldId="2134804369"/>
            <ac:spMk id="189" creationId="{96DB64E7-7450-5BAA-7DCA-6F75AE12EF02}"/>
          </ac:spMkLst>
        </pc:spChg>
        <pc:spChg chg="add del mod replST">
          <ac:chgData name="Wenwen Zhang" userId="9dd81366-5d6f-445a-b031-6ea562624431" providerId="ADAL" clId="{D6FBF965-026B-43DA-A554-C6861A0A35E4}" dt="2023-02-01T20:29:04.908" v="48427"/>
          <ac:spMkLst>
            <pc:docMk/>
            <pc:sldMk cId="200733304" sldId="2134804369"/>
            <ac:spMk id="190" creationId="{96DB64E7-7450-5BAA-7DCA-6F75AE12EF02}"/>
          </ac:spMkLst>
        </pc:spChg>
        <pc:spChg chg="add del mod replST">
          <ac:chgData name="Wenwen Zhang" userId="9dd81366-5d6f-445a-b031-6ea562624431" providerId="ADAL" clId="{D6FBF965-026B-43DA-A554-C6861A0A35E4}" dt="2023-02-01T20:29:04.909" v="48428"/>
          <ac:spMkLst>
            <pc:docMk/>
            <pc:sldMk cId="200733304" sldId="2134804369"/>
            <ac:spMk id="191" creationId="{96DB64E7-7450-5BAA-7DCA-6F75AE12EF02}"/>
          </ac:spMkLst>
        </pc:spChg>
        <pc:spChg chg="add del mod replST">
          <ac:chgData name="Wenwen Zhang" userId="9dd81366-5d6f-445a-b031-6ea562624431" providerId="ADAL" clId="{D6FBF965-026B-43DA-A554-C6861A0A35E4}" dt="2023-02-01T20:29:04.910" v="48429"/>
          <ac:spMkLst>
            <pc:docMk/>
            <pc:sldMk cId="200733304" sldId="2134804369"/>
            <ac:spMk id="192" creationId="{96DB64E7-7450-5BAA-7DCA-6F75AE12EF02}"/>
          </ac:spMkLst>
        </pc:spChg>
        <pc:spChg chg="add del mod modVis">
          <ac:chgData name="Wenwen Zhang" userId="9dd81366-5d6f-445a-b031-6ea562624431" providerId="ADAL" clId="{D6FBF965-026B-43DA-A554-C6861A0A35E4}" dt="2023-02-01T20:29:05.001" v="48542"/>
          <ac:spMkLst>
            <pc:docMk/>
            <pc:sldMk cId="200733304" sldId="2134804369"/>
            <ac:spMk id="194" creationId="{A0638C56-65E9-0858-CE3F-6B4AC4A81E69}"/>
          </ac:spMkLst>
        </pc:spChg>
        <pc:spChg chg="add del mod modVis">
          <ac:chgData name="Wenwen Zhang" userId="9dd81366-5d6f-445a-b031-6ea562624431" providerId="ADAL" clId="{D6FBF965-026B-43DA-A554-C6861A0A35E4}" dt="2023-02-01T22:45:06.644" v="104452"/>
          <ac:spMkLst>
            <pc:docMk/>
            <pc:sldMk cId="200733304" sldId="2134804369"/>
            <ac:spMk id="196" creationId="{09415F75-F334-DDA3-11C3-2CF322E752FB}"/>
          </ac:spMkLst>
        </pc:spChg>
        <pc:graphicFrameChg chg="add del mod ord replST">
          <ac:chgData name="Wenwen Zhang" userId="9dd81366-5d6f-445a-b031-6ea562624431" providerId="ADAL" clId="{D6FBF965-026B-43DA-A554-C6861A0A35E4}" dt="2023-02-02T10:06:28.370" v="109110"/>
          <ac:graphicFrameMkLst>
            <pc:docMk/>
            <pc:sldMk cId="200733304" sldId="2134804369"/>
            <ac:graphicFrameMk id="5" creationId="{1982CDDF-6420-0A00-3795-8BD40422584F}"/>
          </ac:graphicFrameMkLst>
        </pc:graphicFrameChg>
        <pc:graphicFrameChg chg="add del mod ord replST">
          <ac:chgData name="Wenwen Zhang" userId="9dd81366-5d6f-445a-b031-6ea562624431" providerId="ADAL" clId="{D6FBF965-026B-43DA-A554-C6861A0A35E4}" dt="2023-02-02T10:06:33.469" v="109362"/>
          <ac:graphicFrameMkLst>
            <pc:docMk/>
            <pc:sldMk cId="200733304" sldId="2134804369"/>
            <ac:graphicFrameMk id="7" creationId="{E456F15C-7C86-859E-46D2-B0233BEC08C0}"/>
          </ac:graphicFrameMkLst>
        </pc:graphicFrameChg>
        <pc:graphicFrameChg chg="add del mod ord replST">
          <ac:chgData name="Wenwen Zhang" userId="9dd81366-5d6f-445a-b031-6ea562624431" providerId="ADAL" clId="{D6FBF965-026B-43DA-A554-C6861A0A35E4}" dt="2023-02-02T10:07:24.641" v="111030"/>
          <ac:graphicFrameMkLst>
            <pc:docMk/>
            <pc:sldMk cId="200733304" sldId="2134804369"/>
            <ac:graphicFrameMk id="9" creationId="{DF586037-6065-7609-206E-584438119C68}"/>
          </ac:graphicFrameMkLst>
        </pc:graphicFrameChg>
        <pc:graphicFrameChg chg="del mod ord">
          <ac:chgData name="Wenwen Zhang" userId="9dd81366-5d6f-445a-b031-6ea562624431" providerId="ADAL" clId="{D6FBF965-026B-43DA-A554-C6861A0A35E4}" dt="2023-02-01T18:27:30.103" v="13289"/>
          <ac:graphicFrameMkLst>
            <pc:docMk/>
            <pc:sldMk cId="200733304" sldId="2134804369"/>
            <ac:graphicFrameMk id="12" creationId="{BAAF53CF-FA23-B2B8-1959-F67EFA392DE5}"/>
          </ac:graphicFrameMkLst>
        </pc:graphicFrameChg>
        <pc:graphicFrameChg chg="add mod ord replST">
          <ac:chgData name="Wenwen Zhang" userId="9dd81366-5d6f-445a-b031-6ea562624431" providerId="ADAL" clId="{D6FBF965-026B-43DA-A554-C6861A0A35E4}" dt="2023-02-02T10:07:24.660" v="111070"/>
          <ac:graphicFrameMkLst>
            <pc:docMk/>
            <pc:sldMk cId="200733304" sldId="2134804369"/>
            <ac:graphicFrameMk id="12" creationId="{CD2E35E0-19EB-2106-2C63-15375D7273C0}"/>
          </ac:graphicFrameMkLst>
        </pc:graphicFrameChg>
        <pc:graphicFrameChg chg="del">
          <ac:chgData name="Wenwen Zhang" userId="9dd81366-5d6f-445a-b031-6ea562624431" providerId="ADAL" clId="{D6FBF965-026B-43DA-A554-C6861A0A35E4}" dt="2023-02-01T18:26:00.608" v="10301"/>
          <ac:graphicFrameMkLst>
            <pc:docMk/>
            <pc:sldMk cId="200733304" sldId="2134804369"/>
            <ac:graphicFrameMk id="19" creationId="{087BC764-3988-7661-FBBE-58FA16AADC69}"/>
          </ac:graphicFrameMkLst>
        </pc:graphicFrameChg>
        <pc:graphicFrameChg chg="del">
          <ac:chgData name="Wenwen Zhang" userId="9dd81366-5d6f-445a-b031-6ea562624431" providerId="ADAL" clId="{D6FBF965-026B-43DA-A554-C6861A0A35E4}" dt="2023-02-01T18:26:00.608" v="10299"/>
          <ac:graphicFrameMkLst>
            <pc:docMk/>
            <pc:sldMk cId="200733304" sldId="2134804369"/>
            <ac:graphicFrameMk id="20" creationId="{C6E63A52-96A8-D70F-73A5-A0A38D318E0E}"/>
          </ac:graphicFrameMkLst>
        </pc:graphicFrameChg>
        <pc:graphicFrameChg chg="del">
          <ac:chgData name="Wenwen Zhang" userId="9dd81366-5d6f-445a-b031-6ea562624431" providerId="ADAL" clId="{D6FBF965-026B-43DA-A554-C6861A0A35E4}" dt="2023-02-01T18:26:00.608" v="10303"/>
          <ac:graphicFrameMkLst>
            <pc:docMk/>
            <pc:sldMk cId="200733304" sldId="2134804369"/>
            <ac:graphicFrameMk id="21" creationId="{BF07BAFE-4AA1-F6D2-8994-EC721AB8BF09}"/>
          </ac:graphicFrameMkLst>
        </pc:graphicFrameChg>
        <pc:graphicFrameChg chg="del mod ord">
          <ac:chgData name="Wenwen Zhang" userId="9dd81366-5d6f-445a-b031-6ea562624431" providerId="ADAL" clId="{D6FBF965-026B-43DA-A554-C6861A0A35E4}" dt="2023-02-01T18:27:25.143" v="13112"/>
          <ac:graphicFrameMkLst>
            <pc:docMk/>
            <pc:sldMk cId="200733304" sldId="2134804369"/>
            <ac:graphicFrameMk id="23" creationId="{A32F9EAC-A763-A4DB-DE4E-044D72701439}"/>
          </ac:graphicFrameMkLst>
        </pc:graphicFrameChg>
        <pc:graphicFrameChg chg="del mod ord">
          <ac:chgData name="Wenwen Zhang" userId="9dd81366-5d6f-445a-b031-6ea562624431" providerId="ADAL" clId="{D6FBF965-026B-43DA-A554-C6861A0A35E4}" dt="2023-02-01T18:27:31.616" v="13298"/>
          <ac:graphicFrameMkLst>
            <pc:docMk/>
            <pc:sldMk cId="200733304" sldId="2134804369"/>
            <ac:graphicFrameMk id="24" creationId="{A9A44FF4-E647-DAD8-93DE-C18540F7CC49}"/>
          </ac:graphicFrameMkLst>
        </pc:graphicFrameChg>
        <pc:graphicFrameChg chg="mod">
          <ac:chgData name="Wenwen Zhang" userId="9dd81366-5d6f-445a-b031-6ea562624431" providerId="ADAL" clId="{D6FBF965-026B-43DA-A554-C6861A0A35E4}" dt="2023-02-02T10:07:24.675" v="111100"/>
          <ac:graphicFrameMkLst>
            <pc:docMk/>
            <pc:sldMk cId="200733304" sldId="2134804369"/>
            <ac:graphicFrameMk id="28" creationId="{015DFAEE-F78A-C272-92CE-F25C3417CAD0}"/>
          </ac:graphicFrameMkLst>
        </pc:graphicFrameChg>
        <pc:graphicFrameChg chg="add del mod replST">
          <ac:chgData name="Wenwen Zhang" userId="9dd81366-5d6f-445a-b031-6ea562624431" providerId="ADAL" clId="{D6FBF965-026B-43DA-A554-C6861A0A35E4}" dt="2023-02-01T18:27:05.411" v="11629"/>
          <ac:graphicFrameMkLst>
            <pc:docMk/>
            <pc:sldMk cId="200733304" sldId="2134804369"/>
            <ac:graphicFrameMk id="44" creationId="{79369CDC-DBE6-94FB-8AEF-F6F367438577}"/>
          </ac:graphicFrameMkLst>
        </pc:graphicFrameChg>
        <pc:graphicFrameChg chg="add del mod ord replST">
          <ac:chgData name="Wenwen Zhang" userId="9dd81366-5d6f-445a-b031-6ea562624431" providerId="ADAL" clId="{D6FBF965-026B-43DA-A554-C6861A0A35E4}" dt="2023-02-01T18:27:10.886" v="12146"/>
          <ac:graphicFrameMkLst>
            <pc:docMk/>
            <pc:sldMk cId="200733304" sldId="2134804369"/>
            <ac:graphicFrameMk id="71" creationId="{77FAA5C6-798B-5499-C0DF-18F9B320927C}"/>
          </ac:graphicFrameMkLst>
        </pc:graphicFrameChg>
        <pc:graphicFrameChg chg="add del mod ord replST">
          <ac:chgData name="Wenwen Zhang" userId="9dd81366-5d6f-445a-b031-6ea562624431" providerId="ADAL" clId="{D6FBF965-026B-43DA-A554-C6861A0A35E4}" dt="2023-02-01T18:29:16.909" v="20387"/>
          <ac:graphicFrameMkLst>
            <pc:docMk/>
            <pc:sldMk cId="200733304" sldId="2134804369"/>
            <ac:graphicFrameMk id="73" creationId="{B21E2A27-E5B9-A9BA-5D16-1BE53F4596A9}"/>
          </ac:graphicFrameMkLst>
        </pc:graphicFrameChg>
        <pc:graphicFrameChg chg="add del mod ord replST">
          <ac:chgData name="Wenwen Zhang" userId="9dd81366-5d6f-445a-b031-6ea562624431" providerId="ADAL" clId="{D6FBF965-026B-43DA-A554-C6861A0A35E4}" dt="2023-02-01T18:27:28.463" v="13244"/>
          <ac:graphicFrameMkLst>
            <pc:docMk/>
            <pc:sldMk cId="200733304" sldId="2134804369"/>
            <ac:graphicFrameMk id="84" creationId="{787FECC5-91A6-1F31-ACEB-F57654A17A2A}"/>
          </ac:graphicFrameMkLst>
        </pc:graphicFrameChg>
        <pc:graphicFrameChg chg="add mod ord replST delST">
          <ac:chgData name="Wenwen Zhang" userId="9dd81366-5d6f-445a-b031-6ea562624431" providerId="ADAL" clId="{D6FBF965-026B-43DA-A554-C6861A0A35E4}" dt="2023-02-01T18:28:59.137" v="18540"/>
          <ac:graphicFrameMkLst>
            <pc:docMk/>
            <pc:sldMk cId="200733304" sldId="2134804369"/>
            <ac:graphicFrameMk id="124" creationId="{398D1947-1688-7519-3C5E-92D18D5DC34D}"/>
          </ac:graphicFrameMkLst>
        </pc:graphicFrameChg>
        <pc:graphicFrameChg chg="add del mod replST">
          <ac:chgData name="Wenwen Zhang" userId="9dd81366-5d6f-445a-b031-6ea562624431" providerId="ADAL" clId="{D6FBF965-026B-43DA-A554-C6861A0A35E4}" dt="2023-02-01T18:29:05.466" v="19270"/>
          <ac:graphicFrameMkLst>
            <pc:docMk/>
            <pc:sldMk cId="200733304" sldId="2134804369"/>
            <ac:graphicFrameMk id="138" creationId="{A801081A-C38C-C38A-BD51-5CAA07C4E8EB}"/>
          </ac:graphicFrameMkLst>
        </pc:graphicFrameChg>
        <pc:graphicFrameChg chg="add del mod ord replST">
          <ac:chgData name="Wenwen Zhang" userId="9dd81366-5d6f-445a-b031-6ea562624431" providerId="ADAL" clId="{D6FBF965-026B-43DA-A554-C6861A0A35E4}" dt="2023-02-01T18:29:09.951" v="19673"/>
          <ac:graphicFrameMkLst>
            <pc:docMk/>
            <pc:sldMk cId="200733304" sldId="2134804369"/>
            <ac:graphicFrameMk id="153" creationId="{76E137BB-24D0-A8D0-A114-4439D3605CD4}"/>
          </ac:graphicFrameMkLst>
        </pc:graphicFrameChg>
        <pc:graphicFrameChg chg="add del mod ord replST">
          <ac:chgData name="Wenwen Zhang" userId="9dd81366-5d6f-445a-b031-6ea562624431" providerId="ADAL" clId="{D6FBF965-026B-43DA-A554-C6861A0A35E4}" dt="2023-02-01T18:29:27.328" v="20790"/>
          <ac:graphicFrameMkLst>
            <pc:docMk/>
            <pc:sldMk cId="200733304" sldId="2134804369"/>
            <ac:graphicFrameMk id="155" creationId="{67E7C6D4-2EA5-5AA3-5148-F40211B62CA4}"/>
          </ac:graphicFrameMkLst>
        </pc:graphicFrameChg>
        <pc:graphicFrameChg chg="add del mod ord replST">
          <ac:chgData name="Wenwen Zhang" userId="9dd81366-5d6f-445a-b031-6ea562624431" providerId="ADAL" clId="{D6FBF965-026B-43DA-A554-C6861A0A35E4}" dt="2023-02-01T18:30:49.123" v="21679"/>
          <ac:graphicFrameMkLst>
            <pc:docMk/>
            <pc:sldMk cId="200733304" sldId="2134804369"/>
            <ac:graphicFrameMk id="157" creationId="{85D61534-6A32-FA05-2383-44B7DE99F8BC}"/>
          </ac:graphicFrameMkLst>
        </pc:graphicFrameChg>
        <pc:graphicFrameChg chg="add del mod ord replST">
          <ac:chgData name="Wenwen Zhang" userId="9dd81366-5d6f-445a-b031-6ea562624431" providerId="ADAL" clId="{D6FBF965-026B-43DA-A554-C6861A0A35E4}" dt="2023-02-01T18:30:44.612" v="21252"/>
          <ac:graphicFrameMkLst>
            <pc:docMk/>
            <pc:sldMk cId="200733304" sldId="2134804369"/>
            <ac:graphicFrameMk id="159" creationId="{57AA7BAF-3F3F-279D-1A49-95F22037A870}"/>
          </ac:graphicFrameMkLst>
        </pc:graphicFrameChg>
        <pc:graphicFrameChg chg="add del mod ord replST">
          <ac:chgData name="Wenwen Zhang" userId="9dd81366-5d6f-445a-b031-6ea562624431" providerId="ADAL" clId="{D6FBF965-026B-43DA-A554-C6861A0A35E4}" dt="2023-02-01T18:32:35.401" v="23063"/>
          <ac:graphicFrameMkLst>
            <pc:docMk/>
            <pc:sldMk cId="200733304" sldId="2134804369"/>
            <ac:graphicFrameMk id="162" creationId="{3A79992E-6E57-8E18-AB92-CC4A504F8FDF}"/>
          </ac:graphicFrameMkLst>
        </pc:graphicFrameChg>
        <pc:graphicFrameChg chg="add del mod ord replST">
          <ac:chgData name="Wenwen Zhang" userId="9dd81366-5d6f-445a-b031-6ea562624431" providerId="ADAL" clId="{D6FBF965-026B-43DA-A554-C6861A0A35E4}" dt="2023-02-01T18:31:28.982" v="22691"/>
          <ac:graphicFrameMkLst>
            <pc:docMk/>
            <pc:sldMk cId="200733304" sldId="2134804369"/>
            <ac:graphicFrameMk id="164" creationId="{A3D4DBF2-41AE-BB14-60A7-3150D0BF0F6E}"/>
          </ac:graphicFrameMkLst>
        </pc:graphicFrameChg>
        <pc:graphicFrameChg chg="add del mod ord replST">
          <ac:chgData name="Wenwen Zhang" userId="9dd81366-5d6f-445a-b031-6ea562624431" providerId="ADAL" clId="{D6FBF965-026B-43DA-A554-C6861A0A35E4}" dt="2023-02-01T20:29:02.928" v="48160"/>
          <ac:graphicFrameMkLst>
            <pc:docMk/>
            <pc:sldMk cId="200733304" sldId="2134804369"/>
            <ac:graphicFrameMk id="178" creationId="{39A05227-30FE-4902-9B93-CA562E362A6E}"/>
          </ac:graphicFrameMkLst>
        </pc:graphicFrameChg>
        <pc:graphicFrameChg chg="add del mod ord replST">
          <ac:chgData name="Wenwen Zhang" userId="9dd81366-5d6f-445a-b031-6ea562624431" providerId="ADAL" clId="{D6FBF965-026B-43DA-A554-C6861A0A35E4}" dt="2023-02-02T10:06:16.980" v="108362"/>
          <ac:graphicFrameMkLst>
            <pc:docMk/>
            <pc:sldMk cId="200733304" sldId="2134804369"/>
            <ac:graphicFrameMk id="180" creationId="{EA4F9180-CB00-A4CE-DDEA-B810A96CB839}"/>
          </ac:graphicFrameMkLst>
        </pc:graphicFrameChg>
        <pc:graphicFrameChg chg="add del mod ord replST">
          <ac:chgData name="Wenwen Zhang" userId="9dd81366-5d6f-445a-b031-6ea562624431" providerId="ADAL" clId="{D6FBF965-026B-43DA-A554-C6861A0A35E4}" dt="2023-02-01T20:29:04.913" v="48431"/>
          <ac:graphicFrameMkLst>
            <pc:docMk/>
            <pc:sldMk cId="200733304" sldId="2134804369"/>
            <ac:graphicFrameMk id="193" creationId="{FC8C60C1-922B-0592-7385-CA7BCCF80A82}"/>
          </ac:graphicFrameMkLst>
        </pc:graphicFrameChg>
        <pc:graphicFrameChg chg="add del mod ord replST">
          <ac:chgData name="Wenwen Zhang" userId="9dd81366-5d6f-445a-b031-6ea562624431" providerId="ADAL" clId="{D6FBF965-026B-43DA-A554-C6861A0A35E4}" dt="2023-02-01T22:45:06.575" v="104291"/>
          <ac:graphicFrameMkLst>
            <pc:docMk/>
            <pc:sldMk cId="200733304" sldId="2134804369"/>
            <ac:graphicFrameMk id="195" creationId="{23E0B974-05C5-70E0-28DF-4BF138AAA6AB}"/>
          </ac:graphicFrameMkLst>
        </pc:graphicFrameChg>
        <pc:graphicFrameChg chg="add del mod ord replST">
          <ac:chgData name="Wenwen Zhang" userId="9dd81366-5d6f-445a-b031-6ea562624431" providerId="ADAL" clId="{D6FBF965-026B-43DA-A554-C6861A0A35E4}" dt="2023-02-02T10:06:22.120" v="108846"/>
          <ac:graphicFrameMkLst>
            <pc:docMk/>
            <pc:sldMk cId="200733304" sldId="2134804369"/>
            <ac:graphicFrameMk id="197" creationId="{DD4BB0B2-9858-7872-FCF0-9AE2ED8EBF1A}"/>
          </ac:graphicFrameMkLst>
        </pc:graphicFrameChg>
        <pc:cxnChg chg="add del mod ord replST">
          <ac:chgData name="Wenwen Zhang" userId="9dd81366-5d6f-445a-b031-6ea562624431" providerId="ADAL" clId="{D6FBF965-026B-43DA-A554-C6861A0A35E4}" dt="2023-02-01T18:31:28.510" v="22116"/>
          <ac:cxnSpMkLst>
            <pc:docMk/>
            <pc:sldMk cId="200733304" sldId="2134804369"/>
            <ac:cxnSpMk id="10" creationId="{C2B1DCD2-50D8-2D6B-0DD0-4E504EB04741}"/>
          </ac:cxnSpMkLst>
        </pc:cxnChg>
        <pc:cxnChg chg="add mod ord replST">
          <ac:chgData name="Wenwen Zhang" userId="9dd81366-5d6f-445a-b031-6ea562624431" providerId="ADAL" clId="{D6FBF965-026B-43DA-A554-C6861A0A35E4}" dt="2023-02-02T10:07:24.660" v="111066"/>
          <ac:cxnSpMkLst>
            <pc:docMk/>
            <pc:sldMk cId="200733304" sldId="2134804369"/>
            <ac:cxnSpMk id="11" creationId="{36989B73-932F-7F73-67AE-4BADF3449F9F}"/>
          </ac:cxnSpMkLst>
        </pc:cxnChg>
        <pc:cxnChg chg="add del mod ord replST">
          <ac:chgData name="Wenwen Zhang" userId="9dd81366-5d6f-445a-b031-6ea562624431" providerId="ADAL" clId="{D6FBF965-026B-43DA-A554-C6861A0A35E4}" dt="2023-02-01T18:31:28.509" v="22113"/>
          <ac:cxnSpMkLst>
            <pc:docMk/>
            <pc:sldMk cId="200733304" sldId="2134804369"/>
            <ac:cxnSpMk id="22" creationId="{BBD8FDAF-64FD-D79B-1695-674D15E0BCFA}"/>
          </ac:cxnSpMkLst>
        </pc:cxnChg>
        <pc:cxnChg chg="add mod ord replST">
          <ac:chgData name="Wenwen Zhang" userId="9dd81366-5d6f-445a-b031-6ea562624431" providerId="ADAL" clId="{D6FBF965-026B-43DA-A554-C6861A0A35E4}" dt="2023-02-02T10:07:24.657" v="111044"/>
          <ac:cxnSpMkLst>
            <pc:docMk/>
            <pc:sldMk cId="200733304" sldId="2134804369"/>
            <ac:cxnSpMk id="25" creationId="{B98B81E8-E7A4-102B-F5B1-935F1709A52E}"/>
          </ac:cxnSpMkLst>
        </pc:cxnChg>
        <pc:cxnChg chg="add mod ord replST">
          <ac:chgData name="Wenwen Zhang" userId="9dd81366-5d6f-445a-b031-6ea562624431" providerId="ADAL" clId="{D6FBF965-026B-43DA-A554-C6861A0A35E4}" dt="2023-02-02T10:07:24.658" v="111050"/>
          <ac:cxnSpMkLst>
            <pc:docMk/>
            <pc:sldMk cId="200733304" sldId="2134804369"/>
            <ac:cxnSpMk id="26" creationId="{B294AEC1-DDE5-CDAF-3F9B-D8CAE9EE86A4}"/>
          </ac:cxnSpMkLst>
        </pc:cxnChg>
        <pc:cxnChg chg="add del mod ord replST">
          <ac:chgData name="Wenwen Zhang" userId="9dd81366-5d6f-445a-b031-6ea562624431" providerId="ADAL" clId="{D6FBF965-026B-43DA-A554-C6861A0A35E4}" dt="2023-02-01T18:31:28.506" v="22110"/>
          <ac:cxnSpMkLst>
            <pc:docMk/>
            <pc:sldMk cId="200733304" sldId="2134804369"/>
            <ac:cxnSpMk id="27" creationId="{3C9B1DD0-6102-9702-2F2F-2824775C22BE}"/>
          </ac:cxnSpMkLst>
        </pc:cxnChg>
        <pc:cxnChg chg="add del mod ord replST">
          <ac:chgData name="Wenwen Zhang" userId="9dd81366-5d6f-445a-b031-6ea562624431" providerId="ADAL" clId="{D6FBF965-026B-43DA-A554-C6861A0A35E4}" dt="2023-02-01T18:31:28.506" v="22107"/>
          <ac:cxnSpMkLst>
            <pc:docMk/>
            <pc:sldMk cId="200733304" sldId="2134804369"/>
            <ac:cxnSpMk id="30" creationId="{F65CD1CF-0E62-79A3-4684-7B04409AFDC7}"/>
          </ac:cxnSpMkLst>
        </pc:cxnChg>
        <pc:cxnChg chg="add mod ord replST">
          <ac:chgData name="Wenwen Zhang" userId="9dd81366-5d6f-445a-b031-6ea562624431" providerId="ADAL" clId="{D6FBF965-026B-43DA-A554-C6861A0A35E4}" dt="2023-02-02T10:07:24.659" v="111058"/>
          <ac:cxnSpMkLst>
            <pc:docMk/>
            <pc:sldMk cId="200733304" sldId="2134804369"/>
            <ac:cxnSpMk id="31" creationId="{BBA4CFD8-50E2-590E-359C-B7B30680283A}"/>
          </ac:cxnSpMkLst>
        </pc:cxnChg>
        <pc:cxnChg chg="add del mod ord replST">
          <ac:chgData name="Wenwen Zhang" userId="9dd81366-5d6f-445a-b031-6ea562624431" providerId="ADAL" clId="{D6FBF965-026B-43DA-A554-C6861A0A35E4}" dt="2023-02-01T18:31:28.506" v="22104"/>
          <ac:cxnSpMkLst>
            <pc:docMk/>
            <pc:sldMk cId="200733304" sldId="2134804369"/>
            <ac:cxnSpMk id="32" creationId="{6572E1D7-FA97-3285-0AAF-E42777546E09}"/>
          </ac:cxnSpMkLst>
        </pc:cxnChg>
        <pc:cxnChg chg="add del mod ord replST">
          <ac:chgData name="Wenwen Zhang" userId="9dd81366-5d6f-445a-b031-6ea562624431" providerId="ADAL" clId="{D6FBF965-026B-43DA-A554-C6861A0A35E4}" dt="2023-02-01T18:31:28.502" v="22101"/>
          <ac:cxnSpMkLst>
            <pc:docMk/>
            <pc:sldMk cId="200733304" sldId="2134804369"/>
            <ac:cxnSpMk id="33" creationId="{0FBB30A5-D21D-8508-C2D1-98485EA4F45D}"/>
          </ac:cxnSpMkLst>
        </pc:cxnChg>
        <pc:cxnChg chg="add mod ord replST">
          <ac:chgData name="Wenwen Zhang" userId="9dd81366-5d6f-445a-b031-6ea562624431" providerId="ADAL" clId="{D6FBF965-026B-43DA-A554-C6861A0A35E4}" dt="2023-02-02T10:07:24.659" v="111062"/>
          <ac:cxnSpMkLst>
            <pc:docMk/>
            <pc:sldMk cId="200733304" sldId="2134804369"/>
            <ac:cxnSpMk id="34" creationId="{90466765-2333-EB42-B879-3266B81004F2}"/>
          </ac:cxnSpMkLst>
        </pc:cxnChg>
        <pc:cxnChg chg="add del mod ord replST">
          <ac:chgData name="Wenwen Zhang" userId="9dd81366-5d6f-445a-b031-6ea562624431" providerId="ADAL" clId="{D6FBF965-026B-43DA-A554-C6861A0A35E4}" dt="2023-02-01T18:31:28.502" v="22098"/>
          <ac:cxnSpMkLst>
            <pc:docMk/>
            <pc:sldMk cId="200733304" sldId="2134804369"/>
            <ac:cxnSpMk id="35" creationId="{3E9EDB86-5204-5009-CD30-140A2F585F91}"/>
          </ac:cxnSpMkLst>
        </pc:cxnChg>
        <pc:cxnChg chg="add del mod ord replST">
          <ac:chgData name="Wenwen Zhang" userId="9dd81366-5d6f-445a-b031-6ea562624431" providerId="ADAL" clId="{D6FBF965-026B-43DA-A554-C6861A0A35E4}" dt="2023-02-01T18:31:28.502" v="22095"/>
          <ac:cxnSpMkLst>
            <pc:docMk/>
            <pc:sldMk cId="200733304" sldId="2134804369"/>
            <ac:cxnSpMk id="36" creationId="{E77D04B1-74ED-5C8A-4420-D15238B3033C}"/>
          </ac:cxnSpMkLst>
        </pc:cxnChg>
        <pc:cxnChg chg="add del mod ord replST">
          <ac:chgData name="Wenwen Zhang" userId="9dd81366-5d6f-445a-b031-6ea562624431" providerId="ADAL" clId="{D6FBF965-026B-43DA-A554-C6861A0A35E4}" dt="2023-02-01T18:31:28.502" v="22092"/>
          <ac:cxnSpMkLst>
            <pc:docMk/>
            <pc:sldMk cId="200733304" sldId="2134804369"/>
            <ac:cxnSpMk id="37" creationId="{E0BD5345-7440-4A3E-C0EA-7682008B4EC0}"/>
          </ac:cxnSpMkLst>
        </pc:cxnChg>
        <pc:cxnChg chg="add del mod ord replST">
          <ac:chgData name="Wenwen Zhang" userId="9dd81366-5d6f-445a-b031-6ea562624431" providerId="ADAL" clId="{D6FBF965-026B-43DA-A554-C6861A0A35E4}" dt="2023-02-01T18:31:28.502" v="22089"/>
          <ac:cxnSpMkLst>
            <pc:docMk/>
            <pc:sldMk cId="200733304" sldId="2134804369"/>
            <ac:cxnSpMk id="38" creationId="{71853722-90DD-EEA1-ACF0-41C9EF96C8AC}"/>
          </ac:cxnSpMkLst>
        </pc:cxnChg>
        <pc:cxnChg chg="add mod ord replST">
          <ac:chgData name="Wenwen Zhang" userId="9dd81366-5d6f-445a-b031-6ea562624431" providerId="ADAL" clId="{D6FBF965-026B-43DA-A554-C6861A0A35E4}" dt="2023-02-02T10:07:24.660" v="111068"/>
          <ac:cxnSpMkLst>
            <pc:docMk/>
            <pc:sldMk cId="200733304" sldId="2134804369"/>
            <ac:cxnSpMk id="39" creationId="{64B2D29A-8079-5F0A-1C71-BE7A1F1BEE65}"/>
          </ac:cxnSpMkLst>
        </pc:cxnChg>
        <pc:cxnChg chg="add del mod ord replST">
          <ac:chgData name="Wenwen Zhang" userId="9dd81366-5d6f-445a-b031-6ea562624431" providerId="ADAL" clId="{D6FBF965-026B-43DA-A554-C6861A0A35E4}" dt="2023-02-01T18:31:28.498" v="22086"/>
          <ac:cxnSpMkLst>
            <pc:docMk/>
            <pc:sldMk cId="200733304" sldId="2134804369"/>
            <ac:cxnSpMk id="40" creationId="{B2FBF8B8-A450-FCC2-2BDF-529D3D0124B9}"/>
          </ac:cxnSpMkLst>
        </pc:cxnChg>
        <pc:cxnChg chg="add del mod ord replST">
          <ac:chgData name="Wenwen Zhang" userId="9dd81366-5d6f-445a-b031-6ea562624431" providerId="ADAL" clId="{D6FBF965-026B-43DA-A554-C6861A0A35E4}" dt="2023-02-01T18:31:28.498" v="22083"/>
          <ac:cxnSpMkLst>
            <pc:docMk/>
            <pc:sldMk cId="200733304" sldId="2134804369"/>
            <ac:cxnSpMk id="41" creationId="{4B97B6F7-FA61-D99F-33A6-AD672B98895A}"/>
          </ac:cxnSpMkLst>
        </pc:cxnChg>
        <pc:cxnChg chg="add mod ord replST">
          <ac:chgData name="Wenwen Zhang" userId="9dd81366-5d6f-445a-b031-6ea562624431" providerId="ADAL" clId="{D6FBF965-026B-43DA-A554-C6861A0A35E4}" dt="2023-02-02T10:07:24.659" v="111056"/>
          <ac:cxnSpMkLst>
            <pc:docMk/>
            <pc:sldMk cId="200733304" sldId="2134804369"/>
            <ac:cxnSpMk id="42" creationId="{CA523B21-1A74-CF9C-C27A-9A5B306A90FD}"/>
          </ac:cxnSpMkLst>
        </pc:cxnChg>
        <pc:cxnChg chg="add del mod ord replST">
          <ac:chgData name="Wenwen Zhang" userId="9dd81366-5d6f-445a-b031-6ea562624431" providerId="ADAL" clId="{D6FBF965-026B-43DA-A554-C6861A0A35E4}" dt="2023-02-02T10:07:24.663" v="111089"/>
          <ac:cxnSpMkLst>
            <pc:docMk/>
            <pc:sldMk cId="200733304" sldId="2134804369"/>
            <ac:cxnSpMk id="64" creationId="{CDC2214B-B624-4ABB-E00E-E9564153FBE5}"/>
          </ac:cxnSpMkLst>
        </pc:cxnChg>
        <pc:cxnChg chg="add mod ord replST">
          <ac:chgData name="Wenwen Zhang" userId="9dd81366-5d6f-445a-b031-6ea562624431" providerId="ADAL" clId="{D6FBF965-026B-43DA-A554-C6861A0A35E4}" dt="2023-02-02T10:07:24.663" v="111085"/>
          <ac:cxnSpMkLst>
            <pc:docMk/>
            <pc:sldMk cId="200733304" sldId="2134804369"/>
            <ac:cxnSpMk id="65" creationId="{E56A49A2-72D4-FBAC-1B5D-86ED101CA13A}"/>
          </ac:cxnSpMkLst>
        </pc:cxnChg>
        <pc:cxnChg chg="add mod ord replST">
          <ac:chgData name="Wenwen Zhang" userId="9dd81366-5d6f-445a-b031-6ea562624431" providerId="ADAL" clId="{D6FBF965-026B-43DA-A554-C6861A0A35E4}" dt="2023-02-02T10:07:24.663" v="111087"/>
          <ac:cxnSpMkLst>
            <pc:docMk/>
            <pc:sldMk cId="200733304" sldId="2134804369"/>
            <ac:cxnSpMk id="66" creationId="{D884AC93-119A-B9AF-03F2-E526E09BD973}"/>
          </ac:cxnSpMkLst>
        </pc:cxnChg>
        <pc:cxnChg chg="add del mod ord replST delST">
          <ac:chgData name="Wenwen Zhang" userId="9dd81366-5d6f-445a-b031-6ea562624431" providerId="ADAL" clId="{D6FBF965-026B-43DA-A554-C6861A0A35E4}" dt="2023-02-01T18:28:59.137" v="18540"/>
          <ac:cxnSpMkLst>
            <pc:docMk/>
            <pc:sldMk cId="200733304" sldId="2134804369"/>
            <ac:cxnSpMk id="105" creationId="{C508F3FE-DBE5-0DAE-87EC-D77B8C0D017D}"/>
          </ac:cxnSpMkLst>
        </pc:cxnChg>
        <pc:cxnChg chg="add del mod ord replST delST">
          <ac:chgData name="Wenwen Zhang" userId="9dd81366-5d6f-445a-b031-6ea562624431" providerId="ADAL" clId="{D6FBF965-026B-43DA-A554-C6861A0A35E4}" dt="2023-02-01T18:28:59.137" v="18540"/>
          <ac:cxnSpMkLst>
            <pc:docMk/>
            <pc:sldMk cId="200733304" sldId="2134804369"/>
            <ac:cxnSpMk id="106" creationId="{7D9F991D-C319-B90F-7EF3-05E79BB31BD8}"/>
          </ac:cxnSpMkLst>
        </pc:cxnChg>
        <pc:cxnChg chg="add del mod ord replST delST">
          <ac:chgData name="Wenwen Zhang" userId="9dd81366-5d6f-445a-b031-6ea562624431" providerId="ADAL" clId="{D6FBF965-026B-43DA-A554-C6861A0A35E4}" dt="2023-02-01T18:28:59.137" v="18540"/>
          <ac:cxnSpMkLst>
            <pc:docMk/>
            <pc:sldMk cId="200733304" sldId="2134804369"/>
            <ac:cxnSpMk id="107" creationId="{B98BF5B8-1388-70BE-74F8-032FA5340A3F}"/>
          </ac:cxnSpMkLst>
        </pc:cxnChg>
        <pc:cxnChg chg="add del mod ord replST delST">
          <ac:chgData name="Wenwen Zhang" userId="9dd81366-5d6f-445a-b031-6ea562624431" providerId="ADAL" clId="{D6FBF965-026B-43DA-A554-C6861A0A35E4}" dt="2023-02-01T18:28:59.137" v="18540"/>
          <ac:cxnSpMkLst>
            <pc:docMk/>
            <pc:sldMk cId="200733304" sldId="2134804369"/>
            <ac:cxnSpMk id="108" creationId="{F5E7606C-3EA5-6195-6243-8D65200A4D38}"/>
          </ac:cxnSpMkLst>
        </pc:cxnChg>
        <pc:cxnChg chg="add del mod ord replST delST">
          <ac:chgData name="Wenwen Zhang" userId="9dd81366-5d6f-445a-b031-6ea562624431" providerId="ADAL" clId="{D6FBF965-026B-43DA-A554-C6861A0A35E4}" dt="2023-02-01T18:28:59.137" v="18540"/>
          <ac:cxnSpMkLst>
            <pc:docMk/>
            <pc:sldMk cId="200733304" sldId="2134804369"/>
            <ac:cxnSpMk id="109" creationId="{602FE5CA-7A98-B703-EDB1-15D2AE99F0E2}"/>
          </ac:cxnSpMkLst>
        </pc:cxnChg>
        <pc:cxnChg chg="add del mod ord replST delST">
          <ac:chgData name="Wenwen Zhang" userId="9dd81366-5d6f-445a-b031-6ea562624431" providerId="ADAL" clId="{D6FBF965-026B-43DA-A554-C6861A0A35E4}" dt="2023-02-01T18:28:59.137" v="18540"/>
          <ac:cxnSpMkLst>
            <pc:docMk/>
            <pc:sldMk cId="200733304" sldId="2134804369"/>
            <ac:cxnSpMk id="110" creationId="{2BA6EA68-E1A0-E2E0-FB08-9C74D937CB37}"/>
          </ac:cxnSpMkLst>
        </pc:cxnChg>
        <pc:cxnChg chg="add del mod ord replST delST">
          <ac:chgData name="Wenwen Zhang" userId="9dd81366-5d6f-445a-b031-6ea562624431" providerId="ADAL" clId="{D6FBF965-026B-43DA-A554-C6861A0A35E4}" dt="2023-02-01T18:28:59.137" v="18540"/>
          <ac:cxnSpMkLst>
            <pc:docMk/>
            <pc:sldMk cId="200733304" sldId="2134804369"/>
            <ac:cxnSpMk id="111" creationId="{AF12F5F2-9258-32EA-BF40-CD410B173284}"/>
          </ac:cxnSpMkLst>
        </pc:cxnChg>
        <pc:cxnChg chg="add del mod ord replST delST">
          <ac:chgData name="Wenwen Zhang" userId="9dd81366-5d6f-445a-b031-6ea562624431" providerId="ADAL" clId="{D6FBF965-026B-43DA-A554-C6861A0A35E4}" dt="2023-02-01T18:28:59.137" v="18540"/>
          <ac:cxnSpMkLst>
            <pc:docMk/>
            <pc:sldMk cId="200733304" sldId="2134804369"/>
            <ac:cxnSpMk id="112" creationId="{01DD41EA-0791-1BCA-4AEF-1E76FB819181}"/>
          </ac:cxnSpMkLst>
        </pc:cxnChg>
        <pc:cxnChg chg="add del mod ord replST delST">
          <ac:chgData name="Wenwen Zhang" userId="9dd81366-5d6f-445a-b031-6ea562624431" providerId="ADAL" clId="{D6FBF965-026B-43DA-A554-C6861A0A35E4}" dt="2023-02-01T18:28:59.137" v="18540"/>
          <ac:cxnSpMkLst>
            <pc:docMk/>
            <pc:sldMk cId="200733304" sldId="2134804369"/>
            <ac:cxnSpMk id="113" creationId="{4016BE81-A0CD-0AB4-F87D-A500F7F656A2}"/>
          </ac:cxnSpMkLst>
        </pc:cxnChg>
        <pc:cxnChg chg="add del mod ord replST delST">
          <ac:chgData name="Wenwen Zhang" userId="9dd81366-5d6f-445a-b031-6ea562624431" providerId="ADAL" clId="{D6FBF965-026B-43DA-A554-C6861A0A35E4}" dt="2023-02-01T18:28:59.137" v="18540"/>
          <ac:cxnSpMkLst>
            <pc:docMk/>
            <pc:sldMk cId="200733304" sldId="2134804369"/>
            <ac:cxnSpMk id="114" creationId="{7BFB978F-EFB1-DD05-B209-8E2170B8CD97}"/>
          </ac:cxnSpMkLst>
        </pc:cxnChg>
        <pc:cxnChg chg="add del mod ord replST delST">
          <ac:chgData name="Wenwen Zhang" userId="9dd81366-5d6f-445a-b031-6ea562624431" providerId="ADAL" clId="{D6FBF965-026B-43DA-A554-C6861A0A35E4}" dt="2023-02-01T18:28:59.137" v="18540"/>
          <ac:cxnSpMkLst>
            <pc:docMk/>
            <pc:sldMk cId="200733304" sldId="2134804369"/>
            <ac:cxnSpMk id="115" creationId="{03404E39-9E11-ED5E-3924-5CAD6E89A54E}"/>
          </ac:cxnSpMkLst>
        </pc:cxnChg>
        <pc:cxnChg chg="add del mod ord replST delST">
          <ac:chgData name="Wenwen Zhang" userId="9dd81366-5d6f-445a-b031-6ea562624431" providerId="ADAL" clId="{D6FBF965-026B-43DA-A554-C6861A0A35E4}" dt="2023-02-01T18:28:59.137" v="18540"/>
          <ac:cxnSpMkLst>
            <pc:docMk/>
            <pc:sldMk cId="200733304" sldId="2134804369"/>
            <ac:cxnSpMk id="116" creationId="{19883908-64B4-32B1-278A-C4A4407D465E}"/>
          </ac:cxnSpMkLst>
        </pc:cxnChg>
        <pc:cxnChg chg="add del mod ord replST delST">
          <ac:chgData name="Wenwen Zhang" userId="9dd81366-5d6f-445a-b031-6ea562624431" providerId="ADAL" clId="{D6FBF965-026B-43DA-A554-C6861A0A35E4}" dt="2023-02-01T18:28:59.137" v="18540"/>
          <ac:cxnSpMkLst>
            <pc:docMk/>
            <pc:sldMk cId="200733304" sldId="2134804369"/>
            <ac:cxnSpMk id="117" creationId="{19FC9058-A1EC-693C-CD13-950DDF6B8C97}"/>
          </ac:cxnSpMkLst>
        </pc:cxnChg>
        <pc:cxnChg chg="add del mod ord replST delST">
          <ac:chgData name="Wenwen Zhang" userId="9dd81366-5d6f-445a-b031-6ea562624431" providerId="ADAL" clId="{D6FBF965-026B-43DA-A554-C6861A0A35E4}" dt="2023-02-01T18:28:59.137" v="18540"/>
          <ac:cxnSpMkLst>
            <pc:docMk/>
            <pc:sldMk cId="200733304" sldId="2134804369"/>
            <ac:cxnSpMk id="118" creationId="{D852813E-40C3-6157-B667-FB8496F4A8C0}"/>
          </ac:cxnSpMkLst>
        </pc:cxnChg>
        <pc:cxnChg chg="add del mod ord replST delST">
          <ac:chgData name="Wenwen Zhang" userId="9dd81366-5d6f-445a-b031-6ea562624431" providerId="ADAL" clId="{D6FBF965-026B-43DA-A554-C6861A0A35E4}" dt="2023-02-01T18:28:59.137" v="18540"/>
          <ac:cxnSpMkLst>
            <pc:docMk/>
            <pc:sldMk cId="200733304" sldId="2134804369"/>
            <ac:cxnSpMk id="119" creationId="{5E9CAB21-727B-AC98-3F34-F07D223219C6}"/>
          </ac:cxnSpMkLst>
        </pc:cxnChg>
        <pc:cxnChg chg="add del mod ord replST delST">
          <ac:chgData name="Wenwen Zhang" userId="9dd81366-5d6f-445a-b031-6ea562624431" providerId="ADAL" clId="{D6FBF965-026B-43DA-A554-C6861A0A35E4}" dt="2023-02-01T18:28:59.137" v="18540"/>
          <ac:cxnSpMkLst>
            <pc:docMk/>
            <pc:sldMk cId="200733304" sldId="2134804369"/>
            <ac:cxnSpMk id="120" creationId="{9E1810E1-67B2-167E-FA28-0DD208DC762B}"/>
          </ac:cxnSpMkLst>
        </pc:cxnChg>
        <pc:cxnChg chg="add del mod ord replST delST">
          <ac:chgData name="Wenwen Zhang" userId="9dd81366-5d6f-445a-b031-6ea562624431" providerId="ADAL" clId="{D6FBF965-026B-43DA-A554-C6861A0A35E4}" dt="2023-02-01T18:28:59.137" v="18540"/>
          <ac:cxnSpMkLst>
            <pc:docMk/>
            <pc:sldMk cId="200733304" sldId="2134804369"/>
            <ac:cxnSpMk id="121" creationId="{E14E0D18-46A2-8684-59C4-7F7BAB4D283E}"/>
          </ac:cxnSpMkLst>
        </pc:cxnChg>
        <pc:cxnChg chg="add del mod ord replST delST">
          <ac:chgData name="Wenwen Zhang" userId="9dd81366-5d6f-445a-b031-6ea562624431" providerId="ADAL" clId="{D6FBF965-026B-43DA-A554-C6861A0A35E4}" dt="2023-02-01T18:28:59.137" v="18540"/>
          <ac:cxnSpMkLst>
            <pc:docMk/>
            <pc:sldMk cId="200733304" sldId="2134804369"/>
            <ac:cxnSpMk id="122" creationId="{9637EAC9-A1C3-9FF0-00E0-FFC679F164E0}"/>
          </ac:cxnSpMkLst>
        </pc:cxnChg>
        <pc:cxnChg chg="add del mod ord replST delST">
          <ac:chgData name="Wenwen Zhang" userId="9dd81366-5d6f-445a-b031-6ea562624431" providerId="ADAL" clId="{D6FBF965-026B-43DA-A554-C6861A0A35E4}" dt="2023-02-01T18:28:59.137" v="18540"/>
          <ac:cxnSpMkLst>
            <pc:docMk/>
            <pc:sldMk cId="200733304" sldId="2134804369"/>
            <ac:cxnSpMk id="123" creationId="{E0BB522A-65D5-6A08-3A5A-AB8AFB646D16}"/>
          </ac:cxnSpMkLst>
        </pc:cxnChg>
        <pc:cxnChg chg="add del mod ord replST">
          <ac:chgData name="Wenwen Zhang" userId="9dd81366-5d6f-445a-b031-6ea562624431" providerId="ADAL" clId="{D6FBF965-026B-43DA-A554-C6861A0A35E4}" dt="2023-02-02T10:06:16.979" v="108360"/>
          <ac:cxnSpMkLst>
            <pc:docMk/>
            <pc:sldMk cId="200733304" sldId="2134804369"/>
            <ac:cxnSpMk id="125" creationId="{5F9EB9C0-49E9-7E1D-1C57-E2821E94D2A0}"/>
          </ac:cxnSpMkLst>
        </pc:cxnChg>
        <pc:cxnChg chg="add del mod ord replST">
          <ac:chgData name="Wenwen Zhang" userId="9dd81366-5d6f-445a-b031-6ea562624431" providerId="ADAL" clId="{D6FBF965-026B-43DA-A554-C6861A0A35E4}" dt="2023-02-02T10:06:16.976" v="108351"/>
          <ac:cxnSpMkLst>
            <pc:docMk/>
            <pc:sldMk cId="200733304" sldId="2134804369"/>
            <ac:cxnSpMk id="126" creationId="{6FA067FE-69A3-A71F-190A-644AF167F809}"/>
          </ac:cxnSpMkLst>
        </pc:cxnChg>
        <pc:cxnChg chg="add del mod ord replST">
          <ac:chgData name="Wenwen Zhang" userId="9dd81366-5d6f-445a-b031-6ea562624431" providerId="ADAL" clId="{D6FBF965-026B-43DA-A554-C6861A0A35E4}" dt="2023-02-02T10:06:16.972" v="108336"/>
          <ac:cxnSpMkLst>
            <pc:docMk/>
            <pc:sldMk cId="200733304" sldId="2134804369"/>
            <ac:cxnSpMk id="127" creationId="{8F0CA0E5-434A-9B53-D097-B404FEDCDA24}"/>
          </ac:cxnSpMkLst>
        </pc:cxnChg>
        <pc:cxnChg chg="add del mod ord replST">
          <ac:chgData name="Wenwen Zhang" userId="9dd81366-5d6f-445a-b031-6ea562624431" providerId="ADAL" clId="{D6FBF965-026B-43DA-A554-C6861A0A35E4}" dt="2023-02-02T10:06:16.978" v="108357"/>
          <ac:cxnSpMkLst>
            <pc:docMk/>
            <pc:sldMk cId="200733304" sldId="2134804369"/>
            <ac:cxnSpMk id="128" creationId="{07EB8F80-70FF-BBD5-7E9C-57A0E4B479EF}"/>
          </ac:cxnSpMkLst>
        </pc:cxnChg>
        <pc:cxnChg chg="add del mod ord replST">
          <ac:chgData name="Wenwen Zhang" userId="9dd81366-5d6f-445a-b031-6ea562624431" providerId="ADAL" clId="{D6FBF965-026B-43DA-A554-C6861A0A35E4}" dt="2023-02-02T10:06:16.971" v="108333"/>
          <ac:cxnSpMkLst>
            <pc:docMk/>
            <pc:sldMk cId="200733304" sldId="2134804369"/>
            <ac:cxnSpMk id="129" creationId="{B3EC27FF-CA83-2D7B-CD55-EC4AFEC2E104}"/>
          </ac:cxnSpMkLst>
        </pc:cxnChg>
        <pc:cxnChg chg="add del mod ord replST">
          <ac:chgData name="Wenwen Zhang" userId="9dd81366-5d6f-445a-b031-6ea562624431" providerId="ADAL" clId="{D6FBF965-026B-43DA-A554-C6861A0A35E4}" dt="2023-02-02T10:06:16.977" v="108354"/>
          <ac:cxnSpMkLst>
            <pc:docMk/>
            <pc:sldMk cId="200733304" sldId="2134804369"/>
            <ac:cxnSpMk id="130" creationId="{B4A58098-3579-09A2-6F10-151FF88E3E74}"/>
          </ac:cxnSpMkLst>
        </pc:cxnChg>
        <pc:cxnChg chg="add del mod ord replST">
          <ac:chgData name="Wenwen Zhang" userId="9dd81366-5d6f-445a-b031-6ea562624431" providerId="ADAL" clId="{D6FBF965-026B-43DA-A554-C6861A0A35E4}" dt="2023-02-02T10:06:16.970" v="108330"/>
          <ac:cxnSpMkLst>
            <pc:docMk/>
            <pc:sldMk cId="200733304" sldId="2134804369"/>
            <ac:cxnSpMk id="131" creationId="{9B0E97CC-3596-FEAD-3A64-1882048CB54D}"/>
          </ac:cxnSpMkLst>
        </pc:cxnChg>
        <pc:cxnChg chg="add del mod ord replST">
          <ac:chgData name="Wenwen Zhang" userId="9dd81366-5d6f-445a-b031-6ea562624431" providerId="ADAL" clId="{D6FBF965-026B-43DA-A554-C6861A0A35E4}" dt="2023-02-02T10:06:16.975" v="108348"/>
          <ac:cxnSpMkLst>
            <pc:docMk/>
            <pc:sldMk cId="200733304" sldId="2134804369"/>
            <ac:cxnSpMk id="132" creationId="{86580FB6-703B-6108-436F-BF9980CC59CD}"/>
          </ac:cxnSpMkLst>
        </pc:cxnChg>
        <pc:cxnChg chg="add del mod ord replST">
          <ac:chgData name="Wenwen Zhang" userId="9dd81366-5d6f-445a-b031-6ea562624431" providerId="ADAL" clId="{D6FBF965-026B-43DA-A554-C6861A0A35E4}" dt="2023-02-02T10:06:16.974" v="108345"/>
          <ac:cxnSpMkLst>
            <pc:docMk/>
            <pc:sldMk cId="200733304" sldId="2134804369"/>
            <ac:cxnSpMk id="133" creationId="{AA3C007C-263F-C2C1-6353-53C570FD61A6}"/>
          </ac:cxnSpMkLst>
        </pc:cxnChg>
        <pc:cxnChg chg="add del mod ord replST">
          <ac:chgData name="Wenwen Zhang" userId="9dd81366-5d6f-445a-b031-6ea562624431" providerId="ADAL" clId="{D6FBF965-026B-43DA-A554-C6861A0A35E4}" dt="2023-02-02T10:06:16.972" v="108339"/>
          <ac:cxnSpMkLst>
            <pc:docMk/>
            <pc:sldMk cId="200733304" sldId="2134804369"/>
            <ac:cxnSpMk id="134" creationId="{C93747C4-38D1-3F5E-97E5-CAF3DE4F103A}"/>
          </ac:cxnSpMkLst>
        </pc:cxnChg>
        <pc:cxnChg chg="add del mod ord replST">
          <ac:chgData name="Wenwen Zhang" userId="9dd81366-5d6f-445a-b031-6ea562624431" providerId="ADAL" clId="{D6FBF965-026B-43DA-A554-C6861A0A35E4}" dt="2023-02-02T10:06:16.973" v="108342"/>
          <ac:cxnSpMkLst>
            <pc:docMk/>
            <pc:sldMk cId="200733304" sldId="2134804369"/>
            <ac:cxnSpMk id="135" creationId="{6EEACDA4-6157-E225-2B68-E49B9560839A}"/>
          </ac:cxnSpMkLst>
        </pc:cxnChg>
        <pc:cxnChg chg="add del mod ord replST">
          <ac:chgData name="Wenwen Zhang" userId="9dd81366-5d6f-445a-b031-6ea562624431" providerId="ADAL" clId="{D6FBF965-026B-43DA-A554-C6861A0A35E4}" dt="2023-02-02T10:06:16.969" v="108327"/>
          <ac:cxnSpMkLst>
            <pc:docMk/>
            <pc:sldMk cId="200733304" sldId="2134804369"/>
            <ac:cxnSpMk id="136" creationId="{22008B42-5795-1D40-0733-27AE0F0E272A}"/>
          </ac:cxnSpMkLst>
        </pc:cxnChg>
        <pc:cxnChg chg="add del mod ord replST">
          <ac:chgData name="Wenwen Zhang" userId="9dd81366-5d6f-445a-b031-6ea562624431" providerId="ADAL" clId="{D6FBF965-026B-43DA-A554-C6861A0A35E4}" dt="2023-02-02T10:06:16.968" v="108324"/>
          <ac:cxnSpMkLst>
            <pc:docMk/>
            <pc:sldMk cId="200733304" sldId="2134804369"/>
            <ac:cxnSpMk id="137" creationId="{3637E7BF-7872-465D-3E5C-26E1CE39756B}"/>
          </ac:cxnSpMkLst>
        </pc:cxnChg>
        <pc:cxnChg chg="add mod ord replST">
          <ac:chgData name="Wenwen Zhang" userId="9dd81366-5d6f-445a-b031-6ea562624431" providerId="ADAL" clId="{D6FBF965-026B-43DA-A554-C6861A0A35E4}" dt="2023-02-02T10:07:24.659" v="111054"/>
          <ac:cxnSpMkLst>
            <pc:docMk/>
            <pc:sldMk cId="200733304" sldId="2134804369"/>
            <ac:cxnSpMk id="172" creationId="{B5F5BC6E-FD1F-6113-F7EF-21987490C173}"/>
          </ac:cxnSpMkLst>
        </pc:cxnChg>
        <pc:cxnChg chg="add mod ord replST">
          <ac:chgData name="Wenwen Zhang" userId="9dd81366-5d6f-445a-b031-6ea562624431" providerId="ADAL" clId="{D6FBF965-026B-43DA-A554-C6861A0A35E4}" dt="2023-02-02T10:07:24.658" v="111048"/>
          <ac:cxnSpMkLst>
            <pc:docMk/>
            <pc:sldMk cId="200733304" sldId="2134804369"/>
            <ac:cxnSpMk id="173" creationId="{6EFB9C0C-869F-F0AA-4679-52CE8DC641B3}"/>
          </ac:cxnSpMkLst>
        </pc:cxnChg>
        <pc:cxnChg chg="add mod ord replST">
          <ac:chgData name="Wenwen Zhang" userId="9dd81366-5d6f-445a-b031-6ea562624431" providerId="ADAL" clId="{D6FBF965-026B-43DA-A554-C6861A0A35E4}" dt="2023-02-02T10:07:24.659" v="111060"/>
          <ac:cxnSpMkLst>
            <pc:docMk/>
            <pc:sldMk cId="200733304" sldId="2134804369"/>
            <ac:cxnSpMk id="174" creationId="{EC9C4FBC-F489-FD5A-4129-B3A2E02409C1}"/>
          </ac:cxnSpMkLst>
        </pc:cxnChg>
        <pc:cxnChg chg="add mod ord replST">
          <ac:chgData name="Wenwen Zhang" userId="9dd81366-5d6f-445a-b031-6ea562624431" providerId="ADAL" clId="{D6FBF965-026B-43DA-A554-C6861A0A35E4}" dt="2023-02-02T10:07:24.660" v="111064"/>
          <ac:cxnSpMkLst>
            <pc:docMk/>
            <pc:sldMk cId="200733304" sldId="2134804369"/>
            <ac:cxnSpMk id="175" creationId="{3D601B5C-8908-8F11-1FCE-3E34B0171AD5}"/>
          </ac:cxnSpMkLst>
        </pc:cxnChg>
        <pc:cxnChg chg="add mod ord replST">
          <ac:chgData name="Wenwen Zhang" userId="9dd81366-5d6f-445a-b031-6ea562624431" providerId="ADAL" clId="{D6FBF965-026B-43DA-A554-C6861A0A35E4}" dt="2023-02-02T10:07:24.658" v="111046"/>
          <ac:cxnSpMkLst>
            <pc:docMk/>
            <pc:sldMk cId="200733304" sldId="2134804369"/>
            <ac:cxnSpMk id="176" creationId="{F10EAC1F-7C6E-E3E7-88D1-04F55C4CD46F}"/>
          </ac:cxnSpMkLst>
        </pc:cxnChg>
        <pc:cxnChg chg="add mod ord replST">
          <ac:chgData name="Wenwen Zhang" userId="9dd81366-5d6f-445a-b031-6ea562624431" providerId="ADAL" clId="{D6FBF965-026B-43DA-A554-C6861A0A35E4}" dt="2023-02-02T10:07:24.658" v="111052"/>
          <ac:cxnSpMkLst>
            <pc:docMk/>
            <pc:sldMk cId="200733304" sldId="2134804369"/>
            <ac:cxnSpMk id="177" creationId="{A0509D4F-3A62-D57D-BB3C-A42840FFC36A}"/>
          </ac:cxnSpMkLst>
        </pc:cxnChg>
      </pc:sldChg>
      <pc:sldChg chg="addSp delSp modSp mod ord modNotesTx">
        <pc:chgData name="Wenwen Zhang" userId="9dd81366-5d6f-445a-b031-6ea562624431" providerId="ADAL" clId="{D6FBF965-026B-43DA-A554-C6861A0A35E4}" dt="2023-02-02T12:16:26.213" v="133136" actId="20577"/>
        <pc:sldMkLst>
          <pc:docMk/>
          <pc:sldMk cId="1589772229" sldId="2134804370"/>
        </pc:sldMkLst>
        <pc:spChg chg="mod ord">
          <ac:chgData name="Wenwen Zhang" userId="9dd81366-5d6f-445a-b031-6ea562624431" providerId="ADAL" clId="{D6FBF965-026B-43DA-A554-C6861A0A35E4}" dt="2023-02-02T12:15:26.813" v="133050" actId="20577"/>
          <ac:spMkLst>
            <pc:docMk/>
            <pc:sldMk cId="1589772229" sldId="2134804370"/>
            <ac:spMk id="2" creationId="{B065B79C-C4D6-5961-7919-6BB68C420868}"/>
          </ac:spMkLst>
        </pc:spChg>
        <pc:spChg chg="add del mod modVis">
          <ac:chgData name="Wenwen Zhang" userId="9dd81366-5d6f-445a-b031-6ea562624431" providerId="ADAL" clId="{D6FBF965-026B-43DA-A554-C6861A0A35E4}" dt="2023-02-02T10:05:46.177" v="108313"/>
          <ac:spMkLst>
            <pc:docMk/>
            <pc:sldMk cId="1589772229" sldId="2134804370"/>
            <ac:spMk id="3" creationId="{2D7835A8-897C-1419-1208-3796A977AD54}"/>
          </ac:spMkLst>
        </pc:spChg>
        <pc:spChg chg="add del mod replST">
          <ac:chgData name="Wenwen Zhang" userId="9dd81366-5d6f-445a-b031-6ea562624431" providerId="ADAL" clId="{D6FBF965-026B-43DA-A554-C6861A0A35E4}" dt="2023-02-01T19:11:47.199" v="33025"/>
          <ac:spMkLst>
            <pc:docMk/>
            <pc:sldMk cId="1589772229" sldId="2134804370"/>
            <ac:spMk id="3" creationId="{EEAC7D2E-4757-5671-BE85-A0AD1829497D}"/>
          </ac:spMkLst>
        </pc:spChg>
        <pc:spChg chg="add del mod replST">
          <ac:chgData name="Wenwen Zhang" userId="9dd81366-5d6f-445a-b031-6ea562624431" providerId="ADAL" clId="{D6FBF965-026B-43DA-A554-C6861A0A35E4}" dt="2023-02-01T18:57:31.981" v="23862"/>
          <ac:spMkLst>
            <pc:docMk/>
            <pc:sldMk cId="1589772229" sldId="2134804370"/>
            <ac:spMk id="4" creationId="{D4F68AD1-9616-0125-E65E-848E2201FB96}"/>
          </ac:spMkLst>
        </pc:spChg>
        <pc:spChg chg="add del mod replST">
          <ac:chgData name="Wenwen Zhang" userId="9dd81366-5d6f-445a-b031-6ea562624431" providerId="ADAL" clId="{D6FBF965-026B-43DA-A554-C6861A0A35E4}" dt="2023-02-02T11:48:49.329" v="119239"/>
          <ac:spMkLst>
            <pc:docMk/>
            <pc:sldMk cId="1589772229" sldId="2134804370"/>
            <ac:spMk id="5" creationId="{2D4D92AD-4110-3C01-9B52-E5C6E5716086}"/>
          </ac:spMkLst>
        </pc:spChg>
        <pc:spChg chg="add del mod replST">
          <ac:chgData name="Wenwen Zhang" userId="9dd81366-5d6f-445a-b031-6ea562624431" providerId="ADAL" clId="{D6FBF965-026B-43DA-A554-C6861A0A35E4}" dt="2023-02-01T18:57:31.986" v="23863"/>
          <ac:spMkLst>
            <pc:docMk/>
            <pc:sldMk cId="1589772229" sldId="2134804370"/>
            <ac:spMk id="5" creationId="{E92E3E2B-BC99-7B38-6F3B-C5FDB185B1C7}"/>
          </ac:spMkLst>
        </pc:spChg>
        <pc:spChg chg="add del mod replST">
          <ac:chgData name="Wenwen Zhang" userId="9dd81366-5d6f-445a-b031-6ea562624431" providerId="ADAL" clId="{D6FBF965-026B-43DA-A554-C6861A0A35E4}" dt="2023-02-01T18:57:31.986" v="23864"/>
          <ac:spMkLst>
            <pc:docMk/>
            <pc:sldMk cId="1589772229" sldId="2134804370"/>
            <ac:spMk id="6" creationId="{93761E8C-6592-EF5B-7C5A-FE783E7A2E08}"/>
          </ac:spMkLst>
        </pc:spChg>
        <pc:spChg chg="add del mod replST">
          <ac:chgData name="Wenwen Zhang" userId="9dd81366-5d6f-445a-b031-6ea562624431" providerId="ADAL" clId="{D6FBF965-026B-43DA-A554-C6861A0A35E4}" dt="2023-02-02T11:48:50.574" v="119364"/>
          <ac:spMkLst>
            <pc:docMk/>
            <pc:sldMk cId="1589772229" sldId="2134804370"/>
            <ac:spMk id="6" creationId="{D8EBC563-8013-F0D9-5E06-B51607727009}"/>
          </ac:spMkLst>
        </pc:spChg>
        <pc:spChg chg="add del mod replST">
          <ac:chgData name="Wenwen Zhang" userId="9dd81366-5d6f-445a-b031-6ea562624431" providerId="ADAL" clId="{D6FBF965-026B-43DA-A554-C6861A0A35E4}" dt="2023-02-02T12:02:04.322" v="133017"/>
          <ac:spMkLst>
            <pc:docMk/>
            <pc:sldMk cId="1589772229" sldId="2134804370"/>
            <ac:spMk id="7" creationId="{B897BED0-7E3A-3A8D-B920-1B363C04EA37}"/>
          </ac:spMkLst>
        </pc:spChg>
        <pc:spChg chg="add del mod replST">
          <ac:chgData name="Wenwen Zhang" userId="9dd81366-5d6f-445a-b031-6ea562624431" providerId="ADAL" clId="{D6FBF965-026B-43DA-A554-C6861A0A35E4}" dt="2023-02-01T18:57:31.986" v="23865"/>
          <ac:spMkLst>
            <pc:docMk/>
            <pc:sldMk cId="1589772229" sldId="2134804370"/>
            <ac:spMk id="7" creationId="{CBCD20BD-AA86-B2AD-95E6-F153D93FF748}"/>
          </ac:spMkLst>
        </pc:spChg>
        <pc:spChg chg="add del mod replST">
          <ac:chgData name="Wenwen Zhang" userId="9dd81366-5d6f-445a-b031-6ea562624431" providerId="ADAL" clId="{D6FBF965-026B-43DA-A554-C6861A0A35E4}" dt="2023-02-02T11:48:52.087" v="119487"/>
          <ac:spMkLst>
            <pc:docMk/>
            <pc:sldMk cId="1589772229" sldId="2134804370"/>
            <ac:spMk id="8" creationId="{44562913-CEDF-8671-B6D8-2CC5BFD28D22}"/>
          </ac:spMkLst>
        </pc:spChg>
        <pc:spChg chg="add del mod replST">
          <ac:chgData name="Wenwen Zhang" userId="9dd81366-5d6f-445a-b031-6ea562624431" providerId="ADAL" clId="{D6FBF965-026B-43DA-A554-C6861A0A35E4}" dt="2023-02-01T18:57:31.989" v="23866"/>
          <ac:spMkLst>
            <pc:docMk/>
            <pc:sldMk cId="1589772229" sldId="2134804370"/>
            <ac:spMk id="8" creationId="{BD3FC989-1635-508D-72E1-2F5CA8E72F73}"/>
          </ac:spMkLst>
        </pc:spChg>
        <pc:spChg chg="add del mod replST">
          <ac:chgData name="Wenwen Zhang" userId="9dd81366-5d6f-445a-b031-6ea562624431" providerId="ADAL" clId="{D6FBF965-026B-43DA-A554-C6861A0A35E4}" dt="2023-02-02T11:48:52.733" v="119608"/>
          <ac:spMkLst>
            <pc:docMk/>
            <pc:sldMk cId="1589772229" sldId="2134804370"/>
            <ac:spMk id="9" creationId="{1EB8AE2D-6AF0-1E59-088B-698DA86E5D44}"/>
          </ac:spMkLst>
        </pc:spChg>
        <pc:spChg chg="add del mod replST">
          <ac:chgData name="Wenwen Zhang" userId="9dd81366-5d6f-445a-b031-6ea562624431" providerId="ADAL" clId="{D6FBF965-026B-43DA-A554-C6861A0A35E4}" dt="2023-02-01T18:57:31.989" v="23867"/>
          <ac:spMkLst>
            <pc:docMk/>
            <pc:sldMk cId="1589772229" sldId="2134804370"/>
            <ac:spMk id="9" creationId="{F1B538E8-8BA7-6EF0-14A4-767DF747262F}"/>
          </ac:spMkLst>
        </pc:spChg>
        <pc:spChg chg="add del mod replST">
          <ac:chgData name="Wenwen Zhang" userId="9dd81366-5d6f-445a-b031-6ea562624431" providerId="ADAL" clId="{D6FBF965-026B-43DA-A554-C6861A0A35E4}" dt="2023-02-01T18:57:31.991" v="23868"/>
          <ac:spMkLst>
            <pc:docMk/>
            <pc:sldMk cId="1589772229" sldId="2134804370"/>
            <ac:spMk id="10" creationId="{775D92F5-C28E-2145-E187-7347FD1B0753}"/>
          </ac:spMkLst>
        </pc:spChg>
        <pc:spChg chg="add del mod replST">
          <ac:chgData name="Wenwen Zhang" userId="9dd81366-5d6f-445a-b031-6ea562624431" providerId="ADAL" clId="{D6FBF965-026B-43DA-A554-C6861A0A35E4}" dt="2023-02-02T12:02:04.322" v="133028"/>
          <ac:spMkLst>
            <pc:docMk/>
            <pc:sldMk cId="1589772229" sldId="2134804370"/>
            <ac:spMk id="10" creationId="{969A0A10-B87F-4770-ADD3-17876169F521}"/>
          </ac:spMkLst>
        </pc:spChg>
        <pc:spChg chg="add del mod replST">
          <ac:chgData name="Wenwen Zhang" userId="9dd81366-5d6f-445a-b031-6ea562624431" providerId="ADAL" clId="{D6FBF965-026B-43DA-A554-C6861A0A35E4}" dt="2023-02-01T18:57:31.991" v="23869"/>
          <ac:spMkLst>
            <pc:docMk/>
            <pc:sldMk cId="1589772229" sldId="2134804370"/>
            <ac:spMk id="11" creationId="{F9B3933D-FD49-2620-3043-84A17FFCE1AC}"/>
          </ac:spMkLst>
        </pc:spChg>
        <pc:spChg chg="add del mod replST">
          <ac:chgData name="Wenwen Zhang" userId="9dd81366-5d6f-445a-b031-6ea562624431" providerId="ADAL" clId="{D6FBF965-026B-43DA-A554-C6861A0A35E4}" dt="2023-02-02T11:48:53.828" v="119727"/>
          <ac:spMkLst>
            <pc:docMk/>
            <pc:sldMk cId="1589772229" sldId="2134804370"/>
            <ac:spMk id="11" creationId="{FFA3128B-44ED-BEDE-3500-734FBB69274F}"/>
          </ac:spMkLst>
        </pc:spChg>
        <pc:spChg chg="add del mod modVis">
          <ac:chgData name="Wenwen Zhang" userId="9dd81366-5d6f-445a-b031-6ea562624431" providerId="ADAL" clId="{D6FBF965-026B-43DA-A554-C6861A0A35E4}" dt="2023-02-01T18:57:09.660" v="23734"/>
          <ac:spMkLst>
            <pc:docMk/>
            <pc:sldMk cId="1589772229" sldId="2134804370"/>
            <ac:spMk id="12" creationId="{304AB25A-4A8E-D605-4B25-73B234778206}"/>
          </ac:spMkLst>
        </pc:spChg>
        <pc:spChg chg="add del mod replST">
          <ac:chgData name="Wenwen Zhang" userId="9dd81366-5d6f-445a-b031-6ea562624431" providerId="ADAL" clId="{D6FBF965-026B-43DA-A554-C6861A0A35E4}" dt="2023-02-02T11:48:54.760" v="119844"/>
          <ac:spMkLst>
            <pc:docMk/>
            <pc:sldMk cId="1589772229" sldId="2134804370"/>
            <ac:spMk id="12" creationId="{7B478228-1589-B9FC-D0EF-B056F7A43D87}"/>
          </ac:spMkLst>
        </pc:spChg>
        <pc:spChg chg="add del mod replST">
          <ac:chgData name="Wenwen Zhang" userId="9dd81366-5d6f-445a-b031-6ea562624431" providerId="ADAL" clId="{D6FBF965-026B-43DA-A554-C6861A0A35E4}" dt="2023-02-02T12:02:04.322" v="133015"/>
          <ac:spMkLst>
            <pc:docMk/>
            <pc:sldMk cId="1589772229" sldId="2134804370"/>
            <ac:spMk id="13" creationId="{1244D58E-6521-D3B9-6475-FBD1CC6FDCB0}"/>
          </ac:spMkLst>
        </pc:spChg>
        <pc:spChg chg="add del mod modVis">
          <ac:chgData name="Wenwen Zhang" userId="9dd81366-5d6f-445a-b031-6ea562624431" providerId="ADAL" clId="{D6FBF965-026B-43DA-A554-C6861A0A35E4}" dt="2023-02-01T18:57:27.482" v="23859"/>
          <ac:spMkLst>
            <pc:docMk/>
            <pc:sldMk cId="1589772229" sldId="2134804370"/>
            <ac:spMk id="14" creationId="{22A823B3-8F2E-F340-26B7-F1B2487AA9FC}"/>
          </ac:spMkLst>
        </pc:spChg>
        <pc:spChg chg="add del mod replST">
          <ac:chgData name="Wenwen Zhang" userId="9dd81366-5d6f-445a-b031-6ea562624431" providerId="ADAL" clId="{D6FBF965-026B-43DA-A554-C6861A0A35E4}" dt="2023-02-02T11:48:55.680" v="119959"/>
          <ac:spMkLst>
            <pc:docMk/>
            <pc:sldMk cId="1589772229" sldId="2134804370"/>
            <ac:spMk id="14" creationId="{F3BF8717-2E40-9C85-AE1E-793DE116DA48}"/>
          </ac:spMkLst>
        </pc:spChg>
        <pc:spChg chg="add del mod replST">
          <ac:chgData name="Wenwen Zhang" userId="9dd81366-5d6f-445a-b031-6ea562624431" providerId="ADAL" clId="{D6FBF965-026B-43DA-A554-C6861A0A35E4}" dt="2023-02-02T11:48:56.421" v="120072"/>
          <ac:spMkLst>
            <pc:docMk/>
            <pc:sldMk cId="1589772229" sldId="2134804370"/>
            <ac:spMk id="15" creationId="{C514A4FA-E0D7-16FB-0707-F0DA2EFECCEF}"/>
          </ac:spMkLst>
        </pc:spChg>
        <pc:spChg chg="add del mod replST">
          <ac:chgData name="Wenwen Zhang" userId="9dd81366-5d6f-445a-b031-6ea562624431" providerId="ADAL" clId="{D6FBF965-026B-43DA-A554-C6861A0A35E4}" dt="2023-02-02T12:02:04.322" v="133029"/>
          <ac:spMkLst>
            <pc:docMk/>
            <pc:sldMk cId="1589772229" sldId="2134804370"/>
            <ac:spMk id="16" creationId="{74200A09-03E2-B118-1BDA-A94A315A2AE6}"/>
          </ac:spMkLst>
        </pc:spChg>
        <pc:spChg chg="add del mod modVis">
          <ac:chgData name="Wenwen Zhang" userId="9dd81366-5d6f-445a-b031-6ea562624431" providerId="ADAL" clId="{D6FBF965-026B-43DA-A554-C6861A0A35E4}" dt="2023-02-01T18:57:32.268" v="23992"/>
          <ac:spMkLst>
            <pc:docMk/>
            <pc:sldMk cId="1589772229" sldId="2134804370"/>
            <ac:spMk id="16" creationId="{7595068D-70EB-9DD8-550D-80F17D79B15D}"/>
          </ac:spMkLst>
        </pc:spChg>
        <pc:spChg chg="add del mod modVis">
          <ac:chgData name="Wenwen Zhang" userId="9dd81366-5d6f-445a-b031-6ea562624431" providerId="ADAL" clId="{D6FBF965-026B-43DA-A554-C6861A0A35E4}" dt="2023-02-02T11:48:02.775" v="118285"/>
          <ac:spMkLst>
            <pc:docMk/>
            <pc:sldMk cId="1589772229" sldId="2134804370"/>
            <ac:spMk id="17" creationId="{86776454-44F5-9889-676F-E22A42CB2948}"/>
          </ac:spMkLst>
        </pc:spChg>
        <pc:spChg chg="add del mod modVis">
          <ac:chgData name="Wenwen Zhang" userId="9dd81366-5d6f-445a-b031-6ea562624431" providerId="ADAL" clId="{D6FBF965-026B-43DA-A554-C6861A0A35E4}" dt="2023-02-01T18:57:37.701" v="24160"/>
          <ac:spMkLst>
            <pc:docMk/>
            <pc:sldMk cId="1589772229" sldId="2134804370"/>
            <ac:spMk id="18" creationId="{3434F4FD-BA44-3A7A-E962-489048A36C27}"/>
          </ac:spMkLst>
        </pc:spChg>
        <pc:spChg chg="add del mod modVis">
          <ac:chgData name="Wenwen Zhang" userId="9dd81366-5d6f-445a-b031-6ea562624431" providerId="ADAL" clId="{D6FBF965-026B-43DA-A554-C6861A0A35E4}" dt="2023-02-02T11:48:09.799" v="118439"/>
          <ac:spMkLst>
            <pc:docMk/>
            <pc:sldMk cId="1589772229" sldId="2134804370"/>
            <ac:spMk id="19" creationId="{3EAAE5A2-FA1F-C02B-4607-3D078D07690D}"/>
          </ac:spMkLst>
        </pc:spChg>
        <pc:spChg chg="add del mod modVis">
          <ac:chgData name="Wenwen Zhang" userId="9dd81366-5d6f-445a-b031-6ea562624431" providerId="ADAL" clId="{D6FBF965-026B-43DA-A554-C6861A0A35E4}" dt="2023-02-01T18:57:47.655" v="24323"/>
          <ac:spMkLst>
            <pc:docMk/>
            <pc:sldMk cId="1589772229" sldId="2134804370"/>
            <ac:spMk id="20" creationId="{B0639E29-5E07-29BC-00C1-382D41C290B2}"/>
          </ac:spMkLst>
        </pc:spChg>
        <pc:spChg chg="add del mod modVis">
          <ac:chgData name="Wenwen Zhang" userId="9dd81366-5d6f-445a-b031-6ea562624431" providerId="ADAL" clId="{D6FBF965-026B-43DA-A554-C6861A0A35E4}" dt="2023-02-02T11:48:14.026" v="118587"/>
          <ac:spMkLst>
            <pc:docMk/>
            <pc:sldMk cId="1589772229" sldId="2134804370"/>
            <ac:spMk id="21" creationId="{6A1CE323-D714-0504-CD9E-BBFB7A0B2B67}"/>
          </ac:spMkLst>
        </pc:spChg>
        <pc:spChg chg="add del mod modVis">
          <ac:chgData name="Wenwen Zhang" userId="9dd81366-5d6f-445a-b031-6ea562624431" providerId="ADAL" clId="{D6FBF965-026B-43DA-A554-C6861A0A35E4}" dt="2023-02-01T18:58:03.669" v="24593"/>
          <ac:spMkLst>
            <pc:docMk/>
            <pc:sldMk cId="1589772229" sldId="2134804370"/>
            <ac:spMk id="22" creationId="{732A35E5-32CB-65F1-01D2-253948FDAC09}"/>
          </ac:spMkLst>
        </pc:spChg>
        <pc:spChg chg="add del mod modVis">
          <ac:chgData name="Wenwen Zhang" userId="9dd81366-5d6f-445a-b031-6ea562624431" providerId="ADAL" clId="{D6FBF965-026B-43DA-A554-C6861A0A35E4}" dt="2023-02-02T11:48:20.642" v="118759"/>
          <ac:spMkLst>
            <pc:docMk/>
            <pc:sldMk cId="1589772229" sldId="2134804370"/>
            <ac:spMk id="23" creationId="{D0BCEA0E-B1E0-13A0-F5DB-EEBDFE5C0DAA}"/>
          </ac:spMkLst>
        </pc:spChg>
        <pc:spChg chg="add del mod modVis">
          <ac:chgData name="Wenwen Zhang" userId="9dd81366-5d6f-445a-b031-6ea562624431" providerId="ADAL" clId="{D6FBF965-026B-43DA-A554-C6861A0A35E4}" dt="2023-02-01T18:58:15.097" v="24710"/>
          <ac:spMkLst>
            <pc:docMk/>
            <pc:sldMk cId="1589772229" sldId="2134804370"/>
            <ac:spMk id="24" creationId="{F79D7DAF-C7DD-1C96-BDD7-D55264B25A94}"/>
          </ac:spMkLst>
        </pc:spChg>
        <pc:spChg chg="add del mod modVis">
          <ac:chgData name="Wenwen Zhang" userId="9dd81366-5d6f-445a-b031-6ea562624431" providerId="ADAL" clId="{D6FBF965-026B-43DA-A554-C6861A0A35E4}" dt="2023-02-02T11:48:23.534" v="118931"/>
          <ac:spMkLst>
            <pc:docMk/>
            <pc:sldMk cId="1589772229" sldId="2134804370"/>
            <ac:spMk id="25" creationId="{A1458899-E788-B303-145E-0BC04405D7BF}"/>
          </ac:spMkLst>
        </pc:spChg>
        <pc:spChg chg="add del mod modVis">
          <ac:chgData name="Wenwen Zhang" userId="9dd81366-5d6f-445a-b031-6ea562624431" providerId="ADAL" clId="{D6FBF965-026B-43DA-A554-C6861A0A35E4}" dt="2023-02-01T18:58:29.703" v="24808"/>
          <ac:spMkLst>
            <pc:docMk/>
            <pc:sldMk cId="1589772229" sldId="2134804370"/>
            <ac:spMk id="26" creationId="{60E4B391-41D8-4C35-EE84-8A338CDE3DB7}"/>
          </ac:spMkLst>
        </pc:spChg>
        <pc:spChg chg="add del mod modVis">
          <ac:chgData name="Wenwen Zhang" userId="9dd81366-5d6f-445a-b031-6ea562624431" providerId="ADAL" clId="{D6FBF965-026B-43DA-A554-C6861A0A35E4}" dt="2023-02-02T11:48:34.202" v="119110"/>
          <ac:spMkLst>
            <pc:docMk/>
            <pc:sldMk cId="1589772229" sldId="2134804370"/>
            <ac:spMk id="27" creationId="{1DB9DC64-8CF4-77E3-9805-A02E99E5AE3C}"/>
          </ac:spMkLst>
        </pc:spChg>
        <pc:spChg chg="mod ord">
          <ac:chgData name="Wenwen Zhang" userId="9dd81366-5d6f-445a-b031-6ea562624431" providerId="ADAL" clId="{D6FBF965-026B-43DA-A554-C6861A0A35E4}" dt="2023-02-02T12:16:26.213" v="133136" actId="20577"/>
          <ac:spMkLst>
            <pc:docMk/>
            <pc:sldMk cId="1589772229" sldId="2134804370"/>
            <ac:spMk id="29" creationId="{D50B6CAA-A666-5524-85F7-444C607F0970}"/>
          </ac:spMkLst>
        </pc:spChg>
        <pc:spChg chg="add del mod modVis">
          <ac:chgData name="Wenwen Zhang" userId="9dd81366-5d6f-445a-b031-6ea562624431" providerId="ADAL" clId="{D6FBF965-026B-43DA-A554-C6861A0A35E4}" dt="2023-02-01T18:59:38.018" v="25513"/>
          <ac:spMkLst>
            <pc:docMk/>
            <pc:sldMk cId="1589772229" sldId="2134804370"/>
            <ac:spMk id="30" creationId="{743FE70E-E205-FE13-68D0-66DCDC08A644}"/>
          </ac:spMkLst>
        </pc:spChg>
        <pc:spChg chg="add del mod replST">
          <ac:chgData name="Wenwen Zhang" userId="9dd81366-5d6f-445a-b031-6ea562624431" providerId="ADAL" clId="{D6FBF965-026B-43DA-A554-C6861A0A35E4}" dt="2023-02-01T18:59:49.989" v="25589"/>
          <ac:spMkLst>
            <pc:docMk/>
            <pc:sldMk cId="1589772229" sldId="2134804370"/>
            <ac:spMk id="31" creationId="{96DB64E7-7450-5BAA-7DCA-6F75AE12EF02}"/>
          </ac:spMkLst>
        </pc:spChg>
        <pc:spChg chg="add del mod modVis">
          <ac:chgData name="Wenwen Zhang" userId="9dd81366-5d6f-445a-b031-6ea562624431" providerId="ADAL" clId="{D6FBF965-026B-43DA-A554-C6861A0A35E4}" dt="2023-02-02T11:48:38.714" v="119236"/>
          <ac:spMkLst>
            <pc:docMk/>
            <pc:sldMk cId="1589772229" sldId="2134804370"/>
            <ac:spMk id="31" creationId="{F0966BD7-7779-CB58-C025-3E49EDF7775C}"/>
          </ac:spMkLst>
        </pc:spChg>
        <pc:spChg chg="add del mod replST">
          <ac:chgData name="Wenwen Zhang" userId="9dd81366-5d6f-445a-b031-6ea562624431" providerId="ADAL" clId="{D6FBF965-026B-43DA-A554-C6861A0A35E4}" dt="2023-02-01T18:59:49.989" v="25590"/>
          <ac:spMkLst>
            <pc:docMk/>
            <pc:sldMk cId="1589772229" sldId="2134804370"/>
            <ac:spMk id="32" creationId="{96DB64E7-7450-5BAA-7DCA-6F75AE12EF02}"/>
          </ac:spMkLst>
        </pc:spChg>
        <pc:spChg chg="add del mod modVis">
          <ac:chgData name="Wenwen Zhang" userId="9dd81366-5d6f-445a-b031-6ea562624431" providerId="ADAL" clId="{D6FBF965-026B-43DA-A554-C6861A0A35E4}" dt="2023-02-02T11:48:49.390" v="119361"/>
          <ac:spMkLst>
            <pc:docMk/>
            <pc:sldMk cId="1589772229" sldId="2134804370"/>
            <ac:spMk id="33" creationId="{17CE166F-8F9A-7797-A548-1CCF3E8C560E}"/>
          </ac:spMkLst>
        </pc:spChg>
        <pc:spChg chg="add del mod replST">
          <ac:chgData name="Wenwen Zhang" userId="9dd81366-5d6f-445a-b031-6ea562624431" providerId="ADAL" clId="{D6FBF965-026B-43DA-A554-C6861A0A35E4}" dt="2023-02-01T18:59:49.989" v="25591"/>
          <ac:spMkLst>
            <pc:docMk/>
            <pc:sldMk cId="1589772229" sldId="2134804370"/>
            <ac:spMk id="33" creationId="{96DB64E7-7450-5BAA-7DCA-6F75AE12EF02}"/>
          </ac:spMkLst>
        </pc:spChg>
        <pc:spChg chg="add del mod replST">
          <ac:chgData name="Wenwen Zhang" userId="9dd81366-5d6f-445a-b031-6ea562624431" providerId="ADAL" clId="{D6FBF965-026B-43DA-A554-C6861A0A35E4}" dt="2023-02-01T18:59:49.989" v="25592"/>
          <ac:spMkLst>
            <pc:docMk/>
            <pc:sldMk cId="1589772229" sldId="2134804370"/>
            <ac:spMk id="34" creationId="{96DB64E7-7450-5BAA-7DCA-6F75AE12EF02}"/>
          </ac:spMkLst>
        </pc:spChg>
        <pc:spChg chg="add del mod modVis">
          <ac:chgData name="Wenwen Zhang" userId="9dd81366-5d6f-445a-b031-6ea562624431" providerId="ADAL" clId="{D6FBF965-026B-43DA-A554-C6861A0A35E4}" dt="2023-02-02T11:48:50.641" v="119484"/>
          <ac:spMkLst>
            <pc:docMk/>
            <pc:sldMk cId="1589772229" sldId="2134804370"/>
            <ac:spMk id="35" creationId="{8EC20C65-2C55-CE31-E86E-AE6363FD1E54}"/>
          </ac:spMkLst>
        </pc:spChg>
        <pc:spChg chg="add del mod replST">
          <ac:chgData name="Wenwen Zhang" userId="9dd81366-5d6f-445a-b031-6ea562624431" providerId="ADAL" clId="{D6FBF965-026B-43DA-A554-C6861A0A35E4}" dt="2023-02-01T18:59:49.989" v="25593"/>
          <ac:spMkLst>
            <pc:docMk/>
            <pc:sldMk cId="1589772229" sldId="2134804370"/>
            <ac:spMk id="35" creationId="{96DB64E7-7450-5BAA-7DCA-6F75AE12EF02}"/>
          </ac:spMkLst>
        </pc:spChg>
        <pc:spChg chg="add del mod replST">
          <ac:chgData name="Wenwen Zhang" userId="9dd81366-5d6f-445a-b031-6ea562624431" providerId="ADAL" clId="{D6FBF965-026B-43DA-A554-C6861A0A35E4}" dt="2023-02-01T18:59:49.989" v="25594"/>
          <ac:spMkLst>
            <pc:docMk/>
            <pc:sldMk cId="1589772229" sldId="2134804370"/>
            <ac:spMk id="36" creationId="{96DB64E7-7450-5BAA-7DCA-6F75AE12EF02}"/>
          </ac:spMkLst>
        </pc:spChg>
        <pc:spChg chg="add del mod modVis">
          <ac:chgData name="Wenwen Zhang" userId="9dd81366-5d6f-445a-b031-6ea562624431" providerId="ADAL" clId="{D6FBF965-026B-43DA-A554-C6861A0A35E4}" dt="2023-02-02T11:48:52.151" v="119605"/>
          <ac:spMkLst>
            <pc:docMk/>
            <pc:sldMk cId="1589772229" sldId="2134804370"/>
            <ac:spMk id="37" creationId="{C1ABC4D6-7D9F-5FD7-68EF-898123559602}"/>
          </ac:spMkLst>
        </pc:spChg>
        <pc:spChg chg="add del mod modVis">
          <ac:chgData name="Wenwen Zhang" userId="9dd81366-5d6f-445a-b031-6ea562624431" providerId="ADAL" clId="{D6FBF965-026B-43DA-A554-C6861A0A35E4}" dt="2023-02-02T11:48:52.799" v="119724"/>
          <ac:spMkLst>
            <pc:docMk/>
            <pc:sldMk cId="1589772229" sldId="2134804370"/>
            <ac:spMk id="39" creationId="{66C500ED-86AC-4EF3-D5E3-92BEB5E0FC11}"/>
          </ac:spMkLst>
        </pc:spChg>
        <pc:spChg chg="add del mod modVis">
          <ac:chgData name="Wenwen Zhang" userId="9dd81366-5d6f-445a-b031-6ea562624431" providerId="ADAL" clId="{D6FBF965-026B-43DA-A554-C6861A0A35E4}" dt="2023-02-02T11:48:53.888" v="119841"/>
          <ac:spMkLst>
            <pc:docMk/>
            <pc:sldMk cId="1589772229" sldId="2134804370"/>
            <ac:spMk id="41" creationId="{F2FD46D4-B6F5-A721-ECAD-D231D6CC9631}"/>
          </ac:spMkLst>
        </pc:spChg>
        <pc:spChg chg="mod ord">
          <ac:chgData name="Wenwen Zhang" userId="9dd81366-5d6f-445a-b031-6ea562624431" providerId="ADAL" clId="{D6FBF965-026B-43DA-A554-C6861A0A35E4}" dt="2023-02-02T12:02:04.321" v="133003"/>
          <ac:spMkLst>
            <pc:docMk/>
            <pc:sldMk cId="1589772229" sldId="2134804370"/>
            <ac:spMk id="43" creationId="{C58C7321-3BF7-61DC-5B1A-AD075E56AE05}"/>
          </ac:spMkLst>
        </pc:spChg>
        <pc:spChg chg="add del mod modVis">
          <ac:chgData name="Wenwen Zhang" userId="9dd81366-5d6f-445a-b031-6ea562624431" providerId="ADAL" clId="{D6FBF965-026B-43DA-A554-C6861A0A35E4}" dt="2023-02-02T11:48:54.826" v="119956"/>
          <ac:spMkLst>
            <pc:docMk/>
            <pc:sldMk cId="1589772229" sldId="2134804370"/>
            <ac:spMk id="44" creationId="{6DD5391B-92ED-BBEF-2495-1821CA0A4505}"/>
          </ac:spMkLst>
        </pc:spChg>
        <pc:spChg chg="add del mod modVis">
          <ac:chgData name="Wenwen Zhang" userId="9dd81366-5d6f-445a-b031-6ea562624431" providerId="ADAL" clId="{D6FBF965-026B-43DA-A554-C6861A0A35E4}" dt="2023-02-01T18:59:50.022" v="25638"/>
          <ac:spMkLst>
            <pc:docMk/>
            <pc:sldMk cId="1589772229" sldId="2134804370"/>
            <ac:spMk id="45" creationId="{72FF9AEA-FD6A-26FB-8D24-48512563C08C}"/>
          </ac:spMkLst>
        </pc:spChg>
        <pc:spChg chg="add del mod modVis">
          <ac:chgData name="Wenwen Zhang" userId="9dd81366-5d6f-445a-b031-6ea562624431" providerId="ADAL" clId="{D6FBF965-026B-43DA-A554-C6861A0A35E4}" dt="2023-02-02T11:48:55.746" v="120069"/>
          <ac:spMkLst>
            <pc:docMk/>
            <pc:sldMk cId="1589772229" sldId="2134804370"/>
            <ac:spMk id="46" creationId="{E273A897-7368-E4C5-871F-EDDAAE0B611D}"/>
          </ac:spMkLst>
        </pc:spChg>
        <pc:spChg chg="add del mod modVis">
          <ac:chgData name="Wenwen Zhang" userId="9dd81366-5d6f-445a-b031-6ea562624431" providerId="ADAL" clId="{D6FBF965-026B-43DA-A554-C6861A0A35E4}" dt="2023-02-01T19:00:54.424" v="28001"/>
          <ac:spMkLst>
            <pc:docMk/>
            <pc:sldMk cId="1589772229" sldId="2134804370"/>
            <ac:spMk id="47" creationId="{34E9E26A-BF07-9FB8-6F9A-C70C8A185431}"/>
          </ac:spMkLst>
        </pc:spChg>
        <pc:spChg chg="add del mod modVis">
          <ac:chgData name="Wenwen Zhang" userId="9dd81366-5d6f-445a-b031-6ea562624431" providerId="ADAL" clId="{D6FBF965-026B-43DA-A554-C6861A0A35E4}" dt="2023-02-02T11:48:56.486" v="120180"/>
          <ac:spMkLst>
            <pc:docMk/>
            <pc:sldMk cId="1589772229" sldId="2134804370"/>
            <ac:spMk id="48" creationId="{907682A1-C4DC-DDAC-E61C-80CDCAB4AE7D}"/>
          </ac:spMkLst>
        </pc:spChg>
        <pc:spChg chg="add del mod modVis">
          <ac:chgData name="Wenwen Zhang" userId="9dd81366-5d6f-445a-b031-6ea562624431" providerId="ADAL" clId="{D6FBF965-026B-43DA-A554-C6861A0A35E4}" dt="2023-02-01T19:00:53.778" v="27930"/>
          <ac:spMkLst>
            <pc:docMk/>
            <pc:sldMk cId="1589772229" sldId="2134804370"/>
            <ac:spMk id="49" creationId="{FB111D8A-5F48-9CA5-0C58-533104258D95}"/>
          </ac:spMkLst>
        </pc:spChg>
        <pc:spChg chg="add mod replST">
          <ac:chgData name="Wenwen Zhang" userId="9dd81366-5d6f-445a-b031-6ea562624431" providerId="ADAL" clId="{D6FBF965-026B-43DA-A554-C6861A0A35E4}" dt="2023-02-02T12:02:04.322" v="133040"/>
          <ac:spMkLst>
            <pc:docMk/>
            <pc:sldMk cId="1589772229" sldId="2134804370"/>
            <ac:spMk id="50" creationId="{E65A8F27-559C-5100-A50C-241B4752E3D8}"/>
          </ac:spMkLst>
        </pc:spChg>
        <pc:spChg chg="add del mod modVis">
          <ac:chgData name="Wenwen Zhang" userId="9dd81366-5d6f-445a-b031-6ea562624431" providerId="ADAL" clId="{D6FBF965-026B-43DA-A554-C6861A0A35E4}" dt="2023-02-01T19:00:53.241" v="27861"/>
          <ac:spMkLst>
            <pc:docMk/>
            <pc:sldMk cId="1589772229" sldId="2134804370"/>
            <ac:spMk id="51" creationId="{61CE3C63-9D56-5D03-86B0-CBE81BF43442}"/>
          </ac:spMkLst>
        </pc:spChg>
        <pc:spChg chg="add del mod modVis">
          <ac:chgData name="Wenwen Zhang" userId="9dd81366-5d6f-445a-b031-6ea562624431" providerId="ADAL" clId="{D6FBF965-026B-43DA-A554-C6861A0A35E4}" dt="2023-02-02T11:50:39.488" v="120680"/>
          <ac:spMkLst>
            <pc:docMk/>
            <pc:sldMk cId="1589772229" sldId="2134804370"/>
            <ac:spMk id="51" creationId="{A746FAEF-9927-6D39-D2C7-57BB6CD36D99}"/>
          </ac:spMkLst>
        </pc:spChg>
        <pc:spChg chg="add del mod replST delST">
          <ac:chgData name="Wenwen Zhang" userId="9dd81366-5d6f-445a-b031-6ea562624431" providerId="ADAL" clId="{D6FBF965-026B-43DA-A554-C6861A0A35E4}" dt="2023-02-01T19:00:53.241" v="27861"/>
          <ac:spMkLst>
            <pc:docMk/>
            <pc:sldMk cId="1589772229" sldId="2134804370"/>
            <ac:spMk id="52" creationId="{96DB64E7-7450-5BAA-7DCA-6F75AE12EF02}"/>
          </ac:spMkLst>
        </pc:spChg>
        <pc:spChg chg="add del mod replST delST">
          <ac:chgData name="Wenwen Zhang" userId="9dd81366-5d6f-445a-b031-6ea562624431" providerId="ADAL" clId="{D6FBF965-026B-43DA-A554-C6861A0A35E4}" dt="2023-02-01T19:00:53.241" v="27861"/>
          <ac:spMkLst>
            <pc:docMk/>
            <pc:sldMk cId="1589772229" sldId="2134804370"/>
            <ac:spMk id="53" creationId="{96DB64E7-7450-5BAA-7DCA-6F75AE12EF02}"/>
          </ac:spMkLst>
        </pc:spChg>
        <pc:spChg chg="add del mod modVis">
          <ac:chgData name="Wenwen Zhang" userId="9dd81366-5d6f-445a-b031-6ea562624431" providerId="ADAL" clId="{D6FBF965-026B-43DA-A554-C6861A0A35E4}" dt="2023-02-02T11:50:44.738" v="120856"/>
          <ac:spMkLst>
            <pc:docMk/>
            <pc:sldMk cId="1589772229" sldId="2134804370"/>
            <ac:spMk id="54" creationId="{18D6B367-2A4E-546D-7A77-0A425CB2A232}"/>
          </ac:spMkLst>
        </pc:spChg>
        <pc:spChg chg="add del mod replST delST">
          <ac:chgData name="Wenwen Zhang" userId="9dd81366-5d6f-445a-b031-6ea562624431" providerId="ADAL" clId="{D6FBF965-026B-43DA-A554-C6861A0A35E4}" dt="2023-02-01T19:00:53.241" v="27861"/>
          <ac:spMkLst>
            <pc:docMk/>
            <pc:sldMk cId="1589772229" sldId="2134804370"/>
            <ac:spMk id="54" creationId="{96DB64E7-7450-5BAA-7DCA-6F75AE12EF02}"/>
          </ac:spMkLst>
        </pc:spChg>
        <pc:spChg chg="add del mod replST delST">
          <ac:chgData name="Wenwen Zhang" userId="9dd81366-5d6f-445a-b031-6ea562624431" providerId="ADAL" clId="{D6FBF965-026B-43DA-A554-C6861A0A35E4}" dt="2023-02-01T19:00:53.241" v="27861"/>
          <ac:spMkLst>
            <pc:docMk/>
            <pc:sldMk cId="1589772229" sldId="2134804370"/>
            <ac:spMk id="55" creationId="{96DB64E7-7450-5BAA-7DCA-6F75AE12EF02}"/>
          </ac:spMkLst>
        </pc:spChg>
        <pc:spChg chg="add del mod modVis">
          <ac:chgData name="Wenwen Zhang" userId="9dd81366-5d6f-445a-b031-6ea562624431" providerId="ADAL" clId="{D6FBF965-026B-43DA-A554-C6861A0A35E4}" dt="2023-02-02T11:51:12.915" v="121010"/>
          <ac:spMkLst>
            <pc:docMk/>
            <pc:sldMk cId="1589772229" sldId="2134804370"/>
            <ac:spMk id="56" creationId="{5DC99A38-3517-04C2-6C57-A22543D900C4}"/>
          </ac:spMkLst>
        </pc:spChg>
        <pc:spChg chg="add del mod replST delST">
          <ac:chgData name="Wenwen Zhang" userId="9dd81366-5d6f-445a-b031-6ea562624431" providerId="ADAL" clId="{D6FBF965-026B-43DA-A554-C6861A0A35E4}" dt="2023-02-01T19:00:53.241" v="27861"/>
          <ac:spMkLst>
            <pc:docMk/>
            <pc:sldMk cId="1589772229" sldId="2134804370"/>
            <ac:spMk id="56" creationId="{96DB64E7-7450-5BAA-7DCA-6F75AE12EF02}"/>
          </ac:spMkLst>
        </pc:spChg>
        <pc:spChg chg="add del mod replST delST">
          <ac:chgData name="Wenwen Zhang" userId="9dd81366-5d6f-445a-b031-6ea562624431" providerId="ADAL" clId="{D6FBF965-026B-43DA-A554-C6861A0A35E4}" dt="2023-02-01T19:00:53.241" v="27861"/>
          <ac:spMkLst>
            <pc:docMk/>
            <pc:sldMk cId="1589772229" sldId="2134804370"/>
            <ac:spMk id="57" creationId="{96DB64E7-7450-5BAA-7DCA-6F75AE12EF02}"/>
          </ac:spMkLst>
        </pc:spChg>
        <pc:spChg chg="add del mod modVis">
          <ac:chgData name="Wenwen Zhang" userId="9dd81366-5d6f-445a-b031-6ea562624431" providerId="ADAL" clId="{D6FBF965-026B-43DA-A554-C6861A0A35E4}" dt="2023-02-02T11:51:19.310" v="121160"/>
          <ac:spMkLst>
            <pc:docMk/>
            <pc:sldMk cId="1589772229" sldId="2134804370"/>
            <ac:spMk id="58" creationId="{761B4793-02B6-B33D-052E-081DD8973C3B}"/>
          </ac:spMkLst>
        </pc:spChg>
        <pc:spChg chg="add del mod modVis">
          <ac:chgData name="Wenwen Zhang" userId="9dd81366-5d6f-445a-b031-6ea562624431" providerId="ADAL" clId="{D6FBF965-026B-43DA-A554-C6861A0A35E4}" dt="2023-02-02T11:51:29.913" v="121311"/>
          <ac:spMkLst>
            <pc:docMk/>
            <pc:sldMk cId="1589772229" sldId="2134804370"/>
            <ac:spMk id="60" creationId="{662BAC5B-277A-DEF8-ED69-1A45BA6BB387}"/>
          </ac:spMkLst>
        </pc:spChg>
        <pc:spChg chg="add del mod modVis">
          <ac:chgData name="Wenwen Zhang" userId="9dd81366-5d6f-445a-b031-6ea562624431" providerId="ADAL" clId="{D6FBF965-026B-43DA-A554-C6861A0A35E4}" dt="2023-02-02T11:51:34.625" v="121462"/>
          <ac:spMkLst>
            <pc:docMk/>
            <pc:sldMk cId="1589772229" sldId="2134804370"/>
            <ac:spMk id="62" creationId="{AD387B61-0008-5B16-215E-CB949F2B52A3}"/>
          </ac:spMkLst>
        </pc:spChg>
        <pc:spChg chg="add del mod replST">
          <ac:chgData name="Wenwen Zhang" userId="9dd81366-5d6f-445a-b031-6ea562624431" providerId="ADAL" clId="{D6FBF965-026B-43DA-A554-C6861A0A35E4}" dt="2023-02-01T19:11:01.787" v="32869"/>
          <ac:spMkLst>
            <pc:docMk/>
            <pc:sldMk cId="1589772229" sldId="2134804370"/>
            <ac:spMk id="64" creationId="{96DB64E7-7450-5BAA-7DCA-6F75AE12EF02}"/>
          </ac:spMkLst>
        </pc:spChg>
        <pc:spChg chg="add del mod replST">
          <ac:chgData name="Wenwen Zhang" userId="9dd81366-5d6f-445a-b031-6ea562624431" providerId="ADAL" clId="{D6FBF965-026B-43DA-A554-C6861A0A35E4}" dt="2023-02-01T19:11:01.787" v="32870"/>
          <ac:spMkLst>
            <pc:docMk/>
            <pc:sldMk cId="1589772229" sldId="2134804370"/>
            <ac:spMk id="65" creationId="{96DB64E7-7450-5BAA-7DCA-6F75AE12EF02}"/>
          </ac:spMkLst>
        </pc:spChg>
        <pc:spChg chg="add del mod replST">
          <ac:chgData name="Wenwen Zhang" userId="9dd81366-5d6f-445a-b031-6ea562624431" providerId="ADAL" clId="{D6FBF965-026B-43DA-A554-C6861A0A35E4}" dt="2023-02-01T19:11:01.787" v="32871"/>
          <ac:spMkLst>
            <pc:docMk/>
            <pc:sldMk cId="1589772229" sldId="2134804370"/>
            <ac:spMk id="66" creationId="{96DB64E7-7450-5BAA-7DCA-6F75AE12EF02}"/>
          </ac:spMkLst>
        </pc:spChg>
        <pc:spChg chg="add del mod replST">
          <ac:chgData name="Wenwen Zhang" userId="9dd81366-5d6f-445a-b031-6ea562624431" providerId="ADAL" clId="{D6FBF965-026B-43DA-A554-C6861A0A35E4}" dt="2023-02-01T19:11:01.787" v="32872"/>
          <ac:spMkLst>
            <pc:docMk/>
            <pc:sldMk cId="1589772229" sldId="2134804370"/>
            <ac:spMk id="67" creationId="{96DB64E7-7450-5BAA-7DCA-6F75AE12EF02}"/>
          </ac:spMkLst>
        </pc:spChg>
        <pc:spChg chg="add del mod replST">
          <ac:chgData name="Wenwen Zhang" userId="9dd81366-5d6f-445a-b031-6ea562624431" providerId="ADAL" clId="{D6FBF965-026B-43DA-A554-C6861A0A35E4}" dt="2023-02-01T19:11:01.787" v="32873"/>
          <ac:spMkLst>
            <pc:docMk/>
            <pc:sldMk cId="1589772229" sldId="2134804370"/>
            <ac:spMk id="68" creationId="{96DB64E7-7450-5BAA-7DCA-6F75AE12EF02}"/>
          </ac:spMkLst>
        </pc:spChg>
        <pc:spChg chg="add del mod replST">
          <ac:chgData name="Wenwen Zhang" userId="9dd81366-5d6f-445a-b031-6ea562624431" providerId="ADAL" clId="{D6FBF965-026B-43DA-A554-C6861A0A35E4}" dt="2023-02-01T19:11:01.787" v="32874"/>
          <ac:spMkLst>
            <pc:docMk/>
            <pc:sldMk cId="1589772229" sldId="2134804370"/>
            <ac:spMk id="69" creationId="{96DB64E7-7450-5BAA-7DCA-6F75AE12EF02}"/>
          </ac:spMkLst>
        </pc:spChg>
        <pc:spChg chg="add del mod replST">
          <ac:chgData name="Wenwen Zhang" userId="9dd81366-5d6f-445a-b031-6ea562624431" providerId="ADAL" clId="{D6FBF965-026B-43DA-A554-C6861A0A35E4}" dt="2023-02-01T19:11:01.794" v="32875"/>
          <ac:spMkLst>
            <pc:docMk/>
            <pc:sldMk cId="1589772229" sldId="2134804370"/>
            <ac:spMk id="70" creationId="{96DB64E7-7450-5BAA-7DCA-6F75AE12EF02}"/>
          </ac:spMkLst>
        </pc:spChg>
        <pc:spChg chg="add del mod replST">
          <ac:chgData name="Wenwen Zhang" userId="9dd81366-5d6f-445a-b031-6ea562624431" providerId="ADAL" clId="{D6FBF965-026B-43DA-A554-C6861A0A35E4}" dt="2023-02-01T19:11:01.794" v="32876"/>
          <ac:spMkLst>
            <pc:docMk/>
            <pc:sldMk cId="1589772229" sldId="2134804370"/>
            <ac:spMk id="71" creationId="{96DB64E7-7450-5BAA-7DCA-6F75AE12EF02}"/>
          </ac:spMkLst>
        </pc:spChg>
        <pc:spChg chg="add del mod replST">
          <ac:chgData name="Wenwen Zhang" userId="9dd81366-5d6f-445a-b031-6ea562624431" providerId="ADAL" clId="{D6FBF965-026B-43DA-A554-C6861A0A35E4}" dt="2023-02-01T19:11:01.794" v="32877"/>
          <ac:spMkLst>
            <pc:docMk/>
            <pc:sldMk cId="1589772229" sldId="2134804370"/>
            <ac:spMk id="72" creationId="{96DB64E7-7450-5BAA-7DCA-6F75AE12EF02}"/>
          </ac:spMkLst>
        </pc:spChg>
        <pc:spChg chg="add del mod replST">
          <ac:chgData name="Wenwen Zhang" userId="9dd81366-5d6f-445a-b031-6ea562624431" providerId="ADAL" clId="{D6FBF965-026B-43DA-A554-C6861A0A35E4}" dt="2023-02-01T19:11:01.794" v="32878"/>
          <ac:spMkLst>
            <pc:docMk/>
            <pc:sldMk cId="1589772229" sldId="2134804370"/>
            <ac:spMk id="73" creationId="{96DB64E7-7450-5BAA-7DCA-6F75AE12EF02}"/>
          </ac:spMkLst>
        </pc:spChg>
        <pc:spChg chg="add del mod replST">
          <ac:chgData name="Wenwen Zhang" userId="9dd81366-5d6f-445a-b031-6ea562624431" providerId="ADAL" clId="{D6FBF965-026B-43DA-A554-C6861A0A35E4}" dt="2023-02-01T19:11:01.794" v="32879"/>
          <ac:spMkLst>
            <pc:docMk/>
            <pc:sldMk cId="1589772229" sldId="2134804370"/>
            <ac:spMk id="74" creationId="{96DB64E7-7450-5BAA-7DCA-6F75AE12EF02}"/>
          </ac:spMkLst>
        </pc:spChg>
        <pc:spChg chg="add del mod replST">
          <ac:chgData name="Wenwen Zhang" userId="9dd81366-5d6f-445a-b031-6ea562624431" providerId="ADAL" clId="{D6FBF965-026B-43DA-A554-C6861A0A35E4}" dt="2023-02-01T19:11:01.794" v="32880"/>
          <ac:spMkLst>
            <pc:docMk/>
            <pc:sldMk cId="1589772229" sldId="2134804370"/>
            <ac:spMk id="75" creationId="{96DB64E7-7450-5BAA-7DCA-6F75AE12EF02}"/>
          </ac:spMkLst>
        </pc:spChg>
        <pc:spChg chg="add del mod modVis">
          <ac:chgData name="Wenwen Zhang" userId="9dd81366-5d6f-445a-b031-6ea562624431" providerId="ADAL" clId="{D6FBF965-026B-43DA-A554-C6861A0A35E4}" dt="2023-02-01T19:11:00.512" v="32789"/>
          <ac:spMkLst>
            <pc:docMk/>
            <pc:sldMk cId="1589772229" sldId="2134804370"/>
            <ac:spMk id="77" creationId="{D1F88C17-12F6-B61A-1865-71C4F2CFA600}"/>
          </ac:spMkLst>
        </pc:spChg>
        <pc:spChg chg="add del mod modVis">
          <ac:chgData name="Wenwen Zhang" userId="9dd81366-5d6f-445a-b031-6ea562624431" providerId="ADAL" clId="{D6FBF965-026B-43DA-A554-C6861A0A35E4}" dt="2023-02-01T19:11:01.838" v="32914"/>
          <ac:spMkLst>
            <pc:docMk/>
            <pc:sldMk cId="1589772229" sldId="2134804370"/>
            <ac:spMk id="79" creationId="{96F357E7-6795-9ECF-E94D-AC4591F15AA5}"/>
          </ac:spMkLst>
        </pc:spChg>
        <pc:spChg chg="add del mod modVis">
          <ac:chgData name="Wenwen Zhang" userId="9dd81366-5d6f-445a-b031-6ea562624431" providerId="ADAL" clId="{D6FBF965-026B-43DA-A554-C6861A0A35E4}" dt="2023-02-01T19:11:10.660" v="33017"/>
          <ac:spMkLst>
            <pc:docMk/>
            <pc:sldMk cId="1589772229" sldId="2134804370"/>
            <ac:spMk id="81" creationId="{C8ECB5B9-B49D-1E7E-5928-E00396FDCB8D}"/>
          </ac:spMkLst>
        </pc:spChg>
        <pc:spChg chg="add del mod modVis">
          <ac:chgData name="Wenwen Zhang" userId="9dd81366-5d6f-445a-b031-6ea562624431" providerId="ADAL" clId="{D6FBF965-026B-43DA-A554-C6861A0A35E4}" dt="2023-02-01T19:11:47.280" v="33107"/>
          <ac:spMkLst>
            <pc:docMk/>
            <pc:sldMk cId="1589772229" sldId="2134804370"/>
            <ac:spMk id="83" creationId="{727E1C80-08C2-AF0C-09FF-A285EFC14951}"/>
          </ac:spMkLst>
        </pc:spChg>
        <pc:spChg chg="add del mod modVis">
          <ac:chgData name="Wenwen Zhang" userId="9dd81366-5d6f-445a-b031-6ea562624431" providerId="ADAL" clId="{D6FBF965-026B-43DA-A554-C6861A0A35E4}" dt="2023-02-01T19:11:53.264" v="35967"/>
          <ac:spMkLst>
            <pc:docMk/>
            <pc:sldMk cId="1589772229" sldId="2134804370"/>
            <ac:spMk id="85" creationId="{9DA78594-970A-B495-3DC8-AA9BB47DB22E}"/>
          </ac:spMkLst>
        </pc:spChg>
        <pc:spChg chg="add del mod replST">
          <ac:chgData name="Wenwen Zhang" userId="9dd81366-5d6f-445a-b031-6ea562624431" providerId="ADAL" clId="{D6FBF965-026B-43DA-A554-C6861A0A35E4}" dt="2023-02-01T21:24:03.066" v="73680"/>
          <ac:spMkLst>
            <pc:docMk/>
            <pc:sldMk cId="1589772229" sldId="2134804370"/>
            <ac:spMk id="86" creationId="{96DB64E7-7450-5BAA-7DCA-6F75AE12EF02}"/>
          </ac:spMkLst>
        </pc:spChg>
        <pc:spChg chg="add del mod replST">
          <ac:chgData name="Wenwen Zhang" userId="9dd81366-5d6f-445a-b031-6ea562624431" providerId="ADAL" clId="{D6FBF965-026B-43DA-A554-C6861A0A35E4}" dt="2023-02-01T19:12:05.906" v="36290"/>
          <ac:spMkLst>
            <pc:docMk/>
            <pc:sldMk cId="1589772229" sldId="2134804370"/>
            <ac:spMk id="87" creationId="{96DB64E7-7450-5BAA-7DCA-6F75AE12EF02}"/>
          </ac:spMkLst>
        </pc:spChg>
        <pc:spChg chg="add del mod replST">
          <ac:chgData name="Wenwen Zhang" userId="9dd81366-5d6f-445a-b031-6ea562624431" providerId="ADAL" clId="{D6FBF965-026B-43DA-A554-C6861A0A35E4}" dt="2023-02-01T19:12:03.423" v="36190"/>
          <ac:spMkLst>
            <pc:docMk/>
            <pc:sldMk cId="1589772229" sldId="2134804370"/>
            <ac:spMk id="88" creationId="{96DB64E7-7450-5BAA-7DCA-6F75AE12EF02}"/>
          </ac:spMkLst>
        </pc:spChg>
        <pc:spChg chg="add del mod replST">
          <ac:chgData name="Wenwen Zhang" userId="9dd81366-5d6f-445a-b031-6ea562624431" providerId="ADAL" clId="{D6FBF965-026B-43DA-A554-C6861A0A35E4}" dt="2023-02-01T21:24:03.067" v="73681"/>
          <ac:spMkLst>
            <pc:docMk/>
            <pc:sldMk cId="1589772229" sldId="2134804370"/>
            <ac:spMk id="89" creationId="{96DB64E7-7450-5BAA-7DCA-6F75AE12EF02}"/>
          </ac:spMkLst>
        </pc:spChg>
        <pc:spChg chg="add del mod replST">
          <ac:chgData name="Wenwen Zhang" userId="9dd81366-5d6f-445a-b031-6ea562624431" providerId="ADAL" clId="{D6FBF965-026B-43DA-A554-C6861A0A35E4}" dt="2023-02-01T19:12:25.155" v="37289"/>
          <ac:spMkLst>
            <pc:docMk/>
            <pc:sldMk cId="1589772229" sldId="2134804370"/>
            <ac:spMk id="90" creationId="{96DB64E7-7450-5BAA-7DCA-6F75AE12EF02}"/>
          </ac:spMkLst>
        </pc:spChg>
        <pc:spChg chg="add del mod replST">
          <ac:chgData name="Wenwen Zhang" userId="9dd81366-5d6f-445a-b031-6ea562624431" providerId="ADAL" clId="{D6FBF965-026B-43DA-A554-C6861A0A35E4}" dt="2023-02-01T19:12:25.150" v="37288"/>
          <ac:spMkLst>
            <pc:docMk/>
            <pc:sldMk cId="1589772229" sldId="2134804370"/>
            <ac:spMk id="91" creationId="{96DB64E7-7450-5BAA-7DCA-6F75AE12EF02}"/>
          </ac:spMkLst>
        </pc:spChg>
        <pc:spChg chg="add del mod replST">
          <ac:chgData name="Wenwen Zhang" userId="9dd81366-5d6f-445a-b031-6ea562624431" providerId="ADAL" clId="{D6FBF965-026B-43DA-A554-C6861A0A35E4}" dt="2023-02-01T21:24:03.067" v="73682"/>
          <ac:spMkLst>
            <pc:docMk/>
            <pc:sldMk cId="1589772229" sldId="2134804370"/>
            <ac:spMk id="92" creationId="{96DB64E7-7450-5BAA-7DCA-6F75AE12EF02}"/>
          </ac:spMkLst>
        </pc:spChg>
        <pc:spChg chg="add del mod replST">
          <ac:chgData name="Wenwen Zhang" userId="9dd81366-5d6f-445a-b031-6ea562624431" providerId="ADAL" clId="{D6FBF965-026B-43DA-A554-C6861A0A35E4}" dt="2023-02-01T19:12:35.418" v="37651"/>
          <ac:spMkLst>
            <pc:docMk/>
            <pc:sldMk cId="1589772229" sldId="2134804370"/>
            <ac:spMk id="93" creationId="{96DB64E7-7450-5BAA-7DCA-6F75AE12EF02}"/>
          </ac:spMkLst>
        </pc:spChg>
        <pc:spChg chg="add del mod replST">
          <ac:chgData name="Wenwen Zhang" userId="9dd81366-5d6f-445a-b031-6ea562624431" providerId="ADAL" clId="{D6FBF965-026B-43DA-A554-C6861A0A35E4}" dt="2023-02-01T19:12:35.411" v="37650"/>
          <ac:spMkLst>
            <pc:docMk/>
            <pc:sldMk cId="1589772229" sldId="2134804370"/>
            <ac:spMk id="94" creationId="{96DB64E7-7450-5BAA-7DCA-6F75AE12EF02}"/>
          </ac:spMkLst>
        </pc:spChg>
        <pc:spChg chg="add del mod replST">
          <ac:chgData name="Wenwen Zhang" userId="9dd81366-5d6f-445a-b031-6ea562624431" providerId="ADAL" clId="{D6FBF965-026B-43DA-A554-C6861A0A35E4}" dt="2023-02-01T21:24:03.067" v="73683"/>
          <ac:spMkLst>
            <pc:docMk/>
            <pc:sldMk cId="1589772229" sldId="2134804370"/>
            <ac:spMk id="95" creationId="{96DB64E7-7450-5BAA-7DCA-6F75AE12EF02}"/>
          </ac:spMkLst>
        </pc:spChg>
        <pc:spChg chg="add del mod replST">
          <ac:chgData name="Wenwen Zhang" userId="9dd81366-5d6f-445a-b031-6ea562624431" providerId="ADAL" clId="{D6FBF965-026B-43DA-A554-C6861A0A35E4}" dt="2023-02-01T19:12:45.302" v="37927"/>
          <ac:spMkLst>
            <pc:docMk/>
            <pc:sldMk cId="1589772229" sldId="2134804370"/>
            <ac:spMk id="96" creationId="{96DB64E7-7450-5BAA-7DCA-6F75AE12EF02}"/>
          </ac:spMkLst>
        </pc:spChg>
        <pc:spChg chg="add del mod replST">
          <ac:chgData name="Wenwen Zhang" userId="9dd81366-5d6f-445a-b031-6ea562624431" providerId="ADAL" clId="{D6FBF965-026B-43DA-A554-C6861A0A35E4}" dt="2023-02-01T19:12:48.503" v="38067"/>
          <ac:spMkLst>
            <pc:docMk/>
            <pc:sldMk cId="1589772229" sldId="2134804370"/>
            <ac:spMk id="97" creationId="{96DB64E7-7450-5BAA-7DCA-6F75AE12EF02}"/>
          </ac:spMkLst>
        </pc:spChg>
        <pc:spChg chg="add del mod replST">
          <ac:chgData name="Wenwen Zhang" userId="9dd81366-5d6f-445a-b031-6ea562624431" providerId="ADAL" clId="{D6FBF965-026B-43DA-A554-C6861A0A35E4}" dt="2023-02-01T21:24:03.068" v="73684"/>
          <ac:spMkLst>
            <pc:docMk/>
            <pc:sldMk cId="1589772229" sldId="2134804370"/>
            <ac:spMk id="98" creationId="{96DB64E7-7450-5BAA-7DCA-6F75AE12EF02}"/>
          </ac:spMkLst>
        </pc:spChg>
        <pc:spChg chg="add del mod replST">
          <ac:chgData name="Wenwen Zhang" userId="9dd81366-5d6f-445a-b031-6ea562624431" providerId="ADAL" clId="{D6FBF965-026B-43DA-A554-C6861A0A35E4}" dt="2023-02-01T19:12:51.163" v="38206"/>
          <ac:spMkLst>
            <pc:docMk/>
            <pc:sldMk cId="1589772229" sldId="2134804370"/>
            <ac:spMk id="99" creationId="{96DB64E7-7450-5BAA-7DCA-6F75AE12EF02}"/>
          </ac:spMkLst>
        </pc:spChg>
        <pc:spChg chg="add del mod replST">
          <ac:chgData name="Wenwen Zhang" userId="9dd81366-5d6f-445a-b031-6ea562624431" providerId="ADAL" clId="{D6FBF965-026B-43DA-A554-C6861A0A35E4}" dt="2023-02-01T19:12:51.163" v="38205"/>
          <ac:spMkLst>
            <pc:docMk/>
            <pc:sldMk cId="1589772229" sldId="2134804370"/>
            <ac:spMk id="100" creationId="{96DB64E7-7450-5BAA-7DCA-6F75AE12EF02}"/>
          </ac:spMkLst>
        </pc:spChg>
        <pc:spChg chg="add del mod replST">
          <ac:chgData name="Wenwen Zhang" userId="9dd81366-5d6f-445a-b031-6ea562624431" providerId="ADAL" clId="{D6FBF965-026B-43DA-A554-C6861A0A35E4}" dt="2023-02-01T21:24:03.068" v="73685"/>
          <ac:spMkLst>
            <pc:docMk/>
            <pc:sldMk cId="1589772229" sldId="2134804370"/>
            <ac:spMk id="101" creationId="{96DB64E7-7450-5BAA-7DCA-6F75AE12EF02}"/>
          </ac:spMkLst>
        </pc:spChg>
        <pc:spChg chg="add del mod replST">
          <ac:chgData name="Wenwen Zhang" userId="9dd81366-5d6f-445a-b031-6ea562624431" providerId="ADAL" clId="{D6FBF965-026B-43DA-A554-C6861A0A35E4}" dt="2023-02-01T19:12:54.140" v="38341"/>
          <ac:spMkLst>
            <pc:docMk/>
            <pc:sldMk cId="1589772229" sldId="2134804370"/>
            <ac:spMk id="102" creationId="{96DB64E7-7450-5BAA-7DCA-6F75AE12EF02}"/>
          </ac:spMkLst>
        </pc:spChg>
        <pc:spChg chg="add del mod replST">
          <ac:chgData name="Wenwen Zhang" userId="9dd81366-5d6f-445a-b031-6ea562624431" providerId="ADAL" clId="{D6FBF965-026B-43DA-A554-C6861A0A35E4}" dt="2023-02-01T19:12:54.139" v="38340"/>
          <ac:spMkLst>
            <pc:docMk/>
            <pc:sldMk cId="1589772229" sldId="2134804370"/>
            <ac:spMk id="103" creationId="{96DB64E7-7450-5BAA-7DCA-6F75AE12EF02}"/>
          </ac:spMkLst>
        </pc:spChg>
        <pc:spChg chg="add del mod replST">
          <ac:chgData name="Wenwen Zhang" userId="9dd81366-5d6f-445a-b031-6ea562624431" providerId="ADAL" clId="{D6FBF965-026B-43DA-A554-C6861A0A35E4}" dt="2023-02-01T21:24:03.069" v="73686"/>
          <ac:spMkLst>
            <pc:docMk/>
            <pc:sldMk cId="1589772229" sldId="2134804370"/>
            <ac:spMk id="104" creationId="{96DB64E7-7450-5BAA-7DCA-6F75AE12EF02}"/>
          </ac:spMkLst>
        </pc:spChg>
        <pc:spChg chg="add del mod replST">
          <ac:chgData name="Wenwen Zhang" userId="9dd81366-5d6f-445a-b031-6ea562624431" providerId="ADAL" clId="{D6FBF965-026B-43DA-A554-C6861A0A35E4}" dt="2023-02-01T19:12:56.826" v="38472"/>
          <ac:spMkLst>
            <pc:docMk/>
            <pc:sldMk cId="1589772229" sldId="2134804370"/>
            <ac:spMk id="105" creationId="{96DB64E7-7450-5BAA-7DCA-6F75AE12EF02}"/>
          </ac:spMkLst>
        </pc:spChg>
        <pc:spChg chg="add del mod replST">
          <ac:chgData name="Wenwen Zhang" userId="9dd81366-5d6f-445a-b031-6ea562624431" providerId="ADAL" clId="{D6FBF965-026B-43DA-A554-C6861A0A35E4}" dt="2023-02-01T19:12:56.826" v="38471"/>
          <ac:spMkLst>
            <pc:docMk/>
            <pc:sldMk cId="1589772229" sldId="2134804370"/>
            <ac:spMk id="106" creationId="{96DB64E7-7450-5BAA-7DCA-6F75AE12EF02}"/>
          </ac:spMkLst>
        </pc:spChg>
        <pc:spChg chg="add del mod replST">
          <ac:chgData name="Wenwen Zhang" userId="9dd81366-5d6f-445a-b031-6ea562624431" providerId="ADAL" clId="{D6FBF965-026B-43DA-A554-C6861A0A35E4}" dt="2023-02-01T21:24:03.069" v="73687"/>
          <ac:spMkLst>
            <pc:docMk/>
            <pc:sldMk cId="1589772229" sldId="2134804370"/>
            <ac:spMk id="107" creationId="{96DB64E7-7450-5BAA-7DCA-6F75AE12EF02}"/>
          </ac:spMkLst>
        </pc:spChg>
        <pc:spChg chg="add del mod replST">
          <ac:chgData name="Wenwen Zhang" userId="9dd81366-5d6f-445a-b031-6ea562624431" providerId="ADAL" clId="{D6FBF965-026B-43DA-A554-C6861A0A35E4}" dt="2023-02-01T19:13:00.012" v="38599"/>
          <ac:spMkLst>
            <pc:docMk/>
            <pc:sldMk cId="1589772229" sldId="2134804370"/>
            <ac:spMk id="108" creationId="{96DB64E7-7450-5BAA-7DCA-6F75AE12EF02}"/>
          </ac:spMkLst>
        </pc:spChg>
        <pc:spChg chg="del mod">
          <ac:chgData name="Wenwen Zhang" userId="9dd81366-5d6f-445a-b031-6ea562624431" providerId="ADAL" clId="{D6FBF965-026B-43DA-A554-C6861A0A35E4}" dt="2023-02-01T19:11:47.199" v="33026"/>
          <ac:spMkLst>
            <pc:docMk/>
            <pc:sldMk cId="1589772229" sldId="2134804370"/>
            <ac:spMk id="109" creationId="{96DB64E7-7450-5BAA-7DCA-6F75AE12EF02}"/>
          </ac:spMkLst>
        </pc:spChg>
        <pc:spChg chg="add del mod replST">
          <ac:chgData name="Wenwen Zhang" userId="9dd81366-5d6f-445a-b031-6ea562624431" providerId="ADAL" clId="{D6FBF965-026B-43DA-A554-C6861A0A35E4}" dt="2023-02-01T19:13:00.009" v="38598"/>
          <ac:spMkLst>
            <pc:docMk/>
            <pc:sldMk cId="1589772229" sldId="2134804370"/>
            <ac:spMk id="110" creationId="{96DB64E7-7450-5BAA-7DCA-6F75AE12EF02}"/>
          </ac:spMkLst>
        </pc:spChg>
        <pc:spChg chg="add del mod replST">
          <ac:chgData name="Wenwen Zhang" userId="9dd81366-5d6f-445a-b031-6ea562624431" providerId="ADAL" clId="{D6FBF965-026B-43DA-A554-C6861A0A35E4}" dt="2023-02-01T21:24:03.069" v="73688"/>
          <ac:spMkLst>
            <pc:docMk/>
            <pc:sldMk cId="1589772229" sldId="2134804370"/>
            <ac:spMk id="111" creationId="{96DB64E7-7450-5BAA-7DCA-6F75AE12EF02}"/>
          </ac:spMkLst>
        </pc:spChg>
        <pc:spChg chg="add del mod replST">
          <ac:chgData name="Wenwen Zhang" userId="9dd81366-5d6f-445a-b031-6ea562624431" providerId="ADAL" clId="{D6FBF965-026B-43DA-A554-C6861A0A35E4}" dt="2023-02-01T19:13:03.022" v="38722"/>
          <ac:spMkLst>
            <pc:docMk/>
            <pc:sldMk cId="1589772229" sldId="2134804370"/>
            <ac:spMk id="112" creationId="{96DB64E7-7450-5BAA-7DCA-6F75AE12EF02}"/>
          </ac:spMkLst>
        </pc:spChg>
        <pc:spChg chg="add del mod replST">
          <ac:chgData name="Wenwen Zhang" userId="9dd81366-5d6f-445a-b031-6ea562624431" providerId="ADAL" clId="{D6FBF965-026B-43DA-A554-C6861A0A35E4}" dt="2023-02-01T19:13:03.022" v="38721"/>
          <ac:spMkLst>
            <pc:docMk/>
            <pc:sldMk cId="1589772229" sldId="2134804370"/>
            <ac:spMk id="113" creationId="{96DB64E7-7450-5BAA-7DCA-6F75AE12EF02}"/>
          </ac:spMkLst>
        </pc:spChg>
        <pc:spChg chg="add del mod replST">
          <ac:chgData name="Wenwen Zhang" userId="9dd81366-5d6f-445a-b031-6ea562624431" providerId="ADAL" clId="{D6FBF965-026B-43DA-A554-C6861A0A35E4}" dt="2023-02-01T21:24:03.070" v="73689"/>
          <ac:spMkLst>
            <pc:docMk/>
            <pc:sldMk cId="1589772229" sldId="2134804370"/>
            <ac:spMk id="114" creationId="{96DB64E7-7450-5BAA-7DCA-6F75AE12EF02}"/>
          </ac:spMkLst>
        </pc:spChg>
        <pc:spChg chg="add del mod replST">
          <ac:chgData name="Wenwen Zhang" userId="9dd81366-5d6f-445a-b031-6ea562624431" providerId="ADAL" clId="{D6FBF965-026B-43DA-A554-C6861A0A35E4}" dt="2023-02-01T19:13:05.983" v="38841"/>
          <ac:spMkLst>
            <pc:docMk/>
            <pc:sldMk cId="1589772229" sldId="2134804370"/>
            <ac:spMk id="115" creationId="{96DB64E7-7450-5BAA-7DCA-6F75AE12EF02}"/>
          </ac:spMkLst>
        </pc:spChg>
        <pc:spChg chg="add del mod replST">
          <ac:chgData name="Wenwen Zhang" userId="9dd81366-5d6f-445a-b031-6ea562624431" providerId="ADAL" clId="{D6FBF965-026B-43DA-A554-C6861A0A35E4}" dt="2023-02-01T19:13:05.983" v="38840"/>
          <ac:spMkLst>
            <pc:docMk/>
            <pc:sldMk cId="1589772229" sldId="2134804370"/>
            <ac:spMk id="116" creationId="{96DB64E7-7450-5BAA-7DCA-6F75AE12EF02}"/>
          </ac:spMkLst>
        </pc:spChg>
        <pc:spChg chg="add del mod replST">
          <ac:chgData name="Wenwen Zhang" userId="9dd81366-5d6f-445a-b031-6ea562624431" providerId="ADAL" clId="{D6FBF965-026B-43DA-A554-C6861A0A35E4}" dt="2023-02-01T21:24:03.070" v="73690"/>
          <ac:spMkLst>
            <pc:docMk/>
            <pc:sldMk cId="1589772229" sldId="2134804370"/>
            <ac:spMk id="117" creationId="{96DB64E7-7450-5BAA-7DCA-6F75AE12EF02}"/>
          </ac:spMkLst>
        </pc:spChg>
        <pc:spChg chg="add del mod replST">
          <ac:chgData name="Wenwen Zhang" userId="9dd81366-5d6f-445a-b031-6ea562624431" providerId="ADAL" clId="{D6FBF965-026B-43DA-A554-C6861A0A35E4}" dt="2023-02-01T19:13:09.733" v="38956"/>
          <ac:spMkLst>
            <pc:docMk/>
            <pc:sldMk cId="1589772229" sldId="2134804370"/>
            <ac:spMk id="118" creationId="{96DB64E7-7450-5BAA-7DCA-6F75AE12EF02}"/>
          </ac:spMkLst>
        </pc:spChg>
        <pc:spChg chg="add del mod replST">
          <ac:chgData name="Wenwen Zhang" userId="9dd81366-5d6f-445a-b031-6ea562624431" providerId="ADAL" clId="{D6FBF965-026B-43DA-A554-C6861A0A35E4}" dt="2023-02-01T19:13:09.724" v="38955"/>
          <ac:spMkLst>
            <pc:docMk/>
            <pc:sldMk cId="1589772229" sldId="2134804370"/>
            <ac:spMk id="119" creationId="{96DB64E7-7450-5BAA-7DCA-6F75AE12EF02}"/>
          </ac:spMkLst>
        </pc:spChg>
        <pc:spChg chg="add del mod replST">
          <ac:chgData name="Wenwen Zhang" userId="9dd81366-5d6f-445a-b031-6ea562624431" providerId="ADAL" clId="{D6FBF965-026B-43DA-A554-C6861A0A35E4}" dt="2023-02-01T21:24:03.070" v="73691"/>
          <ac:spMkLst>
            <pc:docMk/>
            <pc:sldMk cId="1589772229" sldId="2134804370"/>
            <ac:spMk id="120" creationId="{96DB64E7-7450-5BAA-7DCA-6F75AE12EF02}"/>
          </ac:spMkLst>
        </pc:spChg>
        <pc:spChg chg="add del mod replST">
          <ac:chgData name="Wenwen Zhang" userId="9dd81366-5d6f-445a-b031-6ea562624431" providerId="ADAL" clId="{D6FBF965-026B-43DA-A554-C6861A0A35E4}" dt="2023-02-01T19:12:18.023" v="37138"/>
          <ac:spMkLst>
            <pc:docMk/>
            <pc:sldMk cId="1589772229" sldId="2134804370"/>
            <ac:spMk id="121" creationId="{96DB64E7-7450-5BAA-7DCA-6F75AE12EF02}"/>
          </ac:spMkLst>
        </pc:spChg>
        <pc:spChg chg="add del mod replST">
          <ac:chgData name="Wenwen Zhang" userId="9dd81366-5d6f-445a-b031-6ea562624431" providerId="ADAL" clId="{D6FBF965-026B-43DA-A554-C6861A0A35E4}" dt="2023-02-01T19:12:16.131" v="36986"/>
          <ac:spMkLst>
            <pc:docMk/>
            <pc:sldMk cId="1589772229" sldId="2134804370"/>
            <ac:spMk id="122" creationId="{96DB64E7-7450-5BAA-7DCA-6F75AE12EF02}"/>
          </ac:spMkLst>
        </pc:spChg>
        <pc:spChg chg="add del mod replST">
          <ac:chgData name="Wenwen Zhang" userId="9dd81366-5d6f-445a-b031-6ea562624431" providerId="ADAL" clId="{D6FBF965-026B-43DA-A554-C6861A0A35E4}" dt="2023-02-01T21:24:03.071" v="73692"/>
          <ac:spMkLst>
            <pc:docMk/>
            <pc:sldMk cId="1589772229" sldId="2134804370"/>
            <ac:spMk id="123" creationId="{96DB64E7-7450-5BAA-7DCA-6F75AE12EF02}"/>
          </ac:spMkLst>
        </pc:spChg>
        <pc:spChg chg="add del mod modVis">
          <ac:chgData name="Wenwen Zhang" userId="9dd81366-5d6f-445a-b031-6ea562624431" providerId="ADAL" clId="{D6FBF965-026B-43DA-A554-C6861A0A35E4}" dt="2023-02-01T19:12:02.400" v="36130"/>
          <ac:spMkLst>
            <pc:docMk/>
            <pc:sldMk cId="1589772229" sldId="2134804370"/>
            <ac:spMk id="125" creationId="{3B24821A-9238-407D-F2E6-A37FD3F1F1B4}"/>
          </ac:spMkLst>
        </pc:spChg>
        <pc:spChg chg="del mod">
          <ac:chgData name="Wenwen Zhang" userId="9dd81366-5d6f-445a-b031-6ea562624431" providerId="ADAL" clId="{D6FBF965-026B-43DA-A554-C6861A0A35E4}" dt="2023-02-01T19:11:47.199" v="33020"/>
          <ac:spMkLst>
            <pc:docMk/>
            <pc:sldMk cId="1589772229" sldId="2134804370"/>
            <ac:spMk id="126" creationId="{C126D0D0-FFF0-E389-E192-C5475796221F}"/>
          </ac:spMkLst>
        </pc:spChg>
        <pc:spChg chg="add del mod modVis">
          <ac:chgData name="Wenwen Zhang" userId="9dd81366-5d6f-445a-b031-6ea562624431" providerId="ADAL" clId="{D6FBF965-026B-43DA-A554-C6861A0A35E4}" dt="2023-02-02T11:51:47.502" v="121652"/>
          <ac:spMkLst>
            <pc:docMk/>
            <pc:sldMk cId="1589772229" sldId="2134804370"/>
            <ac:spMk id="128" creationId="{385A1D65-0255-8F63-0764-CEEE9CA2858E}"/>
          </ac:spMkLst>
        </pc:spChg>
        <pc:spChg chg="add del mod modVis">
          <ac:chgData name="Wenwen Zhang" userId="9dd81366-5d6f-445a-b031-6ea562624431" providerId="ADAL" clId="{D6FBF965-026B-43DA-A554-C6861A0A35E4}" dt="2023-02-01T19:12:03.481" v="36287"/>
          <ac:spMkLst>
            <pc:docMk/>
            <pc:sldMk cId="1589772229" sldId="2134804370"/>
            <ac:spMk id="128" creationId="{69BEFDA1-737F-39FF-9E25-730C9D68CB88}"/>
          </ac:spMkLst>
        </pc:spChg>
        <pc:spChg chg="add del mod modVis">
          <ac:chgData name="Wenwen Zhang" userId="9dd81366-5d6f-445a-b031-6ea562624431" providerId="ADAL" clId="{D6FBF965-026B-43DA-A554-C6861A0A35E4}" dt="2023-02-01T19:12:06.001" v="36441"/>
          <ac:spMkLst>
            <pc:docMk/>
            <pc:sldMk cId="1589772229" sldId="2134804370"/>
            <ac:spMk id="130" creationId="{47F080DD-5BED-CC6B-523D-D75D7C04762E}"/>
          </ac:spMkLst>
        </pc:spChg>
        <pc:spChg chg="add del mod modVis">
          <ac:chgData name="Wenwen Zhang" userId="9dd81366-5d6f-445a-b031-6ea562624431" providerId="ADAL" clId="{D6FBF965-026B-43DA-A554-C6861A0A35E4}" dt="2023-02-02T11:52:43.304" v="121993"/>
          <ac:spMkLst>
            <pc:docMk/>
            <pc:sldMk cId="1589772229" sldId="2134804370"/>
            <ac:spMk id="130" creationId="{D6C02396-E807-4E84-848A-4BFB6F78546B}"/>
          </ac:spMkLst>
        </pc:spChg>
        <pc:spChg chg="add mod replST">
          <ac:chgData name="Wenwen Zhang" userId="9dd81366-5d6f-445a-b031-6ea562624431" providerId="ADAL" clId="{D6FBF965-026B-43DA-A554-C6861A0A35E4}" dt="2023-02-02T12:02:04.322" v="133013"/>
          <ac:spMkLst>
            <pc:docMk/>
            <pc:sldMk cId="1589772229" sldId="2134804370"/>
            <ac:spMk id="131" creationId="{96DB64E7-7450-5BAA-7DCA-6F75AE12EF02}"/>
          </ac:spMkLst>
        </pc:spChg>
        <pc:spChg chg="del mod">
          <ac:chgData name="Wenwen Zhang" userId="9dd81366-5d6f-445a-b031-6ea562624431" providerId="ADAL" clId="{D6FBF965-026B-43DA-A554-C6861A0A35E4}" dt="2023-02-01T19:11:47.199" v="33021"/>
          <ac:spMkLst>
            <pc:docMk/>
            <pc:sldMk cId="1589772229" sldId="2134804370"/>
            <ac:spMk id="132" creationId="{A337B2FA-3723-3690-C7A6-600497D3697A}"/>
          </ac:spMkLst>
        </pc:spChg>
        <pc:spChg chg="add del mod modVis">
          <ac:chgData name="Wenwen Zhang" userId="9dd81366-5d6f-445a-b031-6ea562624431" providerId="ADAL" clId="{D6FBF965-026B-43DA-A554-C6861A0A35E4}" dt="2023-02-02T11:52:47.174" v="122121"/>
          <ac:spMkLst>
            <pc:docMk/>
            <pc:sldMk cId="1589772229" sldId="2134804370"/>
            <ac:spMk id="133" creationId="{32B1984D-6227-E2DA-1703-BB7DF11B6620}"/>
          </ac:spMkLst>
        </pc:spChg>
        <pc:spChg chg="add del mod modVis">
          <ac:chgData name="Wenwen Zhang" userId="9dd81366-5d6f-445a-b031-6ea562624431" providerId="ADAL" clId="{D6FBF965-026B-43DA-A554-C6861A0A35E4}" dt="2023-02-01T19:12:11.779" v="36983"/>
          <ac:spMkLst>
            <pc:docMk/>
            <pc:sldMk cId="1589772229" sldId="2134804370"/>
            <ac:spMk id="133" creationId="{74507262-142E-1D28-810D-D0D6516F4CCD}"/>
          </ac:spMkLst>
        </pc:spChg>
        <pc:spChg chg="add del mod modVis">
          <ac:chgData name="Wenwen Zhang" userId="9dd81366-5d6f-445a-b031-6ea562624431" providerId="ADAL" clId="{D6FBF965-026B-43DA-A554-C6861A0A35E4}" dt="2023-02-01T19:12:16.222" v="37135"/>
          <ac:spMkLst>
            <pc:docMk/>
            <pc:sldMk cId="1589772229" sldId="2134804370"/>
            <ac:spMk id="135" creationId="{7DFA4191-3C6E-4B8A-6B7E-2820CF518B68}"/>
          </ac:spMkLst>
        </pc:spChg>
        <pc:spChg chg="add del mod modVis">
          <ac:chgData name="Wenwen Zhang" userId="9dd81366-5d6f-445a-b031-6ea562624431" providerId="ADAL" clId="{D6FBF965-026B-43DA-A554-C6861A0A35E4}" dt="2023-02-02T11:53:08.722" v="122360"/>
          <ac:spMkLst>
            <pc:docMk/>
            <pc:sldMk cId="1589772229" sldId="2134804370"/>
            <ac:spMk id="135" creationId="{D13D794B-3C6D-5D57-2D64-81AC725600AE}"/>
          </ac:spMkLst>
        </pc:spChg>
        <pc:spChg chg="add del mod modVis">
          <ac:chgData name="Wenwen Zhang" userId="9dd81366-5d6f-445a-b031-6ea562624431" providerId="ADAL" clId="{D6FBF965-026B-43DA-A554-C6861A0A35E4}" dt="2023-02-02T11:53:13.294" v="122538"/>
          <ac:spMkLst>
            <pc:docMk/>
            <pc:sldMk cId="1589772229" sldId="2134804370"/>
            <ac:spMk id="137" creationId="{7282934D-BC54-546C-AE32-A44FAFB887F8}"/>
          </ac:spMkLst>
        </pc:spChg>
        <pc:spChg chg="add del mod modVis">
          <ac:chgData name="Wenwen Zhang" userId="9dd81366-5d6f-445a-b031-6ea562624431" providerId="ADAL" clId="{D6FBF965-026B-43DA-A554-C6861A0A35E4}" dt="2023-02-01T19:12:18.116" v="37285"/>
          <ac:spMkLst>
            <pc:docMk/>
            <pc:sldMk cId="1589772229" sldId="2134804370"/>
            <ac:spMk id="137" creationId="{8A864525-9F0E-749B-F712-74A96113BF21}"/>
          </ac:spMkLst>
        </pc:spChg>
        <pc:spChg chg="del mod">
          <ac:chgData name="Wenwen Zhang" userId="9dd81366-5d6f-445a-b031-6ea562624431" providerId="ADAL" clId="{D6FBF965-026B-43DA-A554-C6861A0A35E4}" dt="2023-02-01T19:11:47.199" v="33022"/>
          <ac:spMkLst>
            <pc:docMk/>
            <pc:sldMk cId="1589772229" sldId="2134804370"/>
            <ac:spMk id="138" creationId="{B3F1EBFC-BB6B-ACC4-0051-F32564C61AA5}"/>
          </ac:spMkLst>
        </pc:spChg>
        <pc:spChg chg="add del mod modVis">
          <ac:chgData name="Wenwen Zhang" userId="9dd81366-5d6f-445a-b031-6ea562624431" providerId="ADAL" clId="{D6FBF965-026B-43DA-A554-C6861A0A35E4}" dt="2023-02-02T11:54:57.597" v="122711"/>
          <ac:spMkLst>
            <pc:docMk/>
            <pc:sldMk cId="1589772229" sldId="2134804370"/>
            <ac:spMk id="139" creationId="{C0FC1496-3DFF-B95B-DDFA-44A04EC9C0CB}"/>
          </ac:spMkLst>
        </pc:spChg>
        <pc:spChg chg="add del mod modVis">
          <ac:chgData name="Wenwen Zhang" userId="9dd81366-5d6f-445a-b031-6ea562624431" providerId="ADAL" clId="{D6FBF965-026B-43DA-A554-C6861A0A35E4}" dt="2023-02-01T19:12:25.247" v="37432"/>
          <ac:spMkLst>
            <pc:docMk/>
            <pc:sldMk cId="1589772229" sldId="2134804370"/>
            <ac:spMk id="140" creationId="{ECE0A0F6-4212-471A-6D9B-B010EDCDA709}"/>
          </ac:spMkLst>
        </pc:spChg>
        <pc:spChg chg="add del mod modVis">
          <ac:chgData name="Wenwen Zhang" userId="9dd81366-5d6f-445a-b031-6ea562624431" providerId="ADAL" clId="{D6FBF965-026B-43DA-A554-C6861A0A35E4}" dt="2023-02-02T11:55:00.670" v="122934"/>
          <ac:spMkLst>
            <pc:docMk/>
            <pc:sldMk cId="1589772229" sldId="2134804370"/>
            <ac:spMk id="141" creationId="{2D9CC950-F0AE-B6CE-571A-4C84B3D2436B}"/>
          </ac:spMkLst>
        </pc:spChg>
        <pc:spChg chg="add del mod replST">
          <ac:chgData name="Wenwen Zhang" userId="9dd81366-5d6f-445a-b031-6ea562624431" providerId="ADAL" clId="{D6FBF965-026B-43DA-A554-C6861A0A35E4}" dt="2023-02-02T11:55:05.131" v="123438"/>
          <ac:spMkLst>
            <pc:docMk/>
            <pc:sldMk cId="1589772229" sldId="2134804370"/>
            <ac:spMk id="142" creationId="{96DB64E7-7450-5BAA-7DCA-6F75AE12EF02}"/>
          </ac:spMkLst>
        </pc:spChg>
        <pc:spChg chg="add del mod modVis">
          <ac:chgData name="Wenwen Zhang" userId="9dd81366-5d6f-445a-b031-6ea562624431" providerId="ADAL" clId="{D6FBF965-026B-43DA-A554-C6861A0A35E4}" dt="2023-02-01T19:12:31.138" v="37646" actId="962"/>
          <ac:spMkLst>
            <pc:docMk/>
            <pc:sldMk cId="1589772229" sldId="2134804370"/>
            <ac:spMk id="142" creationId="{D1FEC629-2F89-3EE3-7206-6AD1810D6472}"/>
          </ac:spMkLst>
        </pc:spChg>
        <pc:spChg chg="add del mod modVis">
          <ac:chgData name="Wenwen Zhang" userId="9dd81366-5d6f-445a-b031-6ea562624431" providerId="ADAL" clId="{D6FBF965-026B-43DA-A554-C6861A0A35E4}" dt="2023-02-02T11:55:04.171" v="123367"/>
          <ac:spMkLst>
            <pc:docMk/>
            <pc:sldMk cId="1589772229" sldId="2134804370"/>
            <ac:spMk id="144" creationId="{29E744D8-F2A9-9D45-5DE2-4489CEC8601D}"/>
          </ac:spMkLst>
        </pc:spChg>
        <pc:spChg chg="del mod">
          <ac:chgData name="Wenwen Zhang" userId="9dd81366-5d6f-445a-b031-6ea562624431" providerId="ADAL" clId="{D6FBF965-026B-43DA-A554-C6861A0A35E4}" dt="2023-02-01T19:11:47.199" v="33023"/>
          <ac:spMkLst>
            <pc:docMk/>
            <pc:sldMk cId="1589772229" sldId="2134804370"/>
            <ac:spMk id="144" creationId="{38317881-E68D-739C-28AF-C828F889FF42}"/>
          </ac:spMkLst>
        </pc:spChg>
        <pc:spChg chg="add del mod modVis">
          <ac:chgData name="Wenwen Zhang" userId="9dd81366-5d6f-445a-b031-6ea562624431" providerId="ADAL" clId="{D6FBF965-026B-43DA-A554-C6861A0A35E4}" dt="2023-02-01T19:12:35.624" v="37924"/>
          <ac:spMkLst>
            <pc:docMk/>
            <pc:sldMk cId="1589772229" sldId="2134804370"/>
            <ac:spMk id="145" creationId="{E8B9CD06-22EF-9CEA-2FAF-D751D1FE6035}"/>
          </ac:spMkLst>
        </pc:spChg>
        <pc:spChg chg="add del mod modVis">
          <ac:chgData name="Wenwen Zhang" userId="9dd81366-5d6f-445a-b031-6ea562624431" providerId="ADAL" clId="{D6FBF965-026B-43DA-A554-C6861A0A35E4}" dt="2023-02-02T11:55:05.156" v="123485"/>
          <ac:spMkLst>
            <pc:docMk/>
            <pc:sldMk cId="1589772229" sldId="2134804370"/>
            <ac:spMk id="146" creationId="{435BF228-0E81-2B79-3D88-FDB47BEFFF61}"/>
          </ac:spMkLst>
        </pc:spChg>
        <pc:spChg chg="add del mod modVis">
          <ac:chgData name="Wenwen Zhang" userId="9dd81366-5d6f-445a-b031-6ea562624431" providerId="ADAL" clId="{D6FBF965-026B-43DA-A554-C6861A0A35E4}" dt="2023-02-01T19:12:45.400" v="38064"/>
          <ac:spMkLst>
            <pc:docMk/>
            <pc:sldMk cId="1589772229" sldId="2134804370"/>
            <ac:spMk id="147" creationId="{2EA5E0E1-BA3D-3D05-8CD9-5502F65E48CA}"/>
          </ac:spMkLst>
        </pc:spChg>
        <pc:spChg chg="add del mod modVis">
          <ac:chgData name="Wenwen Zhang" userId="9dd81366-5d6f-445a-b031-6ea562624431" providerId="ADAL" clId="{D6FBF965-026B-43DA-A554-C6861A0A35E4}" dt="2023-02-02T11:55:21.160" v="123708"/>
          <ac:spMkLst>
            <pc:docMk/>
            <pc:sldMk cId="1589772229" sldId="2134804370"/>
            <ac:spMk id="148" creationId="{4653E029-0B98-F103-3AEE-11C500D5C516}"/>
          </ac:spMkLst>
        </pc:spChg>
        <pc:spChg chg="add del mod replST">
          <ac:chgData name="Wenwen Zhang" userId="9dd81366-5d6f-445a-b031-6ea562624431" providerId="ADAL" clId="{D6FBF965-026B-43DA-A554-C6861A0A35E4}" dt="2023-02-02T11:55:23.572" v="123899"/>
          <ac:spMkLst>
            <pc:docMk/>
            <pc:sldMk cId="1589772229" sldId="2134804370"/>
            <ac:spMk id="149" creationId="{96DB64E7-7450-5BAA-7DCA-6F75AE12EF02}"/>
          </ac:spMkLst>
        </pc:spChg>
        <pc:spChg chg="add del mod modVis">
          <ac:chgData name="Wenwen Zhang" userId="9dd81366-5d6f-445a-b031-6ea562624431" providerId="ADAL" clId="{D6FBF965-026B-43DA-A554-C6861A0A35E4}" dt="2023-02-01T19:12:48.588" v="38202"/>
          <ac:spMkLst>
            <pc:docMk/>
            <pc:sldMk cId="1589772229" sldId="2134804370"/>
            <ac:spMk id="149" creationId="{CB3EAB79-CC6C-C9E6-6373-61C85EBB7F66}"/>
          </ac:spMkLst>
        </pc:spChg>
        <pc:spChg chg="del mod">
          <ac:chgData name="Wenwen Zhang" userId="9dd81366-5d6f-445a-b031-6ea562624431" providerId="ADAL" clId="{D6FBF965-026B-43DA-A554-C6861A0A35E4}" dt="2023-02-01T19:11:47.199" v="33024"/>
          <ac:spMkLst>
            <pc:docMk/>
            <pc:sldMk cId="1589772229" sldId="2134804370"/>
            <ac:spMk id="150" creationId="{6931CC15-24F8-DA50-2B45-E1ECF1225A9C}"/>
          </ac:spMkLst>
        </pc:spChg>
        <pc:spChg chg="add del mod modVis">
          <ac:chgData name="Wenwen Zhang" userId="9dd81366-5d6f-445a-b031-6ea562624431" providerId="ADAL" clId="{D6FBF965-026B-43DA-A554-C6861A0A35E4}" dt="2023-02-02T11:55:22.576" v="123829"/>
          <ac:spMkLst>
            <pc:docMk/>
            <pc:sldMk cId="1589772229" sldId="2134804370"/>
            <ac:spMk id="151" creationId="{1ED0B94D-FE92-6813-EE53-BC8248130D1B}"/>
          </ac:spMkLst>
        </pc:spChg>
        <pc:spChg chg="add del mod modVis">
          <ac:chgData name="Wenwen Zhang" userId="9dd81366-5d6f-445a-b031-6ea562624431" providerId="ADAL" clId="{D6FBF965-026B-43DA-A554-C6861A0A35E4}" dt="2023-02-01T19:12:51.250" v="38337"/>
          <ac:spMkLst>
            <pc:docMk/>
            <pc:sldMk cId="1589772229" sldId="2134804370"/>
            <ac:spMk id="152" creationId="{C6B38E48-95F5-4CA2-A3E0-AA6215D44947}"/>
          </ac:spMkLst>
        </pc:spChg>
        <pc:spChg chg="add del mod modVis">
          <ac:chgData name="Wenwen Zhang" userId="9dd81366-5d6f-445a-b031-6ea562624431" providerId="ADAL" clId="{D6FBF965-026B-43DA-A554-C6861A0A35E4}" dt="2023-02-02T11:55:23.599" v="123947"/>
          <ac:spMkLst>
            <pc:docMk/>
            <pc:sldMk cId="1589772229" sldId="2134804370"/>
            <ac:spMk id="153" creationId="{242F3C0A-C494-B736-AB26-4F99FDE444B5}"/>
          </ac:spMkLst>
        </pc:spChg>
        <pc:spChg chg="add del mod modVis">
          <ac:chgData name="Wenwen Zhang" userId="9dd81366-5d6f-445a-b031-6ea562624431" providerId="ADAL" clId="{D6FBF965-026B-43DA-A554-C6861A0A35E4}" dt="2023-02-01T19:12:54.218" v="38468"/>
          <ac:spMkLst>
            <pc:docMk/>
            <pc:sldMk cId="1589772229" sldId="2134804370"/>
            <ac:spMk id="154" creationId="{9CA6FABC-6610-4EAE-4555-564F7B736ACF}"/>
          </ac:spMkLst>
        </pc:spChg>
        <pc:spChg chg="add del mod modVis">
          <ac:chgData name="Wenwen Zhang" userId="9dd81366-5d6f-445a-b031-6ea562624431" providerId="ADAL" clId="{D6FBF965-026B-43DA-A554-C6861A0A35E4}" dt="2023-02-02T11:55:26.771" v="124097"/>
          <ac:spMkLst>
            <pc:docMk/>
            <pc:sldMk cId="1589772229" sldId="2134804370"/>
            <ac:spMk id="155" creationId="{B50CE741-A6EE-7EC0-860D-8BFEB4219771}"/>
          </ac:spMkLst>
        </pc:spChg>
        <pc:spChg chg="add del mod modVis">
          <ac:chgData name="Wenwen Zhang" userId="9dd81366-5d6f-445a-b031-6ea562624431" providerId="ADAL" clId="{D6FBF965-026B-43DA-A554-C6861A0A35E4}" dt="2023-02-01T19:12:56.912" v="38595"/>
          <ac:spMkLst>
            <pc:docMk/>
            <pc:sldMk cId="1589772229" sldId="2134804370"/>
            <ac:spMk id="156" creationId="{746361F8-79C5-4AE1-9A90-E723F93FF5C4}"/>
          </ac:spMkLst>
        </pc:spChg>
        <pc:spChg chg="add del mod modVis">
          <ac:chgData name="Wenwen Zhang" userId="9dd81366-5d6f-445a-b031-6ea562624431" providerId="ADAL" clId="{D6FBF965-026B-43DA-A554-C6861A0A35E4}" dt="2023-02-02T11:55:40.193" v="124213"/>
          <ac:spMkLst>
            <pc:docMk/>
            <pc:sldMk cId="1589772229" sldId="2134804370"/>
            <ac:spMk id="157" creationId="{40D27068-EA4B-9E9B-71E2-A1E1F5A82F37}"/>
          </ac:spMkLst>
        </pc:spChg>
        <pc:spChg chg="add del mod modVis">
          <ac:chgData name="Wenwen Zhang" userId="9dd81366-5d6f-445a-b031-6ea562624431" providerId="ADAL" clId="{D6FBF965-026B-43DA-A554-C6861A0A35E4}" dt="2023-02-01T19:13:00.094" v="38718"/>
          <ac:spMkLst>
            <pc:docMk/>
            <pc:sldMk cId="1589772229" sldId="2134804370"/>
            <ac:spMk id="158" creationId="{242E5AE5-8071-26B5-F231-48C81EBC4231}"/>
          </ac:spMkLst>
        </pc:spChg>
        <pc:spChg chg="add del mod modVis">
          <ac:chgData name="Wenwen Zhang" userId="9dd81366-5d6f-445a-b031-6ea562624431" providerId="ADAL" clId="{D6FBF965-026B-43DA-A554-C6861A0A35E4}" dt="2023-02-02T11:55:43.628" v="124335"/>
          <ac:spMkLst>
            <pc:docMk/>
            <pc:sldMk cId="1589772229" sldId="2134804370"/>
            <ac:spMk id="159" creationId="{CC730905-E83E-DF6C-80E7-1A8B02FD4D42}"/>
          </ac:spMkLst>
        </pc:spChg>
        <pc:spChg chg="add del mod modVis">
          <ac:chgData name="Wenwen Zhang" userId="9dd81366-5d6f-445a-b031-6ea562624431" providerId="ADAL" clId="{D6FBF965-026B-43DA-A554-C6861A0A35E4}" dt="2023-02-01T19:13:03.103" v="38837"/>
          <ac:spMkLst>
            <pc:docMk/>
            <pc:sldMk cId="1589772229" sldId="2134804370"/>
            <ac:spMk id="160" creationId="{5AA68721-321E-D4DB-1C66-4DD00F4DBA9F}"/>
          </ac:spMkLst>
        </pc:spChg>
        <pc:spChg chg="add del mod modVis">
          <ac:chgData name="Wenwen Zhang" userId="9dd81366-5d6f-445a-b031-6ea562624431" providerId="ADAL" clId="{D6FBF965-026B-43DA-A554-C6861A0A35E4}" dt="2023-02-02T11:56:23.249" v="124642"/>
          <ac:spMkLst>
            <pc:docMk/>
            <pc:sldMk cId="1589772229" sldId="2134804370"/>
            <ac:spMk id="161" creationId="{7FC72488-71F3-0DC9-A3B4-73FF533B2BC4}"/>
          </ac:spMkLst>
        </pc:spChg>
        <pc:spChg chg="add del mod modVis">
          <ac:chgData name="Wenwen Zhang" userId="9dd81366-5d6f-445a-b031-6ea562624431" providerId="ADAL" clId="{D6FBF965-026B-43DA-A554-C6861A0A35E4}" dt="2023-02-01T19:13:06.061" v="38952"/>
          <ac:spMkLst>
            <pc:docMk/>
            <pc:sldMk cId="1589772229" sldId="2134804370"/>
            <ac:spMk id="162" creationId="{194ED53E-02DA-E6AE-CEDD-72B77C476386}"/>
          </ac:spMkLst>
        </pc:spChg>
        <pc:spChg chg="add del mod modVis">
          <ac:chgData name="Wenwen Zhang" userId="9dd81366-5d6f-445a-b031-6ea562624431" providerId="ADAL" clId="{D6FBF965-026B-43DA-A554-C6861A0A35E4}" dt="2023-02-02T11:56:39.718" v="131372"/>
          <ac:spMkLst>
            <pc:docMk/>
            <pc:sldMk cId="1589772229" sldId="2134804370"/>
            <ac:spMk id="163" creationId="{C35EEFE7-F557-2D09-4720-E6BE094B3003}"/>
          </ac:spMkLst>
        </pc:spChg>
        <pc:spChg chg="add del mod modVis">
          <ac:chgData name="Wenwen Zhang" userId="9dd81366-5d6f-445a-b031-6ea562624431" providerId="ADAL" clId="{D6FBF965-026B-43DA-A554-C6861A0A35E4}" dt="2023-02-01T19:13:09.809" v="39063"/>
          <ac:spMkLst>
            <pc:docMk/>
            <pc:sldMk cId="1589772229" sldId="2134804370"/>
            <ac:spMk id="164" creationId="{7015FA7D-2DA5-7680-C687-1C4B6C1DAE03}"/>
          </ac:spMkLst>
        </pc:spChg>
        <pc:spChg chg="add del mod modVis">
          <ac:chgData name="Wenwen Zhang" userId="9dd81366-5d6f-445a-b031-6ea562624431" providerId="ADAL" clId="{D6FBF965-026B-43DA-A554-C6861A0A35E4}" dt="2023-02-02T11:56:39.178" v="131223"/>
          <ac:spMkLst>
            <pc:docMk/>
            <pc:sldMk cId="1589772229" sldId="2134804370"/>
            <ac:spMk id="165" creationId="{157F9A94-8407-8B06-D727-8976EF5A2392}"/>
          </ac:spMkLst>
        </pc:spChg>
        <pc:spChg chg="add mod replST delST">
          <ac:chgData name="Wenwen Zhang" userId="9dd81366-5d6f-445a-b031-6ea562624431" providerId="ADAL" clId="{D6FBF965-026B-43DA-A554-C6861A0A35E4}" dt="2023-02-02T11:56:39.178" v="131223"/>
          <ac:spMkLst>
            <pc:docMk/>
            <pc:sldMk cId="1589772229" sldId="2134804370"/>
            <ac:spMk id="166" creationId="{96DB64E7-7450-5BAA-7DCA-6F75AE12EF02}"/>
          </ac:spMkLst>
        </pc:spChg>
        <pc:spChg chg="add del mod modVis">
          <ac:chgData name="Wenwen Zhang" userId="9dd81366-5d6f-445a-b031-6ea562624431" providerId="ADAL" clId="{D6FBF965-026B-43DA-A554-C6861A0A35E4}" dt="2023-02-01T19:13:44.705" v="39392"/>
          <ac:spMkLst>
            <pc:docMk/>
            <pc:sldMk cId="1589772229" sldId="2134804370"/>
            <ac:spMk id="166" creationId="{A2109847-5850-DDD0-5D1E-5ABEB2C79F7F}"/>
          </ac:spMkLst>
        </pc:spChg>
        <pc:spChg chg="add mod replST delST">
          <ac:chgData name="Wenwen Zhang" userId="9dd81366-5d6f-445a-b031-6ea562624431" providerId="ADAL" clId="{D6FBF965-026B-43DA-A554-C6861A0A35E4}" dt="2023-02-02T11:56:39.178" v="131223"/>
          <ac:spMkLst>
            <pc:docMk/>
            <pc:sldMk cId="1589772229" sldId="2134804370"/>
            <ac:spMk id="167" creationId="{96DB64E7-7450-5BAA-7DCA-6F75AE12EF02}"/>
          </ac:spMkLst>
        </pc:spChg>
        <pc:spChg chg="add del mod modVis">
          <ac:chgData name="Wenwen Zhang" userId="9dd81366-5d6f-445a-b031-6ea562624431" providerId="ADAL" clId="{D6FBF965-026B-43DA-A554-C6861A0A35E4}" dt="2023-02-01T21:09:13.936" v="64678"/>
          <ac:spMkLst>
            <pc:docMk/>
            <pc:sldMk cId="1589772229" sldId="2134804370"/>
            <ac:spMk id="168" creationId="{0DEF7921-0516-EF30-5C96-0FDE1926B4A9}"/>
          </ac:spMkLst>
        </pc:spChg>
        <pc:spChg chg="add mod replST delST">
          <ac:chgData name="Wenwen Zhang" userId="9dd81366-5d6f-445a-b031-6ea562624431" providerId="ADAL" clId="{D6FBF965-026B-43DA-A554-C6861A0A35E4}" dt="2023-02-02T11:56:39.178" v="131223"/>
          <ac:spMkLst>
            <pc:docMk/>
            <pc:sldMk cId="1589772229" sldId="2134804370"/>
            <ac:spMk id="168" creationId="{96DB64E7-7450-5BAA-7DCA-6F75AE12EF02}"/>
          </ac:spMkLst>
        </pc:spChg>
        <pc:spChg chg="add mod replST delST">
          <ac:chgData name="Wenwen Zhang" userId="9dd81366-5d6f-445a-b031-6ea562624431" providerId="ADAL" clId="{D6FBF965-026B-43DA-A554-C6861A0A35E4}" dt="2023-02-02T11:56:39.178" v="131223"/>
          <ac:spMkLst>
            <pc:docMk/>
            <pc:sldMk cId="1589772229" sldId="2134804370"/>
            <ac:spMk id="169" creationId="{96DB64E7-7450-5BAA-7DCA-6F75AE12EF02}"/>
          </ac:spMkLst>
        </pc:spChg>
        <pc:spChg chg="add del mod modVis">
          <ac:chgData name="Wenwen Zhang" userId="9dd81366-5d6f-445a-b031-6ea562624431" providerId="ADAL" clId="{D6FBF965-026B-43DA-A554-C6861A0A35E4}" dt="2023-02-01T21:18:12.869" v="64929"/>
          <ac:spMkLst>
            <pc:docMk/>
            <pc:sldMk cId="1589772229" sldId="2134804370"/>
            <ac:spMk id="170" creationId="{85BB6A21-7A63-8DEA-71A5-4E0FCCC1C5F9}"/>
          </ac:spMkLst>
        </pc:spChg>
        <pc:spChg chg="add mod replST delST">
          <ac:chgData name="Wenwen Zhang" userId="9dd81366-5d6f-445a-b031-6ea562624431" providerId="ADAL" clId="{D6FBF965-026B-43DA-A554-C6861A0A35E4}" dt="2023-02-02T11:56:39.178" v="131223"/>
          <ac:spMkLst>
            <pc:docMk/>
            <pc:sldMk cId="1589772229" sldId="2134804370"/>
            <ac:spMk id="170" creationId="{96DB64E7-7450-5BAA-7DCA-6F75AE12EF02}"/>
          </ac:spMkLst>
        </pc:spChg>
        <pc:spChg chg="add mod replST delST">
          <ac:chgData name="Wenwen Zhang" userId="9dd81366-5d6f-445a-b031-6ea562624431" providerId="ADAL" clId="{D6FBF965-026B-43DA-A554-C6861A0A35E4}" dt="2023-02-02T11:56:39.178" v="131223"/>
          <ac:spMkLst>
            <pc:docMk/>
            <pc:sldMk cId="1589772229" sldId="2134804370"/>
            <ac:spMk id="171" creationId="{96DB64E7-7450-5BAA-7DCA-6F75AE12EF02}"/>
          </ac:spMkLst>
        </pc:spChg>
        <pc:spChg chg="add del mod modVis">
          <ac:chgData name="Wenwen Zhang" userId="9dd81366-5d6f-445a-b031-6ea562624431" providerId="ADAL" clId="{D6FBF965-026B-43DA-A554-C6861A0A35E4}" dt="2023-02-01T21:18:15.886" v="65076"/>
          <ac:spMkLst>
            <pc:docMk/>
            <pc:sldMk cId="1589772229" sldId="2134804370"/>
            <ac:spMk id="172" creationId="{03140CC9-9F5E-6EBB-9EAC-0A03BECCE553}"/>
          </ac:spMkLst>
        </pc:spChg>
        <pc:spChg chg="add mod replST delST">
          <ac:chgData name="Wenwen Zhang" userId="9dd81366-5d6f-445a-b031-6ea562624431" providerId="ADAL" clId="{D6FBF965-026B-43DA-A554-C6861A0A35E4}" dt="2023-02-02T11:56:39.178" v="131223"/>
          <ac:spMkLst>
            <pc:docMk/>
            <pc:sldMk cId="1589772229" sldId="2134804370"/>
            <ac:spMk id="172" creationId="{96DB64E7-7450-5BAA-7DCA-6F75AE12EF02}"/>
          </ac:spMkLst>
        </pc:spChg>
        <pc:spChg chg="add mod replST delST">
          <ac:chgData name="Wenwen Zhang" userId="9dd81366-5d6f-445a-b031-6ea562624431" providerId="ADAL" clId="{D6FBF965-026B-43DA-A554-C6861A0A35E4}" dt="2023-02-02T11:56:39.178" v="131223"/>
          <ac:spMkLst>
            <pc:docMk/>
            <pc:sldMk cId="1589772229" sldId="2134804370"/>
            <ac:spMk id="173" creationId="{96DB64E7-7450-5BAA-7DCA-6F75AE12EF02}"/>
          </ac:spMkLst>
        </pc:spChg>
        <pc:spChg chg="add del mod modVis">
          <ac:chgData name="Wenwen Zhang" userId="9dd81366-5d6f-445a-b031-6ea562624431" providerId="ADAL" clId="{D6FBF965-026B-43DA-A554-C6861A0A35E4}" dt="2023-02-01T21:18:20.031" v="65197"/>
          <ac:spMkLst>
            <pc:docMk/>
            <pc:sldMk cId="1589772229" sldId="2134804370"/>
            <ac:spMk id="174" creationId="{3D18F6BE-890B-0F08-DB16-06F609EE3CD1}"/>
          </ac:spMkLst>
        </pc:spChg>
        <pc:spChg chg="add mod replST delST">
          <ac:chgData name="Wenwen Zhang" userId="9dd81366-5d6f-445a-b031-6ea562624431" providerId="ADAL" clId="{D6FBF965-026B-43DA-A554-C6861A0A35E4}" dt="2023-02-02T11:56:39.178" v="131223"/>
          <ac:spMkLst>
            <pc:docMk/>
            <pc:sldMk cId="1589772229" sldId="2134804370"/>
            <ac:spMk id="174" creationId="{96DB64E7-7450-5BAA-7DCA-6F75AE12EF02}"/>
          </ac:spMkLst>
        </pc:spChg>
        <pc:spChg chg="add mod replST delST">
          <ac:chgData name="Wenwen Zhang" userId="9dd81366-5d6f-445a-b031-6ea562624431" providerId="ADAL" clId="{D6FBF965-026B-43DA-A554-C6861A0A35E4}" dt="2023-02-02T11:56:39.178" v="131223"/>
          <ac:spMkLst>
            <pc:docMk/>
            <pc:sldMk cId="1589772229" sldId="2134804370"/>
            <ac:spMk id="175" creationId="{96DB64E7-7450-5BAA-7DCA-6F75AE12EF02}"/>
          </ac:spMkLst>
        </pc:spChg>
        <pc:spChg chg="add mod replST">
          <ac:chgData name="Wenwen Zhang" userId="9dd81366-5d6f-445a-b031-6ea562624431" providerId="ADAL" clId="{D6FBF965-026B-43DA-A554-C6861A0A35E4}" dt="2023-02-02T12:02:04.322" v="133039"/>
          <ac:spMkLst>
            <pc:docMk/>
            <pc:sldMk cId="1589772229" sldId="2134804370"/>
            <ac:spMk id="176" creationId="{0333CDF8-75B9-FB8B-354B-CE0536B52445}"/>
          </ac:spMkLst>
        </pc:spChg>
        <pc:spChg chg="add mod replST delST">
          <ac:chgData name="Wenwen Zhang" userId="9dd81366-5d6f-445a-b031-6ea562624431" providerId="ADAL" clId="{D6FBF965-026B-43DA-A554-C6861A0A35E4}" dt="2023-02-02T11:56:39.178" v="131223"/>
          <ac:spMkLst>
            <pc:docMk/>
            <pc:sldMk cId="1589772229" sldId="2134804370"/>
            <ac:spMk id="177" creationId="{96DB64E7-7450-5BAA-7DCA-6F75AE12EF02}"/>
          </ac:spMkLst>
        </pc:spChg>
        <pc:spChg chg="add del mod modVis">
          <ac:chgData name="Wenwen Zhang" userId="9dd81366-5d6f-445a-b031-6ea562624431" providerId="ADAL" clId="{D6FBF965-026B-43DA-A554-C6861A0A35E4}" dt="2023-02-01T21:18:28.422" v="65374"/>
          <ac:spMkLst>
            <pc:docMk/>
            <pc:sldMk cId="1589772229" sldId="2134804370"/>
            <ac:spMk id="177" creationId="{C619EBD4-BECD-012C-58E7-7F28B54C2890}"/>
          </ac:spMkLst>
        </pc:spChg>
        <pc:spChg chg="add mod replST delST">
          <ac:chgData name="Wenwen Zhang" userId="9dd81366-5d6f-445a-b031-6ea562624431" providerId="ADAL" clId="{D6FBF965-026B-43DA-A554-C6861A0A35E4}" dt="2023-02-02T11:56:39.178" v="131223"/>
          <ac:spMkLst>
            <pc:docMk/>
            <pc:sldMk cId="1589772229" sldId="2134804370"/>
            <ac:spMk id="178" creationId="{96DB64E7-7450-5BAA-7DCA-6F75AE12EF02}"/>
          </ac:spMkLst>
        </pc:spChg>
        <pc:spChg chg="add del mod ord replST">
          <ac:chgData name="Wenwen Zhang" userId="9dd81366-5d6f-445a-b031-6ea562624431" providerId="ADAL" clId="{D6FBF965-026B-43DA-A554-C6861A0A35E4}" dt="2023-02-01T21:24:03.124" v="73773"/>
          <ac:spMkLst>
            <pc:docMk/>
            <pc:sldMk cId="1589772229" sldId="2134804370"/>
            <ac:spMk id="179" creationId="{67F24C12-0844-B3DA-E248-1C24038CA022}"/>
          </ac:spMkLst>
        </pc:spChg>
        <pc:spChg chg="add mod replST delST">
          <ac:chgData name="Wenwen Zhang" userId="9dd81366-5d6f-445a-b031-6ea562624431" providerId="ADAL" clId="{D6FBF965-026B-43DA-A554-C6861A0A35E4}" dt="2023-02-02T11:56:39.178" v="131223"/>
          <ac:spMkLst>
            <pc:docMk/>
            <pc:sldMk cId="1589772229" sldId="2134804370"/>
            <ac:spMk id="179" creationId="{96DB64E7-7450-5BAA-7DCA-6F75AE12EF02}"/>
          </ac:spMkLst>
        </pc:spChg>
        <pc:spChg chg="add del mod modVis">
          <ac:chgData name="Wenwen Zhang" userId="9dd81366-5d6f-445a-b031-6ea562624431" providerId="ADAL" clId="{D6FBF965-026B-43DA-A554-C6861A0A35E4}" dt="2023-02-01T21:19:00.304" v="65506"/>
          <ac:spMkLst>
            <pc:docMk/>
            <pc:sldMk cId="1589772229" sldId="2134804370"/>
            <ac:spMk id="180" creationId="{68BCCB33-DFC1-B399-703B-0C8A24628008}"/>
          </ac:spMkLst>
        </pc:spChg>
        <pc:spChg chg="add mod replST delST">
          <ac:chgData name="Wenwen Zhang" userId="9dd81366-5d6f-445a-b031-6ea562624431" providerId="ADAL" clId="{D6FBF965-026B-43DA-A554-C6861A0A35E4}" dt="2023-02-02T11:56:39.178" v="131223"/>
          <ac:spMkLst>
            <pc:docMk/>
            <pc:sldMk cId="1589772229" sldId="2134804370"/>
            <ac:spMk id="180" creationId="{96DB64E7-7450-5BAA-7DCA-6F75AE12EF02}"/>
          </ac:spMkLst>
        </pc:spChg>
        <pc:spChg chg="add mod replST delST">
          <ac:chgData name="Wenwen Zhang" userId="9dd81366-5d6f-445a-b031-6ea562624431" providerId="ADAL" clId="{D6FBF965-026B-43DA-A554-C6861A0A35E4}" dt="2023-02-02T11:56:39.178" v="131223"/>
          <ac:spMkLst>
            <pc:docMk/>
            <pc:sldMk cId="1589772229" sldId="2134804370"/>
            <ac:spMk id="181" creationId="{96DB64E7-7450-5BAA-7DCA-6F75AE12EF02}"/>
          </ac:spMkLst>
        </pc:spChg>
        <pc:spChg chg="add del mod modVis">
          <ac:chgData name="Wenwen Zhang" userId="9dd81366-5d6f-445a-b031-6ea562624431" providerId="ADAL" clId="{D6FBF965-026B-43DA-A554-C6861A0A35E4}" dt="2023-02-01T21:19:22.496" v="68722"/>
          <ac:spMkLst>
            <pc:docMk/>
            <pc:sldMk cId="1589772229" sldId="2134804370"/>
            <ac:spMk id="182" creationId="{0A82BEF4-6FE8-69E4-D02D-49FEE3AFB3A9}"/>
          </ac:spMkLst>
        </pc:spChg>
        <pc:spChg chg="add mod replST delST">
          <ac:chgData name="Wenwen Zhang" userId="9dd81366-5d6f-445a-b031-6ea562624431" providerId="ADAL" clId="{D6FBF965-026B-43DA-A554-C6861A0A35E4}" dt="2023-02-02T11:56:39.178" v="131223"/>
          <ac:spMkLst>
            <pc:docMk/>
            <pc:sldMk cId="1589772229" sldId="2134804370"/>
            <ac:spMk id="182" creationId="{96DB64E7-7450-5BAA-7DCA-6F75AE12EF02}"/>
          </ac:spMkLst>
        </pc:spChg>
        <pc:spChg chg="add mod ord replST delST">
          <ac:chgData name="Wenwen Zhang" userId="9dd81366-5d6f-445a-b031-6ea562624431" providerId="ADAL" clId="{D6FBF965-026B-43DA-A554-C6861A0A35E4}" dt="2023-02-02T11:56:39.178" v="131223"/>
          <ac:spMkLst>
            <pc:docMk/>
            <pc:sldMk cId="1589772229" sldId="2134804370"/>
            <ac:spMk id="183" creationId="{96DB64E7-7450-5BAA-7DCA-6F75AE12EF02}"/>
          </ac:spMkLst>
        </pc:spChg>
        <pc:spChg chg="add mod ord replST delST">
          <ac:chgData name="Wenwen Zhang" userId="9dd81366-5d6f-445a-b031-6ea562624431" providerId="ADAL" clId="{D6FBF965-026B-43DA-A554-C6861A0A35E4}" dt="2023-02-02T11:56:39.178" v="131223"/>
          <ac:spMkLst>
            <pc:docMk/>
            <pc:sldMk cId="1589772229" sldId="2134804370"/>
            <ac:spMk id="184" creationId="{96DB64E7-7450-5BAA-7DCA-6F75AE12EF02}"/>
          </ac:spMkLst>
        </pc:spChg>
        <pc:spChg chg="add mod ord replST delST">
          <ac:chgData name="Wenwen Zhang" userId="9dd81366-5d6f-445a-b031-6ea562624431" providerId="ADAL" clId="{D6FBF965-026B-43DA-A554-C6861A0A35E4}" dt="2023-02-02T11:56:39.178" v="131223"/>
          <ac:spMkLst>
            <pc:docMk/>
            <pc:sldMk cId="1589772229" sldId="2134804370"/>
            <ac:spMk id="185" creationId="{96DB64E7-7450-5BAA-7DCA-6F75AE12EF02}"/>
          </ac:spMkLst>
        </pc:spChg>
        <pc:spChg chg="add mod ord replST delST">
          <ac:chgData name="Wenwen Zhang" userId="9dd81366-5d6f-445a-b031-6ea562624431" providerId="ADAL" clId="{D6FBF965-026B-43DA-A554-C6861A0A35E4}" dt="2023-02-02T11:56:39.178" v="131223"/>
          <ac:spMkLst>
            <pc:docMk/>
            <pc:sldMk cId="1589772229" sldId="2134804370"/>
            <ac:spMk id="186" creationId="{96DB64E7-7450-5BAA-7DCA-6F75AE12EF02}"/>
          </ac:spMkLst>
        </pc:spChg>
        <pc:spChg chg="add mod ord replST delST">
          <ac:chgData name="Wenwen Zhang" userId="9dd81366-5d6f-445a-b031-6ea562624431" providerId="ADAL" clId="{D6FBF965-026B-43DA-A554-C6861A0A35E4}" dt="2023-02-02T11:56:39.178" v="131223"/>
          <ac:spMkLst>
            <pc:docMk/>
            <pc:sldMk cId="1589772229" sldId="2134804370"/>
            <ac:spMk id="187" creationId="{96DB64E7-7450-5BAA-7DCA-6F75AE12EF02}"/>
          </ac:spMkLst>
        </pc:spChg>
        <pc:spChg chg="add mod ord replST delST">
          <ac:chgData name="Wenwen Zhang" userId="9dd81366-5d6f-445a-b031-6ea562624431" providerId="ADAL" clId="{D6FBF965-026B-43DA-A554-C6861A0A35E4}" dt="2023-02-02T11:56:39.178" v="131223"/>
          <ac:spMkLst>
            <pc:docMk/>
            <pc:sldMk cId="1589772229" sldId="2134804370"/>
            <ac:spMk id="188" creationId="{96DB64E7-7450-5BAA-7DCA-6F75AE12EF02}"/>
          </ac:spMkLst>
        </pc:spChg>
        <pc:spChg chg="add mod ord replST delST">
          <ac:chgData name="Wenwen Zhang" userId="9dd81366-5d6f-445a-b031-6ea562624431" providerId="ADAL" clId="{D6FBF965-026B-43DA-A554-C6861A0A35E4}" dt="2023-02-02T11:56:39.178" v="131223"/>
          <ac:spMkLst>
            <pc:docMk/>
            <pc:sldMk cId="1589772229" sldId="2134804370"/>
            <ac:spMk id="189" creationId="{96DB64E7-7450-5BAA-7DCA-6F75AE12EF02}"/>
          </ac:spMkLst>
        </pc:spChg>
        <pc:spChg chg="add mod ord replST delST">
          <ac:chgData name="Wenwen Zhang" userId="9dd81366-5d6f-445a-b031-6ea562624431" providerId="ADAL" clId="{D6FBF965-026B-43DA-A554-C6861A0A35E4}" dt="2023-02-02T11:56:39.178" v="131223"/>
          <ac:spMkLst>
            <pc:docMk/>
            <pc:sldMk cId="1589772229" sldId="2134804370"/>
            <ac:spMk id="190" creationId="{96DB64E7-7450-5BAA-7DCA-6F75AE12EF02}"/>
          </ac:spMkLst>
        </pc:spChg>
        <pc:spChg chg="add mod ord replST delST">
          <ac:chgData name="Wenwen Zhang" userId="9dd81366-5d6f-445a-b031-6ea562624431" providerId="ADAL" clId="{D6FBF965-026B-43DA-A554-C6861A0A35E4}" dt="2023-02-02T11:56:39.178" v="131223"/>
          <ac:spMkLst>
            <pc:docMk/>
            <pc:sldMk cId="1589772229" sldId="2134804370"/>
            <ac:spMk id="191" creationId="{96DB64E7-7450-5BAA-7DCA-6F75AE12EF02}"/>
          </ac:spMkLst>
        </pc:spChg>
        <pc:spChg chg="mod">
          <ac:chgData name="Wenwen Zhang" userId="9dd81366-5d6f-445a-b031-6ea562624431" providerId="ADAL" clId="{D6FBF965-026B-43DA-A554-C6861A0A35E4}" dt="2023-02-02T12:02:04.322" v="133038"/>
          <ac:spMkLst>
            <pc:docMk/>
            <pc:sldMk cId="1589772229" sldId="2134804370"/>
            <ac:spMk id="341" creationId="{684A672A-79D1-5720-64EE-C0A5AEEF8BD4}"/>
          </ac:spMkLst>
        </pc:spChg>
        <pc:spChg chg="del mod">
          <ac:chgData name="Wenwen Zhang" userId="9dd81366-5d6f-445a-b031-6ea562624431" providerId="ADAL" clId="{D6FBF965-026B-43DA-A554-C6861A0A35E4}" dt="2023-02-01T21:23:58.338" v="71625"/>
          <ac:spMkLst>
            <pc:docMk/>
            <pc:sldMk cId="1589772229" sldId="2134804370"/>
            <ac:spMk id="344" creationId="{7967F8CC-7EAC-A5CB-4FFF-5706400DF166}"/>
          </ac:spMkLst>
        </pc:spChg>
        <pc:spChg chg="del mod">
          <ac:chgData name="Wenwen Zhang" userId="9dd81366-5d6f-445a-b031-6ea562624431" providerId="ADAL" clId="{D6FBF965-026B-43DA-A554-C6861A0A35E4}" dt="2023-02-02T10:05:46.007" v="108073"/>
          <ac:spMkLst>
            <pc:docMk/>
            <pc:sldMk cId="1589772229" sldId="2134804370"/>
            <ac:spMk id="345" creationId="{4CC8D3A3-A11D-8678-C40C-818AF04B1BDA}"/>
          </ac:spMkLst>
        </pc:spChg>
        <pc:spChg chg="add del mod modVis">
          <ac:chgData name="Wenwen Zhang" userId="9dd81366-5d6f-445a-b031-6ea562624431" providerId="ADAL" clId="{D6FBF965-026B-43DA-A554-C6861A0A35E4}" dt="2023-02-01T21:24:09.479" v="78149"/>
          <ac:spMkLst>
            <pc:docMk/>
            <pc:sldMk cId="1589772229" sldId="2134804370"/>
            <ac:spMk id="352" creationId="{DDEDE761-20FB-7060-5ED6-6B7D25C8437D}"/>
          </ac:spMkLst>
        </pc:spChg>
        <pc:spChg chg="add del mod replST">
          <ac:chgData name="Wenwen Zhang" userId="9dd81366-5d6f-445a-b031-6ea562624431" providerId="ADAL" clId="{D6FBF965-026B-43DA-A554-C6861A0A35E4}" dt="2023-02-02T12:02:04.322" v="133014"/>
          <ac:spMkLst>
            <pc:docMk/>
            <pc:sldMk cId="1589772229" sldId="2134804370"/>
            <ac:spMk id="353" creationId="{96DB64E7-7450-5BAA-7DCA-6F75AE12EF02}"/>
          </ac:spMkLst>
        </pc:spChg>
        <pc:spChg chg="add del mod replST">
          <ac:chgData name="Wenwen Zhang" userId="9dd81366-5d6f-445a-b031-6ea562624431" providerId="ADAL" clId="{D6FBF965-026B-43DA-A554-C6861A0A35E4}" dt="2023-02-01T21:24:58.275" v="79302"/>
          <ac:spMkLst>
            <pc:docMk/>
            <pc:sldMk cId="1589772229" sldId="2134804370"/>
            <ac:spMk id="354" creationId="{96DB64E7-7450-5BAA-7DCA-6F75AE12EF02}"/>
          </ac:spMkLst>
        </pc:spChg>
        <pc:spChg chg="add del mod replST">
          <ac:chgData name="Wenwen Zhang" userId="9dd81366-5d6f-445a-b031-6ea562624431" providerId="ADAL" clId="{D6FBF965-026B-43DA-A554-C6861A0A35E4}" dt="2023-02-01T21:25:01.858" v="79691"/>
          <ac:spMkLst>
            <pc:docMk/>
            <pc:sldMk cId="1589772229" sldId="2134804370"/>
            <ac:spMk id="355" creationId="{96DB64E7-7450-5BAA-7DCA-6F75AE12EF02}"/>
          </ac:spMkLst>
        </pc:spChg>
        <pc:spChg chg="add del mod replST">
          <ac:chgData name="Wenwen Zhang" userId="9dd81366-5d6f-445a-b031-6ea562624431" providerId="ADAL" clId="{D6FBF965-026B-43DA-A554-C6861A0A35E4}" dt="2023-02-02T12:02:04.322" v="133016"/>
          <ac:spMkLst>
            <pc:docMk/>
            <pc:sldMk cId="1589772229" sldId="2134804370"/>
            <ac:spMk id="356" creationId="{96DB64E7-7450-5BAA-7DCA-6F75AE12EF02}"/>
          </ac:spMkLst>
        </pc:spChg>
        <pc:spChg chg="add del mod replST">
          <ac:chgData name="Wenwen Zhang" userId="9dd81366-5d6f-445a-b031-6ea562624431" providerId="ADAL" clId="{D6FBF965-026B-43DA-A554-C6861A0A35E4}" dt="2023-02-01T21:25:04.336" v="80022"/>
          <ac:spMkLst>
            <pc:docMk/>
            <pc:sldMk cId="1589772229" sldId="2134804370"/>
            <ac:spMk id="357" creationId="{96DB64E7-7450-5BAA-7DCA-6F75AE12EF02}"/>
          </ac:spMkLst>
        </pc:spChg>
        <pc:spChg chg="add del mod replST">
          <ac:chgData name="Wenwen Zhang" userId="9dd81366-5d6f-445a-b031-6ea562624431" providerId="ADAL" clId="{D6FBF965-026B-43DA-A554-C6861A0A35E4}" dt="2023-02-01T21:25:06.785" v="80348"/>
          <ac:spMkLst>
            <pc:docMk/>
            <pc:sldMk cId="1589772229" sldId="2134804370"/>
            <ac:spMk id="358" creationId="{96DB64E7-7450-5BAA-7DCA-6F75AE12EF02}"/>
          </ac:spMkLst>
        </pc:spChg>
        <pc:spChg chg="add del mod replST">
          <ac:chgData name="Wenwen Zhang" userId="9dd81366-5d6f-445a-b031-6ea562624431" providerId="ADAL" clId="{D6FBF965-026B-43DA-A554-C6861A0A35E4}" dt="2023-02-02T12:02:04.322" v="133018"/>
          <ac:spMkLst>
            <pc:docMk/>
            <pc:sldMk cId="1589772229" sldId="2134804370"/>
            <ac:spMk id="359" creationId="{96DB64E7-7450-5BAA-7DCA-6F75AE12EF02}"/>
          </ac:spMkLst>
        </pc:spChg>
        <pc:spChg chg="add del mod replST">
          <ac:chgData name="Wenwen Zhang" userId="9dd81366-5d6f-445a-b031-6ea562624431" providerId="ADAL" clId="{D6FBF965-026B-43DA-A554-C6861A0A35E4}" dt="2023-02-01T21:25:08.063" v="80511"/>
          <ac:spMkLst>
            <pc:docMk/>
            <pc:sldMk cId="1589772229" sldId="2134804370"/>
            <ac:spMk id="360" creationId="{96DB64E7-7450-5BAA-7DCA-6F75AE12EF02}"/>
          </ac:spMkLst>
        </pc:spChg>
        <pc:spChg chg="add del mod replST">
          <ac:chgData name="Wenwen Zhang" userId="9dd81366-5d6f-445a-b031-6ea562624431" providerId="ADAL" clId="{D6FBF965-026B-43DA-A554-C6861A0A35E4}" dt="2023-02-01T21:25:08.223" v="80609"/>
          <ac:spMkLst>
            <pc:docMk/>
            <pc:sldMk cId="1589772229" sldId="2134804370"/>
            <ac:spMk id="361" creationId="{96DB64E7-7450-5BAA-7DCA-6F75AE12EF02}"/>
          </ac:spMkLst>
        </pc:spChg>
        <pc:spChg chg="add del mod replST">
          <ac:chgData name="Wenwen Zhang" userId="9dd81366-5d6f-445a-b031-6ea562624431" providerId="ADAL" clId="{D6FBF965-026B-43DA-A554-C6861A0A35E4}" dt="2023-02-02T12:02:04.322" v="133021"/>
          <ac:spMkLst>
            <pc:docMk/>
            <pc:sldMk cId="1589772229" sldId="2134804370"/>
            <ac:spMk id="362" creationId="{96DB64E7-7450-5BAA-7DCA-6F75AE12EF02}"/>
          </ac:spMkLst>
        </pc:spChg>
        <pc:spChg chg="add del mod replST">
          <ac:chgData name="Wenwen Zhang" userId="9dd81366-5d6f-445a-b031-6ea562624431" providerId="ADAL" clId="{D6FBF965-026B-43DA-A554-C6861A0A35E4}" dt="2023-02-01T21:25:12.093" v="80983"/>
          <ac:spMkLst>
            <pc:docMk/>
            <pc:sldMk cId="1589772229" sldId="2134804370"/>
            <ac:spMk id="363" creationId="{96DB64E7-7450-5BAA-7DCA-6F75AE12EF02}"/>
          </ac:spMkLst>
        </pc:spChg>
        <pc:spChg chg="add del mod replST">
          <ac:chgData name="Wenwen Zhang" userId="9dd81366-5d6f-445a-b031-6ea562624431" providerId="ADAL" clId="{D6FBF965-026B-43DA-A554-C6861A0A35E4}" dt="2023-02-01T21:25:13.712" v="81140"/>
          <ac:spMkLst>
            <pc:docMk/>
            <pc:sldMk cId="1589772229" sldId="2134804370"/>
            <ac:spMk id="364" creationId="{96DB64E7-7450-5BAA-7DCA-6F75AE12EF02}"/>
          </ac:spMkLst>
        </pc:spChg>
        <pc:spChg chg="add del mod replST">
          <ac:chgData name="Wenwen Zhang" userId="9dd81366-5d6f-445a-b031-6ea562624431" providerId="ADAL" clId="{D6FBF965-026B-43DA-A554-C6861A0A35E4}" dt="2023-02-02T12:02:04.322" v="133019"/>
          <ac:spMkLst>
            <pc:docMk/>
            <pc:sldMk cId="1589772229" sldId="2134804370"/>
            <ac:spMk id="365" creationId="{96DB64E7-7450-5BAA-7DCA-6F75AE12EF02}"/>
          </ac:spMkLst>
        </pc:spChg>
        <pc:spChg chg="add del mod replST">
          <ac:chgData name="Wenwen Zhang" userId="9dd81366-5d6f-445a-b031-6ea562624431" providerId="ADAL" clId="{D6FBF965-026B-43DA-A554-C6861A0A35E4}" dt="2023-02-01T21:25:13.664" v="81078"/>
          <ac:spMkLst>
            <pc:docMk/>
            <pc:sldMk cId="1589772229" sldId="2134804370"/>
            <ac:spMk id="366" creationId="{96DB64E7-7450-5BAA-7DCA-6F75AE12EF02}"/>
          </ac:spMkLst>
        </pc:spChg>
        <pc:spChg chg="add del mod replST">
          <ac:chgData name="Wenwen Zhang" userId="9dd81366-5d6f-445a-b031-6ea562624431" providerId="ADAL" clId="{D6FBF965-026B-43DA-A554-C6861A0A35E4}" dt="2023-02-01T21:25:17.120" v="81442"/>
          <ac:spMkLst>
            <pc:docMk/>
            <pc:sldMk cId="1589772229" sldId="2134804370"/>
            <ac:spMk id="367" creationId="{96DB64E7-7450-5BAA-7DCA-6F75AE12EF02}"/>
          </ac:spMkLst>
        </pc:spChg>
        <pc:spChg chg="add del mod replST">
          <ac:chgData name="Wenwen Zhang" userId="9dd81366-5d6f-445a-b031-6ea562624431" providerId="ADAL" clId="{D6FBF965-026B-43DA-A554-C6861A0A35E4}" dt="2023-02-02T12:02:04.322" v="133012"/>
          <ac:spMkLst>
            <pc:docMk/>
            <pc:sldMk cId="1589772229" sldId="2134804370"/>
            <ac:spMk id="368" creationId="{96DB64E7-7450-5BAA-7DCA-6F75AE12EF02}"/>
          </ac:spMkLst>
        </pc:spChg>
        <pc:spChg chg="add del mod replST">
          <ac:chgData name="Wenwen Zhang" userId="9dd81366-5d6f-445a-b031-6ea562624431" providerId="ADAL" clId="{D6FBF965-026B-43DA-A554-C6861A0A35E4}" dt="2023-02-01T21:25:19.402" v="81742"/>
          <ac:spMkLst>
            <pc:docMk/>
            <pc:sldMk cId="1589772229" sldId="2134804370"/>
            <ac:spMk id="369" creationId="{96DB64E7-7450-5BAA-7DCA-6F75AE12EF02}"/>
          </ac:spMkLst>
        </pc:spChg>
        <pc:spChg chg="add del mod replST">
          <ac:chgData name="Wenwen Zhang" userId="9dd81366-5d6f-445a-b031-6ea562624431" providerId="ADAL" clId="{D6FBF965-026B-43DA-A554-C6861A0A35E4}" dt="2023-02-01T21:25:21.219" v="81891"/>
          <ac:spMkLst>
            <pc:docMk/>
            <pc:sldMk cId="1589772229" sldId="2134804370"/>
            <ac:spMk id="370" creationId="{96DB64E7-7450-5BAA-7DCA-6F75AE12EF02}"/>
          </ac:spMkLst>
        </pc:spChg>
        <pc:spChg chg="add del mod replST">
          <ac:chgData name="Wenwen Zhang" userId="9dd81366-5d6f-445a-b031-6ea562624431" providerId="ADAL" clId="{D6FBF965-026B-43DA-A554-C6861A0A35E4}" dt="2023-02-02T12:02:04.322" v="133023"/>
          <ac:spMkLst>
            <pc:docMk/>
            <pc:sldMk cId="1589772229" sldId="2134804370"/>
            <ac:spMk id="371" creationId="{96DB64E7-7450-5BAA-7DCA-6F75AE12EF02}"/>
          </ac:spMkLst>
        </pc:spChg>
        <pc:spChg chg="add del mod replST">
          <ac:chgData name="Wenwen Zhang" userId="9dd81366-5d6f-445a-b031-6ea562624431" providerId="ADAL" clId="{D6FBF965-026B-43DA-A554-C6861A0A35E4}" dt="2023-02-01T21:25:22.742" v="82039"/>
          <ac:spMkLst>
            <pc:docMk/>
            <pc:sldMk cId="1589772229" sldId="2134804370"/>
            <ac:spMk id="372" creationId="{96DB64E7-7450-5BAA-7DCA-6F75AE12EF02}"/>
          </ac:spMkLst>
        </pc:spChg>
        <pc:spChg chg="add del mod replST">
          <ac:chgData name="Wenwen Zhang" userId="9dd81366-5d6f-445a-b031-6ea562624431" providerId="ADAL" clId="{D6FBF965-026B-43DA-A554-C6861A0A35E4}" dt="2023-02-01T21:25:22.689" v="81973"/>
          <ac:spMkLst>
            <pc:docMk/>
            <pc:sldMk cId="1589772229" sldId="2134804370"/>
            <ac:spMk id="373" creationId="{96DB64E7-7450-5BAA-7DCA-6F75AE12EF02}"/>
          </ac:spMkLst>
        </pc:spChg>
        <pc:spChg chg="add del mod replST">
          <ac:chgData name="Wenwen Zhang" userId="9dd81366-5d6f-445a-b031-6ea562624431" providerId="ADAL" clId="{D6FBF965-026B-43DA-A554-C6861A0A35E4}" dt="2023-02-02T12:02:04.322" v="133025"/>
          <ac:spMkLst>
            <pc:docMk/>
            <pc:sldMk cId="1589772229" sldId="2134804370"/>
            <ac:spMk id="374" creationId="{96DB64E7-7450-5BAA-7DCA-6F75AE12EF02}"/>
          </ac:spMkLst>
        </pc:spChg>
        <pc:spChg chg="add del mod replST">
          <ac:chgData name="Wenwen Zhang" userId="9dd81366-5d6f-445a-b031-6ea562624431" providerId="ADAL" clId="{D6FBF965-026B-43DA-A554-C6861A0A35E4}" dt="2023-02-01T21:25:24.771" v="82114"/>
          <ac:spMkLst>
            <pc:docMk/>
            <pc:sldMk cId="1589772229" sldId="2134804370"/>
            <ac:spMk id="375" creationId="{96DB64E7-7450-5BAA-7DCA-6F75AE12EF02}"/>
          </ac:spMkLst>
        </pc:spChg>
        <pc:spChg chg="add del mod replST">
          <ac:chgData name="Wenwen Zhang" userId="9dd81366-5d6f-445a-b031-6ea562624431" providerId="ADAL" clId="{D6FBF965-026B-43DA-A554-C6861A0A35E4}" dt="2023-02-01T21:25:28.209" v="82457"/>
          <ac:spMkLst>
            <pc:docMk/>
            <pc:sldMk cId="1589772229" sldId="2134804370"/>
            <ac:spMk id="376" creationId="{96DB64E7-7450-5BAA-7DCA-6F75AE12EF02}"/>
          </ac:spMkLst>
        </pc:spChg>
        <pc:spChg chg="add del mod replST">
          <ac:chgData name="Wenwen Zhang" userId="9dd81366-5d6f-445a-b031-6ea562624431" providerId="ADAL" clId="{D6FBF965-026B-43DA-A554-C6861A0A35E4}" dt="2023-02-02T12:02:04.322" v="133024"/>
          <ac:spMkLst>
            <pc:docMk/>
            <pc:sldMk cId="1589772229" sldId="2134804370"/>
            <ac:spMk id="377" creationId="{96DB64E7-7450-5BAA-7DCA-6F75AE12EF02}"/>
          </ac:spMkLst>
        </pc:spChg>
        <pc:spChg chg="add del mod replST">
          <ac:chgData name="Wenwen Zhang" userId="9dd81366-5d6f-445a-b031-6ea562624431" providerId="ADAL" clId="{D6FBF965-026B-43DA-A554-C6861A0A35E4}" dt="2023-02-01T21:25:28.161" v="82390"/>
          <ac:spMkLst>
            <pc:docMk/>
            <pc:sldMk cId="1589772229" sldId="2134804370"/>
            <ac:spMk id="378" creationId="{96DB64E7-7450-5BAA-7DCA-6F75AE12EF02}"/>
          </ac:spMkLst>
        </pc:spChg>
        <pc:spChg chg="add del mod replST">
          <ac:chgData name="Wenwen Zhang" userId="9dd81366-5d6f-445a-b031-6ea562624431" providerId="ADAL" clId="{D6FBF965-026B-43DA-A554-C6861A0A35E4}" dt="2023-02-01T21:25:29.681" v="82525"/>
          <ac:spMkLst>
            <pc:docMk/>
            <pc:sldMk cId="1589772229" sldId="2134804370"/>
            <ac:spMk id="379" creationId="{96DB64E7-7450-5BAA-7DCA-6F75AE12EF02}"/>
          </ac:spMkLst>
        </pc:spChg>
        <pc:spChg chg="add del mod replST">
          <ac:chgData name="Wenwen Zhang" userId="9dd81366-5d6f-445a-b031-6ea562624431" providerId="ADAL" clId="{D6FBF965-026B-43DA-A554-C6861A0A35E4}" dt="2023-02-02T12:02:04.322" v="133020"/>
          <ac:spMkLst>
            <pc:docMk/>
            <pc:sldMk cId="1589772229" sldId="2134804370"/>
            <ac:spMk id="380" creationId="{96DB64E7-7450-5BAA-7DCA-6F75AE12EF02}"/>
          </ac:spMkLst>
        </pc:spChg>
        <pc:spChg chg="add del mod replST">
          <ac:chgData name="Wenwen Zhang" userId="9dd81366-5d6f-445a-b031-6ea562624431" providerId="ADAL" clId="{D6FBF965-026B-43DA-A554-C6861A0A35E4}" dt="2023-02-01T21:25:33.668" v="82857"/>
          <ac:spMkLst>
            <pc:docMk/>
            <pc:sldMk cId="1589772229" sldId="2134804370"/>
            <ac:spMk id="381" creationId="{96DB64E7-7450-5BAA-7DCA-6F75AE12EF02}"/>
          </ac:spMkLst>
        </pc:spChg>
        <pc:spChg chg="add del mod replST">
          <ac:chgData name="Wenwen Zhang" userId="9dd81366-5d6f-445a-b031-6ea562624431" providerId="ADAL" clId="{D6FBF965-026B-43DA-A554-C6861A0A35E4}" dt="2023-02-01T21:25:33.738" v="82919"/>
          <ac:spMkLst>
            <pc:docMk/>
            <pc:sldMk cId="1589772229" sldId="2134804370"/>
            <ac:spMk id="382" creationId="{96DB64E7-7450-5BAA-7DCA-6F75AE12EF02}"/>
          </ac:spMkLst>
        </pc:spChg>
        <pc:spChg chg="add del mod replST">
          <ac:chgData name="Wenwen Zhang" userId="9dd81366-5d6f-445a-b031-6ea562624431" providerId="ADAL" clId="{D6FBF965-026B-43DA-A554-C6861A0A35E4}" dt="2023-02-02T12:02:04.322" v="133026"/>
          <ac:spMkLst>
            <pc:docMk/>
            <pc:sldMk cId="1589772229" sldId="2134804370"/>
            <ac:spMk id="383" creationId="{96DB64E7-7450-5BAA-7DCA-6F75AE12EF02}"/>
          </ac:spMkLst>
        </pc:spChg>
        <pc:spChg chg="add del mod modVis">
          <ac:chgData name="Wenwen Zhang" userId="9dd81366-5d6f-445a-b031-6ea562624431" providerId="ADAL" clId="{D6FBF965-026B-43DA-A554-C6861A0A35E4}" dt="2023-02-01T19:00:52.659" v="27365"/>
          <ac:spMkLst>
            <pc:docMk/>
            <pc:sldMk cId="1589772229" sldId="2134804370"/>
            <ac:spMk id="513" creationId="{F007FC9B-387A-4065-3EFD-EE43AC7951AF}"/>
          </ac:spMkLst>
        </pc:spChg>
        <pc:spChg chg="add del mod replST delST">
          <ac:chgData name="Wenwen Zhang" userId="9dd81366-5d6f-445a-b031-6ea562624431" providerId="ADAL" clId="{D6FBF965-026B-43DA-A554-C6861A0A35E4}" dt="2023-02-01T19:00:52.659" v="27365"/>
          <ac:spMkLst>
            <pc:docMk/>
            <pc:sldMk cId="1589772229" sldId="2134804370"/>
            <ac:spMk id="514" creationId="{96DB64E7-7450-5BAA-7DCA-6F75AE12EF02}"/>
          </ac:spMkLst>
        </pc:spChg>
        <pc:spChg chg="add del mod replST delST">
          <ac:chgData name="Wenwen Zhang" userId="9dd81366-5d6f-445a-b031-6ea562624431" providerId="ADAL" clId="{D6FBF965-026B-43DA-A554-C6861A0A35E4}" dt="2023-02-01T19:00:52.659" v="27365"/>
          <ac:spMkLst>
            <pc:docMk/>
            <pc:sldMk cId="1589772229" sldId="2134804370"/>
            <ac:spMk id="515" creationId="{96DB64E7-7450-5BAA-7DCA-6F75AE12EF02}"/>
          </ac:spMkLst>
        </pc:spChg>
        <pc:spChg chg="add del mod modVis">
          <ac:chgData name="Wenwen Zhang" userId="9dd81366-5d6f-445a-b031-6ea562624431" providerId="ADAL" clId="{D6FBF965-026B-43DA-A554-C6861A0A35E4}" dt="2023-02-01T19:00:52.124" v="27111"/>
          <ac:spMkLst>
            <pc:docMk/>
            <pc:sldMk cId="1589772229" sldId="2134804370"/>
            <ac:spMk id="519" creationId="{C88B1464-2715-7312-06C4-AE9AAC4A08A7}"/>
          </ac:spMkLst>
        </pc:spChg>
        <pc:spChg chg="add del mod modVis">
          <ac:chgData name="Wenwen Zhang" userId="9dd81366-5d6f-445a-b031-6ea562624431" providerId="ADAL" clId="{D6FBF965-026B-43DA-A554-C6861A0A35E4}" dt="2023-02-01T19:06:30.758" v="28383"/>
          <ac:spMkLst>
            <pc:docMk/>
            <pc:sldMk cId="1589772229" sldId="2134804370"/>
            <ac:spMk id="521" creationId="{429AF9A6-2A9A-99A0-7FB8-05EEC35CE416}"/>
          </ac:spMkLst>
        </pc:spChg>
        <pc:spChg chg="add del mod ord replST">
          <ac:chgData name="Wenwen Zhang" userId="9dd81366-5d6f-445a-b031-6ea562624431" providerId="ADAL" clId="{D6FBF965-026B-43DA-A554-C6861A0A35E4}" dt="2023-02-01T19:07:22.013" v="29230"/>
          <ac:spMkLst>
            <pc:docMk/>
            <pc:sldMk cId="1589772229" sldId="2134804370"/>
            <ac:spMk id="522" creationId="{96DB64E7-7450-5BAA-7DCA-6F75AE12EF02}"/>
          </ac:spMkLst>
        </pc:spChg>
        <pc:spChg chg="add del mod modVis">
          <ac:chgData name="Wenwen Zhang" userId="9dd81366-5d6f-445a-b031-6ea562624431" providerId="ADAL" clId="{D6FBF965-026B-43DA-A554-C6861A0A35E4}" dt="2023-02-01T19:06:34.215" v="28483"/>
          <ac:spMkLst>
            <pc:docMk/>
            <pc:sldMk cId="1589772229" sldId="2134804370"/>
            <ac:spMk id="524" creationId="{1A730845-55C7-807E-B0C2-78BB9BC2F0CC}"/>
          </ac:spMkLst>
        </pc:spChg>
        <pc:spChg chg="del mod">
          <ac:chgData name="Wenwen Zhang" userId="9dd81366-5d6f-445a-b031-6ea562624431" providerId="ADAL" clId="{D6FBF965-026B-43DA-A554-C6861A0A35E4}" dt="2023-02-01T18:58:29.619" v="24713"/>
          <ac:spMkLst>
            <pc:docMk/>
            <pc:sldMk cId="1589772229" sldId="2134804370"/>
            <ac:spMk id="525" creationId="{3432C2A7-BCF2-C13F-ED02-088536F1A469}"/>
          </ac:spMkLst>
        </pc:spChg>
        <pc:spChg chg="add del mod modVis">
          <ac:chgData name="Wenwen Zhang" userId="9dd81366-5d6f-445a-b031-6ea562624431" providerId="ADAL" clId="{D6FBF965-026B-43DA-A554-C6861A0A35E4}" dt="2023-02-01T19:06:35.866" v="28583"/>
          <ac:spMkLst>
            <pc:docMk/>
            <pc:sldMk cId="1589772229" sldId="2134804370"/>
            <ac:spMk id="527" creationId="{768C1F9D-0EE6-F2B6-5B98-9A52340FF5DC}"/>
          </ac:spMkLst>
        </pc:spChg>
        <pc:spChg chg="add del mod modVis">
          <ac:chgData name="Wenwen Zhang" userId="9dd81366-5d6f-445a-b031-6ea562624431" providerId="ADAL" clId="{D6FBF965-026B-43DA-A554-C6861A0A35E4}" dt="2023-02-01T19:06:37.811" v="28693"/>
          <ac:spMkLst>
            <pc:docMk/>
            <pc:sldMk cId="1589772229" sldId="2134804370"/>
            <ac:spMk id="529" creationId="{0B32458F-EF2C-0E1E-A902-EBCF9CE861A7}"/>
          </ac:spMkLst>
        </pc:spChg>
        <pc:spChg chg="add del mod modVis">
          <ac:chgData name="Wenwen Zhang" userId="9dd81366-5d6f-445a-b031-6ea562624431" providerId="ADAL" clId="{D6FBF965-026B-43DA-A554-C6861A0A35E4}" dt="2023-02-01T19:06:50.186" v="28930"/>
          <ac:spMkLst>
            <pc:docMk/>
            <pc:sldMk cId="1589772229" sldId="2134804370"/>
            <ac:spMk id="531" creationId="{54B872D4-AE59-3BB0-8916-DC9370047A66}"/>
          </ac:spMkLst>
        </pc:spChg>
        <pc:spChg chg="add del mod ord replST">
          <ac:chgData name="Wenwen Zhang" userId="9dd81366-5d6f-445a-b031-6ea562624431" providerId="ADAL" clId="{D6FBF965-026B-43DA-A554-C6861A0A35E4}" dt="2023-02-01T19:06:55.504" v="29102"/>
          <ac:spMkLst>
            <pc:docMk/>
            <pc:sldMk cId="1589772229" sldId="2134804370"/>
            <ac:spMk id="532" creationId="{96DB64E7-7450-5BAA-7DCA-6F75AE12EF02}"/>
          </ac:spMkLst>
        </pc:spChg>
        <pc:spChg chg="add del mod modVis">
          <ac:chgData name="Wenwen Zhang" userId="9dd81366-5d6f-445a-b031-6ea562624431" providerId="ADAL" clId="{D6FBF965-026B-43DA-A554-C6861A0A35E4}" dt="2023-02-01T19:06:55.290" v="29033"/>
          <ac:spMkLst>
            <pc:docMk/>
            <pc:sldMk cId="1589772229" sldId="2134804370"/>
            <ac:spMk id="534" creationId="{01AC99C3-1B3A-97DD-88B8-45F854E5FE2E}"/>
          </ac:spMkLst>
        </pc:spChg>
        <pc:spChg chg="add del mod modVis">
          <ac:chgData name="Wenwen Zhang" userId="9dd81366-5d6f-445a-b031-6ea562624431" providerId="ADAL" clId="{D6FBF965-026B-43DA-A554-C6861A0A35E4}" dt="2023-02-01T19:06:55.536" v="29152"/>
          <ac:spMkLst>
            <pc:docMk/>
            <pc:sldMk cId="1589772229" sldId="2134804370"/>
            <ac:spMk id="536" creationId="{6FACC2C2-F459-3F94-8E5F-531C276AFC89}"/>
          </ac:spMkLst>
        </pc:spChg>
        <pc:spChg chg="add del mod modVis">
          <ac:chgData name="Wenwen Zhang" userId="9dd81366-5d6f-445a-b031-6ea562624431" providerId="ADAL" clId="{D6FBF965-026B-43DA-A554-C6861A0A35E4}" dt="2023-02-01T19:07:22.047" v="29280"/>
          <ac:spMkLst>
            <pc:docMk/>
            <pc:sldMk cId="1589772229" sldId="2134804370"/>
            <ac:spMk id="539" creationId="{C5FE5A9F-1C33-489F-5ED4-66343C2E8F5E}"/>
          </ac:spMkLst>
        </pc:spChg>
        <pc:spChg chg="add del mod modVis">
          <ac:chgData name="Wenwen Zhang" userId="9dd81366-5d6f-445a-b031-6ea562624431" providerId="ADAL" clId="{D6FBF965-026B-43DA-A554-C6861A0A35E4}" dt="2023-02-01T19:07:41.166" v="29491"/>
          <ac:spMkLst>
            <pc:docMk/>
            <pc:sldMk cId="1589772229" sldId="2134804370"/>
            <ac:spMk id="541" creationId="{3B0D7FB7-084F-1C01-40C8-229CF929264D}"/>
          </ac:spMkLst>
        </pc:spChg>
        <pc:spChg chg="add del mod replST">
          <ac:chgData name="Wenwen Zhang" userId="9dd81366-5d6f-445a-b031-6ea562624431" providerId="ADAL" clId="{D6FBF965-026B-43DA-A554-C6861A0A35E4}" dt="2023-02-01T19:07:42.088" v="29556"/>
          <ac:spMkLst>
            <pc:docMk/>
            <pc:sldMk cId="1589772229" sldId="2134804370"/>
            <ac:spMk id="542" creationId="{96DB64E7-7450-5BAA-7DCA-6F75AE12EF02}"/>
          </ac:spMkLst>
        </pc:spChg>
        <pc:spChg chg="add del mod modVis">
          <ac:chgData name="Wenwen Zhang" userId="9dd81366-5d6f-445a-b031-6ea562624431" providerId="ADAL" clId="{D6FBF965-026B-43DA-A554-C6861A0A35E4}" dt="2023-02-01T19:07:42.121" v="29590"/>
          <ac:spMkLst>
            <pc:docMk/>
            <pc:sldMk cId="1589772229" sldId="2134804370"/>
            <ac:spMk id="544" creationId="{EF704016-B73C-DA27-5BCC-599C9539DF2C}"/>
          </ac:spMkLst>
        </pc:spChg>
        <pc:spChg chg="add del mod modVis">
          <ac:chgData name="Wenwen Zhang" userId="9dd81366-5d6f-445a-b031-6ea562624431" providerId="ADAL" clId="{D6FBF965-026B-43DA-A554-C6861A0A35E4}" dt="2023-02-01T19:07:43.168" v="29697"/>
          <ac:spMkLst>
            <pc:docMk/>
            <pc:sldMk cId="1589772229" sldId="2134804370"/>
            <ac:spMk id="546" creationId="{B082CBE7-49E0-9ABA-84CE-C4012AA83C4F}"/>
          </ac:spMkLst>
        </pc:spChg>
        <pc:spChg chg="add del mod modVis">
          <ac:chgData name="Wenwen Zhang" userId="9dd81366-5d6f-445a-b031-6ea562624431" providerId="ADAL" clId="{D6FBF965-026B-43DA-A554-C6861A0A35E4}" dt="2023-02-01T19:07:47.950" v="29794"/>
          <ac:spMkLst>
            <pc:docMk/>
            <pc:sldMk cId="1589772229" sldId="2134804370"/>
            <ac:spMk id="548" creationId="{67B5559A-5369-435C-C2FD-EA9AA2FF45B1}"/>
          </ac:spMkLst>
        </pc:spChg>
        <pc:spChg chg="add del mod modVis">
          <ac:chgData name="Wenwen Zhang" userId="9dd81366-5d6f-445a-b031-6ea562624431" providerId="ADAL" clId="{D6FBF965-026B-43DA-A554-C6861A0A35E4}" dt="2023-02-01T19:07:51.668" v="29901"/>
          <ac:spMkLst>
            <pc:docMk/>
            <pc:sldMk cId="1589772229" sldId="2134804370"/>
            <ac:spMk id="550" creationId="{E7547FD9-E938-412B-9135-ECAFAC1C12D9}"/>
          </ac:spMkLst>
        </pc:spChg>
        <pc:spChg chg="add del mod modVis">
          <ac:chgData name="Wenwen Zhang" userId="9dd81366-5d6f-445a-b031-6ea562624431" providerId="ADAL" clId="{D6FBF965-026B-43DA-A554-C6861A0A35E4}" dt="2023-02-01T19:08:12.118" v="29966"/>
          <ac:spMkLst>
            <pc:docMk/>
            <pc:sldMk cId="1589772229" sldId="2134804370"/>
            <ac:spMk id="552" creationId="{C31C3646-1883-A296-956F-72AACEB3DCFE}"/>
          </ac:spMkLst>
        </pc:spChg>
        <pc:spChg chg="add del mod modVis">
          <ac:chgData name="Wenwen Zhang" userId="9dd81366-5d6f-445a-b031-6ea562624431" providerId="ADAL" clId="{D6FBF965-026B-43DA-A554-C6861A0A35E4}" dt="2023-02-01T19:10:49.502" v="31240"/>
          <ac:spMkLst>
            <pc:docMk/>
            <pc:sldMk cId="1589772229" sldId="2134804370"/>
            <ac:spMk id="553" creationId="{754EA818-AE83-B211-F594-E2DB2BE23261}"/>
          </ac:spMkLst>
        </pc:spChg>
        <pc:spChg chg="add del mod replST">
          <ac:chgData name="Wenwen Zhang" userId="9dd81366-5d6f-445a-b031-6ea562624431" providerId="ADAL" clId="{D6FBF965-026B-43DA-A554-C6861A0A35E4}" dt="2023-02-01T19:10:51.666" v="31443"/>
          <ac:spMkLst>
            <pc:docMk/>
            <pc:sldMk cId="1589772229" sldId="2134804370"/>
            <ac:spMk id="554" creationId="{96DB64E7-7450-5BAA-7DCA-6F75AE12EF02}"/>
          </ac:spMkLst>
        </pc:spChg>
        <pc:spChg chg="add del mod replST">
          <ac:chgData name="Wenwen Zhang" userId="9dd81366-5d6f-445a-b031-6ea562624431" providerId="ADAL" clId="{D6FBF965-026B-43DA-A554-C6861A0A35E4}" dt="2023-02-01T19:10:51.666" v="31444"/>
          <ac:spMkLst>
            <pc:docMk/>
            <pc:sldMk cId="1589772229" sldId="2134804370"/>
            <ac:spMk id="555" creationId="{96DB64E7-7450-5BAA-7DCA-6F75AE12EF02}"/>
          </ac:spMkLst>
        </pc:spChg>
        <pc:spChg chg="add del mod replST">
          <ac:chgData name="Wenwen Zhang" userId="9dd81366-5d6f-445a-b031-6ea562624431" providerId="ADAL" clId="{D6FBF965-026B-43DA-A554-C6861A0A35E4}" dt="2023-02-01T19:10:51.666" v="31445"/>
          <ac:spMkLst>
            <pc:docMk/>
            <pc:sldMk cId="1589772229" sldId="2134804370"/>
            <ac:spMk id="556" creationId="{96DB64E7-7450-5BAA-7DCA-6F75AE12EF02}"/>
          </ac:spMkLst>
        </pc:spChg>
        <pc:spChg chg="add del mod replST">
          <ac:chgData name="Wenwen Zhang" userId="9dd81366-5d6f-445a-b031-6ea562624431" providerId="ADAL" clId="{D6FBF965-026B-43DA-A554-C6861A0A35E4}" dt="2023-02-01T19:10:51.666" v="31446"/>
          <ac:spMkLst>
            <pc:docMk/>
            <pc:sldMk cId="1589772229" sldId="2134804370"/>
            <ac:spMk id="557" creationId="{96DB64E7-7450-5BAA-7DCA-6F75AE12EF02}"/>
          </ac:spMkLst>
        </pc:spChg>
        <pc:spChg chg="add del mod replST">
          <ac:chgData name="Wenwen Zhang" userId="9dd81366-5d6f-445a-b031-6ea562624431" providerId="ADAL" clId="{D6FBF965-026B-43DA-A554-C6861A0A35E4}" dt="2023-02-01T19:10:51.666" v="31447"/>
          <ac:spMkLst>
            <pc:docMk/>
            <pc:sldMk cId="1589772229" sldId="2134804370"/>
            <ac:spMk id="558" creationId="{96DB64E7-7450-5BAA-7DCA-6F75AE12EF02}"/>
          </ac:spMkLst>
        </pc:spChg>
        <pc:spChg chg="add del mod replST">
          <ac:chgData name="Wenwen Zhang" userId="9dd81366-5d6f-445a-b031-6ea562624431" providerId="ADAL" clId="{D6FBF965-026B-43DA-A554-C6861A0A35E4}" dt="2023-02-01T19:10:51.674" v="31448"/>
          <ac:spMkLst>
            <pc:docMk/>
            <pc:sldMk cId="1589772229" sldId="2134804370"/>
            <ac:spMk id="559" creationId="{96DB64E7-7450-5BAA-7DCA-6F75AE12EF02}"/>
          </ac:spMkLst>
        </pc:spChg>
        <pc:spChg chg="add del mod replST">
          <ac:chgData name="Wenwen Zhang" userId="9dd81366-5d6f-445a-b031-6ea562624431" providerId="ADAL" clId="{D6FBF965-026B-43DA-A554-C6861A0A35E4}" dt="2023-02-01T19:10:51.674" v="31449"/>
          <ac:spMkLst>
            <pc:docMk/>
            <pc:sldMk cId="1589772229" sldId="2134804370"/>
            <ac:spMk id="560" creationId="{96DB64E7-7450-5BAA-7DCA-6F75AE12EF02}"/>
          </ac:spMkLst>
        </pc:spChg>
        <pc:spChg chg="add del mod replST">
          <ac:chgData name="Wenwen Zhang" userId="9dd81366-5d6f-445a-b031-6ea562624431" providerId="ADAL" clId="{D6FBF965-026B-43DA-A554-C6861A0A35E4}" dt="2023-02-01T19:10:51.674" v="31450"/>
          <ac:spMkLst>
            <pc:docMk/>
            <pc:sldMk cId="1589772229" sldId="2134804370"/>
            <ac:spMk id="561" creationId="{96DB64E7-7450-5BAA-7DCA-6F75AE12EF02}"/>
          </ac:spMkLst>
        </pc:spChg>
        <pc:spChg chg="add del mod replST">
          <ac:chgData name="Wenwen Zhang" userId="9dd81366-5d6f-445a-b031-6ea562624431" providerId="ADAL" clId="{D6FBF965-026B-43DA-A554-C6861A0A35E4}" dt="2023-02-01T19:10:51.674" v="31451"/>
          <ac:spMkLst>
            <pc:docMk/>
            <pc:sldMk cId="1589772229" sldId="2134804370"/>
            <ac:spMk id="562" creationId="{96DB64E7-7450-5BAA-7DCA-6F75AE12EF02}"/>
          </ac:spMkLst>
        </pc:spChg>
        <pc:spChg chg="add del mod replST">
          <ac:chgData name="Wenwen Zhang" userId="9dd81366-5d6f-445a-b031-6ea562624431" providerId="ADAL" clId="{D6FBF965-026B-43DA-A554-C6861A0A35E4}" dt="2023-02-01T19:10:51.674" v="31452"/>
          <ac:spMkLst>
            <pc:docMk/>
            <pc:sldMk cId="1589772229" sldId="2134804370"/>
            <ac:spMk id="563" creationId="{96DB64E7-7450-5BAA-7DCA-6F75AE12EF02}"/>
          </ac:spMkLst>
        </pc:spChg>
        <pc:spChg chg="add del mod replST">
          <ac:chgData name="Wenwen Zhang" userId="9dd81366-5d6f-445a-b031-6ea562624431" providerId="ADAL" clId="{D6FBF965-026B-43DA-A554-C6861A0A35E4}" dt="2023-02-01T19:10:51.674" v="31453"/>
          <ac:spMkLst>
            <pc:docMk/>
            <pc:sldMk cId="1589772229" sldId="2134804370"/>
            <ac:spMk id="564" creationId="{96DB64E7-7450-5BAA-7DCA-6F75AE12EF02}"/>
          </ac:spMkLst>
        </pc:spChg>
        <pc:spChg chg="add del mod replST">
          <ac:chgData name="Wenwen Zhang" userId="9dd81366-5d6f-445a-b031-6ea562624431" providerId="ADAL" clId="{D6FBF965-026B-43DA-A554-C6861A0A35E4}" dt="2023-02-01T19:10:51.674" v="31454"/>
          <ac:spMkLst>
            <pc:docMk/>
            <pc:sldMk cId="1589772229" sldId="2134804370"/>
            <ac:spMk id="565" creationId="{96DB64E7-7450-5BAA-7DCA-6F75AE12EF02}"/>
          </ac:spMkLst>
        </pc:spChg>
        <pc:spChg chg="add del mod replST">
          <ac:chgData name="Wenwen Zhang" userId="9dd81366-5d6f-445a-b031-6ea562624431" providerId="ADAL" clId="{D6FBF965-026B-43DA-A554-C6861A0A35E4}" dt="2023-02-01T19:10:51.679" v="31455"/>
          <ac:spMkLst>
            <pc:docMk/>
            <pc:sldMk cId="1589772229" sldId="2134804370"/>
            <ac:spMk id="566" creationId="{96DB64E7-7450-5BAA-7DCA-6F75AE12EF02}"/>
          </ac:spMkLst>
        </pc:spChg>
        <pc:spChg chg="add del mod replST">
          <ac:chgData name="Wenwen Zhang" userId="9dd81366-5d6f-445a-b031-6ea562624431" providerId="ADAL" clId="{D6FBF965-026B-43DA-A554-C6861A0A35E4}" dt="2023-02-01T19:10:51.679" v="31456"/>
          <ac:spMkLst>
            <pc:docMk/>
            <pc:sldMk cId="1589772229" sldId="2134804370"/>
            <ac:spMk id="567" creationId="{96DB64E7-7450-5BAA-7DCA-6F75AE12EF02}"/>
          </ac:spMkLst>
        </pc:spChg>
        <pc:spChg chg="add del mod modVis">
          <ac:chgData name="Wenwen Zhang" userId="9dd81366-5d6f-445a-b031-6ea562624431" providerId="ADAL" clId="{D6FBF965-026B-43DA-A554-C6861A0A35E4}" dt="2023-02-01T19:10:50.357" v="31365"/>
          <ac:spMkLst>
            <pc:docMk/>
            <pc:sldMk cId="1589772229" sldId="2134804370"/>
            <ac:spMk id="569" creationId="{E67609B5-F9A7-6FF0-F335-88F4B5D83B7A}"/>
          </ac:spMkLst>
        </pc:spChg>
        <pc:spChg chg="add del mod modVis">
          <ac:chgData name="Wenwen Zhang" userId="9dd81366-5d6f-445a-b031-6ea562624431" providerId="ADAL" clId="{D6FBF965-026B-43DA-A554-C6861A0A35E4}" dt="2023-02-01T19:10:51.723" v="31490"/>
          <ac:spMkLst>
            <pc:docMk/>
            <pc:sldMk cId="1589772229" sldId="2134804370"/>
            <ac:spMk id="571" creationId="{8B5C0AF3-524F-F751-2630-0CC1E45D5905}"/>
          </ac:spMkLst>
        </pc:spChg>
        <pc:spChg chg="add del mod modVis">
          <ac:chgData name="Wenwen Zhang" userId="9dd81366-5d6f-445a-b031-6ea562624431" providerId="ADAL" clId="{D6FBF965-026B-43DA-A554-C6861A0A35E4}" dt="2023-02-01T19:10:59.800" v="32664"/>
          <ac:spMkLst>
            <pc:docMk/>
            <pc:sldMk cId="1589772229" sldId="2134804370"/>
            <ac:spMk id="573" creationId="{F471C624-5EF5-3EAB-F151-8DCFE5831371}"/>
          </ac:spMkLst>
        </pc:spChg>
        <pc:spChg chg="add del mod replST">
          <ac:chgData name="Wenwen Zhang" userId="9dd81366-5d6f-445a-b031-6ea562624431" providerId="ADAL" clId="{D6FBF965-026B-43DA-A554-C6861A0A35E4}" dt="2023-02-01T19:11:01.787" v="32867"/>
          <ac:spMkLst>
            <pc:docMk/>
            <pc:sldMk cId="1589772229" sldId="2134804370"/>
            <ac:spMk id="574" creationId="{96DB64E7-7450-5BAA-7DCA-6F75AE12EF02}"/>
          </ac:spMkLst>
        </pc:spChg>
        <pc:spChg chg="add del mod replST">
          <ac:chgData name="Wenwen Zhang" userId="9dd81366-5d6f-445a-b031-6ea562624431" providerId="ADAL" clId="{D6FBF965-026B-43DA-A554-C6861A0A35E4}" dt="2023-02-01T19:11:01.787" v="32868"/>
          <ac:spMkLst>
            <pc:docMk/>
            <pc:sldMk cId="1589772229" sldId="2134804370"/>
            <ac:spMk id="575" creationId="{96DB64E7-7450-5BAA-7DCA-6F75AE12EF02}"/>
          </ac:spMkLst>
        </pc:spChg>
        <pc:spChg chg="add mod ord replST delST">
          <ac:chgData name="Wenwen Zhang" userId="9dd81366-5d6f-445a-b031-6ea562624431" providerId="ADAL" clId="{D6FBF965-026B-43DA-A554-C6861A0A35E4}" dt="2023-02-02T11:56:39.178" v="131223"/>
          <ac:spMkLst>
            <pc:docMk/>
            <pc:sldMk cId="1589772229" sldId="2134804370"/>
            <ac:spMk id="704" creationId="{96DB64E7-7450-5BAA-7DCA-6F75AE12EF02}"/>
          </ac:spMkLst>
        </pc:spChg>
        <pc:spChg chg="add mod ord replST delST">
          <ac:chgData name="Wenwen Zhang" userId="9dd81366-5d6f-445a-b031-6ea562624431" providerId="ADAL" clId="{D6FBF965-026B-43DA-A554-C6861A0A35E4}" dt="2023-02-02T11:56:39.178" v="131223"/>
          <ac:spMkLst>
            <pc:docMk/>
            <pc:sldMk cId="1589772229" sldId="2134804370"/>
            <ac:spMk id="705" creationId="{96DB64E7-7450-5BAA-7DCA-6F75AE12EF02}"/>
          </ac:spMkLst>
        </pc:spChg>
        <pc:spChg chg="add mod ord replST delST">
          <ac:chgData name="Wenwen Zhang" userId="9dd81366-5d6f-445a-b031-6ea562624431" providerId="ADAL" clId="{D6FBF965-026B-43DA-A554-C6861A0A35E4}" dt="2023-02-02T11:56:39.178" v="131223"/>
          <ac:spMkLst>
            <pc:docMk/>
            <pc:sldMk cId="1589772229" sldId="2134804370"/>
            <ac:spMk id="706" creationId="{96DB64E7-7450-5BAA-7DCA-6F75AE12EF02}"/>
          </ac:spMkLst>
        </pc:spChg>
        <pc:spChg chg="add mod ord replST delST">
          <ac:chgData name="Wenwen Zhang" userId="9dd81366-5d6f-445a-b031-6ea562624431" providerId="ADAL" clId="{D6FBF965-026B-43DA-A554-C6861A0A35E4}" dt="2023-02-02T11:56:39.178" v="131223"/>
          <ac:spMkLst>
            <pc:docMk/>
            <pc:sldMk cId="1589772229" sldId="2134804370"/>
            <ac:spMk id="707" creationId="{96DB64E7-7450-5BAA-7DCA-6F75AE12EF02}"/>
          </ac:spMkLst>
        </pc:spChg>
        <pc:spChg chg="add mod ord replST delST">
          <ac:chgData name="Wenwen Zhang" userId="9dd81366-5d6f-445a-b031-6ea562624431" providerId="ADAL" clId="{D6FBF965-026B-43DA-A554-C6861A0A35E4}" dt="2023-02-02T11:56:39.178" v="131223"/>
          <ac:spMkLst>
            <pc:docMk/>
            <pc:sldMk cId="1589772229" sldId="2134804370"/>
            <ac:spMk id="708" creationId="{96DB64E7-7450-5BAA-7DCA-6F75AE12EF02}"/>
          </ac:spMkLst>
        </pc:spChg>
        <pc:spChg chg="add mod ord replST delST">
          <ac:chgData name="Wenwen Zhang" userId="9dd81366-5d6f-445a-b031-6ea562624431" providerId="ADAL" clId="{D6FBF965-026B-43DA-A554-C6861A0A35E4}" dt="2023-02-02T11:56:39.178" v="131223"/>
          <ac:spMkLst>
            <pc:docMk/>
            <pc:sldMk cId="1589772229" sldId="2134804370"/>
            <ac:spMk id="709" creationId="{96DB64E7-7450-5BAA-7DCA-6F75AE12EF02}"/>
          </ac:spMkLst>
        </pc:spChg>
        <pc:spChg chg="add mod ord replST delST">
          <ac:chgData name="Wenwen Zhang" userId="9dd81366-5d6f-445a-b031-6ea562624431" providerId="ADAL" clId="{D6FBF965-026B-43DA-A554-C6861A0A35E4}" dt="2023-02-02T11:56:39.178" v="131223"/>
          <ac:spMkLst>
            <pc:docMk/>
            <pc:sldMk cId="1589772229" sldId="2134804370"/>
            <ac:spMk id="710" creationId="{96DB64E7-7450-5BAA-7DCA-6F75AE12EF02}"/>
          </ac:spMkLst>
        </pc:spChg>
        <pc:spChg chg="add mod ord replST delST">
          <ac:chgData name="Wenwen Zhang" userId="9dd81366-5d6f-445a-b031-6ea562624431" providerId="ADAL" clId="{D6FBF965-026B-43DA-A554-C6861A0A35E4}" dt="2023-02-02T11:56:39.178" v="131223"/>
          <ac:spMkLst>
            <pc:docMk/>
            <pc:sldMk cId="1589772229" sldId="2134804370"/>
            <ac:spMk id="711" creationId="{96DB64E7-7450-5BAA-7DCA-6F75AE12EF02}"/>
          </ac:spMkLst>
        </pc:spChg>
        <pc:spChg chg="add mod ord replST delST">
          <ac:chgData name="Wenwen Zhang" userId="9dd81366-5d6f-445a-b031-6ea562624431" providerId="ADAL" clId="{D6FBF965-026B-43DA-A554-C6861A0A35E4}" dt="2023-02-02T11:56:39.178" v="131223"/>
          <ac:spMkLst>
            <pc:docMk/>
            <pc:sldMk cId="1589772229" sldId="2134804370"/>
            <ac:spMk id="712" creationId="{96DB64E7-7450-5BAA-7DCA-6F75AE12EF02}"/>
          </ac:spMkLst>
        </pc:spChg>
        <pc:spChg chg="add mod replST delST">
          <ac:chgData name="Wenwen Zhang" userId="9dd81366-5d6f-445a-b031-6ea562624431" providerId="ADAL" clId="{D6FBF965-026B-43DA-A554-C6861A0A35E4}" dt="2023-02-02T11:56:39.178" v="131223"/>
          <ac:spMkLst>
            <pc:docMk/>
            <pc:sldMk cId="1589772229" sldId="2134804370"/>
            <ac:spMk id="713" creationId="{96DB64E7-7450-5BAA-7DCA-6F75AE12EF02}"/>
          </ac:spMkLst>
        </pc:spChg>
        <pc:spChg chg="add del mod replST delST">
          <ac:chgData name="Wenwen Zhang" userId="9dd81366-5d6f-445a-b031-6ea562624431" providerId="ADAL" clId="{D6FBF965-026B-43DA-A554-C6861A0A35E4}" dt="2023-02-01T21:19:22.496" v="68722"/>
          <ac:spMkLst>
            <pc:docMk/>
            <pc:sldMk cId="1589772229" sldId="2134804370"/>
            <ac:spMk id="714" creationId="{592C7AC3-0BDE-409F-A116-9DB38495369F}"/>
          </ac:spMkLst>
        </pc:spChg>
        <pc:spChg chg="add mod replST delST">
          <ac:chgData name="Wenwen Zhang" userId="9dd81366-5d6f-445a-b031-6ea562624431" providerId="ADAL" clId="{D6FBF965-026B-43DA-A554-C6861A0A35E4}" dt="2023-02-02T11:56:39.178" v="131223"/>
          <ac:spMkLst>
            <pc:docMk/>
            <pc:sldMk cId="1589772229" sldId="2134804370"/>
            <ac:spMk id="714" creationId="{96DB64E7-7450-5BAA-7DCA-6F75AE12EF02}"/>
          </ac:spMkLst>
        </pc:spChg>
        <pc:spChg chg="add mod replST delST">
          <ac:chgData name="Wenwen Zhang" userId="9dd81366-5d6f-445a-b031-6ea562624431" providerId="ADAL" clId="{D6FBF965-026B-43DA-A554-C6861A0A35E4}" dt="2023-02-02T11:56:39.178" v="131223"/>
          <ac:spMkLst>
            <pc:docMk/>
            <pc:sldMk cId="1589772229" sldId="2134804370"/>
            <ac:spMk id="715" creationId="{96DB64E7-7450-5BAA-7DCA-6F75AE12EF02}"/>
          </ac:spMkLst>
        </pc:spChg>
        <pc:spChg chg="add del mod modVis">
          <ac:chgData name="Wenwen Zhang" userId="9dd81366-5d6f-445a-b031-6ea562624431" providerId="ADAL" clId="{D6FBF965-026B-43DA-A554-C6861A0A35E4}" dt="2023-02-01T21:19:28.080" v="70612"/>
          <ac:spMkLst>
            <pc:docMk/>
            <pc:sldMk cId="1589772229" sldId="2134804370"/>
            <ac:spMk id="715" creationId="{F6CF4B05-F7D9-A3F8-4036-F972ED687A1F}"/>
          </ac:spMkLst>
        </pc:spChg>
        <pc:spChg chg="add del mod ord replST delST">
          <ac:chgData name="Wenwen Zhang" userId="9dd81366-5d6f-445a-b031-6ea562624431" providerId="ADAL" clId="{D6FBF965-026B-43DA-A554-C6861A0A35E4}" dt="2023-02-02T11:56:39.178" v="131223"/>
          <ac:spMkLst>
            <pc:docMk/>
            <pc:sldMk cId="1589772229" sldId="2134804370"/>
            <ac:spMk id="716" creationId="{96DB64E7-7450-5BAA-7DCA-6F75AE12EF02}"/>
          </ac:spMkLst>
        </pc:spChg>
        <pc:spChg chg="add del mod ord replST delST">
          <ac:chgData name="Wenwen Zhang" userId="9dd81366-5d6f-445a-b031-6ea562624431" providerId="ADAL" clId="{D6FBF965-026B-43DA-A554-C6861A0A35E4}" dt="2023-02-02T11:56:39.178" v="131223"/>
          <ac:spMkLst>
            <pc:docMk/>
            <pc:sldMk cId="1589772229" sldId="2134804370"/>
            <ac:spMk id="717" creationId="{96DB64E7-7450-5BAA-7DCA-6F75AE12EF02}"/>
          </ac:spMkLst>
        </pc:spChg>
        <pc:spChg chg="add del mod ord replST delST">
          <ac:chgData name="Wenwen Zhang" userId="9dd81366-5d6f-445a-b031-6ea562624431" providerId="ADAL" clId="{D6FBF965-026B-43DA-A554-C6861A0A35E4}" dt="2023-02-02T11:56:39.178" v="131223"/>
          <ac:spMkLst>
            <pc:docMk/>
            <pc:sldMk cId="1589772229" sldId="2134804370"/>
            <ac:spMk id="718" creationId="{96DB64E7-7450-5BAA-7DCA-6F75AE12EF02}"/>
          </ac:spMkLst>
        </pc:spChg>
        <pc:spChg chg="add del mod ord replST delST">
          <ac:chgData name="Wenwen Zhang" userId="9dd81366-5d6f-445a-b031-6ea562624431" providerId="ADAL" clId="{D6FBF965-026B-43DA-A554-C6861A0A35E4}" dt="2023-02-02T11:56:39.178" v="131223"/>
          <ac:spMkLst>
            <pc:docMk/>
            <pc:sldMk cId="1589772229" sldId="2134804370"/>
            <ac:spMk id="719" creationId="{96DB64E7-7450-5BAA-7DCA-6F75AE12EF02}"/>
          </ac:spMkLst>
        </pc:spChg>
        <pc:spChg chg="add del mod ord replST delST">
          <ac:chgData name="Wenwen Zhang" userId="9dd81366-5d6f-445a-b031-6ea562624431" providerId="ADAL" clId="{D6FBF965-026B-43DA-A554-C6861A0A35E4}" dt="2023-02-02T11:56:39.178" v="131223"/>
          <ac:spMkLst>
            <pc:docMk/>
            <pc:sldMk cId="1589772229" sldId="2134804370"/>
            <ac:spMk id="720" creationId="{96DB64E7-7450-5BAA-7DCA-6F75AE12EF02}"/>
          </ac:spMkLst>
        </pc:spChg>
        <pc:spChg chg="add del mod ord replST delST">
          <ac:chgData name="Wenwen Zhang" userId="9dd81366-5d6f-445a-b031-6ea562624431" providerId="ADAL" clId="{D6FBF965-026B-43DA-A554-C6861A0A35E4}" dt="2023-02-02T11:56:39.178" v="131223"/>
          <ac:spMkLst>
            <pc:docMk/>
            <pc:sldMk cId="1589772229" sldId="2134804370"/>
            <ac:spMk id="721" creationId="{96DB64E7-7450-5BAA-7DCA-6F75AE12EF02}"/>
          </ac:spMkLst>
        </pc:spChg>
        <pc:spChg chg="add del mod ord replST delST">
          <ac:chgData name="Wenwen Zhang" userId="9dd81366-5d6f-445a-b031-6ea562624431" providerId="ADAL" clId="{D6FBF965-026B-43DA-A554-C6861A0A35E4}" dt="2023-02-02T11:56:39.178" v="131223"/>
          <ac:spMkLst>
            <pc:docMk/>
            <pc:sldMk cId="1589772229" sldId="2134804370"/>
            <ac:spMk id="722" creationId="{96DB64E7-7450-5BAA-7DCA-6F75AE12EF02}"/>
          </ac:spMkLst>
        </pc:spChg>
        <pc:spChg chg="add del mod ord replST delST">
          <ac:chgData name="Wenwen Zhang" userId="9dd81366-5d6f-445a-b031-6ea562624431" providerId="ADAL" clId="{D6FBF965-026B-43DA-A554-C6861A0A35E4}" dt="2023-02-02T11:56:39.178" v="131223"/>
          <ac:spMkLst>
            <pc:docMk/>
            <pc:sldMk cId="1589772229" sldId="2134804370"/>
            <ac:spMk id="723" creationId="{96DB64E7-7450-5BAA-7DCA-6F75AE12EF02}"/>
          </ac:spMkLst>
        </pc:spChg>
        <pc:spChg chg="add del mod ord replST delST">
          <ac:chgData name="Wenwen Zhang" userId="9dd81366-5d6f-445a-b031-6ea562624431" providerId="ADAL" clId="{D6FBF965-026B-43DA-A554-C6861A0A35E4}" dt="2023-02-02T11:56:39.178" v="131223"/>
          <ac:spMkLst>
            <pc:docMk/>
            <pc:sldMk cId="1589772229" sldId="2134804370"/>
            <ac:spMk id="724" creationId="{96DB64E7-7450-5BAA-7DCA-6F75AE12EF02}"/>
          </ac:spMkLst>
        </pc:spChg>
        <pc:spChg chg="add del mod ord replST delST">
          <ac:chgData name="Wenwen Zhang" userId="9dd81366-5d6f-445a-b031-6ea562624431" providerId="ADAL" clId="{D6FBF965-026B-43DA-A554-C6861A0A35E4}" dt="2023-02-02T11:56:39.178" v="131223"/>
          <ac:spMkLst>
            <pc:docMk/>
            <pc:sldMk cId="1589772229" sldId="2134804370"/>
            <ac:spMk id="725" creationId="{96DB64E7-7450-5BAA-7DCA-6F75AE12EF02}"/>
          </ac:spMkLst>
        </pc:spChg>
        <pc:spChg chg="add del mod ord replST delST">
          <ac:chgData name="Wenwen Zhang" userId="9dd81366-5d6f-445a-b031-6ea562624431" providerId="ADAL" clId="{D6FBF965-026B-43DA-A554-C6861A0A35E4}" dt="2023-02-02T11:56:39.178" v="131223"/>
          <ac:spMkLst>
            <pc:docMk/>
            <pc:sldMk cId="1589772229" sldId="2134804370"/>
            <ac:spMk id="726" creationId="{96DB64E7-7450-5BAA-7DCA-6F75AE12EF02}"/>
          </ac:spMkLst>
        </pc:spChg>
        <pc:spChg chg="add del mod ord replST delST">
          <ac:chgData name="Wenwen Zhang" userId="9dd81366-5d6f-445a-b031-6ea562624431" providerId="ADAL" clId="{D6FBF965-026B-43DA-A554-C6861A0A35E4}" dt="2023-02-02T11:56:39.178" v="131223"/>
          <ac:spMkLst>
            <pc:docMk/>
            <pc:sldMk cId="1589772229" sldId="2134804370"/>
            <ac:spMk id="727" creationId="{96DB64E7-7450-5BAA-7DCA-6F75AE12EF02}"/>
          </ac:spMkLst>
        </pc:spChg>
        <pc:spChg chg="add del mod ord replST">
          <ac:chgData name="Wenwen Zhang" userId="9dd81366-5d6f-445a-b031-6ea562624431" providerId="ADAL" clId="{D6FBF965-026B-43DA-A554-C6861A0A35E4}" dt="2023-02-01T21:19:42.142" v="71051"/>
          <ac:spMkLst>
            <pc:docMk/>
            <pc:sldMk cId="1589772229" sldId="2134804370"/>
            <ac:spMk id="728" creationId="{96DB64E7-7450-5BAA-7DCA-6F75AE12EF02}"/>
          </ac:spMkLst>
        </pc:spChg>
        <pc:spChg chg="add del mod modVis">
          <ac:chgData name="Wenwen Zhang" userId="9dd81366-5d6f-445a-b031-6ea562624431" providerId="ADAL" clId="{D6FBF965-026B-43DA-A554-C6861A0A35E4}" dt="2023-02-02T11:57:07.354" v="131854"/>
          <ac:spMkLst>
            <pc:docMk/>
            <pc:sldMk cId="1589772229" sldId="2134804370"/>
            <ac:spMk id="729" creationId="{4B9CF6BE-C3A1-7A34-3B6F-2C452FCEEA45}"/>
          </ac:spMkLst>
        </pc:spChg>
        <pc:spChg chg="add del mod ord replST">
          <ac:chgData name="Wenwen Zhang" userId="9dd81366-5d6f-445a-b031-6ea562624431" providerId="ADAL" clId="{D6FBF965-026B-43DA-A554-C6861A0A35E4}" dt="2023-02-01T21:19:42.139" v="71041"/>
          <ac:spMkLst>
            <pc:docMk/>
            <pc:sldMk cId="1589772229" sldId="2134804370"/>
            <ac:spMk id="729" creationId="{96DB64E7-7450-5BAA-7DCA-6F75AE12EF02}"/>
          </ac:spMkLst>
        </pc:spChg>
        <pc:spChg chg="add del mod modVis">
          <ac:chgData name="Wenwen Zhang" userId="9dd81366-5d6f-445a-b031-6ea562624431" providerId="ADAL" clId="{D6FBF965-026B-43DA-A554-C6861A0A35E4}" dt="2023-02-01T21:19:38.670" v="70878"/>
          <ac:spMkLst>
            <pc:docMk/>
            <pc:sldMk cId="1589772229" sldId="2134804370"/>
            <ac:spMk id="731" creationId="{84A36403-CF46-E9E4-E5E3-C074A2413508}"/>
          </ac:spMkLst>
        </pc:spChg>
        <pc:spChg chg="add del mod modVis">
          <ac:chgData name="Wenwen Zhang" userId="9dd81366-5d6f-445a-b031-6ea562624431" providerId="ADAL" clId="{D6FBF965-026B-43DA-A554-C6861A0A35E4}" dt="2023-02-02T12:01:18.785" v="132365"/>
          <ac:spMkLst>
            <pc:docMk/>
            <pc:sldMk cId="1589772229" sldId="2134804370"/>
            <ac:spMk id="731" creationId="{D8ED9C80-F632-BDB6-559A-13930A59F2B5}"/>
          </ac:spMkLst>
        </pc:spChg>
        <pc:spChg chg="add del mod ord replST">
          <ac:chgData name="Wenwen Zhang" userId="9dd81366-5d6f-445a-b031-6ea562624431" providerId="ADAL" clId="{D6FBF965-026B-43DA-A554-C6861A0A35E4}" dt="2023-02-02T12:02:04.322" v="133031"/>
          <ac:spMkLst>
            <pc:docMk/>
            <pc:sldMk cId="1589772229" sldId="2134804370"/>
            <ac:spMk id="732" creationId="{96DB64E7-7450-5BAA-7DCA-6F75AE12EF02}"/>
          </ac:spMkLst>
        </pc:spChg>
        <pc:spChg chg="add del mod modVis">
          <ac:chgData name="Wenwen Zhang" userId="9dd81366-5d6f-445a-b031-6ea562624431" providerId="ADAL" clId="{D6FBF965-026B-43DA-A554-C6861A0A35E4}" dt="2023-02-01T21:19:41.722" v="71033"/>
          <ac:spMkLst>
            <pc:docMk/>
            <pc:sldMk cId="1589772229" sldId="2134804370"/>
            <ac:spMk id="734" creationId="{C073B37B-CB7D-47B2-81F4-377C2C3F8FF0}"/>
          </ac:spMkLst>
        </pc:spChg>
        <pc:spChg chg="add del mod modVis">
          <ac:chgData name="Wenwen Zhang" userId="9dd81366-5d6f-445a-b031-6ea562624431" providerId="ADAL" clId="{D6FBF965-026B-43DA-A554-C6861A0A35E4}" dt="2023-02-01T21:19:42.218" v="71198"/>
          <ac:spMkLst>
            <pc:docMk/>
            <pc:sldMk cId="1589772229" sldId="2134804370"/>
            <ac:spMk id="736" creationId="{756BCF76-3107-BF84-3F18-C5340F2622A6}"/>
          </ac:spMkLst>
        </pc:spChg>
        <pc:spChg chg="add del mod modVis">
          <ac:chgData name="Wenwen Zhang" userId="9dd81366-5d6f-445a-b031-6ea562624431" providerId="ADAL" clId="{D6FBF965-026B-43DA-A554-C6861A0A35E4}" dt="2023-02-02T12:01:27.989" v="132496"/>
          <ac:spMkLst>
            <pc:docMk/>
            <pc:sldMk cId="1589772229" sldId="2134804370"/>
            <ac:spMk id="737" creationId="{623ED801-2F9C-944D-AA69-121196D4B986}"/>
          </ac:spMkLst>
        </pc:spChg>
        <pc:spChg chg="add del mod modVis">
          <ac:chgData name="Wenwen Zhang" userId="9dd81366-5d6f-445a-b031-6ea562624431" providerId="ADAL" clId="{D6FBF965-026B-43DA-A554-C6861A0A35E4}" dt="2023-02-01T21:23:25.654" v="71364"/>
          <ac:spMkLst>
            <pc:docMk/>
            <pc:sldMk cId="1589772229" sldId="2134804370"/>
            <ac:spMk id="738" creationId="{2E47A27B-CDE7-9B46-176C-C537D6157658}"/>
          </ac:spMkLst>
        </pc:spChg>
        <pc:spChg chg="add del mod modVis">
          <ac:chgData name="Wenwen Zhang" userId="9dd81366-5d6f-445a-b031-6ea562624431" providerId="ADAL" clId="{D6FBF965-026B-43DA-A554-C6861A0A35E4}" dt="2023-02-02T12:01:42.568" v="132627"/>
          <ac:spMkLst>
            <pc:docMk/>
            <pc:sldMk cId="1589772229" sldId="2134804370"/>
            <ac:spMk id="739" creationId="{566596B7-C6AC-F6CA-D41E-1F28C1D2D26F}"/>
          </ac:spMkLst>
        </pc:spChg>
        <pc:spChg chg="add del mod modVis">
          <ac:chgData name="Wenwen Zhang" userId="9dd81366-5d6f-445a-b031-6ea562624431" providerId="ADAL" clId="{D6FBF965-026B-43DA-A554-C6861A0A35E4}" dt="2023-02-01T21:23:29.454" v="71513"/>
          <ac:spMkLst>
            <pc:docMk/>
            <pc:sldMk cId="1589772229" sldId="2134804370"/>
            <ac:spMk id="740" creationId="{C4BB858F-093A-6999-CA36-33D720233EF6}"/>
          </ac:spMkLst>
        </pc:spChg>
        <pc:spChg chg="add del mod modVis">
          <ac:chgData name="Wenwen Zhang" userId="9dd81366-5d6f-445a-b031-6ea562624431" providerId="ADAL" clId="{D6FBF965-026B-43DA-A554-C6861A0A35E4}" dt="2023-02-02T12:02:02.964" v="132767"/>
          <ac:spMkLst>
            <pc:docMk/>
            <pc:sldMk cId="1589772229" sldId="2134804370"/>
            <ac:spMk id="741" creationId="{10F5EDF5-E68B-06FB-A1E2-86DE27EAE3BB}"/>
          </ac:spMkLst>
        </pc:spChg>
        <pc:spChg chg="add del mod modVis">
          <ac:chgData name="Wenwen Zhang" userId="9dd81366-5d6f-445a-b031-6ea562624431" providerId="ADAL" clId="{D6FBF965-026B-43DA-A554-C6861A0A35E4}" dt="2023-02-01T21:23:58.345" v="71659"/>
          <ac:spMkLst>
            <pc:docMk/>
            <pc:sldMk cId="1589772229" sldId="2134804370"/>
            <ac:spMk id="742" creationId="{ED9865F6-C6FB-13BB-C33C-A45D05026BCB}"/>
          </ac:spMkLst>
        </pc:spChg>
        <pc:spChg chg="add del mod modVis">
          <ac:chgData name="Wenwen Zhang" userId="9dd81366-5d6f-445a-b031-6ea562624431" providerId="ADAL" clId="{D6FBF965-026B-43DA-A554-C6861A0A35E4}" dt="2023-02-02T12:02:03.739" v="132908"/>
          <ac:spMkLst>
            <pc:docMk/>
            <pc:sldMk cId="1589772229" sldId="2134804370"/>
            <ac:spMk id="743" creationId="{25892A55-38C1-D740-9A23-092D07B9DD8C}"/>
          </ac:spMkLst>
        </pc:spChg>
        <pc:spChg chg="add del mod modVis">
          <ac:chgData name="Wenwen Zhang" userId="9dd81366-5d6f-445a-b031-6ea562624431" providerId="ADAL" clId="{D6FBF965-026B-43DA-A554-C6861A0A35E4}" dt="2023-02-01T21:24:03.146" v="73869"/>
          <ac:spMkLst>
            <pc:docMk/>
            <pc:sldMk cId="1589772229" sldId="2134804370"/>
            <ac:spMk id="745" creationId="{0EFA1BCA-E74D-6CA8-BA73-37001729C352}"/>
          </ac:spMkLst>
        </pc:spChg>
        <pc:spChg chg="add del mod modVis">
          <ac:chgData name="Wenwen Zhang" userId="9dd81366-5d6f-445a-b031-6ea562624431" providerId="ADAL" clId="{D6FBF965-026B-43DA-A554-C6861A0A35E4}" dt="2023-02-02T12:02:04.322" v="133044"/>
          <ac:spMkLst>
            <pc:docMk/>
            <pc:sldMk cId="1589772229" sldId="2134804370"/>
            <ac:spMk id="746" creationId="{0A48B000-1A23-E948-0B3B-B91DFED7DEB4}"/>
          </ac:spMkLst>
        </pc:spChg>
        <pc:spChg chg="add del mod replST">
          <ac:chgData name="Wenwen Zhang" userId="9dd81366-5d6f-445a-b031-6ea562624431" providerId="ADAL" clId="{D6FBF965-026B-43DA-A554-C6861A0A35E4}" dt="2023-02-01T21:24:06.243" v="73926"/>
          <ac:spMkLst>
            <pc:docMk/>
            <pc:sldMk cId="1589772229" sldId="2134804370"/>
            <ac:spMk id="746" creationId="{96DB64E7-7450-5BAA-7DCA-6F75AE12EF02}"/>
          </ac:spMkLst>
        </pc:spChg>
        <pc:spChg chg="add del mod replST">
          <ac:chgData name="Wenwen Zhang" userId="9dd81366-5d6f-445a-b031-6ea562624431" providerId="ADAL" clId="{D6FBF965-026B-43DA-A554-C6861A0A35E4}" dt="2023-02-01T21:24:06.242" v="73923"/>
          <ac:spMkLst>
            <pc:docMk/>
            <pc:sldMk cId="1589772229" sldId="2134804370"/>
            <ac:spMk id="747" creationId="{96DB64E7-7450-5BAA-7DCA-6F75AE12EF02}"/>
          </ac:spMkLst>
        </pc:spChg>
        <pc:spChg chg="add del mod replST">
          <ac:chgData name="Wenwen Zhang" userId="9dd81366-5d6f-445a-b031-6ea562624431" providerId="ADAL" clId="{D6FBF965-026B-43DA-A554-C6861A0A35E4}" dt="2023-02-01T21:24:06.242" v="73920"/>
          <ac:spMkLst>
            <pc:docMk/>
            <pc:sldMk cId="1589772229" sldId="2134804370"/>
            <ac:spMk id="748" creationId="{96DB64E7-7450-5BAA-7DCA-6F75AE12EF02}"/>
          </ac:spMkLst>
        </pc:spChg>
        <pc:spChg chg="add del mod replST">
          <ac:chgData name="Wenwen Zhang" userId="9dd81366-5d6f-445a-b031-6ea562624431" providerId="ADAL" clId="{D6FBF965-026B-43DA-A554-C6861A0A35E4}" dt="2023-02-01T21:24:06.241" v="73917"/>
          <ac:spMkLst>
            <pc:docMk/>
            <pc:sldMk cId="1589772229" sldId="2134804370"/>
            <ac:spMk id="749" creationId="{96DB64E7-7450-5BAA-7DCA-6F75AE12EF02}"/>
          </ac:spMkLst>
        </pc:spChg>
        <pc:spChg chg="add del mod replST">
          <ac:chgData name="Wenwen Zhang" userId="9dd81366-5d6f-445a-b031-6ea562624431" providerId="ADAL" clId="{D6FBF965-026B-43DA-A554-C6861A0A35E4}" dt="2023-02-01T21:24:06.240" v="73914"/>
          <ac:spMkLst>
            <pc:docMk/>
            <pc:sldMk cId="1589772229" sldId="2134804370"/>
            <ac:spMk id="750" creationId="{96DB64E7-7450-5BAA-7DCA-6F75AE12EF02}"/>
          </ac:spMkLst>
        </pc:spChg>
        <pc:spChg chg="add del mod replST">
          <ac:chgData name="Wenwen Zhang" userId="9dd81366-5d6f-445a-b031-6ea562624431" providerId="ADAL" clId="{D6FBF965-026B-43DA-A554-C6861A0A35E4}" dt="2023-02-01T21:24:06.239" v="73911"/>
          <ac:spMkLst>
            <pc:docMk/>
            <pc:sldMk cId="1589772229" sldId="2134804370"/>
            <ac:spMk id="751" creationId="{96DB64E7-7450-5BAA-7DCA-6F75AE12EF02}"/>
          </ac:spMkLst>
        </pc:spChg>
        <pc:spChg chg="add del mod replST">
          <ac:chgData name="Wenwen Zhang" userId="9dd81366-5d6f-445a-b031-6ea562624431" providerId="ADAL" clId="{D6FBF965-026B-43DA-A554-C6861A0A35E4}" dt="2023-02-01T21:24:06.239" v="73908"/>
          <ac:spMkLst>
            <pc:docMk/>
            <pc:sldMk cId="1589772229" sldId="2134804370"/>
            <ac:spMk id="752" creationId="{96DB64E7-7450-5BAA-7DCA-6F75AE12EF02}"/>
          </ac:spMkLst>
        </pc:spChg>
        <pc:spChg chg="add del mod replST">
          <ac:chgData name="Wenwen Zhang" userId="9dd81366-5d6f-445a-b031-6ea562624431" providerId="ADAL" clId="{D6FBF965-026B-43DA-A554-C6861A0A35E4}" dt="2023-02-01T21:24:06.238" v="73905"/>
          <ac:spMkLst>
            <pc:docMk/>
            <pc:sldMk cId="1589772229" sldId="2134804370"/>
            <ac:spMk id="753" creationId="{96DB64E7-7450-5BAA-7DCA-6F75AE12EF02}"/>
          </ac:spMkLst>
        </pc:spChg>
        <pc:spChg chg="add del mod replST">
          <ac:chgData name="Wenwen Zhang" userId="9dd81366-5d6f-445a-b031-6ea562624431" providerId="ADAL" clId="{D6FBF965-026B-43DA-A554-C6861A0A35E4}" dt="2023-02-01T21:24:06.237" v="73902"/>
          <ac:spMkLst>
            <pc:docMk/>
            <pc:sldMk cId="1589772229" sldId="2134804370"/>
            <ac:spMk id="754" creationId="{96DB64E7-7450-5BAA-7DCA-6F75AE12EF02}"/>
          </ac:spMkLst>
        </pc:spChg>
        <pc:spChg chg="add del mod replST">
          <ac:chgData name="Wenwen Zhang" userId="9dd81366-5d6f-445a-b031-6ea562624431" providerId="ADAL" clId="{D6FBF965-026B-43DA-A554-C6861A0A35E4}" dt="2023-02-01T21:24:06.237" v="73899"/>
          <ac:spMkLst>
            <pc:docMk/>
            <pc:sldMk cId="1589772229" sldId="2134804370"/>
            <ac:spMk id="755" creationId="{96DB64E7-7450-5BAA-7DCA-6F75AE12EF02}"/>
          </ac:spMkLst>
        </pc:spChg>
        <pc:spChg chg="add del mod replST">
          <ac:chgData name="Wenwen Zhang" userId="9dd81366-5d6f-445a-b031-6ea562624431" providerId="ADAL" clId="{D6FBF965-026B-43DA-A554-C6861A0A35E4}" dt="2023-02-01T21:24:06.236" v="73896"/>
          <ac:spMkLst>
            <pc:docMk/>
            <pc:sldMk cId="1589772229" sldId="2134804370"/>
            <ac:spMk id="756" creationId="{96DB64E7-7450-5BAA-7DCA-6F75AE12EF02}"/>
          </ac:spMkLst>
        </pc:spChg>
        <pc:spChg chg="add del mod replST">
          <ac:chgData name="Wenwen Zhang" userId="9dd81366-5d6f-445a-b031-6ea562624431" providerId="ADAL" clId="{D6FBF965-026B-43DA-A554-C6861A0A35E4}" dt="2023-02-01T21:24:06.235" v="73893"/>
          <ac:spMkLst>
            <pc:docMk/>
            <pc:sldMk cId="1589772229" sldId="2134804370"/>
            <ac:spMk id="757" creationId="{96DB64E7-7450-5BAA-7DCA-6F75AE12EF02}"/>
          </ac:spMkLst>
        </pc:spChg>
        <pc:spChg chg="add del mod replST">
          <ac:chgData name="Wenwen Zhang" userId="9dd81366-5d6f-445a-b031-6ea562624431" providerId="ADAL" clId="{D6FBF965-026B-43DA-A554-C6861A0A35E4}" dt="2023-02-01T21:24:06.235" v="73890"/>
          <ac:spMkLst>
            <pc:docMk/>
            <pc:sldMk cId="1589772229" sldId="2134804370"/>
            <ac:spMk id="758" creationId="{96DB64E7-7450-5BAA-7DCA-6F75AE12EF02}"/>
          </ac:spMkLst>
        </pc:spChg>
        <pc:spChg chg="add del mod replST">
          <ac:chgData name="Wenwen Zhang" userId="9dd81366-5d6f-445a-b031-6ea562624431" providerId="ADAL" clId="{D6FBF965-026B-43DA-A554-C6861A0A35E4}" dt="2023-02-01T21:24:06.234" v="73887"/>
          <ac:spMkLst>
            <pc:docMk/>
            <pc:sldMk cId="1589772229" sldId="2134804370"/>
            <ac:spMk id="759" creationId="{96DB64E7-7450-5BAA-7DCA-6F75AE12EF02}"/>
          </ac:spMkLst>
        </pc:spChg>
        <pc:spChg chg="add del mod replST">
          <ac:chgData name="Wenwen Zhang" userId="9dd81366-5d6f-445a-b031-6ea562624431" providerId="ADAL" clId="{D6FBF965-026B-43DA-A554-C6861A0A35E4}" dt="2023-02-01T21:24:06.233" v="73884"/>
          <ac:spMkLst>
            <pc:docMk/>
            <pc:sldMk cId="1589772229" sldId="2134804370"/>
            <ac:spMk id="760" creationId="{96DB64E7-7450-5BAA-7DCA-6F75AE12EF02}"/>
          </ac:spMkLst>
        </pc:spChg>
        <pc:spChg chg="add del mod replST">
          <ac:chgData name="Wenwen Zhang" userId="9dd81366-5d6f-445a-b031-6ea562624431" providerId="ADAL" clId="{D6FBF965-026B-43DA-A554-C6861A0A35E4}" dt="2023-02-01T21:24:06.233" v="73881"/>
          <ac:spMkLst>
            <pc:docMk/>
            <pc:sldMk cId="1589772229" sldId="2134804370"/>
            <ac:spMk id="761" creationId="{96DB64E7-7450-5BAA-7DCA-6F75AE12EF02}"/>
          </ac:spMkLst>
        </pc:spChg>
        <pc:spChg chg="add del mod replST">
          <ac:chgData name="Wenwen Zhang" userId="9dd81366-5d6f-445a-b031-6ea562624431" providerId="ADAL" clId="{D6FBF965-026B-43DA-A554-C6861A0A35E4}" dt="2023-02-01T21:24:06.232" v="73878"/>
          <ac:spMkLst>
            <pc:docMk/>
            <pc:sldMk cId="1589772229" sldId="2134804370"/>
            <ac:spMk id="762" creationId="{96DB64E7-7450-5BAA-7DCA-6F75AE12EF02}"/>
          </ac:spMkLst>
        </pc:spChg>
        <pc:spChg chg="add del mod replST">
          <ac:chgData name="Wenwen Zhang" userId="9dd81366-5d6f-445a-b031-6ea562624431" providerId="ADAL" clId="{D6FBF965-026B-43DA-A554-C6861A0A35E4}" dt="2023-02-01T21:24:06.232" v="73875"/>
          <ac:spMkLst>
            <pc:docMk/>
            <pc:sldMk cId="1589772229" sldId="2134804370"/>
            <ac:spMk id="763" creationId="{96DB64E7-7450-5BAA-7DCA-6F75AE12EF02}"/>
          </ac:spMkLst>
        </pc:spChg>
        <pc:spChg chg="add del mod replST">
          <ac:chgData name="Wenwen Zhang" userId="9dd81366-5d6f-445a-b031-6ea562624431" providerId="ADAL" clId="{D6FBF965-026B-43DA-A554-C6861A0A35E4}" dt="2023-02-01T21:24:06.231" v="73872"/>
          <ac:spMkLst>
            <pc:docMk/>
            <pc:sldMk cId="1589772229" sldId="2134804370"/>
            <ac:spMk id="764" creationId="{96DB64E7-7450-5BAA-7DCA-6F75AE12EF02}"/>
          </ac:spMkLst>
        </pc:spChg>
        <pc:spChg chg="add del mod replST">
          <ac:chgData name="Wenwen Zhang" userId="9dd81366-5d6f-445a-b031-6ea562624431" providerId="ADAL" clId="{D6FBF965-026B-43DA-A554-C6861A0A35E4}" dt="2023-02-01T21:25:37.362" v="83245"/>
          <ac:spMkLst>
            <pc:docMk/>
            <pc:sldMk cId="1589772229" sldId="2134804370"/>
            <ac:spMk id="768" creationId="{96DB64E7-7450-5BAA-7DCA-6F75AE12EF02}"/>
          </ac:spMkLst>
        </pc:spChg>
        <pc:spChg chg="add del mod replST">
          <ac:chgData name="Wenwen Zhang" userId="9dd81366-5d6f-445a-b031-6ea562624431" providerId="ADAL" clId="{D6FBF965-026B-43DA-A554-C6861A0A35E4}" dt="2023-02-01T21:25:38.524" v="83373"/>
          <ac:spMkLst>
            <pc:docMk/>
            <pc:sldMk cId="1589772229" sldId="2134804370"/>
            <ac:spMk id="769" creationId="{96DB64E7-7450-5BAA-7DCA-6F75AE12EF02}"/>
          </ac:spMkLst>
        </pc:spChg>
        <pc:spChg chg="add del mod replST">
          <ac:chgData name="Wenwen Zhang" userId="9dd81366-5d6f-445a-b031-6ea562624431" providerId="ADAL" clId="{D6FBF965-026B-43DA-A554-C6861A0A35E4}" dt="2023-02-02T12:02:04.322" v="133027"/>
          <ac:spMkLst>
            <pc:docMk/>
            <pc:sldMk cId="1589772229" sldId="2134804370"/>
            <ac:spMk id="770" creationId="{96DB64E7-7450-5BAA-7DCA-6F75AE12EF02}"/>
          </ac:spMkLst>
        </pc:spChg>
        <pc:spChg chg="add del mod replST">
          <ac:chgData name="Wenwen Zhang" userId="9dd81366-5d6f-445a-b031-6ea562624431" providerId="ADAL" clId="{D6FBF965-026B-43DA-A554-C6861A0A35E4}" dt="2023-02-01T21:25:41.234" v="83623"/>
          <ac:spMkLst>
            <pc:docMk/>
            <pc:sldMk cId="1589772229" sldId="2134804370"/>
            <ac:spMk id="771" creationId="{96DB64E7-7450-5BAA-7DCA-6F75AE12EF02}"/>
          </ac:spMkLst>
        </pc:spChg>
        <pc:spChg chg="add del mod replST">
          <ac:chgData name="Wenwen Zhang" userId="9dd81366-5d6f-445a-b031-6ea562624431" providerId="ADAL" clId="{D6FBF965-026B-43DA-A554-C6861A0A35E4}" dt="2023-02-01T21:25:42.910" v="83868"/>
          <ac:spMkLst>
            <pc:docMk/>
            <pc:sldMk cId="1589772229" sldId="2134804370"/>
            <ac:spMk id="772" creationId="{96DB64E7-7450-5BAA-7DCA-6F75AE12EF02}"/>
          </ac:spMkLst>
        </pc:spChg>
        <pc:spChg chg="add del mod replST">
          <ac:chgData name="Wenwen Zhang" userId="9dd81366-5d6f-445a-b031-6ea562624431" providerId="ADAL" clId="{D6FBF965-026B-43DA-A554-C6861A0A35E4}" dt="2023-02-02T12:02:04.322" v="133022"/>
          <ac:spMkLst>
            <pc:docMk/>
            <pc:sldMk cId="1589772229" sldId="2134804370"/>
            <ac:spMk id="773" creationId="{96DB64E7-7450-5BAA-7DCA-6F75AE12EF02}"/>
          </ac:spMkLst>
        </pc:spChg>
        <pc:spChg chg="add del mod ord replST">
          <ac:chgData name="Wenwen Zhang" userId="9dd81366-5d6f-445a-b031-6ea562624431" providerId="ADAL" clId="{D6FBF965-026B-43DA-A554-C6861A0A35E4}" dt="2023-02-01T21:26:48.281" v="84670"/>
          <ac:spMkLst>
            <pc:docMk/>
            <pc:sldMk cId="1589772229" sldId="2134804370"/>
            <ac:spMk id="774" creationId="{96DB64E7-7450-5BAA-7DCA-6F75AE12EF02}"/>
          </ac:spMkLst>
        </pc:spChg>
        <pc:spChg chg="add del mod ord replST">
          <ac:chgData name="Wenwen Zhang" userId="9dd81366-5d6f-445a-b031-6ea562624431" providerId="ADAL" clId="{D6FBF965-026B-43DA-A554-C6861A0A35E4}" dt="2023-02-01T21:26:48.282" v="84672"/>
          <ac:spMkLst>
            <pc:docMk/>
            <pc:sldMk cId="1589772229" sldId="2134804370"/>
            <ac:spMk id="775" creationId="{96DB64E7-7450-5BAA-7DCA-6F75AE12EF02}"/>
          </ac:spMkLst>
        </pc:spChg>
        <pc:spChg chg="add del mod ord replST">
          <ac:chgData name="Wenwen Zhang" userId="9dd81366-5d6f-445a-b031-6ea562624431" providerId="ADAL" clId="{D6FBF965-026B-43DA-A554-C6861A0A35E4}" dt="2023-02-02T10:05:46.007" v="108072"/>
          <ac:spMkLst>
            <pc:docMk/>
            <pc:sldMk cId="1589772229" sldId="2134804370"/>
            <ac:spMk id="777" creationId="{0590965F-BED5-0FD6-7C18-271638DDDF39}"/>
          </ac:spMkLst>
        </pc:spChg>
        <pc:spChg chg="add del mod modVis">
          <ac:chgData name="Wenwen Zhang" userId="9dd81366-5d6f-445a-b031-6ea562624431" providerId="ADAL" clId="{D6FBF965-026B-43DA-A554-C6861A0A35E4}" dt="2023-02-01T21:24:19.046" v="78338"/>
          <ac:spMkLst>
            <pc:docMk/>
            <pc:sldMk cId="1589772229" sldId="2134804370"/>
            <ac:spMk id="778" creationId="{ADBBD28D-53DC-7533-B817-C31EA61F1AD1}"/>
          </ac:spMkLst>
        </pc:spChg>
        <pc:spChg chg="add del mod modVis">
          <ac:chgData name="Wenwen Zhang" userId="9dd81366-5d6f-445a-b031-6ea562624431" providerId="ADAL" clId="{D6FBF965-026B-43DA-A554-C6861A0A35E4}" dt="2023-02-01T21:24:32.155" v="78528"/>
          <ac:spMkLst>
            <pc:docMk/>
            <pc:sldMk cId="1589772229" sldId="2134804370"/>
            <ac:spMk id="780" creationId="{8607E242-A470-992E-77E9-27FCEEB65A42}"/>
          </ac:spMkLst>
        </pc:spChg>
        <pc:spChg chg="add del mod modVis">
          <ac:chgData name="Wenwen Zhang" userId="9dd81366-5d6f-445a-b031-6ea562624431" providerId="ADAL" clId="{D6FBF965-026B-43DA-A554-C6861A0A35E4}" dt="2023-02-01T21:24:39.452" v="78721"/>
          <ac:spMkLst>
            <pc:docMk/>
            <pc:sldMk cId="1589772229" sldId="2134804370"/>
            <ac:spMk id="782" creationId="{0FA72285-5ECC-F2AB-EB82-F86F8BB368F1}"/>
          </ac:spMkLst>
        </pc:spChg>
        <pc:spChg chg="add del mod modVis">
          <ac:chgData name="Wenwen Zhang" userId="9dd81366-5d6f-445a-b031-6ea562624431" providerId="ADAL" clId="{D6FBF965-026B-43DA-A554-C6861A0A35E4}" dt="2023-02-01T21:24:53.599" v="79299"/>
          <ac:spMkLst>
            <pc:docMk/>
            <pc:sldMk cId="1589772229" sldId="2134804370"/>
            <ac:spMk id="784" creationId="{4D19FC84-398C-BD24-E4CD-4C7E42FF4DF9}"/>
          </ac:spMkLst>
        </pc:spChg>
        <pc:spChg chg="add del mod modVis">
          <ac:chgData name="Wenwen Zhang" userId="9dd81366-5d6f-445a-b031-6ea562624431" providerId="ADAL" clId="{D6FBF965-026B-43DA-A554-C6861A0A35E4}" dt="2023-02-01T21:24:58.373" v="79464"/>
          <ac:spMkLst>
            <pc:docMk/>
            <pc:sldMk cId="1589772229" sldId="2134804370"/>
            <ac:spMk id="786" creationId="{E5C74A3F-CB7D-BE8B-421E-687EE99E120C}"/>
          </ac:spMkLst>
        </pc:spChg>
        <pc:spChg chg="add del mod modVis">
          <ac:chgData name="Wenwen Zhang" userId="9dd81366-5d6f-445a-b031-6ea562624431" providerId="ADAL" clId="{D6FBF965-026B-43DA-A554-C6861A0A35E4}" dt="2023-02-01T21:25:00.538" v="79631"/>
          <ac:spMkLst>
            <pc:docMk/>
            <pc:sldMk cId="1589772229" sldId="2134804370"/>
            <ac:spMk id="788" creationId="{67CF5B67-32E1-55BE-0436-8FAB328753EA}"/>
          </ac:spMkLst>
        </pc:spChg>
        <pc:spChg chg="add del mod modVis">
          <ac:chgData name="Wenwen Zhang" userId="9dd81366-5d6f-445a-b031-6ea562624431" providerId="ADAL" clId="{D6FBF965-026B-43DA-A554-C6861A0A35E4}" dt="2023-02-01T21:25:01.928" v="79795"/>
          <ac:spMkLst>
            <pc:docMk/>
            <pc:sldMk cId="1589772229" sldId="2134804370"/>
            <ac:spMk id="790" creationId="{D139D543-2909-CA19-73FF-5FC954345251}"/>
          </ac:spMkLst>
        </pc:spChg>
        <pc:spChg chg="add del mod modVis">
          <ac:chgData name="Wenwen Zhang" userId="9dd81366-5d6f-445a-b031-6ea562624431" providerId="ADAL" clId="{D6FBF965-026B-43DA-A554-C6861A0A35E4}" dt="2023-02-01T21:25:02.339" v="79960"/>
          <ac:spMkLst>
            <pc:docMk/>
            <pc:sldMk cId="1589772229" sldId="2134804370"/>
            <ac:spMk id="792" creationId="{69CF6600-C1D3-9081-A0C7-F41052875F31}"/>
          </ac:spMkLst>
        </pc:spChg>
        <pc:spChg chg="add del mod modVis">
          <ac:chgData name="Wenwen Zhang" userId="9dd81366-5d6f-445a-b031-6ea562624431" providerId="ADAL" clId="{D6FBF965-026B-43DA-A554-C6861A0A35E4}" dt="2023-02-01T21:25:04.398" v="80122"/>
          <ac:spMkLst>
            <pc:docMk/>
            <pc:sldMk cId="1589772229" sldId="2134804370"/>
            <ac:spMk id="794" creationId="{D98A235B-DCA1-5B3D-80FD-4151194E3AC4}"/>
          </ac:spMkLst>
        </pc:spChg>
        <pc:spChg chg="add del mod modVis">
          <ac:chgData name="Wenwen Zhang" userId="9dd81366-5d6f-445a-b031-6ea562624431" providerId="ADAL" clId="{D6FBF965-026B-43DA-A554-C6861A0A35E4}" dt="2023-02-01T21:25:05.024" v="80285"/>
          <ac:spMkLst>
            <pc:docMk/>
            <pc:sldMk cId="1589772229" sldId="2134804370"/>
            <ac:spMk id="796" creationId="{0425462A-F317-61F8-8477-9FBF846D6582}"/>
          </ac:spMkLst>
        </pc:spChg>
        <pc:spChg chg="add del mod modVis">
          <ac:chgData name="Wenwen Zhang" userId="9dd81366-5d6f-445a-b031-6ea562624431" providerId="ADAL" clId="{D6FBF965-026B-43DA-A554-C6861A0A35E4}" dt="2023-02-01T21:25:06.849" v="80448"/>
          <ac:spMkLst>
            <pc:docMk/>
            <pc:sldMk cId="1589772229" sldId="2134804370"/>
            <ac:spMk id="798" creationId="{8D9AE86F-6198-9173-1F9E-337F366FE86D}"/>
          </ac:spMkLst>
        </pc:spChg>
        <pc:spChg chg="add del mod modVis">
          <ac:chgData name="Wenwen Zhang" userId="9dd81366-5d6f-445a-b031-6ea562624431" providerId="ADAL" clId="{D6FBF965-026B-43DA-A554-C6861A0A35E4}" dt="2023-02-01T21:25:08.126" v="80606"/>
          <ac:spMkLst>
            <pc:docMk/>
            <pc:sldMk cId="1589772229" sldId="2134804370"/>
            <ac:spMk id="800" creationId="{FA5AB975-412C-36D1-1509-C4A2DB63414E}"/>
          </ac:spMkLst>
        </pc:spChg>
        <pc:spChg chg="add del mod modVis">
          <ac:chgData name="Wenwen Zhang" userId="9dd81366-5d6f-445a-b031-6ea562624431" providerId="ADAL" clId="{D6FBF965-026B-43DA-A554-C6861A0A35E4}" dt="2023-02-01T21:25:08.320" v="80761"/>
          <ac:spMkLst>
            <pc:docMk/>
            <pc:sldMk cId="1589772229" sldId="2134804370"/>
            <ac:spMk id="802" creationId="{D8298739-9261-DFD7-A6C4-EA525D69A1B2}"/>
          </ac:spMkLst>
        </pc:spChg>
        <pc:spChg chg="add del mod modVis">
          <ac:chgData name="Wenwen Zhang" userId="9dd81366-5d6f-445a-b031-6ea562624431" providerId="ADAL" clId="{D6FBF965-026B-43DA-A554-C6861A0A35E4}" dt="2023-02-01T21:25:10.410" v="80918"/>
          <ac:spMkLst>
            <pc:docMk/>
            <pc:sldMk cId="1589772229" sldId="2134804370"/>
            <ac:spMk id="804" creationId="{6876FB32-67F7-EEBF-3756-E3D5B4BFD9A6}"/>
          </ac:spMkLst>
        </pc:spChg>
        <pc:spChg chg="add del mod modVis">
          <ac:chgData name="Wenwen Zhang" userId="9dd81366-5d6f-445a-b031-6ea562624431" providerId="ADAL" clId="{D6FBF965-026B-43DA-A554-C6861A0A35E4}" dt="2023-02-01T21:25:12.149" v="81075"/>
          <ac:spMkLst>
            <pc:docMk/>
            <pc:sldMk cId="1589772229" sldId="2134804370"/>
            <ac:spMk id="806" creationId="{920C8B4A-14A0-739F-5D8E-E699243D401D}"/>
          </ac:spMkLst>
        </pc:spChg>
        <pc:spChg chg="add del mod modVis">
          <ac:chgData name="Wenwen Zhang" userId="9dd81366-5d6f-445a-b031-6ea562624431" providerId="ADAL" clId="{D6FBF965-026B-43DA-A554-C6861A0A35E4}" dt="2023-02-01T21:25:13.773" v="81226"/>
          <ac:spMkLst>
            <pc:docMk/>
            <pc:sldMk cId="1589772229" sldId="2134804370"/>
            <ac:spMk id="808" creationId="{6002C03D-65C9-4747-BD62-263228B27243}"/>
          </ac:spMkLst>
        </pc:spChg>
        <pc:spChg chg="add del mod modVis">
          <ac:chgData name="Wenwen Zhang" userId="9dd81366-5d6f-445a-b031-6ea562624431" providerId="ADAL" clId="{D6FBF965-026B-43DA-A554-C6861A0A35E4}" dt="2023-02-01T21:25:16.016" v="81377"/>
          <ac:spMkLst>
            <pc:docMk/>
            <pc:sldMk cId="1589772229" sldId="2134804370"/>
            <ac:spMk id="810" creationId="{654498AB-FB6D-2143-9088-BB118F589346}"/>
          </ac:spMkLst>
        </pc:spChg>
        <pc:spChg chg="add del mod modVis">
          <ac:chgData name="Wenwen Zhang" userId="9dd81366-5d6f-445a-b031-6ea562624431" providerId="ADAL" clId="{D6FBF965-026B-43DA-A554-C6861A0A35E4}" dt="2023-02-01T21:25:17.173" v="81525"/>
          <ac:spMkLst>
            <pc:docMk/>
            <pc:sldMk cId="1589772229" sldId="2134804370"/>
            <ac:spMk id="812" creationId="{B9335C14-E456-9483-1706-F44A4003D263}"/>
          </ac:spMkLst>
        </pc:spChg>
        <pc:spChg chg="add del mod modVis">
          <ac:chgData name="Wenwen Zhang" userId="9dd81366-5d6f-445a-b031-6ea562624431" providerId="ADAL" clId="{D6FBF965-026B-43DA-A554-C6861A0A35E4}" dt="2023-02-01T21:25:17.816" v="81674"/>
          <ac:spMkLst>
            <pc:docMk/>
            <pc:sldMk cId="1589772229" sldId="2134804370"/>
            <ac:spMk id="814" creationId="{9D85BD2C-084A-5A3D-4BC7-552377F7E574}"/>
          </ac:spMkLst>
        </pc:spChg>
        <pc:spChg chg="add del mod modVis">
          <ac:chgData name="Wenwen Zhang" userId="9dd81366-5d6f-445a-b031-6ea562624431" providerId="ADAL" clId="{D6FBF965-026B-43DA-A554-C6861A0A35E4}" dt="2023-02-01T21:25:19.458" v="81823"/>
          <ac:spMkLst>
            <pc:docMk/>
            <pc:sldMk cId="1589772229" sldId="2134804370"/>
            <ac:spMk id="816" creationId="{3FF2BEC0-C00C-6A0E-F29F-5D7530A05182}"/>
          </ac:spMkLst>
        </pc:spChg>
        <pc:spChg chg="add del mod modVis">
          <ac:chgData name="Wenwen Zhang" userId="9dd81366-5d6f-445a-b031-6ea562624431" providerId="ADAL" clId="{D6FBF965-026B-43DA-A554-C6861A0A35E4}" dt="2023-02-01T21:25:21.277" v="81970"/>
          <ac:spMkLst>
            <pc:docMk/>
            <pc:sldMk cId="1589772229" sldId="2134804370"/>
            <ac:spMk id="818" creationId="{93A1FA94-03A9-B09B-B065-C88838C00BE4}"/>
          </ac:spMkLst>
        </pc:spChg>
        <pc:spChg chg="add del mod modVis">
          <ac:chgData name="Wenwen Zhang" userId="9dd81366-5d6f-445a-b031-6ea562624431" providerId="ADAL" clId="{D6FBF965-026B-43DA-A554-C6861A0A35E4}" dt="2023-02-01T21:25:22.798" v="82111"/>
          <ac:spMkLst>
            <pc:docMk/>
            <pc:sldMk cId="1589772229" sldId="2134804370"/>
            <ac:spMk id="820" creationId="{43ACD27B-4FE4-D7F4-BE18-C4282EB8701B}"/>
          </ac:spMkLst>
        </pc:spChg>
        <pc:spChg chg="add del mod modVis">
          <ac:chgData name="Wenwen Zhang" userId="9dd81366-5d6f-445a-b031-6ea562624431" providerId="ADAL" clId="{D6FBF965-026B-43DA-A554-C6861A0A35E4}" dt="2023-02-01T21:25:24.864" v="82248"/>
          <ac:spMkLst>
            <pc:docMk/>
            <pc:sldMk cId="1589772229" sldId="2134804370"/>
            <ac:spMk id="822" creationId="{266C330C-E0EF-3A6E-EA36-C658314A7762}"/>
          </ac:spMkLst>
        </pc:spChg>
        <pc:spChg chg="add del mod modVis">
          <ac:chgData name="Wenwen Zhang" userId="9dd81366-5d6f-445a-b031-6ea562624431" providerId="ADAL" clId="{D6FBF965-026B-43DA-A554-C6861A0A35E4}" dt="2023-02-01T21:25:26.919" v="82387"/>
          <ac:spMkLst>
            <pc:docMk/>
            <pc:sldMk cId="1589772229" sldId="2134804370"/>
            <ac:spMk id="824" creationId="{1496DA00-6DB2-845C-91C9-AEDD4C6C981C}"/>
          </ac:spMkLst>
        </pc:spChg>
        <pc:spChg chg="add del mod modVis">
          <ac:chgData name="Wenwen Zhang" userId="9dd81366-5d6f-445a-b031-6ea562624431" providerId="ADAL" clId="{D6FBF965-026B-43DA-A554-C6861A0A35E4}" dt="2023-02-01T21:25:28.255" v="82522"/>
          <ac:spMkLst>
            <pc:docMk/>
            <pc:sldMk cId="1589772229" sldId="2134804370"/>
            <ac:spMk id="826" creationId="{B98B9FE0-6F2A-0182-FA4B-76D6FDB7951A}"/>
          </ac:spMkLst>
        </pc:spChg>
        <pc:spChg chg="add del mod modVis">
          <ac:chgData name="Wenwen Zhang" userId="9dd81366-5d6f-445a-b031-6ea562624431" providerId="ADAL" clId="{D6FBF965-026B-43DA-A554-C6861A0A35E4}" dt="2023-02-01T21:25:29.766" v="82653"/>
          <ac:spMkLst>
            <pc:docMk/>
            <pc:sldMk cId="1589772229" sldId="2134804370"/>
            <ac:spMk id="828" creationId="{3388E7CF-4219-9495-2B54-252F8851543E}"/>
          </ac:spMkLst>
        </pc:spChg>
        <pc:spChg chg="add del mod modVis">
          <ac:chgData name="Wenwen Zhang" userId="9dd81366-5d6f-445a-b031-6ea562624431" providerId="ADAL" clId="{D6FBF965-026B-43DA-A554-C6861A0A35E4}" dt="2023-02-01T21:25:32.464" v="82786"/>
          <ac:spMkLst>
            <pc:docMk/>
            <pc:sldMk cId="1589772229" sldId="2134804370"/>
            <ac:spMk id="830" creationId="{D3B5B134-F26F-7918-CEDE-6ED88588A3CE}"/>
          </ac:spMkLst>
        </pc:spChg>
        <pc:spChg chg="add del mod modVis">
          <ac:chgData name="Wenwen Zhang" userId="9dd81366-5d6f-445a-b031-6ea562624431" providerId="ADAL" clId="{D6FBF965-026B-43DA-A554-C6861A0A35E4}" dt="2023-02-01T21:25:33.716" v="82916"/>
          <ac:spMkLst>
            <pc:docMk/>
            <pc:sldMk cId="1589772229" sldId="2134804370"/>
            <ac:spMk id="832" creationId="{3255EF2F-326F-1D90-5F21-B27555501DE0}"/>
          </ac:spMkLst>
        </pc:spChg>
        <pc:spChg chg="add del mod modVis">
          <ac:chgData name="Wenwen Zhang" userId="9dd81366-5d6f-445a-b031-6ea562624431" providerId="ADAL" clId="{D6FBF965-026B-43DA-A554-C6861A0A35E4}" dt="2023-02-01T21:25:33.825" v="83043"/>
          <ac:spMkLst>
            <pc:docMk/>
            <pc:sldMk cId="1589772229" sldId="2134804370"/>
            <ac:spMk id="834" creationId="{D59EF899-EA78-7759-0535-39211AFD1CB9}"/>
          </ac:spMkLst>
        </pc:spChg>
        <pc:spChg chg="add del mod modVis">
          <ac:chgData name="Wenwen Zhang" userId="9dd81366-5d6f-445a-b031-6ea562624431" providerId="ADAL" clId="{D6FBF965-026B-43DA-A554-C6861A0A35E4}" dt="2023-02-01T21:25:35.810" v="83172"/>
          <ac:spMkLst>
            <pc:docMk/>
            <pc:sldMk cId="1589772229" sldId="2134804370"/>
            <ac:spMk id="836" creationId="{F6871628-1355-4C67-76F6-F99F08B5588C}"/>
          </ac:spMkLst>
        </pc:spChg>
        <pc:spChg chg="add del mod modVis">
          <ac:chgData name="Wenwen Zhang" userId="9dd81366-5d6f-445a-b031-6ea562624431" providerId="ADAL" clId="{D6FBF965-026B-43DA-A554-C6861A0A35E4}" dt="2023-02-01T21:25:37.406" v="83301"/>
          <ac:spMkLst>
            <pc:docMk/>
            <pc:sldMk cId="1589772229" sldId="2134804370"/>
            <ac:spMk id="838" creationId="{2ACD002C-0B38-523D-0FC9-8334E466EF13}"/>
          </ac:spMkLst>
        </pc:spChg>
        <pc:spChg chg="add del mod modVis">
          <ac:chgData name="Wenwen Zhang" userId="9dd81366-5d6f-445a-b031-6ea562624431" providerId="ADAL" clId="{D6FBF965-026B-43DA-A554-C6861A0A35E4}" dt="2023-02-01T21:25:38.566" v="83425"/>
          <ac:spMkLst>
            <pc:docMk/>
            <pc:sldMk cId="1589772229" sldId="2134804370"/>
            <ac:spMk id="840" creationId="{9D04EECE-0DE4-5B31-4790-347D0A3C37D6}"/>
          </ac:spMkLst>
        </pc:spChg>
        <pc:spChg chg="add del mod modVis">
          <ac:chgData name="Wenwen Zhang" userId="9dd81366-5d6f-445a-b031-6ea562624431" providerId="ADAL" clId="{D6FBF965-026B-43DA-A554-C6861A0A35E4}" dt="2023-02-01T21:25:40.224" v="83550"/>
          <ac:spMkLst>
            <pc:docMk/>
            <pc:sldMk cId="1589772229" sldId="2134804370"/>
            <ac:spMk id="842" creationId="{1630FBB5-45A3-CCC1-3B9E-B17F26CD8DDD}"/>
          </ac:spMkLst>
        </pc:spChg>
        <pc:spChg chg="add del mod modVis">
          <ac:chgData name="Wenwen Zhang" userId="9dd81366-5d6f-445a-b031-6ea562624431" providerId="ADAL" clId="{D6FBF965-026B-43DA-A554-C6861A0A35E4}" dt="2023-02-01T21:25:41.277" v="83672"/>
          <ac:spMkLst>
            <pc:docMk/>
            <pc:sldMk cId="1589772229" sldId="2134804370"/>
            <ac:spMk id="844" creationId="{147659D0-964A-CBAA-52AC-827FF20C1358}"/>
          </ac:spMkLst>
        </pc:spChg>
        <pc:spChg chg="add del mod modVis">
          <ac:chgData name="Wenwen Zhang" userId="9dd81366-5d6f-445a-b031-6ea562624431" providerId="ADAL" clId="{D6FBF965-026B-43DA-A554-C6861A0A35E4}" dt="2023-02-01T21:25:42.004" v="83795"/>
          <ac:spMkLst>
            <pc:docMk/>
            <pc:sldMk cId="1589772229" sldId="2134804370"/>
            <ac:spMk id="846" creationId="{23A026BC-3A5F-298E-291C-2B8FA1B3BEBE}"/>
          </ac:spMkLst>
        </pc:spChg>
        <pc:spChg chg="add del mod modVis">
          <ac:chgData name="Wenwen Zhang" userId="9dd81366-5d6f-445a-b031-6ea562624431" providerId="ADAL" clId="{D6FBF965-026B-43DA-A554-C6861A0A35E4}" dt="2023-02-01T21:25:42.951" v="83915"/>
          <ac:spMkLst>
            <pc:docMk/>
            <pc:sldMk cId="1589772229" sldId="2134804370"/>
            <ac:spMk id="848" creationId="{445D30B9-90E3-0380-0F92-F2160375C007}"/>
          </ac:spMkLst>
        </pc:spChg>
        <pc:spChg chg="add del mod modVis">
          <ac:chgData name="Wenwen Zhang" userId="9dd81366-5d6f-445a-b031-6ea562624431" providerId="ADAL" clId="{D6FBF965-026B-43DA-A554-C6861A0A35E4}" dt="2023-02-01T21:26:38.628" v="84287"/>
          <ac:spMkLst>
            <pc:docMk/>
            <pc:sldMk cId="1589772229" sldId="2134804370"/>
            <ac:spMk id="850" creationId="{876A10EE-A7B9-14F7-9F3A-18F9B3196004}"/>
          </ac:spMkLst>
        </pc:spChg>
        <pc:spChg chg="add del mod modVis">
          <ac:chgData name="Wenwen Zhang" userId="9dd81366-5d6f-445a-b031-6ea562624431" providerId="ADAL" clId="{D6FBF965-026B-43DA-A554-C6861A0A35E4}" dt="2023-02-01T21:26:42.692" v="84433"/>
          <ac:spMkLst>
            <pc:docMk/>
            <pc:sldMk cId="1589772229" sldId="2134804370"/>
            <ac:spMk id="852" creationId="{31EB270D-F74C-0D81-DCF6-3B8026B40441}"/>
          </ac:spMkLst>
        </pc:spChg>
        <pc:spChg chg="add del mod modVis">
          <ac:chgData name="Wenwen Zhang" userId="9dd81366-5d6f-445a-b031-6ea562624431" providerId="ADAL" clId="{D6FBF965-026B-43DA-A554-C6861A0A35E4}" dt="2023-02-01T21:26:46.074" v="84666"/>
          <ac:spMkLst>
            <pc:docMk/>
            <pc:sldMk cId="1589772229" sldId="2134804370"/>
            <ac:spMk id="854" creationId="{FFA2393C-57F0-CCA2-D673-C6B23A8727DE}"/>
          </ac:spMkLst>
        </pc:spChg>
        <pc:spChg chg="add del mod replST">
          <ac:chgData name="Wenwen Zhang" userId="9dd81366-5d6f-445a-b031-6ea562624431" providerId="ADAL" clId="{D6FBF965-026B-43DA-A554-C6861A0A35E4}" dt="2023-02-01T21:26:48.283" v="84673"/>
          <ac:spMkLst>
            <pc:docMk/>
            <pc:sldMk cId="1589772229" sldId="2134804370"/>
            <ac:spMk id="855" creationId="{96DB64E7-7450-5BAA-7DCA-6F75AE12EF02}"/>
          </ac:spMkLst>
        </pc:spChg>
        <pc:spChg chg="add del mod modVis">
          <ac:chgData name="Wenwen Zhang" userId="9dd81366-5d6f-445a-b031-6ea562624431" providerId="ADAL" clId="{D6FBF965-026B-43DA-A554-C6861A0A35E4}" dt="2023-02-01T21:26:48.365" v="84783"/>
          <ac:spMkLst>
            <pc:docMk/>
            <pc:sldMk cId="1589772229" sldId="2134804370"/>
            <ac:spMk id="857" creationId="{314F7D30-08D3-2B6B-D8CD-72B7E6675151}"/>
          </ac:spMkLst>
        </pc:spChg>
        <pc:spChg chg="add del mod modVis">
          <ac:chgData name="Wenwen Zhang" userId="9dd81366-5d6f-445a-b031-6ea562624431" providerId="ADAL" clId="{D6FBF965-026B-43DA-A554-C6861A0A35E4}" dt="2023-02-01T21:27:54.461" v="85431"/>
          <ac:spMkLst>
            <pc:docMk/>
            <pc:sldMk cId="1589772229" sldId="2134804370"/>
            <ac:spMk id="859" creationId="{37F2A910-5FC4-C8F3-25F7-759215D7D74C}"/>
          </ac:spMkLst>
        </pc:spChg>
        <pc:spChg chg="add del mod modVis">
          <ac:chgData name="Wenwen Zhang" userId="9dd81366-5d6f-445a-b031-6ea562624431" providerId="ADAL" clId="{D6FBF965-026B-43DA-A554-C6861A0A35E4}" dt="2023-02-01T21:28:40.050" v="85668"/>
          <ac:spMkLst>
            <pc:docMk/>
            <pc:sldMk cId="1589772229" sldId="2134804370"/>
            <ac:spMk id="860" creationId="{530EDA01-5E12-E856-3B75-63DFF400827A}"/>
          </ac:spMkLst>
        </pc:spChg>
        <pc:spChg chg="add del mod modVis">
          <ac:chgData name="Wenwen Zhang" userId="9dd81366-5d6f-445a-b031-6ea562624431" providerId="ADAL" clId="{D6FBF965-026B-43DA-A554-C6861A0A35E4}" dt="2023-02-01T21:29:03.069" v="85976"/>
          <ac:spMkLst>
            <pc:docMk/>
            <pc:sldMk cId="1589772229" sldId="2134804370"/>
            <ac:spMk id="862" creationId="{20EF2F65-B03B-430A-32D8-ABE312871AD2}"/>
          </ac:spMkLst>
        </pc:spChg>
        <pc:spChg chg="add del mod modVis">
          <ac:chgData name="Wenwen Zhang" userId="9dd81366-5d6f-445a-b031-6ea562624431" providerId="ADAL" clId="{D6FBF965-026B-43DA-A554-C6861A0A35E4}" dt="2023-02-01T21:29:15.830" v="86136"/>
          <ac:spMkLst>
            <pc:docMk/>
            <pc:sldMk cId="1589772229" sldId="2134804370"/>
            <ac:spMk id="864" creationId="{A72022E4-B210-6E22-1F84-6EDBB4CBD8E3}"/>
          </ac:spMkLst>
        </pc:spChg>
        <pc:spChg chg="add del mod modVis">
          <ac:chgData name="Wenwen Zhang" userId="9dd81366-5d6f-445a-b031-6ea562624431" providerId="ADAL" clId="{D6FBF965-026B-43DA-A554-C6861A0A35E4}" dt="2023-02-01T21:29:25.639" v="86298"/>
          <ac:spMkLst>
            <pc:docMk/>
            <pc:sldMk cId="1589772229" sldId="2134804370"/>
            <ac:spMk id="866" creationId="{7F4FC0F6-07BE-2DEF-0AB9-D28852361A4B}"/>
          </ac:spMkLst>
        </pc:spChg>
        <pc:spChg chg="add del mod modVis">
          <ac:chgData name="Wenwen Zhang" userId="9dd81366-5d6f-445a-b031-6ea562624431" providerId="ADAL" clId="{D6FBF965-026B-43DA-A554-C6861A0A35E4}" dt="2023-02-01T21:29:48.515" v="86580"/>
          <ac:spMkLst>
            <pc:docMk/>
            <pc:sldMk cId="1589772229" sldId="2134804370"/>
            <ac:spMk id="868" creationId="{C74B71A4-96B3-7C92-C018-F59839042952}"/>
          </ac:spMkLst>
        </pc:spChg>
        <pc:spChg chg="add del mod modVis">
          <ac:chgData name="Wenwen Zhang" userId="9dd81366-5d6f-445a-b031-6ea562624431" providerId="ADAL" clId="{D6FBF965-026B-43DA-A554-C6861A0A35E4}" dt="2023-02-01T22:26:32.546" v="103158"/>
          <ac:spMkLst>
            <pc:docMk/>
            <pc:sldMk cId="1589772229" sldId="2134804370"/>
            <ac:spMk id="870" creationId="{1B2E93DE-AADC-BCD1-D503-59E4C87FE04E}"/>
          </ac:spMkLst>
        </pc:spChg>
        <pc:spChg chg="add del mod modVis">
          <ac:chgData name="Wenwen Zhang" userId="9dd81366-5d6f-445a-b031-6ea562624431" providerId="ADAL" clId="{D6FBF965-026B-43DA-A554-C6861A0A35E4}" dt="2023-02-01T22:26:39.089" v="103272"/>
          <ac:spMkLst>
            <pc:docMk/>
            <pc:sldMk cId="1589772229" sldId="2134804370"/>
            <ac:spMk id="872" creationId="{6F814757-A8C3-74D7-15EB-020943C97F22}"/>
          </ac:spMkLst>
        </pc:spChg>
        <pc:graphicFrameChg chg="add del mod ord replST">
          <ac:chgData name="Wenwen Zhang" userId="9dd81366-5d6f-445a-b031-6ea562624431" providerId="ADAL" clId="{D6FBF965-026B-43DA-A554-C6861A0A35E4}" dt="2023-02-02T11:48:02.717" v="118185"/>
          <ac:graphicFrameMkLst>
            <pc:docMk/>
            <pc:sldMk cId="1589772229" sldId="2134804370"/>
            <ac:graphicFrameMk id="4" creationId="{8364B899-CF4D-D6EF-4018-812A81976F8F}"/>
          </ac:graphicFrameMkLst>
        </pc:graphicFrameChg>
        <pc:graphicFrameChg chg="add del mod ord replST">
          <ac:chgData name="Wenwen Zhang" userId="9dd81366-5d6f-445a-b031-6ea562624431" providerId="ADAL" clId="{D6FBF965-026B-43DA-A554-C6861A0A35E4}" dt="2023-02-01T18:57:27.401" v="23808"/>
          <ac:graphicFrameMkLst>
            <pc:docMk/>
            <pc:sldMk cId="1589772229" sldId="2134804370"/>
            <ac:graphicFrameMk id="13" creationId="{5117726F-AD3E-6C46-BA5D-1AEA8BF245D8}"/>
          </ac:graphicFrameMkLst>
        </pc:graphicFrameChg>
        <pc:graphicFrameChg chg="add del mod ord replST">
          <ac:chgData name="Wenwen Zhang" userId="9dd81366-5d6f-445a-b031-6ea562624431" providerId="ADAL" clId="{D6FBF965-026B-43DA-A554-C6861A0A35E4}" dt="2023-02-01T18:57:32.178" v="23949"/>
          <ac:graphicFrameMkLst>
            <pc:docMk/>
            <pc:sldMk cId="1589772229" sldId="2134804370"/>
            <ac:graphicFrameMk id="15" creationId="{B2CAF617-F7C4-C0FA-F529-8EACE5148E95}"/>
          </ac:graphicFrameMkLst>
        </pc:graphicFrameChg>
        <pc:graphicFrameChg chg="add del mod ord replST">
          <ac:chgData name="Wenwen Zhang" userId="9dd81366-5d6f-445a-b031-6ea562624431" providerId="ADAL" clId="{D6FBF965-026B-43DA-A554-C6861A0A35E4}" dt="2023-02-01T18:57:37.572" v="24089"/>
          <ac:graphicFrameMkLst>
            <pc:docMk/>
            <pc:sldMk cId="1589772229" sldId="2134804370"/>
            <ac:graphicFrameMk id="17" creationId="{2087A949-1F27-131C-2A1A-3AD6276C23F1}"/>
          </ac:graphicFrameMkLst>
        </pc:graphicFrameChg>
        <pc:graphicFrameChg chg="add del mod ord replST">
          <ac:chgData name="Wenwen Zhang" userId="9dd81366-5d6f-445a-b031-6ea562624431" providerId="ADAL" clId="{D6FBF965-026B-43DA-A554-C6861A0A35E4}" dt="2023-02-02T11:48:09.735" v="118366"/>
          <ac:graphicFrameMkLst>
            <pc:docMk/>
            <pc:sldMk cId="1589772229" sldId="2134804370"/>
            <ac:graphicFrameMk id="18" creationId="{3473E704-2139-D06D-E563-15A2FDCF9E25}"/>
          </ac:graphicFrameMkLst>
        </pc:graphicFrameChg>
        <pc:graphicFrameChg chg="add del mod ord replST">
          <ac:chgData name="Wenwen Zhang" userId="9dd81366-5d6f-445a-b031-6ea562624431" providerId="ADAL" clId="{D6FBF965-026B-43DA-A554-C6861A0A35E4}" dt="2023-02-01T18:57:47.492" v="24252"/>
          <ac:graphicFrameMkLst>
            <pc:docMk/>
            <pc:sldMk cId="1589772229" sldId="2134804370"/>
            <ac:graphicFrameMk id="19" creationId="{7C5737E7-6979-8892-6172-8D6ADFA98BC3}"/>
          </ac:graphicFrameMkLst>
        </pc:graphicFrameChg>
        <pc:graphicFrameChg chg="add del mod ord replST">
          <ac:chgData name="Wenwen Zhang" userId="9dd81366-5d6f-445a-b031-6ea562624431" providerId="ADAL" clId="{D6FBF965-026B-43DA-A554-C6861A0A35E4}" dt="2023-02-02T11:48:13.984" v="118514"/>
          <ac:graphicFrameMkLst>
            <pc:docMk/>
            <pc:sldMk cId="1589772229" sldId="2134804370"/>
            <ac:graphicFrameMk id="20" creationId="{6CC15311-6DA6-8076-54FA-CC308E409F0E}"/>
          </ac:graphicFrameMkLst>
        </pc:graphicFrameChg>
        <pc:graphicFrameChg chg="add del mod ord replST">
          <ac:chgData name="Wenwen Zhang" userId="9dd81366-5d6f-445a-b031-6ea562624431" providerId="ADAL" clId="{D6FBF965-026B-43DA-A554-C6861A0A35E4}" dt="2023-02-01T18:58:03.538" v="24522"/>
          <ac:graphicFrameMkLst>
            <pc:docMk/>
            <pc:sldMk cId="1589772229" sldId="2134804370"/>
            <ac:graphicFrameMk id="21" creationId="{9F6E186D-BB38-B43B-0CEE-41F1DBC3E704}"/>
          </ac:graphicFrameMkLst>
        </pc:graphicFrameChg>
        <pc:graphicFrameChg chg="add del mod ord replST">
          <ac:chgData name="Wenwen Zhang" userId="9dd81366-5d6f-445a-b031-6ea562624431" providerId="ADAL" clId="{D6FBF965-026B-43DA-A554-C6861A0A35E4}" dt="2023-02-02T11:48:20.607" v="118684"/>
          <ac:graphicFrameMkLst>
            <pc:docMk/>
            <pc:sldMk cId="1589772229" sldId="2134804370"/>
            <ac:graphicFrameMk id="22" creationId="{73FB1283-19FB-B25D-9D44-DC092A84D188}"/>
          </ac:graphicFrameMkLst>
        </pc:graphicFrameChg>
        <pc:graphicFrameChg chg="add del mod ord replST">
          <ac:chgData name="Wenwen Zhang" userId="9dd81366-5d6f-445a-b031-6ea562624431" providerId="ADAL" clId="{D6FBF965-026B-43DA-A554-C6861A0A35E4}" dt="2023-02-01T18:58:15.014" v="24667"/>
          <ac:graphicFrameMkLst>
            <pc:docMk/>
            <pc:sldMk cId="1589772229" sldId="2134804370"/>
            <ac:graphicFrameMk id="23" creationId="{977F80E5-2370-2C9A-1292-43633FBA1081}"/>
          </ac:graphicFrameMkLst>
        </pc:graphicFrameChg>
        <pc:graphicFrameChg chg="add del mod ord replST">
          <ac:chgData name="Wenwen Zhang" userId="9dd81366-5d6f-445a-b031-6ea562624431" providerId="ADAL" clId="{D6FBF965-026B-43DA-A554-C6861A0A35E4}" dt="2023-02-02T11:48:23.485" v="118856"/>
          <ac:graphicFrameMkLst>
            <pc:docMk/>
            <pc:sldMk cId="1589772229" sldId="2134804370"/>
            <ac:graphicFrameMk id="24" creationId="{C71CB35F-ADCF-DC1A-D43C-D75CFBA5AACB}"/>
          </ac:graphicFrameMkLst>
        </pc:graphicFrameChg>
        <pc:graphicFrameChg chg="add del mod ord replST">
          <ac:chgData name="Wenwen Zhang" userId="9dd81366-5d6f-445a-b031-6ea562624431" providerId="ADAL" clId="{D6FBF965-026B-43DA-A554-C6861A0A35E4}" dt="2023-02-01T18:58:29.678" v="24778"/>
          <ac:graphicFrameMkLst>
            <pc:docMk/>
            <pc:sldMk cId="1589772229" sldId="2134804370"/>
            <ac:graphicFrameMk id="25" creationId="{E5F9B110-74DB-81D0-A027-D4A3B6279F18}"/>
          </ac:graphicFrameMkLst>
        </pc:graphicFrameChg>
        <pc:graphicFrameChg chg="add del mod ord replST">
          <ac:chgData name="Wenwen Zhang" userId="9dd81366-5d6f-445a-b031-6ea562624431" providerId="ADAL" clId="{D6FBF965-026B-43DA-A554-C6861A0A35E4}" dt="2023-02-02T11:48:34.161" v="119033"/>
          <ac:graphicFrameMkLst>
            <pc:docMk/>
            <pc:sldMk cId="1589772229" sldId="2134804370"/>
            <ac:graphicFrameMk id="26" creationId="{DDA35301-5B24-2B2A-5F4A-99C9280A3CE7}"/>
          </ac:graphicFrameMkLst>
        </pc:graphicFrameChg>
        <pc:graphicFrameChg chg="add del mod ord replST">
          <ac:chgData name="Wenwen Zhang" userId="9dd81366-5d6f-445a-b031-6ea562624431" providerId="ADAL" clId="{D6FBF965-026B-43DA-A554-C6861A0A35E4}" dt="2023-02-01T18:59:37.980" v="25441"/>
          <ac:graphicFrameMkLst>
            <pc:docMk/>
            <pc:sldMk cId="1589772229" sldId="2134804370"/>
            <ac:graphicFrameMk id="27" creationId="{19795214-8517-29BB-8C08-341854B07154}"/>
          </ac:graphicFrameMkLst>
        </pc:graphicFrameChg>
        <pc:graphicFrameChg chg="mod">
          <ac:chgData name="Wenwen Zhang" userId="9dd81366-5d6f-445a-b031-6ea562624431" providerId="ADAL" clId="{D6FBF965-026B-43DA-A554-C6861A0A35E4}" dt="2023-02-02T12:02:04.339" v="133046"/>
          <ac:graphicFrameMkLst>
            <pc:docMk/>
            <pc:sldMk cId="1589772229" sldId="2134804370"/>
            <ac:graphicFrameMk id="28" creationId="{015DFAEE-F78A-C272-92CE-F25C3417CAD0}"/>
          </ac:graphicFrameMkLst>
        </pc:graphicFrameChg>
        <pc:graphicFrameChg chg="add del mod ord replST">
          <ac:chgData name="Wenwen Zhang" userId="9dd81366-5d6f-445a-b031-6ea562624431" providerId="ADAL" clId="{D6FBF965-026B-43DA-A554-C6861A0A35E4}" dt="2023-02-02T11:48:38.706" v="119187"/>
          <ac:graphicFrameMkLst>
            <pc:docMk/>
            <pc:sldMk cId="1589772229" sldId="2134804370"/>
            <ac:graphicFrameMk id="30" creationId="{A9F7405F-D0F5-6A1E-999E-99FB03F35F82}"/>
          </ac:graphicFrameMkLst>
        </pc:graphicFrameChg>
        <pc:graphicFrameChg chg="add del mod ord replST">
          <ac:chgData name="Wenwen Zhang" userId="9dd81366-5d6f-445a-b031-6ea562624431" providerId="ADAL" clId="{D6FBF965-026B-43DA-A554-C6861A0A35E4}" dt="2023-02-02T11:48:49.372" v="119313"/>
          <ac:graphicFrameMkLst>
            <pc:docMk/>
            <pc:sldMk cId="1589772229" sldId="2134804370"/>
            <ac:graphicFrameMk id="32" creationId="{C14BB558-C36B-D2E2-F640-EB6E78C77B9A}"/>
          </ac:graphicFrameMkLst>
        </pc:graphicFrameChg>
        <pc:graphicFrameChg chg="add del mod ord replST">
          <ac:chgData name="Wenwen Zhang" userId="9dd81366-5d6f-445a-b031-6ea562624431" providerId="ADAL" clId="{D6FBF965-026B-43DA-A554-C6861A0A35E4}" dt="2023-02-02T11:48:50.623" v="119437"/>
          <ac:graphicFrameMkLst>
            <pc:docMk/>
            <pc:sldMk cId="1589772229" sldId="2134804370"/>
            <ac:graphicFrameMk id="34" creationId="{1A8F6E01-CDDB-4470-0F0C-7399F26B1934}"/>
          </ac:graphicFrameMkLst>
        </pc:graphicFrameChg>
        <pc:graphicFrameChg chg="add del mod ord replST">
          <ac:chgData name="Wenwen Zhang" userId="9dd81366-5d6f-445a-b031-6ea562624431" providerId="ADAL" clId="{D6FBF965-026B-43DA-A554-C6861A0A35E4}" dt="2023-02-02T11:48:52.128" v="119559"/>
          <ac:graphicFrameMkLst>
            <pc:docMk/>
            <pc:sldMk cId="1589772229" sldId="2134804370"/>
            <ac:graphicFrameMk id="36" creationId="{FAE90997-0C33-6865-DA2D-CF8975E28F04}"/>
          </ac:graphicFrameMkLst>
        </pc:graphicFrameChg>
        <pc:graphicFrameChg chg="add del mod ord replST">
          <ac:chgData name="Wenwen Zhang" userId="9dd81366-5d6f-445a-b031-6ea562624431" providerId="ADAL" clId="{D6FBF965-026B-43DA-A554-C6861A0A35E4}" dt="2023-02-02T11:48:52.771" v="119679"/>
          <ac:graphicFrameMkLst>
            <pc:docMk/>
            <pc:sldMk cId="1589772229" sldId="2134804370"/>
            <ac:graphicFrameMk id="38" creationId="{A5ADE919-3BDE-8ECC-C4CA-53AA7CABB6CA}"/>
          </ac:graphicFrameMkLst>
        </pc:graphicFrameChg>
        <pc:graphicFrameChg chg="add del mod ord replST">
          <ac:chgData name="Wenwen Zhang" userId="9dd81366-5d6f-445a-b031-6ea562624431" providerId="ADAL" clId="{D6FBF965-026B-43DA-A554-C6861A0A35E4}" dt="2023-02-02T11:48:53.874" v="119797"/>
          <ac:graphicFrameMkLst>
            <pc:docMk/>
            <pc:sldMk cId="1589772229" sldId="2134804370"/>
            <ac:graphicFrameMk id="40" creationId="{FA7D5538-FA1E-4B7E-B11E-576D11D6D03C}"/>
          </ac:graphicFrameMkLst>
        </pc:graphicFrameChg>
        <pc:graphicFrameChg chg="add del mod ord replST">
          <ac:chgData name="Wenwen Zhang" userId="9dd81366-5d6f-445a-b031-6ea562624431" providerId="ADAL" clId="{D6FBF965-026B-43DA-A554-C6861A0A35E4}" dt="2023-02-02T11:48:54.798" v="119913"/>
          <ac:graphicFrameMkLst>
            <pc:docMk/>
            <pc:sldMk cId="1589772229" sldId="2134804370"/>
            <ac:graphicFrameMk id="42" creationId="{FB326B19-E69D-4A94-ABDC-4009C1DF771B}"/>
          </ac:graphicFrameMkLst>
        </pc:graphicFrameChg>
        <pc:graphicFrameChg chg="add del mod ord replST">
          <ac:chgData name="Wenwen Zhang" userId="9dd81366-5d6f-445a-b031-6ea562624431" providerId="ADAL" clId="{D6FBF965-026B-43DA-A554-C6861A0A35E4}" dt="2023-02-01T18:59:50.001" v="25608"/>
          <ac:graphicFrameMkLst>
            <pc:docMk/>
            <pc:sldMk cId="1589772229" sldId="2134804370"/>
            <ac:graphicFrameMk id="44" creationId="{824B952C-12AB-E13C-A656-13B9827D8D62}"/>
          </ac:graphicFrameMkLst>
        </pc:graphicFrameChg>
        <pc:graphicFrameChg chg="add del mod ord replST">
          <ac:chgData name="Wenwen Zhang" userId="9dd81366-5d6f-445a-b031-6ea562624431" providerId="ADAL" clId="{D6FBF965-026B-43DA-A554-C6861A0A35E4}" dt="2023-02-02T11:48:55.725" v="120027"/>
          <ac:graphicFrameMkLst>
            <pc:docMk/>
            <pc:sldMk cId="1589772229" sldId="2134804370"/>
            <ac:graphicFrameMk id="45" creationId="{371DC2E7-94A9-6814-BA9A-3E8D2AC73992}"/>
          </ac:graphicFrameMkLst>
        </pc:graphicFrameChg>
        <pc:graphicFrameChg chg="add del mod ord replST">
          <ac:chgData name="Wenwen Zhang" userId="9dd81366-5d6f-445a-b031-6ea562624431" providerId="ADAL" clId="{D6FBF965-026B-43DA-A554-C6861A0A35E4}" dt="2023-02-01T19:06:30.717" v="28323"/>
          <ac:graphicFrameMkLst>
            <pc:docMk/>
            <pc:sldMk cId="1589772229" sldId="2134804370"/>
            <ac:graphicFrameMk id="46" creationId="{77ACCBE3-D73C-AE27-21EC-A88889E033D1}"/>
          </ac:graphicFrameMkLst>
        </pc:graphicFrameChg>
        <pc:graphicFrameChg chg="add del mod ord replST">
          <ac:chgData name="Wenwen Zhang" userId="9dd81366-5d6f-445a-b031-6ea562624431" providerId="ADAL" clId="{D6FBF965-026B-43DA-A554-C6861A0A35E4}" dt="2023-02-02T11:48:56.458" v="120139"/>
          <ac:graphicFrameMkLst>
            <pc:docMk/>
            <pc:sldMk cId="1589772229" sldId="2134804370"/>
            <ac:graphicFrameMk id="47" creationId="{16AE7248-E5DC-2749-E087-13CB4B1CC0D9}"/>
          </ac:graphicFrameMkLst>
        </pc:graphicFrameChg>
        <pc:graphicFrameChg chg="add del mod ord replST delST">
          <ac:chgData name="Wenwen Zhang" userId="9dd81366-5d6f-445a-b031-6ea562624431" providerId="ADAL" clId="{D6FBF965-026B-43DA-A554-C6861A0A35E4}" dt="2023-02-01T19:00:54.424" v="28001"/>
          <ac:graphicFrameMkLst>
            <pc:docMk/>
            <pc:sldMk cId="1589772229" sldId="2134804370"/>
            <ac:graphicFrameMk id="48" creationId="{C03DD5D5-4194-0A5F-BD13-1B042856350C}"/>
          </ac:graphicFrameMkLst>
        </pc:graphicFrameChg>
        <pc:graphicFrameChg chg="add del mod ord replST">
          <ac:chgData name="Wenwen Zhang" userId="9dd81366-5d6f-445a-b031-6ea562624431" providerId="ADAL" clId="{D6FBF965-026B-43DA-A554-C6861A0A35E4}" dt="2023-02-02T11:50:39.431" v="120587"/>
          <ac:graphicFrameMkLst>
            <pc:docMk/>
            <pc:sldMk cId="1589772229" sldId="2134804370"/>
            <ac:graphicFrameMk id="49" creationId="{DA525BF8-0200-0E2E-6663-D05B6CBF30FB}"/>
          </ac:graphicFrameMkLst>
        </pc:graphicFrameChg>
        <pc:graphicFrameChg chg="add del mod ord replST delST">
          <ac:chgData name="Wenwen Zhang" userId="9dd81366-5d6f-445a-b031-6ea562624431" providerId="ADAL" clId="{D6FBF965-026B-43DA-A554-C6861A0A35E4}" dt="2023-02-01T19:00:53.778" v="27930"/>
          <ac:graphicFrameMkLst>
            <pc:docMk/>
            <pc:sldMk cId="1589772229" sldId="2134804370"/>
            <ac:graphicFrameMk id="50" creationId="{D3DF4372-B2A6-3FAA-D6CC-F4B65DBE7259}"/>
          </ac:graphicFrameMkLst>
        </pc:graphicFrameChg>
        <pc:graphicFrameChg chg="add del mod ord replST">
          <ac:chgData name="Wenwen Zhang" userId="9dd81366-5d6f-445a-b031-6ea562624431" providerId="ADAL" clId="{D6FBF965-026B-43DA-A554-C6861A0A35E4}" dt="2023-02-02T11:50:44.700" v="120774"/>
          <ac:graphicFrameMkLst>
            <pc:docMk/>
            <pc:sldMk cId="1589772229" sldId="2134804370"/>
            <ac:graphicFrameMk id="52" creationId="{BFA930AD-D84A-773C-7E0C-B34427DD1F91}"/>
          </ac:graphicFrameMkLst>
        </pc:graphicFrameChg>
        <pc:graphicFrameChg chg="add del mod ord replST">
          <ac:chgData name="Wenwen Zhang" userId="9dd81366-5d6f-445a-b031-6ea562624431" providerId="ADAL" clId="{D6FBF965-026B-43DA-A554-C6861A0A35E4}" dt="2023-02-02T11:51:12.880" v="120926"/>
          <ac:graphicFrameMkLst>
            <pc:docMk/>
            <pc:sldMk cId="1589772229" sldId="2134804370"/>
            <ac:graphicFrameMk id="55" creationId="{5A29449D-393F-50B6-E932-7E377C2079E0}"/>
          </ac:graphicFrameMkLst>
        </pc:graphicFrameChg>
        <pc:graphicFrameChg chg="add del mod ord replST">
          <ac:chgData name="Wenwen Zhang" userId="9dd81366-5d6f-445a-b031-6ea562624431" providerId="ADAL" clId="{D6FBF965-026B-43DA-A554-C6861A0A35E4}" dt="2023-02-02T11:51:19.274" v="121080"/>
          <ac:graphicFrameMkLst>
            <pc:docMk/>
            <pc:sldMk cId="1589772229" sldId="2134804370"/>
            <ac:graphicFrameMk id="57" creationId="{C17CAD6F-0143-1CC9-8973-E8832F20C100}"/>
          </ac:graphicFrameMkLst>
        </pc:graphicFrameChg>
        <pc:graphicFrameChg chg="add del mod ord replST">
          <ac:chgData name="Wenwen Zhang" userId="9dd81366-5d6f-445a-b031-6ea562624431" providerId="ADAL" clId="{D6FBF965-026B-43DA-A554-C6861A0A35E4}" dt="2023-02-02T11:51:29.877" v="121231"/>
          <ac:graphicFrameMkLst>
            <pc:docMk/>
            <pc:sldMk cId="1589772229" sldId="2134804370"/>
            <ac:graphicFrameMk id="59" creationId="{04B5C899-D855-D761-DCB9-D3EF0E1B55FA}"/>
          </ac:graphicFrameMkLst>
        </pc:graphicFrameChg>
        <pc:graphicFrameChg chg="add del mod ord replST">
          <ac:chgData name="Wenwen Zhang" userId="9dd81366-5d6f-445a-b031-6ea562624431" providerId="ADAL" clId="{D6FBF965-026B-43DA-A554-C6861A0A35E4}" dt="2023-02-02T11:51:34.589" v="121382"/>
          <ac:graphicFrameMkLst>
            <pc:docMk/>
            <pc:sldMk cId="1589772229" sldId="2134804370"/>
            <ac:graphicFrameMk id="61" creationId="{6DCCDA8F-E7D2-8ABE-E3A0-4F97839C7F33}"/>
          </ac:graphicFrameMkLst>
        </pc:graphicFrameChg>
        <pc:graphicFrameChg chg="add del mod ord replST">
          <ac:chgData name="Wenwen Zhang" userId="9dd81366-5d6f-445a-b031-6ea562624431" providerId="ADAL" clId="{D6FBF965-026B-43DA-A554-C6861A0A35E4}" dt="2023-02-02T11:51:47.458" v="121568"/>
          <ac:graphicFrameMkLst>
            <pc:docMk/>
            <pc:sldMk cId="1589772229" sldId="2134804370"/>
            <ac:graphicFrameMk id="63" creationId="{9DBAA5E9-6280-F40A-982C-EC1ABD7D0881}"/>
          </ac:graphicFrameMkLst>
        </pc:graphicFrameChg>
        <pc:graphicFrameChg chg="add del mod ord replST">
          <ac:chgData name="Wenwen Zhang" userId="9dd81366-5d6f-445a-b031-6ea562624431" providerId="ADAL" clId="{D6FBF965-026B-43DA-A554-C6861A0A35E4}" dt="2023-02-01T19:11:00.488" v="32743"/>
          <ac:graphicFrameMkLst>
            <pc:docMk/>
            <pc:sldMk cId="1589772229" sldId="2134804370"/>
            <ac:graphicFrameMk id="76" creationId="{B3CF666F-F77B-4EF3-77B5-F5CE609022D9}"/>
          </ac:graphicFrameMkLst>
        </pc:graphicFrameChg>
        <pc:graphicFrameChg chg="add del mod ord replST">
          <ac:chgData name="Wenwen Zhang" userId="9dd81366-5d6f-445a-b031-6ea562624431" providerId="ADAL" clId="{D6FBF965-026B-43DA-A554-C6861A0A35E4}" dt="2023-02-01T19:11:01.800" v="32882"/>
          <ac:graphicFrameMkLst>
            <pc:docMk/>
            <pc:sldMk cId="1589772229" sldId="2134804370"/>
            <ac:graphicFrameMk id="78" creationId="{9108443B-0193-DDCA-C623-771707FF12F1}"/>
          </ac:graphicFrameMkLst>
        </pc:graphicFrameChg>
        <pc:graphicFrameChg chg="add del mod ord replST">
          <ac:chgData name="Wenwen Zhang" userId="9dd81366-5d6f-445a-b031-6ea562624431" providerId="ADAL" clId="{D6FBF965-026B-43DA-A554-C6861A0A35E4}" dt="2023-02-01T19:11:10.636" v="32985"/>
          <ac:graphicFrameMkLst>
            <pc:docMk/>
            <pc:sldMk cId="1589772229" sldId="2134804370"/>
            <ac:graphicFrameMk id="80" creationId="{6DB03840-0753-02C3-AB5F-3AA28DF5B3F6}"/>
          </ac:graphicFrameMkLst>
        </pc:graphicFrameChg>
        <pc:graphicFrameChg chg="add del mod ord replST">
          <ac:chgData name="Wenwen Zhang" userId="9dd81366-5d6f-445a-b031-6ea562624431" providerId="ADAL" clId="{D6FBF965-026B-43DA-A554-C6861A0A35E4}" dt="2023-02-01T19:11:47.256" v="33082"/>
          <ac:graphicFrameMkLst>
            <pc:docMk/>
            <pc:sldMk cId="1589772229" sldId="2134804370"/>
            <ac:graphicFrameMk id="82" creationId="{4D1BFB7C-5CBC-4465-F01B-5D4A082DB14D}"/>
          </ac:graphicFrameMkLst>
        </pc:graphicFrameChg>
        <pc:graphicFrameChg chg="add del mod ord replST">
          <ac:chgData name="Wenwen Zhang" userId="9dd81366-5d6f-445a-b031-6ea562624431" providerId="ADAL" clId="{D6FBF965-026B-43DA-A554-C6861A0A35E4}" dt="2023-02-01T19:11:53.209" v="35881"/>
          <ac:graphicFrameMkLst>
            <pc:docMk/>
            <pc:sldMk cId="1589772229" sldId="2134804370"/>
            <ac:graphicFrameMk id="84" creationId="{A1E2DD40-3785-5E5D-CE3B-05DE242B83CE}"/>
          </ac:graphicFrameMkLst>
        </pc:graphicFrameChg>
        <pc:graphicFrameChg chg="add del mod ord replST">
          <ac:chgData name="Wenwen Zhang" userId="9dd81366-5d6f-445a-b031-6ea562624431" providerId="ADAL" clId="{D6FBF965-026B-43DA-A554-C6861A0A35E4}" dt="2023-02-01T19:12:02.367" v="36068"/>
          <ac:graphicFrameMkLst>
            <pc:docMk/>
            <pc:sldMk cId="1589772229" sldId="2134804370"/>
            <ac:graphicFrameMk id="124" creationId="{F97B9326-2874-D537-A950-61383AF34F9B}"/>
          </ac:graphicFrameMkLst>
        </pc:graphicFrameChg>
        <pc:graphicFrameChg chg="add del mod ord replST">
          <ac:chgData name="Wenwen Zhang" userId="9dd81366-5d6f-445a-b031-6ea562624431" providerId="ADAL" clId="{D6FBF965-026B-43DA-A554-C6861A0A35E4}" dt="2023-02-01T19:12:03.448" v="36226"/>
          <ac:graphicFrameMkLst>
            <pc:docMk/>
            <pc:sldMk cId="1589772229" sldId="2134804370"/>
            <ac:graphicFrameMk id="127" creationId="{ADDD7F03-E8B0-1008-5190-2D56E6D92E67}"/>
          </ac:graphicFrameMkLst>
        </pc:graphicFrameChg>
        <pc:graphicFrameChg chg="add del mod ord replST">
          <ac:chgData name="Wenwen Zhang" userId="9dd81366-5d6f-445a-b031-6ea562624431" providerId="ADAL" clId="{D6FBF965-026B-43DA-A554-C6861A0A35E4}" dt="2023-02-02T11:52:43.279" v="121930"/>
          <ac:graphicFrameMkLst>
            <pc:docMk/>
            <pc:sldMk cId="1589772229" sldId="2134804370"/>
            <ac:graphicFrameMk id="129" creationId="{4052B1AC-2955-439A-B29D-6D5B3151F1E5}"/>
          </ac:graphicFrameMkLst>
        </pc:graphicFrameChg>
        <pc:graphicFrameChg chg="add del mod ord replST">
          <ac:chgData name="Wenwen Zhang" userId="9dd81366-5d6f-445a-b031-6ea562624431" providerId="ADAL" clId="{D6FBF965-026B-43DA-A554-C6861A0A35E4}" dt="2023-02-01T19:12:05.969" v="36381"/>
          <ac:graphicFrameMkLst>
            <pc:docMk/>
            <pc:sldMk cId="1589772229" sldId="2134804370"/>
            <ac:graphicFrameMk id="129" creationId="{9B3C245D-33EC-0C24-B7D8-5AB88D34D83F}"/>
          </ac:graphicFrameMkLst>
        </pc:graphicFrameChg>
        <pc:graphicFrameChg chg="add del mod ord replST">
          <ac:chgData name="Wenwen Zhang" userId="9dd81366-5d6f-445a-b031-6ea562624431" providerId="ADAL" clId="{D6FBF965-026B-43DA-A554-C6861A0A35E4}" dt="2023-02-01T19:12:11.731" v="36898"/>
          <ac:graphicFrameMkLst>
            <pc:docMk/>
            <pc:sldMk cId="1589772229" sldId="2134804370"/>
            <ac:graphicFrameMk id="131" creationId="{A0442604-B48C-EE6A-D0EE-C4EBBA844C39}"/>
          </ac:graphicFrameMkLst>
        </pc:graphicFrameChg>
        <pc:graphicFrameChg chg="add del mod ord replST">
          <ac:chgData name="Wenwen Zhang" userId="9dd81366-5d6f-445a-b031-6ea562624431" providerId="ADAL" clId="{D6FBF965-026B-43DA-A554-C6861A0A35E4}" dt="2023-02-02T11:52:47.153" v="122076"/>
          <ac:graphicFrameMkLst>
            <pc:docMk/>
            <pc:sldMk cId="1589772229" sldId="2134804370"/>
            <ac:graphicFrameMk id="132" creationId="{FEE7C536-12B1-9483-3B8D-978B25D0FE57}"/>
          </ac:graphicFrameMkLst>
        </pc:graphicFrameChg>
        <pc:graphicFrameChg chg="add del mod ord replST">
          <ac:chgData name="Wenwen Zhang" userId="9dd81366-5d6f-445a-b031-6ea562624431" providerId="ADAL" clId="{D6FBF965-026B-43DA-A554-C6861A0A35E4}" dt="2023-02-01T19:12:16.189" v="37076"/>
          <ac:graphicFrameMkLst>
            <pc:docMk/>
            <pc:sldMk cId="1589772229" sldId="2134804370"/>
            <ac:graphicFrameMk id="134" creationId="{1F38F8C2-497D-54FB-60C1-957AED99BB5C}"/>
          </ac:graphicFrameMkLst>
        </pc:graphicFrameChg>
        <pc:graphicFrameChg chg="add del mod ord replST">
          <ac:chgData name="Wenwen Zhang" userId="9dd81366-5d6f-445a-b031-6ea562624431" providerId="ADAL" clId="{D6FBF965-026B-43DA-A554-C6861A0A35E4}" dt="2023-02-02T11:53:08.688" v="122277"/>
          <ac:graphicFrameMkLst>
            <pc:docMk/>
            <pc:sldMk cId="1589772229" sldId="2134804370"/>
            <ac:graphicFrameMk id="134" creationId="{F026F4F6-5D5E-D24C-85CB-693AAAAE5045}"/>
          </ac:graphicFrameMkLst>
        </pc:graphicFrameChg>
        <pc:graphicFrameChg chg="add del mod ord replST">
          <ac:chgData name="Wenwen Zhang" userId="9dd81366-5d6f-445a-b031-6ea562624431" providerId="ADAL" clId="{D6FBF965-026B-43DA-A554-C6861A0A35E4}" dt="2023-02-01T19:12:18.081" v="37227"/>
          <ac:graphicFrameMkLst>
            <pc:docMk/>
            <pc:sldMk cId="1589772229" sldId="2134804370"/>
            <ac:graphicFrameMk id="136" creationId="{8581F2AC-B0F9-F82A-030B-8D2C6E4A276C}"/>
          </ac:graphicFrameMkLst>
        </pc:graphicFrameChg>
        <pc:graphicFrameChg chg="add del mod ord replST">
          <ac:chgData name="Wenwen Zhang" userId="9dd81366-5d6f-445a-b031-6ea562624431" providerId="ADAL" clId="{D6FBF965-026B-43DA-A554-C6861A0A35E4}" dt="2023-02-02T11:53:13.256" v="122455"/>
          <ac:graphicFrameMkLst>
            <pc:docMk/>
            <pc:sldMk cId="1589772229" sldId="2134804370"/>
            <ac:graphicFrameMk id="136" creationId="{F86E3BE9-E703-5F5D-59D0-8A61BAC0F4AF}"/>
          </ac:graphicFrameMkLst>
        </pc:graphicFrameChg>
        <pc:graphicFrameChg chg="add del mod ord replST">
          <ac:chgData name="Wenwen Zhang" userId="9dd81366-5d6f-445a-b031-6ea562624431" providerId="ADAL" clId="{D6FBF965-026B-43DA-A554-C6861A0A35E4}" dt="2023-02-02T11:54:57.562" v="122648"/>
          <ac:graphicFrameMkLst>
            <pc:docMk/>
            <pc:sldMk cId="1589772229" sldId="2134804370"/>
            <ac:graphicFrameMk id="138" creationId="{0C1644AE-702D-E98B-9041-B57F79EDBF6C}"/>
          </ac:graphicFrameMkLst>
        </pc:graphicFrameChg>
        <pc:graphicFrameChg chg="add del mod ord replST">
          <ac:chgData name="Wenwen Zhang" userId="9dd81366-5d6f-445a-b031-6ea562624431" providerId="ADAL" clId="{D6FBF965-026B-43DA-A554-C6861A0A35E4}" dt="2023-02-01T19:12:25.218" v="37376"/>
          <ac:graphicFrameMkLst>
            <pc:docMk/>
            <pc:sldMk cId="1589772229" sldId="2134804370"/>
            <ac:graphicFrameMk id="139" creationId="{0F842F7D-F456-CC13-A69F-D239D1447F79}"/>
          </ac:graphicFrameMkLst>
        </pc:graphicFrameChg>
        <pc:graphicFrameChg chg="add del mod ord replST">
          <ac:chgData name="Wenwen Zhang" userId="9dd81366-5d6f-445a-b031-6ea562624431" providerId="ADAL" clId="{D6FBF965-026B-43DA-A554-C6861A0A35E4}" dt="2023-02-02T11:55:00.650" v="122870"/>
          <ac:graphicFrameMkLst>
            <pc:docMk/>
            <pc:sldMk cId="1589772229" sldId="2134804370"/>
            <ac:graphicFrameMk id="140" creationId="{F0F2D0D3-35AF-D594-0602-FAA1D1B7E4E4}"/>
          </ac:graphicFrameMkLst>
        </pc:graphicFrameChg>
        <pc:graphicFrameChg chg="add del mod ord replST">
          <ac:chgData name="Wenwen Zhang" userId="9dd81366-5d6f-445a-b031-6ea562624431" providerId="ADAL" clId="{D6FBF965-026B-43DA-A554-C6861A0A35E4}" dt="2023-02-01T19:12:35.591" v="37860"/>
          <ac:graphicFrameMkLst>
            <pc:docMk/>
            <pc:sldMk cId="1589772229" sldId="2134804370"/>
            <ac:graphicFrameMk id="141" creationId="{2FB9EE3B-9366-949F-8B26-8231C8D9D315}"/>
          </ac:graphicFrameMkLst>
        </pc:graphicFrameChg>
        <pc:graphicFrameChg chg="add del mod ord replST">
          <ac:chgData name="Wenwen Zhang" userId="9dd81366-5d6f-445a-b031-6ea562624431" providerId="ADAL" clId="{D6FBF965-026B-43DA-A554-C6861A0A35E4}" dt="2023-02-02T11:55:04.131" v="123267"/>
          <ac:graphicFrameMkLst>
            <pc:docMk/>
            <pc:sldMk cId="1589772229" sldId="2134804370"/>
            <ac:graphicFrameMk id="143" creationId="{8ABEF04B-9A31-29B6-0FD7-8F75F9593591}"/>
          </ac:graphicFrameMkLst>
        </pc:graphicFrameChg>
        <pc:graphicFrameChg chg="add mod ord replST delST">
          <ac:chgData name="Wenwen Zhang" userId="9dd81366-5d6f-445a-b031-6ea562624431" providerId="ADAL" clId="{D6FBF965-026B-43DA-A554-C6861A0A35E4}" dt="2023-02-01T19:12:31.121" v="37595" actId="1076"/>
          <ac:graphicFrameMkLst>
            <pc:docMk/>
            <pc:sldMk cId="1589772229" sldId="2134804370"/>
            <ac:graphicFrameMk id="143" creationId="{8B13167D-4F17-9A7F-6BFB-6455F383BD09}"/>
          </ac:graphicFrameMkLst>
        </pc:graphicFrameChg>
        <pc:graphicFrameChg chg="add del mod ord replST">
          <ac:chgData name="Wenwen Zhang" userId="9dd81366-5d6f-445a-b031-6ea562624431" providerId="ADAL" clId="{D6FBF965-026B-43DA-A554-C6861A0A35E4}" dt="2023-02-02T11:55:05.131" v="123440"/>
          <ac:graphicFrameMkLst>
            <pc:docMk/>
            <pc:sldMk cId="1589772229" sldId="2134804370"/>
            <ac:graphicFrameMk id="145" creationId="{D2242296-94A8-D0BE-B871-268B5798A75E}"/>
          </ac:graphicFrameMkLst>
        </pc:graphicFrameChg>
        <pc:graphicFrameChg chg="add del mod ord replST">
          <ac:chgData name="Wenwen Zhang" userId="9dd81366-5d6f-445a-b031-6ea562624431" providerId="ADAL" clId="{D6FBF965-026B-43DA-A554-C6861A0A35E4}" dt="2023-02-01T19:12:45.368" v="38011"/>
          <ac:graphicFrameMkLst>
            <pc:docMk/>
            <pc:sldMk cId="1589772229" sldId="2134804370"/>
            <ac:graphicFrameMk id="146" creationId="{1E7D1E06-36B4-FC71-607A-FCA7D54AD890}"/>
          </ac:graphicFrameMkLst>
        </pc:graphicFrameChg>
        <pc:graphicFrameChg chg="add del mod ord replST">
          <ac:chgData name="Wenwen Zhang" userId="9dd81366-5d6f-445a-b031-6ea562624431" providerId="ADAL" clId="{D6FBF965-026B-43DA-A554-C6861A0A35E4}" dt="2023-02-02T11:55:21.127" v="123644"/>
          <ac:graphicFrameMkLst>
            <pc:docMk/>
            <pc:sldMk cId="1589772229" sldId="2134804370"/>
            <ac:graphicFrameMk id="147" creationId="{C19EB692-CBCE-8C34-E584-0EC4DD16EBCF}"/>
          </ac:graphicFrameMkLst>
        </pc:graphicFrameChg>
        <pc:graphicFrameChg chg="add del mod ord replST">
          <ac:chgData name="Wenwen Zhang" userId="9dd81366-5d6f-445a-b031-6ea562624431" providerId="ADAL" clId="{D6FBF965-026B-43DA-A554-C6861A0A35E4}" dt="2023-02-01T19:12:48.555" v="38150"/>
          <ac:graphicFrameMkLst>
            <pc:docMk/>
            <pc:sldMk cId="1589772229" sldId="2134804370"/>
            <ac:graphicFrameMk id="148" creationId="{55C467C7-6143-B316-0783-24758379F6FF}"/>
          </ac:graphicFrameMkLst>
        </pc:graphicFrameChg>
        <pc:graphicFrameChg chg="add del mod ord replST">
          <ac:chgData name="Wenwen Zhang" userId="9dd81366-5d6f-445a-b031-6ea562624431" providerId="ADAL" clId="{D6FBF965-026B-43DA-A554-C6861A0A35E4}" dt="2023-02-02T11:55:22.542" v="123783"/>
          <ac:graphicFrameMkLst>
            <pc:docMk/>
            <pc:sldMk cId="1589772229" sldId="2134804370"/>
            <ac:graphicFrameMk id="150" creationId="{5A814627-592C-6349-28FE-5D6123337E0B}"/>
          </ac:graphicFrameMkLst>
        </pc:graphicFrameChg>
        <pc:graphicFrameChg chg="add del mod ord replST">
          <ac:chgData name="Wenwen Zhang" userId="9dd81366-5d6f-445a-b031-6ea562624431" providerId="ADAL" clId="{D6FBF965-026B-43DA-A554-C6861A0A35E4}" dt="2023-02-01T19:12:51.225" v="38287"/>
          <ac:graphicFrameMkLst>
            <pc:docMk/>
            <pc:sldMk cId="1589772229" sldId="2134804370"/>
            <ac:graphicFrameMk id="151" creationId="{D822D065-C00D-8CAB-6977-ECB1BA77F67E}"/>
          </ac:graphicFrameMkLst>
        </pc:graphicFrameChg>
        <pc:graphicFrameChg chg="add del mod ord replST">
          <ac:chgData name="Wenwen Zhang" userId="9dd81366-5d6f-445a-b031-6ea562624431" providerId="ADAL" clId="{D6FBF965-026B-43DA-A554-C6861A0A35E4}" dt="2023-02-02T11:55:23.574" v="123902"/>
          <ac:graphicFrameMkLst>
            <pc:docMk/>
            <pc:sldMk cId="1589772229" sldId="2134804370"/>
            <ac:graphicFrameMk id="152" creationId="{70940CCA-A483-EEEC-DE3B-150E5BE5A72C}"/>
          </ac:graphicFrameMkLst>
        </pc:graphicFrameChg>
        <pc:graphicFrameChg chg="add del mod ord replST">
          <ac:chgData name="Wenwen Zhang" userId="9dd81366-5d6f-445a-b031-6ea562624431" providerId="ADAL" clId="{D6FBF965-026B-43DA-A554-C6861A0A35E4}" dt="2023-02-01T19:12:54.193" v="38420"/>
          <ac:graphicFrameMkLst>
            <pc:docMk/>
            <pc:sldMk cId="1589772229" sldId="2134804370"/>
            <ac:graphicFrameMk id="153" creationId="{878B39E3-44A9-725B-6ABE-F2DA765F9EC3}"/>
          </ac:graphicFrameMkLst>
        </pc:graphicFrameChg>
        <pc:graphicFrameChg chg="add del mod ord replST">
          <ac:chgData name="Wenwen Zhang" userId="9dd81366-5d6f-445a-b031-6ea562624431" providerId="ADAL" clId="{D6FBF965-026B-43DA-A554-C6861A0A35E4}" dt="2023-02-02T11:55:26.737" v="124034"/>
          <ac:graphicFrameMkLst>
            <pc:docMk/>
            <pc:sldMk cId="1589772229" sldId="2134804370"/>
            <ac:graphicFrameMk id="154" creationId="{E1BB407D-751E-79FC-F576-D04ADB4B60FA}"/>
          </ac:graphicFrameMkLst>
        </pc:graphicFrameChg>
        <pc:graphicFrameChg chg="add del mod ord replST">
          <ac:chgData name="Wenwen Zhang" userId="9dd81366-5d6f-445a-b031-6ea562624431" providerId="ADAL" clId="{D6FBF965-026B-43DA-A554-C6861A0A35E4}" dt="2023-02-01T19:12:56.881" v="38549"/>
          <ac:graphicFrameMkLst>
            <pc:docMk/>
            <pc:sldMk cId="1589772229" sldId="2134804370"/>
            <ac:graphicFrameMk id="155" creationId="{9D366919-2E96-6658-C16F-4E8F24D1F67E}"/>
          </ac:graphicFrameMkLst>
        </pc:graphicFrameChg>
        <pc:graphicFrameChg chg="add del mod ord replST">
          <ac:chgData name="Wenwen Zhang" userId="9dd81366-5d6f-445a-b031-6ea562624431" providerId="ADAL" clId="{D6FBF965-026B-43DA-A554-C6861A0A35E4}" dt="2023-02-02T11:55:40.172" v="124168"/>
          <ac:graphicFrameMkLst>
            <pc:docMk/>
            <pc:sldMk cId="1589772229" sldId="2134804370"/>
            <ac:graphicFrameMk id="156" creationId="{E07AAB42-B06E-01E2-73AB-94873E7917B2}"/>
          </ac:graphicFrameMkLst>
        </pc:graphicFrameChg>
        <pc:graphicFrameChg chg="add del mod ord replST">
          <ac:chgData name="Wenwen Zhang" userId="9dd81366-5d6f-445a-b031-6ea562624431" providerId="ADAL" clId="{D6FBF965-026B-43DA-A554-C6861A0A35E4}" dt="2023-02-01T19:13:00.068" v="38674"/>
          <ac:graphicFrameMkLst>
            <pc:docMk/>
            <pc:sldMk cId="1589772229" sldId="2134804370"/>
            <ac:graphicFrameMk id="157" creationId="{962C88D9-B911-1596-E049-0BF15C4C53F4}"/>
          </ac:graphicFrameMkLst>
        </pc:graphicFrameChg>
        <pc:graphicFrameChg chg="add del mod ord replST">
          <ac:chgData name="Wenwen Zhang" userId="9dd81366-5d6f-445a-b031-6ea562624431" providerId="ADAL" clId="{D6FBF965-026B-43DA-A554-C6861A0A35E4}" dt="2023-02-02T11:55:43.612" v="124290"/>
          <ac:graphicFrameMkLst>
            <pc:docMk/>
            <pc:sldMk cId="1589772229" sldId="2134804370"/>
            <ac:graphicFrameMk id="158" creationId="{8E7AABEE-51A2-BDC2-FF25-E6AA57387585}"/>
          </ac:graphicFrameMkLst>
        </pc:graphicFrameChg>
        <pc:graphicFrameChg chg="add del mod ord replST">
          <ac:chgData name="Wenwen Zhang" userId="9dd81366-5d6f-445a-b031-6ea562624431" providerId="ADAL" clId="{D6FBF965-026B-43DA-A554-C6861A0A35E4}" dt="2023-02-01T19:13:03.078" v="38795"/>
          <ac:graphicFrameMkLst>
            <pc:docMk/>
            <pc:sldMk cId="1589772229" sldId="2134804370"/>
            <ac:graphicFrameMk id="159" creationId="{B4603301-9B0E-D331-A9D7-59B13AE5780A}"/>
          </ac:graphicFrameMkLst>
        </pc:graphicFrameChg>
        <pc:graphicFrameChg chg="add del mod ord replST">
          <ac:chgData name="Wenwen Zhang" userId="9dd81366-5d6f-445a-b031-6ea562624431" providerId="ADAL" clId="{D6FBF965-026B-43DA-A554-C6861A0A35E4}" dt="2023-02-02T12:01:18.759" v="132294"/>
          <ac:graphicFrameMkLst>
            <pc:docMk/>
            <pc:sldMk cId="1589772229" sldId="2134804370"/>
            <ac:graphicFrameMk id="160" creationId="{FA1CDF3E-784B-B373-BCA1-6DAB18DB7A35}"/>
          </ac:graphicFrameMkLst>
        </pc:graphicFrameChg>
        <pc:graphicFrameChg chg="add del mod ord replST">
          <ac:chgData name="Wenwen Zhang" userId="9dd81366-5d6f-445a-b031-6ea562624431" providerId="ADAL" clId="{D6FBF965-026B-43DA-A554-C6861A0A35E4}" dt="2023-02-01T19:13:06.036" v="38912"/>
          <ac:graphicFrameMkLst>
            <pc:docMk/>
            <pc:sldMk cId="1589772229" sldId="2134804370"/>
            <ac:graphicFrameMk id="161" creationId="{09B24625-7DB9-DCEF-30E6-AFBD0C03AF97}"/>
          </ac:graphicFrameMkLst>
        </pc:graphicFrameChg>
        <pc:graphicFrameChg chg="add mod ord replST delST">
          <ac:chgData name="Wenwen Zhang" userId="9dd81366-5d6f-445a-b031-6ea562624431" providerId="ADAL" clId="{D6FBF965-026B-43DA-A554-C6861A0A35E4}" dt="2023-02-02T11:56:23.249" v="124642"/>
          <ac:graphicFrameMkLst>
            <pc:docMk/>
            <pc:sldMk cId="1589772229" sldId="2134804370"/>
            <ac:graphicFrameMk id="162" creationId="{01E22BBE-DB4B-0ED9-C138-355E63EBE6B7}"/>
          </ac:graphicFrameMkLst>
        </pc:graphicFrameChg>
        <pc:graphicFrameChg chg="add del mod ord replST">
          <ac:chgData name="Wenwen Zhang" userId="9dd81366-5d6f-445a-b031-6ea562624431" providerId="ADAL" clId="{D6FBF965-026B-43DA-A554-C6861A0A35E4}" dt="2023-02-01T19:13:09.784" v="39025"/>
          <ac:graphicFrameMkLst>
            <pc:docMk/>
            <pc:sldMk cId="1589772229" sldId="2134804370"/>
            <ac:graphicFrameMk id="163" creationId="{9CB52806-1886-DF44-1B24-A1D557A9EF88}"/>
          </ac:graphicFrameMkLst>
        </pc:graphicFrameChg>
        <pc:graphicFrameChg chg="add del mod ord replST delST">
          <ac:chgData name="Wenwen Zhang" userId="9dd81366-5d6f-445a-b031-6ea562624431" providerId="ADAL" clId="{D6FBF965-026B-43DA-A554-C6861A0A35E4}" dt="2023-02-02T11:56:39.718" v="131372"/>
          <ac:graphicFrameMkLst>
            <pc:docMk/>
            <pc:sldMk cId="1589772229" sldId="2134804370"/>
            <ac:graphicFrameMk id="164" creationId="{2FD6B73B-CA44-4654-7855-60B9F44BDA2C}"/>
          </ac:graphicFrameMkLst>
        </pc:graphicFrameChg>
        <pc:graphicFrameChg chg="add del mod ord replST">
          <ac:chgData name="Wenwen Zhang" userId="9dd81366-5d6f-445a-b031-6ea562624431" providerId="ADAL" clId="{D6FBF965-026B-43DA-A554-C6861A0A35E4}" dt="2023-02-01T19:13:44.658" v="39317"/>
          <ac:graphicFrameMkLst>
            <pc:docMk/>
            <pc:sldMk cId="1589772229" sldId="2134804370"/>
            <ac:graphicFrameMk id="165" creationId="{4C73AFFE-3A57-7453-880C-2152752E6A00}"/>
          </ac:graphicFrameMkLst>
        </pc:graphicFrameChg>
        <pc:graphicFrameChg chg="add del mod ord replST">
          <ac:chgData name="Wenwen Zhang" userId="9dd81366-5d6f-445a-b031-6ea562624431" providerId="ADAL" clId="{D6FBF965-026B-43DA-A554-C6861A0A35E4}" dt="2023-02-01T21:09:13.914" v="64640"/>
          <ac:graphicFrameMkLst>
            <pc:docMk/>
            <pc:sldMk cId="1589772229" sldId="2134804370"/>
            <ac:graphicFrameMk id="167" creationId="{8FCDC6A9-420A-22EA-DD9E-3B87BD9979A2}"/>
          </ac:graphicFrameMkLst>
        </pc:graphicFrameChg>
        <pc:graphicFrameChg chg="add del mod ord replST">
          <ac:chgData name="Wenwen Zhang" userId="9dd81366-5d6f-445a-b031-6ea562624431" providerId="ADAL" clId="{D6FBF965-026B-43DA-A554-C6861A0A35E4}" dt="2023-02-01T21:18:12.792" v="64855"/>
          <ac:graphicFrameMkLst>
            <pc:docMk/>
            <pc:sldMk cId="1589772229" sldId="2134804370"/>
            <ac:graphicFrameMk id="169" creationId="{A911A2A0-DAC2-723F-BE70-EDA234875876}"/>
          </ac:graphicFrameMkLst>
        </pc:graphicFrameChg>
        <pc:graphicFrameChg chg="add del mod ord replST">
          <ac:chgData name="Wenwen Zhang" userId="9dd81366-5d6f-445a-b031-6ea562624431" providerId="ADAL" clId="{D6FBF965-026B-43DA-A554-C6861A0A35E4}" dt="2023-02-01T21:18:15.847" v="65024"/>
          <ac:graphicFrameMkLst>
            <pc:docMk/>
            <pc:sldMk cId="1589772229" sldId="2134804370"/>
            <ac:graphicFrameMk id="171" creationId="{FF2977EB-5889-286C-CB95-9C9CC08B1FA5}"/>
          </ac:graphicFrameMkLst>
        </pc:graphicFrameChg>
        <pc:graphicFrameChg chg="add del mod ord replST">
          <ac:chgData name="Wenwen Zhang" userId="9dd81366-5d6f-445a-b031-6ea562624431" providerId="ADAL" clId="{D6FBF965-026B-43DA-A554-C6861A0A35E4}" dt="2023-02-01T21:18:19.999" v="65147"/>
          <ac:graphicFrameMkLst>
            <pc:docMk/>
            <pc:sldMk cId="1589772229" sldId="2134804370"/>
            <ac:graphicFrameMk id="173" creationId="{977EC73A-802E-1082-6607-F6461DBA214C}"/>
          </ac:graphicFrameMkLst>
        </pc:graphicFrameChg>
        <pc:graphicFrameChg chg="add del mod ord replST">
          <ac:chgData name="Wenwen Zhang" userId="9dd81366-5d6f-445a-b031-6ea562624431" providerId="ADAL" clId="{D6FBF965-026B-43DA-A554-C6861A0A35E4}" dt="2023-02-01T21:18:28.388" v="65304"/>
          <ac:graphicFrameMkLst>
            <pc:docMk/>
            <pc:sldMk cId="1589772229" sldId="2134804370"/>
            <ac:graphicFrameMk id="175" creationId="{8E50424F-F811-E6D7-3C98-C91D2E34BB21}"/>
          </ac:graphicFrameMkLst>
        </pc:graphicFrameChg>
        <pc:graphicFrameChg chg="add del mod ord replST">
          <ac:chgData name="Wenwen Zhang" userId="9dd81366-5d6f-445a-b031-6ea562624431" providerId="ADAL" clId="{D6FBF965-026B-43DA-A554-C6861A0A35E4}" dt="2023-02-01T21:19:00.278" v="65453"/>
          <ac:graphicFrameMkLst>
            <pc:docMk/>
            <pc:sldMk cId="1589772229" sldId="2134804370"/>
            <ac:graphicFrameMk id="178" creationId="{A66015BC-3516-F083-B8AB-F999062F8B17}"/>
          </ac:graphicFrameMkLst>
        </pc:graphicFrameChg>
        <pc:graphicFrameChg chg="add del mod ord replST">
          <ac:chgData name="Wenwen Zhang" userId="9dd81366-5d6f-445a-b031-6ea562624431" providerId="ADAL" clId="{D6FBF965-026B-43DA-A554-C6861A0A35E4}" dt="2023-02-01T21:19:28.035" v="70513"/>
          <ac:graphicFrameMkLst>
            <pc:docMk/>
            <pc:sldMk cId="1589772229" sldId="2134804370"/>
            <ac:graphicFrameMk id="181" creationId="{776EB690-9455-A75E-0D2D-91C3A73DA294}"/>
          </ac:graphicFrameMkLst>
        </pc:graphicFrameChg>
        <pc:graphicFrameChg chg="add del mod ord replST">
          <ac:chgData name="Wenwen Zhang" userId="9dd81366-5d6f-445a-b031-6ea562624431" providerId="ADAL" clId="{D6FBF965-026B-43DA-A554-C6861A0A35E4}" dt="2023-02-01T21:24:09.412" v="78018"/>
          <ac:graphicFrameMkLst>
            <pc:docMk/>
            <pc:sldMk cId="1589772229" sldId="2134804370"/>
            <ac:graphicFrameMk id="350" creationId="{E298FAEF-FCA7-6E61-5A72-B63DB495228D}"/>
          </ac:graphicFrameMkLst>
        </pc:graphicFrameChg>
        <pc:graphicFrameChg chg="add del mod ord replST delST">
          <ac:chgData name="Wenwen Zhang" userId="9dd81366-5d6f-445a-b031-6ea562624431" providerId="ADAL" clId="{D6FBF965-026B-43DA-A554-C6861A0A35E4}" dt="2023-02-01T19:00:53.241" v="27861"/>
          <ac:graphicFrameMkLst>
            <pc:docMk/>
            <pc:sldMk cId="1589772229" sldId="2134804370"/>
            <ac:graphicFrameMk id="512" creationId="{B690E36C-8C96-0A3B-3260-8878A4684301}"/>
          </ac:graphicFrameMkLst>
        </pc:graphicFrameChg>
        <pc:graphicFrameChg chg="add del mod ord replST delST">
          <ac:chgData name="Wenwen Zhang" userId="9dd81366-5d6f-445a-b031-6ea562624431" providerId="ADAL" clId="{D6FBF965-026B-43DA-A554-C6861A0A35E4}" dt="2023-02-01T19:00:52.659" v="27365"/>
          <ac:graphicFrameMkLst>
            <pc:docMk/>
            <pc:sldMk cId="1589772229" sldId="2134804370"/>
            <ac:graphicFrameMk id="518" creationId="{46BEB168-D140-AD12-FE56-6F6E9F8C6CD3}"/>
          </ac:graphicFrameMkLst>
        </pc:graphicFrameChg>
        <pc:graphicFrameChg chg="add mod ord replST delST">
          <ac:chgData name="Wenwen Zhang" userId="9dd81366-5d6f-445a-b031-6ea562624431" providerId="ADAL" clId="{D6FBF965-026B-43DA-A554-C6861A0A35E4}" dt="2023-02-01T19:00:52.124" v="27111"/>
          <ac:graphicFrameMkLst>
            <pc:docMk/>
            <pc:sldMk cId="1589772229" sldId="2134804370"/>
            <ac:graphicFrameMk id="520" creationId="{A75E26FF-DB7C-E582-4C9C-31FC48947FE6}"/>
          </ac:graphicFrameMkLst>
        </pc:graphicFrameChg>
        <pc:graphicFrameChg chg="add del mod ord replST">
          <ac:chgData name="Wenwen Zhang" userId="9dd81366-5d6f-445a-b031-6ea562624431" providerId="ADAL" clId="{D6FBF965-026B-43DA-A554-C6861A0A35E4}" dt="2023-02-01T19:06:34.183" v="28451"/>
          <ac:graphicFrameMkLst>
            <pc:docMk/>
            <pc:sldMk cId="1589772229" sldId="2134804370"/>
            <ac:graphicFrameMk id="523" creationId="{DC5013F1-4E0D-9386-A1F5-ED5B92B09034}"/>
          </ac:graphicFrameMkLst>
        </pc:graphicFrameChg>
        <pc:graphicFrameChg chg="add del mod ord replST">
          <ac:chgData name="Wenwen Zhang" userId="9dd81366-5d6f-445a-b031-6ea562624431" providerId="ADAL" clId="{D6FBF965-026B-43DA-A554-C6861A0A35E4}" dt="2023-02-01T19:06:35.841" v="28551"/>
          <ac:graphicFrameMkLst>
            <pc:docMk/>
            <pc:sldMk cId="1589772229" sldId="2134804370"/>
            <ac:graphicFrameMk id="526" creationId="{17CFC164-394B-05A3-31D5-568E0BB0CF76}"/>
          </ac:graphicFrameMkLst>
        </pc:graphicFrameChg>
        <pc:graphicFrameChg chg="add del mod ord replST">
          <ac:chgData name="Wenwen Zhang" userId="9dd81366-5d6f-445a-b031-6ea562624431" providerId="ADAL" clId="{D6FBF965-026B-43DA-A554-C6861A0A35E4}" dt="2023-02-01T19:06:37.790" v="28661"/>
          <ac:graphicFrameMkLst>
            <pc:docMk/>
            <pc:sldMk cId="1589772229" sldId="2134804370"/>
            <ac:graphicFrameMk id="528" creationId="{CC329ACC-E2E9-18AF-92E0-E278ED20A0C4}"/>
          </ac:graphicFrameMkLst>
        </pc:graphicFrameChg>
        <pc:graphicFrameChg chg="add del mod ord replST">
          <ac:chgData name="Wenwen Zhang" userId="9dd81366-5d6f-445a-b031-6ea562624431" providerId="ADAL" clId="{D6FBF965-026B-43DA-A554-C6861A0A35E4}" dt="2023-02-01T19:06:50.148" v="28868"/>
          <ac:graphicFrameMkLst>
            <pc:docMk/>
            <pc:sldMk cId="1589772229" sldId="2134804370"/>
            <ac:graphicFrameMk id="530" creationId="{5F1D27B1-B7C1-2C1C-6FF1-7D32B69115EE}"/>
          </ac:graphicFrameMkLst>
        </pc:graphicFrameChg>
        <pc:graphicFrameChg chg="add del mod ord replST">
          <ac:chgData name="Wenwen Zhang" userId="9dd81366-5d6f-445a-b031-6ea562624431" providerId="ADAL" clId="{D6FBF965-026B-43DA-A554-C6861A0A35E4}" dt="2023-02-01T19:06:55.265" v="28999"/>
          <ac:graphicFrameMkLst>
            <pc:docMk/>
            <pc:sldMk cId="1589772229" sldId="2134804370"/>
            <ac:graphicFrameMk id="533" creationId="{5DD60370-6933-C7A3-C4B0-15DA7F6F5C2F}"/>
          </ac:graphicFrameMkLst>
        </pc:graphicFrameChg>
        <pc:graphicFrameChg chg="add del mod ord replST">
          <ac:chgData name="Wenwen Zhang" userId="9dd81366-5d6f-445a-b031-6ea562624431" providerId="ADAL" clId="{D6FBF965-026B-43DA-A554-C6861A0A35E4}" dt="2023-02-01T19:06:55.512" v="29118"/>
          <ac:graphicFrameMkLst>
            <pc:docMk/>
            <pc:sldMk cId="1589772229" sldId="2134804370"/>
            <ac:graphicFrameMk id="535" creationId="{143D7855-9EAE-8F61-8541-7BC447CA7AF1}"/>
          </ac:graphicFrameMkLst>
        </pc:graphicFrameChg>
        <pc:graphicFrameChg chg="add del mod ord replST">
          <ac:chgData name="Wenwen Zhang" userId="9dd81366-5d6f-445a-b031-6ea562624431" providerId="ADAL" clId="{D6FBF965-026B-43DA-A554-C6861A0A35E4}" dt="2023-02-01T19:07:22.021" v="29236"/>
          <ac:graphicFrameMkLst>
            <pc:docMk/>
            <pc:sldMk cId="1589772229" sldId="2134804370"/>
            <ac:graphicFrameMk id="538" creationId="{4ECAFA4C-72F1-75A6-4E65-64A477CA0B62}"/>
          </ac:graphicFrameMkLst>
        </pc:graphicFrameChg>
        <pc:graphicFrameChg chg="add del mod ord replST">
          <ac:chgData name="Wenwen Zhang" userId="9dd81366-5d6f-445a-b031-6ea562624431" providerId="ADAL" clId="{D6FBF965-026B-43DA-A554-C6861A0A35E4}" dt="2023-02-01T19:07:41.133" v="29434"/>
          <ac:graphicFrameMkLst>
            <pc:docMk/>
            <pc:sldMk cId="1589772229" sldId="2134804370"/>
            <ac:graphicFrameMk id="540" creationId="{C3BDCF6F-5D9D-8A8C-A274-684EE7750CE5}"/>
          </ac:graphicFrameMkLst>
        </pc:graphicFrameChg>
        <pc:graphicFrameChg chg="add del mod ord replST">
          <ac:chgData name="Wenwen Zhang" userId="9dd81366-5d6f-445a-b031-6ea562624431" providerId="ADAL" clId="{D6FBF965-026B-43DA-A554-C6861A0A35E4}" dt="2023-02-01T19:07:42.096" v="29558"/>
          <ac:graphicFrameMkLst>
            <pc:docMk/>
            <pc:sldMk cId="1589772229" sldId="2134804370"/>
            <ac:graphicFrameMk id="543" creationId="{6D939EEF-C271-9CB8-3A5B-568F5BE88DC5}"/>
          </ac:graphicFrameMkLst>
        </pc:graphicFrameChg>
        <pc:graphicFrameChg chg="add del mod ord replST">
          <ac:chgData name="Wenwen Zhang" userId="9dd81366-5d6f-445a-b031-6ea562624431" providerId="ADAL" clId="{D6FBF965-026B-43DA-A554-C6861A0A35E4}" dt="2023-02-01T19:07:43.143" v="29665"/>
          <ac:graphicFrameMkLst>
            <pc:docMk/>
            <pc:sldMk cId="1589772229" sldId="2134804370"/>
            <ac:graphicFrameMk id="545" creationId="{CE760756-8AEF-1B31-ECCB-D47091B10E2E}"/>
          </ac:graphicFrameMkLst>
        </pc:graphicFrameChg>
        <pc:graphicFrameChg chg="add del mod ord replST">
          <ac:chgData name="Wenwen Zhang" userId="9dd81366-5d6f-445a-b031-6ea562624431" providerId="ADAL" clId="{D6FBF965-026B-43DA-A554-C6861A0A35E4}" dt="2023-02-01T19:07:47.926" v="29762"/>
          <ac:graphicFrameMkLst>
            <pc:docMk/>
            <pc:sldMk cId="1589772229" sldId="2134804370"/>
            <ac:graphicFrameMk id="547" creationId="{46EF6AE5-EC36-744A-6D86-E6E0ACC1D464}"/>
          </ac:graphicFrameMkLst>
        </pc:graphicFrameChg>
        <pc:graphicFrameChg chg="add del mod ord replST">
          <ac:chgData name="Wenwen Zhang" userId="9dd81366-5d6f-445a-b031-6ea562624431" providerId="ADAL" clId="{D6FBF965-026B-43DA-A554-C6861A0A35E4}" dt="2023-02-01T19:07:51.643" v="29869"/>
          <ac:graphicFrameMkLst>
            <pc:docMk/>
            <pc:sldMk cId="1589772229" sldId="2134804370"/>
            <ac:graphicFrameMk id="549" creationId="{FDEC8E4F-ED68-C90B-FBB2-86FD872CF292}"/>
          </ac:graphicFrameMkLst>
        </pc:graphicFrameChg>
        <pc:graphicFrameChg chg="add del mod ord replST">
          <ac:chgData name="Wenwen Zhang" userId="9dd81366-5d6f-445a-b031-6ea562624431" providerId="ADAL" clId="{D6FBF965-026B-43DA-A554-C6861A0A35E4}" dt="2023-02-01T19:10:49.478" v="31194"/>
          <ac:graphicFrameMkLst>
            <pc:docMk/>
            <pc:sldMk cId="1589772229" sldId="2134804370"/>
            <ac:graphicFrameMk id="551" creationId="{BA8D90CE-5EC4-8AF0-1B7D-693C0903757D}"/>
          </ac:graphicFrameMkLst>
        </pc:graphicFrameChg>
        <pc:graphicFrameChg chg="add del mod ord replST">
          <ac:chgData name="Wenwen Zhang" userId="9dd81366-5d6f-445a-b031-6ea562624431" providerId="ADAL" clId="{D6FBF965-026B-43DA-A554-C6861A0A35E4}" dt="2023-02-01T19:10:50.327" v="31319"/>
          <ac:graphicFrameMkLst>
            <pc:docMk/>
            <pc:sldMk cId="1589772229" sldId="2134804370"/>
            <ac:graphicFrameMk id="568" creationId="{52AC09FE-CDF6-8668-BB8A-0AF2D072A4EE}"/>
          </ac:graphicFrameMkLst>
        </pc:graphicFrameChg>
        <pc:graphicFrameChg chg="add del mod ord replST">
          <ac:chgData name="Wenwen Zhang" userId="9dd81366-5d6f-445a-b031-6ea562624431" providerId="ADAL" clId="{D6FBF965-026B-43DA-A554-C6861A0A35E4}" dt="2023-02-01T19:10:51.682" v="31458"/>
          <ac:graphicFrameMkLst>
            <pc:docMk/>
            <pc:sldMk cId="1589772229" sldId="2134804370"/>
            <ac:graphicFrameMk id="570" creationId="{4AC6B0EA-E895-5CB6-BF8E-C302D63F1E61}"/>
          </ac:graphicFrameMkLst>
        </pc:graphicFrameChg>
        <pc:graphicFrameChg chg="add del mod ord replST">
          <ac:chgData name="Wenwen Zhang" userId="9dd81366-5d6f-445a-b031-6ea562624431" providerId="ADAL" clId="{D6FBF965-026B-43DA-A554-C6861A0A35E4}" dt="2023-02-01T19:10:59.771" v="32618"/>
          <ac:graphicFrameMkLst>
            <pc:docMk/>
            <pc:sldMk cId="1589772229" sldId="2134804370"/>
            <ac:graphicFrameMk id="572" creationId="{0267EC5C-22BE-AFF9-F62D-78BC52317367}"/>
          </ac:graphicFrameMkLst>
        </pc:graphicFrameChg>
        <pc:graphicFrameChg chg="add mod ord replST delST">
          <ac:chgData name="Wenwen Zhang" userId="9dd81366-5d6f-445a-b031-6ea562624431" providerId="ADAL" clId="{D6FBF965-026B-43DA-A554-C6861A0A35E4}" dt="2023-02-01T21:19:22.496" v="68722"/>
          <ac:graphicFrameMkLst>
            <pc:docMk/>
            <pc:sldMk cId="1589772229" sldId="2134804370"/>
            <ac:graphicFrameMk id="713" creationId="{5FDC80B2-1615-CAAE-F922-8A40199BD599}"/>
          </ac:graphicFrameMkLst>
        </pc:graphicFrameChg>
        <pc:graphicFrameChg chg="add mod ord replST delST">
          <ac:chgData name="Wenwen Zhang" userId="9dd81366-5d6f-445a-b031-6ea562624431" providerId="ADAL" clId="{D6FBF965-026B-43DA-A554-C6861A0A35E4}" dt="2023-02-02T11:56:39.178" v="131223"/>
          <ac:graphicFrameMkLst>
            <pc:docMk/>
            <pc:sldMk cId="1589772229" sldId="2134804370"/>
            <ac:graphicFrameMk id="728" creationId="{892DF5D3-69CD-BC1D-26A9-9A6EC7713438}"/>
          </ac:graphicFrameMkLst>
        </pc:graphicFrameChg>
        <pc:graphicFrameChg chg="add del mod ord replST">
          <ac:chgData name="Wenwen Zhang" userId="9dd81366-5d6f-445a-b031-6ea562624431" providerId="ADAL" clId="{D6FBF965-026B-43DA-A554-C6861A0A35E4}" dt="2023-02-01T21:19:38.632" v="70786"/>
          <ac:graphicFrameMkLst>
            <pc:docMk/>
            <pc:sldMk cId="1589772229" sldId="2134804370"/>
            <ac:graphicFrameMk id="730" creationId="{3F9845ED-5137-C74D-11C5-3806F3F22CFF}"/>
          </ac:graphicFrameMkLst>
        </pc:graphicFrameChg>
        <pc:graphicFrameChg chg="add mod ord replST delST">
          <ac:chgData name="Wenwen Zhang" userId="9dd81366-5d6f-445a-b031-6ea562624431" providerId="ADAL" clId="{D6FBF965-026B-43DA-A554-C6861A0A35E4}" dt="2023-02-02T11:57:07.354" v="131854"/>
          <ac:graphicFrameMkLst>
            <pc:docMk/>
            <pc:sldMk cId="1589772229" sldId="2134804370"/>
            <ac:graphicFrameMk id="730" creationId="{5B76A6E6-4602-FA65-421F-80C8E610D8E6}"/>
          </ac:graphicFrameMkLst>
        </pc:graphicFrameChg>
        <pc:graphicFrameChg chg="add del mod ord replST">
          <ac:chgData name="Wenwen Zhang" userId="9dd81366-5d6f-445a-b031-6ea562624431" providerId="ADAL" clId="{D6FBF965-026B-43DA-A554-C6861A0A35E4}" dt="2023-02-01T21:19:41.688" v="70966"/>
          <ac:graphicFrameMkLst>
            <pc:docMk/>
            <pc:sldMk cId="1589772229" sldId="2134804370"/>
            <ac:graphicFrameMk id="733" creationId="{17D02656-5A89-E5CE-4019-988CB8017188}"/>
          </ac:graphicFrameMkLst>
        </pc:graphicFrameChg>
        <pc:graphicFrameChg chg="add del mod ord replST">
          <ac:chgData name="Wenwen Zhang" userId="9dd81366-5d6f-445a-b031-6ea562624431" providerId="ADAL" clId="{D6FBF965-026B-43DA-A554-C6861A0A35E4}" dt="2023-02-01T21:19:42.197" v="71159"/>
          <ac:graphicFrameMkLst>
            <pc:docMk/>
            <pc:sldMk cId="1589772229" sldId="2134804370"/>
            <ac:graphicFrameMk id="735" creationId="{05CAB954-4F6D-D222-409A-378A2F52A400}"/>
          </ac:graphicFrameMkLst>
        </pc:graphicFrameChg>
        <pc:graphicFrameChg chg="add del mod ord replST">
          <ac:chgData name="Wenwen Zhang" userId="9dd81366-5d6f-445a-b031-6ea562624431" providerId="ADAL" clId="{D6FBF965-026B-43DA-A554-C6861A0A35E4}" dt="2023-02-02T12:01:27.969" v="132443"/>
          <ac:graphicFrameMkLst>
            <pc:docMk/>
            <pc:sldMk cId="1589772229" sldId="2134804370"/>
            <ac:graphicFrameMk id="736" creationId="{14EC069E-D962-0020-3DB6-425DD57B00E1}"/>
          </ac:graphicFrameMkLst>
        </pc:graphicFrameChg>
        <pc:graphicFrameChg chg="add del mod ord replST">
          <ac:chgData name="Wenwen Zhang" userId="9dd81366-5d6f-445a-b031-6ea562624431" providerId="ADAL" clId="{D6FBF965-026B-43DA-A554-C6861A0A35E4}" dt="2023-02-01T21:23:25.607" v="71287"/>
          <ac:graphicFrameMkLst>
            <pc:docMk/>
            <pc:sldMk cId="1589772229" sldId="2134804370"/>
            <ac:graphicFrameMk id="737" creationId="{D478C431-5211-6F73-ED86-BD03B28183A2}"/>
          </ac:graphicFrameMkLst>
        </pc:graphicFrameChg>
        <pc:graphicFrameChg chg="add del mod ord replST">
          <ac:chgData name="Wenwen Zhang" userId="9dd81366-5d6f-445a-b031-6ea562624431" providerId="ADAL" clId="{D6FBF965-026B-43DA-A554-C6861A0A35E4}" dt="2023-02-02T12:01:42.546" v="132574"/>
          <ac:graphicFrameMkLst>
            <pc:docMk/>
            <pc:sldMk cId="1589772229" sldId="2134804370"/>
            <ac:graphicFrameMk id="738" creationId="{4F9DC1BC-971B-6299-3620-F89C129A6529}"/>
          </ac:graphicFrameMkLst>
        </pc:graphicFrameChg>
        <pc:graphicFrameChg chg="add del mod ord replST">
          <ac:chgData name="Wenwen Zhang" userId="9dd81366-5d6f-445a-b031-6ea562624431" providerId="ADAL" clId="{D6FBF965-026B-43DA-A554-C6861A0A35E4}" dt="2023-02-01T21:23:29.423" v="71460"/>
          <ac:graphicFrameMkLst>
            <pc:docMk/>
            <pc:sldMk cId="1589772229" sldId="2134804370"/>
            <ac:graphicFrameMk id="739" creationId="{7E0F2A1B-8F43-A761-8621-D183B35113D2}"/>
          </ac:graphicFrameMkLst>
        </pc:graphicFrameChg>
        <pc:graphicFrameChg chg="add del mod ord replST">
          <ac:chgData name="Wenwen Zhang" userId="9dd81366-5d6f-445a-b031-6ea562624431" providerId="ADAL" clId="{D6FBF965-026B-43DA-A554-C6861A0A35E4}" dt="2023-02-02T12:02:02.951" v="132714"/>
          <ac:graphicFrameMkLst>
            <pc:docMk/>
            <pc:sldMk cId="1589772229" sldId="2134804370"/>
            <ac:graphicFrameMk id="740" creationId="{DC7F6038-907A-2CA2-F67B-A7A09DAA7612}"/>
          </ac:graphicFrameMkLst>
        </pc:graphicFrameChg>
        <pc:graphicFrameChg chg="add del mod ord replST">
          <ac:chgData name="Wenwen Zhang" userId="9dd81366-5d6f-445a-b031-6ea562624431" providerId="ADAL" clId="{D6FBF965-026B-43DA-A554-C6861A0A35E4}" dt="2023-02-01T21:23:58.311" v="71585"/>
          <ac:graphicFrameMkLst>
            <pc:docMk/>
            <pc:sldMk cId="1589772229" sldId="2134804370"/>
            <ac:graphicFrameMk id="741" creationId="{52A8C081-8E7D-3B95-33F7-A7AAE4DFF951}"/>
          </ac:graphicFrameMkLst>
        </pc:graphicFrameChg>
        <pc:graphicFrameChg chg="add del mod ord replST">
          <ac:chgData name="Wenwen Zhang" userId="9dd81366-5d6f-445a-b031-6ea562624431" providerId="ADAL" clId="{D6FBF965-026B-43DA-A554-C6861A0A35E4}" dt="2023-02-02T12:02:03.713" v="132855"/>
          <ac:graphicFrameMkLst>
            <pc:docMk/>
            <pc:sldMk cId="1589772229" sldId="2134804370"/>
            <ac:graphicFrameMk id="742" creationId="{146A1316-08C4-F61B-ED8A-8996853FF702}"/>
          </ac:graphicFrameMkLst>
        </pc:graphicFrameChg>
        <pc:graphicFrameChg chg="add del mod ord replST">
          <ac:chgData name="Wenwen Zhang" userId="9dd81366-5d6f-445a-b031-6ea562624431" providerId="ADAL" clId="{D6FBF965-026B-43DA-A554-C6861A0A35E4}" dt="2023-02-01T21:24:03.072" v="73694"/>
          <ac:graphicFrameMkLst>
            <pc:docMk/>
            <pc:sldMk cId="1589772229" sldId="2134804370"/>
            <ac:graphicFrameMk id="743" creationId="{91CCE044-E702-C649-167A-922FC1AD943F}"/>
          </ac:graphicFrameMkLst>
        </pc:graphicFrameChg>
        <pc:graphicFrameChg chg="add del mod ord replST">
          <ac:chgData name="Wenwen Zhang" userId="9dd81366-5d6f-445a-b031-6ea562624431" providerId="ADAL" clId="{D6FBF965-026B-43DA-A554-C6861A0A35E4}" dt="2023-02-02T12:02:04.305" v="132991"/>
          <ac:graphicFrameMkLst>
            <pc:docMk/>
            <pc:sldMk cId="1589772229" sldId="2134804370"/>
            <ac:graphicFrameMk id="745" creationId="{497C860D-6B90-2B6E-7486-AC27A3F41695}"/>
          </ac:graphicFrameMkLst>
        </pc:graphicFrameChg>
        <pc:graphicFrameChg chg="add mod ord replST">
          <ac:chgData name="Wenwen Zhang" userId="9dd81366-5d6f-445a-b031-6ea562624431" providerId="ADAL" clId="{D6FBF965-026B-43DA-A554-C6861A0A35E4}" dt="2023-02-02T12:02:04.321" v="133005"/>
          <ac:graphicFrameMkLst>
            <pc:docMk/>
            <pc:sldMk cId="1589772229" sldId="2134804370"/>
            <ac:graphicFrameMk id="747" creationId="{629DE033-3B3F-65EC-F2AE-3E39455444BF}"/>
          </ac:graphicFrameMkLst>
        </pc:graphicFrameChg>
        <pc:graphicFrameChg chg="del">
          <ac:chgData name="Wenwen Zhang" userId="9dd81366-5d6f-445a-b031-6ea562624431" providerId="ADAL" clId="{D6FBF965-026B-43DA-A554-C6861A0A35E4}" dt="2023-02-01T18:57:09.540" v="23669"/>
          <ac:graphicFrameMkLst>
            <pc:docMk/>
            <pc:sldMk cId="1589772229" sldId="2134804370"/>
            <ac:graphicFrameMk id="766" creationId="{34B5CF30-985E-3A99-A05E-DD7EE333459B}"/>
          </ac:graphicFrameMkLst>
        </pc:graphicFrameChg>
        <pc:graphicFrameChg chg="add del mod ord replST">
          <ac:chgData name="Wenwen Zhang" userId="9dd81366-5d6f-445a-b031-6ea562624431" providerId="ADAL" clId="{D6FBF965-026B-43DA-A554-C6861A0A35E4}" dt="2023-02-01T21:24:19.006" v="78247"/>
          <ac:graphicFrameMkLst>
            <pc:docMk/>
            <pc:sldMk cId="1589772229" sldId="2134804370"/>
            <ac:graphicFrameMk id="776" creationId="{3C1A74B7-7874-E3A5-7B71-149074D2B799}"/>
          </ac:graphicFrameMkLst>
        </pc:graphicFrameChg>
        <pc:graphicFrameChg chg="add del mod ord replST">
          <ac:chgData name="Wenwen Zhang" userId="9dd81366-5d6f-445a-b031-6ea562624431" providerId="ADAL" clId="{D6FBF965-026B-43DA-A554-C6861A0A35E4}" dt="2023-02-01T21:24:32.115" v="78437"/>
          <ac:graphicFrameMkLst>
            <pc:docMk/>
            <pc:sldMk cId="1589772229" sldId="2134804370"/>
            <ac:graphicFrameMk id="779" creationId="{97C882F4-303E-20FC-C5BF-7B8C42B4F8F2}"/>
          </ac:graphicFrameMkLst>
        </pc:graphicFrameChg>
        <pc:graphicFrameChg chg="add del mod ord replST">
          <ac:chgData name="Wenwen Zhang" userId="9dd81366-5d6f-445a-b031-6ea562624431" providerId="ADAL" clId="{D6FBF965-026B-43DA-A554-C6861A0A35E4}" dt="2023-02-01T21:24:39.413" v="78627"/>
          <ac:graphicFrameMkLst>
            <pc:docMk/>
            <pc:sldMk cId="1589772229" sldId="2134804370"/>
            <ac:graphicFrameMk id="781" creationId="{58F8FADA-ECB9-E63F-CF1E-95C57A03C6E9}"/>
          </ac:graphicFrameMkLst>
        </pc:graphicFrameChg>
        <pc:graphicFrameChg chg="add del mod ord replST">
          <ac:chgData name="Wenwen Zhang" userId="9dd81366-5d6f-445a-b031-6ea562624431" providerId="ADAL" clId="{D6FBF965-026B-43DA-A554-C6861A0A35E4}" dt="2023-02-01T21:24:53.557" v="79204"/>
          <ac:graphicFrameMkLst>
            <pc:docMk/>
            <pc:sldMk cId="1589772229" sldId="2134804370"/>
            <ac:graphicFrameMk id="783" creationId="{1E660276-3A48-85FC-6C2C-E7455D412957}"/>
          </ac:graphicFrameMkLst>
        </pc:graphicFrameChg>
        <pc:graphicFrameChg chg="add del mod ord replST">
          <ac:chgData name="Wenwen Zhang" userId="9dd81366-5d6f-445a-b031-6ea562624431" providerId="ADAL" clId="{D6FBF965-026B-43DA-A554-C6861A0A35E4}" dt="2023-02-01T21:24:58.345" v="79397"/>
          <ac:graphicFrameMkLst>
            <pc:docMk/>
            <pc:sldMk cId="1589772229" sldId="2134804370"/>
            <ac:graphicFrameMk id="785" creationId="{D8B23191-778A-B256-23E7-D6C78953D7E7}"/>
          </ac:graphicFrameMkLst>
        </pc:graphicFrameChg>
        <pc:graphicFrameChg chg="add del mod ord replST">
          <ac:chgData name="Wenwen Zhang" userId="9dd81366-5d6f-445a-b031-6ea562624431" providerId="ADAL" clId="{D6FBF965-026B-43DA-A554-C6861A0A35E4}" dt="2023-02-01T21:25:00.508" v="79564"/>
          <ac:graphicFrameMkLst>
            <pc:docMk/>
            <pc:sldMk cId="1589772229" sldId="2134804370"/>
            <ac:graphicFrameMk id="787" creationId="{AFD2B0D7-7F86-4A2C-DC3A-53A4379D3384}"/>
          </ac:graphicFrameMkLst>
        </pc:graphicFrameChg>
        <pc:graphicFrameChg chg="add del mod ord replST">
          <ac:chgData name="Wenwen Zhang" userId="9dd81366-5d6f-445a-b031-6ea562624431" providerId="ADAL" clId="{D6FBF965-026B-43DA-A554-C6861A0A35E4}" dt="2023-02-01T21:25:01.896" v="79729"/>
          <ac:graphicFrameMkLst>
            <pc:docMk/>
            <pc:sldMk cId="1589772229" sldId="2134804370"/>
            <ac:graphicFrameMk id="789" creationId="{E19FD8F7-75EC-A631-90D2-59FF665ECDC1}"/>
          </ac:graphicFrameMkLst>
        </pc:graphicFrameChg>
        <pc:graphicFrameChg chg="add del mod ord replST">
          <ac:chgData name="Wenwen Zhang" userId="9dd81366-5d6f-445a-b031-6ea562624431" providerId="ADAL" clId="{D6FBF965-026B-43DA-A554-C6861A0A35E4}" dt="2023-02-01T21:25:02.312" v="79894"/>
          <ac:graphicFrameMkLst>
            <pc:docMk/>
            <pc:sldMk cId="1589772229" sldId="2134804370"/>
            <ac:graphicFrameMk id="791" creationId="{91A1F306-FAE4-2FD1-F827-B1CA684A0BCC}"/>
          </ac:graphicFrameMkLst>
        </pc:graphicFrameChg>
        <pc:graphicFrameChg chg="add del mod ord replST">
          <ac:chgData name="Wenwen Zhang" userId="9dd81366-5d6f-445a-b031-6ea562624431" providerId="ADAL" clId="{D6FBF965-026B-43DA-A554-C6861A0A35E4}" dt="2023-02-01T21:25:04.368" v="80057"/>
          <ac:graphicFrameMkLst>
            <pc:docMk/>
            <pc:sldMk cId="1589772229" sldId="2134804370"/>
            <ac:graphicFrameMk id="793" creationId="{BBFB1ECA-7434-EB43-DCBE-97BA44D6D29C}"/>
          </ac:graphicFrameMkLst>
        </pc:graphicFrameChg>
        <pc:graphicFrameChg chg="add del mod ord replST">
          <ac:chgData name="Wenwen Zhang" userId="9dd81366-5d6f-445a-b031-6ea562624431" providerId="ADAL" clId="{D6FBF965-026B-43DA-A554-C6861A0A35E4}" dt="2023-02-01T21:25:04.993" v="80220"/>
          <ac:graphicFrameMkLst>
            <pc:docMk/>
            <pc:sldMk cId="1589772229" sldId="2134804370"/>
            <ac:graphicFrameMk id="795" creationId="{8BCA584B-8DEB-D273-4676-854D9A69E833}"/>
          </ac:graphicFrameMkLst>
        </pc:graphicFrameChg>
        <pc:graphicFrameChg chg="add del mod ord replST">
          <ac:chgData name="Wenwen Zhang" userId="9dd81366-5d6f-445a-b031-6ea562624431" providerId="ADAL" clId="{D6FBF965-026B-43DA-A554-C6861A0A35E4}" dt="2023-02-01T21:25:06.817" v="80384"/>
          <ac:graphicFrameMkLst>
            <pc:docMk/>
            <pc:sldMk cId="1589772229" sldId="2134804370"/>
            <ac:graphicFrameMk id="797" creationId="{C0FB388D-DA37-5068-F32D-0016221DD5B1}"/>
          </ac:graphicFrameMkLst>
        </pc:graphicFrameChg>
        <pc:graphicFrameChg chg="add del mod ord replST">
          <ac:chgData name="Wenwen Zhang" userId="9dd81366-5d6f-445a-b031-6ea562624431" providerId="ADAL" clId="{D6FBF965-026B-43DA-A554-C6861A0A35E4}" dt="2023-02-01T21:25:08.094" v="80543"/>
          <ac:graphicFrameMkLst>
            <pc:docMk/>
            <pc:sldMk cId="1589772229" sldId="2134804370"/>
            <ac:graphicFrameMk id="799" creationId="{CF751E3D-DFB7-0D79-3FD4-D1A4EE562E85}"/>
          </ac:graphicFrameMkLst>
        </pc:graphicFrameChg>
        <pc:graphicFrameChg chg="add del mod ord replST">
          <ac:chgData name="Wenwen Zhang" userId="9dd81366-5d6f-445a-b031-6ea562624431" providerId="ADAL" clId="{D6FBF965-026B-43DA-A554-C6861A0A35E4}" dt="2023-02-01T21:25:08.293" v="80699"/>
          <ac:graphicFrameMkLst>
            <pc:docMk/>
            <pc:sldMk cId="1589772229" sldId="2134804370"/>
            <ac:graphicFrameMk id="801" creationId="{5FDC5136-C26F-A3D6-6427-1E2217211B17}"/>
          </ac:graphicFrameMkLst>
        </pc:graphicFrameChg>
        <pc:graphicFrameChg chg="add del mod ord replST">
          <ac:chgData name="Wenwen Zhang" userId="9dd81366-5d6f-445a-b031-6ea562624431" providerId="ADAL" clId="{D6FBF965-026B-43DA-A554-C6861A0A35E4}" dt="2023-02-01T21:25:10.384" v="80856"/>
          <ac:graphicFrameMkLst>
            <pc:docMk/>
            <pc:sldMk cId="1589772229" sldId="2134804370"/>
            <ac:graphicFrameMk id="803" creationId="{CA779F7A-F514-0C2C-480E-DBC082EB24D6}"/>
          </ac:graphicFrameMkLst>
        </pc:graphicFrameChg>
        <pc:graphicFrameChg chg="add del mod ord replST">
          <ac:chgData name="Wenwen Zhang" userId="9dd81366-5d6f-445a-b031-6ea562624431" providerId="ADAL" clId="{D6FBF965-026B-43DA-A554-C6861A0A35E4}" dt="2023-02-01T21:25:12.121" v="81014"/>
          <ac:graphicFrameMkLst>
            <pc:docMk/>
            <pc:sldMk cId="1589772229" sldId="2134804370"/>
            <ac:graphicFrameMk id="805" creationId="{0B315053-4715-6EF5-627D-74A811F53B21}"/>
          </ac:graphicFrameMkLst>
        </pc:graphicFrameChg>
        <pc:graphicFrameChg chg="add del mod ord replST">
          <ac:chgData name="Wenwen Zhang" userId="9dd81366-5d6f-445a-b031-6ea562624431" providerId="ADAL" clId="{D6FBF965-026B-43DA-A554-C6861A0A35E4}" dt="2023-02-01T21:25:13.740" v="81167"/>
          <ac:graphicFrameMkLst>
            <pc:docMk/>
            <pc:sldMk cId="1589772229" sldId="2134804370"/>
            <ac:graphicFrameMk id="807" creationId="{3E6AA4BE-0EBD-7A6E-9842-1D984FDAD1A4}"/>
          </ac:graphicFrameMkLst>
        </pc:graphicFrameChg>
        <pc:graphicFrameChg chg="add del mod ord replST">
          <ac:chgData name="Wenwen Zhang" userId="9dd81366-5d6f-445a-b031-6ea562624431" providerId="ADAL" clId="{D6FBF965-026B-43DA-A554-C6861A0A35E4}" dt="2023-02-01T21:25:15.990" v="81318"/>
          <ac:graphicFrameMkLst>
            <pc:docMk/>
            <pc:sldMk cId="1589772229" sldId="2134804370"/>
            <ac:graphicFrameMk id="809" creationId="{A6545BA8-5434-2379-D07D-6028FD406DD1}"/>
          </ac:graphicFrameMkLst>
        </pc:graphicFrameChg>
        <pc:graphicFrameChg chg="add del mod ord replST">
          <ac:chgData name="Wenwen Zhang" userId="9dd81366-5d6f-445a-b031-6ea562624431" providerId="ADAL" clId="{D6FBF965-026B-43DA-A554-C6861A0A35E4}" dt="2023-02-01T21:25:17.145" v="81467"/>
          <ac:graphicFrameMkLst>
            <pc:docMk/>
            <pc:sldMk cId="1589772229" sldId="2134804370"/>
            <ac:graphicFrameMk id="811" creationId="{9F72C904-7B61-3625-B384-6935161269EA}"/>
          </ac:graphicFrameMkLst>
        </pc:graphicFrameChg>
        <pc:graphicFrameChg chg="add del mod ord replST">
          <ac:chgData name="Wenwen Zhang" userId="9dd81366-5d6f-445a-b031-6ea562624431" providerId="ADAL" clId="{D6FBF965-026B-43DA-A554-C6861A0A35E4}" dt="2023-02-01T21:25:17.789" v="81616"/>
          <ac:graphicFrameMkLst>
            <pc:docMk/>
            <pc:sldMk cId="1589772229" sldId="2134804370"/>
            <ac:graphicFrameMk id="813" creationId="{5978293E-80F9-C7BB-F50A-30049AF1B3EB}"/>
          </ac:graphicFrameMkLst>
        </pc:graphicFrameChg>
        <pc:graphicFrameChg chg="add del mod ord replST">
          <ac:chgData name="Wenwen Zhang" userId="9dd81366-5d6f-445a-b031-6ea562624431" providerId="ADAL" clId="{D6FBF965-026B-43DA-A554-C6861A0A35E4}" dt="2023-02-01T21:25:19.427" v="81766"/>
          <ac:graphicFrameMkLst>
            <pc:docMk/>
            <pc:sldMk cId="1589772229" sldId="2134804370"/>
            <ac:graphicFrameMk id="815" creationId="{F2BF3D04-6419-2CC8-61B5-3A3227EB0113}"/>
          </ac:graphicFrameMkLst>
        </pc:graphicFrameChg>
        <pc:graphicFrameChg chg="add del mod ord replST">
          <ac:chgData name="Wenwen Zhang" userId="9dd81366-5d6f-445a-b031-6ea562624431" providerId="ADAL" clId="{D6FBF965-026B-43DA-A554-C6861A0A35E4}" dt="2023-02-01T21:25:21.246" v="81914"/>
          <ac:graphicFrameMkLst>
            <pc:docMk/>
            <pc:sldMk cId="1589772229" sldId="2134804370"/>
            <ac:graphicFrameMk id="817" creationId="{7C1E121E-8EE8-5695-41AA-5C8FA3D952DE}"/>
          </ac:graphicFrameMkLst>
        </pc:graphicFrameChg>
        <pc:graphicFrameChg chg="add del mod ord replST">
          <ac:chgData name="Wenwen Zhang" userId="9dd81366-5d6f-445a-b031-6ea562624431" providerId="ADAL" clId="{D6FBF965-026B-43DA-A554-C6861A0A35E4}" dt="2023-02-01T21:25:22.766" v="82057"/>
          <ac:graphicFrameMkLst>
            <pc:docMk/>
            <pc:sldMk cId="1589772229" sldId="2134804370"/>
            <ac:graphicFrameMk id="819" creationId="{733F8566-64BA-BB44-4613-C45A807ED00E}"/>
          </ac:graphicFrameMkLst>
        </pc:graphicFrameChg>
        <pc:graphicFrameChg chg="add del mod ord replST">
          <ac:chgData name="Wenwen Zhang" userId="9dd81366-5d6f-445a-b031-6ea562624431" providerId="ADAL" clId="{D6FBF965-026B-43DA-A554-C6861A0A35E4}" dt="2023-02-01T21:25:24.840" v="82195"/>
          <ac:graphicFrameMkLst>
            <pc:docMk/>
            <pc:sldMk cId="1589772229" sldId="2134804370"/>
            <ac:graphicFrameMk id="821" creationId="{24AF0A84-E7CB-6624-31C4-3E3B8E188F49}"/>
          </ac:graphicFrameMkLst>
        </pc:graphicFrameChg>
        <pc:graphicFrameChg chg="add del mod ord replST">
          <ac:chgData name="Wenwen Zhang" userId="9dd81366-5d6f-445a-b031-6ea562624431" providerId="ADAL" clId="{D6FBF965-026B-43DA-A554-C6861A0A35E4}" dt="2023-02-01T21:25:26.890" v="82334"/>
          <ac:graphicFrameMkLst>
            <pc:docMk/>
            <pc:sldMk cId="1589772229" sldId="2134804370"/>
            <ac:graphicFrameMk id="823" creationId="{C60ED984-D87C-38D9-E9DA-4D8008134F64}"/>
          </ac:graphicFrameMkLst>
        </pc:graphicFrameChg>
        <pc:graphicFrameChg chg="add del mod ord replST">
          <ac:chgData name="Wenwen Zhang" userId="9dd81366-5d6f-445a-b031-6ea562624431" providerId="ADAL" clId="{D6FBF965-026B-43DA-A554-C6861A0A35E4}" dt="2023-02-01T21:25:28.229" v="82471"/>
          <ac:graphicFrameMkLst>
            <pc:docMk/>
            <pc:sldMk cId="1589772229" sldId="2134804370"/>
            <ac:graphicFrameMk id="825" creationId="{1BC9510A-9574-D446-AC76-30495F8E5F84}"/>
          </ac:graphicFrameMkLst>
        </pc:graphicFrameChg>
        <pc:graphicFrameChg chg="add del mod ord replST">
          <ac:chgData name="Wenwen Zhang" userId="9dd81366-5d6f-445a-b031-6ea562624431" providerId="ADAL" clId="{D6FBF965-026B-43DA-A554-C6861A0A35E4}" dt="2023-02-01T21:25:29.743" v="82603"/>
          <ac:graphicFrameMkLst>
            <pc:docMk/>
            <pc:sldMk cId="1589772229" sldId="2134804370"/>
            <ac:graphicFrameMk id="827" creationId="{0AC93D8F-738E-BDB3-8F0F-5BA954BDF4EF}"/>
          </ac:graphicFrameMkLst>
        </pc:graphicFrameChg>
        <pc:graphicFrameChg chg="add del mod ord replST">
          <ac:chgData name="Wenwen Zhang" userId="9dd81366-5d6f-445a-b031-6ea562624431" providerId="ADAL" clId="{D6FBF965-026B-43DA-A554-C6861A0A35E4}" dt="2023-02-01T21:25:32.440" v="82736"/>
          <ac:graphicFrameMkLst>
            <pc:docMk/>
            <pc:sldMk cId="1589772229" sldId="2134804370"/>
            <ac:graphicFrameMk id="829" creationId="{FBB795D1-836F-145F-FF6D-8A31FD750F21}"/>
          </ac:graphicFrameMkLst>
        </pc:graphicFrameChg>
        <pc:graphicFrameChg chg="add del mod ord replST">
          <ac:chgData name="Wenwen Zhang" userId="9dd81366-5d6f-445a-b031-6ea562624431" providerId="ADAL" clId="{D6FBF965-026B-43DA-A554-C6861A0A35E4}" dt="2023-02-01T21:25:33.690" v="82867"/>
          <ac:graphicFrameMkLst>
            <pc:docMk/>
            <pc:sldMk cId="1589772229" sldId="2134804370"/>
            <ac:graphicFrameMk id="831" creationId="{2B0865D3-8F10-5591-0A48-3D1197313891}"/>
          </ac:graphicFrameMkLst>
        </pc:graphicFrameChg>
        <pc:graphicFrameChg chg="add del mod ord replST">
          <ac:chgData name="Wenwen Zhang" userId="9dd81366-5d6f-445a-b031-6ea562624431" providerId="ADAL" clId="{D6FBF965-026B-43DA-A554-C6861A0A35E4}" dt="2023-02-01T21:25:33.802" v="82995"/>
          <ac:graphicFrameMkLst>
            <pc:docMk/>
            <pc:sldMk cId="1589772229" sldId="2134804370"/>
            <ac:graphicFrameMk id="833" creationId="{EEFDD087-0B4B-D490-452C-E7ECC7BD7880}"/>
          </ac:graphicFrameMkLst>
        </pc:graphicFrameChg>
        <pc:graphicFrameChg chg="add del mod ord replST">
          <ac:chgData name="Wenwen Zhang" userId="9dd81366-5d6f-445a-b031-6ea562624431" providerId="ADAL" clId="{D6FBF965-026B-43DA-A554-C6861A0A35E4}" dt="2023-02-01T21:25:35.785" v="83124"/>
          <ac:graphicFrameMkLst>
            <pc:docMk/>
            <pc:sldMk cId="1589772229" sldId="2134804370"/>
            <ac:graphicFrameMk id="835" creationId="{3A18C510-842E-564D-23F3-7260D5BBB292}"/>
          </ac:graphicFrameMkLst>
        </pc:graphicFrameChg>
        <pc:graphicFrameChg chg="add del mod ord replST">
          <ac:chgData name="Wenwen Zhang" userId="9dd81366-5d6f-445a-b031-6ea562624431" providerId="ADAL" clId="{D6FBF965-026B-43DA-A554-C6861A0A35E4}" dt="2023-02-01T21:25:37.381" v="83254"/>
          <ac:graphicFrameMkLst>
            <pc:docMk/>
            <pc:sldMk cId="1589772229" sldId="2134804370"/>
            <ac:graphicFrameMk id="837" creationId="{B20D7997-9A74-8823-70CE-D2607AC64E54}"/>
          </ac:graphicFrameMkLst>
        </pc:graphicFrameChg>
        <pc:graphicFrameChg chg="add del mod ord replST">
          <ac:chgData name="Wenwen Zhang" userId="9dd81366-5d6f-445a-b031-6ea562624431" providerId="ADAL" clId="{D6FBF965-026B-43DA-A554-C6861A0A35E4}" dt="2023-02-01T21:25:38.541" v="83379"/>
          <ac:graphicFrameMkLst>
            <pc:docMk/>
            <pc:sldMk cId="1589772229" sldId="2134804370"/>
            <ac:graphicFrameMk id="839" creationId="{FA604AE0-2286-2BF9-C4B7-7CC8056D8492}"/>
          </ac:graphicFrameMkLst>
        </pc:graphicFrameChg>
        <pc:graphicFrameChg chg="add del mod ord replST">
          <ac:chgData name="Wenwen Zhang" userId="9dd81366-5d6f-445a-b031-6ea562624431" providerId="ADAL" clId="{D6FBF965-026B-43DA-A554-C6861A0A35E4}" dt="2023-02-01T21:25:40.199" v="83504"/>
          <ac:graphicFrameMkLst>
            <pc:docMk/>
            <pc:sldMk cId="1589772229" sldId="2134804370"/>
            <ac:graphicFrameMk id="841" creationId="{ADA247CC-565F-571E-8EE9-036A335F94FA}"/>
          </ac:graphicFrameMkLst>
        </pc:graphicFrameChg>
        <pc:graphicFrameChg chg="add del mod ord replST">
          <ac:chgData name="Wenwen Zhang" userId="9dd81366-5d6f-445a-b031-6ea562624431" providerId="ADAL" clId="{D6FBF965-026B-43DA-A554-C6861A0A35E4}" dt="2023-02-01T21:25:41.251" v="83627"/>
          <ac:graphicFrameMkLst>
            <pc:docMk/>
            <pc:sldMk cId="1589772229" sldId="2134804370"/>
            <ac:graphicFrameMk id="843" creationId="{EFC3A80E-34A1-DB5E-B0AC-7E8E3604A7B4}"/>
          </ac:graphicFrameMkLst>
        </pc:graphicFrameChg>
        <pc:graphicFrameChg chg="add del mod ord replST">
          <ac:chgData name="Wenwen Zhang" userId="9dd81366-5d6f-445a-b031-6ea562624431" providerId="ADAL" clId="{D6FBF965-026B-43DA-A554-C6861A0A35E4}" dt="2023-02-01T21:25:41.979" v="83750"/>
          <ac:graphicFrameMkLst>
            <pc:docMk/>
            <pc:sldMk cId="1589772229" sldId="2134804370"/>
            <ac:graphicFrameMk id="845" creationId="{A2647D26-5140-D9C1-11AE-14FFC8D4A781}"/>
          </ac:graphicFrameMkLst>
        </pc:graphicFrameChg>
        <pc:graphicFrameChg chg="add del mod ord replST">
          <ac:chgData name="Wenwen Zhang" userId="9dd81366-5d6f-445a-b031-6ea562624431" providerId="ADAL" clId="{D6FBF965-026B-43DA-A554-C6861A0A35E4}" dt="2023-02-01T21:25:42.925" v="83871"/>
          <ac:graphicFrameMkLst>
            <pc:docMk/>
            <pc:sldMk cId="1589772229" sldId="2134804370"/>
            <ac:graphicFrameMk id="847" creationId="{940E8886-88FD-9237-17CE-D9A4555DF4B3}"/>
          </ac:graphicFrameMkLst>
        </pc:graphicFrameChg>
        <pc:graphicFrameChg chg="add del mod ord replST">
          <ac:chgData name="Wenwen Zhang" userId="9dd81366-5d6f-445a-b031-6ea562624431" providerId="ADAL" clId="{D6FBF965-026B-43DA-A554-C6861A0A35E4}" dt="2023-02-01T21:26:38.595" v="84215"/>
          <ac:graphicFrameMkLst>
            <pc:docMk/>
            <pc:sldMk cId="1589772229" sldId="2134804370"/>
            <ac:graphicFrameMk id="849" creationId="{B4D792CA-4FC0-6795-56F1-CC006E0123D7}"/>
          </ac:graphicFrameMkLst>
        </pc:graphicFrameChg>
        <pc:graphicFrameChg chg="add del mod ord replST">
          <ac:chgData name="Wenwen Zhang" userId="9dd81366-5d6f-445a-b031-6ea562624431" providerId="ADAL" clId="{D6FBF965-026B-43DA-A554-C6861A0A35E4}" dt="2023-02-01T21:26:42.656" v="84361"/>
          <ac:graphicFrameMkLst>
            <pc:docMk/>
            <pc:sldMk cId="1589772229" sldId="2134804370"/>
            <ac:graphicFrameMk id="851" creationId="{7833A89F-F6E3-2BC0-6740-1968A3D8CA89}"/>
          </ac:graphicFrameMkLst>
        </pc:graphicFrameChg>
        <pc:graphicFrameChg chg="add del mod ord replST">
          <ac:chgData name="Wenwen Zhang" userId="9dd81366-5d6f-445a-b031-6ea562624431" providerId="ADAL" clId="{D6FBF965-026B-43DA-A554-C6861A0A35E4}" dt="2023-02-01T21:26:46.030" v="84595"/>
          <ac:graphicFrameMkLst>
            <pc:docMk/>
            <pc:sldMk cId="1589772229" sldId="2134804370"/>
            <ac:graphicFrameMk id="853" creationId="{8FABB510-A5CB-03F7-7BF4-DE6CA7884FE6}"/>
          </ac:graphicFrameMkLst>
        </pc:graphicFrameChg>
        <pc:graphicFrameChg chg="add del mod ord replST">
          <ac:chgData name="Wenwen Zhang" userId="9dd81366-5d6f-445a-b031-6ea562624431" providerId="ADAL" clId="{D6FBF965-026B-43DA-A554-C6861A0A35E4}" dt="2023-02-01T21:26:48.342" v="84743"/>
          <ac:graphicFrameMkLst>
            <pc:docMk/>
            <pc:sldMk cId="1589772229" sldId="2134804370"/>
            <ac:graphicFrameMk id="856" creationId="{D7FB2CDE-2FA2-328B-6FDB-A305FBC8B94B}"/>
          </ac:graphicFrameMkLst>
        </pc:graphicFrameChg>
        <pc:graphicFrameChg chg="add del mod ord replST">
          <ac:chgData name="Wenwen Zhang" userId="9dd81366-5d6f-445a-b031-6ea562624431" providerId="ADAL" clId="{D6FBF965-026B-43DA-A554-C6861A0A35E4}" dt="2023-02-01T21:28:40.029" v="85628"/>
          <ac:graphicFrameMkLst>
            <pc:docMk/>
            <pc:sldMk cId="1589772229" sldId="2134804370"/>
            <ac:graphicFrameMk id="858" creationId="{9EEE6927-30EF-E4EF-EE4C-8E85B5FB4CD4}"/>
          </ac:graphicFrameMkLst>
        </pc:graphicFrameChg>
        <pc:graphicFrameChg chg="add del mod ord replST">
          <ac:chgData name="Wenwen Zhang" userId="9dd81366-5d6f-445a-b031-6ea562624431" providerId="ADAL" clId="{D6FBF965-026B-43DA-A554-C6861A0A35E4}" dt="2023-02-01T21:29:03.039" v="85912"/>
          <ac:graphicFrameMkLst>
            <pc:docMk/>
            <pc:sldMk cId="1589772229" sldId="2134804370"/>
            <ac:graphicFrameMk id="861" creationId="{C93401A8-7AB8-F1C7-F2FC-6C23CD9D6A42}"/>
          </ac:graphicFrameMkLst>
        </pc:graphicFrameChg>
        <pc:graphicFrameChg chg="add del mod ord replST">
          <ac:chgData name="Wenwen Zhang" userId="9dd81366-5d6f-445a-b031-6ea562624431" providerId="ADAL" clId="{D6FBF965-026B-43DA-A554-C6861A0A35E4}" dt="2023-02-01T21:29:15.800" v="86072"/>
          <ac:graphicFrameMkLst>
            <pc:docMk/>
            <pc:sldMk cId="1589772229" sldId="2134804370"/>
            <ac:graphicFrameMk id="863" creationId="{9AECF44A-26C6-0620-5AAC-35DCC2CED1E5}"/>
          </ac:graphicFrameMkLst>
        </pc:graphicFrameChg>
        <pc:graphicFrameChg chg="add del mod ord replST">
          <ac:chgData name="Wenwen Zhang" userId="9dd81366-5d6f-445a-b031-6ea562624431" providerId="ADAL" clId="{D6FBF965-026B-43DA-A554-C6861A0A35E4}" dt="2023-02-01T21:29:25.609" v="86234"/>
          <ac:graphicFrameMkLst>
            <pc:docMk/>
            <pc:sldMk cId="1589772229" sldId="2134804370"/>
            <ac:graphicFrameMk id="865" creationId="{6DB2C891-4248-68FC-56B7-58A80562D87B}"/>
          </ac:graphicFrameMkLst>
        </pc:graphicFrameChg>
        <pc:graphicFrameChg chg="add del mod ord replST">
          <ac:chgData name="Wenwen Zhang" userId="9dd81366-5d6f-445a-b031-6ea562624431" providerId="ADAL" clId="{D6FBF965-026B-43DA-A554-C6861A0A35E4}" dt="2023-02-01T21:29:48.491" v="86540"/>
          <ac:graphicFrameMkLst>
            <pc:docMk/>
            <pc:sldMk cId="1589772229" sldId="2134804370"/>
            <ac:graphicFrameMk id="867" creationId="{950753C4-B58B-2A8A-BE41-C868972410E1}"/>
          </ac:graphicFrameMkLst>
        </pc:graphicFrameChg>
        <pc:graphicFrameChg chg="add del mod ord replST">
          <ac:chgData name="Wenwen Zhang" userId="9dd81366-5d6f-445a-b031-6ea562624431" providerId="ADAL" clId="{D6FBF965-026B-43DA-A554-C6861A0A35E4}" dt="2023-02-01T22:26:32.527" v="103118"/>
          <ac:graphicFrameMkLst>
            <pc:docMk/>
            <pc:sldMk cId="1589772229" sldId="2134804370"/>
            <ac:graphicFrameMk id="869" creationId="{D9976B26-58D7-3E5C-8C83-2AD5B0063C6A}"/>
          </ac:graphicFrameMkLst>
        </pc:graphicFrameChg>
        <pc:graphicFrameChg chg="add del mod ord replST">
          <ac:chgData name="Wenwen Zhang" userId="9dd81366-5d6f-445a-b031-6ea562624431" providerId="ADAL" clId="{D6FBF965-026B-43DA-A554-C6861A0A35E4}" dt="2023-02-01T22:26:39.070" v="103232"/>
          <ac:graphicFrameMkLst>
            <pc:docMk/>
            <pc:sldMk cId="1589772229" sldId="2134804370"/>
            <ac:graphicFrameMk id="871" creationId="{4A1B7F35-8118-954B-418B-2699189D0078}"/>
          </ac:graphicFrameMkLst>
        </pc:graphicFrameChg>
        <pc:graphicFrameChg chg="add del mod ord replST">
          <ac:chgData name="Wenwen Zhang" userId="9dd81366-5d6f-445a-b031-6ea562624431" providerId="ADAL" clId="{D6FBF965-026B-43DA-A554-C6861A0A35E4}" dt="2023-02-02T10:05:46.137" v="108228"/>
          <ac:graphicFrameMkLst>
            <pc:docMk/>
            <pc:sldMk cId="1589772229" sldId="2134804370"/>
            <ac:graphicFrameMk id="873" creationId="{E037CE22-DBDF-EF26-4D40-FF40013253F6}"/>
          </ac:graphicFrameMkLst>
        </pc:graphicFrameChg>
        <pc:cxnChg chg="add del mod ord replST">
          <ac:chgData name="Wenwen Zhang" userId="9dd81366-5d6f-445a-b031-6ea562624431" providerId="ADAL" clId="{D6FBF965-026B-43DA-A554-C6861A0A35E4}" dt="2023-02-01T18:59:49.989" v="25596"/>
          <ac:cxnSpMkLst>
            <pc:docMk/>
            <pc:sldMk cId="1589772229" sldId="2134804370"/>
            <ac:cxnSpMk id="37" creationId="{99D1B097-1C1C-BDB9-0B16-5C70DEE5F70E}"/>
          </ac:cxnSpMkLst>
        </pc:cxnChg>
        <pc:cxnChg chg="add del mod ord replST">
          <ac:chgData name="Wenwen Zhang" userId="9dd81366-5d6f-445a-b031-6ea562624431" providerId="ADAL" clId="{D6FBF965-026B-43DA-A554-C6861A0A35E4}" dt="2023-02-01T18:59:49.998" v="25598"/>
          <ac:cxnSpMkLst>
            <pc:docMk/>
            <pc:sldMk cId="1589772229" sldId="2134804370"/>
            <ac:cxnSpMk id="38" creationId="{0BF4E5FC-6E61-FEBA-4EA5-777CF149D5BD}"/>
          </ac:cxnSpMkLst>
        </pc:cxnChg>
        <pc:cxnChg chg="add del mod ord replST">
          <ac:chgData name="Wenwen Zhang" userId="9dd81366-5d6f-445a-b031-6ea562624431" providerId="ADAL" clId="{D6FBF965-026B-43DA-A554-C6861A0A35E4}" dt="2023-02-01T18:59:49.998" v="25600"/>
          <ac:cxnSpMkLst>
            <pc:docMk/>
            <pc:sldMk cId="1589772229" sldId="2134804370"/>
            <ac:cxnSpMk id="39" creationId="{E6B47503-FC52-932E-640A-AE6AF1C4305D}"/>
          </ac:cxnSpMkLst>
        </pc:cxnChg>
        <pc:cxnChg chg="add del mod ord replST">
          <ac:chgData name="Wenwen Zhang" userId="9dd81366-5d6f-445a-b031-6ea562624431" providerId="ADAL" clId="{D6FBF965-026B-43DA-A554-C6861A0A35E4}" dt="2023-02-01T18:59:49.998" v="25602"/>
          <ac:cxnSpMkLst>
            <pc:docMk/>
            <pc:sldMk cId="1589772229" sldId="2134804370"/>
            <ac:cxnSpMk id="40" creationId="{B31A9E7D-5B18-31A2-3CE8-F203129869AC}"/>
          </ac:cxnSpMkLst>
        </pc:cxnChg>
        <pc:cxnChg chg="add del mod ord replST">
          <ac:chgData name="Wenwen Zhang" userId="9dd81366-5d6f-445a-b031-6ea562624431" providerId="ADAL" clId="{D6FBF965-026B-43DA-A554-C6861A0A35E4}" dt="2023-02-01T18:59:49.998" v="25604"/>
          <ac:cxnSpMkLst>
            <pc:docMk/>
            <pc:sldMk cId="1589772229" sldId="2134804370"/>
            <ac:cxnSpMk id="41" creationId="{8BD94757-73DB-F5BB-E908-277F842FC015}"/>
          </ac:cxnSpMkLst>
        </pc:cxnChg>
        <pc:cxnChg chg="add del mod ord replST">
          <ac:chgData name="Wenwen Zhang" userId="9dd81366-5d6f-445a-b031-6ea562624431" providerId="ADAL" clId="{D6FBF965-026B-43DA-A554-C6861A0A35E4}" dt="2023-02-01T18:59:49.998" v="25606"/>
          <ac:cxnSpMkLst>
            <pc:docMk/>
            <pc:sldMk cId="1589772229" sldId="2134804370"/>
            <ac:cxnSpMk id="42" creationId="{650F6C9E-67FA-DCA2-1BFF-48A758548435}"/>
          </ac:cxnSpMkLst>
        </pc:cxnChg>
        <pc:cxnChg chg="add mod ord replST">
          <ac:chgData name="Wenwen Zhang" userId="9dd81366-5d6f-445a-b031-6ea562624431" providerId="ADAL" clId="{D6FBF965-026B-43DA-A554-C6861A0A35E4}" dt="2023-02-02T12:02:04.322" v="133033"/>
          <ac:cxnSpMkLst>
            <pc:docMk/>
            <pc:sldMk cId="1589772229" sldId="2134804370"/>
            <ac:cxnSpMk id="53" creationId="{C5403623-851C-6292-2BE3-DC334D515CBE}"/>
          </ac:cxnSpMkLst>
        </pc:cxnChg>
        <pc:cxnChg chg="add del mod ord replST delST">
          <ac:chgData name="Wenwen Zhang" userId="9dd81366-5d6f-445a-b031-6ea562624431" providerId="ADAL" clId="{D6FBF965-026B-43DA-A554-C6861A0A35E4}" dt="2023-02-01T19:00:53.241" v="27861"/>
          <ac:cxnSpMkLst>
            <pc:docMk/>
            <pc:sldMk cId="1589772229" sldId="2134804370"/>
            <ac:cxnSpMk id="58" creationId="{C6C146EC-69F5-1126-E0FB-F055FEC55DD7}"/>
          </ac:cxnSpMkLst>
        </pc:cxnChg>
        <pc:cxnChg chg="add del mod ord replST delST">
          <ac:chgData name="Wenwen Zhang" userId="9dd81366-5d6f-445a-b031-6ea562624431" providerId="ADAL" clId="{D6FBF965-026B-43DA-A554-C6861A0A35E4}" dt="2023-02-01T19:00:53.241" v="27861"/>
          <ac:cxnSpMkLst>
            <pc:docMk/>
            <pc:sldMk cId="1589772229" sldId="2134804370"/>
            <ac:cxnSpMk id="59" creationId="{E83952FB-36D3-E9D5-47D7-CCAC7007FA90}"/>
          </ac:cxnSpMkLst>
        </pc:cxnChg>
        <pc:cxnChg chg="add del mod ord replST delST">
          <ac:chgData name="Wenwen Zhang" userId="9dd81366-5d6f-445a-b031-6ea562624431" providerId="ADAL" clId="{D6FBF965-026B-43DA-A554-C6861A0A35E4}" dt="2023-02-01T19:00:53.241" v="27861"/>
          <ac:cxnSpMkLst>
            <pc:docMk/>
            <pc:sldMk cId="1589772229" sldId="2134804370"/>
            <ac:cxnSpMk id="60" creationId="{A7AE5225-B2F0-84A9-1B68-1AF5CF67D961}"/>
          </ac:cxnSpMkLst>
        </pc:cxnChg>
        <pc:cxnChg chg="add del mod ord replST delST">
          <ac:chgData name="Wenwen Zhang" userId="9dd81366-5d6f-445a-b031-6ea562624431" providerId="ADAL" clId="{D6FBF965-026B-43DA-A554-C6861A0A35E4}" dt="2023-02-01T19:00:53.241" v="27861"/>
          <ac:cxnSpMkLst>
            <pc:docMk/>
            <pc:sldMk cId="1589772229" sldId="2134804370"/>
            <ac:cxnSpMk id="61" creationId="{B175E5D6-F17C-BCBD-549E-850A85D4783A}"/>
          </ac:cxnSpMkLst>
        </pc:cxnChg>
        <pc:cxnChg chg="add del mod ord replST delST">
          <ac:chgData name="Wenwen Zhang" userId="9dd81366-5d6f-445a-b031-6ea562624431" providerId="ADAL" clId="{D6FBF965-026B-43DA-A554-C6861A0A35E4}" dt="2023-02-01T19:00:53.241" v="27861"/>
          <ac:cxnSpMkLst>
            <pc:docMk/>
            <pc:sldMk cId="1589772229" sldId="2134804370"/>
            <ac:cxnSpMk id="62" creationId="{6355C8DA-A057-5700-2626-9BE9394F5C3A}"/>
          </ac:cxnSpMkLst>
        </pc:cxnChg>
        <pc:cxnChg chg="add del mod ord replST delST">
          <ac:chgData name="Wenwen Zhang" userId="9dd81366-5d6f-445a-b031-6ea562624431" providerId="ADAL" clId="{D6FBF965-026B-43DA-A554-C6861A0A35E4}" dt="2023-02-01T19:00:53.241" v="27861"/>
          <ac:cxnSpMkLst>
            <pc:docMk/>
            <pc:sldMk cId="1589772229" sldId="2134804370"/>
            <ac:cxnSpMk id="63" creationId="{17B72482-4FEB-AE0D-A08B-B6D092A38950}"/>
          </ac:cxnSpMkLst>
        </pc:cxnChg>
        <pc:cxnChg chg="add del mod ord replST">
          <ac:chgData name="Wenwen Zhang" userId="9dd81366-5d6f-445a-b031-6ea562624431" providerId="ADAL" clId="{D6FBF965-026B-43DA-A554-C6861A0A35E4}" dt="2023-02-01T21:24:06.242" v="73922"/>
          <ac:cxnSpMkLst>
            <pc:docMk/>
            <pc:sldMk cId="1589772229" sldId="2134804370"/>
            <ac:cxnSpMk id="320" creationId="{22956A12-2739-8DE8-2F62-9B6BD626E45A}"/>
          </ac:cxnSpMkLst>
        </pc:cxnChg>
        <pc:cxnChg chg="add del mod ord replST">
          <ac:chgData name="Wenwen Zhang" userId="9dd81366-5d6f-445a-b031-6ea562624431" providerId="ADAL" clId="{D6FBF965-026B-43DA-A554-C6861A0A35E4}" dt="2023-02-01T21:24:06.241" v="73919"/>
          <ac:cxnSpMkLst>
            <pc:docMk/>
            <pc:sldMk cId="1589772229" sldId="2134804370"/>
            <ac:cxnSpMk id="321" creationId="{B90175B7-FE33-5284-B1E4-117D799B4BB1}"/>
          </ac:cxnSpMkLst>
        </pc:cxnChg>
        <pc:cxnChg chg="add del mod ord replST">
          <ac:chgData name="Wenwen Zhang" userId="9dd81366-5d6f-445a-b031-6ea562624431" providerId="ADAL" clId="{D6FBF965-026B-43DA-A554-C6861A0A35E4}" dt="2023-02-01T21:24:06.241" v="73916"/>
          <ac:cxnSpMkLst>
            <pc:docMk/>
            <pc:sldMk cId="1589772229" sldId="2134804370"/>
            <ac:cxnSpMk id="322" creationId="{1C9C4474-6AB6-39D5-76E5-FEDD100FA403}"/>
          </ac:cxnSpMkLst>
        </pc:cxnChg>
        <pc:cxnChg chg="add del mod ord replST">
          <ac:chgData name="Wenwen Zhang" userId="9dd81366-5d6f-445a-b031-6ea562624431" providerId="ADAL" clId="{D6FBF965-026B-43DA-A554-C6861A0A35E4}" dt="2023-02-01T21:24:06.240" v="73913"/>
          <ac:cxnSpMkLst>
            <pc:docMk/>
            <pc:sldMk cId="1589772229" sldId="2134804370"/>
            <ac:cxnSpMk id="323" creationId="{CA495608-9DBB-A832-2930-D8A798C8968E}"/>
          </ac:cxnSpMkLst>
        </pc:cxnChg>
        <pc:cxnChg chg="add del mod ord replST">
          <ac:chgData name="Wenwen Zhang" userId="9dd81366-5d6f-445a-b031-6ea562624431" providerId="ADAL" clId="{D6FBF965-026B-43DA-A554-C6861A0A35E4}" dt="2023-02-01T21:24:06.239" v="73910"/>
          <ac:cxnSpMkLst>
            <pc:docMk/>
            <pc:sldMk cId="1589772229" sldId="2134804370"/>
            <ac:cxnSpMk id="324" creationId="{E4FD7841-D212-9088-D630-6E6A8622347D}"/>
          </ac:cxnSpMkLst>
        </pc:cxnChg>
        <pc:cxnChg chg="add del mod ord replST">
          <ac:chgData name="Wenwen Zhang" userId="9dd81366-5d6f-445a-b031-6ea562624431" providerId="ADAL" clId="{D6FBF965-026B-43DA-A554-C6861A0A35E4}" dt="2023-02-01T21:24:06.239" v="73907"/>
          <ac:cxnSpMkLst>
            <pc:docMk/>
            <pc:sldMk cId="1589772229" sldId="2134804370"/>
            <ac:cxnSpMk id="325" creationId="{4EB2D36C-50B1-9175-07DA-36DF76DC4F8F}"/>
          </ac:cxnSpMkLst>
        </pc:cxnChg>
        <pc:cxnChg chg="add del mod ord replST">
          <ac:chgData name="Wenwen Zhang" userId="9dd81366-5d6f-445a-b031-6ea562624431" providerId="ADAL" clId="{D6FBF965-026B-43DA-A554-C6861A0A35E4}" dt="2023-02-01T21:24:06.238" v="73904"/>
          <ac:cxnSpMkLst>
            <pc:docMk/>
            <pc:sldMk cId="1589772229" sldId="2134804370"/>
            <ac:cxnSpMk id="326" creationId="{4F7148C6-C8EA-EC40-3484-DF908B560C7C}"/>
          </ac:cxnSpMkLst>
        </pc:cxnChg>
        <pc:cxnChg chg="add del mod ord replST">
          <ac:chgData name="Wenwen Zhang" userId="9dd81366-5d6f-445a-b031-6ea562624431" providerId="ADAL" clId="{D6FBF965-026B-43DA-A554-C6861A0A35E4}" dt="2023-02-01T21:24:06.237" v="73901"/>
          <ac:cxnSpMkLst>
            <pc:docMk/>
            <pc:sldMk cId="1589772229" sldId="2134804370"/>
            <ac:cxnSpMk id="327" creationId="{1C256074-8140-3BF2-935A-2FEE108955BF}"/>
          </ac:cxnSpMkLst>
        </pc:cxnChg>
        <pc:cxnChg chg="add del mod ord replST">
          <ac:chgData name="Wenwen Zhang" userId="9dd81366-5d6f-445a-b031-6ea562624431" providerId="ADAL" clId="{D6FBF965-026B-43DA-A554-C6861A0A35E4}" dt="2023-02-01T21:24:06.237" v="73898"/>
          <ac:cxnSpMkLst>
            <pc:docMk/>
            <pc:sldMk cId="1589772229" sldId="2134804370"/>
            <ac:cxnSpMk id="328" creationId="{E6744EC0-7746-003E-B101-B01509F947FC}"/>
          </ac:cxnSpMkLst>
        </pc:cxnChg>
        <pc:cxnChg chg="add del mod ord replST">
          <ac:chgData name="Wenwen Zhang" userId="9dd81366-5d6f-445a-b031-6ea562624431" providerId="ADAL" clId="{D6FBF965-026B-43DA-A554-C6861A0A35E4}" dt="2023-02-01T21:24:06.236" v="73895"/>
          <ac:cxnSpMkLst>
            <pc:docMk/>
            <pc:sldMk cId="1589772229" sldId="2134804370"/>
            <ac:cxnSpMk id="329" creationId="{790D0086-2111-F92C-A576-1420C1069380}"/>
          </ac:cxnSpMkLst>
        </pc:cxnChg>
        <pc:cxnChg chg="add del mod ord replST">
          <ac:chgData name="Wenwen Zhang" userId="9dd81366-5d6f-445a-b031-6ea562624431" providerId="ADAL" clId="{D6FBF965-026B-43DA-A554-C6861A0A35E4}" dt="2023-02-01T21:24:06.235" v="73892"/>
          <ac:cxnSpMkLst>
            <pc:docMk/>
            <pc:sldMk cId="1589772229" sldId="2134804370"/>
            <ac:cxnSpMk id="330" creationId="{5C7F5719-B29A-4916-2031-983230F8E4CF}"/>
          </ac:cxnSpMkLst>
        </pc:cxnChg>
        <pc:cxnChg chg="add del mod ord replST">
          <ac:chgData name="Wenwen Zhang" userId="9dd81366-5d6f-445a-b031-6ea562624431" providerId="ADAL" clId="{D6FBF965-026B-43DA-A554-C6861A0A35E4}" dt="2023-02-01T21:24:06.234" v="73889"/>
          <ac:cxnSpMkLst>
            <pc:docMk/>
            <pc:sldMk cId="1589772229" sldId="2134804370"/>
            <ac:cxnSpMk id="331" creationId="{436A6C4E-9CD0-C3EB-4898-C28E2FF70DC7}"/>
          </ac:cxnSpMkLst>
        </pc:cxnChg>
        <pc:cxnChg chg="add del mod ord replST">
          <ac:chgData name="Wenwen Zhang" userId="9dd81366-5d6f-445a-b031-6ea562624431" providerId="ADAL" clId="{D6FBF965-026B-43DA-A554-C6861A0A35E4}" dt="2023-02-01T21:24:06.234" v="73886"/>
          <ac:cxnSpMkLst>
            <pc:docMk/>
            <pc:sldMk cId="1589772229" sldId="2134804370"/>
            <ac:cxnSpMk id="332" creationId="{994BE22E-FF6D-8B59-F83F-49F11735E543}"/>
          </ac:cxnSpMkLst>
        </pc:cxnChg>
        <pc:cxnChg chg="add del mod ord replST">
          <ac:chgData name="Wenwen Zhang" userId="9dd81366-5d6f-445a-b031-6ea562624431" providerId="ADAL" clId="{D6FBF965-026B-43DA-A554-C6861A0A35E4}" dt="2023-02-01T21:24:06.233" v="73883"/>
          <ac:cxnSpMkLst>
            <pc:docMk/>
            <pc:sldMk cId="1589772229" sldId="2134804370"/>
            <ac:cxnSpMk id="333" creationId="{8355FC85-1368-1915-BE85-EDE5B2066B64}"/>
          </ac:cxnSpMkLst>
        </pc:cxnChg>
        <pc:cxnChg chg="add del mod ord replST">
          <ac:chgData name="Wenwen Zhang" userId="9dd81366-5d6f-445a-b031-6ea562624431" providerId="ADAL" clId="{D6FBF965-026B-43DA-A554-C6861A0A35E4}" dt="2023-02-01T21:24:06.233" v="73880"/>
          <ac:cxnSpMkLst>
            <pc:docMk/>
            <pc:sldMk cId="1589772229" sldId="2134804370"/>
            <ac:cxnSpMk id="334" creationId="{5A421857-6C33-7FBC-4DB0-C86739C5149C}"/>
          </ac:cxnSpMkLst>
        </pc:cxnChg>
        <pc:cxnChg chg="add del mod ord replST">
          <ac:chgData name="Wenwen Zhang" userId="9dd81366-5d6f-445a-b031-6ea562624431" providerId="ADAL" clId="{D6FBF965-026B-43DA-A554-C6861A0A35E4}" dt="2023-02-01T21:24:06.232" v="73877"/>
          <ac:cxnSpMkLst>
            <pc:docMk/>
            <pc:sldMk cId="1589772229" sldId="2134804370"/>
            <ac:cxnSpMk id="335" creationId="{CDEAB7A3-CFED-CCCA-73D4-4FDD228FB331}"/>
          </ac:cxnSpMkLst>
        </pc:cxnChg>
        <pc:cxnChg chg="add del mod ord replST">
          <ac:chgData name="Wenwen Zhang" userId="9dd81366-5d6f-445a-b031-6ea562624431" providerId="ADAL" clId="{D6FBF965-026B-43DA-A554-C6861A0A35E4}" dt="2023-02-01T21:24:06.231" v="73874"/>
          <ac:cxnSpMkLst>
            <pc:docMk/>
            <pc:sldMk cId="1589772229" sldId="2134804370"/>
            <ac:cxnSpMk id="336" creationId="{66C7928C-EBBF-E462-3B73-D786608B1111}"/>
          </ac:cxnSpMkLst>
        </pc:cxnChg>
        <pc:cxnChg chg="add del mod ord replST">
          <ac:chgData name="Wenwen Zhang" userId="9dd81366-5d6f-445a-b031-6ea562624431" providerId="ADAL" clId="{D6FBF965-026B-43DA-A554-C6861A0A35E4}" dt="2023-02-01T21:24:09.242" v="77639"/>
          <ac:cxnSpMkLst>
            <pc:docMk/>
            <pc:sldMk cId="1589772229" sldId="2134804370"/>
            <ac:cxnSpMk id="337" creationId="{A1177AE3-FE59-A81F-E838-6F39FB6AC973}"/>
          </ac:cxnSpMkLst>
        </pc:cxnChg>
        <pc:cxnChg chg="add del mod ord replST">
          <ac:chgData name="Wenwen Zhang" userId="9dd81366-5d6f-445a-b031-6ea562624431" providerId="ADAL" clId="{D6FBF965-026B-43DA-A554-C6861A0A35E4}" dt="2023-02-01T21:24:09.241" v="77637"/>
          <ac:cxnSpMkLst>
            <pc:docMk/>
            <pc:sldMk cId="1589772229" sldId="2134804370"/>
            <ac:cxnSpMk id="338" creationId="{D5F63990-7657-9AAD-5C17-C121ADB3BB75}"/>
          </ac:cxnSpMkLst>
        </pc:cxnChg>
        <pc:cxnChg chg="add del mod ord replST">
          <ac:chgData name="Wenwen Zhang" userId="9dd81366-5d6f-445a-b031-6ea562624431" providerId="ADAL" clId="{D6FBF965-026B-43DA-A554-C6861A0A35E4}" dt="2023-02-01T21:24:09.242" v="77641"/>
          <ac:cxnSpMkLst>
            <pc:docMk/>
            <pc:sldMk cId="1589772229" sldId="2134804370"/>
            <ac:cxnSpMk id="339" creationId="{0C2811C3-0A5B-3D69-1AC2-C0CE19AA81BC}"/>
          </ac:cxnSpMkLst>
        </pc:cxnChg>
        <pc:cxnChg chg="add del mod ord replST">
          <ac:chgData name="Wenwen Zhang" userId="9dd81366-5d6f-445a-b031-6ea562624431" providerId="ADAL" clId="{D6FBF965-026B-43DA-A554-C6861A0A35E4}" dt="2023-02-01T21:24:09.243" v="77643"/>
          <ac:cxnSpMkLst>
            <pc:docMk/>
            <pc:sldMk cId="1589772229" sldId="2134804370"/>
            <ac:cxnSpMk id="340" creationId="{F79B103B-E83F-C4BD-748D-C807B58DB2ED}"/>
          </ac:cxnSpMkLst>
        </pc:cxnChg>
        <pc:cxnChg chg="add del mod ord replST">
          <ac:chgData name="Wenwen Zhang" userId="9dd81366-5d6f-445a-b031-6ea562624431" providerId="ADAL" clId="{D6FBF965-026B-43DA-A554-C6861A0A35E4}" dt="2023-02-01T21:24:09.243" v="77645"/>
          <ac:cxnSpMkLst>
            <pc:docMk/>
            <pc:sldMk cId="1589772229" sldId="2134804370"/>
            <ac:cxnSpMk id="342" creationId="{630A0D3D-A20A-20E5-4F67-A2527523A45B}"/>
          </ac:cxnSpMkLst>
        </pc:cxnChg>
        <pc:cxnChg chg="add del mod ord replST">
          <ac:chgData name="Wenwen Zhang" userId="9dd81366-5d6f-445a-b031-6ea562624431" providerId="ADAL" clId="{D6FBF965-026B-43DA-A554-C6861A0A35E4}" dt="2023-02-01T21:24:09.244" v="77647"/>
          <ac:cxnSpMkLst>
            <pc:docMk/>
            <pc:sldMk cId="1589772229" sldId="2134804370"/>
            <ac:cxnSpMk id="343" creationId="{1E2A0880-FBD1-21DB-7FB8-BCD9BD924BD2}"/>
          </ac:cxnSpMkLst>
        </pc:cxnChg>
        <pc:cxnChg chg="add del mod ord replST">
          <ac:chgData name="Wenwen Zhang" userId="9dd81366-5d6f-445a-b031-6ea562624431" providerId="ADAL" clId="{D6FBF965-026B-43DA-A554-C6861A0A35E4}" dt="2023-02-01T21:24:09.244" v="77649"/>
          <ac:cxnSpMkLst>
            <pc:docMk/>
            <pc:sldMk cId="1589772229" sldId="2134804370"/>
            <ac:cxnSpMk id="346" creationId="{DD8B4657-BA8E-BEBF-3736-36BF22EBD11F}"/>
          </ac:cxnSpMkLst>
        </pc:cxnChg>
        <pc:cxnChg chg="add del mod ord replST">
          <ac:chgData name="Wenwen Zhang" userId="9dd81366-5d6f-445a-b031-6ea562624431" providerId="ADAL" clId="{D6FBF965-026B-43DA-A554-C6861A0A35E4}" dt="2023-02-01T21:24:09.245" v="77651"/>
          <ac:cxnSpMkLst>
            <pc:docMk/>
            <pc:sldMk cId="1589772229" sldId="2134804370"/>
            <ac:cxnSpMk id="347" creationId="{16213AE3-9181-B42D-4A5D-21215FAD9350}"/>
          </ac:cxnSpMkLst>
        </pc:cxnChg>
        <pc:cxnChg chg="add del mod ord">
          <ac:chgData name="Wenwen Zhang" userId="9dd81366-5d6f-445a-b031-6ea562624431" providerId="ADAL" clId="{D6FBF965-026B-43DA-A554-C6861A0A35E4}" dt="2023-02-01T21:24:09.446" v="78052"/>
          <ac:cxnSpMkLst>
            <pc:docMk/>
            <pc:sldMk cId="1589772229" sldId="2134804370"/>
            <ac:cxnSpMk id="348" creationId="{4AB1BCB8-D420-96C6-D6AF-C794BC493EBF}"/>
          </ac:cxnSpMkLst>
        </pc:cxnChg>
        <pc:cxnChg chg="add del mod ord replST">
          <ac:chgData name="Wenwen Zhang" userId="9dd81366-5d6f-445a-b031-6ea562624431" providerId="ADAL" clId="{D6FBF965-026B-43DA-A554-C6861A0A35E4}" dt="2023-02-01T21:24:09.246" v="77653"/>
          <ac:cxnSpMkLst>
            <pc:docMk/>
            <pc:sldMk cId="1589772229" sldId="2134804370"/>
            <ac:cxnSpMk id="349" creationId="{D2275B0F-AD29-B07F-70C4-438578BA6124}"/>
          </ac:cxnSpMkLst>
        </pc:cxnChg>
        <pc:cxnChg chg="add mod ord replST">
          <ac:chgData name="Wenwen Zhang" userId="9dd81366-5d6f-445a-b031-6ea562624431" providerId="ADAL" clId="{D6FBF965-026B-43DA-A554-C6861A0A35E4}" dt="2023-02-02T12:02:04.322" v="133037"/>
          <ac:cxnSpMkLst>
            <pc:docMk/>
            <pc:sldMk cId="1589772229" sldId="2134804370"/>
            <ac:cxnSpMk id="351" creationId="{B8898D04-479E-C629-732A-6F95BE615BDF}"/>
          </ac:cxnSpMkLst>
        </pc:cxnChg>
        <pc:cxnChg chg="add del mod ord replST delST">
          <ac:chgData name="Wenwen Zhang" userId="9dd81366-5d6f-445a-b031-6ea562624431" providerId="ADAL" clId="{D6FBF965-026B-43DA-A554-C6861A0A35E4}" dt="2023-02-01T19:00:52.659" v="27365"/>
          <ac:cxnSpMkLst>
            <pc:docMk/>
            <pc:sldMk cId="1589772229" sldId="2134804370"/>
            <ac:cxnSpMk id="516" creationId="{8FDA052D-6CF0-768D-BFEE-7B857E620358}"/>
          </ac:cxnSpMkLst>
        </pc:cxnChg>
        <pc:cxnChg chg="add del mod ord replST delST">
          <ac:chgData name="Wenwen Zhang" userId="9dd81366-5d6f-445a-b031-6ea562624431" providerId="ADAL" clId="{D6FBF965-026B-43DA-A554-C6861A0A35E4}" dt="2023-02-01T19:00:52.659" v="27365"/>
          <ac:cxnSpMkLst>
            <pc:docMk/>
            <pc:sldMk cId="1589772229" sldId="2134804370"/>
            <ac:cxnSpMk id="517" creationId="{35A6EEB2-C09B-4607-0BBA-91745B74AD9B}"/>
          </ac:cxnSpMkLst>
        </pc:cxnChg>
        <pc:cxnChg chg="add del mod ord replST">
          <ac:chgData name="Wenwen Zhang" userId="9dd81366-5d6f-445a-b031-6ea562624431" providerId="ADAL" clId="{D6FBF965-026B-43DA-A554-C6861A0A35E4}" dt="2023-02-01T21:18:28.301" v="65214"/>
          <ac:cxnSpMkLst>
            <pc:docMk/>
            <pc:sldMk cId="1589772229" sldId="2134804370"/>
            <ac:cxnSpMk id="537" creationId="{338F3ABC-766F-FCA0-F3FC-B2FEC4D90754}"/>
          </ac:cxnSpMkLst>
        </pc:cxnChg>
        <pc:cxnChg chg="add mod ord replST">
          <ac:chgData name="Wenwen Zhang" userId="9dd81366-5d6f-445a-b031-6ea562624431" providerId="ADAL" clId="{D6FBF965-026B-43DA-A554-C6861A0A35E4}" dt="2023-02-02T12:02:04.321" v="133009"/>
          <ac:cxnSpMkLst>
            <pc:docMk/>
            <pc:sldMk cId="1589772229" sldId="2134804370"/>
            <ac:cxnSpMk id="733" creationId="{BF56C150-6E0A-70DB-F254-51477265455E}"/>
          </ac:cxnSpMkLst>
        </pc:cxnChg>
        <pc:cxnChg chg="add mod ord replST">
          <ac:chgData name="Wenwen Zhang" userId="9dd81366-5d6f-445a-b031-6ea562624431" providerId="ADAL" clId="{D6FBF965-026B-43DA-A554-C6861A0A35E4}" dt="2023-02-02T12:02:04.322" v="133011"/>
          <ac:cxnSpMkLst>
            <pc:docMk/>
            <pc:sldMk cId="1589772229" sldId="2134804370"/>
            <ac:cxnSpMk id="734" creationId="{1D01DFB6-7285-DACC-E2A4-F552198D4AD3}"/>
          </ac:cxnSpMkLst>
        </pc:cxnChg>
        <pc:cxnChg chg="add mod ord replST">
          <ac:chgData name="Wenwen Zhang" userId="9dd81366-5d6f-445a-b031-6ea562624431" providerId="ADAL" clId="{D6FBF965-026B-43DA-A554-C6861A0A35E4}" dt="2023-02-02T12:02:04.321" v="133007"/>
          <ac:cxnSpMkLst>
            <pc:docMk/>
            <pc:sldMk cId="1589772229" sldId="2134804370"/>
            <ac:cxnSpMk id="735" creationId="{980F47FB-5B3F-5FE6-3091-A65FABC27C3B}"/>
          </ac:cxnSpMkLst>
        </pc:cxnChg>
        <pc:cxnChg chg="add mod ord replST">
          <ac:chgData name="Wenwen Zhang" userId="9dd81366-5d6f-445a-b031-6ea562624431" providerId="ADAL" clId="{D6FBF965-026B-43DA-A554-C6861A0A35E4}" dt="2023-02-02T12:02:04.322" v="133035"/>
          <ac:cxnSpMkLst>
            <pc:docMk/>
            <pc:sldMk cId="1589772229" sldId="2134804370"/>
            <ac:cxnSpMk id="744" creationId="{DD26C715-26F1-5C85-6A29-1821B415E66C}"/>
          </ac:cxnSpMkLst>
        </pc:cxnChg>
        <pc:cxnChg chg="add del mod ord replST">
          <ac:chgData name="Wenwen Zhang" userId="9dd81366-5d6f-445a-b031-6ea562624431" providerId="ADAL" clId="{D6FBF965-026B-43DA-A554-C6861A0A35E4}" dt="2023-02-01T21:24:06.244" v="73928"/>
          <ac:cxnSpMkLst>
            <pc:docMk/>
            <pc:sldMk cId="1589772229" sldId="2134804370"/>
            <ac:cxnSpMk id="765" creationId="{406B0643-2923-9D46-A69F-536738F339EB}"/>
          </ac:cxnSpMkLst>
        </pc:cxnChg>
        <pc:cxnChg chg="add del mod ord replST">
          <ac:chgData name="Wenwen Zhang" userId="9dd81366-5d6f-445a-b031-6ea562624431" providerId="ADAL" clId="{D6FBF965-026B-43DA-A554-C6861A0A35E4}" dt="2023-02-01T21:24:06.243" v="73925"/>
          <ac:cxnSpMkLst>
            <pc:docMk/>
            <pc:sldMk cId="1589772229" sldId="2134804370"/>
            <ac:cxnSpMk id="767" creationId="{F15F99D1-8B9B-2423-AD54-6FB9290000A3}"/>
          </ac:cxnSpMkLst>
        </pc:cxnChg>
      </pc:sldChg>
      <pc:sldChg chg="addSp delSp modSp add del mod">
        <pc:chgData name="Wenwen Zhang" userId="9dd81366-5d6f-445a-b031-6ea562624431" providerId="ADAL" clId="{D6FBF965-026B-43DA-A554-C6861A0A35E4}" dt="2023-02-01T18:31:48.586" v="22915" actId="47"/>
        <pc:sldMkLst>
          <pc:docMk/>
          <pc:sldMk cId="281210433" sldId="2134804371"/>
        </pc:sldMkLst>
        <pc:spChg chg="mod ord">
          <ac:chgData name="Wenwen Zhang" userId="9dd81366-5d6f-445a-b031-6ea562624431" providerId="ADAL" clId="{D6FBF965-026B-43DA-A554-C6861A0A35E4}" dt="2023-02-01T18:28:33.626" v="14634"/>
          <ac:spMkLst>
            <pc:docMk/>
            <pc:sldMk cId="281210433" sldId="2134804371"/>
            <ac:spMk id="2" creationId="{B065B79C-C4D6-5961-7919-6BB68C420868}"/>
          </ac:spMkLst>
        </pc:spChg>
        <pc:spChg chg="mod ord">
          <ac:chgData name="Wenwen Zhang" userId="9dd81366-5d6f-445a-b031-6ea562624431" providerId="ADAL" clId="{D6FBF965-026B-43DA-A554-C6861A0A35E4}" dt="2023-02-01T18:28:33.634" v="14640"/>
          <ac:spMkLst>
            <pc:docMk/>
            <pc:sldMk cId="281210433" sldId="2134804371"/>
            <ac:spMk id="4" creationId="{AD0E97D5-5A4C-F8E8-8C92-74ED86E2BF79}"/>
          </ac:spMkLst>
        </pc:spChg>
        <pc:spChg chg="add mod replST">
          <ac:chgData name="Wenwen Zhang" userId="9dd81366-5d6f-445a-b031-6ea562624431" providerId="ADAL" clId="{D6FBF965-026B-43DA-A554-C6861A0A35E4}" dt="2023-02-01T18:28:33.634" v="14672"/>
          <ac:spMkLst>
            <pc:docMk/>
            <pc:sldMk cId="281210433" sldId="2134804371"/>
            <ac:spMk id="20" creationId="{6793BC8F-538B-ED9C-F23D-9E02B63A3D7C}"/>
          </ac:spMkLst>
        </pc:spChg>
        <pc:spChg chg="add mod replST">
          <ac:chgData name="Wenwen Zhang" userId="9dd81366-5d6f-445a-b031-6ea562624431" providerId="ADAL" clId="{D6FBF965-026B-43DA-A554-C6861A0A35E4}" dt="2023-02-01T18:28:33.634" v="14671"/>
          <ac:spMkLst>
            <pc:docMk/>
            <pc:sldMk cId="281210433" sldId="2134804371"/>
            <ac:spMk id="21" creationId="{167F1694-F2A8-0800-A485-5D0FCA21C8DD}"/>
          </ac:spMkLst>
        </pc:spChg>
        <pc:spChg chg="add mod replST">
          <ac:chgData name="Wenwen Zhang" userId="9dd81366-5d6f-445a-b031-6ea562624431" providerId="ADAL" clId="{D6FBF965-026B-43DA-A554-C6861A0A35E4}" dt="2023-02-01T18:28:33.634" v="14669"/>
          <ac:spMkLst>
            <pc:docMk/>
            <pc:sldMk cId="281210433" sldId="2134804371"/>
            <ac:spMk id="23" creationId="{00624F1C-30D6-8C24-213D-7FCD8E553C5C}"/>
          </ac:spMkLst>
        </pc:spChg>
        <pc:spChg chg="add mod replST">
          <ac:chgData name="Wenwen Zhang" userId="9dd81366-5d6f-445a-b031-6ea562624431" providerId="ADAL" clId="{D6FBF965-026B-43DA-A554-C6861A0A35E4}" dt="2023-02-01T18:28:33.634" v="14670"/>
          <ac:spMkLst>
            <pc:docMk/>
            <pc:sldMk cId="281210433" sldId="2134804371"/>
            <ac:spMk id="24" creationId="{29922F48-B67F-5055-35E0-DFF24C8F1AC1}"/>
          </ac:spMkLst>
        </pc:spChg>
        <pc:spChg chg="mod ord">
          <ac:chgData name="Wenwen Zhang" userId="9dd81366-5d6f-445a-b031-6ea562624431" providerId="ADAL" clId="{D6FBF965-026B-43DA-A554-C6861A0A35E4}" dt="2023-02-01T18:28:33.626" v="14636"/>
          <ac:spMkLst>
            <pc:docMk/>
            <pc:sldMk cId="281210433" sldId="2134804371"/>
            <ac:spMk id="29" creationId="{D50B6CAA-A666-5524-85F7-444C607F0970}"/>
          </ac:spMkLst>
        </pc:spChg>
        <pc:spChg chg="mod ord">
          <ac:chgData name="Wenwen Zhang" userId="9dd81366-5d6f-445a-b031-6ea562624431" providerId="ADAL" clId="{D6FBF965-026B-43DA-A554-C6861A0A35E4}" dt="2023-02-01T18:28:33.634" v="14638"/>
          <ac:spMkLst>
            <pc:docMk/>
            <pc:sldMk cId="281210433" sldId="2134804371"/>
            <ac:spMk id="43" creationId="{C58C7321-3BF7-61DC-5B1A-AD075E56AE05}"/>
          </ac:spMkLst>
        </pc:spChg>
        <pc:spChg chg="add mod replST">
          <ac:chgData name="Wenwen Zhang" userId="9dd81366-5d6f-445a-b031-6ea562624431" providerId="ADAL" clId="{D6FBF965-026B-43DA-A554-C6861A0A35E4}" dt="2023-02-01T18:28:33.642" v="14679"/>
          <ac:spMkLst>
            <pc:docMk/>
            <pc:sldMk cId="281210433" sldId="2134804371"/>
            <ac:spMk id="44" creationId="{686D9302-EF6D-376F-C59D-E9495EF2B066}"/>
          </ac:spMkLst>
        </pc:spChg>
        <pc:spChg chg="del">
          <ac:chgData name="Wenwen Zhang" userId="9dd81366-5d6f-445a-b031-6ea562624431" providerId="ADAL" clId="{D6FBF965-026B-43DA-A554-C6861A0A35E4}" dt="2023-02-01T18:28:16.904" v="13362"/>
          <ac:spMkLst>
            <pc:docMk/>
            <pc:sldMk cId="281210433" sldId="2134804371"/>
            <ac:spMk id="45" creationId="{60A5EDA6-1581-4C1B-0F33-75BB24155868}"/>
          </ac:spMkLst>
        </pc:spChg>
        <pc:spChg chg="del">
          <ac:chgData name="Wenwen Zhang" userId="9dd81366-5d6f-445a-b031-6ea562624431" providerId="ADAL" clId="{D6FBF965-026B-43DA-A554-C6861A0A35E4}" dt="2023-02-01T18:28:16.902" v="13353"/>
          <ac:spMkLst>
            <pc:docMk/>
            <pc:sldMk cId="281210433" sldId="2134804371"/>
            <ac:spMk id="46" creationId="{F6EE6FC4-06BE-032D-62DA-8AB057C340DB}"/>
          </ac:spMkLst>
        </pc:spChg>
        <pc:spChg chg="del">
          <ac:chgData name="Wenwen Zhang" userId="9dd81366-5d6f-445a-b031-6ea562624431" providerId="ADAL" clId="{D6FBF965-026B-43DA-A554-C6861A0A35E4}" dt="2023-02-01T18:28:16.896" v="13347"/>
          <ac:spMkLst>
            <pc:docMk/>
            <pc:sldMk cId="281210433" sldId="2134804371"/>
            <ac:spMk id="47" creationId="{88210889-5E5B-8763-1D77-CFDD6959832E}"/>
          </ac:spMkLst>
        </pc:spChg>
        <pc:spChg chg="del">
          <ac:chgData name="Wenwen Zhang" userId="9dd81366-5d6f-445a-b031-6ea562624431" providerId="ADAL" clId="{D6FBF965-026B-43DA-A554-C6861A0A35E4}" dt="2023-02-01T18:28:16.889" v="13329"/>
          <ac:spMkLst>
            <pc:docMk/>
            <pc:sldMk cId="281210433" sldId="2134804371"/>
            <ac:spMk id="48" creationId="{265890C1-006F-8A1D-C423-C4AABED3B58E}"/>
          </ac:spMkLst>
        </pc:spChg>
        <pc:spChg chg="del">
          <ac:chgData name="Wenwen Zhang" userId="9dd81366-5d6f-445a-b031-6ea562624431" providerId="ADAL" clId="{D6FBF965-026B-43DA-A554-C6861A0A35E4}" dt="2023-02-01T18:28:16.902" v="13356"/>
          <ac:spMkLst>
            <pc:docMk/>
            <pc:sldMk cId="281210433" sldId="2134804371"/>
            <ac:spMk id="49" creationId="{C3B41738-822E-8E52-10C8-280EA4F45FE9}"/>
          </ac:spMkLst>
        </pc:spChg>
        <pc:spChg chg="del">
          <ac:chgData name="Wenwen Zhang" userId="9dd81366-5d6f-445a-b031-6ea562624431" providerId="ADAL" clId="{D6FBF965-026B-43DA-A554-C6861A0A35E4}" dt="2023-02-01T18:28:16.896" v="13350"/>
          <ac:spMkLst>
            <pc:docMk/>
            <pc:sldMk cId="281210433" sldId="2134804371"/>
            <ac:spMk id="50" creationId="{0782997D-8044-049F-E175-39B0E15DE08B}"/>
          </ac:spMkLst>
        </pc:spChg>
        <pc:spChg chg="del">
          <ac:chgData name="Wenwen Zhang" userId="9dd81366-5d6f-445a-b031-6ea562624431" providerId="ADAL" clId="{D6FBF965-026B-43DA-A554-C6861A0A35E4}" dt="2023-02-01T18:28:16.896" v="13335"/>
          <ac:spMkLst>
            <pc:docMk/>
            <pc:sldMk cId="281210433" sldId="2134804371"/>
            <ac:spMk id="51" creationId="{50326C18-B022-FF85-D344-051B3FE45C20}"/>
          </ac:spMkLst>
        </pc:spChg>
        <pc:spChg chg="del">
          <ac:chgData name="Wenwen Zhang" userId="9dd81366-5d6f-445a-b031-6ea562624431" providerId="ADAL" clId="{D6FBF965-026B-43DA-A554-C6861A0A35E4}" dt="2023-02-01T18:28:16.896" v="13341"/>
          <ac:spMkLst>
            <pc:docMk/>
            <pc:sldMk cId="281210433" sldId="2134804371"/>
            <ac:spMk id="52" creationId="{F0C973EF-DD07-9D07-CFFD-60B67D52C929}"/>
          </ac:spMkLst>
        </pc:spChg>
        <pc:spChg chg="del">
          <ac:chgData name="Wenwen Zhang" userId="9dd81366-5d6f-445a-b031-6ea562624431" providerId="ADAL" clId="{D6FBF965-026B-43DA-A554-C6861A0A35E4}" dt="2023-02-01T18:28:16.896" v="13332"/>
          <ac:spMkLst>
            <pc:docMk/>
            <pc:sldMk cId="281210433" sldId="2134804371"/>
            <ac:spMk id="53" creationId="{A15AFB0D-18F6-34E6-63DF-D2C6411D2074}"/>
          </ac:spMkLst>
        </pc:spChg>
        <pc:spChg chg="del">
          <ac:chgData name="Wenwen Zhang" userId="9dd81366-5d6f-445a-b031-6ea562624431" providerId="ADAL" clId="{D6FBF965-026B-43DA-A554-C6861A0A35E4}" dt="2023-02-01T18:28:16.889" v="13326"/>
          <ac:spMkLst>
            <pc:docMk/>
            <pc:sldMk cId="281210433" sldId="2134804371"/>
            <ac:spMk id="54" creationId="{F5AE73F4-2208-7784-5A92-F88EC7C9AF6F}"/>
          </ac:spMkLst>
        </pc:spChg>
        <pc:spChg chg="del">
          <ac:chgData name="Wenwen Zhang" userId="9dd81366-5d6f-445a-b031-6ea562624431" providerId="ADAL" clId="{D6FBF965-026B-43DA-A554-C6861A0A35E4}" dt="2023-02-01T18:28:16.907" v="13368"/>
          <ac:spMkLst>
            <pc:docMk/>
            <pc:sldMk cId="281210433" sldId="2134804371"/>
            <ac:spMk id="55" creationId="{381DBC4F-2549-4664-4145-9D828D16870C}"/>
          </ac:spMkLst>
        </pc:spChg>
        <pc:spChg chg="del">
          <ac:chgData name="Wenwen Zhang" userId="9dd81366-5d6f-445a-b031-6ea562624431" providerId="ADAL" clId="{D6FBF965-026B-43DA-A554-C6861A0A35E4}" dt="2023-02-01T18:28:16.889" v="13317"/>
          <ac:spMkLst>
            <pc:docMk/>
            <pc:sldMk cId="281210433" sldId="2134804371"/>
            <ac:spMk id="56" creationId="{5599528B-8933-8418-470B-4FC962F494AC}"/>
          </ac:spMkLst>
        </pc:spChg>
        <pc:spChg chg="del">
          <ac:chgData name="Wenwen Zhang" userId="9dd81366-5d6f-445a-b031-6ea562624431" providerId="ADAL" clId="{D6FBF965-026B-43DA-A554-C6861A0A35E4}" dt="2023-02-01T18:28:16.896" v="13338"/>
          <ac:spMkLst>
            <pc:docMk/>
            <pc:sldMk cId="281210433" sldId="2134804371"/>
            <ac:spMk id="57" creationId="{99568477-66D5-224D-2AE3-538253C5490D}"/>
          </ac:spMkLst>
        </pc:spChg>
        <pc:spChg chg="del">
          <ac:chgData name="Wenwen Zhang" userId="9dd81366-5d6f-445a-b031-6ea562624431" providerId="ADAL" clId="{D6FBF965-026B-43DA-A554-C6861A0A35E4}" dt="2023-02-01T18:28:16.896" v="13344"/>
          <ac:spMkLst>
            <pc:docMk/>
            <pc:sldMk cId="281210433" sldId="2134804371"/>
            <ac:spMk id="58" creationId="{C29B06AF-B31A-F3FE-15D6-702FB1164441}"/>
          </ac:spMkLst>
        </pc:spChg>
        <pc:spChg chg="del">
          <ac:chgData name="Wenwen Zhang" userId="9dd81366-5d6f-445a-b031-6ea562624431" providerId="ADAL" clId="{D6FBF965-026B-43DA-A554-C6861A0A35E4}" dt="2023-02-01T18:28:16.889" v="13320"/>
          <ac:spMkLst>
            <pc:docMk/>
            <pc:sldMk cId="281210433" sldId="2134804371"/>
            <ac:spMk id="59" creationId="{B7B41025-16A6-80FE-8DF3-9F44901D92AC}"/>
          </ac:spMkLst>
        </pc:spChg>
        <pc:spChg chg="del">
          <ac:chgData name="Wenwen Zhang" userId="9dd81366-5d6f-445a-b031-6ea562624431" providerId="ADAL" clId="{D6FBF965-026B-43DA-A554-C6861A0A35E4}" dt="2023-02-01T18:28:16.889" v="13323"/>
          <ac:spMkLst>
            <pc:docMk/>
            <pc:sldMk cId="281210433" sldId="2134804371"/>
            <ac:spMk id="60" creationId="{69A45308-4D0A-16DC-5F00-7204DFC16629}"/>
          </ac:spMkLst>
        </pc:spChg>
        <pc:spChg chg="del">
          <ac:chgData name="Wenwen Zhang" userId="9dd81366-5d6f-445a-b031-6ea562624431" providerId="ADAL" clId="{D6FBF965-026B-43DA-A554-C6861A0A35E4}" dt="2023-02-01T18:28:16.907" v="13371"/>
          <ac:spMkLst>
            <pc:docMk/>
            <pc:sldMk cId="281210433" sldId="2134804371"/>
            <ac:spMk id="61" creationId="{2DA10572-55C8-32FE-15E0-4C91B5CD6363}"/>
          </ac:spMkLst>
        </pc:spChg>
        <pc:spChg chg="del">
          <ac:chgData name="Wenwen Zhang" userId="9dd81366-5d6f-445a-b031-6ea562624431" providerId="ADAL" clId="{D6FBF965-026B-43DA-A554-C6861A0A35E4}" dt="2023-02-01T18:28:16.904" v="13359"/>
          <ac:spMkLst>
            <pc:docMk/>
            <pc:sldMk cId="281210433" sldId="2134804371"/>
            <ac:spMk id="62" creationId="{28B55C84-D32E-8547-8976-C68D3D08F96A}"/>
          </ac:spMkLst>
        </pc:spChg>
        <pc:spChg chg="del">
          <ac:chgData name="Wenwen Zhang" userId="9dd81366-5d6f-445a-b031-6ea562624431" providerId="ADAL" clId="{D6FBF965-026B-43DA-A554-C6861A0A35E4}" dt="2023-02-01T18:28:16.904" v="13365"/>
          <ac:spMkLst>
            <pc:docMk/>
            <pc:sldMk cId="281210433" sldId="2134804371"/>
            <ac:spMk id="63" creationId="{9B881742-C576-6159-C30A-76DF751BAA4E}"/>
          </ac:spMkLst>
        </pc:spChg>
        <pc:spChg chg="del">
          <ac:chgData name="Wenwen Zhang" userId="9dd81366-5d6f-445a-b031-6ea562624431" providerId="ADAL" clId="{D6FBF965-026B-43DA-A554-C6861A0A35E4}" dt="2023-02-01T18:28:16.889" v="13313"/>
          <ac:spMkLst>
            <pc:docMk/>
            <pc:sldMk cId="281210433" sldId="2134804371"/>
            <ac:spMk id="67" creationId="{EB89D8E5-89C8-6819-6C93-C8672AC4E35E}"/>
          </ac:spMkLst>
        </pc:spChg>
        <pc:spChg chg="del">
          <ac:chgData name="Wenwen Zhang" userId="9dd81366-5d6f-445a-b031-6ea562624431" providerId="ADAL" clId="{D6FBF965-026B-43DA-A554-C6861A0A35E4}" dt="2023-02-01T18:28:16.889" v="13316"/>
          <ac:spMkLst>
            <pc:docMk/>
            <pc:sldMk cId="281210433" sldId="2134804371"/>
            <ac:spMk id="68" creationId="{13DE25E4-8BDF-BDB0-0042-EA9530B14B34}"/>
          </ac:spMkLst>
        </pc:spChg>
        <pc:spChg chg="del">
          <ac:chgData name="Wenwen Zhang" userId="9dd81366-5d6f-445a-b031-6ea562624431" providerId="ADAL" clId="{D6FBF965-026B-43DA-A554-C6861A0A35E4}" dt="2023-02-01T18:28:16.887" v="13310"/>
          <ac:spMkLst>
            <pc:docMk/>
            <pc:sldMk cId="281210433" sldId="2134804371"/>
            <ac:spMk id="69" creationId="{D2A41CA4-8CA0-3E40-0028-C13B2D9FC988}"/>
          </ac:spMkLst>
        </pc:spChg>
        <pc:spChg chg="add mod replST">
          <ac:chgData name="Wenwen Zhang" userId="9dd81366-5d6f-445a-b031-6ea562624431" providerId="ADAL" clId="{D6FBF965-026B-43DA-A554-C6861A0A35E4}" dt="2023-02-01T18:28:33.634" v="14673"/>
          <ac:spMkLst>
            <pc:docMk/>
            <pc:sldMk cId="281210433" sldId="2134804371"/>
            <ac:spMk id="70" creationId="{569474D0-D005-C16E-409E-4155B5E474AE}"/>
          </ac:spMkLst>
        </pc:spChg>
        <pc:spChg chg="add mod replST">
          <ac:chgData name="Wenwen Zhang" userId="9dd81366-5d6f-445a-b031-6ea562624431" providerId="ADAL" clId="{D6FBF965-026B-43DA-A554-C6861A0A35E4}" dt="2023-02-01T18:28:33.642" v="14680"/>
          <ac:spMkLst>
            <pc:docMk/>
            <pc:sldMk cId="281210433" sldId="2134804371"/>
            <ac:spMk id="71" creationId="{268858C0-D17C-EDC2-7C63-DC44A4AFD1BA}"/>
          </ac:spMkLst>
        </pc:spChg>
        <pc:spChg chg="add mod replST">
          <ac:chgData name="Wenwen Zhang" userId="9dd81366-5d6f-445a-b031-6ea562624431" providerId="ADAL" clId="{D6FBF965-026B-43DA-A554-C6861A0A35E4}" dt="2023-02-01T18:28:33.634" v="14675"/>
          <ac:spMkLst>
            <pc:docMk/>
            <pc:sldMk cId="281210433" sldId="2134804371"/>
            <ac:spMk id="72" creationId="{0136ADF0-8214-98DD-5E0C-7519014B3CA0}"/>
          </ac:spMkLst>
        </pc:spChg>
        <pc:spChg chg="add mod replST">
          <ac:chgData name="Wenwen Zhang" userId="9dd81366-5d6f-445a-b031-6ea562624431" providerId="ADAL" clId="{D6FBF965-026B-43DA-A554-C6861A0A35E4}" dt="2023-02-01T18:28:33.634" v="14676"/>
          <ac:spMkLst>
            <pc:docMk/>
            <pc:sldMk cId="281210433" sldId="2134804371"/>
            <ac:spMk id="74" creationId="{812577A6-5C2C-8AB1-A034-20AD9D7BD4B1}"/>
          </ac:spMkLst>
        </pc:spChg>
        <pc:spChg chg="add mod replST">
          <ac:chgData name="Wenwen Zhang" userId="9dd81366-5d6f-445a-b031-6ea562624431" providerId="ADAL" clId="{D6FBF965-026B-43DA-A554-C6861A0A35E4}" dt="2023-02-01T18:28:33.634" v="14674"/>
          <ac:spMkLst>
            <pc:docMk/>
            <pc:sldMk cId="281210433" sldId="2134804371"/>
            <ac:spMk id="75" creationId="{5101CB28-C1D4-480B-B1FB-6C634E26EB06}"/>
          </ac:spMkLst>
        </pc:spChg>
        <pc:spChg chg="add mod replST">
          <ac:chgData name="Wenwen Zhang" userId="9dd81366-5d6f-445a-b031-6ea562624431" providerId="ADAL" clId="{D6FBF965-026B-43DA-A554-C6861A0A35E4}" dt="2023-02-01T18:28:33.642" v="14678"/>
          <ac:spMkLst>
            <pc:docMk/>
            <pc:sldMk cId="281210433" sldId="2134804371"/>
            <ac:spMk id="76" creationId="{BA066DE1-54AD-F53E-9339-587D7564F8E5}"/>
          </ac:spMkLst>
        </pc:spChg>
        <pc:spChg chg="add mod replST">
          <ac:chgData name="Wenwen Zhang" userId="9dd81366-5d6f-445a-b031-6ea562624431" providerId="ADAL" clId="{D6FBF965-026B-43DA-A554-C6861A0A35E4}" dt="2023-02-01T18:28:33.642" v="14681"/>
          <ac:spMkLst>
            <pc:docMk/>
            <pc:sldMk cId="281210433" sldId="2134804371"/>
            <ac:spMk id="77" creationId="{8E900D3C-FDD3-B62F-BF32-71866863720B}"/>
          </ac:spMkLst>
        </pc:spChg>
        <pc:spChg chg="add mod replST">
          <ac:chgData name="Wenwen Zhang" userId="9dd81366-5d6f-445a-b031-6ea562624431" providerId="ADAL" clId="{D6FBF965-026B-43DA-A554-C6861A0A35E4}" dt="2023-02-01T18:28:33.642" v="14677"/>
          <ac:spMkLst>
            <pc:docMk/>
            <pc:sldMk cId="281210433" sldId="2134804371"/>
            <ac:spMk id="78" creationId="{AE7BD856-BB68-3321-31DF-4B4928DE86EA}"/>
          </ac:spMkLst>
        </pc:spChg>
        <pc:spChg chg="add del mod modVis">
          <ac:chgData name="Wenwen Zhang" userId="9dd81366-5d6f-445a-b031-6ea562624431" providerId="ADAL" clId="{D6FBF965-026B-43DA-A554-C6861A0A35E4}" dt="2023-02-01T18:28:25.071" v="14351"/>
          <ac:spMkLst>
            <pc:docMk/>
            <pc:sldMk cId="281210433" sldId="2134804371"/>
            <ac:spMk id="79" creationId="{F51E8477-78C6-56C9-8A62-5DE60BF3D2EB}"/>
          </ac:spMkLst>
        </pc:spChg>
        <pc:spChg chg="add del mod modVis">
          <ac:chgData name="Wenwen Zhang" userId="9dd81366-5d6f-445a-b031-6ea562624431" providerId="ADAL" clId="{D6FBF965-026B-43DA-A554-C6861A0A35E4}" dt="2023-02-01T18:28:33.642" v="14685"/>
          <ac:spMkLst>
            <pc:docMk/>
            <pc:sldMk cId="281210433" sldId="2134804371"/>
            <ac:spMk id="81" creationId="{DB40F3B8-01F8-5866-C8AD-E6875B9B15D3}"/>
          </ac:spMkLst>
        </pc:spChg>
        <pc:graphicFrameChg chg="add del mod replST">
          <ac:chgData name="Wenwen Zhang" userId="9dd81366-5d6f-445a-b031-6ea562624431" providerId="ADAL" clId="{D6FBF965-026B-43DA-A554-C6861A0A35E4}" dt="2023-02-01T18:28:25.008" v="14242"/>
          <ac:graphicFrameMkLst>
            <pc:docMk/>
            <pc:sldMk cId="281210433" sldId="2134804371"/>
            <ac:graphicFrameMk id="19" creationId="{9C8EFF5A-47EC-BAEA-CA42-B7B45C113C66}"/>
          </ac:graphicFrameMkLst>
        </pc:graphicFrameChg>
        <pc:graphicFrameChg chg="mod">
          <ac:chgData name="Wenwen Zhang" userId="9dd81366-5d6f-445a-b031-6ea562624431" providerId="ADAL" clId="{D6FBF965-026B-43DA-A554-C6861A0A35E4}" dt="2023-02-01T18:28:33.650" v="14687"/>
          <ac:graphicFrameMkLst>
            <pc:docMk/>
            <pc:sldMk cId="281210433" sldId="2134804371"/>
            <ac:graphicFrameMk id="28" creationId="{015DFAEE-F78A-C272-92CE-F25C3417CAD0}"/>
          </ac:graphicFrameMkLst>
        </pc:graphicFrameChg>
        <pc:graphicFrameChg chg="del">
          <ac:chgData name="Wenwen Zhang" userId="9dd81366-5d6f-445a-b031-6ea562624431" providerId="ADAL" clId="{D6FBF965-026B-43DA-A554-C6861A0A35E4}" dt="2023-02-01T18:28:16.907" v="13375"/>
          <ac:graphicFrameMkLst>
            <pc:docMk/>
            <pc:sldMk cId="281210433" sldId="2134804371"/>
            <ac:graphicFrameMk id="73" creationId="{B21E2A27-E5B9-A9BA-5D16-1BE53F4596A9}"/>
          </ac:graphicFrameMkLst>
        </pc:graphicFrameChg>
        <pc:graphicFrameChg chg="add del mod ord replST">
          <ac:chgData name="Wenwen Zhang" userId="9dd81366-5d6f-445a-b031-6ea562624431" providerId="ADAL" clId="{D6FBF965-026B-43DA-A554-C6861A0A35E4}" dt="2023-02-01T18:28:33.578" v="14576"/>
          <ac:graphicFrameMkLst>
            <pc:docMk/>
            <pc:sldMk cId="281210433" sldId="2134804371"/>
            <ac:graphicFrameMk id="80" creationId="{E102E02B-CEE5-7930-0B5A-10903E1C99FC}"/>
          </ac:graphicFrameMkLst>
        </pc:graphicFrameChg>
        <pc:graphicFrameChg chg="add mod ord replST">
          <ac:chgData name="Wenwen Zhang" userId="9dd81366-5d6f-445a-b031-6ea562624431" providerId="ADAL" clId="{D6FBF965-026B-43DA-A554-C6861A0A35E4}" dt="2023-02-01T18:28:33.634" v="14668"/>
          <ac:graphicFrameMkLst>
            <pc:docMk/>
            <pc:sldMk cId="281210433" sldId="2134804371"/>
            <ac:graphicFrameMk id="82" creationId="{EB896331-8A12-7583-904C-F0F716DE4660}"/>
          </ac:graphicFrameMkLst>
        </pc:graphicFrameChg>
        <pc:cxnChg chg="add mod ord replST">
          <ac:chgData name="Wenwen Zhang" userId="9dd81366-5d6f-445a-b031-6ea562624431" providerId="ADAL" clId="{D6FBF965-026B-43DA-A554-C6861A0A35E4}" dt="2023-02-01T18:28:33.634" v="14644"/>
          <ac:cxnSpMkLst>
            <pc:docMk/>
            <pc:sldMk cId="281210433" sldId="2134804371"/>
            <ac:cxnSpMk id="3" creationId="{32390640-9CE2-5653-399B-36D360AD96CC}"/>
          </ac:cxnSpMkLst>
        </pc:cxnChg>
        <pc:cxnChg chg="add mod ord replST">
          <ac:chgData name="Wenwen Zhang" userId="9dd81366-5d6f-445a-b031-6ea562624431" providerId="ADAL" clId="{D6FBF965-026B-43DA-A554-C6861A0A35E4}" dt="2023-02-01T18:28:33.634" v="14662"/>
          <ac:cxnSpMkLst>
            <pc:docMk/>
            <pc:sldMk cId="281210433" sldId="2134804371"/>
            <ac:cxnSpMk id="5" creationId="{A04F0AC1-BC7B-BA82-D7DC-D75134EDFF71}"/>
          </ac:cxnSpMkLst>
        </pc:cxnChg>
        <pc:cxnChg chg="add mod ord replST">
          <ac:chgData name="Wenwen Zhang" userId="9dd81366-5d6f-445a-b031-6ea562624431" providerId="ADAL" clId="{D6FBF965-026B-43DA-A554-C6861A0A35E4}" dt="2023-02-01T18:28:33.634" v="14652"/>
          <ac:cxnSpMkLst>
            <pc:docMk/>
            <pc:sldMk cId="281210433" sldId="2134804371"/>
            <ac:cxnSpMk id="6" creationId="{33F5F65E-4168-2B5D-D297-458294092F2A}"/>
          </ac:cxnSpMkLst>
        </pc:cxnChg>
        <pc:cxnChg chg="add mod ord replST">
          <ac:chgData name="Wenwen Zhang" userId="9dd81366-5d6f-445a-b031-6ea562624431" providerId="ADAL" clId="{D6FBF965-026B-43DA-A554-C6861A0A35E4}" dt="2023-02-01T18:28:33.634" v="14642"/>
          <ac:cxnSpMkLst>
            <pc:docMk/>
            <pc:sldMk cId="281210433" sldId="2134804371"/>
            <ac:cxnSpMk id="7" creationId="{2DA3D2FB-CE6B-49CF-B812-27AE20849D30}"/>
          </ac:cxnSpMkLst>
        </pc:cxnChg>
        <pc:cxnChg chg="add mod ord replST">
          <ac:chgData name="Wenwen Zhang" userId="9dd81366-5d6f-445a-b031-6ea562624431" providerId="ADAL" clId="{D6FBF965-026B-43DA-A554-C6861A0A35E4}" dt="2023-02-01T18:28:33.634" v="14656"/>
          <ac:cxnSpMkLst>
            <pc:docMk/>
            <pc:sldMk cId="281210433" sldId="2134804371"/>
            <ac:cxnSpMk id="8" creationId="{7A1D94F3-745C-BE59-2FB5-48C9569A3AA2}"/>
          </ac:cxnSpMkLst>
        </pc:cxnChg>
        <pc:cxnChg chg="add mod ord replST">
          <ac:chgData name="Wenwen Zhang" userId="9dd81366-5d6f-445a-b031-6ea562624431" providerId="ADAL" clId="{D6FBF965-026B-43DA-A554-C6861A0A35E4}" dt="2023-02-01T18:28:33.634" v="14648"/>
          <ac:cxnSpMkLst>
            <pc:docMk/>
            <pc:sldMk cId="281210433" sldId="2134804371"/>
            <ac:cxnSpMk id="9" creationId="{60730407-BD9F-76A0-A44B-3C58720649BC}"/>
          </ac:cxnSpMkLst>
        </pc:cxnChg>
        <pc:cxnChg chg="del">
          <ac:chgData name="Wenwen Zhang" userId="9dd81366-5d6f-445a-b031-6ea562624431" providerId="ADAL" clId="{D6FBF965-026B-43DA-A554-C6861A0A35E4}" dt="2023-02-01T18:28:16.907" v="13370"/>
          <ac:cxnSpMkLst>
            <pc:docMk/>
            <pc:sldMk cId="281210433" sldId="2134804371"/>
            <ac:cxnSpMk id="10" creationId="{C2B1DCD2-50D8-2D6B-0DD0-4E504EB04741}"/>
          </ac:cxnSpMkLst>
        </pc:cxnChg>
        <pc:cxnChg chg="del">
          <ac:chgData name="Wenwen Zhang" userId="9dd81366-5d6f-445a-b031-6ea562624431" providerId="ADAL" clId="{D6FBF965-026B-43DA-A554-C6861A0A35E4}" dt="2023-02-01T18:28:16.896" v="13337"/>
          <ac:cxnSpMkLst>
            <pc:docMk/>
            <pc:sldMk cId="281210433" sldId="2134804371"/>
            <ac:cxnSpMk id="11" creationId="{36989B73-932F-7F73-67AE-4BADF3449F9F}"/>
          </ac:cxnSpMkLst>
        </pc:cxnChg>
        <pc:cxnChg chg="add mod ord replST">
          <ac:chgData name="Wenwen Zhang" userId="9dd81366-5d6f-445a-b031-6ea562624431" providerId="ADAL" clId="{D6FBF965-026B-43DA-A554-C6861A0A35E4}" dt="2023-02-01T18:28:33.634" v="14654"/>
          <ac:cxnSpMkLst>
            <pc:docMk/>
            <pc:sldMk cId="281210433" sldId="2134804371"/>
            <ac:cxnSpMk id="12" creationId="{01AE4A55-0C4E-8C9F-5A4E-E0ABF1DF1430}"/>
          </ac:cxnSpMkLst>
        </pc:cxnChg>
        <pc:cxnChg chg="add mod ord replST">
          <ac:chgData name="Wenwen Zhang" userId="9dd81366-5d6f-445a-b031-6ea562624431" providerId="ADAL" clId="{D6FBF965-026B-43DA-A554-C6861A0A35E4}" dt="2023-02-01T18:28:33.634" v="14658"/>
          <ac:cxnSpMkLst>
            <pc:docMk/>
            <pc:sldMk cId="281210433" sldId="2134804371"/>
            <ac:cxnSpMk id="13" creationId="{D09102BF-DF6D-179F-67BB-FC43C1F819E0}"/>
          </ac:cxnSpMkLst>
        </pc:cxnChg>
        <pc:cxnChg chg="add mod ord replST">
          <ac:chgData name="Wenwen Zhang" userId="9dd81366-5d6f-445a-b031-6ea562624431" providerId="ADAL" clId="{D6FBF965-026B-43DA-A554-C6861A0A35E4}" dt="2023-02-01T18:28:33.634" v="14660"/>
          <ac:cxnSpMkLst>
            <pc:docMk/>
            <pc:sldMk cId="281210433" sldId="2134804371"/>
            <ac:cxnSpMk id="14" creationId="{EF0DF5E4-BF28-91DC-81F9-D88A1ECDF6A3}"/>
          </ac:cxnSpMkLst>
        </pc:cxnChg>
        <pc:cxnChg chg="add mod ord replST">
          <ac:chgData name="Wenwen Zhang" userId="9dd81366-5d6f-445a-b031-6ea562624431" providerId="ADAL" clId="{D6FBF965-026B-43DA-A554-C6861A0A35E4}" dt="2023-02-01T18:28:33.634" v="14646"/>
          <ac:cxnSpMkLst>
            <pc:docMk/>
            <pc:sldMk cId="281210433" sldId="2134804371"/>
            <ac:cxnSpMk id="15" creationId="{4A90D67B-CC8E-9264-4836-AADECBDB8DDD}"/>
          </ac:cxnSpMkLst>
        </pc:cxnChg>
        <pc:cxnChg chg="add mod ord replST">
          <ac:chgData name="Wenwen Zhang" userId="9dd81366-5d6f-445a-b031-6ea562624431" providerId="ADAL" clId="{D6FBF965-026B-43DA-A554-C6861A0A35E4}" dt="2023-02-01T18:28:33.634" v="14650"/>
          <ac:cxnSpMkLst>
            <pc:docMk/>
            <pc:sldMk cId="281210433" sldId="2134804371"/>
            <ac:cxnSpMk id="16" creationId="{7B4B2FCA-4DBB-B022-A14A-A29F384A3EC7}"/>
          </ac:cxnSpMkLst>
        </pc:cxnChg>
        <pc:cxnChg chg="add mod ord replST">
          <ac:chgData name="Wenwen Zhang" userId="9dd81366-5d6f-445a-b031-6ea562624431" providerId="ADAL" clId="{D6FBF965-026B-43DA-A554-C6861A0A35E4}" dt="2023-02-01T18:28:33.634" v="14664"/>
          <ac:cxnSpMkLst>
            <pc:docMk/>
            <pc:sldMk cId="281210433" sldId="2134804371"/>
            <ac:cxnSpMk id="17" creationId="{60B6D2C5-6C2C-24F9-D518-9A8C8B95E1F5}"/>
          </ac:cxnSpMkLst>
        </pc:cxnChg>
        <pc:cxnChg chg="add mod ord replST">
          <ac:chgData name="Wenwen Zhang" userId="9dd81366-5d6f-445a-b031-6ea562624431" providerId="ADAL" clId="{D6FBF965-026B-43DA-A554-C6861A0A35E4}" dt="2023-02-01T18:28:33.634" v="14666"/>
          <ac:cxnSpMkLst>
            <pc:docMk/>
            <pc:sldMk cId="281210433" sldId="2134804371"/>
            <ac:cxnSpMk id="18" creationId="{96659FBD-2104-4052-9C3A-BE9C66BAE3EE}"/>
          </ac:cxnSpMkLst>
        </pc:cxnChg>
        <pc:cxnChg chg="del">
          <ac:chgData name="Wenwen Zhang" userId="9dd81366-5d6f-445a-b031-6ea562624431" providerId="ADAL" clId="{D6FBF965-026B-43DA-A554-C6861A0A35E4}" dt="2023-02-01T18:28:16.907" v="13367"/>
          <ac:cxnSpMkLst>
            <pc:docMk/>
            <pc:sldMk cId="281210433" sldId="2134804371"/>
            <ac:cxnSpMk id="22" creationId="{BBD8FDAF-64FD-D79B-1695-674D15E0BCFA}"/>
          </ac:cxnSpMkLst>
        </pc:cxnChg>
        <pc:cxnChg chg="del">
          <ac:chgData name="Wenwen Zhang" userId="9dd81366-5d6f-445a-b031-6ea562624431" providerId="ADAL" clId="{D6FBF965-026B-43DA-A554-C6861A0A35E4}" dt="2023-02-01T18:28:16.907" v="13373"/>
          <ac:cxnSpMkLst>
            <pc:docMk/>
            <pc:sldMk cId="281210433" sldId="2134804371"/>
            <ac:cxnSpMk id="25" creationId="{B98B81E8-E7A4-102B-F5B1-935F1709A52E}"/>
          </ac:cxnSpMkLst>
        </pc:cxnChg>
        <pc:cxnChg chg="del">
          <ac:chgData name="Wenwen Zhang" userId="9dd81366-5d6f-445a-b031-6ea562624431" providerId="ADAL" clId="{D6FBF965-026B-43DA-A554-C6861A0A35E4}" dt="2023-02-01T18:28:16.904" v="13364"/>
          <ac:cxnSpMkLst>
            <pc:docMk/>
            <pc:sldMk cId="281210433" sldId="2134804371"/>
            <ac:cxnSpMk id="26" creationId="{B294AEC1-DDE5-CDAF-3F9B-D8CAE9EE86A4}"/>
          </ac:cxnSpMkLst>
        </pc:cxnChg>
        <pc:cxnChg chg="del">
          <ac:chgData name="Wenwen Zhang" userId="9dd81366-5d6f-445a-b031-6ea562624431" providerId="ADAL" clId="{D6FBF965-026B-43DA-A554-C6861A0A35E4}" dt="2023-02-01T18:28:16.904" v="13361"/>
          <ac:cxnSpMkLst>
            <pc:docMk/>
            <pc:sldMk cId="281210433" sldId="2134804371"/>
            <ac:cxnSpMk id="27" creationId="{3C9B1DD0-6102-9702-2F2F-2824775C22BE}"/>
          </ac:cxnSpMkLst>
        </pc:cxnChg>
        <pc:cxnChg chg="del">
          <ac:chgData name="Wenwen Zhang" userId="9dd81366-5d6f-445a-b031-6ea562624431" providerId="ADAL" clId="{D6FBF965-026B-43DA-A554-C6861A0A35E4}" dt="2023-02-01T18:28:16.904" v="13358"/>
          <ac:cxnSpMkLst>
            <pc:docMk/>
            <pc:sldMk cId="281210433" sldId="2134804371"/>
            <ac:cxnSpMk id="30" creationId="{F65CD1CF-0E62-79A3-4684-7B04409AFDC7}"/>
          </ac:cxnSpMkLst>
        </pc:cxnChg>
        <pc:cxnChg chg="del">
          <ac:chgData name="Wenwen Zhang" userId="9dd81366-5d6f-445a-b031-6ea562624431" providerId="ADAL" clId="{D6FBF965-026B-43DA-A554-C6861A0A35E4}" dt="2023-02-01T18:28:16.902" v="13355"/>
          <ac:cxnSpMkLst>
            <pc:docMk/>
            <pc:sldMk cId="281210433" sldId="2134804371"/>
            <ac:cxnSpMk id="31" creationId="{BBA4CFD8-50E2-590E-359C-B7B30680283A}"/>
          </ac:cxnSpMkLst>
        </pc:cxnChg>
        <pc:cxnChg chg="del">
          <ac:chgData name="Wenwen Zhang" userId="9dd81366-5d6f-445a-b031-6ea562624431" providerId="ADAL" clId="{D6FBF965-026B-43DA-A554-C6861A0A35E4}" dt="2023-02-01T18:28:16.902" v="13352"/>
          <ac:cxnSpMkLst>
            <pc:docMk/>
            <pc:sldMk cId="281210433" sldId="2134804371"/>
            <ac:cxnSpMk id="32" creationId="{6572E1D7-FA97-3285-0AAF-E42777546E09}"/>
          </ac:cxnSpMkLst>
        </pc:cxnChg>
        <pc:cxnChg chg="del">
          <ac:chgData name="Wenwen Zhang" userId="9dd81366-5d6f-445a-b031-6ea562624431" providerId="ADAL" clId="{D6FBF965-026B-43DA-A554-C6861A0A35E4}" dt="2023-02-01T18:28:16.896" v="13349"/>
          <ac:cxnSpMkLst>
            <pc:docMk/>
            <pc:sldMk cId="281210433" sldId="2134804371"/>
            <ac:cxnSpMk id="33" creationId="{0FBB30A5-D21D-8508-C2D1-98485EA4F45D}"/>
          </ac:cxnSpMkLst>
        </pc:cxnChg>
        <pc:cxnChg chg="del">
          <ac:chgData name="Wenwen Zhang" userId="9dd81366-5d6f-445a-b031-6ea562624431" providerId="ADAL" clId="{D6FBF965-026B-43DA-A554-C6861A0A35E4}" dt="2023-02-01T18:28:16.896" v="13346"/>
          <ac:cxnSpMkLst>
            <pc:docMk/>
            <pc:sldMk cId="281210433" sldId="2134804371"/>
            <ac:cxnSpMk id="34" creationId="{90466765-2333-EB42-B879-3266B81004F2}"/>
          </ac:cxnSpMkLst>
        </pc:cxnChg>
        <pc:cxnChg chg="del">
          <ac:chgData name="Wenwen Zhang" userId="9dd81366-5d6f-445a-b031-6ea562624431" providerId="ADAL" clId="{D6FBF965-026B-43DA-A554-C6861A0A35E4}" dt="2023-02-01T18:28:16.896" v="13343"/>
          <ac:cxnSpMkLst>
            <pc:docMk/>
            <pc:sldMk cId="281210433" sldId="2134804371"/>
            <ac:cxnSpMk id="35" creationId="{3E9EDB86-5204-5009-CD30-140A2F585F91}"/>
          </ac:cxnSpMkLst>
        </pc:cxnChg>
        <pc:cxnChg chg="del">
          <ac:chgData name="Wenwen Zhang" userId="9dd81366-5d6f-445a-b031-6ea562624431" providerId="ADAL" clId="{D6FBF965-026B-43DA-A554-C6861A0A35E4}" dt="2023-02-01T18:28:16.896" v="13340"/>
          <ac:cxnSpMkLst>
            <pc:docMk/>
            <pc:sldMk cId="281210433" sldId="2134804371"/>
            <ac:cxnSpMk id="36" creationId="{E77D04B1-74ED-5C8A-4420-D15238B3033C}"/>
          </ac:cxnSpMkLst>
        </pc:cxnChg>
        <pc:cxnChg chg="del">
          <ac:chgData name="Wenwen Zhang" userId="9dd81366-5d6f-445a-b031-6ea562624431" providerId="ADAL" clId="{D6FBF965-026B-43DA-A554-C6861A0A35E4}" dt="2023-02-01T18:28:16.896" v="13334"/>
          <ac:cxnSpMkLst>
            <pc:docMk/>
            <pc:sldMk cId="281210433" sldId="2134804371"/>
            <ac:cxnSpMk id="37" creationId="{E0BD5345-7440-4A3E-C0EA-7682008B4EC0}"/>
          </ac:cxnSpMkLst>
        </pc:cxnChg>
        <pc:cxnChg chg="del">
          <ac:chgData name="Wenwen Zhang" userId="9dd81366-5d6f-445a-b031-6ea562624431" providerId="ADAL" clId="{D6FBF965-026B-43DA-A554-C6861A0A35E4}" dt="2023-02-01T18:28:16.896" v="13331"/>
          <ac:cxnSpMkLst>
            <pc:docMk/>
            <pc:sldMk cId="281210433" sldId="2134804371"/>
            <ac:cxnSpMk id="38" creationId="{71853722-90DD-EEA1-ACF0-41C9EF96C8AC}"/>
          </ac:cxnSpMkLst>
        </pc:cxnChg>
        <pc:cxnChg chg="del">
          <ac:chgData name="Wenwen Zhang" userId="9dd81366-5d6f-445a-b031-6ea562624431" providerId="ADAL" clId="{D6FBF965-026B-43DA-A554-C6861A0A35E4}" dt="2023-02-01T18:28:16.889" v="13328"/>
          <ac:cxnSpMkLst>
            <pc:docMk/>
            <pc:sldMk cId="281210433" sldId="2134804371"/>
            <ac:cxnSpMk id="39" creationId="{64B2D29A-8079-5F0A-1C71-BE7A1F1BEE65}"/>
          </ac:cxnSpMkLst>
        </pc:cxnChg>
        <pc:cxnChg chg="del">
          <ac:chgData name="Wenwen Zhang" userId="9dd81366-5d6f-445a-b031-6ea562624431" providerId="ADAL" clId="{D6FBF965-026B-43DA-A554-C6861A0A35E4}" dt="2023-02-01T18:28:16.889" v="13325"/>
          <ac:cxnSpMkLst>
            <pc:docMk/>
            <pc:sldMk cId="281210433" sldId="2134804371"/>
            <ac:cxnSpMk id="40" creationId="{B2FBF8B8-A450-FCC2-2BDF-529D3D0124B9}"/>
          </ac:cxnSpMkLst>
        </pc:cxnChg>
        <pc:cxnChg chg="del">
          <ac:chgData name="Wenwen Zhang" userId="9dd81366-5d6f-445a-b031-6ea562624431" providerId="ADAL" clId="{D6FBF965-026B-43DA-A554-C6861A0A35E4}" dt="2023-02-01T18:28:16.889" v="13322"/>
          <ac:cxnSpMkLst>
            <pc:docMk/>
            <pc:sldMk cId="281210433" sldId="2134804371"/>
            <ac:cxnSpMk id="41" creationId="{4B97B6F7-FA61-D99F-33A6-AD672B98895A}"/>
          </ac:cxnSpMkLst>
        </pc:cxnChg>
        <pc:cxnChg chg="del">
          <ac:chgData name="Wenwen Zhang" userId="9dd81366-5d6f-445a-b031-6ea562624431" providerId="ADAL" clId="{D6FBF965-026B-43DA-A554-C6861A0A35E4}" dt="2023-02-01T18:28:16.889" v="13319"/>
          <ac:cxnSpMkLst>
            <pc:docMk/>
            <pc:sldMk cId="281210433" sldId="2134804371"/>
            <ac:cxnSpMk id="42" creationId="{CA523B21-1A74-CF9C-C27A-9A5B306A90FD}"/>
          </ac:cxnSpMkLst>
        </pc:cxnChg>
        <pc:cxnChg chg="del">
          <ac:chgData name="Wenwen Zhang" userId="9dd81366-5d6f-445a-b031-6ea562624431" providerId="ADAL" clId="{D6FBF965-026B-43DA-A554-C6861A0A35E4}" dt="2023-02-01T18:28:16.887" v="13309"/>
          <ac:cxnSpMkLst>
            <pc:docMk/>
            <pc:sldMk cId="281210433" sldId="2134804371"/>
            <ac:cxnSpMk id="64" creationId="{CDC2214B-B624-4ABB-E00E-E9564153FBE5}"/>
          </ac:cxnSpMkLst>
        </pc:cxnChg>
        <pc:cxnChg chg="del">
          <ac:chgData name="Wenwen Zhang" userId="9dd81366-5d6f-445a-b031-6ea562624431" providerId="ADAL" clId="{D6FBF965-026B-43DA-A554-C6861A0A35E4}" dt="2023-02-01T18:28:16.889" v="13315"/>
          <ac:cxnSpMkLst>
            <pc:docMk/>
            <pc:sldMk cId="281210433" sldId="2134804371"/>
            <ac:cxnSpMk id="65" creationId="{E56A49A2-72D4-FBAC-1B5D-86ED101CA13A}"/>
          </ac:cxnSpMkLst>
        </pc:cxnChg>
        <pc:cxnChg chg="del">
          <ac:chgData name="Wenwen Zhang" userId="9dd81366-5d6f-445a-b031-6ea562624431" providerId="ADAL" clId="{D6FBF965-026B-43DA-A554-C6861A0A35E4}" dt="2023-02-01T18:28:16.889" v="13312"/>
          <ac:cxnSpMkLst>
            <pc:docMk/>
            <pc:sldMk cId="281210433" sldId="2134804371"/>
            <ac:cxnSpMk id="66" creationId="{D884AC93-119A-B9AF-03F2-E526E09BD973}"/>
          </ac:cxnSpMkLst>
        </pc:cxnChg>
      </pc:sldChg>
      <pc:sldChg chg="addSp delSp modSp add del mod ord">
        <pc:chgData name="Wenwen Zhang" userId="9dd81366-5d6f-445a-b031-6ea562624431" providerId="ADAL" clId="{D6FBF965-026B-43DA-A554-C6861A0A35E4}" dt="2023-02-01T20:46:53.213" v="61035" actId="2696"/>
        <pc:sldMkLst>
          <pc:docMk/>
          <pc:sldMk cId="4114790528" sldId="2134804371"/>
        </pc:sldMkLst>
        <pc:spChg chg="mod ord">
          <ac:chgData name="Wenwen Zhang" userId="9dd81366-5d6f-445a-b031-6ea562624431" providerId="ADAL" clId="{D6FBF965-026B-43DA-A554-C6861A0A35E4}" dt="2023-02-01T20:35:40.478" v="54036"/>
          <ac:spMkLst>
            <pc:docMk/>
            <pc:sldMk cId="4114790528" sldId="2134804371"/>
            <ac:spMk id="2" creationId="{B065B79C-C4D6-5961-7919-6BB68C420868}"/>
          </ac:spMkLst>
        </pc:spChg>
        <pc:spChg chg="add del mod modVis">
          <ac:chgData name="Wenwen Zhang" userId="9dd81366-5d6f-445a-b031-6ea562624431" providerId="ADAL" clId="{D6FBF965-026B-43DA-A554-C6861A0A35E4}" dt="2023-02-01T19:38:17.493" v="39673"/>
          <ac:spMkLst>
            <pc:docMk/>
            <pc:sldMk cId="4114790528" sldId="2134804371"/>
            <ac:spMk id="3" creationId="{F3189091-408D-558C-9050-C1C2EC9D1976}"/>
          </ac:spMkLst>
        </pc:spChg>
        <pc:spChg chg="add del mod modVis">
          <ac:chgData name="Wenwen Zhang" userId="9dd81366-5d6f-445a-b031-6ea562624431" providerId="ADAL" clId="{D6FBF965-026B-43DA-A554-C6861A0A35E4}" dt="2023-02-01T19:38:30.619" v="39768"/>
          <ac:spMkLst>
            <pc:docMk/>
            <pc:sldMk cId="4114790528" sldId="2134804371"/>
            <ac:spMk id="5" creationId="{5EED9AD0-16E8-2C51-8A5B-84C071386B86}"/>
          </ac:spMkLst>
        </pc:spChg>
        <pc:spChg chg="add del mod modVis">
          <ac:chgData name="Wenwen Zhang" userId="9dd81366-5d6f-445a-b031-6ea562624431" providerId="ADAL" clId="{D6FBF965-026B-43DA-A554-C6861A0A35E4}" dt="2023-02-01T19:38:56.195" v="39864"/>
          <ac:spMkLst>
            <pc:docMk/>
            <pc:sldMk cId="4114790528" sldId="2134804371"/>
            <ac:spMk id="7" creationId="{17DAAD4B-76EC-B121-DC0F-73BB9F1BB71C}"/>
          </ac:spMkLst>
        </pc:spChg>
        <pc:spChg chg="add del mod modVis">
          <ac:chgData name="Wenwen Zhang" userId="9dd81366-5d6f-445a-b031-6ea562624431" providerId="ADAL" clId="{D6FBF965-026B-43DA-A554-C6861A0A35E4}" dt="2023-02-01T20:10:00.459" v="40001"/>
          <ac:spMkLst>
            <pc:docMk/>
            <pc:sldMk cId="4114790528" sldId="2134804371"/>
            <ac:spMk id="9" creationId="{D2522C14-0F00-40CA-26AB-2E0BC43D0924}"/>
          </ac:spMkLst>
        </pc:spChg>
        <pc:spChg chg="add del mod modVis">
          <ac:chgData name="Wenwen Zhang" userId="9dd81366-5d6f-445a-b031-6ea562624431" providerId="ADAL" clId="{D6FBF965-026B-43DA-A554-C6861A0A35E4}" dt="2023-02-01T20:10:07.199" v="40088"/>
          <ac:spMkLst>
            <pc:docMk/>
            <pc:sldMk cId="4114790528" sldId="2134804371"/>
            <ac:spMk id="11" creationId="{D55E3F1F-C125-AF05-0674-EF822870A067}"/>
          </ac:spMkLst>
        </pc:spChg>
        <pc:spChg chg="add del mod modVis">
          <ac:chgData name="Wenwen Zhang" userId="9dd81366-5d6f-445a-b031-6ea562624431" providerId="ADAL" clId="{D6FBF965-026B-43DA-A554-C6861A0A35E4}" dt="2023-02-01T20:10:18.568" v="40178"/>
          <ac:spMkLst>
            <pc:docMk/>
            <pc:sldMk cId="4114790528" sldId="2134804371"/>
            <ac:spMk id="13" creationId="{CD76DAD7-B7CC-D5B9-D2EB-440CA9DE13CB}"/>
          </ac:spMkLst>
        </pc:spChg>
        <pc:spChg chg="add del mod modVis">
          <ac:chgData name="Wenwen Zhang" userId="9dd81366-5d6f-445a-b031-6ea562624431" providerId="ADAL" clId="{D6FBF965-026B-43DA-A554-C6861A0A35E4}" dt="2023-02-01T20:10:40.722" v="40265"/>
          <ac:spMkLst>
            <pc:docMk/>
            <pc:sldMk cId="4114790528" sldId="2134804371"/>
            <ac:spMk id="15" creationId="{D389D15F-05E9-9E72-656D-609104C2E79A}"/>
          </ac:spMkLst>
        </pc:spChg>
        <pc:spChg chg="add del mod modVis">
          <ac:chgData name="Wenwen Zhang" userId="9dd81366-5d6f-445a-b031-6ea562624431" providerId="ADAL" clId="{D6FBF965-026B-43DA-A554-C6861A0A35E4}" dt="2023-02-01T20:10:46.640" v="40378"/>
          <ac:spMkLst>
            <pc:docMk/>
            <pc:sldMk cId="4114790528" sldId="2134804371"/>
            <ac:spMk id="17" creationId="{208F6E4A-D9B6-AA9C-6A4A-0C2756AAD1A3}"/>
          </ac:spMkLst>
        </pc:spChg>
        <pc:spChg chg="add del mod modVis">
          <ac:chgData name="Wenwen Zhang" userId="9dd81366-5d6f-445a-b031-6ea562624431" providerId="ADAL" clId="{D6FBF965-026B-43DA-A554-C6861A0A35E4}" dt="2023-02-01T20:10:55.484" v="40465"/>
          <ac:spMkLst>
            <pc:docMk/>
            <pc:sldMk cId="4114790528" sldId="2134804371"/>
            <ac:spMk id="19" creationId="{1A35E3DF-FA08-3AD0-1649-A7964DD9EBE9}"/>
          </ac:spMkLst>
        </pc:spChg>
        <pc:spChg chg="add del mod replST">
          <ac:chgData name="Wenwen Zhang" userId="9dd81366-5d6f-445a-b031-6ea562624431" providerId="ADAL" clId="{D6FBF965-026B-43DA-A554-C6861A0A35E4}" dt="2023-02-01T20:11:33.290" v="40855"/>
          <ac:spMkLst>
            <pc:docMk/>
            <pc:sldMk cId="4114790528" sldId="2134804371"/>
            <ac:spMk id="21" creationId="{FA7CCE74-45CC-E1AF-7D19-EE955A0CC1DF}"/>
          </ac:spMkLst>
        </pc:spChg>
        <pc:spChg chg="add del mod modVis">
          <ac:chgData name="Wenwen Zhang" userId="9dd81366-5d6f-445a-b031-6ea562624431" providerId="ADAL" clId="{D6FBF965-026B-43DA-A554-C6861A0A35E4}" dt="2023-02-01T20:11:01.445" v="40618"/>
          <ac:spMkLst>
            <pc:docMk/>
            <pc:sldMk cId="4114790528" sldId="2134804371"/>
            <ac:spMk id="22" creationId="{B7609E96-AA03-2514-80D7-B93E8990D4D5}"/>
          </ac:spMkLst>
        </pc:spChg>
        <pc:spChg chg="add del mod modVis">
          <ac:chgData name="Wenwen Zhang" userId="9dd81366-5d6f-445a-b031-6ea562624431" providerId="ADAL" clId="{D6FBF965-026B-43DA-A554-C6861A0A35E4}" dt="2023-02-01T20:11:07.528" v="40747"/>
          <ac:spMkLst>
            <pc:docMk/>
            <pc:sldMk cId="4114790528" sldId="2134804371"/>
            <ac:spMk id="25" creationId="{4943B407-D8A5-5A4D-002A-C060AECBF5BE}"/>
          </ac:spMkLst>
        </pc:spChg>
        <pc:spChg chg="add del mod modVis">
          <ac:chgData name="Wenwen Zhang" userId="9dd81366-5d6f-445a-b031-6ea562624431" providerId="ADAL" clId="{D6FBF965-026B-43DA-A554-C6861A0A35E4}" dt="2023-02-01T20:11:11.341" v="40850"/>
          <ac:spMkLst>
            <pc:docMk/>
            <pc:sldMk cId="4114790528" sldId="2134804371"/>
            <ac:spMk id="27" creationId="{D148A21B-2851-339B-A6F6-303B09DB21B1}"/>
          </ac:spMkLst>
        </pc:spChg>
        <pc:spChg chg="mod ord">
          <ac:chgData name="Wenwen Zhang" userId="9dd81366-5d6f-445a-b031-6ea562624431" providerId="ADAL" clId="{D6FBF965-026B-43DA-A554-C6861A0A35E4}" dt="2023-02-01T20:35:40.478" v="54038"/>
          <ac:spMkLst>
            <pc:docMk/>
            <pc:sldMk cId="4114790528" sldId="2134804371"/>
            <ac:spMk id="29" creationId="{D50B6CAA-A666-5524-85F7-444C607F0970}"/>
          </ac:spMkLst>
        </pc:spChg>
        <pc:spChg chg="add del mod modVis">
          <ac:chgData name="Wenwen Zhang" userId="9dd81366-5d6f-445a-b031-6ea562624431" providerId="ADAL" clId="{D6FBF965-026B-43DA-A554-C6861A0A35E4}" dt="2023-02-01T20:11:33.345" v="40928"/>
          <ac:spMkLst>
            <pc:docMk/>
            <pc:sldMk cId="4114790528" sldId="2134804371"/>
            <ac:spMk id="31" creationId="{5D9DE28A-E93F-D368-5B09-EE99820833CA}"/>
          </ac:spMkLst>
        </pc:spChg>
        <pc:spChg chg="add del mod modVis">
          <ac:chgData name="Wenwen Zhang" userId="9dd81366-5d6f-445a-b031-6ea562624431" providerId="ADAL" clId="{D6FBF965-026B-43DA-A554-C6861A0A35E4}" dt="2023-02-01T20:12:19.799" v="41195"/>
          <ac:spMkLst>
            <pc:docMk/>
            <pc:sldMk cId="4114790528" sldId="2134804371"/>
            <ac:spMk id="33" creationId="{DBE06645-148F-12EF-FA22-791108712967}"/>
          </ac:spMkLst>
        </pc:spChg>
        <pc:spChg chg="add del mod replST">
          <ac:chgData name="Wenwen Zhang" userId="9dd81366-5d6f-445a-b031-6ea562624431" providerId="ADAL" clId="{D6FBF965-026B-43DA-A554-C6861A0A35E4}" dt="2023-02-01T20:27:46.686" v="46459"/>
          <ac:spMkLst>
            <pc:docMk/>
            <pc:sldMk cId="4114790528" sldId="2134804371"/>
            <ac:spMk id="34" creationId="{96DB64E7-7450-5BAA-7DCA-6F75AE12EF02}"/>
          </ac:spMkLst>
        </pc:spChg>
        <pc:spChg chg="add del mod replST">
          <ac:chgData name="Wenwen Zhang" userId="9dd81366-5d6f-445a-b031-6ea562624431" providerId="ADAL" clId="{D6FBF965-026B-43DA-A554-C6861A0A35E4}" dt="2023-02-01T20:27:46.685" v="46456"/>
          <ac:spMkLst>
            <pc:docMk/>
            <pc:sldMk cId="4114790528" sldId="2134804371"/>
            <ac:spMk id="35" creationId="{96DB64E7-7450-5BAA-7DCA-6F75AE12EF02}"/>
          </ac:spMkLst>
        </pc:spChg>
        <pc:spChg chg="add del mod modVis">
          <ac:chgData name="Wenwen Zhang" userId="9dd81366-5d6f-445a-b031-6ea562624431" providerId="ADAL" clId="{D6FBF965-026B-43DA-A554-C6861A0A35E4}" dt="2023-02-01T20:12:33.628" v="41269"/>
          <ac:spMkLst>
            <pc:docMk/>
            <pc:sldMk cId="4114790528" sldId="2134804371"/>
            <ac:spMk id="38" creationId="{09EA68C0-DA66-A74D-7B4B-804C1BDFB6B2}"/>
          </ac:spMkLst>
        </pc:spChg>
        <pc:spChg chg="add del mod replST">
          <ac:chgData name="Wenwen Zhang" userId="9dd81366-5d6f-445a-b031-6ea562624431" providerId="ADAL" clId="{D6FBF965-026B-43DA-A554-C6861A0A35E4}" dt="2023-02-01T20:22:35.383" v="43661"/>
          <ac:spMkLst>
            <pc:docMk/>
            <pc:sldMk cId="4114790528" sldId="2134804371"/>
            <ac:spMk id="40" creationId="{DF4CF25E-51EC-2DCA-DD91-1F86C8528314}"/>
          </ac:spMkLst>
        </pc:spChg>
        <pc:spChg chg="add del mod replST">
          <ac:chgData name="Wenwen Zhang" userId="9dd81366-5d6f-445a-b031-6ea562624431" providerId="ADAL" clId="{D6FBF965-026B-43DA-A554-C6861A0A35E4}" dt="2023-02-01T20:22:35.384" v="43663"/>
          <ac:spMkLst>
            <pc:docMk/>
            <pc:sldMk cId="4114790528" sldId="2134804371"/>
            <ac:spMk id="41" creationId="{870297BD-D3EE-2EC1-C96A-66551783209E}"/>
          </ac:spMkLst>
        </pc:spChg>
        <pc:spChg chg="add del mod modVis">
          <ac:chgData name="Wenwen Zhang" userId="9dd81366-5d6f-445a-b031-6ea562624431" providerId="ADAL" clId="{D6FBF965-026B-43DA-A554-C6861A0A35E4}" dt="2023-02-01T20:12:44.525" v="41436"/>
          <ac:spMkLst>
            <pc:docMk/>
            <pc:sldMk cId="4114790528" sldId="2134804371"/>
            <ac:spMk id="42" creationId="{69ACFC3B-551B-C2DA-0DAD-11A37290B3C4}"/>
          </ac:spMkLst>
        </pc:spChg>
        <pc:spChg chg="mod ord">
          <ac:chgData name="Wenwen Zhang" userId="9dd81366-5d6f-445a-b031-6ea562624431" providerId="ADAL" clId="{D6FBF965-026B-43DA-A554-C6861A0A35E4}" dt="2023-02-01T20:35:40.479" v="54040"/>
          <ac:spMkLst>
            <pc:docMk/>
            <pc:sldMk cId="4114790528" sldId="2134804371"/>
            <ac:spMk id="43" creationId="{C58C7321-3BF7-61DC-5B1A-AD075E56AE05}"/>
          </ac:spMkLst>
        </pc:spChg>
        <pc:spChg chg="add del mod modVis">
          <ac:chgData name="Wenwen Zhang" userId="9dd81366-5d6f-445a-b031-6ea562624431" providerId="ADAL" clId="{D6FBF965-026B-43DA-A554-C6861A0A35E4}" dt="2023-02-01T20:12:52.648" v="41516"/>
          <ac:spMkLst>
            <pc:docMk/>
            <pc:sldMk cId="4114790528" sldId="2134804371"/>
            <ac:spMk id="46" creationId="{BBC46532-2334-53D4-0F00-E25EB9576CFD}"/>
          </ac:spMkLst>
        </pc:spChg>
        <pc:spChg chg="add del mod modVis">
          <ac:chgData name="Wenwen Zhang" userId="9dd81366-5d6f-445a-b031-6ea562624431" providerId="ADAL" clId="{D6FBF965-026B-43DA-A554-C6861A0A35E4}" dt="2023-02-01T20:19:21.134" v="41596"/>
          <ac:spMkLst>
            <pc:docMk/>
            <pc:sldMk cId="4114790528" sldId="2134804371"/>
            <ac:spMk id="48" creationId="{00BFEE13-D6A8-2140-D396-8EBD361FD9E1}"/>
          </ac:spMkLst>
        </pc:spChg>
        <pc:spChg chg="add del mod modVis">
          <ac:chgData name="Wenwen Zhang" userId="9dd81366-5d6f-445a-b031-6ea562624431" providerId="ADAL" clId="{D6FBF965-026B-43DA-A554-C6861A0A35E4}" dt="2023-02-01T20:19:30.438" v="41674"/>
          <ac:spMkLst>
            <pc:docMk/>
            <pc:sldMk cId="4114790528" sldId="2134804371"/>
            <ac:spMk id="50" creationId="{29AA2DC4-5014-781B-63D7-4C1EBDE20126}"/>
          </ac:spMkLst>
        </pc:spChg>
        <pc:spChg chg="add del mod modVis">
          <ac:chgData name="Wenwen Zhang" userId="9dd81366-5d6f-445a-b031-6ea562624431" providerId="ADAL" clId="{D6FBF965-026B-43DA-A554-C6861A0A35E4}" dt="2023-02-01T20:19:34.434" v="41754"/>
          <ac:spMkLst>
            <pc:docMk/>
            <pc:sldMk cId="4114790528" sldId="2134804371"/>
            <ac:spMk id="52" creationId="{DC26B4A3-6F63-F364-ABBA-CF53C21F1971}"/>
          </ac:spMkLst>
        </pc:spChg>
        <pc:spChg chg="add del mod modVis">
          <ac:chgData name="Wenwen Zhang" userId="9dd81366-5d6f-445a-b031-6ea562624431" providerId="ADAL" clId="{D6FBF965-026B-43DA-A554-C6861A0A35E4}" dt="2023-02-01T20:19:38.365" v="41828"/>
          <ac:spMkLst>
            <pc:docMk/>
            <pc:sldMk cId="4114790528" sldId="2134804371"/>
            <ac:spMk id="54" creationId="{09F6CB81-1000-EE0F-81F9-AEEFF104E63E}"/>
          </ac:spMkLst>
        </pc:spChg>
        <pc:spChg chg="add del mod modVis">
          <ac:chgData name="Wenwen Zhang" userId="9dd81366-5d6f-445a-b031-6ea562624431" providerId="ADAL" clId="{D6FBF965-026B-43DA-A554-C6861A0A35E4}" dt="2023-02-01T20:20:07.319" v="41912"/>
          <ac:spMkLst>
            <pc:docMk/>
            <pc:sldMk cId="4114790528" sldId="2134804371"/>
            <ac:spMk id="56" creationId="{1CEB4E9E-8405-1D5F-EAB7-3014D0ABBED7}"/>
          </ac:spMkLst>
        </pc:spChg>
        <pc:spChg chg="add del mod modVis">
          <ac:chgData name="Wenwen Zhang" userId="9dd81366-5d6f-445a-b031-6ea562624431" providerId="ADAL" clId="{D6FBF965-026B-43DA-A554-C6861A0A35E4}" dt="2023-02-01T20:20:19.631" v="41986"/>
          <ac:spMkLst>
            <pc:docMk/>
            <pc:sldMk cId="4114790528" sldId="2134804371"/>
            <ac:spMk id="58" creationId="{6AEA43BE-DB22-93BA-8B1B-21797EBD1F7B}"/>
          </ac:spMkLst>
        </pc:spChg>
        <pc:spChg chg="add del mod modVis">
          <ac:chgData name="Wenwen Zhang" userId="9dd81366-5d6f-445a-b031-6ea562624431" providerId="ADAL" clId="{D6FBF965-026B-43DA-A554-C6861A0A35E4}" dt="2023-02-01T20:20:45.408" v="42289"/>
          <ac:spMkLst>
            <pc:docMk/>
            <pc:sldMk cId="4114790528" sldId="2134804371"/>
            <ac:spMk id="60" creationId="{FD15802E-923D-66BF-E3AB-A7B72F7D146D}"/>
          </ac:spMkLst>
        </pc:spChg>
        <pc:spChg chg="add del mod replST">
          <ac:chgData name="Wenwen Zhang" userId="9dd81366-5d6f-445a-b031-6ea562624431" providerId="ADAL" clId="{D6FBF965-026B-43DA-A554-C6861A0A35E4}" dt="2023-02-01T20:20:47.681" v="42292"/>
          <ac:spMkLst>
            <pc:docMk/>
            <pc:sldMk cId="4114790528" sldId="2134804371"/>
            <ac:spMk id="61" creationId="{96DB64E7-7450-5BAA-7DCA-6F75AE12EF02}"/>
          </ac:spMkLst>
        </pc:spChg>
        <pc:spChg chg="add del mod replST">
          <ac:chgData name="Wenwen Zhang" userId="9dd81366-5d6f-445a-b031-6ea562624431" providerId="ADAL" clId="{D6FBF965-026B-43DA-A554-C6861A0A35E4}" dt="2023-02-01T20:20:47.682" v="42293"/>
          <ac:spMkLst>
            <pc:docMk/>
            <pc:sldMk cId="4114790528" sldId="2134804371"/>
            <ac:spMk id="62" creationId="{96DB64E7-7450-5BAA-7DCA-6F75AE12EF02}"/>
          </ac:spMkLst>
        </pc:spChg>
        <pc:spChg chg="add del mod modVis">
          <ac:chgData name="Wenwen Zhang" userId="9dd81366-5d6f-445a-b031-6ea562624431" providerId="ADAL" clId="{D6FBF965-026B-43DA-A554-C6861A0A35E4}" dt="2023-02-01T20:25:16.981" v="45327"/>
          <ac:spMkLst>
            <pc:docMk/>
            <pc:sldMk cId="4114790528" sldId="2134804371"/>
            <ac:spMk id="65" creationId="{EFB7CD34-3A36-CDA2-F5BC-8C18CD0DA1D4}"/>
          </ac:spMkLst>
        </pc:spChg>
        <pc:spChg chg="add del mod modVis">
          <ac:chgData name="Wenwen Zhang" userId="9dd81366-5d6f-445a-b031-6ea562624431" providerId="ADAL" clId="{D6FBF965-026B-43DA-A554-C6861A0A35E4}" dt="2023-02-01T20:25:22.363" v="45416"/>
          <ac:spMkLst>
            <pc:docMk/>
            <pc:sldMk cId="4114790528" sldId="2134804371"/>
            <ac:spMk id="67" creationId="{97C8F7B2-6E2B-6B9B-C6B8-60EB3342E8D6}"/>
          </ac:spMkLst>
        </pc:spChg>
        <pc:spChg chg="add del mod modVis">
          <ac:chgData name="Wenwen Zhang" userId="9dd81366-5d6f-445a-b031-6ea562624431" providerId="ADAL" clId="{D6FBF965-026B-43DA-A554-C6861A0A35E4}" dt="2023-02-01T20:25:32.108" v="45505"/>
          <ac:spMkLst>
            <pc:docMk/>
            <pc:sldMk cId="4114790528" sldId="2134804371"/>
            <ac:spMk id="69" creationId="{3CF05B51-BC12-8014-CB28-8512AFB151EC}"/>
          </ac:spMkLst>
        </pc:spChg>
        <pc:spChg chg="add del mod modVis">
          <ac:chgData name="Wenwen Zhang" userId="9dd81366-5d6f-445a-b031-6ea562624431" providerId="ADAL" clId="{D6FBF965-026B-43DA-A554-C6861A0A35E4}" dt="2023-02-01T20:25:38.328" v="45594"/>
          <ac:spMkLst>
            <pc:docMk/>
            <pc:sldMk cId="4114790528" sldId="2134804371"/>
            <ac:spMk id="71" creationId="{B8B6740B-3E29-B26E-CF23-39ECE45FB398}"/>
          </ac:spMkLst>
        </pc:spChg>
        <pc:spChg chg="add del mod modVis">
          <ac:chgData name="Wenwen Zhang" userId="9dd81366-5d6f-445a-b031-6ea562624431" providerId="ADAL" clId="{D6FBF965-026B-43DA-A554-C6861A0A35E4}" dt="2023-02-01T20:25:43.773" v="45689"/>
          <ac:spMkLst>
            <pc:docMk/>
            <pc:sldMk cId="4114790528" sldId="2134804371"/>
            <ac:spMk id="73" creationId="{C1E83CB4-B9F1-C6DA-7F61-4F73983B839F}"/>
          </ac:spMkLst>
        </pc:spChg>
        <pc:spChg chg="add mod replST">
          <ac:chgData name="Wenwen Zhang" userId="9dd81366-5d6f-445a-b031-6ea562624431" providerId="ADAL" clId="{D6FBF965-026B-43DA-A554-C6861A0A35E4}" dt="2023-02-01T20:35:40.480" v="54044"/>
          <ac:spMkLst>
            <pc:docMk/>
            <pc:sldMk cId="4114790528" sldId="2134804371"/>
            <ac:spMk id="75" creationId="{96DB64E7-7450-5BAA-7DCA-6F75AE12EF02}"/>
          </ac:spMkLst>
        </pc:spChg>
        <pc:spChg chg="add del mod modVis">
          <ac:chgData name="Wenwen Zhang" userId="9dd81366-5d6f-445a-b031-6ea562624431" providerId="ADAL" clId="{D6FBF965-026B-43DA-A554-C6861A0A35E4}" dt="2023-02-01T20:26:46.787" v="46014"/>
          <ac:spMkLst>
            <pc:docMk/>
            <pc:sldMk cId="4114790528" sldId="2134804371"/>
            <ac:spMk id="76" creationId="{F309771C-1E32-B0BB-1B1D-0AA54EBEFA7D}"/>
          </ac:spMkLst>
        </pc:spChg>
        <pc:spChg chg="add mod replST">
          <ac:chgData name="Wenwen Zhang" userId="9dd81366-5d6f-445a-b031-6ea562624431" providerId="ADAL" clId="{D6FBF965-026B-43DA-A554-C6861A0A35E4}" dt="2023-02-01T20:35:40.480" v="54045"/>
          <ac:spMkLst>
            <pc:docMk/>
            <pc:sldMk cId="4114790528" sldId="2134804371"/>
            <ac:spMk id="77" creationId="{96DB64E7-7450-5BAA-7DCA-6F75AE12EF02}"/>
          </ac:spMkLst>
        </pc:spChg>
        <pc:spChg chg="add mod replST">
          <ac:chgData name="Wenwen Zhang" userId="9dd81366-5d6f-445a-b031-6ea562624431" providerId="ADAL" clId="{D6FBF965-026B-43DA-A554-C6861A0A35E4}" dt="2023-02-01T20:35:40.480" v="54046"/>
          <ac:spMkLst>
            <pc:docMk/>
            <pc:sldMk cId="4114790528" sldId="2134804371"/>
            <ac:spMk id="78" creationId="{96DB64E7-7450-5BAA-7DCA-6F75AE12EF02}"/>
          </ac:spMkLst>
        </pc:spChg>
        <pc:spChg chg="add mod replST">
          <ac:chgData name="Wenwen Zhang" userId="9dd81366-5d6f-445a-b031-6ea562624431" providerId="ADAL" clId="{D6FBF965-026B-43DA-A554-C6861A0A35E4}" dt="2023-02-01T20:35:40.479" v="54043"/>
          <ac:spMkLst>
            <pc:docMk/>
            <pc:sldMk cId="4114790528" sldId="2134804371"/>
            <ac:spMk id="81" creationId="{42E29EAF-C3A2-986C-C4F4-ECADC95D0268}"/>
          </ac:spMkLst>
        </pc:spChg>
        <pc:spChg chg="add del mod modVis">
          <ac:chgData name="Wenwen Zhang" userId="9dd81366-5d6f-445a-b031-6ea562624431" providerId="ADAL" clId="{D6FBF965-026B-43DA-A554-C6861A0A35E4}" dt="2023-02-01T20:27:23.852" v="46198"/>
          <ac:spMkLst>
            <pc:docMk/>
            <pc:sldMk cId="4114790528" sldId="2134804371"/>
            <ac:spMk id="82" creationId="{DC0E21A4-F6F4-B38B-412A-B165ACC01875}"/>
          </ac:spMkLst>
        </pc:spChg>
        <pc:spChg chg="add del mod replST">
          <ac:chgData name="Wenwen Zhang" userId="9dd81366-5d6f-445a-b031-6ea562624431" providerId="ADAL" clId="{D6FBF965-026B-43DA-A554-C6861A0A35E4}" dt="2023-02-01T20:31:05.407" v="49207"/>
          <ac:spMkLst>
            <pc:docMk/>
            <pc:sldMk cId="4114790528" sldId="2134804371"/>
            <ac:spMk id="84" creationId="{96DB64E7-7450-5BAA-7DCA-6F75AE12EF02}"/>
          </ac:spMkLst>
        </pc:spChg>
        <pc:spChg chg="add del mod modVis">
          <ac:chgData name="Wenwen Zhang" userId="9dd81366-5d6f-445a-b031-6ea562624431" providerId="ADAL" clId="{D6FBF965-026B-43DA-A554-C6861A0A35E4}" dt="2023-02-01T20:27:42.810" v="46447"/>
          <ac:spMkLst>
            <pc:docMk/>
            <pc:sldMk cId="4114790528" sldId="2134804371"/>
            <ac:spMk id="85" creationId="{8A264B0D-7093-6F88-95F4-E4A0A538CFE8}"/>
          </ac:spMkLst>
        </pc:spChg>
        <pc:spChg chg="add del mod">
          <ac:chgData name="Wenwen Zhang" userId="9dd81366-5d6f-445a-b031-6ea562624431" providerId="ADAL" clId="{D6FBF965-026B-43DA-A554-C6861A0A35E4}" dt="2023-02-01T20:22:51.531" v="43869"/>
          <ac:spMkLst>
            <pc:docMk/>
            <pc:sldMk cId="4114790528" sldId="2134804371"/>
            <ac:spMk id="86" creationId="{96DB64E7-7450-5BAA-7DCA-6F75AE12EF02}"/>
          </ac:spMkLst>
        </pc:spChg>
        <pc:spChg chg="add del mod replST">
          <ac:chgData name="Wenwen Zhang" userId="9dd81366-5d6f-445a-b031-6ea562624431" providerId="ADAL" clId="{D6FBF965-026B-43DA-A554-C6861A0A35E4}" dt="2023-02-01T20:31:05.406" v="49204"/>
          <ac:spMkLst>
            <pc:docMk/>
            <pc:sldMk cId="4114790528" sldId="2134804371"/>
            <ac:spMk id="87" creationId="{96DB64E7-7450-5BAA-7DCA-6F75AE12EF02}"/>
          </ac:spMkLst>
        </pc:spChg>
        <pc:spChg chg="add del mod">
          <ac:chgData name="Wenwen Zhang" userId="9dd81366-5d6f-445a-b031-6ea562624431" providerId="ADAL" clId="{D6FBF965-026B-43DA-A554-C6861A0A35E4}" dt="2023-02-01T19:38:56.116" v="39777"/>
          <ac:spMkLst>
            <pc:docMk/>
            <pc:sldMk cId="4114790528" sldId="2134804371"/>
            <ac:spMk id="89" creationId="{96DB64E7-7450-5BAA-7DCA-6F75AE12EF02}"/>
          </ac:spMkLst>
        </pc:spChg>
        <pc:spChg chg="add del mod ord replST">
          <ac:chgData name="Wenwen Zhang" userId="9dd81366-5d6f-445a-b031-6ea562624431" providerId="ADAL" clId="{D6FBF965-026B-43DA-A554-C6861A0A35E4}" dt="2023-02-01T20:31:05.406" v="49206"/>
          <ac:spMkLst>
            <pc:docMk/>
            <pc:sldMk cId="4114790528" sldId="2134804371"/>
            <ac:spMk id="90" creationId="{C1C71A79-72BA-ACED-3CA2-46AFC04104C2}"/>
          </ac:spMkLst>
        </pc:spChg>
        <pc:spChg chg="add del mod ord replST">
          <ac:chgData name="Wenwen Zhang" userId="9dd81366-5d6f-445a-b031-6ea562624431" providerId="ADAL" clId="{D6FBF965-026B-43DA-A554-C6861A0A35E4}" dt="2023-02-01T20:31:05.405" v="49203"/>
          <ac:spMkLst>
            <pc:docMk/>
            <pc:sldMk cId="4114790528" sldId="2134804371"/>
            <ac:spMk id="91" creationId="{7F2C3910-7B9C-3314-0877-16B7EEA89089}"/>
          </ac:spMkLst>
        </pc:spChg>
        <pc:spChg chg="add del">
          <ac:chgData name="Wenwen Zhang" userId="9dd81366-5d6f-445a-b031-6ea562624431" providerId="ADAL" clId="{D6FBF965-026B-43DA-A554-C6861A0A35E4}" dt="2023-02-01T19:38:17.374" v="39484"/>
          <ac:spMkLst>
            <pc:docMk/>
            <pc:sldMk cId="4114790528" sldId="2134804371"/>
            <ac:spMk id="92" creationId="{96DB64E7-7450-5BAA-7DCA-6F75AE12EF02}"/>
          </ac:spMkLst>
        </pc:spChg>
        <pc:spChg chg="add del">
          <ac:chgData name="Wenwen Zhang" userId="9dd81366-5d6f-445a-b031-6ea562624431" providerId="ADAL" clId="{D6FBF965-026B-43DA-A554-C6861A0A35E4}" dt="2023-02-01T19:38:17.375" v="39485"/>
          <ac:spMkLst>
            <pc:docMk/>
            <pc:sldMk cId="4114790528" sldId="2134804371"/>
            <ac:spMk id="95" creationId="{96DB64E7-7450-5BAA-7DCA-6F75AE12EF02}"/>
          </ac:spMkLst>
        </pc:spChg>
        <pc:spChg chg="add del mod replST">
          <ac:chgData name="Wenwen Zhang" userId="9dd81366-5d6f-445a-b031-6ea562624431" providerId="ADAL" clId="{D6FBF965-026B-43DA-A554-C6861A0A35E4}" dt="2023-02-01T20:28:29.410" v="46756"/>
          <ac:spMkLst>
            <pc:docMk/>
            <pc:sldMk cId="4114790528" sldId="2134804371"/>
            <ac:spMk id="97" creationId="{96DB64E7-7450-5BAA-7DCA-6F75AE12EF02}"/>
          </ac:spMkLst>
        </pc:spChg>
        <pc:spChg chg="add del">
          <ac:chgData name="Wenwen Zhang" userId="9dd81366-5d6f-445a-b031-6ea562624431" providerId="ADAL" clId="{D6FBF965-026B-43DA-A554-C6861A0A35E4}" dt="2023-02-01T19:38:17.375" v="39486"/>
          <ac:spMkLst>
            <pc:docMk/>
            <pc:sldMk cId="4114790528" sldId="2134804371"/>
            <ac:spMk id="98" creationId="{96DB64E7-7450-5BAA-7DCA-6F75AE12EF02}"/>
          </ac:spMkLst>
        </pc:spChg>
        <pc:spChg chg="add del mod modVis">
          <ac:chgData name="Wenwen Zhang" userId="9dd81366-5d6f-445a-b031-6ea562624431" providerId="ADAL" clId="{D6FBF965-026B-43DA-A554-C6861A0A35E4}" dt="2023-02-01T20:28:27.568" v="46746"/>
          <ac:spMkLst>
            <pc:docMk/>
            <pc:sldMk cId="4114790528" sldId="2134804371"/>
            <ac:spMk id="99" creationId="{DDFA0185-4CBA-2B19-0131-C878357A2D28}"/>
          </ac:spMkLst>
        </pc:spChg>
        <pc:spChg chg="add del">
          <ac:chgData name="Wenwen Zhang" userId="9dd81366-5d6f-445a-b031-6ea562624431" providerId="ADAL" clId="{D6FBF965-026B-43DA-A554-C6861A0A35E4}" dt="2023-02-01T19:38:17.375" v="39487"/>
          <ac:spMkLst>
            <pc:docMk/>
            <pc:sldMk cId="4114790528" sldId="2134804371"/>
            <ac:spMk id="101" creationId="{96DB64E7-7450-5BAA-7DCA-6F75AE12EF02}"/>
          </ac:spMkLst>
        </pc:spChg>
        <pc:spChg chg="add del mod modVis">
          <ac:chgData name="Wenwen Zhang" userId="9dd81366-5d6f-445a-b031-6ea562624431" providerId="ADAL" clId="{D6FBF965-026B-43DA-A554-C6861A0A35E4}" dt="2023-02-01T20:28:34.586" v="46939"/>
          <ac:spMkLst>
            <pc:docMk/>
            <pc:sldMk cId="4114790528" sldId="2134804371"/>
            <ac:spMk id="103" creationId="{D37C4B77-982D-DC4C-3745-DC327F88F826}"/>
          </ac:spMkLst>
        </pc:spChg>
        <pc:spChg chg="add del">
          <ac:chgData name="Wenwen Zhang" userId="9dd81366-5d6f-445a-b031-6ea562624431" providerId="ADAL" clId="{D6FBF965-026B-43DA-A554-C6861A0A35E4}" dt="2023-02-01T19:38:17.375" v="39488"/>
          <ac:spMkLst>
            <pc:docMk/>
            <pc:sldMk cId="4114790528" sldId="2134804371"/>
            <ac:spMk id="104" creationId="{96DB64E7-7450-5BAA-7DCA-6F75AE12EF02}"/>
          </ac:spMkLst>
        </pc:spChg>
        <pc:spChg chg="add del">
          <ac:chgData name="Wenwen Zhang" userId="9dd81366-5d6f-445a-b031-6ea562624431" providerId="ADAL" clId="{D6FBF965-026B-43DA-A554-C6861A0A35E4}" dt="2023-02-01T19:38:17.376" v="39489"/>
          <ac:spMkLst>
            <pc:docMk/>
            <pc:sldMk cId="4114790528" sldId="2134804371"/>
            <ac:spMk id="107" creationId="{96DB64E7-7450-5BAA-7DCA-6F75AE12EF02}"/>
          </ac:spMkLst>
        </pc:spChg>
        <pc:spChg chg="add del mod modVis">
          <ac:chgData name="Wenwen Zhang" userId="9dd81366-5d6f-445a-b031-6ea562624431" providerId="ADAL" clId="{D6FBF965-026B-43DA-A554-C6861A0A35E4}" dt="2023-02-01T20:28:54.135" v="47247"/>
          <ac:spMkLst>
            <pc:docMk/>
            <pc:sldMk cId="4114790528" sldId="2134804371"/>
            <ac:spMk id="109" creationId="{B8EC2803-0126-69D4-DB28-0859BC7FF4D9}"/>
          </ac:spMkLst>
        </pc:spChg>
        <pc:spChg chg="add del">
          <ac:chgData name="Wenwen Zhang" userId="9dd81366-5d6f-445a-b031-6ea562624431" providerId="ADAL" clId="{D6FBF965-026B-43DA-A554-C6861A0A35E4}" dt="2023-02-01T19:38:17.376" v="39490"/>
          <ac:spMkLst>
            <pc:docMk/>
            <pc:sldMk cId="4114790528" sldId="2134804371"/>
            <ac:spMk id="111" creationId="{96DB64E7-7450-5BAA-7DCA-6F75AE12EF02}"/>
          </ac:spMkLst>
        </pc:spChg>
        <pc:spChg chg="add del mod modVis">
          <ac:chgData name="Wenwen Zhang" userId="9dd81366-5d6f-445a-b031-6ea562624431" providerId="ADAL" clId="{D6FBF965-026B-43DA-A554-C6861A0A35E4}" dt="2023-02-01T20:29:09.227" v="48784"/>
          <ac:spMkLst>
            <pc:docMk/>
            <pc:sldMk cId="4114790528" sldId="2134804371"/>
            <ac:spMk id="112" creationId="{1B2F3DFA-1A39-C17F-76A6-4E15ED1EC7B4}"/>
          </ac:spMkLst>
        </pc:spChg>
        <pc:spChg chg="add del">
          <ac:chgData name="Wenwen Zhang" userId="9dd81366-5d6f-445a-b031-6ea562624431" providerId="ADAL" clId="{D6FBF965-026B-43DA-A554-C6861A0A35E4}" dt="2023-02-01T19:38:17.376" v="39491"/>
          <ac:spMkLst>
            <pc:docMk/>
            <pc:sldMk cId="4114790528" sldId="2134804371"/>
            <ac:spMk id="114" creationId="{96DB64E7-7450-5BAA-7DCA-6F75AE12EF02}"/>
          </ac:spMkLst>
        </pc:spChg>
        <pc:spChg chg="add mod ord">
          <ac:chgData name="Wenwen Zhang" userId="9dd81366-5d6f-445a-b031-6ea562624431" providerId="ADAL" clId="{D6FBF965-026B-43DA-A554-C6861A0A35E4}" dt="2023-02-01T20:35:40.480" v="54048"/>
          <ac:spMkLst>
            <pc:docMk/>
            <pc:sldMk cId="4114790528" sldId="2134804371"/>
            <ac:spMk id="115" creationId="{D55A6407-0007-6C75-06C2-8120CD242D1D}"/>
          </ac:spMkLst>
        </pc:spChg>
        <pc:spChg chg="add del mod">
          <ac:chgData name="Wenwen Zhang" userId="9dd81366-5d6f-445a-b031-6ea562624431" providerId="ADAL" clId="{D6FBF965-026B-43DA-A554-C6861A0A35E4}" dt="2023-02-01T20:30:42.897" v="48869" actId="478"/>
          <ac:spMkLst>
            <pc:docMk/>
            <pc:sldMk cId="4114790528" sldId="2134804371"/>
            <ac:spMk id="116" creationId="{29D58D80-F3FC-46BA-0FAB-06712C44DC92}"/>
          </ac:spMkLst>
        </pc:spChg>
        <pc:spChg chg="add del">
          <ac:chgData name="Wenwen Zhang" userId="9dd81366-5d6f-445a-b031-6ea562624431" providerId="ADAL" clId="{D6FBF965-026B-43DA-A554-C6861A0A35E4}" dt="2023-02-01T19:38:17.377" v="39492"/>
          <ac:spMkLst>
            <pc:docMk/>
            <pc:sldMk cId="4114790528" sldId="2134804371"/>
            <ac:spMk id="117" creationId="{96DB64E7-7450-5BAA-7DCA-6F75AE12EF02}"/>
          </ac:spMkLst>
        </pc:spChg>
        <pc:spChg chg="add mod replST">
          <ac:chgData name="Wenwen Zhang" userId="9dd81366-5d6f-445a-b031-6ea562624431" providerId="ADAL" clId="{D6FBF965-026B-43DA-A554-C6861A0A35E4}" dt="2023-02-01T20:35:40.481" v="54052"/>
          <ac:spMkLst>
            <pc:docMk/>
            <pc:sldMk cId="4114790528" sldId="2134804371"/>
            <ac:spMk id="119" creationId="{86F6CF13-604D-D8AD-F6EA-52283C8ACBC0}"/>
          </ac:spMkLst>
        </pc:spChg>
        <pc:spChg chg="add del">
          <ac:chgData name="Wenwen Zhang" userId="9dd81366-5d6f-445a-b031-6ea562624431" providerId="ADAL" clId="{D6FBF965-026B-43DA-A554-C6861A0A35E4}" dt="2023-02-01T19:38:17.377" v="39493"/>
          <ac:spMkLst>
            <pc:docMk/>
            <pc:sldMk cId="4114790528" sldId="2134804371"/>
            <ac:spMk id="120" creationId="{96DB64E7-7450-5BAA-7DCA-6F75AE12EF02}"/>
          </ac:spMkLst>
        </pc:spChg>
        <pc:spChg chg="add mod replST">
          <ac:chgData name="Wenwen Zhang" userId="9dd81366-5d6f-445a-b031-6ea562624431" providerId="ADAL" clId="{D6FBF965-026B-43DA-A554-C6861A0A35E4}" dt="2023-02-01T20:35:40.481" v="54051"/>
          <ac:spMkLst>
            <pc:docMk/>
            <pc:sldMk cId="4114790528" sldId="2134804371"/>
            <ac:spMk id="121" creationId="{2CEDDA91-2C75-4CDC-5968-7A2B4C46BC4A}"/>
          </ac:spMkLst>
        </pc:spChg>
        <pc:spChg chg="add mod replST">
          <ac:chgData name="Wenwen Zhang" userId="9dd81366-5d6f-445a-b031-6ea562624431" providerId="ADAL" clId="{D6FBF965-026B-43DA-A554-C6861A0A35E4}" dt="2023-02-01T20:35:40.481" v="54053"/>
          <ac:spMkLst>
            <pc:docMk/>
            <pc:sldMk cId="4114790528" sldId="2134804371"/>
            <ac:spMk id="122" creationId="{D109F66C-E1A7-722F-0823-901801A42422}"/>
          </ac:spMkLst>
        </pc:spChg>
        <pc:spChg chg="add del">
          <ac:chgData name="Wenwen Zhang" userId="9dd81366-5d6f-445a-b031-6ea562624431" providerId="ADAL" clId="{D6FBF965-026B-43DA-A554-C6861A0A35E4}" dt="2023-02-01T19:38:17.377" v="39494"/>
          <ac:spMkLst>
            <pc:docMk/>
            <pc:sldMk cId="4114790528" sldId="2134804371"/>
            <ac:spMk id="123" creationId="{96DB64E7-7450-5BAA-7DCA-6F75AE12EF02}"/>
          </ac:spMkLst>
        </pc:spChg>
        <pc:spChg chg="add mod replST">
          <ac:chgData name="Wenwen Zhang" userId="9dd81366-5d6f-445a-b031-6ea562624431" providerId="ADAL" clId="{D6FBF965-026B-43DA-A554-C6861A0A35E4}" dt="2023-02-01T20:35:40.482" v="54054"/>
          <ac:spMkLst>
            <pc:docMk/>
            <pc:sldMk cId="4114790528" sldId="2134804371"/>
            <ac:spMk id="124" creationId="{DC4243AC-0C4A-E284-EFA8-EF5C865E1A1D}"/>
          </ac:spMkLst>
        </pc:spChg>
        <pc:spChg chg="add mod ord replST">
          <ac:chgData name="Wenwen Zhang" userId="9dd81366-5d6f-445a-b031-6ea562624431" providerId="ADAL" clId="{D6FBF965-026B-43DA-A554-C6861A0A35E4}" dt="2023-02-01T20:35:47.640" v="54076"/>
          <ac:spMkLst>
            <pc:docMk/>
            <pc:sldMk cId="4114790528" sldId="2134804371"/>
            <ac:spMk id="125" creationId="{812193C3-C909-5816-55CB-48EB45831E81}"/>
          </ac:spMkLst>
        </pc:spChg>
        <pc:spChg chg="add mod ord replST">
          <ac:chgData name="Wenwen Zhang" userId="9dd81366-5d6f-445a-b031-6ea562624431" providerId="ADAL" clId="{D6FBF965-026B-43DA-A554-C6861A0A35E4}" dt="2023-02-01T20:35:47.643" v="54088"/>
          <ac:spMkLst>
            <pc:docMk/>
            <pc:sldMk cId="4114790528" sldId="2134804371"/>
            <ac:spMk id="126" creationId="{DBD66CF7-C8EE-D7A5-15B3-BE7B99B8B4CE}"/>
          </ac:spMkLst>
        </pc:spChg>
        <pc:spChg chg="add mod replST">
          <ac:chgData name="Wenwen Zhang" userId="9dd81366-5d6f-445a-b031-6ea562624431" providerId="ADAL" clId="{D6FBF965-026B-43DA-A554-C6861A0A35E4}" dt="2023-02-01T20:35:47.641" v="54080"/>
          <ac:spMkLst>
            <pc:docMk/>
            <pc:sldMk cId="4114790528" sldId="2134804371"/>
            <ac:spMk id="127" creationId="{566A58B5-28D3-5910-F4CB-9F1FEC648D92}"/>
          </ac:spMkLst>
        </pc:spChg>
        <pc:spChg chg="add mod replST">
          <ac:chgData name="Wenwen Zhang" userId="9dd81366-5d6f-445a-b031-6ea562624431" providerId="ADAL" clId="{D6FBF965-026B-43DA-A554-C6861A0A35E4}" dt="2023-02-01T20:35:47.645" v="54092"/>
          <ac:spMkLst>
            <pc:docMk/>
            <pc:sldMk cId="4114790528" sldId="2134804371"/>
            <ac:spMk id="128" creationId="{B5CA01F5-46F3-9590-87D5-6B0254C998BE}"/>
          </ac:spMkLst>
        </pc:spChg>
        <pc:spChg chg="add del mod modVis">
          <ac:chgData name="Wenwen Zhang" userId="9dd81366-5d6f-445a-b031-6ea562624431" providerId="ADAL" clId="{D6FBF965-026B-43DA-A554-C6861A0A35E4}" dt="2023-02-01T20:31:01.314" v="49199"/>
          <ac:spMkLst>
            <pc:docMk/>
            <pc:sldMk cId="4114790528" sldId="2134804371"/>
            <ac:spMk id="129" creationId="{23688520-DC48-2CCC-7F27-942D0F1932B7}"/>
          </ac:spMkLst>
        </pc:spChg>
        <pc:spChg chg="add del mod modVis">
          <ac:chgData name="Wenwen Zhang" userId="9dd81366-5d6f-445a-b031-6ea562624431" providerId="ADAL" clId="{D6FBF965-026B-43DA-A554-C6861A0A35E4}" dt="2023-02-01T20:31:45.311" v="49295"/>
          <ac:spMkLst>
            <pc:docMk/>
            <pc:sldMk cId="4114790528" sldId="2134804371"/>
            <ac:spMk id="131" creationId="{CD6CD651-6493-18EA-01FD-55400E9B85BA}"/>
          </ac:spMkLst>
        </pc:spChg>
        <pc:spChg chg="add del mod modVis">
          <ac:chgData name="Wenwen Zhang" userId="9dd81366-5d6f-445a-b031-6ea562624431" providerId="ADAL" clId="{D6FBF965-026B-43DA-A554-C6861A0A35E4}" dt="2023-02-01T20:31:53.178" v="49379"/>
          <ac:spMkLst>
            <pc:docMk/>
            <pc:sldMk cId="4114790528" sldId="2134804371"/>
            <ac:spMk id="133" creationId="{EBE43782-FA3F-7841-0E33-3634DCECF618}"/>
          </ac:spMkLst>
        </pc:spChg>
        <pc:spChg chg="add del mod modVis">
          <ac:chgData name="Wenwen Zhang" userId="9dd81366-5d6f-445a-b031-6ea562624431" providerId="ADAL" clId="{D6FBF965-026B-43DA-A554-C6861A0A35E4}" dt="2023-02-01T20:32:00.637" v="49463"/>
          <ac:spMkLst>
            <pc:docMk/>
            <pc:sldMk cId="4114790528" sldId="2134804371"/>
            <ac:spMk id="135" creationId="{C367B682-1505-1C75-1807-52D7CF44C208}"/>
          </ac:spMkLst>
        </pc:spChg>
        <pc:spChg chg="add del mod modVis">
          <ac:chgData name="Wenwen Zhang" userId="9dd81366-5d6f-445a-b031-6ea562624431" providerId="ADAL" clId="{D6FBF965-026B-43DA-A554-C6861A0A35E4}" dt="2023-02-01T20:32:16.740" v="49547"/>
          <ac:spMkLst>
            <pc:docMk/>
            <pc:sldMk cId="4114790528" sldId="2134804371"/>
            <ac:spMk id="137" creationId="{D0E79140-E42F-3237-A6C8-E7B7BC9E2E7F}"/>
          </ac:spMkLst>
        </pc:spChg>
        <pc:spChg chg="add del mod modVis">
          <ac:chgData name="Wenwen Zhang" userId="9dd81366-5d6f-445a-b031-6ea562624431" providerId="ADAL" clId="{D6FBF965-026B-43DA-A554-C6861A0A35E4}" dt="2023-02-01T20:32:33.621" v="49631"/>
          <ac:spMkLst>
            <pc:docMk/>
            <pc:sldMk cId="4114790528" sldId="2134804371"/>
            <ac:spMk id="139" creationId="{8A58B9B0-2FDB-4935-9253-55D7D62B4BB9}"/>
          </ac:spMkLst>
        </pc:spChg>
        <pc:spChg chg="add del mod modVis">
          <ac:chgData name="Wenwen Zhang" userId="9dd81366-5d6f-445a-b031-6ea562624431" providerId="ADAL" clId="{D6FBF965-026B-43DA-A554-C6861A0A35E4}" dt="2023-02-01T20:33:07.705" v="49715"/>
          <ac:spMkLst>
            <pc:docMk/>
            <pc:sldMk cId="4114790528" sldId="2134804371"/>
            <ac:spMk id="141" creationId="{4296A466-5E5C-E987-1AE3-192BA48D230E}"/>
          </ac:spMkLst>
        </pc:spChg>
        <pc:spChg chg="add del mod modVis">
          <ac:chgData name="Wenwen Zhang" userId="9dd81366-5d6f-445a-b031-6ea562624431" providerId="ADAL" clId="{D6FBF965-026B-43DA-A554-C6861A0A35E4}" dt="2023-02-01T20:33:15.314" v="49799"/>
          <ac:spMkLst>
            <pc:docMk/>
            <pc:sldMk cId="4114790528" sldId="2134804371"/>
            <ac:spMk id="143" creationId="{88A2CD80-9CD1-48D9-56A3-6FBAB380EE4E}"/>
          </ac:spMkLst>
        </pc:spChg>
        <pc:spChg chg="add del mod modVis">
          <ac:chgData name="Wenwen Zhang" userId="9dd81366-5d6f-445a-b031-6ea562624431" providerId="ADAL" clId="{D6FBF965-026B-43DA-A554-C6861A0A35E4}" dt="2023-02-01T20:33:39.468" v="49883"/>
          <ac:spMkLst>
            <pc:docMk/>
            <pc:sldMk cId="4114790528" sldId="2134804371"/>
            <ac:spMk id="145" creationId="{5CF59239-EE48-7C6C-D59A-06901BD7DB97}"/>
          </ac:spMkLst>
        </pc:spChg>
        <pc:spChg chg="add del mod modVis">
          <ac:chgData name="Wenwen Zhang" userId="9dd81366-5d6f-445a-b031-6ea562624431" providerId="ADAL" clId="{D6FBF965-026B-43DA-A554-C6861A0A35E4}" dt="2023-02-01T20:33:47.946" v="49967"/>
          <ac:spMkLst>
            <pc:docMk/>
            <pc:sldMk cId="4114790528" sldId="2134804371"/>
            <ac:spMk id="147" creationId="{8BC4C3A4-980A-6611-7E20-EA883067BB40}"/>
          </ac:spMkLst>
        </pc:spChg>
        <pc:spChg chg="add del mod modVis">
          <ac:chgData name="Wenwen Zhang" userId="9dd81366-5d6f-445a-b031-6ea562624431" providerId="ADAL" clId="{D6FBF965-026B-43DA-A554-C6861A0A35E4}" dt="2023-02-01T20:34:13.441" v="50081"/>
          <ac:spMkLst>
            <pc:docMk/>
            <pc:sldMk cId="4114790528" sldId="2134804371"/>
            <ac:spMk id="149" creationId="{9968FE5E-B886-E74B-5E1E-5C0DFD4D8FE9}"/>
          </ac:spMkLst>
        </pc:spChg>
        <pc:spChg chg="add del mod modVis">
          <ac:chgData name="Wenwen Zhang" userId="9dd81366-5d6f-445a-b031-6ea562624431" providerId="ADAL" clId="{D6FBF965-026B-43DA-A554-C6861A0A35E4}" dt="2023-02-01T20:34:17.694" v="50201"/>
          <ac:spMkLst>
            <pc:docMk/>
            <pc:sldMk cId="4114790528" sldId="2134804371"/>
            <ac:spMk id="151" creationId="{9EEA03E0-D123-2717-4C57-3E383BBBFA47}"/>
          </ac:spMkLst>
        </pc:spChg>
        <pc:spChg chg="add del mod modVis">
          <ac:chgData name="Wenwen Zhang" userId="9dd81366-5d6f-445a-b031-6ea562624431" providerId="ADAL" clId="{D6FBF965-026B-43DA-A554-C6861A0A35E4}" dt="2023-02-01T20:34:28.368" v="50301"/>
          <ac:spMkLst>
            <pc:docMk/>
            <pc:sldMk cId="4114790528" sldId="2134804371"/>
            <ac:spMk id="153" creationId="{08ED7A07-BCA5-B665-0A49-6D42FC0FA67C}"/>
          </ac:spMkLst>
        </pc:spChg>
        <pc:spChg chg="add del mod modVis">
          <ac:chgData name="Wenwen Zhang" userId="9dd81366-5d6f-445a-b031-6ea562624431" providerId="ADAL" clId="{D6FBF965-026B-43DA-A554-C6861A0A35E4}" dt="2023-02-01T20:34:47.269" v="50439"/>
          <ac:spMkLst>
            <pc:docMk/>
            <pc:sldMk cId="4114790528" sldId="2134804371"/>
            <ac:spMk id="155" creationId="{3CB87B5E-D2FC-C7CE-B574-6D8F9D3700FB}"/>
          </ac:spMkLst>
        </pc:spChg>
        <pc:spChg chg="add del mod modVis">
          <ac:chgData name="Wenwen Zhang" userId="9dd81366-5d6f-445a-b031-6ea562624431" providerId="ADAL" clId="{D6FBF965-026B-43DA-A554-C6861A0A35E4}" dt="2023-02-01T20:34:56.476" v="51384"/>
          <ac:spMkLst>
            <pc:docMk/>
            <pc:sldMk cId="4114790528" sldId="2134804371"/>
            <ac:spMk id="158" creationId="{04D54882-2EA6-9332-F4B9-F2510BAF0904}"/>
          </ac:spMkLst>
        </pc:spChg>
        <pc:spChg chg="add del mod replST">
          <ac:chgData name="Wenwen Zhang" userId="9dd81366-5d6f-445a-b031-6ea562624431" providerId="ADAL" clId="{D6FBF965-026B-43DA-A554-C6861A0A35E4}" dt="2023-02-01T20:34:58.091" v="51454"/>
          <ac:spMkLst>
            <pc:docMk/>
            <pc:sldMk cId="4114790528" sldId="2134804371"/>
            <ac:spMk id="159" creationId="{96DB64E7-7450-5BAA-7DCA-6F75AE12EF02}"/>
          </ac:spMkLst>
        </pc:spChg>
        <pc:spChg chg="add del mod replST">
          <ac:chgData name="Wenwen Zhang" userId="9dd81366-5d6f-445a-b031-6ea562624431" providerId="ADAL" clId="{D6FBF965-026B-43DA-A554-C6861A0A35E4}" dt="2023-02-01T20:34:58.092" v="51455"/>
          <ac:spMkLst>
            <pc:docMk/>
            <pc:sldMk cId="4114790528" sldId="2134804371"/>
            <ac:spMk id="160" creationId="{96DB64E7-7450-5BAA-7DCA-6F75AE12EF02}"/>
          </ac:spMkLst>
        </pc:spChg>
        <pc:spChg chg="add del mod replST">
          <ac:chgData name="Wenwen Zhang" userId="9dd81366-5d6f-445a-b031-6ea562624431" providerId="ADAL" clId="{D6FBF965-026B-43DA-A554-C6861A0A35E4}" dt="2023-02-01T20:34:58.092" v="51456"/>
          <ac:spMkLst>
            <pc:docMk/>
            <pc:sldMk cId="4114790528" sldId="2134804371"/>
            <ac:spMk id="161" creationId="{96DB64E7-7450-5BAA-7DCA-6F75AE12EF02}"/>
          </ac:spMkLst>
        </pc:spChg>
        <pc:spChg chg="add del mod replST">
          <ac:chgData name="Wenwen Zhang" userId="9dd81366-5d6f-445a-b031-6ea562624431" providerId="ADAL" clId="{D6FBF965-026B-43DA-A554-C6861A0A35E4}" dt="2023-02-01T20:34:58.093" v="51457"/>
          <ac:spMkLst>
            <pc:docMk/>
            <pc:sldMk cId="4114790528" sldId="2134804371"/>
            <ac:spMk id="162" creationId="{96DB64E7-7450-5BAA-7DCA-6F75AE12EF02}"/>
          </ac:spMkLst>
        </pc:spChg>
        <pc:spChg chg="add del mod replST">
          <ac:chgData name="Wenwen Zhang" userId="9dd81366-5d6f-445a-b031-6ea562624431" providerId="ADAL" clId="{D6FBF965-026B-43DA-A554-C6861A0A35E4}" dt="2023-02-01T20:34:58.093" v="51458"/>
          <ac:spMkLst>
            <pc:docMk/>
            <pc:sldMk cId="4114790528" sldId="2134804371"/>
            <ac:spMk id="163" creationId="{96DB64E7-7450-5BAA-7DCA-6F75AE12EF02}"/>
          </ac:spMkLst>
        </pc:spChg>
        <pc:spChg chg="add del mod replST">
          <ac:chgData name="Wenwen Zhang" userId="9dd81366-5d6f-445a-b031-6ea562624431" providerId="ADAL" clId="{D6FBF965-026B-43DA-A554-C6861A0A35E4}" dt="2023-02-01T20:34:58.094" v="51459"/>
          <ac:spMkLst>
            <pc:docMk/>
            <pc:sldMk cId="4114790528" sldId="2134804371"/>
            <ac:spMk id="164" creationId="{96DB64E7-7450-5BAA-7DCA-6F75AE12EF02}"/>
          </ac:spMkLst>
        </pc:spChg>
        <pc:spChg chg="add del mod replST">
          <ac:chgData name="Wenwen Zhang" userId="9dd81366-5d6f-445a-b031-6ea562624431" providerId="ADAL" clId="{D6FBF965-026B-43DA-A554-C6861A0A35E4}" dt="2023-02-01T20:34:58.094" v="51460"/>
          <ac:spMkLst>
            <pc:docMk/>
            <pc:sldMk cId="4114790528" sldId="2134804371"/>
            <ac:spMk id="165" creationId="{96DB64E7-7450-5BAA-7DCA-6F75AE12EF02}"/>
          </ac:spMkLst>
        </pc:spChg>
        <pc:spChg chg="add del mod replST">
          <ac:chgData name="Wenwen Zhang" userId="9dd81366-5d6f-445a-b031-6ea562624431" providerId="ADAL" clId="{D6FBF965-026B-43DA-A554-C6861A0A35E4}" dt="2023-02-01T20:34:58.095" v="51461"/>
          <ac:spMkLst>
            <pc:docMk/>
            <pc:sldMk cId="4114790528" sldId="2134804371"/>
            <ac:spMk id="166" creationId="{96DB64E7-7450-5BAA-7DCA-6F75AE12EF02}"/>
          </ac:spMkLst>
        </pc:spChg>
        <pc:spChg chg="add del mod replST">
          <ac:chgData name="Wenwen Zhang" userId="9dd81366-5d6f-445a-b031-6ea562624431" providerId="ADAL" clId="{D6FBF965-026B-43DA-A554-C6861A0A35E4}" dt="2023-02-01T20:34:58.095" v="51462"/>
          <ac:spMkLst>
            <pc:docMk/>
            <pc:sldMk cId="4114790528" sldId="2134804371"/>
            <ac:spMk id="168" creationId="{96DB64E7-7450-5BAA-7DCA-6F75AE12EF02}"/>
          </ac:spMkLst>
        </pc:spChg>
        <pc:spChg chg="add del mod replST">
          <ac:chgData name="Wenwen Zhang" userId="9dd81366-5d6f-445a-b031-6ea562624431" providerId="ADAL" clId="{D6FBF965-026B-43DA-A554-C6861A0A35E4}" dt="2023-02-01T20:34:58.096" v="51463"/>
          <ac:spMkLst>
            <pc:docMk/>
            <pc:sldMk cId="4114790528" sldId="2134804371"/>
            <ac:spMk id="169" creationId="{96DB64E7-7450-5BAA-7DCA-6F75AE12EF02}"/>
          </ac:spMkLst>
        </pc:spChg>
        <pc:spChg chg="add del mod replST">
          <ac:chgData name="Wenwen Zhang" userId="9dd81366-5d6f-445a-b031-6ea562624431" providerId="ADAL" clId="{D6FBF965-026B-43DA-A554-C6861A0A35E4}" dt="2023-02-01T20:34:58.097" v="51464"/>
          <ac:spMkLst>
            <pc:docMk/>
            <pc:sldMk cId="4114790528" sldId="2134804371"/>
            <ac:spMk id="170" creationId="{96DB64E7-7450-5BAA-7DCA-6F75AE12EF02}"/>
          </ac:spMkLst>
        </pc:spChg>
        <pc:spChg chg="add del mod modVis">
          <ac:chgData name="Wenwen Zhang" userId="9dd81366-5d6f-445a-b031-6ea562624431" providerId="ADAL" clId="{D6FBF965-026B-43DA-A554-C6861A0A35E4}" dt="2023-02-01T20:34:58.151" v="51502"/>
          <ac:spMkLst>
            <pc:docMk/>
            <pc:sldMk cId="4114790528" sldId="2134804371"/>
            <ac:spMk id="172" creationId="{F761AF33-5E6E-D681-E91A-6E9E85F609BF}"/>
          </ac:spMkLst>
        </pc:spChg>
        <pc:spChg chg="add del mod modVis">
          <ac:chgData name="Wenwen Zhang" userId="9dd81366-5d6f-445a-b031-6ea562624431" providerId="ADAL" clId="{D6FBF965-026B-43DA-A554-C6861A0A35E4}" dt="2023-02-01T20:35:03.129" v="51620"/>
          <ac:spMkLst>
            <pc:docMk/>
            <pc:sldMk cId="4114790528" sldId="2134804371"/>
            <ac:spMk id="174" creationId="{B697A449-35DF-B37F-8AE3-AD64CA2629B6}"/>
          </ac:spMkLst>
        </pc:spChg>
        <pc:spChg chg="add del mod modVis">
          <ac:chgData name="Wenwen Zhang" userId="9dd81366-5d6f-445a-b031-6ea562624431" providerId="ADAL" clId="{D6FBF965-026B-43DA-A554-C6861A0A35E4}" dt="2023-02-01T20:35:12.543" v="52567"/>
          <ac:spMkLst>
            <pc:docMk/>
            <pc:sldMk cId="4114790528" sldId="2134804371"/>
            <ac:spMk id="176" creationId="{C7C87A8D-9556-177B-FCD6-0833BCC62CFF}"/>
          </ac:spMkLst>
        </pc:spChg>
        <pc:spChg chg="add del mod replST">
          <ac:chgData name="Wenwen Zhang" userId="9dd81366-5d6f-445a-b031-6ea562624431" providerId="ADAL" clId="{D6FBF965-026B-43DA-A554-C6861A0A35E4}" dt="2023-02-01T20:35:14.128" v="52639"/>
          <ac:spMkLst>
            <pc:docMk/>
            <pc:sldMk cId="4114790528" sldId="2134804371"/>
            <ac:spMk id="177" creationId="{96DB64E7-7450-5BAA-7DCA-6F75AE12EF02}"/>
          </ac:spMkLst>
        </pc:spChg>
        <pc:spChg chg="add del mod replST">
          <ac:chgData name="Wenwen Zhang" userId="9dd81366-5d6f-445a-b031-6ea562624431" providerId="ADAL" clId="{D6FBF965-026B-43DA-A554-C6861A0A35E4}" dt="2023-02-01T20:35:14.128" v="52640"/>
          <ac:spMkLst>
            <pc:docMk/>
            <pc:sldMk cId="4114790528" sldId="2134804371"/>
            <ac:spMk id="178" creationId="{96DB64E7-7450-5BAA-7DCA-6F75AE12EF02}"/>
          </ac:spMkLst>
        </pc:spChg>
        <pc:spChg chg="add del mod replST">
          <ac:chgData name="Wenwen Zhang" userId="9dd81366-5d6f-445a-b031-6ea562624431" providerId="ADAL" clId="{D6FBF965-026B-43DA-A554-C6861A0A35E4}" dt="2023-02-01T20:35:14.129" v="52641"/>
          <ac:spMkLst>
            <pc:docMk/>
            <pc:sldMk cId="4114790528" sldId="2134804371"/>
            <ac:spMk id="179" creationId="{96DB64E7-7450-5BAA-7DCA-6F75AE12EF02}"/>
          </ac:spMkLst>
        </pc:spChg>
        <pc:spChg chg="add del mod replST">
          <ac:chgData name="Wenwen Zhang" userId="9dd81366-5d6f-445a-b031-6ea562624431" providerId="ADAL" clId="{D6FBF965-026B-43DA-A554-C6861A0A35E4}" dt="2023-02-01T20:35:14.129" v="52642"/>
          <ac:spMkLst>
            <pc:docMk/>
            <pc:sldMk cId="4114790528" sldId="2134804371"/>
            <ac:spMk id="180" creationId="{96DB64E7-7450-5BAA-7DCA-6F75AE12EF02}"/>
          </ac:spMkLst>
        </pc:spChg>
        <pc:spChg chg="add del mod replST">
          <ac:chgData name="Wenwen Zhang" userId="9dd81366-5d6f-445a-b031-6ea562624431" providerId="ADAL" clId="{D6FBF965-026B-43DA-A554-C6861A0A35E4}" dt="2023-02-01T20:35:14.129" v="52643"/>
          <ac:spMkLst>
            <pc:docMk/>
            <pc:sldMk cId="4114790528" sldId="2134804371"/>
            <ac:spMk id="181" creationId="{96DB64E7-7450-5BAA-7DCA-6F75AE12EF02}"/>
          </ac:spMkLst>
        </pc:spChg>
        <pc:spChg chg="add del mod replST">
          <ac:chgData name="Wenwen Zhang" userId="9dd81366-5d6f-445a-b031-6ea562624431" providerId="ADAL" clId="{D6FBF965-026B-43DA-A554-C6861A0A35E4}" dt="2023-02-01T20:35:14.130" v="52644"/>
          <ac:spMkLst>
            <pc:docMk/>
            <pc:sldMk cId="4114790528" sldId="2134804371"/>
            <ac:spMk id="182" creationId="{96DB64E7-7450-5BAA-7DCA-6F75AE12EF02}"/>
          </ac:spMkLst>
        </pc:spChg>
        <pc:spChg chg="add del mod replST">
          <ac:chgData name="Wenwen Zhang" userId="9dd81366-5d6f-445a-b031-6ea562624431" providerId="ADAL" clId="{D6FBF965-026B-43DA-A554-C6861A0A35E4}" dt="2023-02-01T20:35:14.131" v="52645"/>
          <ac:spMkLst>
            <pc:docMk/>
            <pc:sldMk cId="4114790528" sldId="2134804371"/>
            <ac:spMk id="183" creationId="{96DB64E7-7450-5BAA-7DCA-6F75AE12EF02}"/>
          </ac:spMkLst>
        </pc:spChg>
        <pc:spChg chg="add del mod replST">
          <ac:chgData name="Wenwen Zhang" userId="9dd81366-5d6f-445a-b031-6ea562624431" providerId="ADAL" clId="{D6FBF965-026B-43DA-A554-C6861A0A35E4}" dt="2023-02-01T20:35:14.131" v="52646"/>
          <ac:spMkLst>
            <pc:docMk/>
            <pc:sldMk cId="4114790528" sldId="2134804371"/>
            <ac:spMk id="184" creationId="{96DB64E7-7450-5BAA-7DCA-6F75AE12EF02}"/>
          </ac:spMkLst>
        </pc:spChg>
        <pc:spChg chg="add del mod replST">
          <ac:chgData name="Wenwen Zhang" userId="9dd81366-5d6f-445a-b031-6ea562624431" providerId="ADAL" clId="{D6FBF965-026B-43DA-A554-C6861A0A35E4}" dt="2023-02-01T20:35:14.132" v="52647"/>
          <ac:spMkLst>
            <pc:docMk/>
            <pc:sldMk cId="4114790528" sldId="2134804371"/>
            <ac:spMk id="185" creationId="{96DB64E7-7450-5BAA-7DCA-6F75AE12EF02}"/>
          </ac:spMkLst>
        </pc:spChg>
        <pc:spChg chg="add del mod replST">
          <ac:chgData name="Wenwen Zhang" userId="9dd81366-5d6f-445a-b031-6ea562624431" providerId="ADAL" clId="{D6FBF965-026B-43DA-A554-C6861A0A35E4}" dt="2023-02-01T20:35:14.132" v="52648"/>
          <ac:spMkLst>
            <pc:docMk/>
            <pc:sldMk cId="4114790528" sldId="2134804371"/>
            <ac:spMk id="186" creationId="{96DB64E7-7450-5BAA-7DCA-6F75AE12EF02}"/>
          </ac:spMkLst>
        </pc:spChg>
        <pc:spChg chg="add del mod replST">
          <ac:chgData name="Wenwen Zhang" userId="9dd81366-5d6f-445a-b031-6ea562624431" providerId="ADAL" clId="{D6FBF965-026B-43DA-A554-C6861A0A35E4}" dt="2023-02-01T20:35:14.133" v="52649"/>
          <ac:spMkLst>
            <pc:docMk/>
            <pc:sldMk cId="4114790528" sldId="2134804371"/>
            <ac:spMk id="187" creationId="{96DB64E7-7450-5BAA-7DCA-6F75AE12EF02}"/>
          </ac:spMkLst>
        </pc:spChg>
        <pc:spChg chg="add del mod modVis">
          <ac:chgData name="Wenwen Zhang" userId="9dd81366-5d6f-445a-b031-6ea562624431" providerId="ADAL" clId="{D6FBF965-026B-43DA-A554-C6861A0A35E4}" dt="2023-02-01T20:35:14.178" v="52687"/>
          <ac:spMkLst>
            <pc:docMk/>
            <pc:sldMk cId="4114790528" sldId="2134804371"/>
            <ac:spMk id="189" creationId="{6C7A3617-AAF0-7AF9-82B4-C4A879FF463C}"/>
          </ac:spMkLst>
        </pc:spChg>
        <pc:spChg chg="add del mod modVis">
          <ac:chgData name="Wenwen Zhang" userId="9dd81366-5d6f-445a-b031-6ea562624431" providerId="ADAL" clId="{D6FBF965-026B-43DA-A554-C6861A0A35E4}" dt="2023-02-01T20:35:18.452" v="52807"/>
          <ac:spMkLst>
            <pc:docMk/>
            <pc:sldMk cId="4114790528" sldId="2134804371"/>
            <ac:spMk id="191" creationId="{5BD1898D-8809-E9BC-E8C3-56A45AC086D7}"/>
          </ac:spMkLst>
        </pc:spChg>
        <pc:spChg chg="add del mod modVis">
          <ac:chgData name="Wenwen Zhang" userId="9dd81366-5d6f-445a-b031-6ea562624431" providerId="ADAL" clId="{D6FBF965-026B-43DA-A554-C6861A0A35E4}" dt="2023-02-01T20:35:28.333" v="52905"/>
          <ac:spMkLst>
            <pc:docMk/>
            <pc:sldMk cId="4114790528" sldId="2134804371"/>
            <ac:spMk id="321" creationId="{DFE125A2-9D04-D0F4-EF2A-E212479D323F}"/>
          </ac:spMkLst>
        </pc:spChg>
        <pc:spChg chg="add del mod modVis">
          <ac:chgData name="Wenwen Zhang" userId="9dd81366-5d6f-445a-b031-6ea562624431" providerId="ADAL" clId="{D6FBF965-026B-43DA-A554-C6861A0A35E4}" dt="2023-02-01T20:35:31.366" v="53850"/>
          <ac:spMkLst>
            <pc:docMk/>
            <pc:sldMk cId="4114790528" sldId="2134804371"/>
            <ac:spMk id="323" creationId="{AB84D3E6-3AAC-7A3D-A88D-5014016AC67D}"/>
          </ac:spMkLst>
        </pc:spChg>
        <pc:spChg chg="add del mod replST">
          <ac:chgData name="Wenwen Zhang" userId="9dd81366-5d6f-445a-b031-6ea562624431" providerId="ADAL" clId="{D6FBF965-026B-43DA-A554-C6861A0A35E4}" dt="2023-02-01T20:35:34.639" v="53920"/>
          <ac:spMkLst>
            <pc:docMk/>
            <pc:sldMk cId="4114790528" sldId="2134804371"/>
            <ac:spMk id="324" creationId="{96DB64E7-7450-5BAA-7DCA-6F75AE12EF02}"/>
          </ac:spMkLst>
        </pc:spChg>
        <pc:spChg chg="add del mod replST">
          <ac:chgData name="Wenwen Zhang" userId="9dd81366-5d6f-445a-b031-6ea562624431" providerId="ADAL" clId="{D6FBF965-026B-43DA-A554-C6861A0A35E4}" dt="2023-02-01T20:35:34.640" v="53921"/>
          <ac:spMkLst>
            <pc:docMk/>
            <pc:sldMk cId="4114790528" sldId="2134804371"/>
            <ac:spMk id="325" creationId="{96DB64E7-7450-5BAA-7DCA-6F75AE12EF02}"/>
          </ac:spMkLst>
        </pc:spChg>
        <pc:spChg chg="add del mod replST">
          <ac:chgData name="Wenwen Zhang" userId="9dd81366-5d6f-445a-b031-6ea562624431" providerId="ADAL" clId="{D6FBF965-026B-43DA-A554-C6861A0A35E4}" dt="2023-02-01T20:35:34.640" v="53922"/>
          <ac:spMkLst>
            <pc:docMk/>
            <pc:sldMk cId="4114790528" sldId="2134804371"/>
            <ac:spMk id="326" creationId="{96DB64E7-7450-5BAA-7DCA-6F75AE12EF02}"/>
          </ac:spMkLst>
        </pc:spChg>
        <pc:spChg chg="add del mod replST">
          <ac:chgData name="Wenwen Zhang" userId="9dd81366-5d6f-445a-b031-6ea562624431" providerId="ADAL" clId="{D6FBF965-026B-43DA-A554-C6861A0A35E4}" dt="2023-02-01T20:35:34.641" v="53923"/>
          <ac:spMkLst>
            <pc:docMk/>
            <pc:sldMk cId="4114790528" sldId="2134804371"/>
            <ac:spMk id="327" creationId="{96DB64E7-7450-5BAA-7DCA-6F75AE12EF02}"/>
          </ac:spMkLst>
        </pc:spChg>
        <pc:spChg chg="add del mod replST">
          <ac:chgData name="Wenwen Zhang" userId="9dd81366-5d6f-445a-b031-6ea562624431" providerId="ADAL" clId="{D6FBF965-026B-43DA-A554-C6861A0A35E4}" dt="2023-02-01T20:35:34.643" v="53924"/>
          <ac:spMkLst>
            <pc:docMk/>
            <pc:sldMk cId="4114790528" sldId="2134804371"/>
            <ac:spMk id="328" creationId="{96DB64E7-7450-5BAA-7DCA-6F75AE12EF02}"/>
          </ac:spMkLst>
        </pc:spChg>
        <pc:spChg chg="add del mod replST">
          <ac:chgData name="Wenwen Zhang" userId="9dd81366-5d6f-445a-b031-6ea562624431" providerId="ADAL" clId="{D6FBF965-026B-43DA-A554-C6861A0A35E4}" dt="2023-02-01T20:35:34.643" v="53925"/>
          <ac:spMkLst>
            <pc:docMk/>
            <pc:sldMk cId="4114790528" sldId="2134804371"/>
            <ac:spMk id="329" creationId="{96DB64E7-7450-5BAA-7DCA-6F75AE12EF02}"/>
          </ac:spMkLst>
        </pc:spChg>
        <pc:spChg chg="add del mod replST">
          <ac:chgData name="Wenwen Zhang" userId="9dd81366-5d6f-445a-b031-6ea562624431" providerId="ADAL" clId="{D6FBF965-026B-43DA-A554-C6861A0A35E4}" dt="2023-02-01T20:35:34.644" v="53926"/>
          <ac:spMkLst>
            <pc:docMk/>
            <pc:sldMk cId="4114790528" sldId="2134804371"/>
            <ac:spMk id="330" creationId="{96DB64E7-7450-5BAA-7DCA-6F75AE12EF02}"/>
          </ac:spMkLst>
        </pc:spChg>
        <pc:spChg chg="add del mod replST">
          <ac:chgData name="Wenwen Zhang" userId="9dd81366-5d6f-445a-b031-6ea562624431" providerId="ADAL" clId="{D6FBF965-026B-43DA-A554-C6861A0A35E4}" dt="2023-02-01T20:35:34.644" v="53927"/>
          <ac:spMkLst>
            <pc:docMk/>
            <pc:sldMk cId="4114790528" sldId="2134804371"/>
            <ac:spMk id="331" creationId="{96DB64E7-7450-5BAA-7DCA-6F75AE12EF02}"/>
          </ac:spMkLst>
        </pc:spChg>
        <pc:spChg chg="add del mod replST">
          <ac:chgData name="Wenwen Zhang" userId="9dd81366-5d6f-445a-b031-6ea562624431" providerId="ADAL" clId="{D6FBF965-026B-43DA-A554-C6861A0A35E4}" dt="2023-02-01T20:35:34.644" v="53928"/>
          <ac:spMkLst>
            <pc:docMk/>
            <pc:sldMk cId="4114790528" sldId="2134804371"/>
            <ac:spMk id="332" creationId="{96DB64E7-7450-5BAA-7DCA-6F75AE12EF02}"/>
          </ac:spMkLst>
        </pc:spChg>
        <pc:spChg chg="add del mod replST">
          <ac:chgData name="Wenwen Zhang" userId="9dd81366-5d6f-445a-b031-6ea562624431" providerId="ADAL" clId="{D6FBF965-026B-43DA-A554-C6861A0A35E4}" dt="2023-02-01T20:35:34.645" v="53929"/>
          <ac:spMkLst>
            <pc:docMk/>
            <pc:sldMk cId="4114790528" sldId="2134804371"/>
            <ac:spMk id="333" creationId="{96DB64E7-7450-5BAA-7DCA-6F75AE12EF02}"/>
          </ac:spMkLst>
        </pc:spChg>
        <pc:spChg chg="add del mod replST">
          <ac:chgData name="Wenwen Zhang" userId="9dd81366-5d6f-445a-b031-6ea562624431" providerId="ADAL" clId="{D6FBF965-026B-43DA-A554-C6861A0A35E4}" dt="2023-02-01T20:35:34.646" v="53930"/>
          <ac:spMkLst>
            <pc:docMk/>
            <pc:sldMk cId="4114790528" sldId="2134804371"/>
            <ac:spMk id="334" creationId="{96DB64E7-7450-5BAA-7DCA-6F75AE12EF02}"/>
          </ac:spMkLst>
        </pc:spChg>
        <pc:spChg chg="add del mod modVis">
          <ac:chgData name="Wenwen Zhang" userId="9dd81366-5d6f-445a-b031-6ea562624431" providerId="ADAL" clId="{D6FBF965-026B-43DA-A554-C6861A0A35E4}" dt="2023-02-01T20:35:34.693" v="53968"/>
          <ac:spMkLst>
            <pc:docMk/>
            <pc:sldMk cId="4114790528" sldId="2134804371"/>
            <ac:spMk id="336" creationId="{3898AD27-E7C3-98FD-AFF3-19E5652FE52D}"/>
          </ac:spMkLst>
        </pc:spChg>
        <pc:spChg chg="add del mod modVis">
          <ac:chgData name="Wenwen Zhang" userId="9dd81366-5d6f-445a-b031-6ea562624431" providerId="ADAL" clId="{D6FBF965-026B-43DA-A554-C6861A0A35E4}" dt="2023-02-01T20:35:40.483" v="54064"/>
          <ac:spMkLst>
            <pc:docMk/>
            <pc:sldMk cId="4114790528" sldId="2134804371"/>
            <ac:spMk id="338" creationId="{62ADD4F7-F6AA-AA73-CEC7-CFB6298DA2A3}"/>
          </ac:spMkLst>
        </pc:spChg>
        <pc:spChg chg="add del mod">
          <ac:chgData name="Wenwen Zhang" userId="9dd81366-5d6f-445a-b031-6ea562624431" providerId="ADAL" clId="{D6FBF965-026B-43DA-A554-C6861A0A35E4}" dt="2023-02-01T20:11:33.291" v="40860"/>
          <ac:spMkLst>
            <pc:docMk/>
            <pc:sldMk cId="4114790528" sldId="2134804371"/>
            <ac:spMk id="341" creationId="{684A672A-79D1-5720-64EE-C0A5AEEF8BD4}"/>
          </ac:spMkLst>
        </pc:spChg>
        <pc:spChg chg="add del mod">
          <ac:chgData name="Wenwen Zhang" userId="9dd81366-5d6f-445a-b031-6ea562624431" providerId="ADAL" clId="{D6FBF965-026B-43DA-A554-C6861A0A35E4}" dt="2023-02-01T20:11:33.291" v="40859"/>
          <ac:spMkLst>
            <pc:docMk/>
            <pc:sldMk cId="4114790528" sldId="2134804371"/>
            <ac:spMk id="344" creationId="{7967F8CC-7EAC-A5CB-4FFF-5706400DF166}"/>
          </ac:spMkLst>
        </pc:spChg>
        <pc:spChg chg="add del mod">
          <ac:chgData name="Wenwen Zhang" userId="9dd81366-5d6f-445a-b031-6ea562624431" providerId="ADAL" clId="{D6FBF965-026B-43DA-A554-C6861A0A35E4}" dt="2023-02-01T20:11:33.290" v="40858"/>
          <ac:spMkLst>
            <pc:docMk/>
            <pc:sldMk cId="4114790528" sldId="2134804371"/>
            <ac:spMk id="345" creationId="{4CC8D3A3-A11D-8678-C40C-818AF04B1BDA}"/>
          </ac:spMkLst>
        </pc:spChg>
        <pc:spChg chg="add del mod modVis">
          <ac:chgData name="Wenwen Zhang" userId="9dd81366-5d6f-445a-b031-6ea562624431" providerId="ADAL" clId="{D6FBF965-026B-43DA-A554-C6861A0A35E4}" dt="2023-02-01T20:20:47.802" v="42529"/>
          <ac:spMkLst>
            <pc:docMk/>
            <pc:sldMk cId="4114790528" sldId="2134804371"/>
            <ac:spMk id="512" creationId="{B965A056-BC67-3D15-8EE0-976669F3CDD9}"/>
          </ac:spMkLst>
        </pc:spChg>
        <pc:spChg chg="add del mod ord replST">
          <ac:chgData name="Wenwen Zhang" userId="9dd81366-5d6f-445a-b031-6ea562624431" providerId="ADAL" clId="{D6FBF965-026B-43DA-A554-C6861A0A35E4}" dt="2023-02-01T20:27:46.686" v="46458"/>
          <ac:spMkLst>
            <pc:docMk/>
            <pc:sldMk cId="4114790528" sldId="2134804371"/>
            <ac:spMk id="514" creationId="{28AB2C6D-224A-8300-3894-956C06577A7B}"/>
          </ac:spMkLst>
        </pc:spChg>
        <pc:spChg chg="add del mod ord replST">
          <ac:chgData name="Wenwen Zhang" userId="9dd81366-5d6f-445a-b031-6ea562624431" providerId="ADAL" clId="{D6FBF965-026B-43DA-A554-C6861A0A35E4}" dt="2023-02-01T20:27:46.685" v="46455"/>
          <ac:spMkLst>
            <pc:docMk/>
            <pc:sldMk cId="4114790528" sldId="2134804371"/>
            <ac:spMk id="515" creationId="{F4D6F8FC-7757-1B66-BFC7-ADFA5A8B8E1D}"/>
          </ac:spMkLst>
        </pc:spChg>
        <pc:spChg chg="add del mod replST">
          <ac:chgData name="Wenwen Zhang" userId="9dd81366-5d6f-445a-b031-6ea562624431" providerId="ADAL" clId="{D6FBF965-026B-43DA-A554-C6861A0A35E4}" dt="2023-02-01T20:22:35.381" v="43660"/>
          <ac:spMkLst>
            <pc:docMk/>
            <pc:sldMk cId="4114790528" sldId="2134804371"/>
            <ac:spMk id="516" creationId="{2D3ABE87-F6F0-3E78-EF7B-0494F66C950C}"/>
          </ac:spMkLst>
        </pc:spChg>
        <pc:spChg chg="add del mod replST">
          <ac:chgData name="Wenwen Zhang" userId="9dd81366-5d6f-445a-b031-6ea562624431" providerId="ADAL" clId="{D6FBF965-026B-43DA-A554-C6861A0A35E4}" dt="2023-02-01T20:22:35.384" v="43662"/>
          <ac:spMkLst>
            <pc:docMk/>
            <pc:sldMk cId="4114790528" sldId="2134804371"/>
            <ac:spMk id="517" creationId="{38B9123B-24EF-BA91-D0A0-12A74D22978B}"/>
          </ac:spMkLst>
        </pc:spChg>
        <pc:spChg chg="add del mod modVis">
          <ac:chgData name="Wenwen Zhang" userId="9dd81366-5d6f-445a-b031-6ea562624431" providerId="ADAL" clId="{D6FBF965-026B-43DA-A554-C6861A0A35E4}" dt="2023-02-01T20:21:33.449" v="42607"/>
          <ac:spMkLst>
            <pc:docMk/>
            <pc:sldMk cId="4114790528" sldId="2134804371"/>
            <ac:spMk id="518" creationId="{360A71D6-EC6A-80F4-9BF8-F19ADFCC5210}"/>
          </ac:spMkLst>
        </pc:spChg>
        <pc:spChg chg="add del mod replST">
          <ac:chgData name="Wenwen Zhang" userId="9dd81366-5d6f-445a-b031-6ea562624431" providerId="ADAL" clId="{D6FBF965-026B-43DA-A554-C6861A0A35E4}" dt="2023-02-01T20:21:53.320" v="43259"/>
          <ac:spMkLst>
            <pc:docMk/>
            <pc:sldMk cId="4114790528" sldId="2134804371"/>
            <ac:spMk id="520" creationId="{2F47D192-9003-0492-06EE-4C643721F445}"/>
          </ac:spMkLst>
        </pc:spChg>
        <pc:spChg chg="add del mod replST">
          <ac:chgData name="Wenwen Zhang" userId="9dd81366-5d6f-445a-b031-6ea562624431" providerId="ADAL" clId="{D6FBF965-026B-43DA-A554-C6861A0A35E4}" dt="2023-02-01T20:21:53.321" v="43260"/>
          <ac:spMkLst>
            <pc:docMk/>
            <pc:sldMk cId="4114790528" sldId="2134804371"/>
            <ac:spMk id="521" creationId="{F314B59D-7760-FD8F-8170-231E7A3752C5}"/>
          </ac:spMkLst>
        </pc:spChg>
        <pc:spChg chg="add del mod replST">
          <ac:chgData name="Wenwen Zhang" userId="9dd81366-5d6f-445a-b031-6ea562624431" providerId="ADAL" clId="{D6FBF965-026B-43DA-A554-C6861A0A35E4}" dt="2023-02-01T20:21:53.322" v="43261"/>
          <ac:spMkLst>
            <pc:docMk/>
            <pc:sldMk cId="4114790528" sldId="2134804371"/>
            <ac:spMk id="522" creationId="{BC9C77A4-98B6-1150-43B5-26ECD4E3BAC7}"/>
          </ac:spMkLst>
        </pc:spChg>
        <pc:spChg chg="add del mod replST">
          <ac:chgData name="Wenwen Zhang" userId="9dd81366-5d6f-445a-b031-6ea562624431" providerId="ADAL" clId="{D6FBF965-026B-43DA-A554-C6861A0A35E4}" dt="2023-02-01T20:21:48.182" v="43136"/>
          <ac:spMkLst>
            <pc:docMk/>
            <pc:sldMk cId="4114790528" sldId="2134804371"/>
            <ac:spMk id="523" creationId="{DB3762C7-87BE-5D82-A19D-ACEF4BF4F326}"/>
          </ac:spMkLst>
        </pc:spChg>
        <pc:spChg chg="add del mod replST">
          <ac:chgData name="Wenwen Zhang" userId="9dd81366-5d6f-445a-b031-6ea562624431" providerId="ADAL" clId="{D6FBF965-026B-43DA-A554-C6861A0A35E4}" dt="2023-02-01T20:21:48.182" v="43138"/>
          <ac:spMkLst>
            <pc:docMk/>
            <pc:sldMk cId="4114790528" sldId="2134804371"/>
            <ac:spMk id="524" creationId="{0605506D-B571-DD46-43D6-61A94363560E}"/>
          </ac:spMkLst>
        </pc:spChg>
        <pc:spChg chg="add del mod replST">
          <ac:chgData name="Wenwen Zhang" userId="9dd81366-5d6f-445a-b031-6ea562624431" providerId="ADAL" clId="{D6FBF965-026B-43DA-A554-C6861A0A35E4}" dt="2023-02-01T20:21:48.183" v="43140"/>
          <ac:spMkLst>
            <pc:docMk/>
            <pc:sldMk cId="4114790528" sldId="2134804371"/>
            <ac:spMk id="525" creationId="{B4A42B82-5DE1-4154-C468-6AE40940E69A}"/>
          </ac:spMkLst>
        </pc:spChg>
        <pc:spChg chg="add del mod replST">
          <ac:chgData name="Wenwen Zhang" userId="9dd81366-5d6f-445a-b031-6ea562624431" providerId="ADAL" clId="{D6FBF965-026B-43DA-A554-C6861A0A35E4}" dt="2023-02-01T20:21:48.184" v="43142"/>
          <ac:spMkLst>
            <pc:docMk/>
            <pc:sldMk cId="4114790528" sldId="2134804371"/>
            <ac:spMk id="526" creationId="{5F73B3D3-E360-BA89-4C80-3D7B7D1380BC}"/>
          </ac:spMkLst>
        </pc:spChg>
        <pc:spChg chg="add del mod replST">
          <ac:chgData name="Wenwen Zhang" userId="9dd81366-5d6f-445a-b031-6ea562624431" providerId="ADAL" clId="{D6FBF965-026B-43DA-A554-C6861A0A35E4}" dt="2023-02-01T20:21:48.184" v="43144"/>
          <ac:spMkLst>
            <pc:docMk/>
            <pc:sldMk cId="4114790528" sldId="2134804371"/>
            <ac:spMk id="527" creationId="{846490CD-2237-3819-D79F-7384FA4BDD31}"/>
          </ac:spMkLst>
        </pc:spChg>
        <pc:spChg chg="add del mod replST">
          <ac:chgData name="Wenwen Zhang" userId="9dd81366-5d6f-445a-b031-6ea562624431" providerId="ADAL" clId="{D6FBF965-026B-43DA-A554-C6861A0A35E4}" dt="2023-02-01T20:21:48.185" v="43146"/>
          <ac:spMkLst>
            <pc:docMk/>
            <pc:sldMk cId="4114790528" sldId="2134804371"/>
            <ac:spMk id="528" creationId="{57110CE2-2162-C669-3779-BAA2501D8EF5}"/>
          </ac:spMkLst>
        </pc:spChg>
        <pc:spChg chg="add del mod replST">
          <ac:chgData name="Wenwen Zhang" userId="9dd81366-5d6f-445a-b031-6ea562624431" providerId="ADAL" clId="{D6FBF965-026B-43DA-A554-C6861A0A35E4}" dt="2023-02-01T20:21:48.185" v="43148"/>
          <ac:spMkLst>
            <pc:docMk/>
            <pc:sldMk cId="4114790528" sldId="2134804371"/>
            <ac:spMk id="529" creationId="{0DA4AE38-2C0C-BC72-59A9-60577A28D48C}"/>
          </ac:spMkLst>
        </pc:spChg>
        <pc:spChg chg="add del mod replST">
          <ac:chgData name="Wenwen Zhang" userId="9dd81366-5d6f-445a-b031-6ea562624431" providerId="ADAL" clId="{D6FBF965-026B-43DA-A554-C6861A0A35E4}" dt="2023-02-01T20:21:48.186" v="43150"/>
          <ac:spMkLst>
            <pc:docMk/>
            <pc:sldMk cId="4114790528" sldId="2134804371"/>
            <ac:spMk id="530" creationId="{FA7910FC-544D-739E-6DC5-602F4F10BE46}"/>
          </ac:spMkLst>
        </pc:spChg>
        <pc:spChg chg="add del mod modVis">
          <ac:chgData name="Wenwen Zhang" userId="9dd81366-5d6f-445a-b031-6ea562624431" providerId="ADAL" clId="{D6FBF965-026B-43DA-A554-C6861A0A35E4}" dt="2023-02-01T20:21:44.148" v="43132"/>
          <ac:spMkLst>
            <pc:docMk/>
            <pc:sldMk cId="4114790528" sldId="2134804371"/>
            <ac:spMk id="531" creationId="{F295AA31-E23B-5F1E-3095-A5032303CF44}"/>
          </ac:spMkLst>
        </pc:spChg>
        <pc:spChg chg="add del mod replST">
          <ac:chgData name="Wenwen Zhang" userId="9dd81366-5d6f-445a-b031-6ea562624431" providerId="ADAL" clId="{D6FBF965-026B-43DA-A554-C6861A0A35E4}" dt="2023-02-01T20:21:48.180" v="43135"/>
          <ac:spMkLst>
            <pc:docMk/>
            <pc:sldMk cId="4114790528" sldId="2134804371"/>
            <ac:spMk id="533" creationId="{6B97A3DF-51EE-BE9B-6914-ABE68DFEB807}"/>
          </ac:spMkLst>
        </pc:spChg>
        <pc:spChg chg="add del mod replST">
          <ac:chgData name="Wenwen Zhang" userId="9dd81366-5d6f-445a-b031-6ea562624431" providerId="ADAL" clId="{D6FBF965-026B-43DA-A554-C6861A0A35E4}" dt="2023-02-01T20:21:48.182" v="43137"/>
          <ac:spMkLst>
            <pc:docMk/>
            <pc:sldMk cId="4114790528" sldId="2134804371"/>
            <ac:spMk id="534" creationId="{ADDBFBAF-1E97-940A-7622-0A2F1E8CE9AF}"/>
          </ac:spMkLst>
        </pc:spChg>
        <pc:spChg chg="add del mod replST">
          <ac:chgData name="Wenwen Zhang" userId="9dd81366-5d6f-445a-b031-6ea562624431" providerId="ADAL" clId="{D6FBF965-026B-43DA-A554-C6861A0A35E4}" dt="2023-02-01T20:21:48.183" v="43139"/>
          <ac:spMkLst>
            <pc:docMk/>
            <pc:sldMk cId="4114790528" sldId="2134804371"/>
            <ac:spMk id="535" creationId="{88A99ACD-5381-B736-8856-AAC04BA6824B}"/>
          </ac:spMkLst>
        </pc:spChg>
        <pc:spChg chg="add del mod replST">
          <ac:chgData name="Wenwen Zhang" userId="9dd81366-5d6f-445a-b031-6ea562624431" providerId="ADAL" clId="{D6FBF965-026B-43DA-A554-C6861A0A35E4}" dt="2023-02-01T20:21:48.183" v="43141"/>
          <ac:spMkLst>
            <pc:docMk/>
            <pc:sldMk cId="4114790528" sldId="2134804371"/>
            <ac:spMk id="536" creationId="{6144E2AE-8949-D1B4-A6AD-D615C0372DD1}"/>
          </ac:spMkLst>
        </pc:spChg>
        <pc:spChg chg="add del mod replST">
          <ac:chgData name="Wenwen Zhang" userId="9dd81366-5d6f-445a-b031-6ea562624431" providerId="ADAL" clId="{D6FBF965-026B-43DA-A554-C6861A0A35E4}" dt="2023-02-01T20:21:48.184" v="43143"/>
          <ac:spMkLst>
            <pc:docMk/>
            <pc:sldMk cId="4114790528" sldId="2134804371"/>
            <ac:spMk id="538" creationId="{DC8061E0-3936-CE7E-5CEB-B8EE04147E32}"/>
          </ac:spMkLst>
        </pc:spChg>
        <pc:spChg chg="add del mod replST">
          <ac:chgData name="Wenwen Zhang" userId="9dd81366-5d6f-445a-b031-6ea562624431" providerId="ADAL" clId="{D6FBF965-026B-43DA-A554-C6861A0A35E4}" dt="2023-02-01T20:21:48.184" v="43145"/>
          <ac:spMkLst>
            <pc:docMk/>
            <pc:sldMk cId="4114790528" sldId="2134804371"/>
            <ac:spMk id="539" creationId="{262DB84A-AADB-6D84-5B53-95DFA63DE38B}"/>
          </ac:spMkLst>
        </pc:spChg>
        <pc:spChg chg="add del mod replST">
          <ac:chgData name="Wenwen Zhang" userId="9dd81366-5d6f-445a-b031-6ea562624431" providerId="ADAL" clId="{D6FBF965-026B-43DA-A554-C6861A0A35E4}" dt="2023-02-01T20:21:48.185" v="43147"/>
          <ac:spMkLst>
            <pc:docMk/>
            <pc:sldMk cId="4114790528" sldId="2134804371"/>
            <ac:spMk id="540" creationId="{80C96FCD-DCED-76EE-4542-CF0ED55881F0}"/>
          </ac:spMkLst>
        </pc:spChg>
        <pc:spChg chg="add del mod replST">
          <ac:chgData name="Wenwen Zhang" userId="9dd81366-5d6f-445a-b031-6ea562624431" providerId="ADAL" clId="{D6FBF965-026B-43DA-A554-C6861A0A35E4}" dt="2023-02-01T20:21:48.185" v="43149"/>
          <ac:spMkLst>
            <pc:docMk/>
            <pc:sldMk cId="4114790528" sldId="2134804371"/>
            <ac:spMk id="541" creationId="{03089173-7237-1EC9-B69F-D18E0C0CBDCD}"/>
          </ac:spMkLst>
        </pc:spChg>
        <pc:spChg chg="add del mod modVis">
          <ac:chgData name="Wenwen Zhang" userId="9dd81366-5d6f-445a-b031-6ea562624431" providerId="ADAL" clId="{D6FBF965-026B-43DA-A554-C6861A0A35E4}" dt="2023-02-01T20:21:48.257" v="43256"/>
          <ac:spMkLst>
            <pc:docMk/>
            <pc:sldMk cId="4114790528" sldId="2134804371"/>
            <ac:spMk id="542" creationId="{9505483A-001C-B3D9-F4CE-E6FA54E18AA4}"/>
          </ac:spMkLst>
        </pc:spChg>
        <pc:spChg chg="add del mod modVis">
          <ac:chgData name="Wenwen Zhang" userId="9dd81366-5d6f-445a-b031-6ea562624431" providerId="ADAL" clId="{D6FBF965-026B-43DA-A554-C6861A0A35E4}" dt="2023-02-01T20:21:53.388" v="43353"/>
          <ac:spMkLst>
            <pc:docMk/>
            <pc:sldMk cId="4114790528" sldId="2134804371"/>
            <ac:spMk id="544" creationId="{0EC58FCB-3CC7-3995-8B4D-007C6090886D}"/>
          </ac:spMkLst>
        </pc:spChg>
        <pc:spChg chg="add del mod replST">
          <ac:chgData name="Wenwen Zhang" userId="9dd81366-5d6f-445a-b031-6ea562624431" providerId="ADAL" clId="{D6FBF965-026B-43DA-A554-C6861A0A35E4}" dt="2023-02-01T20:22:51.533" v="43870"/>
          <ac:spMkLst>
            <pc:docMk/>
            <pc:sldMk cId="4114790528" sldId="2134804371"/>
            <ac:spMk id="546" creationId="{E212AF8E-9ABB-25EA-FA50-BAF6247F782D}"/>
          </ac:spMkLst>
        </pc:spChg>
        <pc:spChg chg="add del mod replST">
          <ac:chgData name="Wenwen Zhang" userId="9dd81366-5d6f-445a-b031-6ea562624431" providerId="ADAL" clId="{D6FBF965-026B-43DA-A554-C6861A0A35E4}" dt="2023-02-01T20:22:51.533" v="43871"/>
          <ac:spMkLst>
            <pc:docMk/>
            <pc:sldMk cId="4114790528" sldId="2134804371"/>
            <ac:spMk id="547" creationId="{95720C9F-C6B3-EC12-226B-497AD9EBED5E}"/>
          </ac:spMkLst>
        </pc:spChg>
        <pc:spChg chg="add del mod modVis">
          <ac:chgData name="Wenwen Zhang" userId="9dd81366-5d6f-445a-b031-6ea562624431" providerId="ADAL" clId="{D6FBF965-026B-43DA-A554-C6861A0A35E4}" dt="2023-02-01T20:22:27.518" v="43535"/>
          <ac:spMkLst>
            <pc:docMk/>
            <pc:sldMk cId="4114790528" sldId="2134804371"/>
            <ac:spMk id="548" creationId="{AD66F455-7DB6-17CE-112B-6FE0D976B884}"/>
          </ac:spMkLst>
        </pc:spChg>
        <pc:spChg chg="add del mod modVis">
          <ac:chgData name="Wenwen Zhang" userId="9dd81366-5d6f-445a-b031-6ea562624431" providerId="ADAL" clId="{D6FBF965-026B-43DA-A554-C6861A0A35E4}" dt="2023-02-01T20:22:32.536" v="43657"/>
          <ac:spMkLst>
            <pc:docMk/>
            <pc:sldMk cId="4114790528" sldId="2134804371"/>
            <ac:spMk id="550" creationId="{BC0B5DA9-AFCF-4DDD-8657-AD599C9CA3C6}"/>
          </ac:spMkLst>
        </pc:spChg>
        <pc:spChg chg="add del mod modVis">
          <ac:chgData name="Wenwen Zhang" userId="9dd81366-5d6f-445a-b031-6ea562624431" providerId="ADAL" clId="{D6FBF965-026B-43DA-A554-C6861A0A35E4}" dt="2023-02-01T20:22:35.455" v="43751"/>
          <ac:spMkLst>
            <pc:docMk/>
            <pc:sldMk cId="4114790528" sldId="2134804371"/>
            <ac:spMk id="552" creationId="{01BC8220-1865-F727-F837-63BB2ACA83A9}"/>
          </ac:spMkLst>
        </pc:spChg>
        <pc:spChg chg="add del mod modVis">
          <ac:chgData name="Wenwen Zhang" userId="9dd81366-5d6f-445a-b031-6ea562624431" providerId="ADAL" clId="{D6FBF965-026B-43DA-A554-C6861A0A35E4}" dt="2023-02-01T20:22:40.338" v="43866"/>
          <ac:spMkLst>
            <pc:docMk/>
            <pc:sldMk cId="4114790528" sldId="2134804371"/>
            <ac:spMk id="554" creationId="{2E5DEABB-89D7-3E72-B755-E39A8770EC2C}"/>
          </ac:spMkLst>
        </pc:spChg>
        <pc:spChg chg="add del mod modVis">
          <ac:chgData name="Wenwen Zhang" userId="9dd81366-5d6f-445a-b031-6ea562624431" providerId="ADAL" clId="{D6FBF965-026B-43DA-A554-C6861A0A35E4}" dt="2023-02-01T20:22:51.584" v="43939"/>
          <ac:spMkLst>
            <pc:docMk/>
            <pc:sldMk cId="4114790528" sldId="2134804371"/>
            <ac:spMk id="556" creationId="{0B377551-A30C-FDF0-214B-21D38A985879}"/>
          </ac:spMkLst>
        </pc:spChg>
        <pc:spChg chg="add del mod modVis">
          <ac:chgData name="Wenwen Zhang" userId="9dd81366-5d6f-445a-b031-6ea562624431" providerId="ADAL" clId="{D6FBF965-026B-43DA-A554-C6861A0A35E4}" dt="2023-02-01T20:22:54.014" v="44352"/>
          <ac:spMkLst>
            <pc:docMk/>
            <pc:sldMk cId="4114790528" sldId="2134804371"/>
            <ac:spMk id="558" creationId="{144E1EFA-6397-3D29-D05B-3D5CF9710553}"/>
          </ac:spMkLst>
        </pc:spChg>
        <pc:spChg chg="add del mod replST">
          <ac:chgData name="Wenwen Zhang" userId="9dd81366-5d6f-445a-b031-6ea562624431" providerId="ADAL" clId="{D6FBF965-026B-43DA-A554-C6861A0A35E4}" dt="2023-02-01T20:27:46.684" v="46453"/>
          <ac:spMkLst>
            <pc:docMk/>
            <pc:sldMk cId="4114790528" sldId="2134804371"/>
            <ac:spMk id="559" creationId="{96DB64E7-7450-5BAA-7DCA-6F75AE12EF02}"/>
          </ac:spMkLst>
        </pc:spChg>
        <pc:spChg chg="add del mod replST">
          <ac:chgData name="Wenwen Zhang" userId="9dd81366-5d6f-445a-b031-6ea562624431" providerId="ADAL" clId="{D6FBF965-026B-43DA-A554-C6861A0A35E4}" dt="2023-02-01T20:27:46.684" v="46452"/>
          <ac:spMkLst>
            <pc:docMk/>
            <pc:sldMk cId="4114790528" sldId="2134804371"/>
            <ac:spMk id="560" creationId="{96DB64E7-7450-5BAA-7DCA-6F75AE12EF02}"/>
          </ac:spMkLst>
        </pc:spChg>
        <pc:spChg chg="add del mod replST">
          <ac:chgData name="Wenwen Zhang" userId="9dd81366-5d6f-445a-b031-6ea562624431" providerId="ADAL" clId="{D6FBF965-026B-43DA-A554-C6861A0A35E4}" dt="2023-02-01T20:27:46.684" v="46451"/>
          <ac:spMkLst>
            <pc:docMk/>
            <pc:sldMk cId="4114790528" sldId="2134804371"/>
            <ac:spMk id="561" creationId="{96DB64E7-7450-5BAA-7DCA-6F75AE12EF02}"/>
          </ac:spMkLst>
        </pc:spChg>
        <pc:spChg chg="add del mod replST">
          <ac:chgData name="Wenwen Zhang" userId="9dd81366-5d6f-445a-b031-6ea562624431" providerId="ADAL" clId="{D6FBF965-026B-43DA-A554-C6861A0A35E4}" dt="2023-02-01T20:27:46.682" v="46450"/>
          <ac:spMkLst>
            <pc:docMk/>
            <pc:sldMk cId="4114790528" sldId="2134804371"/>
            <ac:spMk id="562" creationId="{96DB64E7-7450-5BAA-7DCA-6F75AE12EF02}"/>
          </ac:spMkLst>
        </pc:spChg>
        <pc:spChg chg="add del mod modVis">
          <ac:chgData name="Wenwen Zhang" userId="9dd81366-5d6f-445a-b031-6ea562624431" providerId="ADAL" clId="{D6FBF965-026B-43DA-A554-C6861A0A35E4}" dt="2023-02-01T20:23:04.004" v="44461"/>
          <ac:spMkLst>
            <pc:docMk/>
            <pc:sldMk cId="4114790528" sldId="2134804371"/>
            <ac:spMk id="564" creationId="{842BDBB5-DAFE-9C40-36A6-78F26F30ADB1}"/>
          </ac:spMkLst>
        </pc:spChg>
        <pc:spChg chg="add del mod modVis">
          <ac:chgData name="Wenwen Zhang" userId="9dd81366-5d6f-445a-b031-6ea562624431" providerId="ADAL" clId="{D6FBF965-026B-43DA-A554-C6861A0A35E4}" dt="2023-02-01T20:23:10.731" v="44545"/>
          <ac:spMkLst>
            <pc:docMk/>
            <pc:sldMk cId="4114790528" sldId="2134804371"/>
            <ac:spMk id="566" creationId="{3D1654A8-E20B-43C9-2B6E-4EF1727C1768}"/>
          </ac:spMkLst>
        </pc:spChg>
        <pc:spChg chg="add del mod modVis">
          <ac:chgData name="Wenwen Zhang" userId="9dd81366-5d6f-445a-b031-6ea562624431" providerId="ADAL" clId="{D6FBF965-026B-43DA-A554-C6861A0A35E4}" dt="2023-02-01T20:23:17.880" v="44736"/>
          <ac:spMkLst>
            <pc:docMk/>
            <pc:sldMk cId="4114790528" sldId="2134804371"/>
            <ac:spMk id="568" creationId="{CD0644B5-D19A-2605-0F5C-FF0F1A44F2DF}"/>
          </ac:spMkLst>
        </pc:spChg>
        <pc:spChg chg="add del mod replST">
          <ac:chgData name="Wenwen Zhang" userId="9dd81366-5d6f-445a-b031-6ea562624431" providerId="ADAL" clId="{D6FBF965-026B-43DA-A554-C6861A0A35E4}" dt="2023-02-01T20:23:20.051" v="44794"/>
          <ac:spMkLst>
            <pc:docMk/>
            <pc:sldMk cId="4114790528" sldId="2134804371"/>
            <ac:spMk id="569" creationId="{96DB64E7-7450-5BAA-7DCA-6F75AE12EF02}"/>
          </ac:spMkLst>
        </pc:spChg>
        <pc:spChg chg="add del mod modVis">
          <ac:chgData name="Wenwen Zhang" userId="9dd81366-5d6f-445a-b031-6ea562624431" providerId="ADAL" clId="{D6FBF965-026B-43DA-A554-C6861A0A35E4}" dt="2023-02-01T20:23:20.076" v="44822"/>
          <ac:spMkLst>
            <pc:docMk/>
            <pc:sldMk cId="4114790528" sldId="2134804371"/>
            <ac:spMk id="571" creationId="{80EAB8FF-46BB-F805-CF2C-FDB1F177A941}"/>
          </ac:spMkLst>
        </pc:spChg>
        <pc:spChg chg="add del mod modVis">
          <ac:chgData name="Wenwen Zhang" userId="9dd81366-5d6f-445a-b031-6ea562624431" providerId="ADAL" clId="{D6FBF965-026B-43DA-A554-C6861A0A35E4}" dt="2023-02-01T20:23:24.632" v="45151"/>
          <ac:spMkLst>
            <pc:docMk/>
            <pc:sldMk cId="4114790528" sldId="2134804371"/>
            <ac:spMk id="573" creationId="{35EE0B90-BC8A-3DA4-D5DB-1B7D7A741989}"/>
          </ac:spMkLst>
        </pc:spChg>
        <pc:spChg chg="add del mod modVis">
          <ac:chgData name="Wenwen Zhang" userId="9dd81366-5d6f-445a-b031-6ea562624431" providerId="ADAL" clId="{D6FBF965-026B-43DA-A554-C6861A0A35E4}" dt="2023-02-01T20:25:08.207" v="45238"/>
          <ac:spMkLst>
            <pc:docMk/>
            <pc:sldMk cId="4114790528" sldId="2134804371"/>
            <ac:spMk id="575" creationId="{BA3F76D1-D9CC-7542-B804-CC92B578EB7D}"/>
          </ac:spMkLst>
        </pc:spChg>
        <pc:graphicFrameChg chg="add del mod ord replST">
          <ac:chgData name="Wenwen Zhang" userId="9dd81366-5d6f-445a-b031-6ea562624431" providerId="ADAL" clId="{D6FBF965-026B-43DA-A554-C6861A0A35E4}" dt="2023-02-01T19:38:30.592" v="39731"/>
          <ac:graphicFrameMkLst>
            <pc:docMk/>
            <pc:sldMk cId="4114790528" sldId="2134804371"/>
            <ac:graphicFrameMk id="4" creationId="{601D6D4A-25A3-4156-C6F3-CE1E8B9DD71C}"/>
          </ac:graphicFrameMkLst>
        </pc:graphicFrameChg>
        <pc:graphicFrameChg chg="add del mod ord replST">
          <ac:chgData name="Wenwen Zhang" userId="9dd81366-5d6f-445a-b031-6ea562624431" providerId="ADAL" clId="{D6FBF965-026B-43DA-A554-C6861A0A35E4}" dt="2023-02-01T19:38:56.163" v="39828"/>
          <ac:graphicFrameMkLst>
            <pc:docMk/>
            <pc:sldMk cId="4114790528" sldId="2134804371"/>
            <ac:graphicFrameMk id="6" creationId="{10F3F38E-C8D1-38EB-D4F6-7AB1AEBAE8A6}"/>
          </ac:graphicFrameMkLst>
        </pc:graphicFrameChg>
        <pc:graphicFrameChg chg="add del mod ord replST">
          <ac:chgData name="Wenwen Zhang" userId="9dd81366-5d6f-445a-b031-6ea562624431" providerId="ADAL" clId="{D6FBF965-026B-43DA-A554-C6861A0A35E4}" dt="2023-02-01T20:10:00.424" v="39942"/>
          <ac:graphicFrameMkLst>
            <pc:docMk/>
            <pc:sldMk cId="4114790528" sldId="2134804371"/>
            <ac:graphicFrameMk id="8" creationId="{32A6A144-9964-16BF-86A0-84B2B1E651E9}"/>
          </ac:graphicFrameMkLst>
        </pc:graphicFrameChg>
        <pc:graphicFrameChg chg="add del mod ord replST">
          <ac:chgData name="Wenwen Zhang" userId="9dd81366-5d6f-445a-b031-6ea562624431" providerId="ADAL" clId="{D6FBF965-026B-43DA-A554-C6861A0A35E4}" dt="2023-02-01T20:10:07.177" v="40052"/>
          <ac:graphicFrameMkLst>
            <pc:docMk/>
            <pc:sldMk cId="4114790528" sldId="2134804371"/>
            <ac:graphicFrameMk id="10" creationId="{70A2165E-1F70-EA86-E6A1-C14C2E692309}"/>
          </ac:graphicFrameMkLst>
        </pc:graphicFrameChg>
        <pc:graphicFrameChg chg="add del mod ord replST">
          <ac:chgData name="Wenwen Zhang" userId="9dd81366-5d6f-445a-b031-6ea562624431" providerId="ADAL" clId="{D6FBF965-026B-43DA-A554-C6861A0A35E4}" dt="2023-02-01T20:10:18.543" v="40140"/>
          <ac:graphicFrameMkLst>
            <pc:docMk/>
            <pc:sldMk cId="4114790528" sldId="2134804371"/>
            <ac:graphicFrameMk id="12" creationId="{4027E9AA-126E-B938-57DA-7FF2DC9740D7}"/>
          </ac:graphicFrameMkLst>
        </pc:graphicFrameChg>
        <pc:graphicFrameChg chg="add del mod ord replST">
          <ac:chgData name="Wenwen Zhang" userId="9dd81366-5d6f-445a-b031-6ea562624431" providerId="ADAL" clId="{D6FBF965-026B-43DA-A554-C6861A0A35E4}" dt="2023-02-01T20:10:40.695" v="40229"/>
          <ac:graphicFrameMkLst>
            <pc:docMk/>
            <pc:sldMk cId="4114790528" sldId="2134804371"/>
            <ac:graphicFrameMk id="14" creationId="{AD039773-4F79-E919-FE4D-2EC997D62608}"/>
          </ac:graphicFrameMkLst>
        </pc:graphicFrameChg>
        <pc:graphicFrameChg chg="add del mod ord replST">
          <ac:chgData name="Wenwen Zhang" userId="9dd81366-5d6f-445a-b031-6ea562624431" providerId="ADAL" clId="{D6FBF965-026B-43DA-A554-C6861A0A35E4}" dt="2023-02-01T20:10:46.616" v="40340"/>
          <ac:graphicFrameMkLst>
            <pc:docMk/>
            <pc:sldMk cId="4114790528" sldId="2134804371"/>
            <ac:graphicFrameMk id="16" creationId="{D4D27B9D-65A5-8A3F-7B76-0230FC8BAD0F}"/>
          </ac:graphicFrameMkLst>
        </pc:graphicFrameChg>
        <pc:graphicFrameChg chg="add del mod ord replST">
          <ac:chgData name="Wenwen Zhang" userId="9dd81366-5d6f-445a-b031-6ea562624431" providerId="ADAL" clId="{D6FBF965-026B-43DA-A554-C6861A0A35E4}" dt="2023-02-01T20:10:55.457" v="40429"/>
          <ac:graphicFrameMkLst>
            <pc:docMk/>
            <pc:sldMk cId="4114790528" sldId="2134804371"/>
            <ac:graphicFrameMk id="18" creationId="{8B7AF87A-DCFE-1741-1DDF-75A3C7ECED38}"/>
          </ac:graphicFrameMkLst>
        </pc:graphicFrameChg>
        <pc:graphicFrameChg chg="add del mod ord replST">
          <ac:chgData name="Wenwen Zhang" userId="9dd81366-5d6f-445a-b031-6ea562624431" providerId="ADAL" clId="{D6FBF965-026B-43DA-A554-C6861A0A35E4}" dt="2023-02-01T20:11:01.409" v="40544"/>
          <ac:graphicFrameMkLst>
            <pc:docMk/>
            <pc:sldMk cId="4114790528" sldId="2134804371"/>
            <ac:graphicFrameMk id="20" creationId="{7B363A45-390E-058E-5573-127EBD76A2AC}"/>
          </ac:graphicFrameMkLst>
        </pc:graphicFrameChg>
        <pc:graphicFrameChg chg="add del mod ord replST">
          <ac:chgData name="Wenwen Zhang" userId="9dd81366-5d6f-445a-b031-6ea562624431" providerId="ADAL" clId="{D6FBF965-026B-43DA-A554-C6861A0A35E4}" dt="2023-02-01T20:11:07.495" v="40694"/>
          <ac:graphicFrameMkLst>
            <pc:docMk/>
            <pc:sldMk cId="4114790528" sldId="2134804371"/>
            <ac:graphicFrameMk id="23" creationId="{A12899CE-7582-962A-A59B-53770B5870BB}"/>
          </ac:graphicFrameMkLst>
        </pc:graphicFrameChg>
        <pc:graphicFrameChg chg="add del mod ord replST">
          <ac:chgData name="Wenwen Zhang" userId="9dd81366-5d6f-445a-b031-6ea562624431" providerId="ADAL" clId="{D6FBF965-026B-43DA-A554-C6861A0A35E4}" dt="2023-02-01T20:11:11.311" v="40799"/>
          <ac:graphicFrameMkLst>
            <pc:docMk/>
            <pc:sldMk cId="4114790528" sldId="2134804371"/>
            <ac:graphicFrameMk id="26" creationId="{289BCFE3-1069-798D-3EFE-F4A257C5F166}"/>
          </ac:graphicFrameMkLst>
        </pc:graphicFrameChg>
        <pc:graphicFrameChg chg="mod">
          <ac:chgData name="Wenwen Zhang" userId="9dd81366-5d6f-445a-b031-6ea562624431" providerId="ADAL" clId="{D6FBF965-026B-43DA-A554-C6861A0A35E4}" dt="2023-02-01T20:35:47.650" v="54096"/>
          <ac:graphicFrameMkLst>
            <pc:docMk/>
            <pc:sldMk cId="4114790528" sldId="2134804371"/>
            <ac:graphicFrameMk id="28" creationId="{015DFAEE-F78A-C272-92CE-F25C3417CAD0}"/>
          </ac:graphicFrameMkLst>
        </pc:graphicFrameChg>
        <pc:graphicFrameChg chg="add del mod ord replST">
          <ac:chgData name="Wenwen Zhang" userId="9dd81366-5d6f-445a-b031-6ea562624431" providerId="ADAL" clId="{D6FBF965-026B-43DA-A554-C6861A0A35E4}" dt="2023-02-01T20:11:33.328" v="40909"/>
          <ac:graphicFrameMkLst>
            <pc:docMk/>
            <pc:sldMk cId="4114790528" sldId="2134804371"/>
            <ac:graphicFrameMk id="30" creationId="{AB0AA99A-76B4-3081-1724-F5CB4F811D73}"/>
          </ac:graphicFrameMkLst>
        </pc:graphicFrameChg>
        <pc:graphicFrameChg chg="add del mod ord replST">
          <ac:chgData name="Wenwen Zhang" userId="9dd81366-5d6f-445a-b031-6ea562624431" providerId="ADAL" clId="{D6FBF965-026B-43DA-A554-C6861A0A35E4}" dt="2023-02-01T20:12:19.774" v="41166"/>
          <ac:graphicFrameMkLst>
            <pc:docMk/>
            <pc:sldMk cId="4114790528" sldId="2134804371"/>
            <ac:graphicFrameMk id="32" creationId="{AE2D82C0-4E72-A1DE-28EC-58667384C0F2}"/>
          </ac:graphicFrameMkLst>
        </pc:graphicFrameChg>
        <pc:graphicFrameChg chg="add del mod ord replST">
          <ac:chgData name="Wenwen Zhang" userId="9dd81366-5d6f-445a-b031-6ea562624431" providerId="ADAL" clId="{D6FBF965-026B-43DA-A554-C6861A0A35E4}" dt="2023-02-01T20:12:33.604" v="41246"/>
          <ac:graphicFrameMkLst>
            <pc:docMk/>
            <pc:sldMk cId="4114790528" sldId="2134804371"/>
            <ac:graphicFrameMk id="37" creationId="{AD668555-709C-6442-7EC0-FDE2087CA577}"/>
          </ac:graphicFrameMkLst>
        </pc:graphicFrameChg>
        <pc:graphicFrameChg chg="add del mod ord replST">
          <ac:chgData name="Wenwen Zhang" userId="9dd81366-5d6f-445a-b031-6ea562624431" providerId="ADAL" clId="{D6FBF965-026B-43DA-A554-C6861A0A35E4}" dt="2023-02-01T20:12:44.473" v="41389"/>
          <ac:graphicFrameMkLst>
            <pc:docMk/>
            <pc:sldMk cId="4114790528" sldId="2134804371"/>
            <ac:graphicFrameMk id="39" creationId="{0BF23FFE-0B87-6AC4-671D-6928A47D644D}"/>
          </ac:graphicFrameMkLst>
        </pc:graphicFrameChg>
        <pc:graphicFrameChg chg="add del mod ord replST">
          <ac:chgData name="Wenwen Zhang" userId="9dd81366-5d6f-445a-b031-6ea562624431" providerId="ADAL" clId="{D6FBF965-026B-43DA-A554-C6861A0A35E4}" dt="2023-02-01T20:12:52.619" v="41489"/>
          <ac:graphicFrameMkLst>
            <pc:docMk/>
            <pc:sldMk cId="4114790528" sldId="2134804371"/>
            <ac:graphicFrameMk id="45" creationId="{CFB66843-8E46-DB91-AF1D-A5D424E00E09}"/>
          </ac:graphicFrameMkLst>
        </pc:graphicFrameChg>
        <pc:graphicFrameChg chg="add del mod ord replST">
          <ac:chgData name="Wenwen Zhang" userId="9dd81366-5d6f-445a-b031-6ea562624431" providerId="ADAL" clId="{D6FBF965-026B-43DA-A554-C6861A0A35E4}" dt="2023-02-01T20:19:21.115" v="41571"/>
          <ac:graphicFrameMkLst>
            <pc:docMk/>
            <pc:sldMk cId="4114790528" sldId="2134804371"/>
            <ac:graphicFrameMk id="47" creationId="{F4765A6C-EDC0-9747-C44D-D81E4935BB30}"/>
          </ac:graphicFrameMkLst>
        </pc:graphicFrameChg>
        <pc:graphicFrameChg chg="add del mod ord replST">
          <ac:chgData name="Wenwen Zhang" userId="9dd81366-5d6f-445a-b031-6ea562624431" providerId="ADAL" clId="{D6FBF965-026B-43DA-A554-C6861A0A35E4}" dt="2023-02-01T20:19:30.417" v="41649"/>
          <ac:graphicFrameMkLst>
            <pc:docMk/>
            <pc:sldMk cId="4114790528" sldId="2134804371"/>
            <ac:graphicFrameMk id="49" creationId="{E8D98375-BFC0-43B7-74A7-9638C680C523}"/>
          </ac:graphicFrameMkLst>
        </pc:graphicFrameChg>
        <pc:graphicFrameChg chg="add del mod ord replST">
          <ac:chgData name="Wenwen Zhang" userId="9dd81366-5d6f-445a-b031-6ea562624431" providerId="ADAL" clId="{D6FBF965-026B-43DA-A554-C6861A0A35E4}" dt="2023-02-01T20:19:34.416" v="41731"/>
          <ac:graphicFrameMkLst>
            <pc:docMk/>
            <pc:sldMk cId="4114790528" sldId="2134804371"/>
            <ac:graphicFrameMk id="51" creationId="{54FB1E0C-C051-843E-66D6-155C62EDC3C3}"/>
          </ac:graphicFrameMkLst>
        </pc:graphicFrameChg>
        <pc:graphicFrameChg chg="add del mod ord replST">
          <ac:chgData name="Wenwen Zhang" userId="9dd81366-5d6f-445a-b031-6ea562624431" providerId="ADAL" clId="{D6FBF965-026B-43DA-A554-C6861A0A35E4}" dt="2023-02-01T20:19:38.346" v="41805"/>
          <ac:graphicFrameMkLst>
            <pc:docMk/>
            <pc:sldMk cId="4114790528" sldId="2134804371"/>
            <ac:graphicFrameMk id="53" creationId="{674EA832-D3EB-0AE3-D3B6-A6E11C62B0F6}"/>
          </ac:graphicFrameMkLst>
        </pc:graphicFrameChg>
        <pc:graphicFrameChg chg="add del mod ord replST">
          <ac:chgData name="Wenwen Zhang" userId="9dd81366-5d6f-445a-b031-6ea562624431" providerId="ADAL" clId="{D6FBF965-026B-43DA-A554-C6861A0A35E4}" dt="2023-02-01T20:20:07.300" v="41889"/>
          <ac:graphicFrameMkLst>
            <pc:docMk/>
            <pc:sldMk cId="4114790528" sldId="2134804371"/>
            <ac:graphicFrameMk id="55" creationId="{B2F88554-729A-000C-1367-5A30AA6D3346}"/>
          </ac:graphicFrameMkLst>
        </pc:graphicFrameChg>
        <pc:graphicFrameChg chg="add del mod ord replST">
          <ac:chgData name="Wenwen Zhang" userId="9dd81366-5d6f-445a-b031-6ea562624431" providerId="ADAL" clId="{D6FBF965-026B-43DA-A554-C6861A0A35E4}" dt="2023-02-01T20:20:19.607" v="41963"/>
          <ac:graphicFrameMkLst>
            <pc:docMk/>
            <pc:sldMk cId="4114790528" sldId="2134804371"/>
            <ac:graphicFrameMk id="57" creationId="{A63750D6-EEA0-88F4-1DD4-3C5B744E1AD3}"/>
          </ac:graphicFrameMkLst>
        </pc:graphicFrameChg>
        <pc:graphicFrameChg chg="add del mod ord replST">
          <ac:chgData name="Wenwen Zhang" userId="9dd81366-5d6f-445a-b031-6ea562624431" providerId="ADAL" clId="{D6FBF965-026B-43DA-A554-C6861A0A35E4}" dt="2023-02-01T20:20:45.385" v="42258"/>
          <ac:graphicFrameMkLst>
            <pc:docMk/>
            <pc:sldMk cId="4114790528" sldId="2134804371"/>
            <ac:graphicFrameMk id="59" creationId="{5F5ABAC4-134F-502B-85AF-8B88B82FABD1}"/>
          </ac:graphicFrameMkLst>
        </pc:graphicFrameChg>
        <pc:graphicFrameChg chg="add del mod ord replST">
          <ac:chgData name="Wenwen Zhang" userId="9dd81366-5d6f-445a-b031-6ea562624431" providerId="ADAL" clId="{D6FBF965-026B-43DA-A554-C6861A0A35E4}" dt="2023-02-01T20:20:47.761" v="42432"/>
          <ac:graphicFrameMkLst>
            <pc:docMk/>
            <pc:sldMk cId="4114790528" sldId="2134804371"/>
            <ac:graphicFrameMk id="63" creationId="{05D86301-2D15-D8A3-BF56-120AF84330EC}"/>
          </ac:graphicFrameMkLst>
        </pc:graphicFrameChg>
        <pc:graphicFrameChg chg="add del mod ord replST">
          <ac:chgData name="Wenwen Zhang" userId="9dd81366-5d6f-445a-b031-6ea562624431" providerId="ADAL" clId="{D6FBF965-026B-43DA-A554-C6861A0A35E4}" dt="2023-02-01T20:25:16.958" v="45297"/>
          <ac:graphicFrameMkLst>
            <pc:docMk/>
            <pc:sldMk cId="4114790528" sldId="2134804371"/>
            <ac:graphicFrameMk id="64" creationId="{4238A7E0-24A7-EC51-77BA-F1B59C01D276}"/>
          </ac:graphicFrameMkLst>
        </pc:graphicFrameChg>
        <pc:graphicFrameChg chg="add del mod ord replST">
          <ac:chgData name="Wenwen Zhang" userId="9dd81366-5d6f-445a-b031-6ea562624431" providerId="ADAL" clId="{D6FBF965-026B-43DA-A554-C6861A0A35E4}" dt="2023-02-01T20:25:22.340" v="45386"/>
          <ac:graphicFrameMkLst>
            <pc:docMk/>
            <pc:sldMk cId="4114790528" sldId="2134804371"/>
            <ac:graphicFrameMk id="66" creationId="{F585C3EC-C4A1-656A-3774-7B3DB1BA00EE}"/>
          </ac:graphicFrameMkLst>
        </pc:graphicFrameChg>
        <pc:graphicFrameChg chg="add del mod ord replST">
          <ac:chgData name="Wenwen Zhang" userId="9dd81366-5d6f-445a-b031-6ea562624431" providerId="ADAL" clId="{D6FBF965-026B-43DA-A554-C6861A0A35E4}" dt="2023-02-01T20:25:32.086" v="45475"/>
          <ac:graphicFrameMkLst>
            <pc:docMk/>
            <pc:sldMk cId="4114790528" sldId="2134804371"/>
            <ac:graphicFrameMk id="68" creationId="{C2CAF4CD-6A0C-8006-8D7B-2D35503474C9}"/>
          </ac:graphicFrameMkLst>
        </pc:graphicFrameChg>
        <pc:graphicFrameChg chg="add del mod ord replST">
          <ac:chgData name="Wenwen Zhang" userId="9dd81366-5d6f-445a-b031-6ea562624431" providerId="ADAL" clId="{D6FBF965-026B-43DA-A554-C6861A0A35E4}" dt="2023-02-01T20:25:38.308" v="45564"/>
          <ac:graphicFrameMkLst>
            <pc:docMk/>
            <pc:sldMk cId="4114790528" sldId="2134804371"/>
            <ac:graphicFrameMk id="70" creationId="{3AD5F8A0-DECC-610F-55B4-BD048B8D5FF6}"/>
          </ac:graphicFrameMkLst>
        </pc:graphicFrameChg>
        <pc:graphicFrameChg chg="add del mod ord replST">
          <ac:chgData name="Wenwen Zhang" userId="9dd81366-5d6f-445a-b031-6ea562624431" providerId="ADAL" clId="{D6FBF965-026B-43DA-A554-C6861A0A35E4}" dt="2023-02-01T20:25:43.754" v="45661"/>
          <ac:graphicFrameMkLst>
            <pc:docMk/>
            <pc:sldMk cId="4114790528" sldId="2134804371"/>
            <ac:graphicFrameMk id="72" creationId="{87A9DA20-C137-0E01-DD7F-31BD8A1ADF22}"/>
          </ac:graphicFrameMkLst>
        </pc:graphicFrameChg>
        <pc:graphicFrameChg chg="add del mod ord replST">
          <ac:chgData name="Wenwen Zhang" userId="9dd81366-5d6f-445a-b031-6ea562624431" providerId="ADAL" clId="{D6FBF965-026B-43DA-A554-C6861A0A35E4}" dt="2023-02-01T20:27:46.688" v="46461"/>
          <ac:graphicFrameMkLst>
            <pc:docMk/>
            <pc:sldMk cId="4114790528" sldId="2134804371"/>
            <ac:graphicFrameMk id="74" creationId="{CD94D038-C929-9DFA-0224-DF9BB68EEBC5}"/>
          </ac:graphicFrameMkLst>
        </pc:graphicFrameChg>
        <pc:graphicFrameChg chg="add del mod ord replST">
          <ac:chgData name="Wenwen Zhang" userId="9dd81366-5d6f-445a-b031-6ea562624431" providerId="ADAL" clId="{D6FBF965-026B-43DA-A554-C6861A0A35E4}" dt="2023-02-01T20:27:10.316" v="46023"/>
          <ac:graphicFrameMkLst>
            <pc:docMk/>
            <pc:sldMk cId="4114790528" sldId="2134804371"/>
            <ac:graphicFrameMk id="79" creationId="{AF56D93C-FCF0-58B4-5645-5FA17EAF215E}"/>
          </ac:graphicFrameMkLst>
        </pc:graphicFrameChg>
        <pc:graphicFrameChg chg="add del mod ord replST">
          <ac:chgData name="Wenwen Zhang" userId="9dd81366-5d6f-445a-b031-6ea562624431" providerId="ADAL" clId="{D6FBF965-026B-43DA-A554-C6861A0A35E4}" dt="2023-02-01T20:27:23.816" v="46164"/>
          <ac:graphicFrameMkLst>
            <pc:docMk/>
            <pc:sldMk cId="4114790528" sldId="2134804371"/>
            <ac:graphicFrameMk id="80" creationId="{899E36BE-48AD-EFC7-7360-0F60150F69D7}"/>
          </ac:graphicFrameMkLst>
        </pc:graphicFrameChg>
        <pc:graphicFrameChg chg="add del mod ord replST">
          <ac:chgData name="Wenwen Zhang" userId="9dd81366-5d6f-445a-b031-6ea562624431" providerId="ADAL" clId="{D6FBF965-026B-43DA-A554-C6861A0A35E4}" dt="2023-02-01T20:27:42.731" v="46365"/>
          <ac:graphicFrameMkLst>
            <pc:docMk/>
            <pc:sldMk cId="4114790528" sldId="2134804371"/>
            <ac:graphicFrameMk id="83" creationId="{C7591662-C097-3132-5DE4-6A42747124E3}"/>
          </ac:graphicFrameMkLst>
        </pc:graphicFrameChg>
        <pc:graphicFrameChg chg="add del mod ord replST">
          <ac:chgData name="Wenwen Zhang" userId="9dd81366-5d6f-445a-b031-6ea562624431" providerId="ADAL" clId="{D6FBF965-026B-43DA-A554-C6861A0A35E4}" dt="2023-02-01T20:27:54.006" v="46475"/>
          <ac:graphicFrameMkLst>
            <pc:docMk/>
            <pc:sldMk cId="4114790528" sldId="2134804371"/>
            <ac:graphicFrameMk id="88" creationId="{5689D1F7-9F30-D1DE-B0CD-E8D897CC8168}"/>
          </ac:graphicFrameMkLst>
        </pc:graphicFrameChg>
        <pc:graphicFrameChg chg="add del mod ord replST">
          <ac:chgData name="Wenwen Zhang" userId="9dd81366-5d6f-445a-b031-6ea562624431" providerId="ADAL" clId="{D6FBF965-026B-43DA-A554-C6861A0A35E4}" dt="2023-02-01T20:28:19.655" v="46531"/>
          <ac:graphicFrameMkLst>
            <pc:docMk/>
            <pc:sldMk cId="4114790528" sldId="2134804371"/>
            <ac:graphicFrameMk id="93" creationId="{9FA6CB1B-D960-F03B-B5BD-56D42C94EC30}"/>
          </ac:graphicFrameMkLst>
        </pc:graphicFrameChg>
        <pc:graphicFrameChg chg="add del mod ord replST">
          <ac:chgData name="Wenwen Zhang" userId="9dd81366-5d6f-445a-b031-6ea562624431" providerId="ADAL" clId="{D6FBF965-026B-43DA-A554-C6861A0A35E4}" dt="2023-02-01T20:28:24.444" v="46569"/>
          <ac:graphicFrameMkLst>
            <pc:docMk/>
            <pc:sldMk cId="4114790528" sldId="2134804371"/>
            <ac:graphicFrameMk id="94" creationId="{94E83D9D-DA23-2CE5-3636-A34536C35ABA}"/>
          </ac:graphicFrameMkLst>
        </pc:graphicFrameChg>
        <pc:graphicFrameChg chg="add del mod ord replST">
          <ac:chgData name="Wenwen Zhang" userId="9dd81366-5d6f-445a-b031-6ea562624431" providerId="ADAL" clId="{D6FBF965-026B-43DA-A554-C6861A0A35E4}" dt="2023-02-01T20:28:27.553" v="46717"/>
          <ac:graphicFrameMkLst>
            <pc:docMk/>
            <pc:sldMk cId="4114790528" sldId="2134804371"/>
            <ac:graphicFrameMk id="96" creationId="{57F2F581-746F-733C-03C3-182E00CCA6E7}"/>
          </ac:graphicFrameMkLst>
        </pc:graphicFrameChg>
        <pc:graphicFrameChg chg="add del mod ord replST">
          <ac:chgData name="Wenwen Zhang" userId="9dd81366-5d6f-445a-b031-6ea562624431" providerId="ADAL" clId="{D6FBF965-026B-43DA-A554-C6861A0A35E4}" dt="2023-02-01T20:28:29.411" v="46758"/>
          <ac:graphicFrameMkLst>
            <pc:docMk/>
            <pc:sldMk cId="4114790528" sldId="2134804371"/>
            <ac:graphicFrameMk id="100" creationId="{6C046EA7-A8EE-5463-436D-D5C448519438}"/>
          </ac:graphicFrameMkLst>
        </pc:graphicFrameChg>
        <pc:graphicFrameChg chg="add del mod ord replST">
          <ac:chgData name="Wenwen Zhang" userId="9dd81366-5d6f-445a-b031-6ea562624431" providerId="ADAL" clId="{D6FBF965-026B-43DA-A554-C6861A0A35E4}" dt="2023-02-01T20:28:34.567" v="46911"/>
          <ac:graphicFrameMkLst>
            <pc:docMk/>
            <pc:sldMk cId="4114790528" sldId="2134804371"/>
            <ac:graphicFrameMk id="102" creationId="{3EFDAA5E-0800-BE49-9EE8-CFF9FFF8C919}"/>
          </ac:graphicFrameMkLst>
        </pc:graphicFrameChg>
        <pc:graphicFrameChg chg="add del mod ord replST">
          <ac:chgData name="Wenwen Zhang" userId="9dd81366-5d6f-445a-b031-6ea562624431" providerId="ADAL" clId="{D6FBF965-026B-43DA-A554-C6861A0A35E4}" dt="2023-02-01T20:28:44.622" v="46957"/>
          <ac:graphicFrameMkLst>
            <pc:docMk/>
            <pc:sldMk cId="4114790528" sldId="2134804371"/>
            <ac:graphicFrameMk id="105" creationId="{B632CB7A-99B5-313D-BF0B-ED0DFA8A8EF4}"/>
          </ac:graphicFrameMkLst>
        </pc:graphicFrameChg>
        <pc:graphicFrameChg chg="add del mod ord replST">
          <ac:chgData name="Wenwen Zhang" userId="9dd81366-5d6f-445a-b031-6ea562624431" providerId="ADAL" clId="{D6FBF965-026B-43DA-A554-C6861A0A35E4}" dt="2023-02-01T20:28:48.399" v="47001"/>
          <ac:graphicFrameMkLst>
            <pc:docMk/>
            <pc:sldMk cId="4114790528" sldId="2134804371"/>
            <ac:graphicFrameMk id="106" creationId="{57D1AA31-158C-FA1F-3EE0-63AF4E6BD09A}"/>
          </ac:graphicFrameMkLst>
        </pc:graphicFrameChg>
        <pc:graphicFrameChg chg="add del mod ord replST">
          <ac:chgData name="Wenwen Zhang" userId="9dd81366-5d6f-445a-b031-6ea562624431" providerId="ADAL" clId="{D6FBF965-026B-43DA-A554-C6861A0A35E4}" dt="2023-02-01T20:28:54.115" v="47219"/>
          <ac:graphicFrameMkLst>
            <pc:docMk/>
            <pc:sldMk cId="4114790528" sldId="2134804371"/>
            <ac:graphicFrameMk id="108" creationId="{30DFD9E7-588B-D5CD-EA75-E7B0BA74AD49}"/>
          </ac:graphicFrameMkLst>
        </pc:graphicFrameChg>
        <pc:graphicFrameChg chg="add del mod ord replST">
          <ac:chgData name="Wenwen Zhang" userId="9dd81366-5d6f-445a-b031-6ea562624431" providerId="ADAL" clId="{D6FBF965-026B-43DA-A554-C6861A0A35E4}" dt="2023-02-01T20:29:09.202" v="48732"/>
          <ac:graphicFrameMkLst>
            <pc:docMk/>
            <pc:sldMk cId="4114790528" sldId="2134804371"/>
            <ac:graphicFrameMk id="110" creationId="{31C0CFD2-9771-DD34-B886-D59E4F84B9C4}"/>
          </ac:graphicFrameMkLst>
        </pc:graphicFrameChg>
        <pc:graphicFrameChg chg="add del mod ord replST">
          <ac:chgData name="Wenwen Zhang" userId="9dd81366-5d6f-445a-b031-6ea562624431" providerId="ADAL" clId="{D6FBF965-026B-43DA-A554-C6861A0A35E4}" dt="2023-02-01T20:31:45.267" v="49259"/>
          <ac:graphicFrameMkLst>
            <pc:docMk/>
            <pc:sldMk cId="4114790528" sldId="2134804371"/>
            <ac:graphicFrameMk id="113" creationId="{36ABFED0-722E-738F-1B81-C5BCA506E5C9}"/>
          </ac:graphicFrameMkLst>
        </pc:graphicFrameChg>
        <pc:graphicFrameChg chg="add del mod replST">
          <ac:chgData name="Wenwen Zhang" userId="9dd81366-5d6f-445a-b031-6ea562624431" providerId="ADAL" clId="{D6FBF965-026B-43DA-A554-C6861A0A35E4}" dt="2023-02-01T20:31:01.278" v="49133"/>
          <ac:graphicFrameMkLst>
            <pc:docMk/>
            <pc:sldMk cId="4114790528" sldId="2134804371"/>
            <ac:graphicFrameMk id="118" creationId="{8C6864F3-AA7E-DE58-19D5-65826FB26FE5}"/>
          </ac:graphicFrameMkLst>
        </pc:graphicFrameChg>
        <pc:graphicFrameChg chg="add del mod ord replST">
          <ac:chgData name="Wenwen Zhang" userId="9dd81366-5d6f-445a-b031-6ea562624431" providerId="ADAL" clId="{D6FBF965-026B-43DA-A554-C6861A0A35E4}" dt="2023-02-01T20:34:17.659" v="50165"/>
          <ac:graphicFrameMkLst>
            <pc:docMk/>
            <pc:sldMk cId="4114790528" sldId="2134804371"/>
            <ac:graphicFrameMk id="130" creationId="{E9FA6A68-CDD5-5348-B42D-4222FFA300FC}"/>
          </ac:graphicFrameMkLst>
        </pc:graphicFrameChg>
        <pc:graphicFrameChg chg="add del mod ord replST">
          <ac:chgData name="Wenwen Zhang" userId="9dd81366-5d6f-445a-b031-6ea562624431" providerId="ADAL" clId="{D6FBF965-026B-43DA-A554-C6861A0A35E4}" dt="2023-02-01T20:31:53.147" v="49343"/>
          <ac:graphicFrameMkLst>
            <pc:docMk/>
            <pc:sldMk cId="4114790528" sldId="2134804371"/>
            <ac:graphicFrameMk id="132" creationId="{BDB508A6-763D-9692-DF52-FF31B77F1D7D}"/>
          </ac:graphicFrameMkLst>
        </pc:graphicFrameChg>
        <pc:graphicFrameChg chg="add del mod ord replST">
          <ac:chgData name="Wenwen Zhang" userId="9dd81366-5d6f-445a-b031-6ea562624431" providerId="ADAL" clId="{D6FBF965-026B-43DA-A554-C6861A0A35E4}" dt="2023-02-01T20:32:00.605" v="49427"/>
          <ac:graphicFrameMkLst>
            <pc:docMk/>
            <pc:sldMk cId="4114790528" sldId="2134804371"/>
            <ac:graphicFrameMk id="134" creationId="{9DA521D0-2AB2-91C5-5ADE-B10BD1E68FEC}"/>
          </ac:graphicFrameMkLst>
        </pc:graphicFrameChg>
        <pc:graphicFrameChg chg="add del mod ord replST">
          <ac:chgData name="Wenwen Zhang" userId="9dd81366-5d6f-445a-b031-6ea562624431" providerId="ADAL" clId="{D6FBF965-026B-43DA-A554-C6861A0A35E4}" dt="2023-02-01T20:32:16.712" v="49511"/>
          <ac:graphicFrameMkLst>
            <pc:docMk/>
            <pc:sldMk cId="4114790528" sldId="2134804371"/>
            <ac:graphicFrameMk id="136" creationId="{C2B93256-F325-94ED-9EBE-481B75D09B47}"/>
          </ac:graphicFrameMkLst>
        </pc:graphicFrameChg>
        <pc:graphicFrameChg chg="add del mod ord replST">
          <ac:chgData name="Wenwen Zhang" userId="9dd81366-5d6f-445a-b031-6ea562624431" providerId="ADAL" clId="{D6FBF965-026B-43DA-A554-C6861A0A35E4}" dt="2023-02-01T20:32:33.591" v="49595"/>
          <ac:graphicFrameMkLst>
            <pc:docMk/>
            <pc:sldMk cId="4114790528" sldId="2134804371"/>
            <ac:graphicFrameMk id="138" creationId="{118E6961-8647-9BE1-5379-B084EFE53A26}"/>
          </ac:graphicFrameMkLst>
        </pc:graphicFrameChg>
        <pc:graphicFrameChg chg="add del mod ord replST">
          <ac:chgData name="Wenwen Zhang" userId="9dd81366-5d6f-445a-b031-6ea562624431" providerId="ADAL" clId="{D6FBF965-026B-43DA-A554-C6861A0A35E4}" dt="2023-02-01T20:33:07.677" v="49679"/>
          <ac:graphicFrameMkLst>
            <pc:docMk/>
            <pc:sldMk cId="4114790528" sldId="2134804371"/>
            <ac:graphicFrameMk id="140" creationId="{10F1FAB3-6A31-ED47-C326-5CABF24FC6B0}"/>
          </ac:graphicFrameMkLst>
        </pc:graphicFrameChg>
        <pc:graphicFrameChg chg="add del mod ord replST">
          <ac:chgData name="Wenwen Zhang" userId="9dd81366-5d6f-445a-b031-6ea562624431" providerId="ADAL" clId="{D6FBF965-026B-43DA-A554-C6861A0A35E4}" dt="2023-02-01T20:33:15.287" v="49763"/>
          <ac:graphicFrameMkLst>
            <pc:docMk/>
            <pc:sldMk cId="4114790528" sldId="2134804371"/>
            <ac:graphicFrameMk id="142" creationId="{E5548ED0-839D-7312-5660-7D8BAD3FE5B5}"/>
          </ac:graphicFrameMkLst>
        </pc:graphicFrameChg>
        <pc:graphicFrameChg chg="add del mod ord replST">
          <ac:chgData name="Wenwen Zhang" userId="9dd81366-5d6f-445a-b031-6ea562624431" providerId="ADAL" clId="{D6FBF965-026B-43DA-A554-C6861A0A35E4}" dt="2023-02-01T20:33:39.434" v="49847"/>
          <ac:graphicFrameMkLst>
            <pc:docMk/>
            <pc:sldMk cId="4114790528" sldId="2134804371"/>
            <ac:graphicFrameMk id="144" creationId="{4A887701-AD3E-577F-4FB3-08CCFB64E4EE}"/>
          </ac:graphicFrameMkLst>
        </pc:graphicFrameChg>
        <pc:graphicFrameChg chg="add del mod ord replST">
          <ac:chgData name="Wenwen Zhang" userId="9dd81366-5d6f-445a-b031-6ea562624431" providerId="ADAL" clId="{D6FBF965-026B-43DA-A554-C6861A0A35E4}" dt="2023-02-01T20:33:47.912" v="49931"/>
          <ac:graphicFrameMkLst>
            <pc:docMk/>
            <pc:sldMk cId="4114790528" sldId="2134804371"/>
            <ac:graphicFrameMk id="146" creationId="{A2D6CD6B-D805-1177-D36F-0299D02B67F2}"/>
          </ac:graphicFrameMkLst>
        </pc:graphicFrameChg>
        <pc:graphicFrameChg chg="add del mod ord replST">
          <ac:chgData name="Wenwen Zhang" userId="9dd81366-5d6f-445a-b031-6ea562624431" providerId="ADAL" clId="{D6FBF965-026B-43DA-A554-C6861A0A35E4}" dt="2023-02-01T20:34:13.415" v="50045"/>
          <ac:graphicFrameMkLst>
            <pc:docMk/>
            <pc:sldMk cId="4114790528" sldId="2134804371"/>
            <ac:graphicFrameMk id="148" creationId="{3BFADF70-E9F7-6C80-DC0C-13AE9C498000}"/>
          </ac:graphicFrameMkLst>
        </pc:graphicFrameChg>
        <pc:graphicFrameChg chg="add del mod ord replST">
          <ac:chgData name="Wenwen Zhang" userId="9dd81366-5d6f-445a-b031-6ea562624431" providerId="ADAL" clId="{D6FBF965-026B-43DA-A554-C6861A0A35E4}" dt="2023-02-01T20:34:28.338" v="50265"/>
          <ac:graphicFrameMkLst>
            <pc:docMk/>
            <pc:sldMk cId="4114790528" sldId="2134804371"/>
            <ac:graphicFrameMk id="150" creationId="{5D91D235-3465-D508-A7D8-C33F824D0CD3}"/>
          </ac:graphicFrameMkLst>
        </pc:graphicFrameChg>
        <pc:graphicFrameChg chg="add del mod ord replST">
          <ac:chgData name="Wenwen Zhang" userId="9dd81366-5d6f-445a-b031-6ea562624431" providerId="ADAL" clId="{D6FBF965-026B-43DA-A554-C6861A0A35E4}" dt="2023-02-01T20:34:47.247" v="50403"/>
          <ac:graphicFrameMkLst>
            <pc:docMk/>
            <pc:sldMk cId="4114790528" sldId="2134804371"/>
            <ac:graphicFrameMk id="152" creationId="{A6B8300A-6F68-AFAF-CE68-04F470483F7A}"/>
          </ac:graphicFrameMkLst>
        </pc:graphicFrameChg>
        <pc:graphicFrameChg chg="add del mod ord replST">
          <ac:chgData name="Wenwen Zhang" userId="9dd81366-5d6f-445a-b031-6ea562624431" providerId="ADAL" clId="{D6FBF965-026B-43DA-A554-C6861A0A35E4}" dt="2023-02-01T20:34:47.214" v="50383"/>
          <ac:graphicFrameMkLst>
            <pc:docMk/>
            <pc:sldMk cId="4114790528" sldId="2134804371"/>
            <ac:graphicFrameMk id="154" creationId="{6014B81A-2F28-72A9-2072-50A51FDAEF39}"/>
          </ac:graphicFrameMkLst>
        </pc:graphicFrameChg>
        <pc:graphicFrameChg chg="add del mod ord replST">
          <ac:chgData name="Wenwen Zhang" userId="9dd81366-5d6f-445a-b031-6ea562624431" providerId="ADAL" clId="{D6FBF965-026B-43DA-A554-C6861A0A35E4}" dt="2023-02-01T20:34:56.441" v="51337"/>
          <ac:graphicFrameMkLst>
            <pc:docMk/>
            <pc:sldMk cId="4114790528" sldId="2134804371"/>
            <ac:graphicFrameMk id="156" creationId="{E31B4BB2-D1EE-0113-1F54-6E2BB38C1D68}"/>
          </ac:graphicFrameMkLst>
        </pc:graphicFrameChg>
        <pc:graphicFrameChg chg="add del mod ord replST">
          <ac:chgData name="Wenwen Zhang" userId="9dd81366-5d6f-445a-b031-6ea562624431" providerId="ADAL" clId="{D6FBF965-026B-43DA-A554-C6861A0A35E4}" dt="2023-02-01T20:35:12.511" v="52520"/>
          <ac:graphicFrameMkLst>
            <pc:docMk/>
            <pc:sldMk cId="4114790528" sldId="2134804371"/>
            <ac:graphicFrameMk id="157" creationId="{E16D4BB3-773E-1637-F04C-FB70600DB10E}"/>
          </ac:graphicFrameMkLst>
        </pc:graphicFrameChg>
        <pc:graphicFrameChg chg="add del">
          <ac:chgData name="Wenwen Zhang" userId="9dd81366-5d6f-445a-b031-6ea562624431" providerId="ADAL" clId="{D6FBF965-026B-43DA-A554-C6861A0A35E4}" dt="2023-02-01T19:38:17.450" v="39600"/>
          <ac:graphicFrameMkLst>
            <pc:docMk/>
            <pc:sldMk cId="4114790528" sldId="2134804371"/>
            <ac:graphicFrameMk id="167" creationId="{8FCDC6A9-420A-22EA-DD9E-3B87BD9979A2}"/>
          </ac:graphicFrameMkLst>
        </pc:graphicFrameChg>
        <pc:graphicFrameChg chg="add del mod ord replST">
          <ac:chgData name="Wenwen Zhang" userId="9dd81366-5d6f-445a-b031-6ea562624431" providerId="ADAL" clId="{D6FBF965-026B-43DA-A554-C6861A0A35E4}" dt="2023-02-01T20:34:58.099" v="51466"/>
          <ac:graphicFrameMkLst>
            <pc:docMk/>
            <pc:sldMk cId="4114790528" sldId="2134804371"/>
            <ac:graphicFrameMk id="171" creationId="{0C7326F3-46C8-6EC0-5F58-D1303BAAC999}"/>
          </ac:graphicFrameMkLst>
        </pc:graphicFrameChg>
        <pc:graphicFrameChg chg="add del mod ord replST">
          <ac:chgData name="Wenwen Zhang" userId="9dd81366-5d6f-445a-b031-6ea562624431" providerId="ADAL" clId="{D6FBF965-026B-43DA-A554-C6861A0A35E4}" dt="2023-02-01T20:35:03.099" v="51584"/>
          <ac:graphicFrameMkLst>
            <pc:docMk/>
            <pc:sldMk cId="4114790528" sldId="2134804371"/>
            <ac:graphicFrameMk id="173" creationId="{ED7075D0-9F96-351E-0F25-D3CD56115CFB}"/>
          </ac:graphicFrameMkLst>
        </pc:graphicFrameChg>
        <pc:graphicFrameChg chg="add del mod ord replST">
          <ac:chgData name="Wenwen Zhang" userId="9dd81366-5d6f-445a-b031-6ea562624431" providerId="ADAL" clId="{D6FBF965-026B-43DA-A554-C6861A0A35E4}" dt="2023-02-01T20:35:31.331" v="53803"/>
          <ac:graphicFrameMkLst>
            <pc:docMk/>
            <pc:sldMk cId="4114790528" sldId="2134804371"/>
            <ac:graphicFrameMk id="175" creationId="{1AC274B3-4BA3-5F39-DB76-1E82F52A3A0A}"/>
          </ac:graphicFrameMkLst>
        </pc:graphicFrameChg>
        <pc:graphicFrameChg chg="add del mod ord replST">
          <ac:chgData name="Wenwen Zhang" userId="9dd81366-5d6f-445a-b031-6ea562624431" providerId="ADAL" clId="{D6FBF965-026B-43DA-A554-C6861A0A35E4}" dt="2023-02-01T20:35:14.135" v="52651"/>
          <ac:graphicFrameMkLst>
            <pc:docMk/>
            <pc:sldMk cId="4114790528" sldId="2134804371"/>
            <ac:graphicFrameMk id="188" creationId="{F9256DA8-8AE9-E11D-546E-6F80EC79AC9F}"/>
          </ac:graphicFrameMkLst>
        </pc:graphicFrameChg>
        <pc:graphicFrameChg chg="add del mod ord replST">
          <ac:chgData name="Wenwen Zhang" userId="9dd81366-5d6f-445a-b031-6ea562624431" providerId="ADAL" clId="{D6FBF965-026B-43DA-A554-C6861A0A35E4}" dt="2023-02-01T20:35:18.425" v="52771"/>
          <ac:graphicFrameMkLst>
            <pc:docMk/>
            <pc:sldMk cId="4114790528" sldId="2134804371"/>
            <ac:graphicFrameMk id="190" creationId="{0A8BF6F6-9C40-1EB0-2495-FC29DCF84CDF}"/>
          </ac:graphicFrameMkLst>
        </pc:graphicFrameChg>
        <pc:graphicFrameChg chg="add del mod ord replST">
          <ac:chgData name="Wenwen Zhang" userId="9dd81366-5d6f-445a-b031-6ea562624431" providerId="ADAL" clId="{D6FBF965-026B-43DA-A554-C6861A0A35E4}" dt="2023-02-01T20:35:28.305" v="52869"/>
          <ac:graphicFrameMkLst>
            <pc:docMk/>
            <pc:sldMk cId="4114790528" sldId="2134804371"/>
            <ac:graphicFrameMk id="320" creationId="{CF798CE2-88E9-6712-001C-BBB66D511558}"/>
          </ac:graphicFrameMkLst>
        </pc:graphicFrameChg>
        <pc:graphicFrameChg chg="add mod ord replST">
          <ac:chgData name="Wenwen Zhang" userId="9dd81366-5d6f-445a-b031-6ea562624431" providerId="ADAL" clId="{D6FBF965-026B-43DA-A554-C6861A0A35E4}" dt="2023-02-01T20:35:40.481" v="54050"/>
          <ac:graphicFrameMkLst>
            <pc:docMk/>
            <pc:sldMk cId="4114790528" sldId="2134804371"/>
            <ac:graphicFrameMk id="322" creationId="{746E3625-82EA-4E0E-6B7C-B8CEAD73ED21}"/>
          </ac:graphicFrameMkLst>
        </pc:graphicFrameChg>
        <pc:graphicFrameChg chg="add del mod ord replST">
          <ac:chgData name="Wenwen Zhang" userId="9dd81366-5d6f-445a-b031-6ea562624431" providerId="ADAL" clId="{D6FBF965-026B-43DA-A554-C6861A0A35E4}" dt="2023-02-01T20:35:34.648" v="53932"/>
          <ac:graphicFrameMkLst>
            <pc:docMk/>
            <pc:sldMk cId="4114790528" sldId="2134804371"/>
            <ac:graphicFrameMk id="335" creationId="{D03B527A-E60A-7449-75D6-A4D479EC5550}"/>
          </ac:graphicFrameMkLst>
        </pc:graphicFrameChg>
        <pc:graphicFrameChg chg="add del mod ord replST">
          <ac:chgData name="Wenwen Zhang" userId="9dd81366-5d6f-445a-b031-6ea562624431" providerId="ADAL" clId="{D6FBF965-026B-43DA-A554-C6861A0A35E4}" dt="2023-02-01T20:35:40.454" v="54028"/>
          <ac:graphicFrameMkLst>
            <pc:docMk/>
            <pc:sldMk cId="4114790528" sldId="2134804371"/>
            <ac:graphicFrameMk id="337" creationId="{A38CEC6D-DA1E-592F-4A85-0D4BCED1DF26}"/>
          </ac:graphicFrameMkLst>
        </pc:graphicFrameChg>
        <pc:graphicFrameChg chg="add mod ord replST">
          <ac:chgData name="Wenwen Zhang" userId="9dd81366-5d6f-445a-b031-6ea562624431" providerId="ADAL" clId="{D6FBF965-026B-43DA-A554-C6861A0A35E4}" dt="2023-02-01T20:35:40.479" v="54042"/>
          <ac:graphicFrameMkLst>
            <pc:docMk/>
            <pc:sldMk cId="4114790528" sldId="2134804371"/>
            <ac:graphicFrameMk id="339" creationId="{36586141-4700-94A1-BBE9-E3718D976B5A}"/>
          </ac:graphicFrameMkLst>
        </pc:graphicFrameChg>
        <pc:graphicFrameChg chg="add del mod ord replST">
          <ac:chgData name="Wenwen Zhang" userId="9dd81366-5d6f-445a-b031-6ea562624431" providerId="ADAL" clId="{D6FBF965-026B-43DA-A554-C6861A0A35E4}" dt="2023-02-01T20:21:33.429" v="42580"/>
          <ac:graphicFrameMkLst>
            <pc:docMk/>
            <pc:sldMk cId="4114790528" sldId="2134804371"/>
            <ac:graphicFrameMk id="513" creationId="{2E35B3DB-889F-3A3A-C1BA-0ABA9FECA65D}"/>
          </ac:graphicFrameMkLst>
        </pc:graphicFrameChg>
        <pc:graphicFrameChg chg="add del mod ord replST">
          <ac:chgData name="Wenwen Zhang" userId="9dd81366-5d6f-445a-b031-6ea562624431" providerId="ADAL" clId="{D6FBF965-026B-43DA-A554-C6861A0A35E4}" dt="2023-02-01T20:21:44.055" v="42922"/>
          <ac:graphicFrameMkLst>
            <pc:docMk/>
            <pc:sldMk cId="4114790528" sldId="2134804371"/>
            <ac:graphicFrameMk id="519" creationId="{59CD0E78-499D-14FD-E22F-870FB6D96279}"/>
          </ac:graphicFrameMkLst>
        </pc:graphicFrameChg>
        <pc:graphicFrameChg chg="add del mod ord replST">
          <ac:chgData name="Wenwen Zhang" userId="9dd81366-5d6f-445a-b031-6ea562624431" providerId="ADAL" clId="{D6FBF965-026B-43DA-A554-C6861A0A35E4}" dt="2023-02-01T20:21:48.228" v="43210"/>
          <ac:graphicFrameMkLst>
            <pc:docMk/>
            <pc:sldMk cId="4114790528" sldId="2134804371"/>
            <ac:graphicFrameMk id="532" creationId="{8B73F8BE-4FDA-C318-E7C9-BA90CBF74EE3}"/>
          </ac:graphicFrameMkLst>
        </pc:graphicFrameChg>
        <pc:graphicFrameChg chg="add del mod ord replST">
          <ac:chgData name="Wenwen Zhang" userId="9dd81366-5d6f-445a-b031-6ea562624431" providerId="ADAL" clId="{D6FBF965-026B-43DA-A554-C6861A0A35E4}" dt="2023-02-01T20:21:53.361" v="43310"/>
          <ac:graphicFrameMkLst>
            <pc:docMk/>
            <pc:sldMk cId="4114790528" sldId="2134804371"/>
            <ac:graphicFrameMk id="543" creationId="{B691B509-F259-65CB-0A15-21125059334C}"/>
          </ac:graphicFrameMkLst>
        </pc:graphicFrameChg>
        <pc:graphicFrameChg chg="add del mod ord replST">
          <ac:chgData name="Wenwen Zhang" userId="9dd81366-5d6f-445a-b031-6ea562624431" providerId="ADAL" clId="{D6FBF965-026B-43DA-A554-C6861A0A35E4}" dt="2023-02-01T20:22:27.479" v="43469"/>
          <ac:graphicFrameMkLst>
            <pc:docMk/>
            <pc:sldMk cId="4114790528" sldId="2134804371"/>
            <ac:graphicFrameMk id="545" creationId="{228E9C40-244B-B0B2-F48E-A5656F8C1B8C}"/>
          </ac:graphicFrameMkLst>
        </pc:graphicFrameChg>
        <pc:graphicFrameChg chg="add del mod ord replST">
          <ac:chgData name="Wenwen Zhang" userId="9dd81366-5d6f-445a-b031-6ea562624431" providerId="ADAL" clId="{D6FBF965-026B-43DA-A554-C6861A0A35E4}" dt="2023-02-01T20:22:32.487" v="43608"/>
          <ac:graphicFrameMkLst>
            <pc:docMk/>
            <pc:sldMk cId="4114790528" sldId="2134804371"/>
            <ac:graphicFrameMk id="549" creationId="{7DB13204-2AD2-EA8D-EB14-8D3BEACFC646}"/>
          </ac:graphicFrameMkLst>
        </pc:graphicFrameChg>
        <pc:graphicFrameChg chg="add del mod ord replST">
          <ac:chgData name="Wenwen Zhang" userId="9dd81366-5d6f-445a-b031-6ea562624431" providerId="ADAL" clId="{D6FBF965-026B-43DA-A554-C6861A0A35E4}" dt="2023-02-01T20:22:35.425" v="43718"/>
          <ac:graphicFrameMkLst>
            <pc:docMk/>
            <pc:sldMk cId="4114790528" sldId="2134804371"/>
            <ac:graphicFrameMk id="551" creationId="{6BEBC5A2-247A-5190-B595-F06A02BBB960}"/>
          </ac:graphicFrameMkLst>
        </pc:graphicFrameChg>
        <pc:graphicFrameChg chg="add del mod ord replST">
          <ac:chgData name="Wenwen Zhang" userId="9dd81366-5d6f-445a-b031-6ea562624431" providerId="ADAL" clId="{D6FBF965-026B-43DA-A554-C6861A0A35E4}" dt="2023-02-01T20:22:40.316" v="43837"/>
          <ac:graphicFrameMkLst>
            <pc:docMk/>
            <pc:sldMk cId="4114790528" sldId="2134804371"/>
            <ac:graphicFrameMk id="553" creationId="{B5F8AA71-74F3-F042-EF49-C1707A81437E}"/>
          </ac:graphicFrameMkLst>
        </pc:graphicFrameChg>
        <pc:graphicFrameChg chg="add del mod ord replST">
          <ac:chgData name="Wenwen Zhang" userId="9dd81366-5d6f-445a-b031-6ea562624431" providerId="ADAL" clId="{D6FBF965-026B-43DA-A554-C6861A0A35E4}" dt="2023-02-01T20:22:51.564" v="43917"/>
          <ac:graphicFrameMkLst>
            <pc:docMk/>
            <pc:sldMk cId="4114790528" sldId="2134804371"/>
            <ac:graphicFrameMk id="555" creationId="{F676512C-A654-5106-5950-9CBAF88E682B}"/>
          </ac:graphicFrameMkLst>
        </pc:graphicFrameChg>
        <pc:graphicFrameChg chg="add del mod ord replST">
          <ac:chgData name="Wenwen Zhang" userId="9dd81366-5d6f-445a-b031-6ea562624431" providerId="ADAL" clId="{D6FBF965-026B-43DA-A554-C6861A0A35E4}" dt="2023-02-01T20:22:53.981" v="44306"/>
          <ac:graphicFrameMkLst>
            <pc:docMk/>
            <pc:sldMk cId="4114790528" sldId="2134804371"/>
            <ac:graphicFrameMk id="557" creationId="{3AD1D2E1-482A-82B4-ADC3-03F10EA6E71C}"/>
          </ac:graphicFrameMkLst>
        </pc:graphicFrameChg>
        <pc:graphicFrameChg chg="add del mod ord replST">
          <ac:chgData name="Wenwen Zhang" userId="9dd81366-5d6f-445a-b031-6ea562624431" providerId="ADAL" clId="{D6FBF965-026B-43DA-A554-C6861A0A35E4}" dt="2023-02-01T20:23:03.984" v="44433"/>
          <ac:graphicFrameMkLst>
            <pc:docMk/>
            <pc:sldMk cId="4114790528" sldId="2134804371"/>
            <ac:graphicFrameMk id="563" creationId="{6D322743-57BA-62AF-8D66-4C376DD83A48}"/>
          </ac:graphicFrameMkLst>
        </pc:graphicFrameChg>
        <pc:graphicFrameChg chg="add del mod ord replST">
          <ac:chgData name="Wenwen Zhang" userId="9dd81366-5d6f-445a-b031-6ea562624431" providerId="ADAL" clId="{D6FBF965-026B-43DA-A554-C6861A0A35E4}" dt="2023-02-01T20:23:10.712" v="44519"/>
          <ac:graphicFrameMkLst>
            <pc:docMk/>
            <pc:sldMk cId="4114790528" sldId="2134804371"/>
            <ac:graphicFrameMk id="565" creationId="{52764C1A-31C5-24A0-A92B-4FFD0FBD1641}"/>
          </ac:graphicFrameMkLst>
        </pc:graphicFrameChg>
        <pc:graphicFrameChg chg="add del mod ord replST">
          <ac:chgData name="Wenwen Zhang" userId="9dd81366-5d6f-445a-b031-6ea562624431" providerId="ADAL" clId="{D6FBF965-026B-43DA-A554-C6861A0A35E4}" dt="2023-02-01T20:23:17.858" v="44691"/>
          <ac:graphicFrameMkLst>
            <pc:docMk/>
            <pc:sldMk cId="4114790528" sldId="2134804371"/>
            <ac:graphicFrameMk id="567" creationId="{3B7A5933-52B2-8534-33F4-81B011B7AF4B}"/>
          </ac:graphicFrameMkLst>
        </pc:graphicFrameChg>
        <pc:graphicFrameChg chg="add del mod ord replST">
          <ac:chgData name="Wenwen Zhang" userId="9dd81366-5d6f-445a-b031-6ea562624431" providerId="ADAL" clId="{D6FBF965-026B-43DA-A554-C6861A0A35E4}" dt="2023-02-01T20:23:20.053" v="44796"/>
          <ac:graphicFrameMkLst>
            <pc:docMk/>
            <pc:sldMk cId="4114790528" sldId="2134804371"/>
            <ac:graphicFrameMk id="570" creationId="{0A95A66D-9E42-4F86-2245-D4202E35DA13}"/>
          </ac:graphicFrameMkLst>
        </pc:graphicFrameChg>
        <pc:graphicFrameChg chg="add del mod ord replST">
          <ac:chgData name="Wenwen Zhang" userId="9dd81366-5d6f-445a-b031-6ea562624431" providerId="ADAL" clId="{D6FBF965-026B-43DA-A554-C6861A0A35E4}" dt="2023-02-01T20:23:24.603" v="45107"/>
          <ac:graphicFrameMkLst>
            <pc:docMk/>
            <pc:sldMk cId="4114790528" sldId="2134804371"/>
            <ac:graphicFrameMk id="572" creationId="{0AB54499-4876-51FE-D726-69EE1F79004B}"/>
          </ac:graphicFrameMkLst>
        </pc:graphicFrameChg>
        <pc:graphicFrameChg chg="add del mod ord replST">
          <ac:chgData name="Wenwen Zhang" userId="9dd81366-5d6f-445a-b031-6ea562624431" providerId="ADAL" clId="{D6FBF965-026B-43DA-A554-C6861A0A35E4}" dt="2023-02-01T20:25:08.187" v="45209"/>
          <ac:graphicFrameMkLst>
            <pc:docMk/>
            <pc:sldMk cId="4114790528" sldId="2134804371"/>
            <ac:graphicFrameMk id="574" creationId="{EE16FA36-A71B-6C7B-7D73-AA00960F692E}"/>
          </ac:graphicFrameMkLst>
        </pc:graphicFrameChg>
        <pc:cxnChg chg="add del mod ord replST">
          <ac:chgData name="Wenwen Zhang" userId="9dd81366-5d6f-445a-b031-6ea562624431" providerId="ADAL" clId="{D6FBF965-026B-43DA-A554-C6861A0A35E4}" dt="2023-02-01T20:11:33.289" v="40854"/>
          <ac:cxnSpMkLst>
            <pc:docMk/>
            <pc:sldMk cId="4114790528" sldId="2134804371"/>
            <ac:cxnSpMk id="24" creationId="{E3A2104F-E7D5-441B-807B-618853AE985E}"/>
          </ac:cxnSpMkLst>
        </pc:cxnChg>
        <pc:cxnChg chg="add del mod ord replST">
          <ac:chgData name="Wenwen Zhang" userId="9dd81366-5d6f-445a-b031-6ea562624431" providerId="ADAL" clId="{D6FBF965-026B-43DA-A554-C6861A0A35E4}" dt="2023-02-01T20:19:21.113" v="41569"/>
          <ac:cxnSpMkLst>
            <pc:docMk/>
            <pc:sldMk cId="4114790528" sldId="2134804371"/>
            <ac:cxnSpMk id="36" creationId="{1FAD38F1-E926-588B-9AA9-E8901D725E47}"/>
          </ac:cxnSpMkLst>
        </pc:cxnChg>
        <pc:cxnChg chg="add del mod ord replST">
          <ac:chgData name="Wenwen Zhang" userId="9dd81366-5d6f-445a-b031-6ea562624431" providerId="ADAL" clId="{D6FBF965-026B-43DA-A554-C6861A0A35E4}" dt="2023-02-01T20:19:34.414" v="41729"/>
          <ac:cxnSpMkLst>
            <pc:docMk/>
            <pc:sldMk cId="4114790528" sldId="2134804371"/>
            <ac:cxnSpMk id="44" creationId="{F41DFC69-BC45-50C8-E581-7A761049BD78}"/>
          </ac:cxnSpMkLst>
        </pc:cxnChg>
        <pc:cxnChg chg="add del mod ord">
          <ac:chgData name="Wenwen Zhang" userId="9dd81366-5d6f-445a-b031-6ea562624431" providerId="ADAL" clId="{D6FBF965-026B-43DA-A554-C6861A0A35E4}" dt="2023-02-01T20:11:33.290" v="40857"/>
          <ac:cxnSpMkLst>
            <pc:docMk/>
            <pc:sldMk cId="4114790528" sldId="2134804371"/>
            <ac:cxnSpMk id="348" creationId="{4AB1BCB8-D420-96C6-D6AF-C794BC493EBF}"/>
          </ac:cxnSpMkLst>
        </pc:cxnChg>
        <pc:cxnChg chg="add del">
          <ac:chgData name="Wenwen Zhang" userId="9dd81366-5d6f-445a-b031-6ea562624431" providerId="ADAL" clId="{D6FBF965-026B-43DA-A554-C6861A0A35E4}" dt="2023-02-01T19:38:17.374" v="39483"/>
          <ac:cxnSpMkLst>
            <pc:docMk/>
            <pc:sldMk cId="4114790528" sldId="2134804371"/>
            <ac:cxnSpMk id="537" creationId="{338F3ABC-766F-FCA0-F3FC-B2FEC4D90754}"/>
          </ac:cxnSpMkLst>
        </pc:cxnChg>
      </pc:sldChg>
      <pc:sldChg chg="addSp delSp modSp add mod ord modNotesTx">
        <pc:chgData name="Wenwen Zhang" userId="9dd81366-5d6f-445a-b031-6ea562624431" providerId="ADAL" clId="{D6FBF965-026B-43DA-A554-C6861A0A35E4}" dt="2023-02-02T11:49:44.739" v="120492" actId="20577"/>
        <pc:sldMkLst>
          <pc:docMk/>
          <pc:sldMk cId="2167517715" sldId="2134804372"/>
        </pc:sldMkLst>
        <pc:spChg chg="mod ord">
          <ac:chgData name="Wenwen Zhang" userId="9dd81366-5d6f-445a-b031-6ea562624431" providerId="ADAL" clId="{D6FBF965-026B-43DA-A554-C6861A0A35E4}" dt="2023-02-02T11:49:36.341" v="120440"/>
          <ac:spMkLst>
            <pc:docMk/>
            <pc:sldMk cId="2167517715" sldId="2134804372"/>
            <ac:spMk id="2" creationId="{B065B79C-C4D6-5961-7919-6BB68C420868}"/>
          </ac:spMkLst>
        </pc:spChg>
        <pc:spChg chg="add del mod replST">
          <ac:chgData name="Wenwen Zhang" userId="9dd81366-5d6f-445a-b031-6ea562624431" providerId="ADAL" clId="{D6FBF965-026B-43DA-A554-C6861A0A35E4}" dt="2023-02-01T22:11:16.699" v="97508"/>
          <ac:spMkLst>
            <pc:docMk/>
            <pc:sldMk cId="2167517715" sldId="2134804372"/>
            <ac:spMk id="3" creationId="{96DB64E7-7450-5BAA-7DCA-6F75AE12EF02}"/>
          </ac:spMkLst>
        </pc:spChg>
        <pc:spChg chg="add del mod replST">
          <ac:chgData name="Wenwen Zhang" userId="9dd81366-5d6f-445a-b031-6ea562624431" providerId="ADAL" clId="{D6FBF965-026B-43DA-A554-C6861A0A35E4}" dt="2023-02-02T10:50:42.902" v="113776"/>
          <ac:spMkLst>
            <pc:docMk/>
            <pc:sldMk cId="2167517715" sldId="2134804372"/>
            <ac:spMk id="3" creationId="{E39B2289-460C-FF3B-2857-6370E693F367}"/>
          </ac:spMkLst>
        </pc:spChg>
        <pc:spChg chg="add del mod modVis">
          <ac:chgData name="Wenwen Zhang" userId="9dd81366-5d6f-445a-b031-6ea562624431" providerId="ADAL" clId="{D6FBF965-026B-43DA-A554-C6861A0A35E4}" dt="2023-02-02T10:39:42.180" v="112760"/>
          <ac:spMkLst>
            <pc:docMk/>
            <pc:sldMk cId="2167517715" sldId="2134804372"/>
            <ac:spMk id="4" creationId="{481B04D7-70F9-B3F6-2BDC-DA104935E415}"/>
          </ac:spMkLst>
        </pc:spChg>
        <pc:spChg chg="add del mod modVis">
          <ac:chgData name="Wenwen Zhang" userId="9dd81366-5d6f-445a-b031-6ea562624431" providerId="ADAL" clId="{D6FBF965-026B-43DA-A554-C6861A0A35E4}" dt="2023-02-01T20:37:53.315" v="54571"/>
          <ac:spMkLst>
            <pc:docMk/>
            <pc:sldMk cId="2167517715" sldId="2134804372"/>
            <ac:spMk id="4" creationId="{4E429F0B-C3A0-55AE-743B-51F639BE2A61}"/>
          </ac:spMkLst>
        </pc:spChg>
        <pc:spChg chg="add del mod modVis">
          <ac:chgData name="Wenwen Zhang" userId="9dd81366-5d6f-445a-b031-6ea562624431" providerId="ADAL" clId="{D6FBF965-026B-43DA-A554-C6861A0A35E4}" dt="2023-02-02T08:18:47.731" v="105900"/>
          <ac:spMkLst>
            <pc:docMk/>
            <pc:sldMk cId="2167517715" sldId="2134804372"/>
            <ac:spMk id="4" creationId="{792E5C08-122E-4DCF-C775-A9341A189929}"/>
          </ac:spMkLst>
        </pc:spChg>
        <pc:spChg chg="add del mod replST">
          <ac:chgData name="Wenwen Zhang" userId="9dd81366-5d6f-445a-b031-6ea562624431" providerId="ADAL" clId="{D6FBF965-026B-43DA-A554-C6861A0A35E4}" dt="2023-02-01T22:11:16.701" v="97511"/>
          <ac:spMkLst>
            <pc:docMk/>
            <pc:sldMk cId="2167517715" sldId="2134804372"/>
            <ac:spMk id="5" creationId="{96DB64E7-7450-5BAA-7DCA-6F75AE12EF02}"/>
          </ac:spMkLst>
        </pc:spChg>
        <pc:spChg chg="add del mod replST">
          <ac:chgData name="Wenwen Zhang" userId="9dd81366-5d6f-445a-b031-6ea562624431" providerId="ADAL" clId="{D6FBF965-026B-43DA-A554-C6861A0A35E4}" dt="2023-02-02T11:49:27.486" v="120191"/>
          <ac:spMkLst>
            <pc:docMk/>
            <pc:sldMk cId="2167517715" sldId="2134804372"/>
            <ac:spMk id="6" creationId="{3D90635B-FD76-9B25-EB70-86D5D6652E1F}"/>
          </ac:spMkLst>
        </pc:spChg>
        <pc:spChg chg="add del mod replST">
          <ac:chgData name="Wenwen Zhang" userId="9dd81366-5d6f-445a-b031-6ea562624431" providerId="ADAL" clId="{D6FBF965-026B-43DA-A554-C6861A0A35E4}" dt="2023-02-01T20:47:49.221" v="61498"/>
          <ac:spMkLst>
            <pc:docMk/>
            <pc:sldMk cId="2167517715" sldId="2134804372"/>
            <ac:spMk id="6" creationId="{96DB64E7-7450-5BAA-7DCA-6F75AE12EF02}"/>
          </ac:spMkLst>
        </pc:spChg>
        <pc:spChg chg="add del mod replST">
          <ac:chgData name="Wenwen Zhang" userId="9dd81366-5d6f-445a-b031-6ea562624431" providerId="ADAL" clId="{D6FBF965-026B-43DA-A554-C6861A0A35E4}" dt="2023-02-02T08:18:51.074" v="105903"/>
          <ac:spMkLst>
            <pc:docMk/>
            <pc:sldMk cId="2167517715" sldId="2134804372"/>
            <ac:spMk id="7" creationId="{96DB64E7-7450-5BAA-7DCA-6F75AE12EF02}"/>
          </ac:spMkLst>
        </pc:spChg>
        <pc:spChg chg="add del mod modVis">
          <ac:chgData name="Wenwen Zhang" userId="9dd81366-5d6f-445a-b031-6ea562624431" providerId="ADAL" clId="{D6FBF965-026B-43DA-A554-C6861A0A35E4}" dt="2023-02-02T10:39:43.719" v="112949"/>
          <ac:spMkLst>
            <pc:docMk/>
            <pc:sldMk cId="2167517715" sldId="2134804372"/>
            <ac:spMk id="7" creationId="{99D2C213-AADD-78A1-2148-8C42C5B05995}"/>
          </ac:spMkLst>
        </pc:spChg>
        <pc:spChg chg="add del mod replST">
          <ac:chgData name="Wenwen Zhang" userId="9dd81366-5d6f-445a-b031-6ea562624431" providerId="ADAL" clId="{D6FBF965-026B-43DA-A554-C6861A0A35E4}" dt="2023-02-02T08:18:47.505" v="105512"/>
          <ac:spMkLst>
            <pc:docMk/>
            <pc:sldMk cId="2167517715" sldId="2134804372"/>
            <ac:spMk id="8" creationId="{96DB64E7-7450-5BAA-7DCA-6F75AE12EF02}"/>
          </ac:spMkLst>
        </pc:spChg>
        <pc:spChg chg="add del mod modVis">
          <ac:chgData name="Wenwen Zhang" userId="9dd81366-5d6f-445a-b031-6ea562624431" providerId="ADAL" clId="{D6FBF965-026B-43DA-A554-C6861A0A35E4}" dt="2023-02-02T10:39:48.841" v="113138"/>
          <ac:spMkLst>
            <pc:docMk/>
            <pc:sldMk cId="2167517715" sldId="2134804372"/>
            <ac:spMk id="9" creationId="{13B622EA-B48D-570A-6EAF-DE021221B09E}"/>
          </ac:spMkLst>
        </pc:spChg>
        <pc:spChg chg="add del mod modVis">
          <ac:chgData name="Wenwen Zhang" userId="9dd81366-5d6f-445a-b031-6ea562624431" providerId="ADAL" clId="{D6FBF965-026B-43DA-A554-C6861A0A35E4}" dt="2023-02-02T08:18:51.210" v="106133"/>
          <ac:spMkLst>
            <pc:docMk/>
            <pc:sldMk cId="2167517715" sldId="2134804372"/>
            <ac:spMk id="9" creationId="{B7B06866-1969-5ECB-CBC5-3B26D17FA915}"/>
          </ac:spMkLst>
        </pc:spChg>
        <pc:spChg chg="add del mod ord replST">
          <ac:chgData name="Wenwen Zhang" userId="9dd81366-5d6f-445a-b031-6ea562624431" providerId="ADAL" clId="{D6FBF965-026B-43DA-A554-C6861A0A35E4}" dt="2023-02-01T22:11:16.699" v="97507"/>
          <ac:spMkLst>
            <pc:docMk/>
            <pc:sldMk cId="2167517715" sldId="2134804372"/>
            <ac:spMk id="10" creationId="{5D8B3F9D-26AC-8DA4-6516-F38D86EB9731}"/>
          </ac:spMkLst>
        </pc:spChg>
        <pc:spChg chg="add del mod replST">
          <ac:chgData name="Wenwen Zhang" userId="9dd81366-5d6f-445a-b031-6ea562624431" providerId="ADAL" clId="{D6FBF965-026B-43DA-A554-C6861A0A35E4}" dt="2023-02-02T10:54:04.905" v="114861"/>
          <ac:spMkLst>
            <pc:docMk/>
            <pc:sldMk cId="2167517715" sldId="2134804372"/>
            <ac:spMk id="11" creationId="{76B97633-3984-95BF-6D9D-54117C35148F}"/>
          </ac:spMkLst>
        </pc:spChg>
        <pc:spChg chg="add del mod ord replST">
          <ac:chgData name="Wenwen Zhang" userId="9dd81366-5d6f-445a-b031-6ea562624431" providerId="ADAL" clId="{D6FBF965-026B-43DA-A554-C6861A0A35E4}" dt="2023-02-01T22:11:16.701" v="97510"/>
          <ac:spMkLst>
            <pc:docMk/>
            <pc:sldMk cId="2167517715" sldId="2134804372"/>
            <ac:spMk id="11" creationId="{966ACADB-11D4-8CB3-3DFF-F1AE9FC31231}"/>
          </ac:spMkLst>
        </pc:spChg>
        <pc:spChg chg="add del mod modVis">
          <ac:chgData name="Wenwen Zhang" userId="9dd81366-5d6f-445a-b031-6ea562624431" providerId="ADAL" clId="{D6FBF965-026B-43DA-A554-C6861A0A35E4}" dt="2023-02-01T20:40:13.551" v="54680"/>
          <ac:spMkLst>
            <pc:docMk/>
            <pc:sldMk cId="2167517715" sldId="2134804372"/>
            <ac:spMk id="12" creationId="{93ECF73E-1F89-B572-667B-94BD1CAEEE09}"/>
          </ac:spMkLst>
        </pc:spChg>
        <pc:spChg chg="add del mod modVis">
          <ac:chgData name="Wenwen Zhang" userId="9dd81366-5d6f-445a-b031-6ea562624431" providerId="ADAL" clId="{D6FBF965-026B-43DA-A554-C6861A0A35E4}" dt="2023-02-02T08:19:03.853" v="106584"/>
          <ac:spMkLst>
            <pc:docMk/>
            <pc:sldMk cId="2167517715" sldId="2134804372"/>
            <ac:spMk id="12" creationId="{B230C023-3E40-0D04-AB96-EB2536B764D7}"/>
          </ac:spMkLst>
        </pc:spChg>
        <pc:spChg chg="add del mod modVis">
          <ac:chgData name="Wenwen Zhang" userId="9dd81366-5d6f-445a-b031-6ea562624431" providerId="ADAL" clId="{D6FBF965-026B-43DA-A554-C6861A0A35E4}" dt="2023-02-02T10:40:49.657" v="113281"/>
          <ac:spMkLst>
            <pc:docMk/>
            <pc:sldMk cId="2167517715" sldId="2134804372"/>
            <ac:spMk id="13" creationId="{09F9EC77-D2BF-3245-FFA5-C5ACD820A833}"/>
          </ac:spMkLst>
        </pc:spChg>
        <pc:spChg chg="add mod replST">
          <ac:chgData name="Wenwen Zhang" userId="9dd81366-5d6f-445a-b031-6ea562624431" providerId="ADAL" clId="{D6FBF965-026B-43DA-A554-C6861A0A35E4}" dt="2023-02-02T11:49:36.341" v="120461"/>
          <ac:spMkLst>
            <pc:docMk/>
            <pc:sldMk cId="2167517715" sldId="2134804372"/>
            <ac:spMk id="14" creationId="{AD3F94F4-985E-E824-4F0F-CDB677800F8F}"/>
          </ac:spMkLst>
        </pc:spChg>
        <pc:spChg chg="add del mod replST">
          <ac:chgData name="Wenwen Zhang" userId="9dd81366-5d6f-445a-b031-6ea562624431" providerId="ADAL" clId="{D6FBF965-026B-43DA-A554-C6861A0A35E4}" dt="2023-02-02T10:54:04.905" v="114860"/>
          <ac:spMkLst>
            <pc:docMk/>
            <pc:sldMk cId="2167517715" sldId="2134804372"/>
            <ac:spMk id="15" creationId="{5F555C13-316C-0CD4-5E00-3DDDCF345330}"/>
          </ac:spMkLst>
        </pc:spChg>
        <pc:spChg chg="add del mod modVis">
          <ac:chgData name="Wenwen Zhang" userId="9dd81366-5d6f-445a-b031-6ea562624431" providerId="ADAL" clId="{D6FBF965-026B-43DA-A554-C6861A0A35E4}" dt="2023-02-01T20:40:19.148" v="54836"/>
          <ac:spMkLst>
            <pc:docMk/>
            <pc:sldMk cId="2167517715" sldId="2134804372"/>
            <ac:spMk id="15" creationId="{EB8777CE-2CE1-EF05-D2BD-941AE36EB9B0}"/>
          </ac:spMkLst>
        </pc:spChg>
        <pc:spChg chg="add del mod modVis">
          <ac:chgData name="Wenwen Zhang" userId="9dd81366-5d6f-445a-b031-6ea562624431" providerId="ADAL" clId="{D6FBF965-026B-43DA-A554-C6861A0A35E4}" dt="2023-02-02T08:19:07.797" v="106815"/>
          <ac:spMkLst>
            <pc:docMk/>
            <pc:sldMk cId="2167517715" sldId="2134804372"/>
            <ac:spMk id="16" creationId="{43EC0918-2FE0-1B40-A33A-9D0029CDAF32}"/>
          </ac:spMkLst>
        </pc:spChg>
        <pc:spChg chg="add mod replST">
          <ac:chgData name="Wenwen Zhang" userId="9dd81366-5d6f-445a-b031-6ea562624431" providerId="ADAL" clId="{D6FBF965-026B-43DA-A554-C6861A0A35E4}" dt="2023-02-02T11:49:36.357" v="120474"/>
          <ac:spMkLst>
            <pc:docMk/>
            <pc:sldMk cId="2167517715" sldId="2134804372"/>
            <ac:spMk id="17" creationId="{16B5E6B0-5B39-CF3D-FE24-2B414EBC42C9}"/>
          </ac:spMkLst>
        </pc:spChg>
        <pc:spChg chg="add mod replST">
          <ac:chgData name="Wenwen Zhang" userId="9dd81366-5d6f-445a-b031-6ea562624431" providerId="ADAL" clId="{D6FBF965-026B-43DA-A554-C6861A0A35E4}" dt="2023-02-02T11:49:36.358" v="120475"/>
          <ac:spMkLst>
            <pc:docMk/>
            <pc:sldMk cId="2167517715" sldId="2134804372"/>
            <ac:spMk id="18" creationId="{1AD9F64D-A91B-0613-A7FC-C57B0EDEA6E7}"/>
          </ac:spMkLst>
        </pc:spChg>
        <pc:spChg chg="add del mod modVis">
          <ac:chgData name="Wenwen Zhang" userId="9dd81366-5d6f-445a-b031-6ea562624431" providerId="ADAL" clId="{D6FBF965-026B-43DA-A554-C6861A0A35E4}" dt="2023-02-01T20:40:23.928" v="55001"/>
          <ac:spMkLst>
            <pc:docMk/>
            <pc:sldMk cId="2167517715" sldId="2134804372"/>
            <ac:spMk id="19" creationId="{032BF028-57D5-CAE7-3600-5C3107ACE0CF}"/>
          </ac:spMkLst>
        </pc:spChg>
        <pc:spChg chg="add del mod modVis">
          <ac:chgData name="Wenwen Zhang" userId="9dd81366-5d6f-445a-b031-6ea562624431" providerId="ADAL" clId="{D6FBF965-026B-43DA-A554-C6861A0A35E4}" dt="2023-02-02T10:40:57.908" v="113455"/>
          <ac:spMkLst>
            <pc:docMk/>
            <pc:sldMk cId="2167517715" sldId="2134804372"/>
            <ac:spMk id="19" creationId="{366EE755-AAC8-F44F-DCE0-93F5B7948F7B}"/>
          </ac:spMkLst>
        </pc:spChg>
        <pc:spChg chg="add del mod modVis">
          <ac:chgData name="Wenwen Zhang" userId="9dd81366-5d6f-445a-b031-6ea562624431" providerId="ADAL" clId="{D6FBF965-026B-43DA-A554-C6861A0A35E4}" dt="2023-02-02T08:19:15.975" v="107104"/>
          <ac:spMkLst>
            <pc:docMk/>
            <pc:sldMk cId="2167517715" sldId="2134804372"/>
            <ac:spMk id="20" creationId="{35E23D3D-5A40-4968-1660-04B774A27756}"/>
          </ac:spMkLst>
        </pc:spChg>
        <pc:spChg chg="add mod ord replST">
          <ac:chgData name="Wenwen Zhang" userId="9dd81366-5d6f-445a-b031-6ea562624431" providerId="ADAL" clId="{D6FBF965-026B-43DA-A554-C6861A0A35E4}" dt="2023-02-02T11:49:36.357" v="120467"/>
          <ac:spMkLst>
            <pc:docMk/>
            <pc:sldMk cId="2167517715" sldId="2134804372"/>
            <ac:spMk id="21" creationId="{C024110B-56DC-44A0-5663-1B755CAC7318}"/>
          </ac:spMkLst>
        </pc:spChg>
        <pc:spChg chg="add mod ord replST">
          <ac:chgData name="Wenwen Zhang" userId="9dd81366-5d6f-445a-b031-6ea562624431" providerId="ADAL" clId="{D6FBF965-026B-43DA-A554-C6861A0A35E4}" dt="2023-02-02T11:49:36.357" v="120471"/>
          <ac:spMkLst>
            <pc:docMk/>
            <pc:sldMk cId="2167517715" sldId="2134804372"/>
            <ac:spMk id="22" creationId="{752CF476-7410-3070-7EAF-4C293DE39FC9}"/>
          </ac:spMkLst>
        </pc:spChg>
        <pc:spChg chg="add del mod ord replST">
          <ac:chgData name="Wenwen Zhang" userId="9dd81366-5d6f-445a-b031-6ea562624431" providerId="ADAL" clId="{D6FBF965-026B-43DA-A554-C6861A0A35E4}" dt="2023-02-02T10:54:04.898" v="114843"/>
          <ac:spMkLst>
            <pc:docMk/>
            <pc:sldMk cId="2167517715" sldId="2134804372"/>
            <ac:spMk id="23" creationId="{96DB64E7-7450-5BAA-7DCA-6F75AE12EF02}"/>
          </ac:spMkLst>
        </pc:spChg>
        <pc:spChg chg="add del mod modVis">
          <ac:chgData name="Wenwen Zhang" userId="9dd81366-5d6f-445a-b031-6ea562624431" providerId="ADAL" clId="{D6FBF965-026B-43DA-A554-C6861A0A35E4}" dt="2023-02-01T20:40:49.159" v="55168"/>
          <ac:spMkLst>
            <pc:docMk/>
            <pc:sldMk cId="2167517715" sldId="2134804372"/>
            <ac:spMk id="24" creationId="{756B9B83-1CB8-60DC-CDE5-57C529646187}"/>
          </ac:spMkLst>
        </pc:spChg>
        <pc:spChg chg="add del mod modVis">
          <ac:chgData name="Wenwen Zhang" userId="9dd81366-5d6f-445a-b031-6ea562624431" providerId="ADAL" clId="{D6FBF965-026B-43DA-A554-C6861A0A35E4}" dt="2023-02-01T20:40:59.047" v="55545"/>
          <ac:spMkLst>
            <pc:docMk/>
            <pc:sldMk cId="2167517715" sldId="2134804372"/>
            <ac:spMk id="26" creationId="{C4BDD543-1066-AEC7-D845-49559AC268DB}"/>
          </ac:spMkLst>
        </pc:spChg>
        <pc:spChg chg="add del mod modVis">
          <ac:chgData name="Wenwen Zhang" userId="9dd81366-5d6f-445a-b031-6ea562624431" providerId="ADAL" clId="{D6FBF965-026B-43DA-A554-C6861A0A35E4}" dt="2023-02-02T10:42:40.335" v="113598"/>
          <ac:spMkLst>
            <pc:docMk/>
            <pc:sldMk cId="2167517715" sldId="2134804372"/>
            <ac:spMk id="27" creationId="{FE8B65E5-F6CD-E751-3791-F099E0A07280}"/>
          </ac:spMkLst>
        </pc:spChg>
        <pc:spChg chg="mod ord">
          <ac:chgData name="Wenwen Zhang" userId="9dd81366-5d6f-445a-b031-6ea562624431" providerId="ADAL" clId="{D6FBF965-026B-43DA-A554-C6861A0A35E4}" dt="2023-02-02T11:49:44.739" v="120492" actId="20577"/>
          <ac:spMkLst>
            <pc:docMk/>
            <pc:sldMk cId="2167517715" sldId="2134804372"/>
            <ac:spMk id="29" creationId="{D50B6CAA-A666-5524-85F7-444C607F0970}"/>
          </ac:spMkLst>
        </pc:spChg>
        <pc:spChg chg="add del mod modVis">
          <ac:chgData name="Wenwen Zhang" userId="9dd81366-5d6f-445a-b031-6ea562624431" providerId="ADAL" clId="{D6FBF965-026B-43DA-A554-C6861A0A35E4}" dt="2023-02-01T20:41:01.108" v="55906"/>
          <ac:spMkLst>
            <pc:docMk/>
            <pc:sldMk cId="2167517715" sldId="2134804372"/>
            <ac:spMk id="30" creationId="{28170F78-4AE7-1AA8-1486-1AD261110E5E}"/>
          </ac:spMkLst>
        </pc:spChg>
        <pc:spChg chg="add del mod modVis">
          <ac:chgData name="Wenwen Zhang" userId="9dd81366-5d6f-445a-b031-6ea562624431" providerId="ADAL" clId="{D6FBF965-026B-43DA-A554-C6861A0A35E4}" dt="2023-02-02T08:19:20.407" v="107402"/>
          <ac:spMkLst>
            <pc:docMk/>
            <pc:sldMk cId="2167517715" sldId="2134804372"/>
            <ac:spMk id="30" creationId="{F26C924C-09F4-C348-A43A-6FD6766E2C13}"/>
          </ac:spMkLst>
        </pc:spChg>
        <pc:spChg chg="add del mod ord replST">
          <ac:chgData name="Wenwen Zhang" userId="9dd81366-5d6f-445a-b031-6ea562624431" providerId="ADAL" clId="{D6FBF965-026B-43DA-A554-C6861A0A35E4}" dt="2023-02-02T10:54:04.898" v="114835"/>
          <ac:spMkLst>
            <pc:docMk/>
            <pc:sldMk cId="2167517715" sldId="2134804372"/>
            <ac:spMk id="31" creationId="{96DB64E7-7450-5BAA-7DCA-6F75AE12EF02}"/>
          </ac:spMkLst>
        </pc:spChg>
        <pc:spChg chg="add del mod modVis">
          <ac:chgData name="Wenwen Zhang" userId="9dd81366-5d6f-445a-b031-6ea562624431" providerId="ADAL" clId="{D6FBF965-026B-43DA-A554-C6861A0A35E4}" dt="2023-02-01T20:41:16.704" v="56005"/>
          <ac:spMkLst>
            <pc:docMk/>
            <pc:sldMk cId="2167517715" sldId="2134804372"/>
            <ac:spMk id="32" creationId="{491F79ED-511E-E813-F49F-C5D3BD0DB0D0}"/>
          </ac:spMkLst>
        </pc:spChg>
        <pc:spChg chg="add del mod modVis">
          <ac:chgData name="Wenwen Zhang" userId="9dd81366-5d6f-445a-b031-6ea562624431" providerId="ADAL" clId="{D6FBF965-026B-43DA-A554-C6861A0A35E4}" dt="2023-02-01T20:41:28.500" v="56105"/>
          <ac:spMkLst>
            <pc:docMk/>
            <pc:sldMk cId="2167517715" sldId="2134804372"/>
            <ac:spMk id="34" creationId="{F61A6CED-7E7A-56D5-1271-AB0A41D3ACD8}"/>
          </ac:spMkLst>
        </pc:spChg>
        <pc:spChg chg="add del mod modVis">
          <ac:chgData name="Wenwen Zhang" userId="9dd81366-5d6f-445a-b031-6ea562624431" providerId="ADAL" clId="{D6FBF965-026B-43DA-A554-C6861A0A35E4}" dt="2023-02-01T20:41:34.728" v="56206"/>
          <ac:spMkLst>
            <pc:docMk/>
            <pc:sldMk cId="2167517715" sldId="2134804372"/>
            <ac:spMk id="36" creationId="{2F077550-484A-802B-688E-AED5EF11D72D}"/>
          </ac:spMkLst>
        </pc:spChg>
        <pc:spChg chg="add del mod modVis">
          <ac:chgData name="Wenwen Zhang" userId="9dd81366-5d6f-445a-b031-6ea562624431" providerId="ADAL" clId="{D6FBF965-026B-43DA-A554-C6861A0A35E4}" dt="2023-02-02T10:42:47.287" v="113773"/>
          <ac:spMkLst>
            <pc:docMk/>
            <pc:sldMk cId="2167517715" sldId="2134804372"/>
            <ac:spMk id="36" creationId="{A7826277-F7F2-3566-69C6-77304F3181C7}"/>
          </ac:spMkLst>
        </pc:spChg>
        <pc:spChg chg="add del mod modVis">
          <ac:chgData name="Wenwen Zhang" userId="9dd81366-5d6f-445a-b031-6ea562624431" providerId="ADAL" clId="{D6FBF965-026B-43DA-A554-C6861A0A35E4}" dt="2023-02-01T20:41:42.588" v="56308"/>
          <ac:spMkLst>
            <pc:docMk/>
            <pc:sldMk cId="2167517715" sldId="2134804372"/>
            <ac:spMk id="38" creationId="{241D4A1F-7552-67FB-9C59-D4FEA833B34C}"/>
          </ac:spMkLst>
        </pc:spChg>
        <pc:spChg chg="add del mod modVis">
          <ac:chgData name="Wenwen Zhang" userId="9dd81366-5d6f-445a-b031-6ea562624431" providerId="ADAL" clId="{D6FBF965-026B-43DA-A554-C6861A0A35E4}" dt="2023-02-02T10:50:42.973" v="113917"/>
          <ac:spMkLst>
            <pc:docMk/>
            <pc:sldMk cId="2167517715" sldId="2134804372"/>
            <ac:spMk id="38" creationId="{AFE237F0-A553-3190-F92B-966AE8C7B7D3}"/>
          </ac:spMkLst>
        </pc:spChg>
        <pc:spChg chg="add del mod modVis">
          <ac:chgData name="Wenwen Zhang" userId="9dd81366-5d6f-445a-b031-6ea562624431" providerId="ADAL" clId="{D6FBF965-026B-43DA-A554-C6861A0A35E4}" dt="2023-02-01T20:41:47.827" v="56411"/>
          <ac:spMkLst>
            <pc:docMk/>
            <pc:sldMk cId="2167517715" sldId="2134804372"/>
            <ac:spMk id="40" creationId="{9F9E2D82-E27F-E719-596D-F4EC1055CB87}"/>
          </ac:spMkLst>
        </pc:spChg>
        <pc:spChg chg="add del mod modVis">
          <ac:chgData name="Wenwen Zhang" userId="9dd81366-5d6f-445a-b031-6ea562624431" providerId="ADAL" clId="{D6FBF965-026B-43DA-A554-C6861A0A35E4}" dt="2023-02-02T10:51:56.037" v="114061"/>
          <ac:spMkLst>
            <pc:docMk/>
            <pc:sldMk cId="2167517715" sldId="2134804372"/>
            <ac:spMk id="40" creationId="{BD41543B-DF00-5701-D145-3F98980FEEDE}"/>
          </ac:spMkLst>
        </pc:spChg>
        <pc:spChg chg="add del mod modVis">
          <ac:chgData name="Wenwen Zhang" userId="9dd81366-5d6f-445a-b031-6ea562624431" providerId="ADAL" clId="{D6FBF965-026B-43DA-A554-C6861A0A35E4}" dt="2023-02-02T10:52:56.869" v="114204"/>
          <ac:spMkLst>
            <pc:docMk/>
            <pc:sldMk cId="2167517715" sldId="2134804372"/>
            <ac:spMk id="42" creationId="{906BC74F-5255-8E6A-AD99-CDDC685579E6}"/>
          </ac:spMkLst>
        </pc:spChg>
        <pc:spChg chg="add del mod modVis">
          <ac:chgData name="Wenwen Zhang" userId="9dd81366-5d6f-445a-b031-6ea562624431" providerId="ADAL" clId="{D6FBF965-026B-43DA-A554-C6861A0A35E4}" dt="2023-02-01T20:41:56.684" v="56514"/>
          <ac:spMkLst>
            <pc:docMk/>
            <pc:sldMk cId="2167517715" sldId="2134804372"/>
            <ac:spMk id="42" creationId="{B7465D12-34EF-4741-3E7C-0A65D97DDCF2}"/>
          </ac:spMkLst>
        </pc:spChg>
        <pc:spChg chg="mod ord">
          <ac:chgData name="Wenwen Zhang" userId="9dd81366-5d6f-445a-b031-6ea562624431" providerId="ADAL" clId="{D6FBF965-026B-43DA-A554-C6861A0A35E4}" dt="2023-02-02T11:49:36.341" v="120444"/>
          <ac:spMkLst>
            <pc:docMk/>
            <pc:sldMk cId="2167517715" sldId="2134804372"/>
            <ac:spMk id="43" creationId="{C58C7321-3BF7-61DC-5B1A-AD075E56AE05}"/>
          </ac:spMkLst>
        </pc:spChg>
        <pc:spChg chg="add mod replST">
          <ac:chgData name="Wenwen Zhang" userId="9dd81366-5d6f-445a-b031-6ea562624431" providerId="ADAL" clId="{D6FBF965-026B-43DA-A554-C6861A0A35E4}" dt="2023-02-02T11:49:36.358" v="120476"/>
          <ac:spMkLst>
            <pc:docMk/>
            <pc:sldMk cId="2167517715" sldId="2134804372"/>
            <ac:spMk id="45" creationId="{AF671495-749A-4992-72DA-85A4A8D2F342}"/>
          </ac:spMkLst>
        </pc:spChg>
        <pc:spChg chg="add del mod modVis">
          <ac:chgData name="Wenwen Zhang" userId="9dd81366-5d6f-445a-b031-6ea562624431" providerId="ADAL" clId="{D6FBF965-026B-43DA-A554-C6861A0A35E4}" dt="2023-02-01T20:42:03.194" v="56617"/>
          <ac:spMkLst>
            <pc:docMk/>
            <pc:sldMk cId="2167517715" sldId="2134804372"/>
            <ac:spMk id="45" creationId="{C80451EB-1EA3-D73E-3E6F-9C2AD117C9B4}"/>
          </ac:spMkLst>
        </pc:spChg>
        <pc:spChg chg="add del mod modVis">
          <ac:chgData name="Wenwen Zhang" userId="9dd81366-5d6f-445a-b031-6ea562624431" providerId="ADAL" clId="{D6FBF965-026B-43DA-A554-C6861A0A35E4}" dt="2023-02-02T10:53:03.346" v="114399"/>
          <ac:spMkLst>
            <pc:docMk/>
            <pc:sldMk cId="2167517715" sldId="2134804372"/>
            <ac:spMk id="46" creationId="{10CE5800-1851-135B-5D38-43232D0338C6}"/>
          </ac:spMkLst>
        </pc:spChg>
        <pc:spChg chg="add del mod modVis">
          <ac:chgData name="Wenwen Zhang" userId="9dd81366-5d6f-445a-b031-6ea562624431" providerId="ADAL" clId="{D6FBF965-026B-43DA-A554-C6861A0A35E4}" dt="2023-02-01T20:42:08.431" v="56720"/>
          <ac:spMkLst>
            <pc:docMk/>
            <pc:sldMk cId="2167517715" sldId="2134804372"/>
            <ac:spMk id="47" creationId="{E5BE7518-2F65-FC63-38C1-6668CA15438D}"/>
          </ac:spMkLst>
        </pc:spChg>
        <pc:spChg chg="add mod ord replST">
          <ac:chgData name="Wenwen Zhang" userId="9dd81366-5d6f-445a-b031-6ea562624431" providerId="ADAL" clId="{D6FBF965-026B-43DA-A554-C6861A0A35E4}" dt="2023-02-02T11:49:36.357" v="120469"/>
          <ac:spMkLst>
            <pc:docMk/>
            <pc:sldMk cId="2167517715" sldId="2134804372"/>
            <ac:spMk id="48" creationId="{DB1E4A64-3195-3A25-5803-3BD74ACAA41E}"/>
          </ac:spMkLst>
        </pc:spChg>
        <pc:spChg chg="add del mod modVis">
          <ac:chgData name="Wenwen Zhang" userId="9dd81366-5d6f-445a-b031-6ea562624431" providerId="ADAL" clId="{D6FBF965-026B-43DA-A554-C6861A0A35E4}" dt="2023-02-02T10:53:52.689" v="114541"/>
          <ac:spMkLst>
            <pc:docMk/>
            <pc:sldMk cId="2167517715" sldId="2134804372"/>
            <ac:spMk id="49" creationId="{EC4BE2A0-FE1C-2F95-25BD-0555C8A5806D}"/>
          </ac:spMkLst>
        </pc:spChg>
        <pc:spChg chg="add del mod modVis">
          <ac:chgData name="Wenwen Zhang" userId="9dd81366-5d6f-445a-b031-6ea562624431" providerId="ADAL" clId="{D6FBF965-026B-43DA-A554-C6861A0A35E4}" dt="2023-02-01T20:42:13.838" v="56823"/>
          <ac:spMkLst>
            <pc:docMk/>
            <pc:sldMk cId="2167517715" sldId="2134804372"/>
            <ac:spMk id="49" creationId="{EF2A2CFC-3205-AA97-8FDD-B9FC0E464981}"/>
          </ac:spMkLst>
        </pc:spChg>
        <pc:spChg chg="add del mod modVis">
          <ac:chgData name="Wenwen Zhang" userId="9dd81366-5d6f-445a-b031-6ea562624431" providerId="ADAL" clId="{D6FBF965-026B-43DA-A554-C6861A0A35E4}" dt="2023-02-02T10:53:57.776" v="114683"/>
          <ac:spMkLst>
            <pc:docMk/>
            <pc:sldMk cId="2167517715" sldId="2134804372"/>
            <ac:spMk id="51" creationId="{242C977D-065C-EDB9-E64B-E89330A589A9}"/>
          </ac:spMkLst>
        </pc:spChg>
        <pc:spChg chg="add del mod modVis">
          <ac:chgData name="Wenwen Zhang" userId="9dd81366-5d6f-445a-b031-6ea562624431" providerId="ADAL" clId="{D6FBF965-026B-43DA-A554-C6861A0A35E4}" dt="2023-02-01T20:42:29.088" v="57033"/>
          <ac:spMkLst>
            <pc:docMk/>
            <pc:sldMk cId="2167517715" sldId="2134804372"/>
            <ac:spMk id="51" creationId="{30A7CFC4-1118-0564-5A08-7B9553B557CD}"/>
          </ac:spMkLst>
        </pc:spChg>
        <pc:spChg chg="add del mod replST">
          <ac:chgData name="Wenwen Zhang" userId="9dd81366-5d6f-445a-b031-6ea562624431" providerId="ADAL" clId="{D6FBF965-026B-43DA-A554-C6861A0A35E4}" dt="2023-02-01T20:42:32.065" v="57097"/>
          <ac:spMkLst>
            <pc:docMk/>
            <pc:sldMk cId="2167517715" sldId="2134804372"/>
            <ac:spMk id="52" creationId="{96DB64E7-7450-5BAA-7DCA-6F75AE12EF02}"/>
          </ac:spMkLst>
        </pc:spChg>
        <pc:spChg chg="add del mod modVis">
          <ac:chgData name="Wenwen Zhang" userId="9dd81366-5d6f-445a-b031-6ea562624431" providerId="ADAL" clId="{D6FBF965-026B-43DA-A554-C6861A0A35E4}" dt="2023-02-02T10:54:01.247" v="114825"/>
          <ac:spMkLst>
            <pc:docMk/>
            <pc:sldMk cId="2167517715" sldId="2134804372"/>
            <ac:spMk id="53" creationId="{531E93CD-2451-6F0C-51D4-C02D8EC92C5F}"/>
          </ac:spMkLst>
        </pc:spChg>
        <pc:spChg chg="add del mod modVis">
          <ac:chgData name="Wenwen Zhang" userId="9dd81366-5d6f-445a-b031-6ea562624431" providerId="ADAL" clId="{D6FBF965-026B-43DA-A554-C6861A0A35E4}" dt="2023-02-01T20:42:32.090" v="57135"/>
          <ac:spMkLst>
            <pc:docMk/>
            <pc:sldMk cId="2167517715" sldId="2134804372"/>
            <ac:spMk id="54" creationId="{5329FEBA-B6F1-9721-424A-C2CC11019B9C}"/>
          </ac:spMkLst>
        </pc:spChg>
        <pc:spChg chg="add del mod modVis">
          <ac:chgData name="Wenwen Zhang" userId="9dd81366-5d6f-445a-b031-6ea562624431" providerId="ADAL" clId="{D6FBF965-026B-43DA-A554-C6861A0A35E4}" dt="2023-02-02T10:54:04.957" v="114969"/>
          <ac:spMkLst>
            <pc:docMk/>
            <pc:sldMk cId="2167517715" sldId="2134804372"/>
            <ac:spMk id="55" creationId="{084E2B37-B83D-79C5-8992-B91E2B29345C}"/>
          </ac:spMkLst>
        </pc:spChg>
        <pc:spChg chg="add del mod modVis">
          <ac:chgData name="Wenwen Zhang" userId="9dd81366-5d6f-445a-b031-6ea562624431" providerId="ADAL" clId="{D6FBF965-026B-43DA-A554-C6861A0A35E4}" dt="2023-02-01T20:42:36.152" v="57533"/>
          <ac:spMkLst>
            <pc:docMk/>
            <pc:sldMk cId="2167517715" sldId="2134804372"/>
            <ac:spMk id="56" creationId="{D330863E-408C-6CC4-A889-A718B09FB50B}"/>
          </ac:spMkLst>
        </pc:spChg>
        <pc:spChg chg="add del mod modVis">
          <ac:chgData name="Wenwen Zhang" userId="9dd81366-5d6f-445a-b031-6ea562624431" providerId="ADAL" clId="{D6FBF965-026B-43DA-A554-C6861A0A35E4}" dt="2023-02-02T10:54:12.420" v="115067"/>
          <ac:spMkLst>
            <pc:docMk/>
            <pc:sldMk cId="2167517715" sldId="2134804372"/>
            <ac:spMk id="57" creationId="{76680F99-3633-6B4B-2737-927379F867D2}"/>
          </ac:spMkLst>
        </pc:spChg>
        <pc:spChg chg="add del mod modVis">
          <ac:chgData name="Wenwen Zhang" userId="9dd81366-5d6f-445a-b031-6ea562624431" providerId="ADAL" clId="{D6FBF965-026B-43DA-A554-C6861A0A35E4}" dt="2023-02-01T20:42:41.968" v="57641"/>
          <ac:spMkLst>
            <pc:docMk/>
            <pc:sldMk cId="2167517715" sldId="2134804372"/>
            <ac:spMk id="58" creationId="{FC45DE14-5404-A42A-C60C-3676CDAE647F}"/>
          </ac:spMkLst>
        </pc:spChg>
        <pc:spChg chg="add del mod modVis">
          <ac:chgData name="Wenwen Zhang" userId="9dd81366-5d6f-445a-b031-6ea562624431" providerId="ADAL" clId="{D6FBF965-026B-43DA-A554-C6861A0A35E4}" dt="2023-02-02T10:55:22.027" v="115258"/>
          <ac:spMkLst>
            <pc:docMk/>
            <pc:sldMk cId="2167517715" sldId="2134804372"/>
            <ac:spMk id="59" creationId="{F21E7C0E-E39C-7D3D-CA35-FC98310111DD}"/>
          </ac:spMkLst>
        </pc:spChg>
        <pc:spChg chg="add del mod modVis">
          <ac:chgData name="Wenwen Zhang" userId="9dd81366-5d6f-445a-b031-6ea562624431" providerId="ADAL" clId="{D6FBF965-026B-43DA-A554-C6861A0A35E4}" dt="2023-02-01T20:43:14.619" v="57741"/>
          <ac:spMkLst>
            <pc:docMk/>
            <pc:sldMk cId="2167517715" sldId="2134804372"/>
            <ac:spMk id="60" creationId="{68EF3BAF-E890-B7D5-F046-F4D04ABEF889}"/>
          </ac:spMkLst>
        </pc:spChg>
        <pc:spChg chg="add del mod modVis">
          <ac:chgData name="Wenwen Zhang" userId="9dd81366-5d6f-445a-b031-6ea562624431" providerId="ADAL" clId="{D6FBF965-026B-43DA-A554-C6861A0A35E4}" dt="2023-02-02T10:55:28.077" v="115353"/>
          <ac:spMkLst>
            <pc:docMk/>
            <pc:sldMk cId="2167517715" sldId="2134804372"/>
            <ac:spMk id="61" creationId="{4BA91388-26A8-BF11-28A9-86786542D845}"/>
          </ac:spMkLst>
        </pc:spChg>
        <pc:spChg chg="add del mod modVis">
          <ac:chgData name="Wenwen Zhang" userId="9dd81366-5d6f-445a-b031-6ea562624431" providerId="ADAL" clId="{D6FBF965-026B-43DA-A554-C6861A0A35E4}" dt="2023-02-01T20:43:20.047" v="57969"/>
          <ac:spMkLst>
            <pc:docMk/>
            <pc:sldMk cId="2167517715" sldId="2134804372"/>
            <ac:spMk id="62" creationId="{A97C6AA8-9A03-10C2-EEBE-2CB819D7AC3F}"/>
          </ac:spMkLst>
        </pc:spChg>
        <pc:spChg chg="add del mod modVis">
          <ac:chgData name="Wenwen Zhang" userId="9dd81366-5d6f-445a-b031-6ea562624431" providerId="ADAL" clId="{D6FBF965-026B-43DA-A554-C6861A0A35E4}" dt="2023-02-02T10:55:34.375" v="115450"/>
          <ac:spMkLst>
            <pc:docMk/>
            <pc:sldMk cId="2167517715" sldId="2134804372"/>
            <ac:spMk id="63" creationId="{A0CB9670-F698-B677-5A9B-00FFF8EF1316}"/>
          </ac:spMkLst>
        </pc:spChg>
        <pc:spChg chg="add del mod modVis">
          <ac:chgData name="Wenwen Zhang" userId="9dd81366-5d6f-445a-b031-6ea562624431" providerId="ADAL" clId="{D6FBF965-026B-43DA-A554-C6861A0A35E4}" dt="2023-02-01T20:44:23.362" v="58063"/>
          <ac:spMkLst>
            <pc:docMk/>
            <pc:sldMk cId="2167517715" sldId="2134804372"/>
            <ac:spMk id="64" creationId="{17FAB8C6-2AF7-8E40-5B95-D04CFB1AB873}"/>
          </ac:spMkLst>
        </pc:spChg>
        <pc:spChg chg="add del mod modVis">
          <ac:chgData name="Wenwen Zhang" userId="9dd81366-5d6f-445a-b031-6ea562624431" providerId="ADAL" clId="{D6FBF965-026B-43DA-A554-C6861A0A35E4}" dt="2023-02-01T20:45:35.173" v="58322"/>
          <ac:spMkLst>
            <pc:docMk/>
            <pc:sldMk cId="2167517715" sldId="2134804372"/>
            <ac:spMk id="66" creationId="{27013E34-BAE8-3E6C-ADD3-42A536F2BEB0}"/>
          </ac:spMkLst>
        </pc:spChg>
        <pc:spChg chg="add del mod ord replST">
          <ac:chgData name="Wenwen Zhang" userId="9dd81366-5d6f-445a-b031-6ea562624431" providerId="ADAL" clId="{D6FBF965-026B-43DA-A554-C6861A0A35E4}" dt="2023-02-01T20:47:49.220" v="61497"/>
          <ac:spMkLst>
            <pc:docMk/>
            <pc:sldMk cId="2167517715" sldId="2134804372"/>
            <ac:spMk id="67" creationId="{96DB64E7-7450-5BAA-7DCA-6F75AE12EF02}"/>
          </ac:spMkLst>
        </pc:spChg>
        <pc:spChg chg="add del mod modVis">
          <ac:chgData name="Wenwen Zhang" userId="9dd81366-5d6f-445a-b031-6ea562624431" providerId="ADAL" clId="{D6FBF965-026B-43DA-A554-C6861A0A35E4}" dt="2023-02-01T20:45:40.248" v="58589"/>
          <ac:spMkLst>
            <pc:docMk/>
            <pc:sldMk cId="2167517715" sldId="2134804372"/>
            <ac:spMk id="72" creationId="{FBEE5264-783C-6000-8ADD-DC266D035C85}"/>
          </ac:spMkLst>
        </pc:spChg>
        <pc:spChg chg="add del mod ord replST">
          <ac:chgData name="Wenwen Zhang" userId="9dd81366-5d6f-445a-b031-6ea562624431" providerId="ADAL" clId="{D6FBF965-026B-43DA-A554-C6861A0A35E4}" dt="2023-02-01T20:47:49.218" v="61489"/>
          <ac:spMkLst>
            <pc:docMk/>
            <pc:sldMk cId="2167517715" sldId="2134804372"/>
            <ac:spMk id="73" creationId="{96DB64E7-7450-5BAA-7DCA-6F75AE12EF02}"/>
          </ac:spMkLst>
        </pc:spChg>
        <pc:spChg chg="del mod">
          <ac:chgData name="Wenwen Zhang" userId="9dd81366-5d6f-445a-b031-6ea562624431" providerId="ADAL" clId="{D6FBF965-026B-43DA-A554-C6861A0A35E4}" dt="2023-02-01T20:38:01.656" v="54577"/>
          <ac:spMkLst>
            <pc:docMk/>
            <pc:sldMk cId="2167517715" sldId="2134804372"/>
            <ac:spMk id="75" creationId="{96DB64E7-7450-5BAA-7DCA-6F75AE12EF02}"/>
          </ac:spMkLst>
        </pc:spChg>
        <pc:spChg chg="del mod">
          <ac:chgData name="Wenwen Zhang" userId="9dd81366-5d6f-445a-b031-6ea562624431" providerId="ADAL" clId="{D6FBF965-026B-43DA-A554-C6861A0A35E4}" dt="2023-02-01T20:38:01.654" v="54576"/>
          <ac:spMkLst>
            <pc:docMk/>
            <pc:sldMk cId="2167517715" sldId="2134804372"/>
            <ac:spMk id="77" creationId="{96DB64E7-7450-5BAA-7DCA-6F75AE12EF02}"/>
          </ac:spMkLst>
        </pc:spChg>
        <pc:spChg chg="del mod">
          <ac:chgData name="Wenwen Zhang" userId="9dd81366-5d6f-445a-b031-6ea562624431" providerId="ADAL" clId="{D6FBF965-026B-43DA-A554-C6861A0A35E4}" dt="2023-02-01T20:38:01.654" v="54575"/>
          <ac:spMkLst>
            <pc:docMk/>
            <pc:sldMk cId="2167517715" sldId="2134804372"/>
            <ac:spMk id="78" creationId="{96DB64E7-7450-5BAA-7DCA-6F75AE12EF02}"/>
          </ac:spMkLst>
        </pc:spChg>
        <pc:spChg chg="del mod">
          <ac:chgData name="Wenwen Zhang" userId="9dd81366-5d6f-445a-b031-6ea562624431" providerId="ADAL" clId="{D6FBF965-026B-43DA-A554-C6861A0A35E4}" dt="2023-02-01T20:38:01.652" v="54574"/>
          <ac:spMkLst>
            <pc:docMk/>
            <pc:sldMk cId="2167517715" sldId="2134804372"/>
            <ac:spMk id="81" creationId="{42E29EAF-C3A2-986C-C4F4-ECADC95D0268}"/>
          </ac:spMkLst>
        </pc:spChg>
        <pc:spChg chg="add del mod modVis">
          <ac:chgData name="Wenwen Zhang" userId="9dd81366-5d6f-445a-b031-6ea562624431" providerId="ADAL" clId="{D6FBF965-026B-43DA-A554-C6861A0A35E4}" dt="2023-02-01T20:45:46.369" v="58865"/>
          <ac:spMkLst>
            <pc:docMk/>
            <pc:sldMk cId="2167517715" sldId="2134804372"/>
            <ac:spMk id="82" creationId="{AD45A4FD-DE15-57B6-0FE6-6B1FA3D59666}"/>
          </ac:spMkLst>
        </pc:spChg>
        <pc:spChg chg="add del mod ord replST">
          <ac:chgData name="Wenwen Zhang" userId="9dd81366-5d6f-445a-b031-6ea562624431" providerId="ADAL" clId="{D6FBF965-026B-43DA-A554-C6861A0A35E4}" dt="2023-02-01T22:11:16.705" v="97527"/>
          <ac:spMkLst>
            <pc:docMk/>
            <pc:sldMk cId="2167517715" sldId="2134804372"/>
            <ac:spMk id="83" creationId="{96DB64E7-7450-5BAA-7DCA-6F75AE12EF02}"/>
          </ac:spMkLst>
        </pc:spChg>
        <pc:spChg chg="add del mod modVis">
          <ac:chgData name="Wenwen Zhang" userId="9dd81366-5d6f-445a-b031-6ea562624431" providerId="ADAL" clId="{D6FBF965-026B-43DA-A554-C6861A0A35E4}" dt="2023-02-01T20:45:50.774" v="59150"/>
          <ac:spMkLst>
            <pc:docMk/>
            <pc:sldMk cId="2167517715" sldId="2134804372"/>
            <ac:spMk id="88" creationId="{455435EA-879C-5EFC-F8E2-FD95E82725BE}"/>
          </ac:spMkLst>
        </pc:spChg>
        <pc:spChg chg="add del mod ord replST">
          <ac:chgData name="Wenwen Zhang" userId="9dd81366-5d6f-445a-b031-6ea562624431" providerId="ADAL" clId="{D6FBF965-026B-43DA-A554-C6861A0A35E4}" dt="2023-02-01T22:11:16.703" v="97519"/>
          <ac:spMkLst>
            <pc:docMk/>
            <pc:sldMk cId="2167517715" sldId="2134804372"/>
            <ac:spMk id="89" creationId="{96DB64E7-7450-5BAA-7DCA-6F75AE12EF02}"/>
          </ac:spMkLst>
        </pc:spChg>
        <pc:spChg chg="add del mod modVis">
          <ac:chgData name="Wenwen Zhang" userId="9dd81366-5d6f-445a-b031-6ea562624431" providerId="ADAL" clId="{D6FBF965-026B-43DA-A554-C6861A0A35E4}" dt="2023-02-01T20:45:55.981" v="59444"/>
          <ac:spMkLst>
            <pc:docMk/>
            <pc:sldMk cId="2167517715" sldId="2134804372"/>
            <ac:spMk id="94" creationId="{9FCF99D4-0C50-D9B3-05E6-E18E74CB3856}"/>
          </ac:spMkLst>
        </pc:spChg>
        <pc:spChg chg="add del mod ord replST">
          <ac:chgData name="Wenwen Zhang" userId="9dd81366-5d6f-445a-b031-6ea562624431" providerId="ADAL" clId="{D6FBF965-026B-43DA-A554-C6861A0A35E4}" dt="2023-02-01T22:11:16.708" v="97543"/>
          <ac:spMkLst>
            <pc:docMk/>
            <pc:sldMk cId="2167517715" sldId="2134804372"/>
            <ac:spMk id="95" creationId="{96DB64E7-7450-5BAA-7DCA-6F75AE12EF02}"/>
          </ac:spMkLst>
        </pc:spChg>
        <pc:spChg chg="add del mod modVis">
          <ac:chgData name="Wenwen Zhang" userId="9dd81366-5d6f-445a-b031-6ea562624431" providerId="ADAL" clId="{D6FBF965-026B-43DA-A554-C6861A0A35E4}" dt="2023-02-01T20:46:00.770" v="59747"/>
          <ac:spMkLst>
            <pc:docMk/>
            <pc:sldMk cId="2167517715" sldId="2134804372"/>
            <ac:spMk id="100" creationId="{2F459F57-FF2F-F1A1-8BFC-17FFA848C337}"/>
          </ac:spMkLst>
        </pc:spChg>
        <pc:spChg chg="add del mod ord replST">
          <ac:chgData name="Wenwen Zhang" userId="9dd81366-5d6f-445a-b031-6ea562624431" providerId="ADAL" clId="{D6FBF965-026B-43DA-A554-C6861A0A35E4}" dt="2023-02-01T22:11:16.707" v="97535"/>
          <ac:spMkLst>
            <pc:docMk/>
            <pc:sldMk cId="2167517715" sldId="2134804372"/>
            <ac:spMk id="101" creationId="{96DB64E7-7450-5BAA-7DCA-6F75AE12EF02}"/>
          </ac:spMkLst>
        </pc:spChg>
        <pc:spChg chg="add del mod modVis">
          <ac:chgData name="Wenwen Zhang" userId="9dd81366-5d6f-445a-b031-6ea562624431" providerId="ADAL" clId="{D6FBF965-026B-43DA-A554-C6861A0A35E4}" dt="2023-02-01T20:46:06.526" v="60059"/>
          <ac:spMkLst>
            <pc:docMk/>
            <pc:sldMk cId="2167517715" sldId="2134804372"/>
            <ac:spMk id="106" creationId="{8C6BF046-5359-9A45-75B5-5AA8A8139030}"/>
          </ac:spMkLst>
        </pc:spChg>
        <pc:spChg chg="add del mod ord replST">
          <ac:chgData name="Wenwen Zhang" userId="9dd81366-5d6f-445a-b031-6ea562624431" providerId="ADAL" clId="{D6FBF965-026B-43DA-A554-C6861A0A35E4}" dt="2023-02-01T22:11:16.712" v="97559"/>
          <ac:spMkLst>
            <pc:docMk/>
            <pc:sldMk cId="2167517715" sldId="2134804372"/>
            <ac:spMk id="107" creationId="{96DB64E7-7450-5BAA-7DCA-6F75AE12EF02}"/>
          </ac:spMkLst>
        </pc:spChg>
        <pc:spChg chg="add del mod modVis">
          <ac:chgData name="Wenwen Zhang" userId="9dd81366-5d6f-445a-b031-6ea562624431" providerId="ADAL" clId="{D6FBF965-026B-43DA-A554-C6861A0A35E4}" dt="2023-02-01T20:46:10.529" v="60380"/>
          <ac:spMkLst>
            <pc:docMk/>
            <pc:sldMk cId="2167517715" sldId="2134804372"/>
            <ac:spMk id="112" creationId="{2F1DC2AD-D3E9-EDC0-CF0A-2B929F4CF3AD}"/>
          </ac:spMkLst>
        </pc:spChg>
        <pc:spChg chg="add del mod ord replST">
          <ac:chgData name="Wenwen Zhang" userId="9dd81366-5d6f-445a-b031-6ea562624431" providerId="ADAL" clId="{D6FBF965-026B-43DA-A554-C6861A0A35E4}" dt="2023-02-01T22:11:16.710" v="97551"/>
          <ac:spMkLst>
            <pc:docMk/>
            <pc:sldMk cId="2167517715" sldId="2134804372"/>
            <ac:spMk id="113" creationId="{96DB64E7-7450-5BAA-7DCA-6F75AE12EF02}"/>
          </ac:spMkLst>
        </pc:spChg>
        <pc:spChg chg="del mod ord">
          <ac:chgData name="Wenwen Zhang" userId="9dd81366-5d6f-445a-b031-6ea562624431" providerId="ADAL" clId="{D6FBF965-026B-43DA-A554-C6861A0A35E4}" dt="2023-02-01T20:42:47.767" v="57644" actId="478"/>
          <ac:spMkLst>
            <pc:docMk/>
            <pc:sldMk cId="2167517715" sldId="2134804372"/>
            <ac:spMk id="115" creationId="{D55A6407-0007-6C75-06C2-8120CD242D1D}"/>
          </ac:spMkLst>
        </pc:spChg>
        <pc:spChg chg="del">
          <ac:chgData name="Wenwen Zhang" userId="9dd81366-5d6f-445a-b031-6ea562624431" providerId="ADAL" clId="{D6FBF965-026B-43DA-A554-C6861A0A35E4}" dt="2023-02-01T20:37:38.140" v="54099"/>
          <ac:spMkLst>
            <pc:docMk/>
            <pc:sldMk cId="2167517715" sldId="2134804372"/>
            <ac:spMk id="119" creationId="{86F6CF13-604D-D8AD-F6EA-52283C8ACBC0}"/>
          </ac:spMkLst>
        </pc:spChg>
        <pc:spChg chg="add del mod modVis">
          <ac:chgData name="Wenwen Zhang" userId="9dd81366-5d6f-445a-b031-6ea562624431" providerId="ADAL" clId="{D6FBF965-026B-43DA-A554-C6861A0A35E4}" dt="2023-02-01T20:46:22.038" v="60674"/>
          <ac:spMkLst>
            <pc:docMk/>
            <pc:sldMk cId="2167517715" sldId="2134804372"/>
            <ac:spMk id="120" creationId="{230B01A8-928B-7BD1-2AA6-B0B86106928D}"/>
          </ac:spMkLst>
        </pc:spChg>
        <pc:spChg chg="del">
          <ac:chgData name="Wenwen Zhang" userId="9dd81366-5d6f-445a-b031-6ea562624431" providerId="ADAL" clId="{D6FBF965-026B-43DA-A554-C6861A0A35E4}" dt="2023-02-01T20:37:38.142" v="54102"/>
          <ac:spMkLst>
            <pc:docMk/>
            <pc:sldMk cId="2167517715" sldId="2134804372"/>
            <ac:spMk id="121" creationId="{2CEDDA91-2C75-4CDC-5968-7A2B4C46BC4A}"/>
          </ac:spMkLst>
        </pc:spChg>
        <pc:spChg chg="del">
          <ac:chgData name="Wenwen Zhang" userId="9dd81366-5d6f-445a-b031-6ea562624431" providerId="ADAL" clId="{D6FBF965-026B-43DA-A554-C6861A0A35E4}" dt="2023-02-01T20:37:38.142" v="54101"/>
          <ac:spMkLst>
            <pc:docMk/>
            <pc:sldMk cId="2167517715" sldId="2134804372"/>
            <ac:spMk id="122" creationId="{D109F66C-E1A7-722F-0823-901801A42422}"/>
          </ac:spMkLst>
        </pc:spChg>
        <pc:spChg chg="del">
          <ac:chgData name="Wenwen Zhang" userId="9dd81366-5d6f-445a-b031-6ea562624431" providerId="ADAL" clId="{D6FBF965-026B-43DA-A554-C6861A0A35E4}" dt="2023-02-01T20:37:38.140" v="54100"/>
          <ac:spMkLst>
            <pc:docMk/>
            <pc:sldMk cId="2167517715" sldId="2134804372"/>
            <ac:spMk id="124" creationId="{DC4243AC-0C4A-E284-EFA8-EF5C865E1A1D}"/>
          </ac:spMkLst>
        </pc:spChg>
        <pc:spChg chg="del">
          <ac:chgData name="Wenwen Zhang" userId="9dd81366-5d6f-445a-b031-6ea562624431" providerId="ADAL" clId="{D6FBF965-026B-43DA-A554-C6861A0A35E4}" dt="2023-02-01T20:37:38.144" v="54107"/>
          <ac:spMkLst>
            <pc:docMk/>
            <pc:sldMk cId="2167517715" sldId="2134804372"/>
            <ac:spMk id="125" creationId="{812193C3-C909-5816-55CB-48EB45831E81}"/>
          </ac:spMkLst>
        </pc:spChg>
        <pc:spChg chg="del">
          <ac:chgData name="Wenwen Zhang" userId="9dd81366-5d6f-445a-b031-6ea562624431" providerId="ADAL" clId="{D6FBF965-026B-43DA-A554-C6861A0A35E4}" dt="2023-02-01T20:37:38.143" v="54104"/>
          <ac:spMkLst>
            <pc:docMk/>
            <pc:sldMk cId="2167517715" sldId="2134804372"/>
            <ac:spMk id="126" creationId="{DBD66CF7-C8EE-D7A5-15B3-BE7B99B8B4CE}"/>
          </ac:spMkLst>
        </pc:spChg>
        <pc:spChg chg="del">
          <ac:chgData name="Wenwen Zhang" userId="9dd81366-5d6f-445a-b031-6ea562624431" providerId="ADAL" clId="{D6FBF965-026B-43DA-A554-C6861A0A35E4}" dt="2023-02-01T20:37:38.144" v="54108"/>
          <ac:spMkLst>
            <pc:docMk/>
            <pc:sldMk cId="2167517715" sldId="2134804372"/>
            <ac:spMk id="127" creationId="{566A58B5-28D3-5910-F4CB-9F1FEC648D92}"/>
          </ac:spMkLst>
        </pc:spChg>
        <pc:spChg chg="del">
          <ac:chgData name="Wenwen Zhang" userId="9dd81366-5d6f-445a-b031-6ea562624431" providerId="ADAL" clId="{D6FBF965-026B-43DA-A554-C6861A0A35E4}" dt="2023-02-01T20:37:38.143" v="54105"/>
          <ac:spMkLst>
            <pc:docMk/>
            <pc:sldMk cId="2167517715" sldId="2134804372"/>
            <ac:spMk id="128" creationId="{B5CA01F5-46F3-9590-87D5-6B0254C998BE}"/>
          </ac:spMkLst>
        </pc:spChg>
        <pc:spChg chg="add del mod modVis">
          <ac:chgData name="Wenwen Zhang" userId="9dd81366-5d6f-445a-b031-6ea562624431" providerId="ADAL" clId="{D6FBF965-026B-43DA-A554-C6861A0A35E4}" dt="2023-02-01T20:46:44.946" v="61032"/>
          <ac:spMkLst>
            <pc:docMk/>
            <pc:sldMk cId="2167517715" sldId="2134804372"/>
            <ac:spMk id="129" creationId="{7FF6C1A5-958E-D6BD-A70A-52952A4A8C81}"/>
          </ac:spMkLst>
        </pc:spChg>
        <pc:spChg chg="add del mod modVis">
          <ac:chgData name="Wenwen Zhang" userId="9dd81366-5d6f-445a-b031-6ea562624431" providerId="ADAL" clId="{D6FBF965-026B-43DA-A554-C6861A0A35E4}" dt="2023-02-02T10:55:36.096" v="115542"/>
          <ac:spMkLst>
            <pc:docMk/>
            <pc:sldMk cId="2167517715" sldId="2134804372"/>
            <ac:spMk id="129" creationId="{8D4973F7-5F4D-030A-7F3E-94D3EBCE90BE}"/>
          </ac:spMkLst>
        </pc:spChg>
        <pc:spChg chg="add del mod modVis">
          <ac:chgData name="Wenwen Zhang" userId="9dd81366-5d6f-445a-b031-6ea562624431" providerId="ADAL" clId="{D6FBF965-026B-43DA-A554-C6861A0A35E4}" dt="2023-02-01T20:47:44.929" v="61479"/>
          <ac:spMkLst>
            <pc:docMk/>
            <pc:sldMk cId="2167517715" sldId="2134804372"/>
            <ac:spMk id="131" creationId="{BACE98F9-723D-ECC0-66ED-4DCF26EF53C4}"/>
          </ac:spMkLst>
        </pc:spChg>
        <pc:spChg chg="add del mod modVis">
          <ac:chgData name="Wenwen Zhang" userId="9dd81366-5d6f-445a-b031-6ea562624431" providerId="ADAL" clId="{D6FBF965-026B-43DA-A554-C6861A0A35E4}" dt="2023-02-02T10:55:38.228" v="115634"/>
          <ac:spMkLst>
            <pc:docMk/>
            <pc:sldMk cId="2167517715" sldId="2134804372"/>
            <ac:spMk id="131" creationId="{C262532E-DD98-EBE6-19D4-24DD73380FA7}"/>
          </ac:spMkLst>
        </pc:spChg>
        <pc:spChg chg="add mod replST">
          <ac:chgData name="Wenwen Zhang" userId="9dd81366-5d6f-445a-b031-6ea562624431" providerId="ADAL" clId="{D6FBF965-026B-43DA-A554-C6861A0A35E4}" dt="2023-02-02T11:49:36.341" v="120459"/>
          <ac:spMkLst>
            <pc:docMk/>
            <pc:sldMk cId="2167517715" sldId="2134804372"/>
            <ac:spMk id="133" creationId="{88E9AE5E-4CF5-EF18-3403-12B61463B025}"/>
          </ac:spMkLst>
        </pc:spChg>
        <pc:spChg chg="add del mod modVis">
          <ac:chgData name="Wenwen Zhang" userId="9dd81366-5d6f-445a-b031-6ea562624431" providerId="ADAL" clId="{D6FBF965-026B-43DA-A554-C6861A0A35E4}" dt="2023-02-02T10:56:58.254" v="115761"/>
          <ac:spMkLst>
            <pc:docMk/>
            <pc:sldMk cId="2167517715" sldId="2134804372"/>
            <ac:spMk id="134" creationId="{157B28EB-776C-C6FB-14EF-59E14D3EE1DC}"/>
          </ac:spMkLst>
        </pc:spChg>
        <pc:spChg chg="add del mod modVis">
          <ac:chgData name="Wenwen Zhang" userId="9dd81366-5d6f-445a-b031-6ea562624431" providerId="ADAL" clId="{D6FBF965-026B-43DA-A554-C6861A0A35E4}" dt="2023-02-01T20:47:49.394" v="61837"/>
          <ac:spMkLst>
            <pc:docMk/>
            <pc:sldMk cId="2167517715" sldId="2134804372"/>
            <ac:spMk id="134" creationId="{AB12EC66-C610-9F45-34B2-CEAAA48C37DB}"/>
          </ac:spMkLst>
        </pc:spChg>
        <pc:spChg chg="add mod replST">
          <ac:chgData name="Wenwen Zhang" userId="9dd81366-5d6f-445a-b031-6ea562624431" providerId="ADAL" clId="{D6FBF965-026B-43DA-A554-C6861A0A35E4}" dt="2023-02-02T11:49:36.358" v="120477"/>
          <ac:spMkLst>
            <pc:docMk/>
            <pc:sldMk cId="2167517715" sldId="2134804372"/>
            <ac:spMk id="136" creationId="{0D01EFCC-03FE-B6F2-BF07-5AE338505F6D}"/>
          </ac:spMkLst>
        </pc:spChg>
        <pc:spChg chg="add del mod modVis">
          <ac:chgData name="Wenwen Zhang" userId="9dd81366-5d6f-445a-b031-6ea562624431" providerId="ADAL" clId="{D6FBF965-026B-43DA-A554-C6861A0A35E4}" dt="2023-02-01T20:48:03.788" v="62137"/>
          <ac:spMkLst>
            <pc:docMk/>
            <pc:sldMk cId="2167517715" sldId="2134804372"/>
            <ac:spMk id="136" creationId="{AFD90DE3-F877-E802-F600-6EE38D38FFD8}"/>
          </ac:spMkLst>
        </pc:spChg>
        <pc:spChg chg="add del mod modVis">
          <ac:chgData name="Wenwen Zhang" userId="9dd81366-5d6f-445a-b031-6ea562624431" providerId="ADAL" clId="{D6FBF965-026B-43DA-A554-C6861A0A35E4}" dt="2023-02-02T10:57:00.031" v="115911"/>
          <ac:spMkLst>
            <pc:docMk/>
            <pc:sldMk cId="2167517715" sldId="2134804372"/>
            <ac:spMk id="137" creationId="{F0D088E2-1D5A-4BF7-42C0-E393AB7BA3AD}"/>
          </ac:spMkLst>
        </pc:spChg>
        <pc:spChg chg="add del mod modVis">
          <ac:chgData name="Wenwen Zhang" userId="9dd81366-5d6f-445a-b031-6ea562624431" providerId="ADAL" clId="{D6FBF965-026B-43DA-A554-C6861A0A35E4}" dt="2023-02-01T20:48:11.676" v="62389"/>
          <ac:spMkLst>
            <pc:docMk/>
            <pc:sldMk cId="2167517715" sldId="2134804372"/>
            <ac:spMk id="138" creationId="{9C18F18E-0C94-3E4B-3657-3C3C1DA3C2A6}"/>
          </ac:spMkLst>
        </pc:spChg>
        <pc:spChg chg="add mod replST">
          <ac:chgData name="Wenwen Zhang" userId="9dd81366-5d6f-445a-b031-6ea562624431" providerId="ADAL" clId="{D6FBF965-026B-43DA-A554-C6861A0A35E4}" dt="2023-02-02T11:49:36.341" v="120460"/>
          <ac:spMkLst>
            <pc:docMk/>
            <pc:sldMk cId="2167517715" sldId="2134804372"/>
            <ac:spMk id="139" creationId="{96DB64E7-7450-5BAA-7DCA-6F75AE12EF02}"/>
          </ac:spMkLst>
        </pc:spChg>
        <pc:spChg chg="add mod ord replST">
          <ac:chgData name="Wenwen Zhang" userId="9dd81366-5d6f-445a-b031-6ea562624431" providerId="ADAL" clId="{D6FBF965-026B-43DA-A554-C6861A0A35E4}" dt="2023-02-02T11:49:36.357" v="120473"/>
          <ac:spMkLst>
            <pc:docMk/>
            <pc:sldMk cId="2167517715" sldId="2134804372"/>
            <ac:spMk id="140" creationId="{34971919-A88D-CAFA-0B00-B4A881C38561}"/>
          </ac:spMkLst>
        </pc:spChg>
        <pc:spChg chg="add del mod modVis">
          <ac:chgData name="Wenwen Zhang" userId="9dd81366-5d6f-445a-b031-6ea562624431" providerId="ADAL" clId="{D6FBF965-026B-43DA-A554-C6861A0A35E4}" dt="2023-02-02T10:57:03.970" v="116032"/>
          <ac:spMkLst>
            <pc:docMk/>
            <pc:sldMk cId="2167517715" sldId="2134804372"/>
            <ac:spMk id="141" creationId="{114249DE-C089-8D6D-C003-ED34EF24B99D}"/>
          </ac:spMkLst>
        </pc:spChg>
        <pc:spChg chg="add del mod modVis">
          <ac:chgData name="Wenwen Zhang" userId="9dd81366-5d6f-445a-b031-6ea562624431" providerId="ADAL" clId="{D6FBF965-026B-43DA-A554-C6861A0A35E4}" dt="2023-02-01T20:48:14.247" v="62546"/>
          <ac:spMkLst>
            <pc:docMk/>
            <pc:sldMk cId="2167517715" sldId="2134804372"/>
            <ac:spMk id="141" creationId="{FB2CF6B9-D53B-2431-B916-79D1FCC208C1}"/>
          </ac:spMkLst>
        </pc:spChg>
        <pc:spChg chg="add del mod modVis">
          <ac:chgData name="Wenwen Zhang" userId="9dd81366-5d6f-445a-b031-6ea562624431" providerId="ADAL" clId="{D6FBF965-026B-43DA-A554-C6861A0A35E4}" dt="2023-02-01T20:48:16.079" v="62705"/>
          <ac:spMkLst>
            <pc:docMk/>
            <pc:sldMk cId="2167517715" sldId="2134804372"/>
            <ac:spMk id="143" creationId="{04F9B153-6559-E1C2-D27C-CE0BE1E2BF7D}"/>
          </ac:spMkLst>
        </pc:spChg>
        <pc:spChg chg="add del mod modVis">
          <ac:chgData name="Wenwen Zhang" userId="9dd81366-5d6f-445a-b031-6ea562624431" providerId="ADAL" clId="{D6FBF965-026B-43DA-A554-C6861A0A35E4}" dt="2023-02-02T10:57:16.009" v="116129"/>
          <ac:spMkLst>
            <pc:docMk/>
            <pc:sldMk cId="2167517715" sldId="2134804372"/>
            <ac:spMk id="143" creationId="{B5664B93-1BB3-816D-5200-357EC5E733E2}"/>
          </ac:spMkLst>
        </pc:spChg>
        <pc:spChg chg="add del mod modVis">
          <ac:chgData name="Wenwen Zhang" userId="9dd81366-5d6f-445a-b031-6ea562624431" providerId="ADAL" clId="{D6FBF965-026B-43DA-A554-C6861A0A35E4}" dt="2023-02-02T10:57:19.730" v="116226"/>
          <ac:spMkLst>
            <pc:docMk/>
            <pc:sldMk cId="2167517715" sldId="2134804372"/>
            <ac:spMk id="145" creationId="{3960B7FA-5618-E551-F164-B62731723696}"/>
          </ac:spMkLst>
        </pc:spChg>
        <pc:spChg chg="add del mod modVis">
          <ac:chgData name="Wenwen Zhang" userId="9dd81366-5d6f-445a-b031-6ea562624431" providerId="ADAL" clId="{D6FBF965-026B-43DA-A554-C6861A0A35E4}" dt="2023-02-01T20:48:16.792" v="62859"/>
          <ac:spMkLst>
            <pc:docMk/>
            <pc:sldMk cId="2167517715" sldId="2134804372"/>
            <ac:spMk id="145" creationId="{D396AB2E-C1A6-2146-87F2-86A34D5D8F26}"/>
          </ac:spMkLst>
        </pc:spChg>
        <pc:spChg chg="add del mod modVis">
          <ac:chgData name="Wenwen Zhang" userId="9dd81366-5d6f-445a-b031-6ea562624431" providerId="ADAL" clId="{D6FBF965-026B-43DA-A554-C6861A0A35E4}" dt="2023-02-01T20:48:54.541" v="63231"/>
          <ac:spMkLst>
            <pc:docMk/>
            <pc:sldMk cId="2167517715" sldId="2134804372"/>
            <ac:spMk id="147" creationId="{56F4407F-73C9-7C41-2771-3A833162A312}"/>
          </ac:spMkLst>
        </pc:spChg>
        <pc:spChg chg="add del mod modVis">
          <ac:chgData name="Wenwen Zhang" userId="9dd81366-5d6f-445a-b031-6ea562624431" providerId="ADAL" clId="{D6FBF965-026B-43DA-A554-C6861A0A35E4}" dt="2023-02-02T10:57:22.403" v="116323"/>
          <ac:spMkLst>
            <pc:docMk/>
            <pc:sldMk cId="2167517715" sldId="2134804372"/>
            <ac:spMk id="147" creationId="{E8DB5608-2C56-18C6-CF71-BE3C485725C3}"/>
          </ac:spMkLst>
        </pc:spChg>
        <pc:spChg chg="add del mod ord replST">
          <ac:chgData name="Wenwen Zhang" userId="9dd81366-5d6f-445a-b031-6ea562624431" providerId="ADAL" clId="{D6FBF965-026B-43DA-A554-C6861A0A35E4}" dt="2023-02-01T22:11:16.715" v="97575"/>
          <ac:spMkLst>
            <pc:docMk/>
            <pc:sldMk cId="2167517715" sldId="2134804372"/>
            <ac:spMk id="148" creationId="{96DB64E7-7450-5BAA-7DCA-6F75AE12EF02}"/>
          </ac:spMkLst>
        </pc:spChg>
        <pc:spChg chg="add del mod modVis">
          <ac:chgData name="Wenwen Zhang" userId="9dd81366-5d6f-445a-b031-6ea562624431" providerId="ADAL" clId="{D6FBF965-026B-43DA-A554-C6861A0A35E4}" dt="2023-02-02T10:57:37.359" v="116421"/>
          <ac:spMkLst>
            <pc:docMk/>
            <pc:sldMk cId="2167517715" sldId="2134804372"/>
            <ac:spMk id="149" creationId="{F1897373-DA6E-9137-D148-122A92CEF69C}"/>
          </ac:spMkLst>
        </pc:spChg>
        <pc:spChg chg="add del mod modVis">
          <ac:chgData name="Wenwen Zhang" userId="9dd81366-5d6f-445a-b031-6ea562624431" providerId="ADAL" clId="{D6FBF965-026B-43DA-A554-C6861A0A35E4}" dt="2023-02-02T10:57:47.353" v="116524"/>
          <ac:spMkLst>
            <pc:docMk/>
            <pc:sldMk cId="2167517715" sldId="2134804372"/>
            <ac:spMk id="151" creationId="{A1DF597C-3216-29F1-7431-D64C49DF87C2}"/>
          </ac:spMkLst>
        </pc:spChg>
        <pc:spChg chg="add del mod modVis">
          <ac:chgData name="Wenwen Zhang" userId="9dd81366-5d6f-445a-b031-6ea562624431" providerId="ADAL" clId="{D6FBF965-026B-43DA-A554-C6861A0A35E4}" dt="2023-02-01T20:48:58.962" v="63554"/>
          <ac:spMkLst>
            <pc:docMk/>
            <pc:sldMk cId="2167517715" sldId="2134804372"/>
            <ac:spMk id="153" creationId="{076DE4F5-A050-ECC3-BAA5-E268755FB3DA}"/>
          </ac:spMkLst>
        </pc:spChg>
        <pc:spChg chg="add del mod modVis">
          <ac:chgData name="Wenwen Zhang" userId="9dd81366-5d6f-445a-b031-6ea562624431" providerId="ADAL" clId="{D6FBF965-026B-43DA-A554-C6861A0A35E4}" dt="2023-02-02T10:58:17.671" v="116784"/>
          <ac:spMkLst>
            <pc:docMk/>
            <pc:sldMk cId="2167517715" sldId="2134804372"/>
            <ac:spMk id="153" creationId="{2DCEC7EB-AE05-FB39-F0CF-BFF20DCA8FD8}"/>
          </ac:spMkLst>
        </pc:spChg>
        <pc:spChg chg="add del mod ord replST">
          <ac:chgData name="Wenwen Zhang" userId="9dd81366-5d6f-445a-b031-6ea562624431" providerId="ADAL" clId="{D6FBF965-026B-43DA-A554-C6861A0A35E4}" dt="2023-02-02T11:49:36.341" v="120463"/>
          <ac:spMkLst>
            <pc:docMk/>
            <pc:sldMk cId="2167517715" sldId="2134804372"/>
            <ac:spMk id="154" creationId="{96DB64E7-7450-5BAA-7DCA-6F75AE12EF02}"/>
          </ac:spMkLst>
        </pc:spChg>
        <pc:spChg chg="add del mod modVis">
          <ac:chgData name="Wenwen Zhang" userId="9dd81366-5d6f-445a-b031-6ea562624431" providerId="ADAL" clId="{D6FBF965-026B-43DA-A554-C6861A0A35E4}" dt="2023-02-02T10:58:20.846" v="117053"/>
          <ac:spMkLst>
            <pc:docMk/>
            <pc:sldMk cId="2167517715" sldId="2134804372"/>
            <ac:spMk id="159" creationId="{1AAE68D3-E548-F0FA-9C2B-EDE3C6E46D53}"/>
          </ac:spMkLst>
        </pc:spChg>
        <pc:spChg chg="add del mod modVis">
          <ac:chgData name="Wenwen Zhang" userId="9dd81366-5d6f-445a-b031-6ea562624431" providerId="ADAL" clId="{D6FBF965-026B-43DA-A554-C6861A0A35E4}" dt="2023-02-01T20:49:48.450" v="63746"/>
          <ac:spMkLst>
            <pc:docMk/>
            <pc:sldMk cId="2167517715" sldId="2134804372"/>
            <ac:spMk id="159" creationId="{D0BE3C70-A5B2-3AA0-EEE6-75EE4AD8016B}"/>
          </ac:spMkLst>
        </pc:spChg>
        <pc:spChg chg="add mod ord replST">
          <ac:chgData name="Wenwen Zhang" userId="9dd81366-5d6f-445a-b031-6ea562624431" providerId="ADAL" clId="{D6FBF965-026B-43DA-A554-C6861A0A35E4}" dt="2023-02-02T11:49:36.341" v="120465"/>
          <ac:spMkLst>
            <pc:docMk/>
            <pc:sldMk cId="2167517715" sldId="2134804372"/>
            <ac:spMk id="160" creationId="{96DB64E7-7450-5BAA-7DCA-6F75AE12EF02}"/>
          </ac:spMkLst>
        </pc:spChg>
        <pc:spChg chg="add del mod modVis">
          <ac:chgData name="Wenwen Zhang" userId="9dd81366-5d6f-445a-b031-6ea562624431" providerId="ADAL" clId="{D6FBF965-026B-43DA-A554-C6861A0A35E4}" dt="2023-02-01T20:49:55.961" v="63938"/>
          <ac:spMkLst>
            <pc:docMk/>
            <pc:sldMk cId="2167517715" sldId="2134804372"/>
            <ac:spMk id="161" creationId="{FCE63455-83CE-92EE-CF38-78C34D283991}"/>
          </ac:spMkLst>
        </pc:spChg>
        <pc:spChg chg="add del mod modVis">
          <ac:chgData name="Wenwen Zhang" userId="9dd81366-5d6f-445a-b031-6ea562624431" providerId="ADAL" clId="{D6FBF965-026B-43DA-A554-C6861A0A35E4}" dt="2023-02-01T20:50:11.252" v="64130"/>
          <ac:spMkLst>
            <pc:docMk/>
            <pc:sldMk cId="2167517715" sldId="2134804372"/>
            <ac:spMk id="163" creationId="{A1307CCA-372F-5D9F-4AD2-8496270375F6}"/>
          </ac:spMkLst>
        </pc:spChg>
        <pc:spChg chg="add del mod modVis">
          <ac:chgData name="Wenwen Zhang" userId="9dd81366-5d6f-445a-b031-6ea562624431" providerId="ADAL" clId="{D6FBF965-026B-43DA-A554-C6861A0A35E4}" dt="2023-02-02T10:58:23.620" v="117331"/>
          <ac:spMkLst>
            <pc:docMk/>
            <pc:sldMk cId="2167517715" sldId="2134804372"/>
            <ac:spMk id="165" creationId="{6F779297-E5FD-2CDA-04A6-2CA1D0D0DAB8}"/>
          </ac:spMkLst>
        </pc:spChg>
        <pc:spChg chg="add del mod modVis">
          <ac:chgData name="Wenwen Zhang" userId="9dd81366-5d6f-445a-b031-6ea562624431" providerId="ADAL" clId="{D6FBF965-026B-43DA-A554-C6861A0A35E4}" dt="2023-02-01T20:50:21.936" v="64322"/>
          <ac:spMkLst>
            <pc:docMk/>
            <pc:sldMk cId="2167517715" sldId="2134804372"/>
            <ac:spMk id="165" creationId="{F5AA4ED2-0D3F-8200-0BE9-45216F9CC76B}"/>
          </ac:spMkLst>
        </pc:spChg>
        <pc:spChg chg="add del mod ord replST">
          <ac:chgData name="Wenwen Zhang" userId="9dd81366-5d6f-445a-b031-6ea562624431" providerId="ADAL" clId="{D6FBF965-026B-43DA-A554-C6861A0A35E4}" dt="2023-02-02T11:49:27.486" v="120190"/>
          <ac:spMkLst>
            <pc:docMk/>
            <pc:sldMk cId="2167517715" sldId="2134804372"/>
            <ac:spMk id="166" creationId="{96DB64E7-7450-5BAA-7DCA-6F75AE12EF02}"/>
          </ac:spMkLst>
        </pc:spChg>
        <pc:spChg chg="add del mod modVis">
          <ac:chgData name="Wenwen Zhang" userId="9dd81366-5d6f-445a-b031-6ea562624431" providerId="ADAL" clId="{D6FBF965-026B-43DA-A554-C6861A0A35E4}" dt="2023-02-01T22:03:40.734" v="92570"/>
          <ac:spMkLst>
            <pc:docMk/>
            <pc:sldMk cId="2167517715" sldId="2134804372"/>
            <ac:spMk id="167" creationId="{A530B778-D4FC-6CB4-C48A-EA493F06A37D}"/>
          </ac:spMkLst>
        </pc:spChg>
        <pc:spChg chg="add del mod modVis">
          <ac:chgData name="Wenwen Zhang" userId="9dd81366-5d6f-445a-b031-6ea562624431" providerId="ADAL" clId="{D6FBF965-026B-43DA-A554-C6861A0A35E4}" dt="2023-02-02T11:25:45.612" v="117672"/>
          <ac:spMkLst>
            <pc:docMk/>
            <pc:sldMk cId="2167517715" sldId="2134804372"/>
            <ac:spMk id="171" creationId="{A2472727-DBD9-5DAD-CD23-89554D2936F5}"/>
          </ac:spMkLst>
        </pc:spChg>
        <pc:spChg chg="add del mod modVis">
          <ac:chgData name="Wenwen Zhang" userId="9dd81366-5d6f-445a-b031-6ea562624431" providerId="ADAL" clId="{D6FBF965-026B-43DA-A554-C6861A0A35E4}" dt="2023-02-02T11:49:27.550" v="120301"/>
          <ac:spMkLst>
            <pc:docMk/>
            <pc:sldMk cId="2167517715" sldId="2134804372"/>
            <ac:spMk id="173" creationId="{4ED126BD-2F07-7A14-8A0A-5B960219E10B}"/>
          </ac:spMkLst>
        </pc:spChg>
        <pc:spChg chg="add del mod modVis">
          <ac:chgData name="Wenwen Zhang" userId="9dd81366-5d6f-445a-b031-6ea562624431" providerId="ADAL" clId="{D6FBF965-026B-43DA-A554-C6861A0A35E4}" dt="2023-02-02T11:49:36.359" v="120481"/>
          <ac:spMkLst>
            <pc:docMk/>
            <pc:sldMk cId="2167517715" sldId="2134804372"/>
            <ac:spMk id="175" creationId="{2B517188-445B-06C5-C659-28973CECFDDB}"/>
          </ac:spMkLst>
        </pc:spChg>
        <pc:spChg chg="add del mod replST">
          <ac:chgData name="Wenwen Zhang" userId="9dd81366-5d6f-445a-b031-6ea562624431" providerId="ADAL" clId="{D6FBF965-026B-43DA-A554-C6861A0A35E4}" dt="2023-02-02T10:54:04.906" v="114863"/>
          <ac:spMkLst>
            <pc:docMk/>
            <pc:sldMk cId="2167517715" sldId="2134804372"/>
            <ac:spMk id="323" creationId="{6F484013-253E-E581-03A0-B4028D160D18}"/>
          </ac:spMkLst>
        </pc:spChg>
        <pc:spChg chg="add del mod replST">
          <ac:chgData name="Wenwen Zhang" userId="9dd81366-5d6f-445a-b031-6ea562624431" providerId="ADAL" clId="{D6FBF965-026B-43DA-A554-C6861A0A35E4}" dt="2023-02-02T10:54:04.908" v="114870"/>
          <ac:spMkLst>
            <pc:docMk/>
            <pc:sldMk cId="2167517715" sldId="2134804372"/>
            <ac:spMk id="324" creationId="{965931EA-BDF3-56E9-E865-7462ABBCF3B5}"/>
          </ac:spMkLst>
        </pc:spChg>
        <pc:spChg chg="add del mod replST">
          <ac:chgData name="Wenwen Zhang" userId="9dd81366-5d6f-445a-b031-6ea562624431" providerId="ADAL" clId="{D6FBF965-026B-43DA-A554-C6861A0A35E4}" dt="2023-02-02T10:54:04.906" v="114862"/>
          <ac:spMkLst>
            <pc:docMk/>
            <pc:sldMk cId="2167517715" sldId="2134804372"/>
            <ac:spMk id="325" creationId="{0C09649D-DD27-AFDE-8348-477F6996DF7A}"/>
          </ac:spMkLst>
        </pc:spChg>
        <pc:spChg chg="add del mod replST">
          <ac:chgData name="Wenwen Zhang" userId="9dd81366-5d6f-445a-b031-6ea562624431" providerId="ADAL" clId="{D6FBF965-026B-43DA-A554-C6861A0A35E4}" dt="2023-02-02T08:19:07.699" v="106595"/>
          <ac:spMkLst>
            <pc:docMk/>
            <pc:sldMk cId="2167517715" sldId="2134804372"/>
            <ac:spMk id="326" creationId="{A14CAEC3-9EA7-74E5-BF35-4DF83FCD08EF}"/>
          </ac:spMkLst>
        </pc:spChg>
        <pc:spChg chg="add del mod replST">
          <ac:chgData name="Wenwen Zhang" userId="9dd81366-5d6f-445a-b031-6ea562624431" providerId="ADAL" clId="{D6FBF965-026B-43DA-A554-C6861A0A35E4}" dt="2023-02-02T08:19:03.646" v="106144"/>
          <ac:spMkLst>
            <pc:docMk/>
            <pc:sldMk cId="2167517715" sldId="2134804372"/>
            <ac:spMk id="327" creationId="{6F944439-CDCE-4BBF-D336-C485A77F0D16}"/>
          </ac:spMkLst>
        </pc:spChg>
        <pc:spChg chg="add del mod ord replST">
          <ac:chgData name="Wenwen Zhang" userId="9dd81366-5d6f-445a-b031-6ea562624431" providerId="ADAL" clId="{D6FBF965-026B-43DA-A554-C6861A0A35E4}" dt="2023-02-02T08:19:07.698" v="106594"/>
          <ac:spMkLst>
            <pc:docMk/>
            <pc:sldMk cId="2167517715" sldId="2134804372"/>
            <ac:spMk id="328" creationId="{7192589A-3AE1-B4E5-3E9D-DD7C1DDAC7B9}"/>
          </ac:spMkLst>
        </pc:spChg>
        <pc:spChg chg="add del mod ord replST">
          <ac:chgData name="Wenwen Zhang" userId="9dd81366-5d6f-445a-b031-6ea562624431" providerId="ADAL" clId="{D6FBF965-026B-43DA-A554-C6861A0A35E4}" dt="2023-02-01T22:04:07.922" v="93777"/>
          <ac:spMkLst>
            <pc:docMk/>
            <pc:sldMk cId="2167517715" sldId="2134804372"/>
            <ac:spMk id="329" creationId="{366851DD-3458-207D-D08A-038A4DFDA825}"/>
          </ac:spMkLst>
        </pc:spChg>
        <pc:spChg chg="add del mod ord replST">
          <ac:chgData name="Wenwen Zhang" userId="9dd81366-5d6f-445a-b031-6ea562624431" providerId="ADAL" clId="{D6FBF965-026B-43DA-A554-C6861A0A35E4}" dt="2023-02-02T08:19:03.645" v="106143"/>
          <ac:spMkLst>
            <pc:docMk/>
            <pc:sldMk cId="2167517715" sldId="2134804372"/>
            <ac:spMk id="330" creationId="{E19C9552-0C8E-5FE4-0916-643B18224BC6}"/>
          </ac:spMkLst>
        </pc:spChg>
        <pc:spChg chg="add del mod ord replST">
          <ac:chgData name="Wenwen Zhang" userId="9dd81366-5d6f-445a-b031-6ea562624431" providerId="ADAL" clId="{D6FBF965-026B-43DA-A554-C6861A0A35E4}" dt="2023-02-01T22:04:07.925" v="93785"/>
          <ac:spMkLst>
            <pc:docMk/>
            <pc:sldMk cId="2167517715" sldId="2134804372"/>
            <ac:spMk id="331" creationId="{5C8CA2F7-8CDE-9E51-1237-BCC0D565B8E8}"/>
          </ac:spMkLst>
        </pc:spChg>
        <pc:spChg chg="add del mod ord replST">
          <ac:chgData name="Wenwen Zhang" userId="9dd81366-5d6f-445a-b031-6ea562624431" providerId="ADAL" clId="{D6FBF965-026B-43DA-A554-C6861A0A35E4}" dt="2023-02-02T10:54:04.905" v="114859"/>
          <ac:spMkLst>
            <pc:docMk/>
            <pc:sldMk cId="2167517715" sldId="2134804372"/>
            <ac:spMk id="332" creationId="{26669B57-55F1-52B5-6A63-F528B39740F2}"/>
          </ac:spMkLst>
        </pc:spChg>
        <pc:spChg chg="add del mod ord replST">
          <ac:chgData name="Wenwen Zhang" userId="9dd81366-5d6f-445a-b031-6ea562624431" providerId="ADAL" clId="{D6FBF965-026B-43DA-A554-C6861A0A35E4}" dt="2023-02-01T22:04:07.927" v="93793"/>
          <ac:spMkLst>
            <pc:docMk/>
            <pc:sldMk cId="2167517715" sldId="2134804372"/>
            <ac:spMk id="333" creationId="{51E40549-2C8C-24FA-E7D8-3AE136BD3843}"/>
          </ac:spMkLst>
        </pc:spChg>
        <pc:spChg chg="add del mod ord replST">
          <ac:chgData name="Wenwen Zhang" userId="9dd81366-5d6f-445a-b031-6ea562624431" providerId="ADAL" clId="{D6FBF965-026B-43DA-A554-C6861A0A35E4}" dt="2023-02-02T10:54:04.898" v="114851"/>
          <ac:spMkLst>
            <pc:docMk/>
            <pc:sldMk cId="2167517715" sldId="2134804372"/>
            <ac:spMk id="334" creationId="{F6E66B55-0C6C-88B9-F8D7-6B8AEA0DBD6A}"/>
          </ac:spMkLst>
        </pc:spChg>
        <pc:spChg chg="add del mod ord replST">
          <ac:chgData name="Wenwen Zhang" userId="9dd81366-5d6f-445a-b031-6ea562624431" providerId="ADAL" clId="{D6FBF965-026B-43DA-A554-C6861A0A35E4}" dt="2023-02-01T22:04:07.929" v="93801"/>
          <ac:spMkLst>
            <pc:docMk/>
            <pc:sldMk cId="2167517715" sldId="2134804372"/>
            <ac:spMk id="335" creationId="{755B747D-2BF9-31FE-9797-78B25B3E6641}"/>
          </ac:spMkLst>
        </pc:spChg>
        <pc:spChg chg="add del mod ord replST">
          <ac:chgData name="Wenwen Zhang" userId="9dd81366-5d6f-445a-b031-6ea562624431" providerId="ADAL" clId="{D6FBF965-026B-43DA-A554-C6861A0A35E4}" dt="2023-02-01T22:04:12.355" v="94164"/>
          <ac:spMkLst>
            <pc:docMk/>
            <pc:sldMk cId="2167517715" sldId="2134804372"/>
            <ac:spMk id="336" creationId="{F6C3B7FB-4216-8B5E-28DC-E012C62A0CCF}"/>
          </ac:spMkLst>
        </pc:spChg>
        <pc:spChg chg="add del mod ord replST">
          <ac:chgData name="Wenwen Zhang" userId="9dd81366-5d6f-445a-b031-6ea562624431" providerId="ADAL" clId="{D6FBF965-026B-43DA-A554-C6861A0A35E4}" dt="2023-02-01T22:04:07.920" v="93768"/>
          <ac:spMkLst>
            <pc:docMk/>
            <pc:sldMk cId="2167517715" sldId="2134804372"/>
            <ac:spMk id="337" creationId="{0B039A74-66AA-17D4-D4DC-6DBF6ADC9823}"/>
          </ac:spMkLst>
        </pc:spChg>
        <pc:spChg chg="add del mod ord replST">
          <ac:chgData name="Wenwen Zhang" userId="9dd81366-5d6f-445a-b031-6ea562624431" providerId="ADAL" clId="{D6FBF965-026B-43DA-A554-C6861A0A35E4}" dt="2023-02-02T10:54:04.907" v="114868"/>
          <ac:spMkLst>
            <pc:docMk/>
            <pc:sldMk cId="2167517715" sldId="2134804372"/>
            <ac:spMk id="338" creationId="{F08E1005-6A09-A50A-C9F7-85B5D8EE13C5}"/>
          </ac:spMkLst>
        </pc:spChg>
        <pc:spChg chg="add del mod ord replST">
          <ac:chgData name="Wenwen Zhang" userId="9dd81366-5d6f-445a-b031-6ea562624431" providerId="ADAL" clId="{D6FBF965-026B-43DA-A554-C6861A0A35E4}" dt="2023-02-02T10:54:04.906" v="114865"/>
          <ac:spMkLst>
            <pc:docMk/>
            <pc:sldMk cId="2167517715" sldId="2134804372"/>
            <ac:spMk id="340" creationId="{9B50B206-BED4-F3E7-3B3D-50384C21E1E9}"/>
          </ac:spMkLst>
        </pc:spChg>
        <pc:spChg chg="add del mod replST">
          <ac:chgData name="Wenwen Zhang" userId="9dd81366-5d6f-445a-b031-6ea562624431" providerId="ADAL" clId="{D6FBF965-026B-43DA-A554-C6861A0A35E4}" dt="2023-02-02T10:54:04.907" v="114869"/>
          <ac:spMkLst>
            <pc:docMk/>
            <pc:sldMk cId="2167517715" sldId="2134804372"/>
            <ac:spMk id="341" creationId="{A3C23107-4FBA-6836-F510-254674941C0B}"/>
          </ac:spMkLst>
        </pc:spChg>
        <pc:spChg chg="add del mod replST">
          <ac:chgData name="Wenwen Zhang" userId="9dd81366-5d6f-445a-b031-6ea562624431" providerId="ADAL" clId="{D6FBF965-026B-43DA-A554-C6861A0A35E4}" dt="2023-02-01T22:04:07.921" v="93769"/>
          <ac:spMkLst>
            <pc:docMk/>
            <pc:sldMk cId="2167517715" sldId="2134804372"/>
            <ac:spMk id="342" creationId="{50DB6A7C-7D07-BF25-9163-F2AD9AC74A69}"/>
          </ac:spMkLst>
        </pc:spChg>
        <pc:spChg chg="add del mod replST">
          <ac:chgData name="Wenwen Zhang" userId="9dd81366-5d6f-445a-b031-6ea562624431" providerId="ADAL" clId="{D6FBF965-026B-43DA-A554-C6861A0A35E4}" dt="2023-02-01T22:04:12.355" v="94165"/>
          <ac:spMkLst>
            <pc:docMk/>
            <pc:sldMk cId="2167517715" sldId="2134804372"/>
            <ac:spMk id="343" creationId="{5EFA1943-9369-5199-DF8F-C4C20FF1CB3F}"/>
          </ac:spMkLst>
        </pc:spChg>
        <pc:spChg chg="add del mod replST">
          <ac:chgData name="Wenwen Zhang" userId="9dd81366-5d6f-445a-b031-6ea562624431" providerId="ADAL" clId="{D6FBF965-026B-43DA-A554-C6861A0A35E4}" dt="2023-02-02T10:54:04.906" v="114866"/>
          <ac:spMkLst>
            <pc:docMk/>
            <pc:sldMk cId="2167517715" sldId="2134804372"/>
            <ac:spMk id="344" creationId="{DC40C3A7-862D-8B2F-C23C-5D68F58F9162}"/>
          </ac:spMkLst>
        </pc:spChg>
        <pc:spChg chg="add del mod modVis">
          <ac:chgData name="Wenwen Zhang" userId="9dd81366-5d6f-445a-b031-6ea562624431" providerId="ADAL" clId="{D6FBF965-026B-43DA-A554-C6861A0A35E4}" dt="2023-02-01T22:03:52.038" v="93764"/>
          <ac:spMkLst>
            <pc:docMk/>
            <pc:sldMk cId="2167517715" sldId="2134804372"/>
            <ac:spMk id="345" creationId="{A9D9C4DC-7D85-E409-EABF-8A77FC4251CA}"/>
          </ac:spMkLst>
        </pc:spChg>
        <pc:spChg chg="add del mod modVis">
          <ac:chgData name="Wenwen Zhang" userId="9dd81366-5d6f-445a-b031-6ea562624431" providerId="ADAL" clId="{D6FBF965-026B-43DA-A554-C6861A0A35E4}" dt="2023-02-01T22:04:08.055" v="94160"/>
          <ac:spMkLst>
            <pc:docMk/>
            <pc:sldMk cId="2167517715" sldId="2134804372"/>
            <ac:spMk id="347" creationId="{969EDDA4-5D55-D7E9-DF19-CD9B669041DA}"/>
          </ac:spMkLst>
        </pc:spChg>
        <pc:spChg chg="add del mod modVis">
          <ac:chgData name="Wenwen Zhang" userId="9dd81366-5d6f-445a-b031-6ea562624431" providerId="ADAL" clId="{D6FBF965-026B-43DA-A554-C6861A0A35E4}" dt="2023-02-01T22:04:12.487" v="94491"/>
          <ac:spMkLst>
            <pc:docMk/>
            <pc:sldMk cId="2167517715" sldId="2134804372"/>
            <ac:spMk id="349" creationId="{4EFD7692-39E1-DE5C-4537-166BBDBAB3CE}"/>
          </ac:spMkLst>
        </pc:spChg>
        <pc:spChg chg="add del mod modVis">
          <ac:chgData name="Wenwen Zhang" userId="9dd81366-5d6f-445a-b031-6ea562624431" providerId="ADAL" clId="{D6FBF965-026B-43DA-A554-C6861A0A35E4}" dt="2023-02-01T22:04:18.833" v="94728"/>
          <ac:spMkLst>
            <pc:docMk/>
            <pc:sldMk cId="2167517715" sldId="2134804372"/>
            <ac:spMk id="351" creationId="{524F8E15-7CCC-7EC9-6D4E-C2F6243B2898}"/>
          </ac:spMkLst>
        </pc:spChg>
        <pc:spChg chg="add del mod modVis">
          <ac:chgData name="Wenwen Zhang" userId="9dd81366-5d6f-445a-b031-6ea562624431" providerId="ADAL" clId="{D6FBF965-026B-43DA-A554-C6861A0A35E4}" dt="2023-02-01T22:04:23.430" v="94965"/>
          <ac:spMkLst>
            <pc:docMk/>
            <pc:sldMk cId="2167517715" sldId="2134804372"/>
            <ac:spMk id="353" creationId="{8144A59B-49CE-6357-E4E1-3F285C215F1B}"/>
          </ac:spMkLst>
        </pc:spChg>
        <pc:spChg chg="add del mod modVis">
          <ac:chgData name="Wenwen Zhang" userId="9dd81366-5d6f-445a-b031-6ea562624431" providerId="ADAL" clId="{D6FBF965-026B-43DA-A554-C6861A0A35E4}" dt="2023-02-01T22:07:16.078" v="95192"/>
          <ac:spMkLst>
            <pc:docMk/>
            <pc:sldMk cId="2167517715" sldId="2134804372"/>
            <ac:spMk id="355" creationId="{F748C0D5-6775-98CD-4CC8-3802E4EA0EAA}"/>
          </ac:spMkLst>
        </pc:spChg>
        <pc:spChg chg="add del mod modVis">
          <ac:chgData name="Wenwen Zhang" userId="9dd81366-5d6f-445a-b031-6ea562624431" providerId="ADAL" clId="{D6FBF965-026B-43DA-A554-C6861A0A35E4}" dt="2023-02-01T22:07:33.105" v="95456"/>
          <ac:spMkLst>
            <pc:docMk/>
            <pc:sldMk cId="2167517715" sldId="2134804372"/>
            <ac:spMk id="357" creationId="{FD6EC4E3-69EB-CA24-5FF9-9785441BCC7E}"/>
          </ac:spMkLst>
        </pc:spChg>
        <pc:spChg chg="add del mod modVis">
          <ac:chgData name="Wenwen Zhang" userId="9dd81366-5d6f-445a-b031-6ea562624431" providerId="ADAL" clId="{D6FBF965-026B-43DA-A554-C6861A0A35E4}" dt="2023-02-01T22:08:23.713" v="95732"/>
          <ac:spMkLst>
            <pc:docMk/>
            <pc:sldMk cId="2167517715" sldId="2134804372"/>
            <ac:spMk id="359" creationId="{15D0291D-50EB-E4A7-8919-6786C8148457}"/>
          </ac:spMkLst>
        </pc:spChg>
        <pc:spChg chg="add del mod modVis">
          <ac:chgData name="Wenwen Zhang" userId="9dd81366-5d6f-445a-b031-6ea562624431" providerId="ADAL" clId="{D6FBF965-026B-43DA-A554-C6861A0A35E4}" dt="2023-02-01T22:08:32.566" v="95996"/>
          <ac:spMkLst>
            <pc:docMk/>
            <pc:sldMk cId="2167517715" sldId="2134804372"/>
            <ac:spMk id="361" creationId="{88764124-5B2B-6810-03BB-3B55EF601BA9}"/>
          </ac:spMkLst>
        </pc:spChg>
        <pc:spChg chg="add del mod modVis">
          <ac:chgData name="Wenwen Zhang" userId="9dd81366-5d6f-445a-b031-6ea562624431" providerId="ADAL" clId="{D6FBF965-026B-43DA-A554-C6861A0A35E4}" dt="2023-02-01T22:08:47.836" v="96272"/>
          <ac:spMkLst>
            <pc:docMk/>
            <pc:sldMk cId="2167517715" sldId="2134804372"/>
            <ac:spMk id="363" creationId="{624F1321-2EC2-7160-2AC0-DA5798969955}"/>
          </ac:spMkLst>
        </pc:spChg>
        <pc:spChg chg="add del mod modVis">
          <ac:chgData name="Wenwen Zhang" userId="9dd81366-5d6f-445a-b031-6ea562624431" providerId="ADAL" clId="{D6FBF965-026B-43DA-A554-C6861A0A35E4}" dt="2023-02-01T22:08:54.518" v="96536"/>
          <ac:spMkLst>
            <pc:docMk/>
            <pc:sldMk cId="2167517715" sldId="2134804372"/>
            <ac:spMk id="365" creationId="{22A17E21-DBE9-19E9-8BF1-0A9BFE71A83B}"/>
          </ac:spMkLst>
        </pc:spChg>
        <pc:spChg chg="add del mod modVis">
          <ac:chgData name="Wenwen Zhang" userId="9dd81366-5d6f-445a-b031-6ea562624431" providerId="ADAL" clId="{D6FBF965-026B-43DA-A554-C6861A0A35E4}" dt="2023-02-01T22:09:18.706" v="96812"/>
          <ac:spMkLst>
            <pc:docMk/>
            <pc:sldMk cId="2167517715" sldId="2134804372"/>
            <ac:spMk id="367" creationId="{62E3BEB4-328C-EA0F-1598-FB2B5BE74F40}"/>
          </ac:spMkLst>
        </pc:spChg>
        <pc:spChg chg="add del mod replST">
          <ac:chgData name="Wenwen Zhang" userId="9dd81366-5d6f-445a-b031-6ea562624431" providerId="ADAL" clId="{D6FBF965-026B-43DA-A554-C6861A0A35E4}" dt="2023-02-01T22:09:33.346" v="97160"/>
          <ac:spMkLst>
            <pc:docMk/>
            <pc:sldMk cId="2167517715" sldId="2134804372"/>
            <ac:spMk id="369" creationId="{4A488761-2543-C153-C733-DBB762F4EE16}"/>
          </ac:spMkLst>
        </pc:spChg>
        <pc:spChg chg="add del mod modVis">
          <ac:chgData name="Wenwen Zhang" userId="9dd81366-5d6f-445a-b031-6ea562624431" providerId="ADAL" clId="{D6FBF965-026B-43DA-A554-C6861A0A35E4}" dt="2023-02-01T22:09:26.877" v="97156"/>
          <ac:spMkLst>
            <pc:docMk/>
            <pc:sldMk cId="2167517715" sldId="2134804372"/>
            <ac:spMk id="370" creationId="{802B8945-0A87-154B-25A2-87B8B74A8557}"/>
          </ac:spMkLst>
        </pc:spChg>
        <pc:spChg chg="add del mod replST">
          <ac:chgData name="Wenwen Zhang" userId="9dd81366-5d6f-445a-b031-6ea562624431" providerId="ADAL" clId="{D6FBF965-026B-43DA-A554-C6861A0A35E4}" dt="2023-02-01T22:09:33.346" v="97159"/>
          <ac:spMkLst>
            <pc:docMk/>
            <pc:sldMk cId="2167517715" sldId="2134804372"/>
            <ac:spMk id="372" creationId="{CA1610F6-85A4-17FF-6820-20F2C85579AF}"/>
          </ac:spMkLst>
        </pc:spChg>
        <pc:spChg chg="add del mod modVis">
          <ac:chgData name="Wenwen Zhang" userId="9dd81366-5d6f-445a-b031-6ea562624431" providerId="ADAL" clId="{D6FBF965-026B-43DA-A554-C6861A0A35E4}" dt="2023-02-01T22:09:33.522" v="97503"/>
          <ac:spMkLst>
            <pc:docMk/>
            <pc:sldMk cId="2167517715" sldId="2134804372"/>
            <ac:spMk id="373" creationId="{CF7E0DC0-179C-3111-1AB4-9E19C77D769D}"/>
          </ac:spMkLst>
        </pc:spChg>
        <pc:spChg chg="add del mod modVis">
          <ac:chgData name="Wenwen Zhang" userId="9dd81366-5d6f-445a-b031-6ea562624431" providerId="ADAL" clId="{D6FBF965-026B-43DA-A554-C6861A0A35E4}" dt="2023-02-01T22:11:16.809" v="97737"/>
          <ac:spMkLst>
            <pc:docMk/>
            <pc:sldMk cId="2167517715" sldId="2134804372"/>
            <ac:spMk id="375" creationId="{444A1BF5-8CA4-2AC2-6AE1-0FCC8B12777C}"/>
          </ac:spMkLst>
        </pc:spChg>
        <pc:spChg chg="add del mod modVis">
          <ac:chgData name="Wenwen Zhang" userId="9dd81366-5d6f-445a-b031-6ea562624431" providerId="ADAL" clId="{D6FBF965-026B-43DA-A554-C6861A0A35E4}" dt="2023-02-01T22:11:39.813" v="97921"/>
          <ac:spMkLst>
            <pc:docMk/>
            <pc:sldMk cId="2167517715" sldId="2134804372"/>
            <ac:spMk id="377" creationId="{F2EE31CF-0E13-3BFC-6197-17AF4D0C8A15}"/>
          </ac:spMkLst>
        </pc:spChg>
        <pc:spChg chg="add del mod modVis">
          <ac:chgData name="Wenwen Zhang" userId="9dd81366-5d6f-445a-b031-6ea562624431" providerId="ADAL" clId="{D6FBF965-026B-43DA-A554-C6861A0A35E4}" dt="2023-02-01T22:11:46.288" v="98141"/>
          <ac:spMkLst>
            <pc:docMk/>
            <pc:sldMk cId="2167517715" sldId="2134804372"/>
            <ac:spMk id="379" creationId="{4C70E2DF-5AFD-34EA-315A-BCBC188DED85}"/>
          </ac:spMkLst>
        </pc:spChg>
        <pc:spChg chg="add del mod ord">
          <ac:chgData name="Wenwen Zhang" userId="9dd81366-5d6f-445a-b031-6ea562624431" providerId="ADAL" clId="{D6FBF965-026B-43DA-A554-C6861A0A35E4}" dt="2023-02-02T10:54:07.749" v="114972" actId="478"/>
          <ac:spMkLst>
            <pc:docMk/>
            <pc:sldMk cId="2167517715" sldId="2134804372"/>
            <ac:spMk id="381" creationId="{AB8C4CB0-D83A-0AAC-B948-8DFD25EFA23F}"/>
          </ac:spMkLst>
        </pc:spChg>
        <pc:spChg chg="add del mod modVis">
          <ac:chgData name="Wenwen Zhang" userId="9dd81366-5d6f-445a-b031-6ea562624431" providerId="ADAL" clId="{D6FBF965-026B-43DA-A554-C6861A0A35E4}" dt="2023-02-01T22:13:06.571" v="98344"/>
          <ac:spMkLst>
            <pc:docMk/>
            <pc:sldMk cId="2167517715" sldId="2134804372"/>
            <ac:spMk id="382" creationId="{E3A30514-7951-7DCA-E78D-58C00FA024AB}"/>
          </ac:spMkLst>
        </pc:spChg>
        <pc:spChg chg="add del mod modVis">
          <ac:chgData name="Wenwen Zhang" userId="9dd81366-5d6f-445a-b031-6ea562624431" providerId="ADAL" clId="{D6FBF965-026B-43DA-A554-C6861A0A35E4}" dt="2023-02-01T22:13:11.082" v="98489"/>
          <ac:spMkLst>
            <pc:docMk/>
            <pc:sldMk cId="2167517715" sldId="2134804372"/>
            <ac:spMk id="384" creationId="{096FDE8C-4394-94F5-97BA-89B14C30C024}"/>
          </ac:spMkLst>
        </pc:spChg>
        <pc:spChg chg="add del mod modVis">
          <ac:chgData name="Wenwen Zhang" userId="9dd81366-5d6f-445a-b031-6ea562624431" providerId="ADAL" clId="{D6FBF965-026B-43DA-A554-C6861A0A35E4}" dt="2023-02-01T22:13:17.189" v="98704"/>
          <ac:spMkLst>
            <pc:docMk/>
            <pc:sldMk cId="2167517715" sldId="2134804372"/>
            <ac:spMk id="386" creationId="{56933F6B-3724-78CB-172A-D656E10EEB24}"/>
          </ac:spMkLst>
        </pc:spChg>
        <pc:spChg chg="add del mod modVis">
          <ac:chgData name="Wenwen Zhang" userId="9dd81366-5d6f-445a-b031-6ea562624431" providerId="ADAL" clId="{D6FBF965-026B-43DA-A554-C6861A0A35E4}" dt="2023-02-01T22:13:22.642" v="98849"/>
          <ac:spMkLst>
            <pc:docMk/>
            <pc:sldMk cId="2167517715" sldId="2134804372"/>
            <ac:spMk id="388" creationId="{889EEE88-70A2-F9E6-7709-F9235073FEED}"/>
          </ac:spMkLst>
        </pc:spChg>
        <pc:spChg chg="add del mod modVis">
          <ac:chgData name="Wenwen Zhang" userId="9dd81366-5d6f-445a-b031-6ea562624431" providerId="ADAL" clId="{D6FBF965-026B-43DA-A554-C6861A0A35E4}" dt="2023-02-01T22:14:17.077" v="99084"/>
          <ac:spMkLst>
            <pc:docMk/>
            <pc:sldMk cId="2167517715" sldId="2134804372"/>
            <ac:spMk id="390" creationId="{A727849A-F7DA-3D61-E994-5101A526AE87}"/>
          </ac:spMkLst>
        </pc:spChg>
        <pc:spChg chg="add del mod modVis">
          <ac:chgData name="Wenwen Zhang" userId="9dd81366-5d6f-445a-b031-6ea562624431" providerId="ADAL" clId="{D6FBF965-026B-43DA-A554-C6861A0A35E4}" dt="2023-02-01T22:15:13.498" v="100126"/>
          <ac:spMkLst>
            <pc:docMk/>
            <pc:sldMk cId="2167517715" sldId="2134804372"/>
            <ac:spMk id="392" creationId="{D9327B78-8A2A-535F-240F-60F49DBBA6AE}"/>
          </ac:spMkLst>
        </pc:spChg>
        <pc:spChg chg="add mod ord replST delST">
          <ac:chgData name="Wenwen Zhang" userId="9dd81366-5d6f-445a-b031-6ea562624431" providerId="ADAL" clId="{D6FBF965-026B-43DA-A554-C6861A0A35E4}" dt="2023-02-01T22:15:13.498" v="100126"/>
          <ac:spMkLst>
            <pc:docMk/>
            <pc:sldMk cId="2167517715" sldId="2134804372"/>
            <ac:spMk id="393" creationId="{96DB64E7-7450-5BAA-7DCA-6F75AE12EF02}"/>
          </ac:spMkLst>
        </pc:spChg>
        <pc:spChg chg="add del mod modVis">
          <ac:chgData name="Wenwen Zhang" userId="9dd81366-5d6f-445a-b031-6ea562624431" providerId="ADAL" clId="{D6FBF965-026B-43DA-A554-C6861A0A35E4}" dt="2023-02-01T22:15:13.012" v="99913"/>
          <ac:spMkLst>
            <pc:docMk/>
            <pc:sldMk cId="2167517715" sldId="2134804372"/>
            <ac:spMk id="398" creationId="{2BE0EA9B-0981-8F3E-FE16-FC8913E669BC}"/>
          </ac:spMkLst>
        </pc:spChg>
        <pc:spChg chg="add mod ord replST delST">
          <ac:chgData name="Wenwen Zhang" userId="9dd81366-5d6f-445a-b031-6ea562624431" providerId="ADAL" clId="{D6FBF965-026B-43DA-A554-C6861A0A35E4}" dt="2023-02-01T22:15:13.012" v="99913"/>
          <ac:spMkLst>
            <pc:docMk/>
            <pc:sldMk cId="2167517715" sldId="2134804372"/>
            <ac:spMk id="399" creationId="{96DB64E7-7450-5BAA-7DCA-6F75AE12EF02}"/>
          </ac:spMkLst>
        </pc:spChg>
        <pc:spChg chg="add del mod modVis">
          <ac:chgData name="Wenwen Zhang" userId="9dd81366-5d6f-445a-b031-6ea562624431" providerId="ADAL" clId="{D6FBF965-026B-43DA-A554-C6861A0A35E4}" dt="2023-02-01T22:15:23.766" v="101077"/>
          <ac:spMkLst>
            <pc:docMk/>
            <pc:sldMk cId="2167517715" sldId="2134804372"/>
            <ac:spMk id="404" creationId="{213A3535-A8F1-278F-DB9F-5F53BF04E973}"/>
          </ac:spMkLst>
        </pc:spChg>
        <pc:spChg chg="add mod ord replST delST">
          <ac:chgData name="Wenwen Zhang" userId="9dd81366-5d6f-445a-b031-6ea562624431" providerId="ADAL" clId="{D6FBF965-026B-43DA-A554-C6861A0A35E4}" dt="2023-02-01T22:15:23.766" v="101077"/>
          <ac:spMkLst>
            <pc:docMk/>
            <pc:sldMk cId="2167517715" sldId="2134804372"/>
            <ac:spMk id="405" creationId="{96DB64E7-7450-5BAA-7DCA-6F75AE12EF02}"/>
          </ac:spMkLst>
        </pc:spChg>
        <pc:spChg chg="add del mod modVis">
          <ac:chgData name="Wenwen Zhang" userId="9dd81366-5d6f-445a-b031-6ea562624431" providerId="ADAL" clId="{D6FBF965-026B-43DA-A554-C6861A0A35E4}" dt="2023-02-01T22:15:40.014" v="101597"/>
          <ac:spMkLst>
            <pc:docMk/>
            <pc:sldMk cId="2167517715" sldId="2134804372"/>
            <ac:spMk id="410" creationId="{E821903E-CDB4-A8BA-C894-F8C6243ED00E}"/>
          </ac:spMkLst>
        </pc:spChg>
        <pc:spChg chg="add del mod ord replST">
          <ac:chgData name="Wenwen Zhang" userId="9dd81366-5d6f-445a-b031-6ea562624431" providerId="ADAL" clId="{D6FBF965-026B-43DA-A554-C6861A0A35E4}" dt="2023-02-01T22:16:29.431" v="102668"/>
          <ac:spMkLst>
            <pc:docMk/>
            <pc:sldMk cId="2167517715" sldId="2134804372"/>
            <ac:spMk id="411" creationId="{96DB64E7-7450-5BAA-7DCA-6F75AE12EF02}"/>
          </ac:spMkLst>
        </pc:spChg>
        <pc:spChg chg="add del mod modVis">
          <ac:chgData name="Wenwen Zhang" userId="9dd81366-5d6f-445a-b031-6ea562624431" providerId="ADAL" clId="{D6FBF965-026B-43DA-A554-C6861A0A35E4}" dt="2023-02-01T22:15:45.931" v="101814"/>
          <ac:spMkLst>
            <pc:docMk/>
            <pc:sldMk cId="2167517715" sldId="2134804372"/>
            <ac:spMk id="416" creationId="{D1F8DAE9-571B-DD06-D2D0-38AF070537B1}"/>
          </ac:spMkLst>
        </pc:spChg>
        <pc:spChg chg="add del mod modVis">
          <ac:chgData name="Wenwen Zhang" userId="9dd81366-5d6f-445a-b031-6ea562624431" providerId="ADAL" clId="{D6FBF965-026B-43DA-A554-C6861A0A35E4}" dt="2023-02-01T22:15:48.947" v="101976"/>
          <ac:spMkLst>
            <pc:docMk/>
            <pc:sldMk cId="2167517715" sldId="2134804372"/>
            <ac:spMk id="418" creationId="{307C04A0-FB76-F925-6003-53192978AAA1}"/>
          </ac:spMkLst>
        </pc:spChg>
        <pc:spChg chg="add del mod modVis">
          <ac:chgData name="Wenwen Zhang" userId="9dd81366-5d6f-445a-b031-6ea562624431" providerId="ADAL" clId="{D6FBF965-026B-43DA-A554-C6861A0A35E4}" dt="2023-02-01T22:16:06.286" v="102288"/>
          <ac:spMkLst>
            <pc:docMk/>
            <pc:sldMk cId="2167517715" sldId="2134804372"/>
            <ac:spMk id="420" creationId="{57AF6CED-5DDA-C66D-B0F7-1B17034280D6}"/>
          </ac:spMkLst>
        </pc:spChg>
        <pc:spChg chg="add del mod ord replST">
          <ac:chgData name="Wenwen Zhang" userId="9dd81366-5d6f-445a-b031-6ea562624431" providerId="ADAL" clId="{D6FBF965-026B-43DA-A554-C6861A0A35E4}" dt="2023-02-01T22:16:31.672" v="102838"/>
          <ac:spMkLst>
            <pc:docMk/>
            <pc:sldMk cId="2167517715" sldId="2134804372"/>
            <ac:spMk id="421" creationId="{96DB64E7-7450-5BAA-7DCA-6F75AE12EF02}"/>
          </ac:spMkLst>
        </pc:spChg>
        <pc:spChg chg="add del mod modVis">
          <ac:chgData name="Wenwen Zhang" userId="9dd81366-5d6f-445a-b031-6ea562624431" providerId="ADAL" clId="{D6FBF965-026B-43DA-A554-C6861A0A35E4}" dt="2023-02-01T22:16:18.306" v="102499"/>
          <ac:spMkLst>
            <pc:docMk/>
            <pc:sldMk cId="2167517715" sldId="2134804372"/>
            <ac:spMk id="426" creationId="{F7075A5D-1AC7-7FB0-0569-E29F2ACCE42B}"/>
          </ac:spMkLst>
        </pc:spChg>
        <pc:spChg chg="add del mod modVis">
          <ac:chgData name="Wenwen Zhang" userId="9dd81366-5d6f-445a-b031-6ea562624431" providerId="ADAL" clId="{D6FBF965-026B-43DA-A554-C6861A0A35E4}" dt="2023-02-01T22:16:22.840" v="102658"/>
          <ac:spMkLst>
            <pc:docMk/>
            <pc:sldMk cId="2167517715" sldId="2134804372"/>
            <ac:spMk id="428" creationId="{35A6C4DC-C849-18CD-5834-F8D34A54BF74}"/>
          </ac:spMkLst>
        </pc:spChg>
        <pc:spChg chg="add del mod modVis">
          <ac:chgData name="Wenwen Zhang" userId="9dd81366-5d6f-445a-b031-6ea562624431" providerId="ADAL" clId="{D6FBF965-026B-43DA-A554-C6861A0A35E4}" dt="2023-02-01T22:16:29.505" v="102828"/>
          <ac:spMkLst>
            <pc:docMk/>
            <pc:sldMk cId="2167517715" sldId="2134804372"/>
            <ac:spMk id="430" creationId="{E3DF6746-3C2F-B437-24D9-E875E51847CB}"/>
          </ac:spMkLst>
        </pc:spChg>
        <pc:spChg chg="add del mod modVis">
          <ac:chgData name="Wenwen Zhang" userId="9dd81366-5d6f-445a-b031-6ea562624431" providerId="ADAL" clId="{D6FBF965-026B-43DA-A554-C6861A0A35E4}" dt="2023-02-01T22:16:31.745" v="102973"/>
          <ac:spMkLst>
            <pc:docMk/>
            <pc:sldMk cId="2167517715" sldId="2134804372"/>
            <ac:spMk id="432" creationId="{A7AB3FED-61A1-0DF9-30BA-3DA536CB6064}"/>
          </ac:spMkLst>
        </pc:spChg>
        <pc:spChg chg="add del mod">
          <ac:chgData name="Wenwen Zhang" userId="9dd81366-5d6f-445a-b031-6ea562624431" providerId="ADAL" clId="{D6FBF965-026B-43DA-A554-C6861A0A35E4}" dt="2023-02-01T22:24:53.099" v="103032" actId="478"/>
          <ac:spMkLst>
            <pc:docMk/>
            <pc:sldMk cId="2167517715" sldId="2134804372"/>
            <ac:spMk id="436" creationId="{06E5C503-5409-9665-7662-B31350A026E0}"/>
          </ac:spMkLst>
        </pc:spChg>
        <pc:graphicFrameChg chg="add del mod ord replST">
          <ac:chgData name="Wenwen Zhang" userId="9dd81366-5d6f-445a-b031-6ea562624431" providerId="ADAL" clId="{D6FBF965-026B-43DA-A554-C6861A0A35E4}" dt="2023-02-02T10:39:43.681" v="112853"/>
          <ac:graphicFrameMkLst>
            <pc:docMk/>
            <pc:sldMk cId="2167517715" sldId="2134804372"/>
            <ac:graphicFrameMk id="5" creationId="{A5924AA2-C575-11F7-AF7E-3CBFBD9FD0E3}"/>
          </ac:graphicFrameMkLst>
        </pc:graphicFrameChg>
        <pc:graphicFrameChg chg="add del mod ord replST">
          <ac:chgData name="Wenwen Zhang" userId="9dd81366-5d6f-445a-b031-6ea562624431" providerId="ADAL" clId="{D6FBF965-026B-43DA-A554-C6861A0A35E4}" dt="2023-02-02T08:18:51.166" v="106037"/>
          <ac:graphicFrameMkLst>
            <pc:docMk/>
            <pc:sldMk cId="2167517715" sldId="2134804372"/>
            <ac:graphicFrameMk id="5" creationId="{D3CC9D7C-AFAB-62DE-4C57-363BE3EAA9F3}"/>
          </ac:graphicFrameMkLst>
        </pc:graphicFrameChg>
        <pc:graphicFrameChg chg="add del mod ord replST">
          <ac:chgData name="Wenwen Zhang" userId="9dd81366-5d6f-445a-b031-6ea562624431" providerId="ADAL" clId="{D6FBF965-026B-43DA-A554-C6861A0A35E4}" dt="2023-02-02T10:39:48.805" v="113042"/>
          <ac:graphicFrameMkLst>
            <pc:docMk/>
            <pc:sldMk cId="2167517715" sldId="2134804372"/>
            <ac:graphicFrameMk id="8" creationId="{EB522083-16C3-44BA-B36F-5E5A0C5E2B6E}"/>
          </ac:graphicFrameMkLst>
        </pc:graphicFrameChg>
        <pc:graphicFrameChg chg="add del mod ord replST">
          <ac:chgData name="Wenwen Zhang" userId="9dd81366-5d6f-445a-b031-6ea562624431" providerId="ADAL" clId="{D6FBF965-026B-43DA-A554-C6861A0A35E4}" dt="2023-02-01T20:40:13.527" v="54649"/>
          <ac:graphicFrameMkLst>
            <pc:docMk/>
            <pc:sldMk cId="2167517715" sldId="2134804372"/>
            <ac:graphicFrameMk id="9" creationId="{47837AEF-F7D6-3EE9-619F-D726563456F2}"/>
          </ac:graphicFrameMkLst>
        </pc:graphicFrameChg>
        <pc:graphicFrameChg chg="add del mod ord replST">
          <ac:chgData name="Wenwen Zhang" userId="9dd81366-5d6f-445a-b031-6ea562624431" providerId="ADAL" clId="{D6FBF965-026B-43DA-A554-C6861A0A35E4}" dt="2023-02-02T10:39:42.152" v="112682"/>
          <ac:graphicFrameMkLst>
            <pc:docMk/>
            <pc:sldMk cId="2167517715" sldId="2134804372"/>
            <ac:graphicFrameMk id="10" creationId="{D1051363-48B1-A1D6-BC95-9926E68DE993}"/>
          </ac:graphicFrameMkLst>
        </pc:graphicFrameChg>
        <pc:graphicFrameChg chg="add del mod ord replST">
          <ac:chgData name="Wenwen Zhang" userId="9dd81366-5d6f-445a-b031-6ea562624431" providerId="ADAL" clId="{D6FBF965-026B-43DA-A554-C6861A0A35E4}" dt="2023-02-02T10:40:49.627" v="113203"/>
          <ac:graphicFrameMkLst>
            <pc:docMk/>
            <pc:sldMk cId="2167517715" sldId="2134804372"/>
            <ac:graphicFrameMk id="12" creationId="{DD93796E-3A7F-B0A0-5BFF-08AD1A2849B6}"/>
          </ac:graphicFrameMkLst>
        </pc:graphicFrameChg>
        <pc:graphicFrameChg chg="add del mod ord replST">
          <ac:chgData name="Wenwen Zhang" userId="9dd81366-5d6f-445a-b031-6ea562624431" providerId="ADAL" clId="{D6FBF965-026B-43DA-A554-C6861A0A35E4}" dt="2023-02-01T20:40:19.095" v="54800"/>
          <ac:graphicFrameMkLst>
            <pc:docMk/>
            <pc:sldMk cId="2167517715" sldId="2134804372"/>
            <ac:graphicFrameMk id="13" creationId="{6F83DFC6-1A4C-E04C-D505-279834F8E4C2}"/>
          </ac:graphicFrameMkLst>
        </pc:graphicFrameChg>
        <pc:graphicFrameChg chg="add del mod ord replST">
          <ac:chgData name="Wenwen Zhang" userId="9dd81366-5d6f-445a-b031-6ea562624431" providerId="ADAL" clId="{D6FBF965-026B-43DA-A554-C6861A0A35E4}" dt="2023-02-02T08:19:07.768" v="106749"/>
          <ac:graphicFrameMkLst>
            <pc:docMk/>
            <pc:sldMk cId="2167517715" sldId="2134804372"/>
            <ac:graphicFrameMk id="13" creationId="{8B219B2D-9256-C315-41A5-07EE98707DCA}"/>
          </ac:graphicFrameMkLst>
        </pc:graphicFrameChg>
        <pc:graphicFrameChg chg="add del mod ord replST">
          <ac:chgData name="Wenwen Zhang" userId="9dd81366-5d6f-445a-b031-6ea562624431" providerId="ADAL" clId="{D6FBF965-026B-43DA-A554-C6861A0A35E4}" dt="2023-02-02T10:40:57.873" v="113359"/>
          <ac:graphicFrameMkLst>
            <pc:docMk/>
            <pc:sldMk cId="2167517715" sldId="2134804372"/>
            <ac:graphicFrameMk id="16" creationId="{4279482B-7C37-1056-6B38-4C1447E94B8E}"/>
          </ac:graphicFrameMkLst>
        </pc:graphicFrameChg>
        <pc:graphicFrameChg chg="add del mod ord replST">
          <ac:chgData name="Wenwen Zhang" userId="9dd81366-5d6f-445a-b031-6ea562624431" providerId="ADAL" clId="{D6FBF965-026B-43DA-A554-C6861A0A35E4}" dt="2023-02-01T20:40:23.892" v="54929"/>
          <ac:graphicFrameMkLst>
            <pc:docMk/>
            <pc:sldMk cId="2167517715" sldId="2134804372"/>
            <ac:graphicFrameMk id="16" creationId="{FEE9C343-6C81-7A36-C9E5-64AD7CD0BF4E}"/>
          </ac:graphicFrameMkLst>
        </pc:graphicFrameChg>
        <pc:graphicFrameChg chg="add del mod ord replST">
          <ac:chgData name="Wenwen Zhang" userId="9dd81366-5d6f-445a-b031-6ea562624431" providerId="ADAL" clId="{D6FBF965-026B-43DA-A554-C6861A0A35E4}" dt="2023-02-02T08:19:15.946" v="107016"/>
          <ac:graphicFrameMkLst>
            <pc:docMk/>
            <pc:sldMk cId="2167517715" sldId="2134804372"/>
            <ac:graphicFrameMk id="19" creationId="{70142BE3-E326-9600-DC0F-EB8B4600634D}"/>
          </ac:graphicFrameMkLst>
        </pc:graphicFrameChg>
        <pc:graphicFrameChg chg="add del mod ord replST">
          <ac:chgData name="Wenwen Zhang" userId="9dd81366-5d6f-445a-b031-6ea562624431" providerId="ADAL" clId="{D6FBF965-026B-43DA-A554-C6861A0A35E4}" dt="2023-02-02T10:42:40.304" v="113520"/>
          <ac:graphicFrameMkLst>
            <pc:docMk/>
            <pc:sldMk cId="2167517715" sldId="2134804372"/>
            <ac:graphicFrameMk id="20" creationId="{3CA37041-BEA0-B9D5-8D83-DF42D8B0F3E9}"/>
          </ac:graphicFrameMkLst>
        </pc:graphicFrameChg>
        <pc:graphicFrameChg chg="add del mod ord replST">
          <ac:chgData name="Wenwen Zhang" userId="9dd81366-5d6f-445a-b031-6ea562624431" providerId="ADAL" clId="{D6FBF965-026B-43DA-A554-C6861A0A35E4}" dt="2023-02-01T20:40:40.225" v="55021"/>
          <ac:graphicFrameMkLst>
            <pc:docMk/>
            <pc:sldMk cId="2167517715" sldId="2134804372"/>
            <ac:graphicFrameMk id="20" creationId="{3FA747E0-F97F-D2EF-AD93-A2D5E05C7474}"/>
          </ac:graphicFrameMkLst>
        </pc:graphicFrameChg>
        <pc:graphicFrameChg chg="add del mod ord replST">
          <ac:chgData name="Wenwen Zhang" userId="9dd81366-5d6f-445a-b031-6ea562624431" providerId="ADAL" clId="{D6FBF965-026B-43DA-A554-C6861A0A35E4}" dt="2023-02-01T20:40:49.138" v="55136"/>
          <ac:graphicFrameMkLst>
            <pc:docMk/>
            <pc:sldMk cId="2167517715" sldId="2134804372"/>
            <ac:graphicFrameMk id="23" creationId="{A1A92271-DA64-7886-BCD8-224AC610B8DE}"/>
          </ac:graphicFrameMkLst>
        </pc:graphicFrameChg>
        <pc:graphicFrameChg chg="add del mod ord replST">
          <ac:chgData name="Wenwen Zhang" userId="9dd81366-5d6f-445a-b031-6ea562624431" providerId="ADAL" clId="{D6FBF965-026B-43DA-A554-C6861A0A35E4}" dt="2023-02-01T20:40:59.022" v="55507"/>
          <ac:graphicFrameMkLst>
            <pc:docMk/>
            <pc:sldMk cId="2167517715" sldId="2134804372"/>
            <ac:graphicFrameMk id="25" creationId="{824EF5A3-9332-40D8-3C6B-96CA2D8743F9}"/>
          </ac:graphicFrameMkLst>
        </pc:graphicFrameChg>
        <pc:graphicFrameChg chg="add del mod ord replST">
          <ac:chgData name="Wenwen Zhang" userId="9dd81366-5d6f-445a-b031-6ea562624431" providerId="ADAL" clId="{D6FBF965-026B-43DA-A554-C6861A0A35E4}" dt="2023-02-02T08:19:20.377" v="107306"/>
          <ac:graphicFrameMkLst>
            <pc:docMk/>
            <pc:sldMk cId="2167517715" sldId="2134804372"/>
            <ac:graphicFrameMk id="27" creationId="{805F6012-9709-D3AC-DEBF-157728643BC2}"/>
          </ac:graphicFrameMkLst>
        </pc:graphicFrameChg>
        <pc:graphicFrameChg chg="add del mod ord replST">
          <ac:chgData name="Wenwen Zhang" userId="9dd81366-5d6f-445a-b031-6ea562624431" providerId="ADAL" clId="{D6FBF965-026B-43DA-A554-C6861A0A35E4}" dt="2023-02-01T20:41:01.072" v="55836"/>
          <ac:graphicFrameMkLst>
            <pc:docMk/>
            <pc:sldMk cId="2167517715" sldId="2134804372"/>
            <ac:graphicFrameMk id="27" creationId="{EFE91EBB-4539-EF00-3FB8-57C7CB77CA23}"/>
          </ac:graphicFrameMkLst>
        </pc:graphicFrameChg>
        <pc:graphicFrameChg chg="mod">
          <ac:chgData name="Wenwen Zhang" userId="9dd81366-5d6f-445a-b031-6ea562624431" providerId="ADAL" clId="{D6FBF965-026B-43DA-A554-C6861A0A35E4}" dt="2023-02-02T11:49:36.362" v="120483"/>
          <ac:graphicFrameMkLst>
            <pc:docMk/>
            <pc:sldMk cId="2167517715" sldId="2134804372"/>
            <ac:graphicFrameMk id="28" creationId="{015DFAEE-F78A-C272-92CE-F25C3417CAD0}"/>
          </ac:graphicFrameMkLst>
        </pc:graphicFrameChg>
        <pc:graphicFrameChg chg="add del mod ord replST">
          <ac:chgData name="Wenwen Zhang" userId="9dd81366-5d6f-445a-b031-6ea562624431" providerId="ADAL" clId="{D6FBF965-026B-43DA-A554-C6861A0A35E4}" dt="2023-02-02T10:42:47.253" v="113677"/>
          <ac:graphicFrameMkLst>
            <pc:docMk/>
            <pc:sldMk cId="2167517715" sldId="2134804372"/>
            <ac:graphicFrameMk id="30" creationId="{87903171-426A-E1E4-317F-000F970317BF}"/>
          </ac:graphicFrameMkLst>
        </pc:graphicFrameChg>
        <pc:graphicFrameChg chg="add del mod ord replST">
          <ac:chgData name="Wenwen Zhang" userId="9dd81366-5d6f-445a-b031-6ea562624431" providerId="ADAL" clId="{D6FBF965-026B-43DA-A554-C6861A0A35E4}" dt="2023-02-01T20:41:16.680" v="55970"/>
          <ac:graphicFrameMkLst>
            <pc:docMk/>
            <pc:sldMk cId="2167517715" sldId="2134804372"/>
            <ac:graphicFrameMk id="31" creationId="{9612E3D2-E0E1-B0BC-DF62-A14C9C115E98}"/>
          </ac:graphicFrameMkLst>
        </pc:graphicFrameChg>
        <pc:graphicFrameChg chg="add del mod ord replST">
          <ac:chgData name="Wenwen Zhang" userId="9dd81366-5d6f-445a-b031-6ea562624431" providerId="ADAL" clId="{D6FBF965-026B-43DA-A554-C6861A0A35E4}" dt="2023-02-01T20:41:28.476" v="56070"/>
          <ac:graphicFrameMkLst>
            <pc:docMk/>
            <pc:sldMk cId="2167517715" sldId="2134804372"/>
            <ac:graphicFrameMk id="33" creationId="{AA34489D-2BA3-CF1C-BC77-F5930A1E2F1E}"/>
          </ac:graphicFrameMkLst>
        </pc:graphicFrameChg>
        <pc:graphicFrameChg chg="add del mod ord replST">
          <ac:chgData name="Wenwen Zhang" userId="9dd81366-5d6f-445a-b031-6ea562624431" providerId="ADAL" clId="{D6FBF965-026B-43DA-A554-C6861A0A35E4}" dt="2023-02-01T20:41:34.704" v="56170"/>
          <ac:graphicFrameMkLst>
            <pc:docMk/>
            <pc:sldMk cId="2167517715" sldId="2134804372"/>
            <ac:graphicFrameMk id="35" creationId="{65CE2374-596D-7313-2BCC-C0C3DEEDD9DA}"/>
          </ac:graphicFrameMkLst>
        </pc:graphicFrameChg>
        <pc:graphicFrameChg chg="add del mod ord replST">
          <ac:chgData name="Wenwen Zhang" userId="9dd81366-5d6f-445a-b031-6ea562624431" providerId="ADAL" clId="{D6FBF965-026B-43DA-A554-C6861A0A35E4}" dt="2023-02-02T10:54:04.909" v="114872"/>
          <ac:graphicFrameMkLst>
            <pc:docMk/>
            <pc:sldMk cId="2167517715" sldId="2134804372"/>
            <ac:graphicFrameMk id="35" creationId="{AB9015EF-DDC5-58C0-3EF7-74655635133B}"/>
          </ac:graphicFrameMkLst>
        </pc:graphicFrameChg>
        <pc:graphicFrameChg chg="add del mod ord replST">
          <ac:chgData name="Wenwen Zhang" userId="9dd81366-5d6f-445a-b031-6ea562624431" providerId="ADAL" clId="{D6FBF965-026B-43DA-A554-C6861A0A35E4}" dt="2023-02-01T20:41:42.561" v="56271"/>
          <ac:graphicFrameMkLst>
            <pc:docMk/>
            <pc:sldMk cId="2167517715" sldId="2134804372"/>
            <ac:graphicFrameMk id="37" creationId="{95595D19-BEBE-0792-9DAD-5499D48A169B}"/>
          </ac:graphicFrameMkLst>
        </pc:graphicFrameChg>
        <pc:graphicFrameChg chg="add del mod ord replST">
          <ac:chgData name="Wenwen Zhang" userId="9dd81366-5d6f-445a-b031-6ea562624431" providerId="ADAL" clId="{D6FBF965-026B-43DA-A554-C6861A0A35E4}" dt="2023-02-02T10:50:42.932" v="113840"/>
          <ac:graphicFrameMkLst>
            <pc:docMk/>
            <pc:sldMk cId="2167517715" sldId="2134804372"/>
            <ac:graphicFrameMk id="37" creationId="{D0F8E279-875F-3193-805E-5EED358547EE}"/>
          </ac:graphicFrameMkLst>
        </pc:graphicFrameChg>
        <pc:graphicFrameChg chg="add del mod ord replST">
          <ac:chgData name="Wenwen Zhang" userId="9dd81366-5d6f-445a-b031-6ea562624431" providerId="ADAL" clId="{D6FBF965-026B-43DA-A554-C6861A0A35E4}" dt="2023-02-01T20:41:47.804" v="56373"/>
          <ac:graphicFrameMkLst>
            <pc:docMk/>
            <pc:sldMk cId="2167517715" sldId="2134804372"/>
            <ac:graphicFrameMk id="39" creationId="{3F627D40-B945-5537-D62B-002EA5E158A6}"/>
          </ac:graphicFrameMkLst>
        </pc:graphicFrameChg>
        <pc:graphicFrameChg chg="add del mod ord replST">
          <ac:chgData name="Wenwen Zhang" userId="9dd81366-5d6f-445a-b031-6ea562624431" providerId="ADAL" clId="{D6FBF965-026B-43DA-A554-C6861A0A35E4}" dt="2023-02-02T10:51:56.011" v="113986"/>
          <ac:graphicFrameMkLst>
            <pc:docMk/>
            <pc:sldMk cId="2167517715" sldId="2134804372"/>
            <ac:graphicFrameMk id="39" creationId="{C07DB23F-E9FE-0017-CBD9-9757BC60211C}"/>
          </ac:graphicFrameMkLst>
        </pc:graphicFrameChg>
        <pc:graphicFrameChg chg="add del mod ord replST">
          <ac:chgData name="Wenwen Zhang" userId="9dd81366-5d6f-445a-b031-6ea562624431" providerId="ADAL" clId="{D6FBF965-026B-43DA-A554-C6861A0A35E4}" dt="2023-02-01T20:41:56.660" v="56476"/>
          <ac:graphicFrameMkLst>
            <pc:docMk/>
            <pc:sldMk cId="2167517715" sldId="2134804372"/>
            <ac:graphicFrameMk id="41" creationId="{A6134D3A-C0D4-F4E9-18F6-989D9A451304}"/>
          </ac:graphicFrameMkLst>
        </pc:graphicFrameChg>
        <pc:graphicFrameChg chg="add del mod ord replST">
          <ac:chgData name="Wenwen Zhang" userId="9dd81366-5d6f-445a-b031-6ea562624431" providerId="ADAL" clId="{D6FBF965-026B-43DA-A554-C6861A0A35E4}" dt="2023-02-02T10:52:56.840" v="114129"/>
          <ac:graphicFrameMkLst>
            <pc:docMk/>
            <pc:sldMk cId="2167517715" sldId="2134804372"/>
            <ac:graphicFrameMk id="41" creationId="{C8E46D9C-F173-75F0-CC5A-A00C1D7E916F}"/>
          </ac:graphicFrameMkLst>
        </pc:graphicFrameChg>
        <pc:graphicFrameChg chg="add del mod ord replST">
          <ac:chgData name="Wenwen Zhang" userId="9dd81366-5d6f-445a-b031-6ea562624431" providerId="ADAL" clId="{D6FBF965-026B-43DA-A554-C6861A0A35E4}" dt="2023-02-01T20:42:03.172" v="56579"/>
          <ac:graphicFrameMkLst>
            <pc:docMk/>
            <pc:sldMk cId="2167517715" sldId="2134804372"/>
            <ac:graphicFrameMk id="44" creationId="{33C7079E-A924-64F2-2C94-CE064C3FA5EB}"/>
          </ac:graphicFrameMkLst>
        </pc:graphicFrameChg>
        <pc:graphicFrameChg chg="add del mod ord replST">
          <ac:chgData name="Wenwen Zhang" userId="9dd81366-5d6f-445a-b031-6ea562624431" providerId="ADAL" clId="{D6FBF965-026B-43DA-A554-C6861A0A35E4}" dt="2023-02-02T10:53:03.309" v="114294"/>
          <ac:graphicFrameMkLst>
            <pc:docMk/>
            <pc:sldMk cId="2167517715" sldId="2134804372"/>
            <ac:graphicFrameMk id="44" creationId="{BE4E0B94-A244-F910-BCA7-FE72841EE4E9}"/>
          </ac:graphicFrameMkLst>
        </pc:graphicFrameChg>
        <pc:graphicFrameChg chg="add del mod ord replST">
          <ac:chgData name="Wenwen Zhang" userId="9dd81366-5d6f-445a-b031-6ea562624431" providerId="ADAL" clId="{D6FBF965-026B-43DA-A554-C6861A0A35E4}" dt="2023-02-01T20:42:08.407" v="56682"/>
          <ac:graphicFrameMkLst>
            <pc:docMk/>
            <pc:sldMk cId="2167517715" sldId="2134804372"/>
            <ac:graphicFrameMk id="46" creationId="{F2D50C96-B7E8-1030-5010-81964BC17055}"/>
          </ac:graphicFrameMkLst>
        </pc:graphicFrameChg>
        <pc:graphicFrameChg chg="add del mod ord replST">
          <ac:chgData name="Wenwen Zhang" userId="9dd81366-5d6f-445a-b031-6ea562624431" providerId="ADAL" clId="{D6FBF965-026B-43DA-A554-C6861A0A35E4}" dt="2023-02-02T10:53:52.656" v="114464"/>
          <ac:graphicFrameMkLst>
            <pc:docMk/>
            <pc:sldMk cId="2167517715" sldId="2134804372"/>
            <ac:graphicFrameMk id="47" creationId="{DB8A5210-9865-06A4-95DF-CB31AA394770}"/>
          </ac:graphicFrameMkLst>
        </pc:graphicFrameChg>
        <pc:graphicFrameChg chg="add del mod ord replST">
          <ac:chgData name="Wenwen Zhang" userId="9dd81366-5d6f-445a-b031-6ea562624431" providerId="ADAL" clId="{D6FBF965-026B-43DA-A554-C6861A0A35E4}" dt="2023-02-01T20:42:13.813" v="56785"/>
          <ac:graphicFrameMkLst>
            <pc:docMk/>
            <pc:sldMk cId="2167517715" sldId="2134804372"/>
            <ac:graphicFrameMk id="48" creationId="{BD4EED5E-07F6-B0AB-DA49-E00B5CAD8948}"/>
          </ac:graphicFrameMkLst>
        </pc:graphicFrameChg>
        <pc:graphicFrameChg chg="add del mod ord replST">
          <ac:chgData name="Wenwen Zhang" userId="9dd81366-5d6f-445a-b031-6ea562624431" providerId="ADAL" clId="{D6FBF965-026B-43DA-A554-C6861A0A35E4}" dt="2023-02-01T20:42:29.058" v="56976"/>
          <ac:graphicFrameMkLst>
            <pc:docMk/>
            <pc:sldMk cId="2167517715" sldId="2134804372"/>
            <ac:graphicFrameMk id="50" creationId="{08D1ACA7-A3F0-240B-9F61-E7F9A05BB104}"/>
          </ac:graphicFrameMkLst>
        </pc:graphicFrameChg>
        <pc:graphicFrameChg chg="add del mod ord replST">
          <ac:chgData name="Wenwen Zhang" userId="9dd81366-5d6f-445a-b031-6ea562624431" providerId="ADAL" clId="{D6FBF965-026B-43DA-A554-C6861A0A35E4}" dt="2023-02-02T10:53:57.744" v="114606"/>
          <ac:graphicFrameMkLst>
            <pc:docMk/>
            <pc:sldMk cId="2167517715" sldId="2134804372"/>
            <ac:graphicFrameMk id="50" creationId="{27F4743C-A303-9ADF-067A-633450EBBEFF}"/>
          </ac:graphicFrameMkLst>
        </pc:graphicFrameChg>
        <pc:graphicFrameChg chg="add del mod ord replST">
          <ac:chgData name="Wenwen Zhang" userId="9dd81366-5d6f-445a-b031-6ea562624431" providerId="ADAL" clId="{D6FBF965-026B-43DA-A554-C6861A0A35E4}" dt="2023-02-02T10:54:01.217" v="114748"/>
          <ac:graphicFrameMkLst>
            <pc:docMk/>
            <pc:sldMk cId="2167517715" sldId="2134804372"/>
            <ac:graphicFrameMk id="52" creationId="{533A107A-0CA7-D878-AB38-74A9A4D9F96B}"/>
          </ac:graphicFrameMkLst>
        </pc:graphicFrameChg>
        <pc:graphicFrameChg chg="add del mod ord replST">
          <ac:chgData name="Wenwen Zhang" userId="9dd81366-5d6f-445a-b031-6ea562624431" providerId="ADAL" clId="{D6FBF965-026B-43DA-A554-C6861A0A35E4}" dt="2023-02-01T20:42:32.066" v="57099"/>
          <ac:graphicFrameMkLst>
            <pc:docMk/>
            <pc:sldMk cId="2167517715" sldId="2134804372"/>
            <ac:graphicFrameMk id="53" creationId="{78D911B7-899E-BA1B-0747-258FA9E96BBE}"/>
          </ac:graphicFrameMkLst>
        </pc:graphicFrameChg>
        <pc:graphicFrameChg chg="add del mod ord replST">
          <ac:chgData name="Wenwen Zhang" userId="9dd81366-5d6f-445a-b031-6ea562624431" providerId="ADAL" clId="{D6FBF965-026B-43DA-A554-C6861A0A35E4}" dt="2023-02-02T10:54:04.946" v="114937"/>
          <ac:graphicFrameMkLst>
            <pc:docMk/>
            <pc:sldMk cId="2167517715" sldId="2134804372"/>
            <ac:graphicFrameMk id="54" creationId="{E316592A-1FDE-003D-8785-6B6EFFFB5153}"/>
          </ac:graphicFrameMkLst>
        </pc:graphicFrameChg>
        <pc:graphicFrameChg chg="add del mod ord replST">
          <ac:chgData name="Wenwen Zhang" userId="9dd81366-5d6f-445a-b031-6ea562624431" providerId="ADAL" clId="{D6FBF965-026B-43DA-A554-C6861A0A35E4}" dt="2023-02-01T20:42:36.118" v="57477"/>
          <ac:graphicFrameMkLst>
            <pc:docMk/>
            <pc:sldMk cId="2167517715" sldId="2134804372"/>
            <ac:graphicFrameMk id="55" creationId="{F7AB7AAB-7BFA-E173-CCBF-6CA0BB14D92B}"/>
          </ac:graphicFrameMkLst>
        </pc:graphicFrameChg>
        <pc:graphicFrameChg chg="add del mod ord replST">
          <ac:chgData name="Wenwen Zhang" userId="9dd81366-5d6f-445a-b031-6ea562624431" providerId="ADAL" clId="{D6FBF965-026B-43DA-A554-C6861A0A35E4}" dt="2023-02-02T10:54:12.408" v="115037"/>
          <ac:graphicFrameMkLst>
            <pc:docMk/>
            <pc:sldMk cId="2167517715" sldId="2134804372"/>
            <ac:graphicFrameMk id="56" creationId="{4FD706D0-4395-04FA-A22F-2EE9371E3D0D}"/>
          </ac:graphicFrameMkLst>
        </pc:graphicFrameChg>
        <pc:graphicFrameChg chg="add del mod ord replST">
          <ac:chgData name="Wenwen Zhang" userId="9dd81366-5d6f-445a-b031-6ea562624431" providerId="ADAL" clId="{D6FBF965-026B-43DA-A554-C6861A0A35E4}" dt="2023-02-01T20:42:41.939" v="57605"/>
          <ac:graphicFrameMkLst>
            <pc:docMk/>
            <pc:sldMk cId="2167517715" sldId="2134804372"/>
            <ac:graphicFrameMk id="57" creationId="{38DB999D-2FFF-E615-FAC0-90C7C5C0E6B2}"/>
          </ac:graphicFrameMkLst>
        </pc:graphicFrameChg>
        <pc:graphicFrameChg chg="add del mod ord replST">
          <ac:chgData name="Wenwen Zhang" userId="9dd81366-5d6f-445a-b031-6ea562624431" providerId="ADAL" clId="{D6FBF965-026B-43DA-A554-C6861A0A35E4}" dt="2023-02-02T10:55:22.011" v="115225"/>
          <ac:graphicFrameMkLst>
            <pc:docMk/>
            <pc:sldMk cId="2167517715" sldId="2134804372"/>
            <ac:graphicFrameMk id="58" creationId="{828237DA-4855-EFBF-A40A-F17057DFE2C6}"/>
          </ac:graphicFrameMkLst>
        </pc:graphicFrameChg>
        <pc:graphicFrameChg chg="add del mod ord replST">
          <ac:chgData name="Wenwen Zhang" userId="9dd81366-5d6f-445a-b031-6ea562624431" providerId="ADAL" clId="{D6FBF965-026B-43DA-A554-C6861A0A35E4}" dt="2023-02-01T20:43:14.591" v="57707"/>
          <ac:graphicFrameMkLst>
            <pc:docMk/>
            <pc:sldMk cId="2167517715" sldId="2134804372"/>
            <ac:graphicFrameMk id="59" creationId="{B670CEA9-DEF4-B838-61FE-4DBE6C34B4F2}"/>
          </ac:graphicFrameMkLst>
        </pc:graphicFrameChg>
        <pc:graphicFrameChg chg="add del mod ord replST">
          <ac:chgData name="Wenwen Zhang" userId="9dd81366-5d6f-445a-b031-6ea562624431" providerId="ADAL" clId="{D6FBF965-026B-43DA-A554-C6861A0A35E4}" dt="2023-02-02T10:55:28.055" v="115320"/>
          <ac:graphicFrameMkLst>
            <pc:docMk/>
            <pc:sldMk cId="2167517715" sldId="2134804372"/>
            <ac:graphicFrameMk id="60" creationId="{ED67510B-4F8C-22C3-620C-00C089B69789}"/>
          </ac:graphicFrameMkLst>
        </pc:graphicFrameChg>
        <pc:graphicFrameChg chg="add del mod ord replST">
          <ac:chgData name="Wenwen Zhang" userId="9dd81366-5d6f-445a-b031-6ea562624431" providerId="ADAL" clId="{D6FBF965-026B-43DA-A554-C6861A0A35E4}" dt="2023-02-01T20:43:20" v="57907"/>
          <ac:graphicFrameMkLst>
            <pc:docMk/>
            <pc:sldMk cId="2167517715" sldId="2134804372"/>
            <ac:graphicFrameMk id="61" creationId="{6C57E0D0-E554-35A9-7A62-BA6546212335}"/>
          </ac:graphicFrameMkLst>
        </pc:graphicFrameChg>
        <pc:graphicFrameChg chg="add del mod ord replST">
          <ac:chgData name="Wenwen Zhang" userId="9dd81366-5d6f-445a-b031-6ea562624431" providerId="ADAL" clId="{D6FBF965-026B-43DA-A554-C6861A0A35E4}" dt="2023-02-02T10:55:34.358" v="115419"/>
          <ac:graphicFrameMkLst>
            <pc:docMk/>
            <pc:sldMk cId="2167517715" sldId="2134804372"/>
            <ac:graphicFrameMk id="62" creationId="{F53B8E8C-1675-5278-6A92-AE4C27913A09}"/>
          </ac:graphicFrameMkLst>
        </pc:graphicFrameChg>
        <pc:graphicFrameChg chg="add del mod ord replST">
          <ac:chgData name="Wenwen Zhang" userId="9dd81366-5d6f-445a-b031-6ea562624431" providerId="ADAL" clId="{D6FBF965-026B-43DA-A554-C6861A0A35E4}" dt="2023-02-01T20:44:23.338" v="58029"/>
          <ac:graphicFrameMkLst>
            <pc:docMk/>
            <pc:sldMk cId="2167517715" sldId="2134804372"/>
            <ac:graphicFrameMk id="63" creationId="{2A66530D-C464-454E-4FA1-D4BC3FB53586}"/>
          </ac:graphicFrameMkLst>
        </pc:graphicFrameChg>
        <pc:graphicFrameChg chg="add del mod ord replST">
          <ac:chgData name="Wenwen Zhang" userId="9dd81366-5d6f-445a-b031-6ea562624431" providerId="ADAL" clId="{D6FBF965-026B-43DA-A554-C6861A0A35E4}" dt="2023-02-01T20:45:35.147" v="58262"/>
          <ac:graphicFrameMkLst>
            <pc:docMk/>
            <pc:sldMk cId="2167517715" sldId="2134804372"/>
            <ac:graphicFrameMk id="65" creationId="{BF8A43F8-5D3E-D835-D77F-075A08597FB9}"/>
          </ac:graphicFrameMkLst>
        </pc:graphicFrameChg>
        <pc:graphicFrameChg chg="add del mod ord replST">
          <ac:chgData name="Wenwen Zhang" userId="9dd81366-5d6f-445a-b031-6ea562624431" providerId="ADAL" clId="{D6FBF965-026B-43DA-A554-C6861A0A35E4}" dt="2023-02-01T20:45:40.215" v="58521"/>
          <ac:graphicFrameMkLst>
            <pc:docMk/>
            <pc:sldMk cId="2167517715" sldId="2134804372"/>
            <ac:graphicFrameMk id="71" creationId="{9B757F9D-3FB3-4CB2-BDFA-FD13F1ECF43E}"/>
          </ac:graphicFrameMkLst>
        </pc:graphicFrameChg>
        <pc:graphicFrameChg chg="add del mod ord replST">
          <ac:chgData name="Wenwen Zhang" userId="9dd81366-5d6f-445a-b031-6ea562624431" providerId="ADAL" clId="{D6FBF965-026B-43DA-A554-C6861A0A35E4}" dt="2023-02-01T20:45:46.330" v="58789"/>
          <ac:graphicFrameMkLst>
            <pc:docMk/>
            <pc:sldMk cId="2167517715" sldId="2134804372"/>
            <ac:graphicFrameMk id="80" creationId="{142DCDE1-02FD-ECCF-E250-9BE7DEFAEB7B}"/>
          </ac:graphicFrameMkLst>
        </pc:graphicFrameChg>
        <pc:graphicFrameChg chg="add del mod ord replST">
          <ac:chgData name="Wenwen Zhang" userId="9dd81366-5d6f-445a-b031-6ea562624431" providerId="ADAL" clId="{D6FBF965-026B-43DA-A554-C6861A0A35E4}" dt="2023-02-01T20:45:50.735" v="59066"/>
          <ac:graphicFrameMkLst>
            <pc:docMk/>
            <pc:sldMk cId="2167517715" sldId="2134804372"/>
            <ac:graphicFrameMk id="87" creationId="{63FC34A2-3D11-6C7D-8FB9-C1CB9732B802}"/>
          </ac:graphicFrameMkLst>
        </pc:graphicFrameChg>
        <pc:graphicFrameChg chg="add del mod ord replST">
          <ac:chgData name="Wenwen Zhang" userId="9dd81366-5d6f-445a-b031-6ea562624431" providerId="ADAL" clId="{D6FBF965-026B-43DA-A554-C6861A0A35E4}" dt="2023-02-01T20:45:55.937" v="59352"/>
          <ac:graphicFrameMkLst>
            <pc:docMk/>
            <pc:sldMk cId="2167517715" sldId="2134804372"/>
            <ac:graphicFrameMk id="93" creationId="{3E790055-9B6D-EFDC-32AF-D554110DF989}"/>
          </ac:graphicFrameMkLst>
        </pc:graphicFrameChg>
        <pc:graphicFrameChg chg="add del mod ord replST">
          <ac:chgData name="Wenwen Zhang" userId="9dd81366-5d6f-445a-b031-6ea562624431" providerId="ADAL" clId="{D6FBF965-026B-43DA-A554-C6861A0A35E4}" dt="2023-02-01T20:46:00.735" v="59647"/>
          <ac:graphicFrameMkLst>
            <pc:docMk/>
            <pc:sldMk cId="2167517715" sldId="2134804372"/>
            <ac:graphicFrameMk id="99" creationId="{889BEC27-9626-028F-1441-00574973D547}"/>
          </ac:graphicFrameMkLst>
        </pc:graphicFrameChg>
        <pc:graphicFrameChg chg="add del mod ord replST">
          <ac:chgData name="Wenwen Zhang" userId="9dd81366-5d6f-445a-b031-6ea562624431" providerId="ADAL" clId="{D6FBF965-026B-43DA-A554-C6861A0A35E4}" dt="2023-02-01T20:46:06.489" v="59951"/>
          <ac:graphicFrameMkLst>
            <pc:docMk/>
            <pc:sldMk cId="2167517715" sldId="2134804372"/>
            <ac:graphicFrameMk id="105" creationId="{40443619-411E-CFDA-25E4-F764EA241BC0}"/>
          </ac:graphicFrameMkLst>
        </pc:graphicFrameChg>
        <pc:graphicFrameChg chg="add del mod ord replST">
          <ac:chgData name="Wenwen Zhang" userId="9dd81366-5d6f-445a-b031-6ea562624431" providerId="ADAL" clId="{D6FBF965-026B-43DA-A554-C6861A0A35E4}" dt="2023-02-01T20:46:10.482" v="60264"/>
          <ac:graphicFrameMkLst>
            <pc:docMk/>
            <pc:sldMk cId="2167517715" sldId="2134804372"/>
            <ac:graphicFrameMk id="111" creationId="{54A31D0A-F9FA-4B40-402A-22FFC2CDCA56}"/>
          </ac:graphicFrameMkLst>
        </pc:graphicFrameChg>
        <pc:graphicFrameChg chg="add del mod ord replST">
          <ac:chgData name="Wenwen Zhang" userId="9dd81366-5d6f-445a-b031-6ea562624431" providerId="ADAL" clId="{D6FBF965-026B-43DA-A554-C6861A0A35E4}" dt="2023-02-01T20:46:22.004" v="60576"/>
          <ac:graphicFrameMkLst>
            <pc:docMk/>
            <pc:sldMk cId="2167517715" sldId="2134804372"/>
            <ac:graphicFrameMk id="118" creationId="{6FBEB6BD-EF52-2D48-E8F0-1575DFE79633}"/>
          </ac:graphicFrameMkLst>
        </pc:graphicFrameChg>
        <pc:graphicFrameChg chg="add del mod ord replST">
          <ac:chgData name="Wenwen Zhang" userId="9dd81366-5d6f-445a-b031-6ea562624431" providerId="ADAL" clId="{D6FBF965-026B-43DA-A554-C6861A0A35E4}" dt="2023-02-01T20:46:44.911" v="60934"/>
          <ac:graphicFrameMkLst>
            <pc:docMk/>
            <pc:sldMk cId="2167517715" sldId="2134804372"/>
            <ac:graphicFrameMk id="123" creationId="{B8757C2F-D2A2-F981-5752-EEE7D6034E3D}"/>
          </ac:graphicFrameMkLst>
        </pc:graphicFrameChg>
        <pc:graphicFrameChg chg="add del mod ord replST">
          <ac:chgData name="Wenwen Zhang" userId="9dd81366-5d6f-445a-b031-6ea562624431" providerId="ADAL" clId="{D6FBF965-026B-43DA-A554-C6861A0A35E4}" dt="2023-02-02T10:55:36.084" v="115511"/>
          <ac:graphicFrameMkLst>
            <pc:docMk/>
            <pc:sldMk cId="2167517715" sldId="2134804372"/>
            <ac:graphicFrameMk id="128" creationId="{97BA005F-9063-D564-63E6-C85B0D405044}"/>
          </ac:graphicFrameMkLst>
        </pc:graphicFrameChg>
        <pc:graphicFrameChg chg="add del mod ord replST">
          <ac:chgData name="Wenwen Zhang" userId="9dd81366-5d6f-445a-b031-6ea562624431" providerId="ADAL" clId="{D6FBF965-026B-43DA-A554-C6861A0A35E4}" dt="2023-02-02T10:55:38.207" v="115603"/>
          <ac:graphicFrameMkLst>
            <pc:docMk/>
            <pc:sldMk cId="2167517715" sldId="2134804372"/>
            <ac:graphicFrameMk id="130" creationId="{67F39931-49E3-437F-CB76-1A90B9115BBB}"/>
          </ac:graphicFrameMkLst>
        </pc:graphicFrameChg>
        <pc:graphicFrameChg chg="add del mod ord replST">
          <ac:chgData name="Wenwen Zhang" userId="9dd81366-5d6f-445a-b031-6ea562624431" providerId="ADAL" clId="{D6FBF965-026B-43DA-A554-C6861A0A35E4}" dt="2023-02-01T20:47:44.877" v="61363"/>
          <ac:graphicFrameMkLst>
            <pc:docMk/>
            <pc:sldMk cId="2167517715" sldId="2134804372"/>
            <ac:graphicFrameMk id="130" creationId="{DAF752E5-4DCD-21B5-758C-2A80EEA22259}"/>
          </ac:graphicFrameMkLst>
        </pc:graphicFrameChg>
        <pc:graphicFrameChg chg="add del mod ord replST">
          <ac:chgData name="Wenwen Zhang" userId="9dd81366-5d6f-445a-b031-6ea562624431" providerId="ADAL" clId="{D6FBF965-026B-43DA-A554-C6861A0A35E4}" dt="2023-02-02T10:56:58.242" v="115730"/>
          <ac:graphicFrameMkLst>
            <pc:docMk/>
            <pc:sldMk cId="2167517715" sldId="2134804372"/>
            <ac:graphicFrameMk id="132" creationId="{45604AAF-459B-4CE5-A534-C8F22B2DC45F}"/>
          </ac:graphicFrameMkLst>
        </pc:graphicFrameChg>
        <pc:graphicFrameChg chg="add del mod ord replST">
          <ac:chgData name="Wenwen Zhang" userId="9dd81366-5d6f-445a-b031-6ea562624431" providerId="ADAL" clId="{D6FBF965-026B-43DA-A554-C6861A0A35E4}" dt="2023-02-01T20:47:49.345" v="61737"/>
          <ac:graphicFrameMkLst>
            <pc:docMk/>
            <pc:sldMk cId="2167517715" sldId="2134804372"/>
            <ac:graphicFrameMk id="132" creationId="{83CE4A5B-90C7-D93C-0F40-79458A2B352B}"/>
          </ac:graphicFrameMkLst>
        </pc:graphicFrameChg>
        <pc:graphicFrameChg chg="add del mod ord replST">
          <ac:chgData name="Wenwen Zhang" userId="9dd81366-5d6f-445a-b031-6ea562624431" providerId="ADAL" clId="{D6FBF965-026B-43DA-A554-C6861A0A35E4}" dt="2023-02-02T10:56:59.998" v="115850"/>
          <ac:graphicFrameMkLst>
            <pc:docMk/>
            <pc:sldMk cId="2167517715" sldId="2134804372"/>
            <ac:graphicFrameMk id="135" creationId="{06ADF8C1-95AD-23A5-BCCB-86C2139A0CE1}"/>
          </ac:graphicFrameMkLst>
        </pc:graphicFrameChg>
        <pc:graphicFrameChg chg="add del mod ord replST">
          <ac:chgData name="Wenwen Zhang" userId="9dd81366-5d6f-445a-b031-6ea562624431" providerId="ADAL" clId="{D6FBF965-026B-43DA-A554-C6861A0A35E4}" dt="2023-02-01T20:48:03.759" v="62055"/>
          <ac:graphicFrameMkLst>
            <pc:docMk/>
            <pc:sldMk cId="2167517715" sldId="2134804372"/>
            <ac:graphicFrameMk id="135" creationId="{B6EE4D63-9C0C-C327-4079-56DBC85FB37D}"/>
          </ac:graphicFrameMkLst>
        </pc:graphicFrameChg>
        <pc:graphicFrameChg chg="add del mod ord replST">
          <ac:chgData name="Wenwen Zhang" userId="9dd81366-5d6f-445a-b031-6ea562624431" providerId="ADAL" clId="{D6FBF965-026B-43DA-A554-C6861A0A35E4}" dt="2023-02-01T20:48:11.643" v="62288"/>
          <ac:graphicFrameMkLst>
            <pc:docMk/>
            <pc:sldMk cId="2167517715" sldId="2134804372"/>
            <ac:graphicFrameMk id="137" creationId="{4A8580A8-3CCF-BAF9-CDD4-714AA325E64C}"/>
          </ac:graphicFrameMkLst>
        </pc:graphicFrameChg>
        <pc:graphicFrameChg chg="add del mod ord replST">
          <ac:chgData name="Wenwen Zhang" userId="9dd81366-5d6f-445a-b031-6ea562624431" providerId="ADAL" clId="{D6FBF965-026B-43DA-A554-C6861A0A35E4}" dt="2023-02-02T10:57:03.954" v="115997"/>
          <ac:graphicFrameMkLst>
            <pc:docMk/>
            <pc:sldMk cId="2167517715" sldId="2134804372"/>
            <ac:graphicFrameMk id="138" creationId="{4C33D00C-3D39-9965-9397-63892B72D30F}"/>
          </ac:graphicFrameMkLst>
        </pc:graphicFrameChg>
        <pc:graphicFrameChg chg="add del mod ord replST">
          <ac:chgData name="Wenwen Zhang" userId="9dd81366-5d6f-445a-b031-6ea562624431" providerId="ADAL" clId="{D6FBF965-026B-43DA-A554-C6861A0A35E4}" dt="2023-02-01T20:48:14.215" v="62463"/>
          <ac:graphicFrameMkLst>
            <pc:docMk/>
            <pc:sldMk cId="2167517715" sldId="2134804372"/>
            <ac:graphicFrameMk id="140" creationId="{491143FA-23A5-8722-C83D-85AA39270FF1}"/>
          </ac:graphicFrameMkLst>
        </pc:graphicFrameChg>
        <pc:graphicFrameChg chg="add del mod ord replST">
          <ac:chgData name="Wenwen Zhang" userId="9dd81366-5d6f-445a-b031-6ea562624431" providerId="ADAL" clId="{D6FBF965-026B-43DA-A554-C6861A0A35E4}" dt="2023-02-02T10:57:16.001" v="116096"/>
          <ac:graphicFrameMkLst>
            <pc:docMk/>
            <pc:sldMk cId="2167517715" sldId="2134804372"/>
            <ac:graphicFrameMk id="142" creationId="{5D97C495-52EB-872D-2BBE-84AAE6763D1D}"/>
          </ac:graphicFrameMkLst>
        </pc:graphicFrameChg>
        <pc:graphicFrameChg chg="add del mod ord replST">
          <ac:chgData name="Wenwen Zhang" userId="9dd81366-5d6f-445a-b031-6ea562624431" providerId="ADAL" clId="{D6FBF965-026B-43DA-A554-C6861A0A35E4}" dt="2023-02-01T20:48:16.046" v="62622"/>
          <ac:graphicFrameMkLst>
            <pc:docMk/>
            <pc:sldMk cId="2167517715" sldId="2134804372"/>
            <ac:graphicFrameMk id="142" creationId="{64D4285E-15DD-7CF8-9333-989D7CDBFE15}"/>
          </ac:graphicFrameMkLst>
        </pc:graphicFrameChg>
        <pc:graphicFrameChg chg="add del mod ord replST">
          <ac:chgData name="Wenwen Zhang" userId="9dd81366-5d6f-445a-b031-6ea562624431" providerId="ADAL" clId="{D6FBF965-026B-43DA-A554-C6861A0A35E4}" dt="2023-02-02T10:57:19.705" v="116193"/>
          <ac:graphicFrameMkLst>
            <pc:docMk/>
            <pc:sldMk cId="2167517715" sldId="2134804372"/>
            <ac:graphicFrameMk id="144" creationId="{6B24F1AD-3BD3-393D-1847-EA2C2CA5D3E4}"/>
          </ac:graphicFrameMkLst>
        </pc:graphicFrameChg>
        <pc:graphicFrameChg chg="add del mod ord replST">
          <ac:chgData name="Wenwen Zhang" userId="9dd81366-5d6f-445a-b031-6ea562624431" providerId="ADAL" clId="{D6FBF965-026B-43DA-A554-C6861A0A35E4}" dt="2023-02-01T20:48:16.753" v="62776"/>
          <ac:graphicFrameMkLst>
            <pc:docMk/>
            <pc:sldMk cId="2167517715" sldId="2134804372"/>
            <ac:graphicFrameMk id="144" creationId="{7E7A221C-90AD-2C4E-9DFE-A495AD95A9B4}"/>
          </ac:graphicFrameMkLst>
        </pc:graphicFrameChg>
        <pc:graphicFrameChg chg="add del mod ord replST">
          <ac:chgData name="Wenwen Zhang" userId="9dd81366-5d6f-445a-b031-6ea562624431" providerId="ADAL" clId="{D6FBF965-026B-43DA-A554-C6861A0A35E4}" dt="2023-02-01T20:48:54.505" v="63122"/>
          <ac:graphicFrameMkLst>
            <pc:docMk/>
            <pc:sldMk cId="2167517715" sldId="2134804372"/>
            <ac:graphicFrameMk id="146" creationId="{19265A59-39BC-AC06-4F3F-2C4707B51AF8}"/>
          </ac:graphicFrameMkLst>
        </pc:graphicFrameChg>
        <pc:graphicFrameChg chg="add del mod ord replST">
          <ac:chgData name="Wenwen Zhang" userId="9dd81366-5d6f-445a-b031-6ea562624431" providerId="ADAL" clId="{D6FBF965-026B-43DA-A554-C6861A0A35E4}" dt="2023-02-02T10:57:22.386" v="116290"/>
          <ac:graphicFrameMkLst>
            <pc:docMk/>
            <pc:sldMk cId="2167517715" sldId="2134804372"/>
            <ac:graphicFrameMk id="146" creationId="{C7FAEEC5-9B03-F711-5B33-9622B57777A4}"/>
          </ac:graphicFrameMkLst>
        </pc:graphicFrameChg>
        <pc:graphicFrameChg chg="add del mod ord replST">
          <ac:chgData name="Wenwen Zhang" userId="9dd81366-5d6f-445a-b031-6ea562624431" providerId="ADAL" clId="{D6FBF965-026B-43DA-A554-C6861A0A35E4}" dt="2023-02-02T10:57:37.347" v="116385"/>
          <ac:graphicFrameMkLst>
            <pc:docMk/>
            <pc:sldMk cId="2167517715" sldId="2134804372"/>
            <ac:graphicFrameMk id="148" creationId="{88165826-1AFB-0B70-ED14-2CFBE973F8BB}"/>
          </ac:graphicFrameMkLst>
        </pc:graphicFrameChg>
        <pc:graphicFrameChg chg="add del mod ord replST">
          <ac:chgData name="Wenwen Zhang" userId="9dd81366-5d6f-445a-b031-6ea562624431" providerId="ADAL" clId="{D6FBF965-026B-43DA-A554-C6861A0A35E4}" dt="2023-02-02T10:57:47.337" v="116490"/>
          <ac:graphicFrameMkLst>
            <pc:docMk/>
            <pc:sldMk cId="2167517715" sldId="2134804372"/>
            <ac:graphicFrameMk id="150" creationId="{47558D00-7C95-947E-A1CA-E71C1735F97A}"/>
          </ac:graphicFrameMkLst>
        </pc:graphicFrameChg>
        <pc:graphicFrameChg chg="add del mod ord replST">
          <ac:chgData name="Wenwen Zhang" userId="9dd81366-5d6f-445a-b031-6ea562624431" providerId="ADAL" clId="{D6FBF965-026B-43DA-A554-C6861A0A35E4}" dt="2023-02-02T10:58:17.642" v="116724"/>
          <ac:graphicFrameMkLst>
            <pc:docMk/>
            <pc:sldMk cId="2167517715" sldId="2134804372"/>
            <ac:graphicFrameMk id="152" creationId="{017C8695-7A30-60DC-0666-1B389C847191}"/>
          </ac:graphicFrameMkLst>
        </pc:graphicFrameChg>
        <pc:graphicFrameChg chg="add del mod ord replST">
          <ac:chgData name="Wenwen Zhang" userId="9dd81366-5d6f-445a-b031-6ea562624431" providerId="ADAL" clId="{D6FBF965-026B-43DA-A554-C6861A0A35E4}" dt="2023-02-01T20:48:58.925" v="63437"/>
          <ac:graphicFrameMkLst>
            <pc:docMk/>
            <pc:sldMk cId="2167517715" sldId="2134804372"/>
            <ac:graphicFrameMk id="152" creationId="{94BA9784-9F4E-12A2-7674-AA09E5357F7A}"/>
          </ac:graphicFrameMkLst>
        </pc:graphicFrameChg>
        <pc:graphicFrameChg chg="add del mod ord replST">
          <ac:chgData name="Wenwen Zhang" userId="9dd81366-5d6f-445a-b031-6ea562624431" providerId="ADAL" clId="{D6FBF965-026B-43DA-A554-C6861A0A35E4}" dt="2023-02-02T10:58:20.832" v="116985"/>
          <ac:graphicFrameMkLst>
            <pc:docMk/>
            <pc:sldMk cId="2167517715" sldId="2134804372"/>
            <ac:graphicFrameMk id="158" creationId="{1F8497A5-1EE0-7018-6C67-CF77D5BB0D32}"/>
          </ac:graphicFrameMkLst>
        </pc:graphicFrameChg>
        <pc:graphicFrameChg chg="add del mod ord replST">
          <ac:chgData name="Wenwen Zhang" userId="9dd81366-5d6f-445a-b031-6ea562624431" providerId="ADAL" clId="{D6FBF965-026B-43DA-A554-C6861A0A35E4}" dt="2023-02-01T20:49:48.407" v="63647"/>
          <ac:graphicFrameMkLst>
            <pc:docMk/>
            <pc:sldMk cId="2167517715" sldId="2134804372"/>
            <ac:graphicFrameMk id="158" creationId="{31B4E289-242C-D3CE-01F5-3D5D6D5155A4}"/>
          </ac:graphicFrameMkLst>
        </pc:graphicFrameChg>
        <pc:graphicFrameChg chg="add del mod ord replST">
          <ac:chgData name="Wenwen Zhang" userId="9dd81366-5d6f-445a-b031-6ea562624431" providerId="ADAL" clId="{D6FBF965-026B-43DA-A554-C6861A0A35E4}" dt="2023-02-01T20:49:55.911" v="63839"/>
          <ac:graphicFrameMkLst>
            <pc:docMk/>
            <pc:sldMk cId="2167517715" sldId="2134804372"/>
            <ac:graphicFrameMk id="160" creationId="{AB27DE4B-E64D-4BCF-6FE0-C85870062E65}"/>
          </ac:graphicFrameMkLst>
        </pc:graphicFrameChg>
        <pc:graphicFrameChg chg="add del mod ord replST">
          <ac:chgData name="Wenwen Zhang" userId="9dd81366-5d6f-445a-b031-6ea562624431" providerId="ADAL" clId="{D6FBF965-026B-43DA-A554-C6861A0A35E4}" dt="2023-02-01T20:50:11.216" v="64031"/>
          <ac:graphicFrameMkLst>
            <pc:docMk/>
            <pc:sldMk cId="2167517715" sldId="2134804372"/>
            <ac:graphicFrameMk id="162" creationId="{ACBFED24-22AF-3BEB-67EA-D9ADB6721EE8}"/>
          </ac:graphicFrameMkLst>
        </pc:graphicFrameChg>
        <pc:graphicFrameChg chg="add del mod ord replST">
          <ac:chgData name="Wenwen Zhang" userId="9dd81366-5d6f-445a-b031-6ea562624431" providerId="ADAL" clId="{D6FBF965-026B-43DA-A554-C6861A0A35E4}" dt="2023-02-02T10:58:23.597" v="117255"/>
          <ac:graphicFrameMkLst>
            <pc:docMk/>
            <pc:sldMk cId="2167517715" sldId="2134804372"/>
            <ac:graphicFrameMk id="164" creationId="{67793335-9786-9E8D-CED5-AA12660EA81D}"/>
          </ac:graphicFrameMkLst>
        </pc:graphicFrameChg>
        <pc:graphicFrameChg chg="add del mod ord replST">
          <ac:chgData name="Wenwen Zhang" userId="9dd81366-5d6f-445a-b031-6ea562624431" providerId="ADAL" clId="{D6FBF965-026B-43DA-A554-C6861A0A35E4}" dt="2023-02-01T20:50:21.900" v="64223"/>
          <ac:graphicFrameMkLst>
            <pc:docMk/>
            <pc:sldMk cId="2167517715" sldId="2134804372"/>
            <ac:graphicFrameMk id="164" creationId="{C74CFE12-13A2-C2C4-F2B2-6D81E847C274}"/>
          </ac:graphicFrameMkLst>
        </pc:graphicFrameChg>
        <pc:graphicFrameChg chg="add del mod ord replST">
          <ac:chgData name="Wenwen Zhang" userId="9dd81366-5d6f-445a-b031-6ea562624431" providerId="ADAL" clId="{D6FBF965-026B-43DA-A554-C6861A0A35E4}" dt="2023-02-01T22:03:40.704" v="92471"/>
          <ac:graphicFrameMkLst>
            <pc:docMk/>
            <pc:sldMk cId="2167517715" sldId="2134804372"/>
            <ac:graphicFrameMk id="166" creationId="{DFF3068B-EC3B-3E49-475E-83EDC22B009E}"/>
          </ac:graphicFrameMkLst>
        </pc:graphicFrameChg>
        <pc:graphicFrameChg chg="add del mod ord replST">
          <ac:chgData name="Wenwen Zhang" userId="9dd81366-5d6f-445a-b031-6ea562624431" providerId="ADAL" clId="{D6FBF965-026B-43DA-A554-C6861A0A35E4}" dt="2023-02-01T22:11:16.770" v="97651"/>
          <ac:graphicFrameMkLst>
            <pc:docMk/>
            <pc:sldMk cId="2167517715" sldId="2134804372"/>
            <ac:graphicFrameMk id="168" creationId="{D4BAA836-563A-366F-0CEE-0AD1D8B36252}"/>
          </ac:graphicFrameMkLst>
        </pc:graphicFrameChg>
        <pc:graphicFrameChg chg="add del mod replST">
          <ac:chgData name="Wenwen Zhang" userId="9dd81366-5d6f-445a-b031-6ea562624431" providerId="ADAL" clId="{D6FBF965-026B-43DA-A554-C6861A0A35E4}" dt="2023-02-01T22:03:51.957" v="93516"/>
          <ac:graphicFrameMkLst>
            <pc:docMk/>
            <pc:sldMk cId="2167517715" sldId="2134804372"/>
            <ac:graphicFrameMk id="169" creationId="{CB6B41E3-C2D0-7659-DDB6-8C80AE1CA0A2}"/>
          </ac:graphicFrameMkLst>
        </pc:graphicFrameChg>
        <pc:graphicFrameChg chg="add del mod ord replST">
          <ac:chgData name="Wenwen Zhang" userId="9dd81366-5d6f-445a-b031-6ea562624431" providerId="ADAL" clId="{D6FBF965-026B-43DA-A554-C6861A0A35E4}" dt="2023-02-02T11:25:45.578" v="117596"/>
          <ac:graphicFrameMkLst>
            <pc:docMk/>
            <pc:sldMk cId="2167517715" sldId="2134804372"/>
            <ac:graphicFrameMk id="170" creationId="{7E0C6EC9-1381-681C-56CF-7DA9E9222458}"/>
          </ac:graphicFrameMkLst>
        </pc:graphicFrameChg>
        <pc:graphicFrameChg chg="add del mod ord replST">
          <ac:chgData name="Wenwen Zhang" userId="9dd81366-5d6f-445a-b031-6ea562624431" providerId="ADAL" clId="{D6FBF965-026B-43DA-A554-C6861A0A35E4}" dt="2023-02-02T11:49:27.525" v="120252"/>
          <ac:graphicFrameMkLst>
            <pc:docMk/>
            <pc:sldMk cId="2167517715" sldId="2134804372"/>
            <ac:graphicFrameMk id="172" creationId="{52F11A8E-2933-1BD6-AB68-17966F0A860E}"/>
          </ac:graphicFrameMkLst>
        </pc:graphicFrameChg>
        <pc:graphicFrameChg chg="add del mod ord replST">
          <ac:chgData name="Wenwen Zhang" userId="9dd81366-5d6f-445a-b031-6ea562624431" providerId="ADAL" clId="{D6FBF965-026B-43DA-A554-C6861A0A35E4}" dt="2023-02-02T11:49:36.338" v="120432"/>
          <ac:graphicFrameMkLst>
            <pc:docMk/>
            <pc:sldMk cId="2167517715" sldId="2134804372"/>
            <ac:graphicFrameMk id="174" creationId="{53B0E036-2363-92F4-996C-63BEA2CB6A5F}"/>
          </ac:graphicFrameMkLst>
        </pc:graphicFrameChg>
        <pc:graphicFrameChg chg="add mod ord replST">
          <ac:chgData name="Wenwen Zhang" userId="9dd81366-5d6f-445a-b031-6ea562624431" providerId="ADAL" clId="{D6FBF965-026B-43DA-A554-C6861A0A35E4}" dt="2023-02-02T11:49:36.341" v="120446"/>
          <ac:graphicFrameMkLst>
            <pc:docMk/>
            <pc:sldMk cId="2167517715" sldId="2134804372"/>
            <ac:graphicFrameMk id="176" creationId="{FC6FA91F-05E3-759D-3745-11BC429E9E5E}"/>
          </ac:graphicFrameMkLst>
        </pc:graphicFrameChg>
        <pc:graphicFrameChg chg="del">
          <ac:chgData name="Wenwen Zhang" userId="9dd81366-5d6f-445a-b031-6ea562624431" providerId="ADAL" clId="{D6FBF965-026B-43DA-A554-C6861A0A35E4}" dt="2023-02-01T20:37:38.146" v="54110"/>
          <ac:graphicFrameMkLst>
            <pc:docMk/>
            <pc:sldMk cId="2167517715" sldId="2134804372"/>
            <ac:graphicFrameMk id="322" creationId="{746E3625-82EA-4E0E-6B7C-B8CEAD73ED21}"/>
          </ac:graphicFrameMkLst>
        </pc:graphicFrameChg>
        <pc:graphicFrameChg chg="del mod ord">
          <ac:chgData name="Wenwen Zhang" userId="9dd81366-5d6f-445a-b031-6ea562624431" providerId="ADAL" clId="{D6FBF965-026B-43DA-A554-C6861A0A35E4}" dt="2023-02-01T20:38:01.658" v="54579"/>
          <ac:graphicFrameMkLst>
            <pc:docMk/>
            <pc:sldMk cId="2167517715" sldId="2134804372"/>
            <ac:graphicFrameMk id="339" creationId="{36586141-4700-94A1-BBE9-E3718D976B5A}"/>
          </ac:graphicFrameMkLst>
        </pc:graphicFrameChg>
        <pc:graphicFrameChg chg="add del mod ord replST">
          <ac:chgData name="Wenwen Zhang" userId="9dd81366-5d6f-445a-b031-6ea562624431" providerId="ADAL" clId="{D6FBF965-026B-43DA-A554-C6861A0A35E4}" dt="2023-02-01T22:04:08" v="93983"/>
          <ac:graphicFrameMkLst>
            <pc:docMk/>
            <pc:sldMk cId="2167517715" sldId="2134804372"/>
            <ac:graphicFrameMk id="346" creationId="{D5B44468-6A97-E603-1F19-BC36EE062D0F}"/>
          </ac:graphicFrameMkLst>
        </pc:graphicFrameChg>
        <pc:graphicFrameChg chg="add del mod ord replST">
          <ac:chgData name="Wenwen Zhang" userId="9dd81366-5d6f-445a-b031-6ea562624431" providerId="ADAL" clId="{D6FBF965-026B-43DA-A554-C6861A0A35E4}" dt="2023-02-01T22:04:12.428" v="94335"/>
          <ac:graphicFrameMkLst>
            <pc:docMk/>
            <pc:sldMk cId="2167517715" sldId="2134804372"/>
            <ac:graphicFrameMk id="348" creationId="{49032BC2-B502-20EF-28E9-41CF32217E2F}"/>
          </ac:graphicFrameMkLst>
        </pc:graphicFrameChg>
        <pc:graphicFrameChg chg="add del mod ord replST">
          <ac:chgData name="Wenwen Zhang" userId="9dd81366-5d6f-445a-b031-6ea562624431" providerId="ADAL" clId="{D6FBF965-026B-43DA-A554-C6861A0A35E4}" dt="2023-02-01T22:04:18.778" v="94582"/>
          <ac:graphicFrameMkLst>
            <pc:docMk/>
            <pc:sldMk cId="2167517715" sldId="2134804372"/>
            <ac:graphicFrameMk id="350" creationId="{813A990A-E8E9-0BF8-A4D0-A08D3C120305}"/>
          </ac:graphicFrameMkLst>
        </pc:graphicFrameChg>
        <pc:graphicFrameChg chg="add del mod ord replST">
          <ac:chgData name="Wenwen Zhang" userId="9dd81366-5d6f-445a-b031-6ea562624431" providerId="ADAL" clId="{D6FBF965-026B-43DA-A554-C6861A0A35E4}" dt="2023-02-01T22:04:23.374" v="94819"/>
          <ac:graphicFrameMkLst>
            <pc:docMk/>
            <pc:sldMk cId="2167517715" sldId="2134804372"/>
            <ac:graphicFrameMk id="352" creationId="{ACCD5E9B-511E-2A3B-2E8A-E64932A94121}"/>
          </ac:graphicFrameMkLst>
        </pc:graphicFrameChg>
        <pc:graphicFrameChg chg="add del mod ord replST">
          <ac:chgData name="Wenwen Zhang" userId="9dd81366-5d6f-445a-b031-6ea562624431" providerId="ADAL" clId="{D6FBF965-026B-43DA-A554-C6861A0A35E4}" dt="2023-02-01T22:07:16.017" v="95048"/>
          <ac:graphicFrameMkLst>
            <pc:docMk/>
            <pc:sldMk cId="2167517715" sldId="2134804372"/>
            <ac:graphicFrameMk id="354" creationId="{B0E2F516-2587-CC2D-7EB6-750318531F22}"/>
          </ac:graphicFrameMkLst>
        </pc:graphicFrameChg>
        <pc:graphicFrameChg chg="add del mod ord replST">
          <ac:chgData name="Wenwen Zhang" userId="9dd81366-5d6f-445a-b031-6ea562624431" providerId="ADAL" clId="{D6FBF965-026B-43DA-A554-C6861A0A35E4}" dt="2023-02-01T22:07:33.045" v="95294"/>
          <ac:graphicFrameMkLst>
            <pc:docMk/>
            <pc:sldMk cId="2167517715" sldId="2134804372"/>
            <ac:graphicFrameMk id="356" creationId="{212B459A-991E-4990-F798-42F7AFDE0735}"/>
          </ac:graphicFrameMkLst>
        </pc:graphicFrameChg>
        <pc:graphicFrameChg chg="add del mod ord replST">
          <ac:chgData name="Wenwen Zhang" userId="9dd81366-5d6f-445a-b031-6ea562624431" providerId="ADAL" clId="{D6FBF965-026B-43DA-A554-C6861A0A35E4}" dt="2023-02-01T22:08:23.650" v="95570"/>
          <ac:graphicFrameMkLst>
            <pc:docMk/>
            <pc:sldMk cId="2167517715" sldId="2134804372"/>
            <ac:graphicFrameMk id="358" creationId="{4D5A8623-7AB5-87BC-15C9-C6A8EEB1A5C3}"/>
          </ac:graphicFrameMkLst>
        </pc:graphicFrameChg>
        <pc:graphicFrameChg chg="add del mod ord replST">
          <ac:chgData name="Wenwen Zhang" userId="9dd81366-5d6f-445a-b031-6ea562624431" providerId="ADAL" clId="{D6FBF965-026B-43DA-A554-C6861A0A35E4}" dt="2023-02-01T22:08:32.494" v="95834"/>
          <ac:graphicFrameMkLst>
            <pc:docMk/>
            <pc:sldMk cId="2167517715" sldId="2134804372"/>
            <ac:graphicFrameMk id="360" creationId="{471DC1C2-9D45-A708-668D-D83FB0B96F21}"/>
          </ac:graphicFrameMkLst>
        </pc:graphicFrameChg>
        <pc:graphicFrameChg chg="add del mod ord replST">
          <ac:chgData name="Wenwen Zhang" userId="9dd81366-5d6f-445a-b031-6ea562624431" providerId="ADAL" clId="{D6FBF965-026B-43DA-A554-C6861A0A35E4}" dt="2023-02-01T22:08:47.766" v="96110"/>
          <ac:graphicFrameMkLst>
            <pc:docMk/>
            <pc:sldMk cId="2167517715" sldId="2134804372"/>
            <ac:graphicFrameMk id="362" creationId="{079BBA43-0F33-407D-E857-248C40B3E930}"/>
          </ac:graphicFrameMkLst>
        </pc:graphicFrameChg>
        <pc:graphicFrameChg chg="add del mod ord replST">
          <ac:chgData name="Wenwen Zhang" userId="9dd81366-5d6f-445a-b031-6ea562624431" providerId="ADAL" clId="{D6FBF965-026B-43DA-A554-C6861A0A35E4}" dt="2023-02-01T22:08:54.457" v="96374"/>
          <ac:graphicFrameMkLst>
            <pc:docMk/>
            <pc:sldMk cId="2167517715" sldId="2134804372"/>
            <ac:graphicFrameMk id="364" creationId="{0DD63129-CED8-0F73-4350-2D830FEEA0CF}"/>
          </ac:graphicFrameMkLst>
        </pc:graphicFrameChg>
        <pc:graphicFrameChg chg="add del mod ord replST">
          <ac:chgData name="Wenwen Zhang" userId="9dd81366-5d6f-445a-b031-6ea562624431" providerId="ADAL" clId="{D6FBF965-026B-43DA-A554-C6861A0A35E4}" dt="2023-02-01T22:09:18.640" v="96650"/>
          <ac:graphicFrameMkLst>
            <pc:docMk/>
            <pc:sldMk cId="2167517715" sldId="2134804372"/>
            <ac:graphicFrameMk id="366" creationId="{A8B39B4F-76E9-CCE7-5D61-0000D7CF262F}"/>
          </ac:graphicFrameMkLst>
        </pc:graphicFrameChg>
        <pc:graphicFrameChg chg="add del mod ord replST">
          <ac:chgData name="Wenwen Zhang" userId="9dd81366-5d6f-445a-b031-6ea562624431" providerId="ADAL" clId="{D6FBF965-026B-43DA-A554-C6861A0A35E4}" dt="2023-02-01T22:09:26.815" v="96982"/>
          <ac:graphicFrameMkLst>
            <pc:docMk/>
            <pc:sldMk cId="2167517715" sldId="2134804372"/>
            <ac:graphicFrameMk id="368" creationId="{963BDAA1-F3A1-9C3E-B3B7-0EC6B39C1179}"/>
          </ac:graphicFrameMkLst>
        </pc:graphicFrameChg>
        <pc:graphicFrameChg chg="add del mod ord replST">
          <ac:chgData name="Wenwen Zhang" userId="9dd81366-5d6f-445a-b031-6ea562624431" providerId="ADAL" clId="{D6FBF965-026B-43DA-A554-C6861A0A35E4}" dt="2023-02-01T22:09:33.440" v="97329"/>
          <ac:graphicFrameMkLst>
            <pc:docMk/>
            <pc:sldMk cId="2167517715" sldId="2134804372"/>
            <ac:graphicFrameMk id="371" creationId="{3BBFDCBF-A7B6-15C7-6E30-7F6045B9764B}"/>
          </ac:graphicFrameMkLst>
        </pc:graphicFrameChg>
        <pc:graphicFrameChg chg="add del mod ord replST">
          <ac:chgData name="Wenwen Zhang" userId="9dd81366-5d6f-445a-b031-6ea562624431" providerId="ADAL" clId="{D6FBF965-026B-43DA-A554-C6861A0A35E4}" dt="2023-02-01T22:11:46.257" v="98067"/>
          <ac:graphicFrameMkLst>
            <pc:docMk/>
            <pc:sldMk cId="2167517715" sldId="2134804372"/>
            <ac:graphicFrameMk id="374" creationId="{F1CDE218-D6C3-2BCA-F531-3D3652EA776D}"/>
          </ac:graphicFrameMkLst>
        </pc:graphicFrameChg>
        <pc:graphicFrameChg chg="add del mod ord replST">
          <ac:chgData name="Wenwen Zhang" userId="9dd81366-5d6f-445a-b031-6ea562624431" providerId="ADAL" clId="{D6FBF965-026B-43DA-A554-C6861A0A35E4}" dt="2023-02-01T22:11:39.782" v="97847"/>
          <ac:graphicFrameMkLst>
            <pc:docMk/>
            <pc:sldMk cId="2167517715" sldId="2134804372"/>
            <ac:graphicFrameMk id="376" creationId="{5BFCFC1C-20D4-76C6-676A-F8FC6E7FD248}"/>
          </ac:graphicFrameMkLst>
        </pc:graphicFrameChg>
        <pc:graphicFrameChg chg="add del mod ord replST">
          <ac:chgData name="Wenwen Zhang" userId="9dd81366-5d6f-445a-b031-6ea562624431" providerId="ADAL" clId="{D6FBF965-026B-43DA-A554-C6861A0A35E4}" dt="2023-02-01T22:13:06.540" v="98268"/>
          <ac:graphicFrameMkLst>
            <pc:docMk/>
            <pc:sldMk cId="2167517715" sldId="2134804372"/>
            <ac:graphicFrameMk id="378" creationId="{1DE58D4B-B80F-A1A3-B732-491E61BD4F9B}"/>
          </ac:graphicFrameMkLst>
        </pc:graphicFrameChg>
        <pc:graphicFrameChg chg="add del mod ord replST">
          <ac:chgData name="Wenwen Zhang" userId="9dd81366-5d6f-445a-b031-6ea562624431" providerId="ADAL" clId="{D6FBF965-026B-43DA-A554-C6861A0A35E4}" dt="2023-02-01T22:13:17.159" v="98628"/>
          <ac:graphicFrameMkLst>
            <pc:docMk/>
            <pc:sldMk cId="2167517715" sldId="2134804372"/>
            <ac:graphicFrameMk id="380" creationId="{349EB31E-1DF2-0BA3-EC33-87C85A5814E0}"/>
          </ac:graphicFrameMkLst>
        </pc:graphicFrameChg>
        <pc:graphicFrameChg chg="add del mod ord replST">
          <ac:chgData name="Wenwen Zhang" userId="9dd81366-5d6f-445a-b031-6ea562624431" providerId="ADAL" clId="{D6FBF965-026B-43DA-A554-C6861A0A35E4}" dt="2023-02-01T22:13:11.050" v="98413"/>
          <ac:graphicFrameMkLst>
            <pc:docMk/>
            <pc:sldMk cId="2167517715" sldId="2134804372"/>
            <ac:graphicFrameMk id="383" creationId="{1A0DBEC8-91D3-C7B1-0353-46D495FD84D6}"/>
          </ac:graphicFrameMkLst>
        </pc:graphicFrameChg>
        <pc:graphicFrameChg chg="add del mod ord replST">
          <ac:chgData name="Wenwen Zhang" userId="9dd81366-5d6f-445a-b031-6ea562624431" providerId="ADAL" clId="{D6FBF965-026B-43DA-A554-C6861A0A35E4}" dt="2023-02-01T22:13:22.613" v="98773"/>
          <ac:graphicFrameMkLst>
            <pc:docMk/>
            <pc:sldMk cId="2167517715" sldId="2134804372"/>
            <ac:graphicFrameMk id="385" creationId="{4B6718F3-8071-895C-84D2-FC862FC97285}"/>
          </ac:graphicFrameMkLst>
        </pc:graphicFrameChg>
        <pc:graphicFrameChg chg="add del mod ord replST">
          <ac:chgData name="Wenwen Zhang" userId="9dd81366-5d6f-445a-b031-6ea562624431" providerId="ADAL" clId="{D6FBF965-026B-43DA-A554-C6861A0A35E4}" dt="2023-02-02T08:19:03.819" v="106496"/>
          <ac:graphicFrameMkLst>
            <pc:docMk/>
            <pc:sldMk cId="2167517715" sldId="2134804372"/>
            <ac:graphicFrameMk id="387" creationId="{F0747D6C-8F86-54B9-250E-50DD37B53DA0}"/>
          </ac:graphicFrameMkLst>
        </pc:graphicFrameChg>
        <pc:graphicFrameChg chg="add del mod ord replST">
          <ac:chgData name="Wenwen Zhang" userId="9dd81366-5d6f-445a-b031-6ea562624431" providerId="ADAL" clId="{D6FBF965-026B-43DA-A554-C6861A0A35E4}" dt="2023-02-01T22:14:17.044" v="99006"/>
          <ac:graphicFrameMkLst>
            <pc:docMk/>
            <pc:sldMk cId="2167517715" sldId="2134804372"/>
            <ac:graphicFrameMk id="389" creationId="{54725BC1-25AC-8823-C7F0-02504575C1D3}"/>
          </ac:graphicFrameMkLst>
        </pc:graphicFrameChg>
        <pc:graphicFrameChg chg="add del mod ord replST">
          <ac:chgData name="Wenwen Zhang" userId="9dd81366-5d6f-445a-b031-6ea562624431" providerId="ADAL" clId="{D6FBF965-026B-43DA-A554-C6861A0A35E4}" dt="2023-02-01T22:15:39.973" v="101495"/>
          <ac:graphicFrameMkLst>
            <pc:docMk/>
            <pc:sldMk cId="2167517715" sldId="2134804372"/>
            <ac:graphicFrameMk id="391" creationId="{D3250636-900B-695A-26BF-7D12603CFC95}"/>
          </ac:graphicFrameMkLst>
        </pc:graphicFrameChg>
        <pc:graphicFrameChg chg="add del mod ord replST delST">
          <ac:chgData name="Wenwen Zhang" userId="9dd81366-5d6f-445a-b031-6ea562624431" providerId="ADAL" clId="{D6FBF965-026B-43DA-A554-C6861A0A35E4}" dt="2023-02-01T22:15:13.498" v="100126"/>
          <ac:graphicFrameMkLst>
            <pc:docMk/>
            <pc:sldMk cId="2167517715" sldId="2134804372"/>
            <ac:graphicFrameMk id="397" creationId="{DBB367F5-E80E-6953-32FB-CEAEF6D874D5}"/>
          </ac:graphicFrameMkLst>
        </pc:graphicFrameChg>
        <pc:graphicFrameChg chg="add mod ord replST delST">
          <ac:chgData name="Wenwen Zhang" userId="9dd81366-5d6f-445a-b031-6ea562624431" providerId="ADAL" clId="{D6FBF965-026B-43DA-A554-C6861A0A35E4}" dt="2023-02-01T22:15:13.012" v="99913"/>
          <ac:graphicFrameMkLst>
            <pc:docMk/>
            <pc:sldMk cId="2167517715" sldId="2134804372"/>
            <ac:graphicFrameMk id="403" creationId="{053BE3F8-57ED-B953-3F34-E69A22A14929}"/>
          </ac:graphicFrameMkLst>
        </pc:graphicFrameChg>
        <pc:graphicFrameChg chg="add mod ord replST delST">
          <ac:chgData name="Wenwen Zhang" userId="9dd81366-5d6f-445a-b031-6ea562624431" providerId="ADAL" clId="{D6FBF965-026B-43DA-A554-C6861A0A35E4}" dt="2023-02-01T22:15:23.766" v="101077"/>
          <ac:graphicFrameMkLst>
            <pc:docMk/>
            <pc:sldMk cId="2167517715" sldId="2134804372"/>
            <ac:graphicFrameMk id="409" creationId="{47B0BEBC-70A5-C7FF-69F1-13130BFE1AB4}"/>
          </ac:graphicFrameMkLst>
        </pc:graphicFrameChg>
        <pc:graphicFrameChg chg="add del mod ord replST">
          <ac:chgData name="Wenwen Zhang" userId="9dd81366-5d6f-445a-b031-6ea562624431" providerId="ADAL" clId="{D6FBF965-026B-43DA-A554-C6861A0A35E4}" dt="2023-02-01T22:15:45.890" v="101712"/>
          <ac:graphicFrameMkLst>
            <pc:docMk/>
            <pc:sldMk cId="2167517715" sldId="2134804372"/>
            <ac:graphicFrameMk id="415" creationId="{C64D6E89-4D39-6C6B-93AC-8DBF5D51303B}"/>
          </ac:graphicFrameMkLst>
        </pc:graphicFrameChg>
        <pc:graphicFrameChg chg="add del mod ord replST">
          <ac:chgData name="Wenwen Zhang" userId="9dd81366-5d6f-445a-b031-6ea562624431" providerId="ADAL" clId="{D6FBF965-026B-43DA-A554-C6861A0A35E4}" dt="2023-02-01T22:15:48.915" v="101892"/>
          <ac:graphicFrameMkLst>
            <pc:docMk/>
            <pc:sldMk cId="2167517715" sldId="2134804372"/>
            <ac:graphicFrameMk id="417" creationId="{BFF60EF6-7157-5482-B73C-6421C92EBDBF}"/>
          </ac:graphicFrameMkLst>
        </pc:graphicFrameChg>
        <pc:graphicFrameChg chg="add del mod ord replST">
          <ac:chgData name="Wenwen Zhang" userId="9dd81366-5d6f-445a-b031-6ea562624431" providerId="ADAL" clId="{D6FBF965-026B-43DA-A554-C6861A0A35E4}" dt="2023-02-01T22:16:06.245" v="102178"/>
          <ac:graphicFrameMkLst>
            <pc:docMk/>
            <pc:sldMk cId="2167517715" sldId="2134804372"/>
            <ac:graphicFrameMk id="419" creationId="{8847D0A5-32A3-CF8D-D675-5ED0E2E2AB57}"/>
          </ac:graphicFrameMkLst>
        </pc:graphicFrameChg>
        <pc:graphicFrameChg chg="add del mod ord replST">
          <ac:chgData name="Wenwen Zhang" userId="9dd81366-5d6f-445a-b031-6ea562624431" providerId="ADAL" clId="{D6FBF965-026B-43DA-A554-C6861A0A35E4}" dt="2023-02-01T22:16:18.262" v="102389"/>
          <ac:graphicFrameMkLst>
            <pc:docMk/>
            <pc:sldMk cId="2167517715" sldId="2134804372"/>
            <ac:graphicFrameMk id="425" creationId="{D2DB7D85-C502-2DF6-D7E4-65B67B767B6C}"/>
          </ac:graphicFrameMkLst>
        </pc:graphicFrameChg>
        <pc:graphicFrameChg chg="add del mod ord replST">
          <ac:chgData name="Wenwen Zhang" userId="9dd81366-5d6f-445a-b031-6ea562624431" providerId="ADAL" clId="{D6FBF965-026B-43DA-A554-C6861A0A35E4}" dt="2023-02-01T22:16:22.805" v="102566"/>
          <ac:graphicFrameMkLst>
            <pc:docMk/>
            <pc:sldMk cId="2167517715" sldId="2134804372"/>
            <ac:graphicFrameMk id="427" creationId="{7E6D6D15-8D29-B4F4-B6AB-8F0338B3526B}"/>
          </ac:graphicFrameMkLst>
        </pc:graphicFrameChg>
        <pc:graphicFrameChg chg="add del mod ord replST">
          <ac:chgData name="Wenwen Zhang" userId="9dd81366-5d6f-445a-b031-6ea562624431" providerId="ADAL" clId="{D6FBF965-026B-43DA-A554-C6861A0A35E4}" dt="2023-02-01T22:16:29.473" v="102744"/>
          <ac:graphicFrameMkLst>
            <pc:docMk/>
            <pc:sldMk cId="2167517715" sldId="2134804372"/>
            <ac:graphicFrameMk id="429" creationId="{36B18990-9E4E-42AD-7D66-CA19028FB07C}"/>
          </ac:graphicFrameMkLst>
        </pc:graphicFrameChg>
        <pc:graphicFrameChg chg="add del mod ord replST">
          <ac:chgData name="Wenwen Zhang" userId="9dd81366-5d6f-445a-b031-6ea562624431" providerId="ADAL" clId="{D6FBF965-026B-43DA-A554-C6861A0A35E4}" dt="2023-02-01T22:16:31.715" v="102897"/>
          <ac:graphicFrameMkLst>
            <pc:docMk/>
            <pc:sldMk cId="2167517715" sldId="2134804372"/>
            <ac:graphicFrameMk id="431" creationId="{10A2F276-9B95-EDB4-2253-F8402C321319}"/>
          </ac:graphicFrameMkLst>
        </pc:graphicFrameChg>
        <pc:graphicFrameChg chg="add del mod ord replST">
          <ac:chgData name="Wenwen Zhang" userId="9dd81366-5d6f-445a-b031-6ea562624431" providerId="ADAL" clId="{D6FBF965-026B-43DA-A554-C6861A0A35E4}" dt="2023-02-02T08:18:47.699" v="105822"/>
          <ac:graphicFrameMkLst>
            <pc:docMk/>
            <pc:sldMk cId="2167517715" sldId="2134804372"/>
            <ac:graphicFrameMk id="433" creationId="{5B9630AD-1BA7-D9D9-7F55-3F98950593FB}"/>
          </ac:graphicFrameMkLst>
        </pc:graphicFrameChg>
        <pc:cxnChg chg="add del mod ord replST">
          <ac:chgData name="Wenwen Zhang" userId="9dd81366-5d6f-445a-b031-6ea562624431" providerId="ADAL" clId="{D6FBF965-026B-43DA-A554-C6861A0A35E4}" dt="2023-02-02T10:54:04.898" v="114841"/>
          <ac:cxnSpMkLst>
            <pc:docMk/>
            <pc:sldMk cId="2167517715" sldId="2134804372"/>
            <ac:cxnSpMk id="24" creationId="{76773099-1B20-9F3C-9A2D-727CC42AEB89}"/>
          </ac:cxnSpMkLst>
        </pc:cxnChg>
        <pc:cxnChg chg="add del mod ord replST">
          <ac:chgData name="Wenwen Zhang" userId="9dd81366-5d6f-445a-b031-6ea562624431" providerId="ADAL" clId="{D6FBF965-026B-43DA-A554-C6861A0A35E4}" dt="2023-02-02T10:54:04.898" v="114839"/>
          <ac:cxnSpMkLst>
            <pc:docMk/>
            <pc:sldMk cId="2167517715" sldId="2134804372"/>
            <ac:cxnSpMk id="25" creationId="{6B2FA14D-E2B8-AE4E-85F0-1EA1D04A553F}"/>
          </ac:cxnSpMkLst>
        </pc:cxnChg>
        <pc:cxnChg chg="add del mod ord replST">
          <ac:chgData name="Wenwen Zhang" userId="9dd81366-5d6f-445a-b031-6ea562624431" providerId="ADAL" clId="{D6FBF965-026B-43DA-A554-C6861A0A35E4}" dt="2023-02-02T10:54:04.898" v="114837"/>
          <ac:cxnSpMkLst>
            <pc:docMk/>
            <pc:sldMk cId="2167517715" sldId="2134804372"/>
            <ac:cxnSpMk id="26" creationId="{ACBE8399-EA01-AECD-F12E-238A02708E37}"/>
          </ac:cxnSpMkLst>
        </pc:cxnChg>
        <pc:cxnChg chg="add del mod ord replST">
          <ac:chgData name="Wenwen Zhang" userId="9dd81366-5d6f-445a-b031-6ea562624431" providerId="ADAL" clId="{D6FBF965-026B-43DA-A554-C6861A0A35E4}" dt="2023-02-02T10:54:04.898" v="114833"/>
          <ac:cxnSpMkLst>
            <pc:docMk/>
            <pc:sldMk cId="2167517715" sldId="2134804372"/>
            <ac:cxnSpMk id="32" creationId="{AD6762ED-D147-7466-846E-8E48EC0CE62B}"/>
          </ac:cxnSpMkLst>
        </pc:cxnChg>
        <pc:cxnChg chg="add del mod ord replST">
          <ac:chgData name="Wenwen Zhang" userId="9dd81366-5d6f-445a-b031-6ea562624431" providerId="ADAL" clId="{D6FBF965-026B-43DA-A554-C6861A0A35E4}" dt="2023-02-02T10:54:04.898" v="114831"/>
          <ac:cxnSpMkLst>
            <pc:docMk/>
            <pc:sldMk cId="2167517715" sldId="2134804372"/>
            <ac:cxnSpMk id="33" creationId="{2697151D-4FAE-111D-6BDD-AF67191FBB5A}"/>
          </ac:cxnSpMkLst>
        </pc:cxnChg>
        <pc:cxnChg chg="add del mod ord replST">
          <ac:chgData name="Wenwen Zhang" userId="9dd81366-5d6f-445a-b031-6ea562624431" providerId="ADAL" clId="{D6FBF965-026B-43DA-A554-C6861A0A35E4}" dt="2023-02-02T10:54:04.898" v="114829"/>
          <ac:cxnSpMkLst>
            <pc:docMk/>
            <pc:sldMk cId="2167517715" sldId="2134804372"/>
            <ac:cxnSpMk id="34" creationId="{51965B8C-54AF-9B90-6226-3A7CDDB0C16C}"/>
          </ac:cxnSpMkLst>
        </pc:cxnChg>
        <pc:cxnChg chg="add del mod ord replST">
          <ac:chgData name="Wenwen Zhang" userId="9dd81366-5d6f-445a-b031-6ea562624431" providerId="ADAL" clId="{D6FBF965-026B-43DA-A554-C6861A0A35E4}" dt="2023-02-01T20:47:49.220" v="61495"/>
          <ac:cxnSpMkLst>
            <pc:docMk/>
            <pc:sldMk cId="2167517715" sldId="2134804372"/>
            <ac:cxnSpMk id="68" creationId="{CBC4B8E6-D2F5-9E1C-4FA5-F299264221DD}"/>
          </ac:cxnSpMkLst>
        </pc:cxnChg>
        <pc:cxnChg chg="add del mod ord replST">
          <ac:chgData name="Wenwen Zhang" userId="9dd81366-5d6f-445a-b031-6ea562624431" providerId="ADAL" clId="{D6FBF965-026B-43DA-A554-C6861A0A35E4}" dt="2023-02-01T20:47:49.219" v="61493"/>
          <ac:cxnSpMkLst>
            <pc:docMk/>
            <pc:sldMk cId="2167517715" sldId="2134804372"/>
            <ac:cxnSpMk id="69" creationId="{DEDD7766-BE85-CEF2-E01D-47DB6D3E31E0}"/>
          </ac:cxnSpMkLst>
        </pc:cxnChg>
        <pc:cxnChg chg="add del mod ord replST">
          <ac:chgData name="Wenwen Zhang" userId="9dd81366-5d6f-445a-b031-6ea562624431" providerId="ADAL" clId="{D6FBF965-026B-43DA-A554-C6861A0A35E4}" dt="2023-02-01T20:47:49.219" v="61491"/>
          <ac:cxnSpMkLst>
            <pc:docMk/>
            <pc:sldMk cId="2167517715" sldId="2134804372"/>
            <ac:cxnSpMk id="70" creationId="{D0B6A370-4778-07EA-DA57-09E03AE59216}"/>
          </ac:cxnSpMkLst>
        </pc:cxnChg>
        <pc:cxnChg chg="add del mod ord replST">
          <ac:chgData name="Wenwen Zhang" userId="9dd81366-5d6f-445a-b031-6ea562624431" providerId="ADAL" clId="{D6FBF965-026B-43DA-A554-C6861A0A35E4}" dt="2023-02-01T20:47:49.218" v="61487"/>
          <ac:cxnSpMkLst>
            <pc:docMk/>
            <pc:sldMk cId="2167517715" sldId="2134804372"/>
            <ac:cxnSpMk id="74" creationId="{09C53FB2-6CC1-772D-AE8A-FECDDF012DCF}"/>
          </ac:cxnSpMkLst>
        </pc:cxnChg>
        <pc:cxnChg chg="add del mod ord replST">
          <ac:chgData name="Wenwen Zhang" userId="9dd81366-5d6f-445a-b031-6ea562624431" providerId="ADAL" clId="{D6FBF965-026B-43DA-A554-C6861A0A35E4}" dt="2023-02-01T20:47:49.217" v="61485"/>
          <ac:cxnSpMkLst>
            <pc:docMk/>
            <pc:sldMk cId="2167517715" sldId="2134804372"/>
            <ac:cxnSpMk id="76" creationId="{1E0C0B5E-66E9-9DCE-D4DD-721AF2BBB8B7}"/>
          </ac:cxnSpMkLst>
        </pc:cxnChg>
        <pc:cxnChg chg="add del mod ord replST">
          <ac:chgData name="Wenwen Zhang" userId="9dd81366-5d6f-445a-b031-6ea562624431" providerId="ADAL" clId="{D6FBF965-026B-43DA-A554-C6861A0A35E4}" dt="2023-02-01T20:47:49.215" v="61483"/>
          <ac:cxnSpMkLst>
            <pc:docMk/>
            <pc:sldMk cId="2167517715" sldId="2134804372"/>
            <ac:cxnSpMk id="79" creationId="{D9E2AF24-75B6-E1F4-B538-52A4BFC46D8C}"/>
          </ac:cxnSpMkLst>
        </pc:cxnChg>
        <pc:cxnChg chg="add del mod ord replST">
          <ac:chgData name="Wenwen Zhang" userId="9dd81366-5d6f-445a-b031-6ea562624431" providerId="ADAL" clId="{D6FBF965-026B-43DA-A554-C6861A0A35E4}" dt="2023-02-01T22:11:16.704" v="97525"/>
          <ac:cxnSpMkLst>
            <pc:docMk/>
            <pc:sldMk cId="2167517715" sldId="2134804372"/>
            <ac:cxnSpMk id="84" creationId="{A0038B54-89E4-0440-B62E-0E8B02A5CF36}"/>
          </ac:cxnSpMkLst>
        </pc:cxnChg>
        <pc:cxnChg chg="add del mod ord replST">
          <ac:chgData name="Wenwen Zhang" userId="9dd81366-5d6f-445a-b031-6ea562624431" providerId="ADAL" clId="{D6FBF965-026B-43DA-A554-C6861A0A35E4}" dt="2023-02-01T22:11:16.704" v="97523"/>
          <ac:cxnSpMkLst>
            <pc:docMk/>
            <pc:sldMk cId="2167517715" sldId="2134804372"/>
            <ac:cxnSpMk id="85" creationId="{9B17AE9D-58C6-643E-90E1-521FEFD12647}"/>
          </ac:cxnSpMkLst>
        </pc:cxnChg>
        <pc:cxnChg chg="add del mod ord replST">
          <ac:chgData name="Wenwen Zhang" userId="9dd81366-5d6f-445a-b031-6ea562624431" providerId="ADAL" clId="{D6FBF965-026B-43DA-A554-C6861A0A35E4}" dt="2023-02-01T22:11:16.703" v="97521"/>
          <ac:cxnSpMkLst>
            <pc:docMk/>
            <pc:sldMk cId="2167517715" sldId="2134804372"/>
            <ac:cxnSpMk id="86" creationId="{04A43F63-A531-6320-8748-06EF7A3C122C}"/>
          </ac:cxnSpMkLst>
        </pc:cxnChg>
        <pc:cxnChg chg="add del mod ord replST">
          <ac:chgData name="Wenwen Zhang" userId="9dd81366-5d6f-445a-b031-6ea562624431" providerId="ADAL" clId="{D6FBF965-026B-43DA-A554-C6861A0A35E4}" dt="2023-02-01T22:11:16.702" v="97517"/>
          <ac:cxnSpMkLst>
            <pc:docMk/>
            <pc:sldMk cId="2167517715" sldId="2134804372"/>
            <ac:cxnSpMk id="90" creationId="{C23E02B5-2416-4820-E731-3BAF4C1F02A0}"/>
          </ac:cxnSpMkLst>
        </pc:cxnChg>
        <pc:cxnChg chg="add del mod ord replST">
          <ac:chgData name="Wenwen Zhang" userId="9dd81366-5d6f-445a-b031-6ea562624431" providerId="ADAL" clId="{D6FBF965-026B-43DA-A554-C6861A0A35E4}" dt="2023-02-01T22:11:16.702" v="97515"/>
          <ac:cxnSpMkLst>
            <pc:docMk/>
            <pc:sldMk cId="2167517715" sldId="2134804372"/>
            <ac:cxnSpMk id="91" creationId="{20347201-5976-B26A-6944-BBC5DDFB2D4D}"/>
          </ac:cxnSpMkLst>
        </pc:cxnChg>
        <pc:cxnChg chg="add del mod ord replST">
          <ac:chgData name="Wenwen Zhang" userId="9dd81366-5d6f-445a-b031-6ea562624431" providerId="ADAL" clId="{D6FBF965-026B-43DA-A554-C6861A0A35E4}" dt="2023-02-01T22:11:16.701" v="97513"/>
          <ac:cxnSpMkLst>
            <pc:docMk/>
            <pc:sldMk cId="2167517715" sldId="2134804372"/>
            <ac:cxnSpMk id="92" creationId="{43853B46-FEA5-05D0-5E3E-22A7649F139B}"/>
          </ac:cxnSpMkLst>
        </pc:cxnChg>
        <pc:cxnChg chg="add del mod ord replST">
          <ac:chgData name="Wenwen Zhang" userId="9dd81366-5d6f-445a-b031-6ea562624431" providerId="ADAL" clId="{D6FBF965-026B-43DA-A554-C6861A0A35E4}" dt="2023-02-01T22:11:16.708" v="97541"/>
          <ac:cxnSpMkLst>
            <pc:docMk/>
            <pc:sldMk cId="2167517715" sldId="2134804372"/>
            <ac:cxnSpMk id="96" creationId="{3B186A86-E4D2-DF16-87C6-253FD80F50B3}"/>
          </ac:cxnSpMkLst>
        </pc:cxnChg>
        <pc:cxnChg chg="add del mod ord replST">
          <ac:chgData name="Wenwen Zhang" userId="9dd81366-5d6f-445a-b031-6ea562624431" providerId="ADAL" clId="{D6FBF965-026B-43DA-A554-C6861A0A35E4}" dt="2023-02-01T22:11:16.708" v="97539"/>
          <ac:cxnSpMkLst>
            <pc:docMk/>
            <pc:sldMk cId="2167517715" sldId="2134804372"/>
            <ac:cxnSpMk id="97" creationId="{6FC342BA-67DA-1267-A47C-8E5F2303BD14}"/>
          </ac:cxnSpMkLst>
        </pc:cxnChg>
        <pc:cxnChg chg="add del mod ord replST">
          <ac:chgData name="Wenwen Zhang" userId="9dd81366-5d6f-445a-b031-6ea562624431" providerId="ADAL" clId="{D6FBF965-026B-43DA-A554-C6861A0A35E4}" dt="2023-02-01T22:11:16.707" v="97537"/>
          <ac:cxnSpMkLst>
            <pc:docMk/>
            <pc:sldMk cId="2167517715" sldId="2134804372"/>
            <ac:cxnSpMk id="98" creationId="{FF58C672-C3FD-EAC7-584A-93031596FD2E}"/>
          </ac:cxnSpMkLst>
        </pc:cxnChg>
        <pc:cxnChg chg="add del mod ord replST">
          <ac:chgData name="Wenwen Zhang" userId="9dd81366-5d6f-445a-b031-6ea562624431" providerId="ADAL" clId="{D6FBF965-026B-43DA-A554-C6861A0A35E4}" dt="2023-02-01T22:11:16.706" v="97533"/>
          <ac:cxnSpMkLst>
            <pc:docMk/>
            <pc:sldMk cId="2167517715" sldId="2134804372"/>
            <ac:cxnSpMk id="102" creationId="{1724E15B-F0BC-CB7E-88D1-DA64D647E1B9}"/>
          </ac:cxnSpMkLst>
        </pc:cxnChg>
        <pc:cxnChg chg="add del mod ord replST">
          <ac:chgData name="Wenwen Zhang" userId="9dd81366-5d6f-445a-b031-6ea562624431" providerId="ADAL" clId="{D6FBF965-026B-43DA-A554-C6861A0A35E4}" dt="2023-02-01T22:11:16.706" v="97531"/>
          <ac:cxnSpMkLst>
            <pc:docMk/>
            <pc:sldMk cId="2167517715" sldId="2134804372"/>
            <ac:cxnSpMk id="103" creationId="{8F928C4C-B90A-AF6D-17CA-8FD85940AB90}"/>
          </ac:cxnSpMkLst>
        </pc:cxnChg>
        <pc:cxnChg chg="add del mod ord replST">
          <ac:chgData name="Wenwen Zhang" userId="9dd81366-5d6f-445a-b031-6ea562624431" providerId="ADAL" clId="{D6FBF965-026B-43DA-A554-C6861A0A35E4}" dt="2023-02-01T22:11:16.705" v="97529"/>
          <ac:cxnSpMkLst>
            <pc:docMk/>
            <pc:sldMk cId="2167517715" sldId="2134804372"/>
            <ac:cxnSpMk id="104" creationId="{37C52FA2-339A-FCA2-901B-5A2B94CBF323}"/>
          </ac:cxnSpMkLst>
        </pc:cxnChg>
        <pc:cxnChg chg="add del mod ord replST">
          <ac:chgData name="Wenwen Zhang" userId="9dd81366-5d6f-445a-b031-6ea562624431" providerId="ADAL" clId="{D6FBF965-026B-43DA-A554-C6861A0A35E4}" dt="2023-02-01T22:11:16.711" v="97557"/>
          <ac:cxnSpMkLst>
            <pc:docMk/>
            <pc:sldMk cId="2167517715" sldId="2134804372"/>
            <ac:cxnSpMk id="108" creationId="{E0DC756D-CAC4-C644-8482-1744A0CE0FA5}"/>
          </ac:cxnSpMkLst>
        </pc:cxnChg>
        <pc:cxnChg chg="add del mod ord replST">
          <ac:chgData name="Wenwen Zhang" userId="9dd81366-5d6f-445a-b031-6ea562624431" providerId="ADAL" clId="{D6FBF965-026B-43DA-A554-C6861A0A35E4}" dt="2023-02-01T22:11:16.711" v="97555"/>
          <ac:cxnSpMkLst>
            <pc:docMk/>
            <pc:sldMk cId="2167517715" sldId="2134804372"/>
            <ac:cxnSpMk id="109" creationId="{BA5E2595-A257-30B7-B9B3-C78E833E59B7}"/>
          </ac:cxnSpMkLst>
        </pc:cxnChg>
        <pc:cxnChg chg="add del mod ord replST">
          <ac:chgData name="Wenwen Zhang" userId="9dd81366-5d6f-445a-b031-6ea562624431" providerId="ADAL" clId="{D6FBF965-026B-43DA-A554-C6861A0A35E4}" dt="2023-02-01T22:11:16.711" v="97553"/>
          <ac:cxnSpMkLst>
            <pc:docMk/>
            <pc:sldMk cId="2167517715" sldId="2134804372"/>
            <ac:cxnSpMk id="110" creationId="{2B1E98AD-7717-1C75-4218-DD16569C2406}"/>
          </ac:cxnSpMkLst>
        </pc:cxnChg>
        <pc:cxnChg chg="add del mod ord replST">
          <ac:chgData name="Wenwen Zhang" userId="9dd81366-5d6f-445a-b031-6ea562624431" providerId="ADAL" clId="{D6FBF965-026B-43DA-A554-C6861A0A35E4}" dt="2023-02-01T22:11:16.710" v="97549"/>
          <ac:cxnSpMkLst>
            <pc:docMk/>
            <pc:sldMk cId="2167517715" sldId="2134804372"/>
            <ac:cxnSpMk id="114" creationId="{9F32A523-4323-AAF5-75E4-A176C0E84676}"/>
          </ac:cxnSpMkLst>
        </pc:cxnChg>
        <pc:cxnChg chg="add del mod ord replST">
          <ac:chgData name="Wenwen Zhang" userId="9dd81366-5d6f-445a-b031-6ea562624431" providerId="ADAL" clId="{D6FBF965-026B-43DA-A554-C6861A0A35E4}" dt="2023-02-01T22:11:16.709" v="97547"/>
          <ac:cxnSpMkLst>
            <pc:docMk/>
            <pc:sldMk cId="2167517715" sldId="2134804372"/>
            <ac:cxnSpMk id="116" creationId="{51A1DB08-DC66-FCF3-5E7F-D034E16968C5}"/>
          </ac:cxnSpMkLst>
        </pc:cxnChg>
        <pc:cxnChg chg="add del mod ord replST">
          <ac:chgData name="Wenwen Zhang" userId="9dd81366-5d6f-445a-b031-6ea562624431" providerId="ADAL" clId="{D6FBF965-026B-43DA-A554-C6861A0A35E4}" dt="2023-02-01T22:11:16.709" v="97545"/>
          <ac:cxnSpMkLst>
            <pc:docMk/>
            <pc:sldMk cId="2167517715" sldId="2134804372"/>
            <ac:cxnSpMk id="117" creationId="{598CFB92-70D3-FE25-3906-3B0695D28C83}"/>
          </ac:cxnSpMkLst>
        </pc:cxnChg>
        <pc:cxnChg chg="add del mod ord replST">
          <ac:chgData name="Wenwen Zhang" userId="9dd81366-5d6f-445a-b031-6ea562624431" providerId="ADAL" clId="{D6FBF965-026B-43DA-A554-C6861A0A35E4}" dt="2023-02-01T22:11:16.715" v="97573"/>
          <ac:cxnSpMkLst>
            <pc:docMk/>
            <pc:sldMk cId="2167517715" sldId="2134804372"/>
            <ac:cxnSpMk id="149" creationId="{06C4B0C6-43E4-E2EE-AEAB-389FA524D3B4}"/>
          </ac:cxnSpMkLst>
        </pc:cxnChg>
        <pc:cxnChg chg="add del mod ord replST">
          <ac:chgData name="Wenwen Zhang" userId="9dd81366-5d6f-445a-b031-6ea562624431" providerId="ADAL" clId="{D6FBF965-026B-43DA-A554-C6861A0A35E4}" dt="2023-02-01T22:11:16.714" v="97571"/>
          <ac:cxnSpMkLst>
            <pc:docMk/>
            <pc:sldMk cId="2167517715" sldId="2134804372"/>
            <ac:cxnSpMk id="150" creationId="{23435D8B-CF99-964D-4DB9-898EC3FD0B3D}"/>
          </ac:cxnSpMkLst>
        </pc:cxnChg>
        <pc:cxnChg chg="add del mod ord replST">
          <ac:chgData name="Wenwen Zhang" userId="9dd81366-5d6f-445a-b031-6ea562624431" providerId="ADAL" clId="{D6FBF965-026B-43DA-A554-C6861A0A35E4}" dt="2023-02-01T22:11:16.714" v="97569"/>
          <ac:cxnSpMkLst>
            <pc:docMk/>
            <pc:sldMk cId="2167517715" sldId="2134804372"/>
            <ac:cxnSpMk id="151" creationId="{E0D2FCBB-745D-A2F1-F7DF-FE01FFAF53D1}"/>
          </ac:cxnSpMkLst>
        </pc:cxnChg>
        <pc:cxnChg chg="add mod ord replST">
          <ac:chgData name="Wenwen Zhang" userId="9dd81366-5d6f-445a-b031-6ea562624431" providerId="ADAL" clId="{D6FBF965-026B-43DA-A554-C6861A0A35E4}" dt="2023-02-02T11:49:36.341" v="120450"/>
          <ac:cxnSpMkLst>
            <pc:docMk/>
            <pc:sldMk cId="2167517715" sldId="2134804372"/>
            <ac:cxnSpMk id="155" creationId="{B04C28CD-FBF8-E9E2-EA2E-8A734A44DD06}"/>
          </ac:cxnSpMkLst>
        </pc:cxnChg>
        <pc:cxnChg chg="add del mod ord replST">
          <ac:chgData name="Wenwen Zhang" userId="9dd81366-5d6f-445a-b031-6ea562624431" providerId="ADAL" clId="{D6FBF965-026B-43DA-A554-C6861A0A35E4}" dt="2023-02-01T22:11:16.713" v="97565"/>
          <ac:cxnSpMkLst>
            <pc:docMk/>
            <pc:sldMk cId="2167517715" sldId="2134804372"/>
            <ac:cxnSpMk id="155" creationId="{F2A58B9C-97FE-4CA3-9191-BDE383E3C0F3}"/>
          </ac:cxnSpMkLst>
        </pc:cxnChg>
        <pc:cxnChg chg="add del mod ord replST">
          <ac:chgData name="Wenwen Zhang" userId="9dd81366-5d6f-445a-b031-6ea562624431" providerId="ADAL" clId="{D6FBF965-026B-43DA-A554-C6861A0A35E4}" dt="2023-02-01T22:11:16.713" v="97563"/>
          <ac:cxnSpMkLst>
            <pc:docMk/>
            <pc:sldMk cId="2167517715" sldId="2134804372"/>
            <ac:cxnSpMk id="156" creationId="{4D809FA3-B7D0-7E72-15B5-94979E5EAF22}"/>
          </ac:cxnSpMkLst>
        </pc:cxnChg>
        <pc:cxnChg chg="add mod ord replST">
          <ac:chgData name="Wenwen Zhang" userId="9dd81366-5d6f-445a-b031-6ea562624431" providerId="ADAL" clId="{D6FBF965-026B-43DA-A554-C6861A0A35E4}" dt="2023-02-02T11:49:36.341" v="120452"/>
          <ac:cxnSpMkLst>
            <pc:docMk/>
            <pc:sldMk cId="2167517715" sldId="2134804372"/>
            <ac:cxnSpMk id="156" creationId="{A9BB3CC2-6CE2-03B4-1952-475EBAA42D30}"/>
          </ac:cxnSpMkLst>
        </pc:cxnChg>
        <pc:cxnChg chg="add del mod ord replST">
          <ac:chgData name="Wenwen Zhang" userId="9dd81366-5d6f-445a-b031-6ea562624431" providerId="ADAL" clId="{D6FBF965-026B-43DA-A554-C6861A0A35E4}" dt="2023-02-01T22:11:16.712" v="97561"/>
          <ac:cxnSpMkLst>
            <pc:docMk/>
            <pc:sldMk cId="2167517715" sldId="2134804372"/>
            <ac:cxnSpMk id="157" creationId="{31DF57D0-CBF2-2B15-356D-330B86FB9260}"/>
          </ac:cxnSpMkLst>
        </pc:cxnChg>
        <pc:cxnChg chg="add mod ord replST">
          <ac:chgData name="Wenwen Zhang" userId="9dd81366-5d6f-445a-b031-6ea562624431" providerId="ADAL" clId="{D6FBF965-026B-43DA-A554-C6861A0A35E4}" dt="2023-02-02T11:49:36.341" v="120448"/>
          <ac:cxnSpMkLst>
            <pc:docMk/>
            <pc:sldMk cId="2167517715" sldId="2134804372"/>
            <ac:cxnSpMk id="157" creationId="{F32F975F-6304-D0AB-9989-FF5252FAC771}"/>
          </ac:cxnSpMkLst>
        </pc:cxnChg>
        <pc:cxnChg chg="add mod ord replST">
          <ac:chgData name="Wenwen Zhang" userId="9dd81366-5d6f-445a-b031-6ea562624431" providerId="ADAL" clId="{D6FBF965-026B-43DA-A554-C6861A0A35E4}" dt="2023-02-02T11:49:36.341" v="120454"/>
          <ac:cxnSpMkLst>
            <pc:docMk/>
            <pc:sldMk cId="2167517715" sldId="2134804372"/>
            <ac:cxnSpMk id="161" creationId="{959DABA7-3FF8-19F4-308C-31D978F790D4}"/>
          </ac:cxnSpMkLst>
        </pc:cxnChg>
        <pc:cxnChg chg="add mod ord replST">
          <ac:chgData name="Wenwen Zhang" userId="9dd81366-5d6f-445a-b031-6ea562624431" providerId="ADAL" clId="{D6FBF965-026B-43DA-A554-C6861A0A35E4}" dt="2023-02-02T11:49:36.341" v="120456"/>
          <ac:cxnSpMkLst>
            <pc:docMk/>
            <pc:sldMk cId="2167517715" sldId="2134804372"/>
            <ac:cxnSpMk id="162" creationId="{3EB7E465-7098-DE6E-7108-C5D34D7C2E56}"/>
          </ac:cxnSpMkLst>
        </pc:cxnChg>
        <pc:cxnChg chg="add mod ord replST">
          <ac:chgData name="Wenwen Zhang" userId="9dd81366-5d6f-445a-b031-6ea562624431" providerId="ADAL" clId="{D6FBF965-026B-43DA-A554-C6861A0A35E4}" dt="2023-02-02T11:49:36.341" v="120458"/>
          <ac:cxnSpMkLst>
            <pc:docMk/>
            <pc:sldMk cId="2167517715" sldId="2134804372"/>
            <ac:cxnSpMk id="163" creationId="{630457D6-9C3F-3097-801C-BBA4F3BF6D08}"/>
          </ac:cxnSpMkLst>
        </pc:cxnChg>
        <pc:cxnChg chg="add del mod ord replST">
          <ac:chgData name="Wenwen Zhang" userId="9dd81366-5d6f-445a-b031-6ea562624431" providerId="ADAL" clId="{D6FBF965-026B-43DA-A554-C6861A0A35E4}" dt="2023-02-02T11:49:27.486" v="120188"/>
          <ac:cxnSpMkLst>
            <pc:docMk/>
            <pc:sldMk cId="2167517715" sldId="2134804372"/>
            <ac:cxnSpMk id="167" creationId="{DBC0E4F0-EC4B-57DF-3857-8DE9FAA23F85}"/>
          </ac:cxnSpMkLst>
        </pc:cxnChg>
        <pc:cxnChg chg="add del mod ord replST">
          <ac:chgData name="Wenwen Zhang" userId="9dd81366-5d6f-445a-b031-6ea562624431" providerId="ADAL" clId="{D6FBF965-026B-43DA-A554-C6861A0A35E4}" dt="2023-02-02T11:49:27.485" v="120186"/>
          <ac:cxnSpMkLst>
            <pc:docMk/>
            <pc:sldMk cId="2167517715" sldId="2134804372"/>
            <ac:cxnSpMk id="168" creationId="{71DCFBEF-4701-C556-6FC9-8883EB1718A4}"/>
          </ac:cxnSpMkLst>
        </pc:cxnChg>
        <pc:cxnChg chg="add del mod ord replST">
          <ac:chgData name="Wenwen Zhang" userId="9dd81366-5d6f-445a-b031-6ea562624431" providerId="ADAL" clId="{D6FBF965-026B-43DA-A554-C6861A0A35E4}" dt="2023-02-02T11:49:27.482" v="120184"/>
          <ac:cxnSpMkLst>
            <pc:docMk/>
            <pc:sldMk cId="2167517715" sldId="2134804372"/>
            <ac:cxnSpMk id="169" creationId="{D96E9E83-D6F8-845E-A958-94527D375498}"/>
          </ac:cxnSpMkLst>
        </pc:cxnChg>
        <pc:cxnChg chg="add del mod ord replST">
          <ac:chgData name="Wenwen Zhang" userId="9dd81366-5d6f-445a-b031-6ea562624431" providerId="ADAL" clId="{D6FBF965-026B-43DA-A554-C6861A0A35E4}" dt="2023-02-02T08:19:07.698" v="106592"/>
          <ac:cxnSpMkLst>
            <pc:docMk/>
            <pc:sldMk cId="2167517715" sldId="2134804372"/>
            <ac:cxnSpMk id="170" creationId="{EB4F4832-5E3E-6D93-6F71-562E97218976}"/>
          </ac:cxnSpMkLst>
        </pc:cxnChg>
        <pc:cxnChg chg="add del mod ord replST">
          <ac:chgData name="Wenwen Zhang" userId="9dd81366-5d6f-445a-b031-6ea562624431" providerId="ADAL" clId="{D6FBF965-026B-43DA-A554-C6861A0A35E4}" dt="2023-02-02T08:19:07.698" v="106590"/>
          <ac:cxnSpMkLst>
            <pc:docMk/>
            <pc:sldMk cId="2167517715" sldId="2134804372"/>
            <ac:cxnSpMk id="171" creationId="{AD1BAED9-BC22-66A4-FB25-C04168A57038}"/>
          </ac:cxnSpMkLst>
        </pc:cxnChg>
        <pc:cxnChg chg="add del mod ord replST">
          <ac:chgData name="Wenwen Zhang" userId="9dd81366-5d6f-445a-b031-6ea562624431" providerId="ADAL" clId="{D6FBF965-026B-43DA-A554-C6861A0A35E4}" dt="2023-02-02T08:19:07.697" v="106588"/>
          <ac:cxnSpMkLst>
            <pc:docMk/>
            <pc:sldMk cId="2167517715" sldId="2134804372"/>
            <ac:cxnSpMk id="172" creationId="{7FD4CDB4-A9AF-7EDB-F32D-FBF331A8684B}"/>
          </ac:cxnSpMkLst>
        </pc:cxnChg>
        <pc:cxnChg chg="add del mod ord replST">
          <ac:chgData name="Wenwen Zhang" userId="9dd81366-5d6f-445a-b031-6ea562624431" providerId="ADAL" clId="{D6FBF965-026B-43DA-A554-C6861A0A35E4}" dt="2023-02-01T22:04:07.922" v="93773"/>
          <ac:cxnSpMkLst>
            <pc:docMk/>
            <pc:sldMk cId="2167517715" sldId="2134804372"/>
            <ac:cxnSpMk id="173" creationId="{794396EA-AE2E-C584-1F0D-B1AE2E67653F}"/>
          </ac:cxnSpMkLst>
        </pc:cxnChg>
        <pc:cxnChg chg="add del mod ord replST">
          <ac:chgData name="Wenwen Zhang" userId="9dd81366-5d6f-445a-b031-6ea562624431" providerId="ADAL" clId="{D6FBF965-026B-43DA-A554-C6861A0A35E4}" dt="2023-02-01T22:04:07.922" v="93775"/>
          <ac:cxnSpMkLst>
            <pc:docMk/>
            <pc:sldMk cId="2167517715" sldId="2134804372"/>
            <ac:cxnSpMk id="174" creationId="{49D2C8BE-B310-7675-8D8D-EC14A612CF4B}"/>
          </ac:cxnSpMkLst>
        </pc:cxnChg>
        <pc:cxnChg chg="add del mod ord replST">
          <ac:chgData name="Wenwen Zhang" userId="9dd81366-5d6f-445a-b031-6ea562624431" providerId="ADAL" clId="{D6FBF965-026B-43DA-A554-C6861A0A35E4}" dt="2023-02-01T22:04:07.921" v="93771"/>
          <ac:cxnSpMkLst>
            <pc:docMk/>
            <pc:sldMk cId="2167517715" sldId="2134804372"/>
            <ac:cxnSpMk id="175" creationId="{F2B6AFF6-1644-2EF4-92E2-E03928E5837F}"/>
          </ac:cxnSpMkLst>
        </pc:cxnChg>
        <pc:cxnChg chg="add del mod ord replST">
          <ac:chgData name="Wenwen Zhang" userId="9dd81366-5d6f-445a-b031-6ea562624431" providerId="ADAL" clId="{D6FBF965-026B-43DA-A554-C6861A0A35E4}" dt="2023-02-02T08:19:03.644" v="106137"/>
          <ac:cxnSpMkLst>
            <pc:docMk/>
            <pc:sldMk cId="2167517715" sldId="2134804372"/>
            <ac:cxnSpMk id="176" creationId="{1219F7BC-0FD5-E8A7-5328-AF8E8212D663}"/>
          </ac:cxnSpMkLst>
        </pc:cxnChg>
        <pc:cxnChg chg="add del mod ord replST">
          <ac:chgData name="Wenwen Zhang" userId="9dd81366-5d6f-445a-b031-6ea562624431" providerId="ADAL" clId="{D6FBF965-026B-43DA-A554-C6861A0A35E4}" dt="2023-02-02T08:19:03.645" v="106141"/>
          <ac:cxnSpMkLst>
            <pc:docMk/>
            <pc:sldMk cId="2167517715" sldId="2134804372"/>
            <ac:cxnSpMk id="177" creationId="{8CBE496C-79B6-FAB8-575A-BE62724EBBA7}"/>
          </ac:cxnSpMkLst>
        </pc:cxnChg>
        <pc:cxnChg chg="add del mod ord replST">
          <ac:chgData name="Wenwen Zhang" userId="9dd81366-5d6f-445a-b031-6ea562624431" providerId="ADAL" clId="{D6FBF965-026B-43DA-A554-C6861A0A35E4}" dt="2023-02-02T08:19:03.644" v="106139"/>
          <ac:cxnSpMkLst>
            <pc:docMk/>
            <pc:sldMk cId="2167517715" sldId="2134804372"/>
            <ac:cxnSpMk id="178" creationId="{6A001ED3-C240-B294-D6A2-46073652A8E3}"/>
          </ac:cxnSpMkLst>
        </pc:cxnChg>
        <pc:cxnChg chg="add del mod ord replST">
          <ac:chgData name="Wenwen Zhang" userId="9dd81366-5d6f-445a-b031-6ea562624431" providerId="ADAL" clId="{D6FBF965-026B-43DA-A554-C6861A0A35E4}" dt="2023-02-01T22:04:07.924" v="93783"/>
          <ac:cxnSpMkLst>
            <pc:docMk/>
            <pc:sldMk cId="2167517715" sldId="2134804372"/>
            <ac:cxnSpMk id="179" creationId="{B01AC3D1-5E63-B398-53B4-2A8E07E0C16F}"/>
          </ac:cxnSpMkLst>
        </pc:cxnChg>
        <pc:cxnChg chg="add del mod ord replST">
          <ac:chgData name="Wenwen Zhang" userId="9dd81366-5d6f-445a-b031-6ea562624431" providerId="ADAL" clId="{D6FBF965-026B-43DA-A554-C6861A0A35E4}" dt="2023-02-01T22:04:07.924" v="93781"/>
          <ac:cxnSpMkLst>
            <pc:docMk/>
            <pc:sldMk cId="2167517715" sldId="2134804372"/>
            <ac:cxnSpMk id="180" creationId="{F4185873-E5F8-CF21-C940-B405D36E91C7}"/>
          </ac:cxnSpMkLst>
        </pc:cxnChg>
        <pc:cxnChg chg="add del mod ord replST">
          <ac:chgData name="Wenwen Zhang" userId="9dd81366-5d6f-445a-b031-6ea562624431" providerId="ADAL" clId="{D6FBF965-026B-43DA-A554-C6861A0A35E4}" dt="2023-02-01T22:04:07.924" v="93779"/>
          <ac:cxnSpMkLst>
            <pc:docMk/>
            <pc:sldMk cId="2167517715" sldId="2134804372"/>
            <ac:cxnSpMk id="181" creationId="{DCCC891B-41B5-9163-821A-5A9C6CA846E0}"/>
          </ac:cxnSpMkLst>
        </pc:cxnChg>
        <pc:cxnChg chg="add del mod ord replST">
          <ac:chgData name="Wenwen Zhang" userId="9dd81366-5d6f-445a-b031-6ea562624431" providerId="ADAL" clId="{D6FBF965-026B-43DA-A554-C6861A0A35E4}" dt="2023-02-02T10:54:04.898" v="114853"/>
          <ac:cxnSpMkLst>
            <pc:docMk/>
            <pc:sldMk cId="2167517715" sldId="2134804372"/>
            <ac:cxnSpMk id="182" creationId="{782180C6-F941-AE0A-7837-1213E94B4126}"/>
          </ac:cxnSpMkLst>
        </pc:cxnChg>
        <pc:cxnChg chg="add del mod ord replST">
          <ac:chgData name="Wenwen Zhang" userId="9dd81366-5d6f-445a-b031-6ea562624431" providerId="ADAL" clId="{D6FBF965-026B-43DA-A554-C6861A0A35E4}" dt="2023-02-02T10:54:04.898" v="114857"/>
          <ac:cxnSpMkLst>
            <pc:docMk/>
            <pc:sldMk cId="2167517715" sldId="2134804372"/>
            <ac:cxnSpMk id="183" creationId="{6ED055F7-AACE-3D4B-FCBC-379B6C509891}"/>
          </ac:cxnSpMkLst>
        </pc:cxnChg>
        <pc:cxnChg chg="add del mod ord replST">
          <ac:chgData name="Wenwen Zhang" userId="9dd81366-5d6f-445a-b031-6ea562624431" providerId="ADAL" clId="{D6FBF965-026B-43DA-A554-C6861A0A35E4}" dt="2023-02-02T10:54:04.898" v="114855"/>
          <ac:cxnSpMkLst>
            <pc:docMk/>
            <pc:sldMk cId="2167517715" sldId="2134804372"/>
            <ac:cxnSpMk id="184" creationId="{567DE5B4-7FCC-CEE8-43F4-D7F992B1600D}"/>
          </ac:cxnSpMkLst>
        </pc:cxnChg>
        <pc:cxnChg chg="add del mod ord replST">
          <ac:chgData name="Wenwen Zhang" userId="9dd81366-5d6f-445a-b031-6ea562624431" providerId="ADAL" clId="{D6FBF965-026B-43DA-A554-C6861A0A35E4}" dt="2023-02-01T22:04:07.925" v="93787"/>
          <ac:cxnSpMkLst>
            <pc:docMk/>
            <pc:sldMk cId="2167517715" sldId="2134804372"/>
            <ac:cxnSpMk id="185" creationId="{521FF447-41CF-E612-9477-EF09D5BF8C71}"/>
          </ac:cxnSpMkLst>
        </pc:cxnChg>
        <pc:cxnChg chg="add del mod ord replST">
          <ac:chgData name="Wenwen Zhang" userId="9dd81366-5d6f-445a-b031-6ea562624431" providerId="ADAL" clId="{D6FBF965-026B-43DA-A554-C6861A0A35E4}" dt="2023-02-01T22:04:07.926" v="93791"/>
          <ac:cxnSpMkLst>
            <pc:docMk/>
            <pc:sldMk cId="2167517715" sldId="2134804372"/>
            <ac:cxnSpMk id="186" creationId="{B9A70984-4AC0-4A2E-9F10-697DDF2E4628}"/>
          </ac:cxnSpMkLst>
        </pc:cxnChg>
        <pc:cxnChg chg="add del mod ord replST">
          <ac:chgData name="Wenwen Zhang" userId="9dd81366-5d6f-445a-b031-6ea562624431" providerId="ADAL" clId="{D6FBF965-026B-43DA-A554-C6861A0A35E4}" dt="2023-02-01T22:04:07.926" v="93789"/>
          <ac:cxnSpMkLst>
            <pc:docMk/>
            <pc:sldMk cId="2167517715" sldId="2134804372"/>
            <ac:cxnSpMk id="187" creationId="{5534523A-D04A-89BC-886F-6D260266C290}"/>
          </ac:cxnSpMkLst>
        </pc:cxnChg>
        <pc:cxnChg chg="add del mod ord replST">
          <ac:chgData name="Wenwen Zhang" userId="9dd81366-5d6f-445a-b031-6ea562624431" providerId="ADAL" clId="{D6FBF965-026B-43DA-A554-C6861A0A35E4}" dt="2023-02-02T10:54:04.898" v="114847"/>
          <ac:cxnSpMkLst>
            <pc:docMk/>
            <pc:sldMk cId="2167517715" sldId="2134804372"/>
            <ac:cxnSpMk id="188" creationId="{5CE0FF52-68A9-43E1-C3FE-3452D31BB463}"/>
          </ac:cxnSpMkLst>
        </pc:cxnChg>
        <pc:cxnChg chg="add del mod ord replST">
          <ac:chgData name="Wenwen Zhang" userId="9dd81366-5d6f-445a-b031-6ea562624431" providerId="ADAL" clId="{D6FBF965-026B-43DA-A554-C6861A0A35E4}" dt="2023-02-02T10:54:04.898" v="114849"/>
          <ac:cxnSpMkLst>
            <pc:docMk/>
            <pc:sldMk cId="2167517715" sldId="2134804372"/>
            <ac:cxnSpMk id="189" creationId="{F1369703-A38B-E49E-19E2-FC800977F827}"/>
          </ac:cxnSpMkLst>
        </pc:cxnChg>
        <pc:cxnChg chg="add del mod ord replST">
          <ac:chgData name="Wenwen Zhang" userId="9dd81366-5d6f-445a-b031-6ea562624431" providerId="ADAL" clId="{D6FBF965-026B-43DA-A554-C6861A0A35E4}" dt="2023-02-02T10:54:04.898" v="114845"/>
          <ac:cxnSpMkLst>
            <pc:docMk/>
            <pc:sldMk cId="2167517715" sldId="2134804372"/>
            <ac:cxnSpMk id="190" creationId="{3D047F40-8AF2-A0C7-6659-B4C70C8B2FF7}"/>
          </ac:cxnSpMkLst>
        </pc:cxnChg>
        <pc:cxnChg chg="add del mod ord replST">
          <ac:chgData name="Wenwen Zhang" userId="9dd81366-5d6f-445a-b031-6ea562624431" providerId="ADAL" clId="{D6FBF965-026B-43DA-A554-C6861A0A35E4}" dt="2023-02-01T22:04:07.928" v="93799"/>
          <ac:cxnSpMkLst>
            <pc:docMk/>
            <pc:sldMk cId="2167517715" sldId="2134804372"/>
            <ac:cxnSpMk id="191" creationId="{042A9E37-B8B8-93C6-50C1-34DA13BE083B}"/>
          </ac:cxnSpMkLst>
        </pc:cxnChg>
        <pc:cxnChg chg="add del mod ord replST">
          <ac:chgData name="Wenwen Zhang" userId="9dd81366-5d6f-445a-b031-6ea562624431" providerId="ADAL" clId="{D6FBF965-026B-43DA-A554-C6861A0A35E4}" dt="2023-02-01T22:04:07.927" v="93795"/>
          <ac:cxnSpMkLst>
            <pc:docMk/>
            <pc:sldMk cId="2167517715" sldId="2134804372"/>
            <ac:cxnSpMk id="320" creationId="{136F2062-CBE8-B624-7B42-BD4BD1A0F966}"/>
          </ac:cxnSpMkLst>
        </pc:cxnChg>
        <pc:cxnChg chg="add del mod ord replST">
          <ac:chgData name="Wenwen Zhang" userId="9dd81366-5d6f-445a-b031-6ea562624431" providerId="ADAL" clId="{D6FBF965-026B-43DA-A554-C6861A0A35E4}" dt="2023-02-01T22:04:07.928" v="93797"/>
          <ac:cxnSpMkLst>
            <pc:docMk/>
            <pc:sldMk cId="2167517715" sldId="2134804372"/>
            <ac:cxnSpMk id="321" creationId="{5A2E28C6-B5B1-EAFF-92CE-EB3928EB6D3C}"/>
          </ac:cxnSpMkLst>
        </pc:cxnChg>
        <pc:cxnChg chg="add del mod ord replST delST">
          <ac:chgData name="Wenwen Zhang" userId="9dd81366-5d6f-445a-b031-6ea562624431" providerId="ADAL" clId="{D6FBF965-026B-43DA-A554-C6861A0A35E4}" dt="2023-02-01T22:15:13.498" v="100126"/>
          <ac:cxnSpMkLst>
            <pc:docMk/>
            <pc:sldMk cId="2167517715" sldId="2134804372"/>
            <ac:cxnSpMk id="394" creationId="{042AAAF7-71E6-4859-D384-327C9B344361}"/>
          </ac:cxnSpMkLst>
        </pc:cxnChg>
        <pc:cxnChg chg="add del mod ord replST delST">
          <ac:chgData name="Wenwen Zhang" userId="9dd81366-5d6f-445a-b031-6ea562624431" providerId="ADAL" clId="{D6FBF965-026B-43DA-A554-C6861A0A35E4}" dt="2023-02-01T22:15:13.498" v="100126"/>
          <ac:cxnSpMkLst>
            <pc:docMk/>
            <pc:sldMk cId="2167517715" sldId="2134804372"/>
            <ac:cxnSpMk id="395" creationId="{00BFBE8C-C8D1-09C2-53CE-015C9789AAE6}"/>
          </ac:cxnSpMkLst>
        </pc:cxnChg>
        <pc:cxnChg chg="add del mod ord replST delST">
          <ac:chgData name="Wenwen Zhang" userId="9dd81366-5d6f-445a-b031-6ea562624431" providerId="ADAL" clId="{D6FBF965-026B-43DA-A554-C6861A0A35E4}" dt="2023-02-01T22:15:13.498" v="100126"/>
          <ac:cxnSpMkLst>
            <pc:docMk/>
            <pc:sldMk cId="2167517715" sldId="2134804372"/>
            <ac:cxnSpMk id="396" creationId="{B747D1C8-6F0A-43D5-1776-7184E35CB1C9}"/>
          </ac:cxnSpMkLst>
        </pc:cxnChg>
        <pc:cxnChg chg="add del mod ord replST delST">
          <ac:chgData name="Wenwen Zhang" userId="9dd81366-5d6f-445a-b031-6ea562624431" providerId="ADAL" clId="{D6FBF965-026B-43DA-A554-C6861A0A35E4}" dt="2023-02-01T22:15:13.012" v="99913"/>
          <ac:cxnSpMkLst>
            <pc:docMk/>
            <pc:sldMk cId="2167517715" sldId="2134804372"/>
            <ac:cxnSpMk id="400" creationId="{ADE6D449-8518-13DF-692C-586556FF90F9}"/>
          </ac:cxnSpMkLst>
        </pc:cxnChg>
        <pc:cxnChg chg="add del mod ord replST delST">
          <ac:chgData name="Wenwen Zhang" userId="9dd81366-5d6f-445a-b031-6ea562624431" providerId="ADAL" clId="{D6FBF965-026B-43DA-A554-C6861A0A35E4}" dt="2023-02-01T22:15:13.012" v="99913"/>
          <ac:cxnSpMkLst>
            <pc:docMk/>
            <pc:sldMk cId="2167517715" sldId="2134804372"/>
            <ac:cxnSpMk id="401" creationId="{EF4BE5FD-A982-022D-C965-456486EDAC1D}"/>
          </ac:cxnSpMkLst>
        </pc:cxnChg>
        <pc:cxnChg chg="add del mod ord replST delST">
          <ac:chgData name="Wenwen Zhang" userId="9dd81366-5d6f-445a-b031-6ea562624431" providerId="ADAL" clId="{D6FBF965-026B-43DA-A554-C6861A0A35E4}" dt="2023-02-01T22:15:13.012" v="99913"/>
          <ac:cxnSpMkLst>
            <pc:docMk/>
            <pc:sldMk cId="2167517715" sldId="2134804372"/>
            <ac:cxnSpMk id="402" creationId="{016CFB65-1BD4-5665-DB5E-5E1C3FCCD14B}"/>
          </ac:cxnSpMkLst>
        </pc:cxnChg>
        <pc:cxnChg chg="add del mod ord replST delST">
          <ac:chgData name="Wenwen Zhang" userId="9dd81366-5d6f-445a-b031-6ea562624431" providerId="ADAL" clId="{D6FBF965-026B-43DA-A554-C6861A0A35E4}" dt="2023-02-01T22:15:23.766" v="101077"/>
          <ac:cxnSpMkLst>
            <pc:docMk/>
            <pc:sldMk cId="2167517715" sldId="2134804372"/>
            <ac:cxnSpMk id="406" creationId="{B754F74B-D6F9-133B-CF08-65B47196232F}"/>
          </ac:cxnSpMkLst>
        </pc:cxnChg>
        <pc:cxnChg chg="add del mod ord replST delST">
          <ac:chgData name="Wenwen Zhang" userId="9dd81366-5d6f-445a-b031-6ea562624431" providerId="ADAL" clId="{D6FBF965-026B-43DA-A554-C6861A0A35E4}" dt="2023-02-01T22:15:23.766" v="101077"/>
          <ac:cxnSpMkLst>
            <pc:docMk/>
            <pc:sldMk cId="2167517715" sldId="2134804372"/>
            <ac:cxnSpMk id="407" creationId="{95B59B87-CC9C-5403-32A5-E5E3C46003C7}"/>
          </ac:cxnSpMkLst>
        </pc:cxnChg>
        <pc:cxnChg chg="add del mod ord replST delST">
          <ac:chgData name="Wenwen Zhang" userId="9dd81366-5d6f-445a-b031-6ea562624431" providerId="ADAL" clId="{D6FBF965-026B-43DA-A554-C6861A0A35E4}" dt="2023-02-01T22:15:23.766" v="101077"/>
          <ac:cxnSpMkLst>
            <pc:docMk/>
            <pc:sldMk cId="2167517715" sldId="2134804372"/>
            <ac:cxnSpMk id="408" creationId="{D9CF33F7-E8F8-A88C-28C7-A4252DF6E893}"/>
          </ac:cxnSpMkLst>
        </pc:cxnChg>
        <pc:cxnChg chg="add del mod ord replST">
          <ac:chgData name="Wenwen Zhang" userId="9dd81366-5d6f-445a-b031-6ea562624431" providerId="ADAL" clId="{D6FBF965-026B-43DA-A554-C6861A0A35E4}" dt="2023-02-01T22:16:29.431" v="102666"/>
          <ac:cxnSpMkLst>
            <pc:docMk/>
            <pc:sldMk cId="2167517715" sldId="2134804372"/>
            <ac:cxnSpMk id="412" creationId="{68BFA3D0-29D8-07D0-CBD7-2CA86EA96B1F}"/>
          </ac:cxnSpMkLst>
        </pc:cxnChg>
        <pc:cxnChg chg="add del mod ord replST">
          <ac:chgData name="Wenwen Zhang" userId="9dd81366-5d6f-445a-b031-6ea562624431" providerId="ADAL" clId="{D6FBF965-026B-43DA-A554-C6861A0A35E4}" dt="2023-02-01T22:16:29.430" v="102664"/>
          <ac:cxnSpMkLst>
            <pc:docMk/>
            <pc:sldMk cId="2167517715" sldId="2134804372"/>
            <ac:cxnSpMk id="413" creationId="{A3604C3D-F940-994A-C5B5-74F23BD9223B}"/>
          </ac:cxnSpMkLst>
        </pc:cxnChg>
        <pc:cxnChg chg="add del mod ord replST">
          <ac:chgData name="Wenwen Zhang" userId="9dd81366-5d6f-445a-b031-6ea562624431" providerId="ADAL" clId="{D6FBF965-026B-43DA-A554-C6861A0A35E4}" dt="2023-02-01T22:16:29.430" v="102662"/>
          <ac:cxnSpMkLst>
            <pc:docMk/>
            <pc:sldMk cId="2167517715" sldId="2134804372"/>
            <ac:cxnSpMk id="414" creationId="{146B5F62-E26B-8923-9EC4-BFE5D507AB0B}"/>
          </ac:cxnSpMkLst>
        </pc:cxnChg>
        <pc:cxnChg chg="add del mod ord replST">
          <ac:chgData name="Wenwen Zhang" userId="9dd81366-5d6f-445a-b031-6ea562624431" providerId="ADAL" clId="{D6FBF965-026B-43DA-A554-C6861A0A35E4}" dt="2023-02-01T22:16:31.672" v="102836"/>
          <ac:cxnSpMkLst>
            <pc:docMk/>
            <pc:sldMk cId="2167517715" sldId="2134804372"/>
            <ac:cxnSpMk id="422" creationId="{66A8E835-67D2-BCAF-60D1-5B71B0774137}"/>
          </ac:cxnSpMkLst>
        </pc:cxnChg>
        <pc:cxnChg chg="add del mod ord replST">
          <ac:chgData name="Wenwen Zhang" userId="9dd81366-5d6f-445a-b031-6ea562624431" providerId="ADAL" clId="{D6FBF965-026B-43DA-A554-C6861A0A35E4}" dt="2023-02-01T22:16:31.671" v="102834"/>
          <ac:cxnSpMkLst>
            <pc:docMk/>
            <pc:sldMk cId="2167517715" sldId="2134804372"/>
            <ac:cxnSpMk id="423" creationId="{C3C53FAA-725D-1D28-ED0E-FA8EE011F90F}"/>
          </ac:cxnSpMkLst>
        </pc:cxnChg>
        <pc:cxnChg chg="add del mod ord replST">
          <ac:chgData name="Wenwen Zhang" userId="9dd81366-5d6f-445a-b031-6ea562624431" providerId="ADAL" clId="{D6FBF965-026B-43DA-A554-C6861A0A35E4}" dt="2023-02-01T22:16:31.671" v="102832"/>
          <ac:cxnSpMkLst>
            <pc:docMk/>
            <pc:sldMk cId="2167517715" sldId="2134804372"/>
            <ac:cxnSpMk id="424" creationId="{ED8F550F-4EBA-C3ED-2B3C-C610BA89B624}"/>
          </ac:cxnSpMkLst>
        </pc:cxnChg>
        <pc:cxnChg chg="add del mod ord">
          <ac:chgData name="Wenwen Zhang" userId="9dd81366-5d6f-445a-b031-6ea562624431" providerId="ADAL" clId="{D6FBF965-026B-43DA-A554-C6861A0A35E4}" dt="2023-02-02T10:51:50.548" v="113920" actId="478"/>
          <ac:cxnSpMkLst>
            <pc:docMk/>
            <pc:sldMk cId="2167517715" sldId="2134804372"/>
            <ac:cxnSpMk id="435" creationId="{0926D0B9-2C0C-5ECC-33D6-D782FED6CF4F}"/>
          </ac:cxnSpMkLst>
        </pc:cxnChg>
      </pc:sldChg>
      <pc:sldChg chg="addSp delSp modSp add del mod modNotesTx">
        <pc:chgData name="Wenwen Zhang" userId="9dd81366-5d6f-445a-b031-6ea562624431" providerId="ADAL" clId="{D6FBF965-026B-43DA-A554-C6861A0A35E4}" dt="2023-02-02T10:05:38.289" v="108070" actId="47"/>
        <pc:sldMkLst>
          <pc:docMk/>
          <pc:sldMk cId="609427853" sldId="2134804373"/>
        </pc:sldMkLst>
        <pc:spChg chg="mod ord">
          <ac:chgData name="Wenwen Zhang" userId="9dd81366-5d6f-445a-b031-6ea562624431" providerId="ADAL" clId="{D6FBF965-026B-43DA-A554-C6861A0A35E4}" dt="2023-02-01T22:27:43.828" v="103754"/>
          <ac:spMkLst>
            <pc:docMk/>
            <pc:sldMk cId="609427853" sldId="2134804373"/>
            <ac:spMk id="2" creationId="{B065B79C-C4D6-5961-7919-6BB68C420868}"/>
          </ac:spMkLst>
        </pc:spChg>
        <pc:spChg chg="add del mod modVis">
          <ac:chgData name="Wenwen Zhang" userId="9dd81366-5d6f-445a-b031-6ea562624431" providerId="ADAL" clId="{D6FBF965-026B-43DA-A554-C6861A0A35E4}" dt="2023-02-01T21:26:15.450" v="84140"/>
          <ac:spMkLst>
            <pc:docMk/>
            <pc:sldMk cId="609427853" sldId="2134804373"/>
            <ac:spMk id="3" creationId="{91D7F674-3281-92C4-4F1A-1A967CEB1496}"/>
          </ac:spMkLst>
        </pc:spChg>
        <pc:spChg chg="add del mod modVis">
          <ac:chgData name="Wenwen Zhang" userId="9dd81366-5d6f-445a-b031-6ea562624431" providerId="ADAL" clId="{D6FBF965-026B-43DA-A554-C6861A0A35E4}" dt="2023-02-01T21:27:03.255" v="84910"/>
          <ac:spMkLst>
            <pc:docMk/>
            <pc:sldMk cId="609427853" sldId="2134804373"/>
            <ac:spMk id="5" creationId="{8BA7B783-588C-6976-8E35-A93833C62DB2}"/>
          </ac:spMkLst>
        </pc:spChg>
        <pc:spChg chg="add del mod modVis">
          <ac:chgData name="Wenwen Zhang" userId="9dd81366-5d6f-445a-b031-6ea562624431" providerId="ADAL" clId="{D6FBF965-026B-43DA-A554-C6861A0A35E4}" dt="2023-02-01T21:27:15.033" v="85058"/>
          <ac:spMkLst>
            <pc:docMk/>
            <pc:sldMk cId="609427853" sldId="2134804373"/>
            <ac:spMk id="7" creationId="{80D5A9D2-37E6-1F94-F5FA-DEA9E5B17B1A}"/>
          </ac:spMkLst>
        </pc:spChg>
        <pc:spChg chg="add del mod modVis">
          <ac:chgData name="Wenwen Zhang" userId="9dd81366-5d6f-445a-b031-6ea562624431" providerId="ADAL" clId="{D6FBF965-026B-43DA-A554-C6861A0A35E4}" dt="2023-02-01T21:27:27.805" v="85229"/>
          <ac:spMkLst>
            <pc:docMk/>
            <pc:sldMk cId="609427853" sldId="2134804373"/>
            <ac:spMk id="9" creationId="{6AE0056A-9D3C-585F-5C45-07CD00FC2EFE}"/>
          </ac:spMkLst>
        </pc:spChg>
        <pc:spChg chg="add del mod modVis">
          <ac:chgData name="Wenwen Zhang" userId="9dd81366-5d6f-445a-b031-6ea562624431" providerId="ADAL" clId="{D6FBF965-026B-43DA-A554-C6861A0A35E4}" dt="2023-02-01T21:27:38.271" v="85289"/>
          <ac:spMkLst>
            <pc:docMk/>
            <pc:sldMk cId="609427853" sldId="2134804373"/>
            <ac:spMk id="11" creationId="{722352FA-6BF7-F41B-1B12-39F1EAFFA029}"/>
          </ac:spMkLst>
        </pc:spChg>
        <pc:spChg chg="add del mod modVis">
          <ac:chgData name="Wenwen Zhang" userId="9dd81366-5d6f-445a-b031-6ea562624431" providerId="ADAL" clId="{D6FBF965-026B-43DA-A554-C6861A0A35E4}" dt="2023-02-01T21:27:40.504" v="85353"/>
          <ac:spMkLst>
            <pc:docMk/>
            <pc:sldMk cId="609427853" sldId="2134804373"/>
            <ac:spMk id="12" creationId="{56AAD063-0A3E-2E52-79D7-BAA1072D9973}"/>
          </ac:spMkLst>
        </pc:spChg>
        <pc:spChg chg="add del mod modVis">
          <ac:chgData name="Wenwen Zhang" userId="9dd81366-5d6f-445a-b031-6ea562624431" providerId="ADAL" clId="{D6FBF965-026B-43DA-A554-C6861A0A35E4}" dt="2023-02-01T21:28:17.964" v="85553"/>
          <ac:spMkLst>
            <pc:docMk/>
            <pc:sldMk cId="609427853" sldId="2134804373"/>
            <ac:spMk id="13" creationId="{3E325558-1FEE-6C98-8DED-0D8567283404}"/>
          </ac:spMkLst>
        </pc:spChg>
        <pc:spChg chg="add del mod modVis">
          <ac:chgData name="Wenwen Zhang" userId="9dd81366-5d6f-445a-b031-6ea562624431" providerId="ADAL" clId="{D6FBF965-026B-43DA-A554-C6861A0A35E4}" dt="2023-02-01T21:28:53.073" v="85814"/>
          <ac:spMkLst>
            <pc:docMk/>
            <pc:sldMk cId="609427853" sldId="2134804373"/>
            <ac:spMk id="15" creationId="{A0615DCA-2AF0-E3E5-FE3E-65E00D440747}"/>
          </ac:spMkLst>
        </pc:spChg>
        <pc:spChg chg="add del mod modVis">
          <ac:chgData name="Wenwen Zhang" userId="9dd81366-5d6f-445a-b031-6ea562624431" providerId="ADAL" clId="{D6FBF965-026B-43DA-A554-C6861A0A35E4}" dt="2023-02-01T21:29:32.555" v="86444"/>
          <ac:spMkLst>
            <pc:docMk/>
            <pc:sldMk cId="609427853" sldId="2134804373"/>
            <ac:spMk id="17" creationId="{30B425B4-5ED0-F602-9E8C-A6E2095A9EB6}"/>
          </ac:spMkLst>
        </pc:spChg>
        <pc:spChg chg="add mod replST">
          <ac:chgData name="Wenwen Zhang" userId="9dd81366-5d6f-445a-b031-6ea562624431" providerId="ADAL" clId="{D6FBF965-026B-43DA-A554-C6861A0A35E4}" dt="2023-02-01T22:27:43.826" v="103744"/>
          <ac:spMkLst>
            <pc:docMk/>
            <pc:sldMk cId="609427853" sldId="2134804373"/>
            <ac:spMk id="20" creationId="{1CC3A1E3-E205-0B10-60BD-31D5056CA990}"/>
          </ac:spMkLst>
        </pc:spChg>
        <pc:spChg chg="add mod replST">
          <ac:chgData name="Wenwen Zhang" userId="9dd81366-5d6f-445a-b031-6ea562624431" providerId="ADAL" clId="{D6FBF965-026B-43DA-A554-C6861A0A35E4}" dt="2023-02-01T22:27:43.826" v="103746"/>
          <ac:spMkLst>
            <pc:docMk/>
            <pc:sldMk cId="609427853" sldId="2134804373"/>
            <ac:spMk id="21" creationId="{FE4479B2-35B2-FFB1-7F8A-9CCE8DDDB666}"/>
          </ac:spMkLst>
        </pc:spChg>
        <pc:spChg chg="add mod replST">
          <ac:chgData name="Wenwen Zhang" userId="9dd81366-5d6f-445a-b031-6ea562624431" providerId="ADAL" clId="{D6FBF965-026B-43DA-A554-C6861A0A35E4}" dt="2023-02-01T22:27:43.826" v="103743"/>
          <ac:spMkLst>
            <pc:docMk/>
            <pc:sldMk cId="609427853" sldId="2134804373"/>
            <ac:spMk id="22" creationId="{D021F882-1DC4-F2AE-D7EE-B810679A89DD}"/>
          </ac:spMkLst>
        </pc:spChg>
        <pc:spChg chg="add mod replST">
          <ac:chgData name="Wenwen Zhang" userId="9dd81366-5d6f-445a-b031-6ea562624431" providerId="ADAL" clId="{D6FBF965-026B-43DA-A554-C6861A0A35E4}" dt="2023-02-01T22:27:43.825" v="103740"/>
          <ac:spMkLst>
            <pc:docMk/>
            <pc:sldMk cId="609427853" sldId="2134804373"/>
            <ac:spMk id="23" creationId="{12BCC86B-5F20-12A8-4F4C-F15B59881A52}"/>
          </ac:spMkLst>
        </pc:spChg>
        <pc:spChg chg="add mod replST">
          <ac:chgData name="Wenwen Zhang" userId="9dd81366-5d6f-445a-b031-6ea562624431" providerId="ADAL" clId="{D6FBF965-026B-43DA-A554-C6861A0A35E4}" dt="2023-02-01T22:27:43.828" v="103752"/>
          <ac:spMkLst>
            <pc:docMk/>
            <pc:sldMk cId="609427853" sldId="2134804373"/>
            <ac:spMk id="24" creationId="{BF69F6C7-1374-9AB6-55C7-EBB47440BB0D}"/>
          </ac:spMkLst>
        </pc:spChg>
        <pc:spChg chg="add mod replST">
          <ac:chgData name="Wenwen Zhang" userId="9dd81366-5d6f-445a-b031-6ea562624431" providerId="ADAL" clId="{D6FBF965-026B-43DA-A554-C6861A0A35E4}" dt="2023-02-01T22:27:43.826" v="103745"/>
          <ac:spMkLst>
            <pc:docMk/>
            <pc:sldMk cId="609427853" sldId="2134804373"/>
            <ac:spMk id="25" creationId="{F56CEF1B-E457-A3E2-097E-3F0A768D7194}"/>
          </ac:spMkLst>
        </pc:spChg>
        <pc:spChg chg="add mod replST">
          <ac:chgData name="Wenwen Zhang" userId="9dd81366-5d6f-445a-b031-6ea562624431" providerId="ADAL" clId="{D6FBF965-026B-43DA-A554-C6861A0A35E4}" dt="2023-02-01T22:27:43.825" v="103741"/>
          <ac:spMkLst>
            <pc:docMk/>
            <pc:sldMk cId="609427853" sldId="2134804373"/>
            <ac:spMk id="26" creationId="{4F624D14-A87E-6733-3D77-B5ACCFCAD299}"/>
          </ac:spMkLst>
        </pc:spChg>
        <pc:spChg chg="add mod replST">
          <ac:chgData name="Wenwen Zhang" userId="9dd81366-5d6f-445a-b031-6ea562624431" providerId="ADAL" clId="{D6FBF965-026B-43DA-A554-C6861A0A35E4}" dt="2023-02-01T22:27:43.826" v="103747"/>
          <ac:spMkLst>
            <pc:docMk/>
            <pc:sldMk cId="609427853" sldId="2134804373"/>
            <ac:spMk id="27" creationId="{5C40E176-264F-968E-D8AB-4127842A2581}"/>
          </ac:spMkLst>
        </pc:spChg>
        <pc:spChg chg="mod ord">
          <ac:chgData name="Wenwen Zhang" userId="9dd81366-5d6f-445a-b031-6ea562624431" providerId="ADAL" clId="{D6FBF965-026B-43DA-A554-C6861A0A35E4}" dt="2023-02-01T22:27:43.828" v="103756"/>
          <ac:spMkLst>
            <pc:docMk/>
            <pc:sldMk cId="609427853" sldId="2134804373"/>
            <ac:spMk id="29" creationId="{D50B6CAA-A666-5524-85F7-444C607F0970}"/>
          </ac:spMkLst>
        </pc:spChg>
        <pc:spChg chg="add mod replST">
          <ac:chgData name="Wenwen Zhang" userId="9dd81366-5d6f-445a-b031-6ea562624431" providerId="ADAL" clId="{D6FBF965-026B-43DA-A554-C6861A0A35E4}" dt="2023-02-01T22:27:43.827" v="103748"/>
          <ac:spMkLst>
            <pc:docMk/>
            <pc:sldMk cId="609427853" sldId="2134804373"/>
            <ac:spMk id="30" creationId="{5055823E-407C-690D-2F11-172C66627F84}"/>
          </ac:spMkLst>
        </pc:spChg>
        <pc:spChg chg="add mod replST">
          <ac:chgData name="Wenwen Zhang" userId="9dd81366-5d6f-445a-b031-6ea562624431" providerId="ADAL" clId="{D6FBF965-026B-43DA-A554-C6861A0A35E4}" dt="2023-02-01T22:27:43.825" v="103742"/>
          <ac:spMkLst>
            <pc:docMk/>
            <pc:sldMk cId="609427853" sldId="2134804373"/>
            <ac:spMk id="31" creationId="{7FB0D511-592F-A889-FE54-06C3E05A293A}"/>
          </ac:spMkLst>
        </pc:spChg>
        <pc:spChg chg="add mod replST">
          <ac:chgData name="Wenwen Zhang" userId="9dd81366-5d6f-445a-b031-6ea562624431" providerId="ADAL" clId="{D6FBF965-026B-43DA-A554-C6861A0A35E4}" dt="2023-02-01T22:27:43.827" v="103749"/>
          <ac:spMkLst>
            <pc:docMk/>
            <pc:sldMk cId="609427853" sldId="2134804373"/>
            <ac:spMk id="32" creationId="{B01399D0-AAB0-925B-A465-6A7AD456D79F}"/>
          </ac:spMkLst>
        </pc:spChg>
        <pc:spChg chg="add mod replST">
          <ac:chgData name="Wenwen Zhang" userId="9dd81366-5d6f-445a-b031-6ea562624431" providerId="ADAL" clId="{D6FBF965-026B-43DA-A554-C6861A0A35E4}" dt="2023-02-01T22:27:43.827" v="103750"/>
          <ac:spMkLst>
            <pc:docMk/>
            <pc:sldMk cId="609427853" sldId="2134804373"/>
            <ac:spMk id="33" creationId="{C2F44E48-ABB5-2CA8-92CF-37F0179192E0}"/>
          </ac:spMkLst>
        </pc:spChg>
        <pc:spChg chg="add mod replST">
          <ac:chgData name="Wenwen Zhang" userId="9dd81366-5d6f-445a-b031-6ea562624431" providerId="ADAL" clId="{D6FBF965-026B-43DA-A554-C6861A0A35E4}" dt="2023-02-01T22:27:43.828" v="103751"/>
          <ac:spMkLst>
            <pc:docMk/>
            <pc:sldMk cId="609427853" sldId="2134804373"/>
            <ac:spMk id="34" creationId="{B50E7D02-DE5B-6465-2BAA-49A8C844756C}"/>
          </ac:spMkLst>
        </pc:spChg>
        <pc:spChg chg="add mod ord replST">
          <ac:chgData name="Wenwen Zhang" userId="9dd81366-5d6f-445a-b031-6ea562624431" providerId="ADAL" clId="{D6FBF965-026B-43DA-A554-C6861A0A35E4}" dt="2023-02-01T22:27:43.829" v="103760"/>
          <ac:spMkLst>
            <pc:docMk/>
            <pc:sldMk cId="609427853" sldId="2134804373"/>
            <ac:spMk id="35" creationId="{24D6F818-F579-11B2-6277-19A5798AB3DB}"/>
          </ac:spMkLst>
        </pc:spChg>
        <pc:spChg chg="add mod replST">
          <ac:chgData name="Wenwen Zhang" userId="9dd81366-5d6f-445a-b031-6ea562624431" providerId="ADAL" clId="{D6FBF965-026B-43DA-A554-C6861A0A35E4}" dt="2023-02-01T22:27:43.829" v="103763"/>
          <ac:spMkLst>
            <pc:docMk/>
            <pc:sldMk cId="609427853" sldId="2134804373"/>
            <ac:spMk id="38" creationId="{43FEC616-32DD-8AD8-6F7A-A2E57FE086E6}"/>
          </ac:spMkLst>
        </pc:spChg>
        <pc:spChg chg="add del mod replST">
          <ac:chgData name="Wenwen Zhang" userId="9dd81366-5d6f-445a-b031-6ea562624431" providerId="ADAL" clId="{D6FBF965-026B-43DA-A554-C6861A0A35E4}" dt="2023-02-01T21:30:52.452" v="87268"/>
          <ac:spMkLst>
            <pc:docMk/>
            <pc:sldMk cId="609427853" sldId="2134804373"/>
            <ac:spMk id="39" creationId="{5196D91C-DF7A-6CD0-5505-A98F9F90462F}"/>
          </ac:spMkLst>
        </pc:spChg>
        <pc:spChg chg="add del mod replST">
          <ac:chgData name="Wenwen Zhang" userId="9dd81366-5d6f-445a-b031-6ea562624431" providerId="ADAL" clId="{D6FBF965-026B-43DA-A554-C6861A0A35E4}" dt="2023-02-01T21:30:52.453" v="87271"/>
          <ac:spMkLst>
            <pc:docMk/>
            <pc:sldMk cId="609427853" sldId="2134804373"/>
            <ac:spMk id="40" creationId="{4E6962F5-3440-1EDF-693B-02EE9538375E}"/>
          </ac:spMkLst>
        </pc:spChg>
        <pc:spChg chg="add del mod modVis">
          <ac:chgData name="Wenwen Zhang" userId="9dd81366-5d6f-445a-b031-6ea562624431" providerId="ADAL" clId="{D6FBF965-026B-43DA-A554-C6861A0A35E4}" dt="2023-02-01T21:30:01.885" v="87042"/>
          <ac:spMkLst>
            <pc:docMk/>
            <pc:sldMk cId="609427853" sldId="2134804373"/>
            <ac:spMk id="41" creationId="{C83BF295-DE31-BC89-B552-677C3FC67D39}"/>
          </ac:spMkLst>
        </pc:spChg>
        <pc:spChg chg="mod ord">
          <ac:chgData name="Wenwen Zhang" userId="9dd81366-5d6f-445a-b031-6ea562624431" providerId="ADAL" clId="{D6FBF965-026B-43DA-A554-C6861A0A35E4}" dt="2023-02-01T22:27:43.829" v="103758"/>
          <ac:spMkLst>
            <pc:docMk/>
            <pc:sldMk cId="609427853" sldId="2134804373"/>
            <ac:spMk id="43" creationId="{C58C7321-3BF7-61DC-5B1A-AD075E56AE05}"/>
          </ac:spMkLst>
        </pc:spChg>
        <pc:spChg chg="add del mod modVis">
          <ac:chgData name="Wenwen Zhang" userId="9dd81366-5d6f-445a-b031-6ea562624431" providerId="ADAL" clId="{D6FBF965-026B-43DA-A554-C6861A0A35E4}" dt="2023-02-01T21:30:52.522" v="87373"/>
          <ac:spMkLst>
            <pc:docMk/>
            <pc:sldMk cId="609427853" sldId="2134804373"/>
            <ac:spMk id="44" creationId="{42C8204C-A1B6-834A-783F-DEDF3CBB22D0}"/>
          </ac:spMkLst>
        </pc:spChg>
        <pc:spChg chg="add mod replST">
          <ac:chgData name="Wenwen Zhang" userId="9dd81366-5d6f-445a-b031-6ea562624431" providerId="ADAL" clId="{D6FBF965-026B-43DA-A554-C6861A0A35E4}" dt="2023-02-01T22:27:43.830" v="103764"/>
          <ac:spMkLst>
            <pc:docMk/>
            <pc:sldMk cId="609427853" sldId="2134804373"/>
            <ac:spMk id="46" creationId="{C11D12E4-03AF-82AF-CB5F-4A2E340E104E}"/>
          </ac:spMkLst>
        </pc:spChg>
        <pc:spChg chg="add del mod modVis">
          <ac:chgData name="Wenwen Zhang" userId="9dd81366-5d6f-445a-b031-6ea562624431" providerId="ADAL" clId="{D6FBF965-026B-43DA-A554-C6861A0A35E4}" dt="2023-02-01T21:31:01.089" v="87549"/>
          <ac:spMkLst>
            <pc:docMk/>
            <pc:sldMk cId="609427853" sldId="2134804373"/>
            <ac:spMk id="47" creationId="{E3694C19-53D6-8380-92E9-8CFD28189FF4}"/>
          </ac:spMkLst>
        </pc:spChg>
        <pc:spChg chg="add del mod ord replST">
          <ac:chgData name="Wenwen Zhang" userId="9dd81366-5d6f-445a-b031-6ea562624431" providerId="ADAL" clId="{D6FBF965-026B-43DA-A554-C6861A0A35E4}" dt="2023-02-01T21:31:16.307" v="87776"/>
          <ac:spMkLst>
            <pc:docMk/>
            <pc:sldMk cId="609427853" sldId="2134804373"/>
            <ac:spMk id="49" creationId="{C284FF58-8649-8097-10E0-06DCC8FCCF55}"/>
          </ac:spMkLst>
        </pc:spChg>
        <pc:spChg chg="add del mod modVis">
          <ac:chgData name="Wenwen Zhang" userId="9dd81366-5d6f-445a-b031-6ea562624431" providerId="ADAL" clId="{D6FBF965-026B-43DA-A554-C6861A0A35E4}" dt="2023-02-01T21:31:13.840" v="87659"/>
          <ac:spMkLst>
            <pc:docMk/>
            <pc:sldMk cId="609427853" sldId="2134804373"/>
            <ac:spMk id="50" creationId="{C8623AB9-73FA-08B5-239F-93D69EC83F0F}"/>
          </ac:spMkLst>
        </pc:spChg>
        <pc:spChg chg="add del mod modVis">
          <ac:chgData name="Wenwen Zhang" userId="9dd81366-5d6f-445a-b031-6ea562624431" providerId="ADAL" clId="{D6FBF965-026B-43DA-A554-C6861A0A35E4}" dt="2023-02-01T21:31:16.314" v="87807"/>
          <ac:spMkLst>
            <pc:docMk/>
            <pc:sldMk cId="609427853" sldId="2134804373"/>
            <ac:spMk id="52" creationId="{D81A745C-184C-DD34-9183-6E9930F094FE}"/>
          </ac:spMkLst>
        </pc:spChg>
        <pc:spChg chg="add del mod modVis">
          <ac:chgData name="Wenwen Zhang" userId="9dd81366-5d6f-445a-b031-6ea562624431" providerId="ADAL" clId="{D6FBF965-026B-43DA-A554-C6861A0A35E4}" dt="2023-02-01T21:31:23.735" v="87941"/>
          <ac:spMkLst>
            <pc:docMk/>
            <pc:sldMk cId="609427853" sldId="2134804373"/>
            <ac:spMk id="55" creationId="{EDB1F43F-506A-37E7-EA1C-595E5A0B3162}"/>
          </ac:spMkLst>
        </pc:spChg>
        <pc:spChg chg="add del mod modVis">
          <ac:chgData name="Wenwen Zhang" userId="9dd81366-5d6f-445a-b031-6ea562624431" providerId="ADAL" clId="{D6FBF965-026B-43DA-A554-C6861A0A35E4}" dt="2023-02-01T21:31:30.283" v="88065"/>
          <ac:spMkLst>
            <pc:docMk/>
            <pc:sldMk cId="609427853" sldId="2134804373"/>
            <ac:spMk id="57" creationId="{21481083-BB11-3E6F-6665-47178F771643}"/>
          </ac:spMkLst>
        </pc:spChg>
        <pc:spChg chg="add del mod modVis">
          <ac:chgData name="Wenwen Zhang" userId="9dd81366-5d6f-445a-b031-6ea562624431" providerId="ADAL" clId="{D6FBF965-026B-43DA-A554-C6861A0A35E4}" dt="2023-02-01T21:31:33.207" v="88185"/>
          <ac:spMkLst>
            <pc:docMk/>
            <pc:sldMk cId="609427853" sldId="2134804373"/>
            <ac:spMk id="59" creationId="{D14C91D2-9810-FC57-35A2-D589117204A7}"/>
          </ac:spMkLst>
        </pc:spChg>
        <pc:spChg chg="add del mod modVis">
          <ac:chgData name="Wenwen Zhang" userId="9dd81366-5d6f-445a-b031-6ea562624431" providerId="ADAL" clId="{D6FBF965-026B-43DA-A554-C6861A0A35E4}" dt="2023-02-01T21:44:57.375" v="88633"/>
          <ac:spMkLst>
            <pc:docMk/>
            <pc:sldMk cId="609427853" sldId="2134804373"/>
            <ac:spMk id="61" creationId="{C27A0129-52AF-599C-6F26-BFFEA2F3B613}"/>
          </ac:spMkLst>
        </pc:spChg>
        <pc:spChg chg="add del mod modVis">
          <ac:chgData name="Wenwen Zhang" userId="9dd81366-5d6f-445a-b031-6ea562624431" providerId="ADAL" clId="{D6FBF965-026B-43DA-A554-C6861A0A35E4}" dt="2023-02-01T21:45:11.761" v="88831"/>
          <ac:spMkLst>
            <pc:docMk/>
            <pc:sldMk cId="609427853" sldId="2134804373"/>
            <ac:spMk id="63" creationId="{A9432DCE-E292-9B16-9A66-F3841C84132C}"/>
          </ac:spMkLst>
        </pc:spChg>
        <pc:spChg chg="add del mod modVis">
          <ac:chgData name="Wenwen Zhang" userId="9dd81366-5d6f-445a-b031-6ea562624431" providerId="ADAL" clId="{D6FBF965-026B-43DA-A554-C6861A0A35E4}" dt="2023-02-01T21:45:52.786" v="88892"/>
          <ac:spMkLst>
            <pc:docMk/>
            <pc:sldMk cId="609427853" sldId="2134804373"/>
            <ac:spMk id="65" creationId="{423F918E-E55D-15AA-590B-A350BE6816DF}"/>
          </ac:spMkLst>
        </pc:spChg>
        <pc:spChg chg="add del mod modVis">
          <ac:chgData name="Wenwen Zhang" userId="9dd81366-5d6f-445a-b031-6ea562624431" providerId="ADAL" clId="{D6FBF965-026B-43DA-A554-C6861A0A35E4}" dt="2023-02-01T21:45:53.629" v="88953"/>
          <ac:spMkLst>
            <pc:docMk/>
            <pc:sldMk cId="609427853" sldId="2134804373"/>
            <ac:spMk id="66" creationId="{9F613D53-CACF-FC41-9DB1-D110A4F48B02}"/>
          </ac:spMkLst>
        </pc:spChg>
        <pc:spChg chg="add del mod modVis">
          <ac:chgData name="Wenwen Zhang" userId="9dd81366-5d6f-445a-b031-6ea562624431" providerId="ADAL" clId="{D6FBF965-026B-43DA-A554-C6861A0A35E4}" dt="2023-02-01T21:45:54.296" v="89013"/>
          <ac:spMkLst>
            <pc:docMk/>
            <pc:sldMk cId="609427853" sldId="2134804373"/>
            <ac:spMk id="67" creationId="{838E3406-A690-778A-7CE0-257ECE10E362}"/>
          </ac:spMkLst>
        </pc:spChg>
        <pc:spChg chg="add del mod modVis">
          <ac:chgData name="Wenwen Zhang" userId="9dd81366-5d6f-445a-b031-6ea562624431" providerId="ADAL" clId="{D6FBF965-026B-43DA-A554-C6861A0A35E4}" dt="2023-02-01T21:45:54.855" v="89073"/>
          <ac:spMkLst>
            <pc:docMk/>
            <pc:sldMk cId="609427853" sldId="2134804373"/>
            <ac:spMk id="68" creationId="{E6B8143F-3BCB-D9CE-EC82-AAF96D03A3CE}"/>
          </ac:spMkLst>
        </pc:spChg>
        <pc:spChg chg="add del mod modVis">
          <ac:chgData name="Wenwen Zhang" userId="9dd81366-5d6f-445a-b031-6ea562624431" providerId="ADAL" clId="{D6FBF965-026B-43DA-A554-C6861A0A35E4}" dt="2023-02-01T21:46:06.472" v="89557"/>
          <ac:spMkLst>
            <pc:docMk/>
            <pc:sldMk cId="609427853" sldId="2134804373"/>
            <ac:spMk id="69" creationId="{572BB7C2-5086-7308-971F-B5D9D5CA69F3}"/>
          </ac:spMkLst>
        </pc:spChg>
        <pc:spChg chg="add mod replST delST">
          <ac:chgData name="Wenwen Zhang" userId="9dd81366-5d6f-445a-b031-6ea562624431" providerId="ADAL" clId="{D6FBF965-026B-43DA-A554-C6861A0A35E4}" dt="2023-02-01T21:46:06.472" v="89557"/>
          <ac:spMkLst>
            <pc:docMk/>
            <pc:sldMk cId="609427853" sldId="2134804373"/>
            <ac:spMk id="70" creationId="{96DB64E7-7450-5BAA-7DCA-6F75AE12EF02}"/>
          </ac:spMkLst>
        </pc:spChg>
        <pc:spChg chg="add del mod modVis">
          <ac:chgData name="Wenwen Zhang" userId="9dd81366-5d6f-445a-b031-6ea562624431" providerId="ADAL" clId="{D6FBF965-026B-43DA-A554-C6861A0A35E4}" dt="2023-02-01T21:46:13.610" v="90538"/>
          <ac:spMkLst>
            <pc:docMk/>
            <pc:sldMk cId="609427853" sldId="2134804373"/>
            <ac:spMk id="72" creationId="{EA5FC407-AE1C-88B2-56F9-5DAC3545AAB7}"/>
          </ac:spMkLst>
        </pc:spChg>
        <pc:spChg chg="add del mod replST">
          <ac:chgData name="Wenwen Zhang" userId="9dd81366-5d6f-445a-b031-6ea562624431" providerId="ADAL" clId="{D6FBF965-026B-43DA-A554-C6861A0A35E4}" dt="2023-02-01T21:46:18.894" v="90921"/>
          <ac:spMkLst>
            <pc:docMk/>
            <pc:sldMk cId="609427853" sldId="2134804373"/>
            <ac:spMk id="73" creationId="{96DB64E7-7450-5BAA-7DCA-6F75AE12EF02}"/>
          </ac:spMkLst>
        </pc:spChg>
        <pc:spChg chg="add del mod replST">
          <ac:chgData name="Wenwen Zhang" userId="9dd81366-5d6f-445a-b031-6ea562624431" providerId="ADAL" clId="{D6FBF965-026B-43DA-A554-C6861A0A35E4}" dt="2023-02-01T21:46:18.894" v="90922"/>
          <ac:spMkLst>
            <pc:docMk/>
            <pc:sldMk cId="609427853" sldId="2134804373"/>
            <ac:spMk id="74" creationId="{96DB64E7-7450-5BAA-7DCA-6F75AE12EF02}"/>
          </ac:spMkLst>
        </pc:spChg>
        <pc:spChg chg="add del mod replST">
          <ac:chgData name="Wenwen Zhang" userId="9dd81366-5d6f-445a-b031-6ea562624431" providerId="ADAL" clId="{D6FBF965-026B-43DA-A554-C6861A0A35E4}" dt="2023-02-01T21:46:18.894" v="90923"/>
          <ac:spMkLst>
            <pc:docMk/>
            <pc:sldMk cId="609427853" sldId="2134804373"/>
            <ac:spMk id="75" creationId="{96DB64E7-7450-5BAA-7DCA-6F75AE12EF02}"/>
          </ac:spMkLst>
        </pc:spChg>
        <pc:spChg chg="add del mod replST">
          <ac:chgData name="Wenwen Zhang" userId="9dd81366-5d6f-445a-b031-6ea562624431" providerId="ADAL" clId="{D6FBF965-026B-43DA-A554-C6861A0A35E4}" dt="2023-02-01T21:46:18.894" v="90924"/>
          <ac:spMkLst>
            <pc:docMk/>
            <pc:sldMk cId="609427853" sldId="2134804373"/>
            <ac:spMk id="76" creationId="{96DB64E7-7450-5BAA-7DCA-6F75AE12EF02}"/>
          </ac:spMkLst>
        </pc:spChg>
        <pc:spChg chg="add del mod replST">
          <ac:chgData name="Wenwen Zhang" userId="9dd81366-5d6f-445a-b031-6ea562624431" providerId="ADAL" clId="{D6FBF965-026B-43DA-A554-C6861A0A35E4}" dt="2023-02-01T21:46:18.894" v="90925"/>
          <ac:spMkLst>
            <pc:docMk/>
            <pc:sldMk cId="609427853" sldId="2134804373"/>
            <ac:spMk id="77" creationId="{96DB64E7-7450-5BAA-7DCA-6F75AE12EF02}"/>
          </ac:spMkLst>
        </pc:spChg>
        <pc:spChg chg="add del mod replST">
          <ac:chgData name="Wenwen Zhang" userId="9dd81366-5d6f-445a-b031-6ea562624431" providerId="ADAL" clId="{D6FBF965-026B-43DA-A554-C6861A0A35E4}" dt="2023-02-01T21:46:18.894" v="90926"/>
          <ac:spMkLst>
            <pc:docMk/>
            <pc:sldMk cId="609427853" sldId="2134804373"/>
            <ac:spMk id="78" creationId="{96DB64E7-7450-5BAA-7DCA-6F75AE12EF02}"/>
          </ac:spMkLst>
        </pc:spChg>
        <pc:spChg chg="add del mod replST">
          <ac:chgData name="Wenwen Zhang" userId="9dd81366-5d6f-445a-b031-6ea562624431" providerId="ADAL" clId="{D6FBF965-026B-43DA-A554-C6861A0A35E4}" dt="2023-02-01T21:46:18.894" v="90927"/>
          <ac:spMkLst>
            <pc:docMk/>
            <pc:sldMk cId="609427853" sldId="2134804373"/>
            <ac:spMk id="79" creationId="{96DB64E7-7450-5BAA-7DCA-6F75AE12EF02}"/>
          </ac:spMkLst>
        </pc:spChg>
        <pc:spChg chg="add del mod replST">
          <ac:chgData name="Wenwen Zhang" userId="9dd81366-5d6f-445a-b031-6ea562624431" providerId="ADAL" clId="{D6FBF965-026B-43DA-A554-C6861A0A35E4}" dt="2023-02-01T21:46:18.895" v="90928"/>
          <ac:spMkLst>
            <pc:docMk/>
            <pc:sldMk cId="609427853" sldId="2134804373"/>
            <ac:spMk id="80" creationId="{96DB64E7-7450-5BAA-7DCA-6F75AE12EF02}"/>
          </ac:spMkLst>
        </pc:spChg>
        <pc:spChg chg="add del mod replST">
          <ac:chgData name="Wenwen Zhang" userId="9dd81366-5d6f-445a-b031-6ea562624431" providerId="ADAL" clId="{D6FBF965-026B-43DA-A554-C6861A0A35E4}" dt="2023-02-01T21:46:18.895" v="90929"/>
          <ac:spMkLst>
            <pc:docMk/>
            <pc:sldMk cId="609427853" sldId="2134804373"/>
            <ac:spMk id="81" creationId="{96DB64E7-7450-5BAA-7DCA-6F75AE12EF02}"/>
          </ac:spMkLst>
        </pc:spChg>
        <pc:spChg chg="add del mod modVis">
          <ac:chgData name="Wenwen Zhang" userId="9dd81366-5d6f-445a-b031-6ea562624431" providerId="ADAL" clId="{D6FBF965-026B-43DA-A554-C6861A0A35E4}" dt="2023-02-01T21:46:17.727" v="90836"/>
          <ac:spMkLst>
            <pc:docMk/>
            <pc:sldMk cId="609427853" sldId="2134804373"/>
            <ac:spMk id="83" creationId="{64002B98-5D99-4055-F70E-735E99DCCC44}"/>
          </ac:spMkLst>
        </pc:spChg>
        <pc:spChg chg="add del mod modVis">
          <ac:chgData name="Wenwen Zhang" userId="9dd81366-5d6f-445a-b031-6ea562624431" providerId="ADAL" clId="{D6FBF965-026B-43DA-A554-C6861A0A35E4}" dt="2023-02-01T21:46:18.922" v="90968"/>
          <ac:spMkLst>
            <pc:docMk/>
            <pc:sldMk cId="609427853" sldId="2134804373"/>
            <ac:spMk id="85" creationId="{3379184B-9813-8D1D-006B-1E398A5CD13D}"/>
          </ac:spMkLst>
        </pc:spChg>
        <pc:spChg chg="del mod">
          <ac:chgData name="Wenwen Zhang" userId="9dd81366-5d6f-445a-b031-6ea562624431" providerId="ADAL" clId="{D6FBF965-026B-43DA-A554-C6861A0A35E4}" dt="2023-02-01T21:30:01.138" v="86595"/>
          <ac:spMkLst>
            <pc:docMk/>
            <pc:sldMk cId="609427853" sldId="2134804373"/>
            <ac:spMk id="86" creationId="{96DB64E7-7450-5BAA-7DCA-6F75AE12EF02}"/>
          </ac:spMkLst>
        </pc:spChg>
        <pc:spChg chg="add del mod">
          <ac:chgData name="Wenwen Zhang" userId="9dd81366-5d6f-445a-b031-6ea562624431" providerId="ADAL" clId="{D6FBF965-026B-43DA-A554-C6861A0A35E4}" dt="2023-02-01T21:49:16.037" v="90976" actId="478"/>
          <ac:spMkLst>
            <pc:docMk/>
            <pc:sldMk cId="609427853" sldId="2134804373"/>
            <ac:spMk id="88" creationId="{DDC351B0-6024-68B5-E123-83EF47E01F99}"/>
          </ac:spMkLst>
        </pc:spChg>
        <pc:spChg chg="del mod">
          <ac:chgData name="Wenwen Zhang" userId="9dd81366-5d6f-445a-b031-6ea562624431" providerId="ADAL" clId="{D6FBF965-026B-43DA-A554-C6861A0A35E4}" dt="2023-02-01T21:30:01.138" v="86594"/>
          <ac:spMkLst>
            <pc:docMk/>
            <pc:sldMk cId="609427853" sldId="2134804373"/>
            <ac:spMk id="89" creationId="{96DB64E7-7450-5BAA-7DCA-6F75AE12EF02}"/>
          </ac:spMkLst>
        </pc:spChg>
        <pc:spChg chg="add del mod ord">
          <ac:chgData name="Wenwen Zhang" userId="9dd81366-5d6f-445a-b031-6ea562624431" providerId="ADAL" clId="{D6FBF965-026B-43DA-A554-C6861A0A35E4}" dt="2023-02-01T21:56:19.498" v="91293" actId="478"/>
          <ac:spMkLst>
            <pc:docMk/>
            <pc:sldMk cId="609427853" sldId="2134804373"/>
            <ac:spMk id="90" creationId="{CCAC11B5-42F7-AA13-02D7-C93651DCF8A5}"/>
          </ac:spMkLst>
        </pc:spChg>
        <pc:spChg chg="add del mod modVis">
          <ac:chgData name="Wenwen Zhang" userId="9dd81366-5d6f-445a-b031-6ea562624431" providerId="ADAL" clId="{D6FBF965-026B-43DA-A554-C6861A0A35E4}" dt="2023-02-01T21:56:25.756" v="91541"/>
          <ac:spMkLst>
            <pc:docMk/>
            <pc:sldMk cId="609427853" sldId="2134804373"/>
            <ac:spMk id="91" creationId="{9BB52C73-77E4-7C43-F3B9-27D718DEC166}"/>
          </ac:spMkLst>
        </pc:spChg>
        <pc:spChg chg="del mod">
          <ac:chgData name="Wenwen Zhang" userId="9dd81366-5d6f-445a-b031-6ea562624431" providerId="ADAL" clId="{D6FBF965-026B-43DA-A554-C6861A0A35E4}" dt="2023-02-01T21:30:01.138" v="86593"/>
          <ac:spMkLst>
            <pc:docMk/>
            <pc:sldMk cId="609427853" sldId="2134804373"/>
            <ac:spMk id="92" creationId="{96DB64E7-7450-5BAA-7DCA-6F75AE12EF02}"/>
          </ac:spMkLst>
        </pc:spChg>
        <pc:spChg chg="add del mod ord replST">
          <ac:chgData name="Wenwen Zhang" userId="9dd81366-5d6f-445a-b031-6ea562624431" providerId="ADAL" clId="{D6FBF965-026B-43DA-A554-C6861A0A35E4}" dt="2023-02-01T21:56:35.955" v="91619"/>
          <ac:spMkLst>
            <pc:docMk/>
            <pc:sldMk cId="609427853" sldId="2134804373"/>
            <ac:spMk id="93" creationId="{96DB64E7-7450-5BAA-7DCA-6F75AE12EF02}"/>
          </ac:spMkLst>
        </pc:spChg>
        <pc:spChg chg="del mod">
          <ac:chgData name="Wenwen Zhang" userId="9dd81366-5d6f-445a-b031-6ea562624431" providerId="ADAL" clId="{D6FBF965-026B-43DA-A554-C6861A0A35E4}" dt="2023-02-01T21:30:01.138" v="86592"/>
          <ac:spMkLst>
            <pc:docMk/>
            <pc:sldMk cId="609427853" sldId="2134804373"/>
            <ac:spMk id="95" creationId="{96DB64E7-7450-5BAA-7DCA-6F75AE12EF02}"/>
          </ac:spMkLst>
        </pc:spChg>
        <pc:spChg chg="add del mod modVis">
          <ac:chgData name="Wenwen Zhang" userId="9dd81366-5d6f-445a-b031-6ea562624431" providerId="ADAL" clId="{D6FBF965-026B-43DA-A554-C6861A0A35E4}" dt="2023-02-01T21:56:35.984" v="91674"/>
          <ac:spMkLst>
            <pc:docMk/>
            <pc:sldMk cId="609427853" sldId="2134804373"/>
            <ac:spMk id="96" creationId="{1B3E7681-601E-885E-6ABD-93B4437FEACB}"/>
          </ac:spMkLst>
        </pc:spChg>
        <pc:spChg chg="del mod">
          <ac:chgData name="Wenwen Zhang" userId="9dd81366-5d6f-445a-b031-6ea562624431" providerId="ADAL" clId="{D6FBF965-026B-43DA-A554-C6861A0A35E4}" dt="2023-02-01T21:30:01.137" v="86591"/>
          <ac:spMkLst>
            <pc:docMk/>
            <pc:sldMk cId="609427853" sldId="2134804373"/>
            <ac:spMk id="98" creationId="{96DB64E7-7450-5BAA-7DCA-6F75AE12EF02}"/>
          </ac:spMkLst>
        </pc:spChg>
        <pc:spChg chg="add del mod modVis">
          <ac:chgData name="Wenwen Zhang" userId="9dd81366-5d6f-445a-b031-6ea562624431" providerId="ADAL" clId="{D6FBF965-026B-43DA-A554-C6861A0A35E4}" dt="2023-02-01T21:57:06.635" v="91909"/>
          <ac:spMkLst>
            <pc:docMk/>
            <pc:sldMk cId="609427853" sldId="2134804373"/>
            <ac:spMk id="100" creationId="{B412CA35-4FD7-23FB-611E-213FA0FBDE40}"/>
          </ac:spMkLst>
        </pc:spChg>
        <pc:spChg chg="del mod">
          <ac:chgData name="Wenwen Zhang" userId="9dd81366-5d6f-445a-b031-6ea562624431" providerId="ADAL" clId="{D6FBF965-026B-43DA-A554-C6861A0A35E4}" dt="2023-02-01T21:30:01.137" v="86590"/>
          <ac:spMkLst>
            <pc:docMk/>
            <pc:sldMk cId="609427853" sldId="2134804373"/>
            <ac:spMk id="101" creationId="{96DB64E7-7450-5BAA-7DCA-6F75AE12EF02}"/>
          </ac:spMkLst>
        </pc:spChg>
        <pc:spChg chg="add del mod replST">
          <ac:chgData name="Wenwen Zhang" userId="9dd81366-5d6f-445a-b031-6ea562624431" providerId="ADAL" clId="{D6FBF965-026B-43DA-A554-C6861A0A35E4}" dt="2023-02-01T21:57:08.662" v="92112"/>
          <ac:spMkLst>
            <pc:docMk/>
            <pc:sldMk cId="609427853" sldId="2134804373"/>
            <ac:spMk id="102" creationId="{96DB64E7-7450-5BAA-7DCA-6F75AE12EF02}"/>
          </ac:spMkLst>
        </pc:spChg>
        <pc:spChg chg="del mod">
          <ac:chgData name="Wenwen Zhang" userId="9dd81366-5d6f-445a-b031-6ea562624431" providerId="ADAL" clId="{D6FBF965-026B-43DA-A554-C6861A0A35E4}" dt="2023-02-01T21:30:01.136" v="86589"/>
          <ac:spMkLst>
            <pc:docMk/>
            <pc:sldMk cId="609427853" sldId="2134804373"/>
            <ac:spMk id="104" creationId="{96DB64E7-7450-5BAA-7DCA-6F75AE12EF02}"/>
          </ac:spMkLst>
        </pc:spChg>
        <pc:spChg chg="add del mod modVis">
          <ac:chgData name="Wenwen Zhang" userId="9dd81366-5d6f-445a-b031-6ea562624431" providerId="ADAL" clId="{D6FBF965-026B-43DA-A554-C6861A0A35E4}" dt="2023-02-01T21:57:07.657" v="92036"/>
          <ac:spMkLst>
            <pc:docMk/>
            <pc:sldMk cId="609427853" sldId="2134804373"/>
            <ac:spMk id="105" creationId="{BF2DF3FE-BBE2-21E2-42FB-ED93AC6C67B5}"/>
          </ac:spMkLst>
        </pc:spChg>
        <pc:spChg chg="del mod">
          <ac:chgData name="Wenwen Zhang" userId="9dd81366-5d6f-445a-b031-6ea562624431" providerId="ADAL" clId="{D6FBF965-026B-43DA-A554-C6861A0A35E4}" dt="2023-02-01T21:30:01.136" v="86588"/>
          <ac:spMkLst>
            <pc:docMk/>
            <pc:sldMk cId="609427853" sldId="2134804373"/>
            <ac:spMk id="107" creationId="{96DB64E7-7450-5BAA-7DCA-6F75AE12EF02}"/>
          </ac:spMkLst>
        </pc:spChg>
        <pc:spChg chg="add del mod modVis">
          <ac:chgData name="Wenwen Zhang" userId="9dd81366-5d6f-445a-b031-6ea562624431" providerId="ADAL" clId="{D6FBF965-026B-43DA-A554-C6861A0A35E4}" dt="2023-02-01T21:57:08.689" v="92154"/>
          <ac:spMkLst>
            <pc:docMk/>
            <pc:sldMk cId="609427853" sldId="2134804373"/>
            <ac:spMk id="108" creationId="{3C9ABFB9-CE62-0D6D-63CD-22D9C7868088}"/>
          </ac:spMkLst>
        </pc:spChg>
        <pc:spChg chg="add del mod modVis">
          <ac:chgData name="Wenwen Zhang" userId="9dd81366-5d6f-445a-b031-6ea562624431" providerId="ADAL" clId="{D6FBF965-026B-43DA-A554-C6861A0A35E4}" dt="2023-02-01T22:26:50.429" v="103408"/>
          <ac:spMkLst>
            <pc:docMk/>
            <pc:sldMk cId="609427853" sldId="2134804373"/>
            <ac:spMk id="110" creationId="{EC2FFB85-EBE1-B3DE-C0DF-4701D2E767AD}"/>
          </ac:spMkLst>
        </pc:spChg>
        <pc:spChg chg="del mod">
          <ac:chgData name="Wenwen Zhang" userId="9dd81366-5d6f-445a-b031-6ea562624431" providerId="ADAL" clId="{D6FBF965-026B-43DA-A554-C6861A0A35E4}" dt="2023-02-01T21:30:01.135" v="86587"/>
          <ac:spMkLst>
            <pc:docMk/>
            <pc:sldMk cId="609427853" sldId="2134804373"/>
            <ac:spMk id="111" creationId="{96DB64E7-7450-5BAA-7DCA-6F75AE12EF02}"/>
          </ac:spMkLst>
        </pc:spChg>
        <pc:spChg chg="add del mod modVis">
          <ac:chgData name="Wenwen Zhang" userId="9dd81366-5d6f-445a-b031-6ea562624431" providerId="ADAL" clId="{D6FBF965-026B-43DA-A554-C6861A0A35E4}" dt="2023-02-01T22:26:55.732" v="103526"/>
          <ac:spMkLst>
            <pc:docMk/>
            <pc:sldMk cId="609427853" sldId="2134804373"/>
            <ac:spMk id="113" creationId="{CA71686A-7A10-0050-E188-848CC2BA9D5E}"/>
          </ac:spMkLst>
        </pc:spChg>
        <pc:spChg chg="del mod">
          <ac:chgData name="Wenwen Zhang" userId="9dd81366-5d6f-445a-b031-6ea562624431" providerId="ADAL" clId="{D6FBF965-026B-43DA-A554-C6861A0A35E4}" dt="2023-02-01T21:30:01.135" v="86586"/>
          <ac:spMkLst>
            <pc:docMk/>
            <pc:sldMk cId="609427853" sldId="2134804373"/>
            <ac:spMk id="114" creationId="{96DB64E7-7450-5BAA-7DCA-6F75AE12EF02}"/>
          </ac:spMkLst>
        </pc:spChg>
        <pc:spChg chg="add del mod modVis">
          <ac:chgData name="Wenwen Zhang" userId="9dd81366-5d6f-445a-b031-6ea562624431" providerId="ADAL" clId="{D6FBF965-026B-43DA-A554-C6861A0A35E4}" dt="2023-02-01T22:27:27.138" v="103654"/>
          <ac:spMkLst>
            <pc:docMk/>
            <pc:sldMk cId="609427853" sldId="2134804373"/>
            <ac:spMk id="116" creationId="{4285D754-76E6-E19D-0750-2D9681B04472}"/>
          </ac:spMkLst>
        </pc:spChg>
        <pc:spChg chg="del mod">
          <ac:chgData name="Wenwen Zhang" userId="9dd81366-5d6f-445a-b031-6ea562624431" providerId="ADAL" clId="{D6FBF965-026B-43DA-A554-C6861A0A35E4}" dt="2023-02-01T21:30:01.134" v="86585"/>
          <ac:spMkLst>
            <pc:docMk/>
            <pc:sldMk cId="609427853" sldId="2134804373"/>
            <ac:spMk id="117" creationId="{96DB64E7-7450-5BAA-7DCA-6F75AE12EF02}"/>
          </ac:spMkLst>
        </pc:spChg>
        <pc:spChg chg="add del mod modVis">
          <ac:chgData name="Wenwen Zhang" userId="9dd81366-5d6f-445a-b031-6ea562624431" providerId="ADAL" clId="{D6FBF965-026B-43DA-A554-C6861A0A35E4}" dt="2023-02-01T22:27:43.831" v="103768"/>
          <ac:spMkLst>
            <pc:docMk/>
            <pc:sldMk cId="609427853" sldId="2134804373"/>
            <ac:spMk id="119" creationId="{28EB9CA9-96DB-38EA-FA05-DB34F0BB6734}"/>
          </ac:spMkLst>
        </pc:spChg>
        <pc:spChg chg="del mod">
          <ac:chgData name="Wenwen Zhang" userId="9dd81366-5d6f-445a-b031-6ea562624431" providerId="ADAL" clId="{D6FBF965-026B-43DA-A554-C6861A0A35E4}" dt="2023-02-01T21:30:01.133" v="86584"/>
          <ac:spMkLst>
            <pc:docMk/>
            <pc:sldMk cId="609427853" sldId="2134804373"/>
            <ac:spMk id="120" creationId="{96DB64E7-7450-5BAA-7DCA-6F75AE12EF02}"/>
          </ac:spMkLst>
        </pc:spChg>
        <pc:spChg chg="del mod">
          <ac:chgData name="Wenwen Zhang" userId="9dd81366-5d6f-445a-b031-6ea562624431" providerId="ADAL" clId="{D6FBF965-026B-43DA-A554-C6861A0A35E4}" dt="2023-02-01T21:30:01.127" v="86583"/>
          <ac:spMkLst>
            <pc:docMk/>
            <pc:sldMk cId="609427853" sldId="2134804373"/>
            <ac:spMk id="123" creationId="{96DB64E7-7450-5BAA-7DCA-6F75AE12EF02}"/>
          </ac:spMkLst>
        </pc:spChg>
        <pc:spChg chg="del mod">
          <ac:chgData name="Wenwen Zhang" userId="9dd81366-5d6f-445a-b031-6ea562624431" providerId="ADAL" clId="{D6FBF965-026B-43DA-A554-C6861A0A35E4}" dt="2023-02-01T21:27:14.952" v="84915"/>
          <ac:spMkLst>
            <pc:docMk/>
            <pc:sldMk cId="609427853" sldId="2134804373"/>
            <ac:spMk id="176" creationId="{0333CDF8-75B9-FB8B-354B-CE0536B52445}"/>
          </ac:spMkLst>
        </pc:spChg>
        <pc:spChg chg="del mod ord">
          <ac:chgData name="Wenwen Zhang" userId="9dd81366-5d6f-445a-b031-6ea562624431" providerId="ADAL" clId="{D6FBF965-026B-43DA-A554-C6861A0A35E4}" dt="2023-02-01T21:27:14.947" v="84914"/>
          <ac:spMkLst>
            <pc:docMk/>
            <pc:sldMk cId="609427853" sldId="2134804373"/>
            <ac:spMk id="179" creationId="{67F24C12-0844-B3DA-E248-1C24038CA022}"/>
          </ac:spMkLst>
        </pc:spChg>
        <pc:spChg chg="del mod">
          <ac:chgData name="Wenwen Zhang" userId="9dd81366-5d6f-445a-b031-6ea562624431" providerId="ADAL" clId="{D6FBF965-026B-43DA-A554-C6861A0A35E4}" dt="2023-02-01T21:30:01.140" v="86598"/>
          <ac:spMkLst>
            <pc:docMk/>
            <pc:sldMk cId="609427853" sldId="2134804373"/>
            <ac:spMk id="341" creationId="{684A672A-79D1-5720-64EE-C0A5AEEF8BD4}"/>
          </ac:spMkLst>
        </pc:spChg>
        <pc:spChg chg="del mod ord">
          <ac:chgData name="Wenwen Zhang" userId="9dd81366-5d6f-445a-b031-6ea562624431" providerId="ADAL" clId="{D6FBF965-026B-43DA-A554-C6861A0A35E4}" dt="2023-02-01T21:30:01.140" v="86597"/>
          <ac:spMkLst>
            <pc:docMk/>
            <pc:sldMk cId="609427853" sldId="2134804373"/>
            <ac:spMk id="344" creationId="{7967F8CC-7EAC-A5CB-4FFF-5706400DF166}"/>
          </ac:spMkLst>
        </pc:spChg>
        <pc:spChg chg="del mod">
          <ac:chgData name="Wenwen Zhang" userId="9dd81366-5d6f-445a-b031-6ea562624431" providerId="ADAL" clId="{D6FBF965-026B-43DA-A554-C6861A0A35E4}" dt="2023-02-01T21:30:01.141" v="86601"/>
          <ac:spMkLst>
            <pc:docMk/>
            <pc:sldMk cId="609427853" sldId="2134804373"/>
            <ac:spMk id="345" creationId="{4CC8D3A3-A11D-8678-C40C-818AF04B1BDA}"/>
          </ac:spMkLst>
        </pc:spChg>
        <pc:graphicFrameChg chg="add del mod ord replST">
          <ac:chgData name="Wenwen Zhang" userId="9dd81366-5d6f-445a-b031-6ea562624431" providerId="ADAL" clId="{D6FBF965-026B-43DA-A554-C6861A0A35E4}" dt="2023-02-01T21:27:03.230" v="84855"/>
          <ac:graphicFrameMkLst>
            <pc:docMk/>
            <pc:sldMk cId="609427853" sldId="2134804373"/>
            <ac:graphicFrameMk id="4" creationId="{7D65C70E-0523-FD45-B5AC-344C08DE287F}"/>
          </ac:graphicFrameMkLst>
        </pc:graphicFrameChg>
        <pc:graphicFrameChg chg="add del mod ord replST">
          <ac:chgData name="Wenwen Zhang" userId="9dd81366-5d6f-445a-b031-6ea562624431" providerId="ADAL" clId="{D6FBF965-026B-43DA-A554-C6861A0A35E4}" dt="2023-02-01T21:27:15.010" v="85010"/>
          <ac:graphicFrameMkLst>
            <pc:docMk/>
            <pc:sldMk cId="609427853" sldId="2134804373"/>
            <ac:graphicFrameMk id="6" creationId="{AFB9B2E9-B533-B31E-AA4D-C4FB448916E4}"/>
          </ac:graphicFrameMkLst>
        </pc:graphicFrameChg>
        <pc:graphicFrameChg chg="add del mod ord replST">
          <ac:chgData name="Wenwen Zhang" userId="9dd81366-5d6f-445a-b031-6ea562624431" providerId="ADAL" clId="{D6FBF965-026B-43DA-A554-C6861A0A35E4}" dt="2023-02-01T21:27:27.775" v="85179"/>
          <ac:graphicFrameMkLst>
            <pc:docMk/>
            <pc:sldMk cId="609427853" sldId="2134804373"/>
            <ac:graphicFrameMk id="8" creationId="{52B646B5-8DB6-F0FD-8782-633561A797AE}"/>
          </ac:graphicFrameMkLst>
        </pc:graphicFrameChg>
        <pc:graphicFrameChg chg="add del mod ord replST">
          <ac:chgData name="Wenwen Zhang" userId="9dd81366-5d6f-445a-b031-6ea562624431" providerId="ADAL" clId="{D6FBF965-026B-43DA-A554-C6861A0A35E4}" dt="2023-02-01T21:28:17.940" v="85502"/>
          <ac:graphicFrameMkLst>
            <pc:docMk/>
            <pc:sldMk cId="609427853" sldId="2134804373"/>
            <ac:graphicFrameMk id="10" creationId="{1A3FC16D-0D56-BE68-3616-3E87AC3FD6D4}"/>
          </ac:graphicFrameMkLst>
        </pc:graphicFrameChg>
        <pc:graphicFrameChg chg="add del mod ord replST">
          <ac:chgData name="Wenwen Zhang" userId="9dd81366-5d6f-445a-b031-6ea562624431" providerId="ADAL" clId="{D6FBF965-026B-43DA-A554-C6861A0A35E4}" dt="2023-02-01T21:28:53.049" v="85765"/>
          <ac:graphicFrameMkLst>
            <pc:docMk/>
            <pc:sldMk cId="609427853" sldId="2134804373"/>
            <ac:graphicFrameMk id="14" creationId="{8F4C07D0-9E39-00B0-38B9-10BA099DFAFB}"/>
          </ac:graphicFrameMkLst>
        </pc:graphicFrameChg>
        <pc:graphicFrameChg chg="add del mod ord replST">
          <ac:chgData name="Wenwen Zhang" userId="9dd81366-5d6f-445a-b031-6ea562624431" providerId="ADAL" clId="{D6FBF965-026B-43DA-A554-C6861A0A35E4}" dt="2023-02-01T21:29:32.530" v="86395"/>
          <ac:graphicFrameMkLst>
            <pc:docMk/>
            <pc:sldMk cId="609427853" sldId="2134804373"/>
            <ac:graphicFrameMk id="16" creationId="{18078D28-6A5B-E719-D8E2-F18AD03E101E}"/>
          </ac:graphicFrameMkLst>
        </pc:graphicFrameChg>
        <pc:graphicFrameChg chg="add del mod ord replST">
          <ac:chgData name="Wenwen Zhang" userId="9dd81366-5d6f-445a-b031-6ea562624431" providerId="ADAL" clId="{D6FBF965-026B-43DA-A554-C6861A0A35E4}" dt="2023-02-01T21:30:01.143" v="86603"/>
          <ac:graphicFrameMkLst>
            <pc:docMk/>
            <pc:sldMk cId="609427853" sldId="2134804373"/>
            <ac:graphicFrameMk id="18" creationId="{FDB0E3DC-1080-B7CD-D130-84499C11485B}"/>
          </ac:graphicFrameMkLst>
        </pc:graphicFrameChg>
        <pc:graphicFrameChg chg="add del mod replST">
          <ac:chgData name="Wenwen Zhang" userId="9dd81366-5d6f-445a-b031-6ea562624431" providerId="ADAL" clId="{D6FBF965-026B-43DA-A554-C6861A0A35E4}" dt="2023-02-01T21:30:01.837" v="86932"/>
          <ac:graphicFrameMkLst>
            <pc:docMk/>
            <pc:sldMk cId="609427853" sldId="2134804373"/>
            <ac:graphicFrameMk id="19" creationId="{A2BBCB19-2FD3-242C-00A8-78FADFDB288F}"/>
          </ac:graphicFrameMkLst>
        </pc:graphicFrameChg>
        <pc:graphicFrameChg chg="mod">
          <ac:chgData name="Wenwen Zhang" userId="9dd81366-5d6f-445a-b031-6ea562624431" providerId="ADAL" clId="{D6FBF965-026B-43DA-A554-C6861A0A35E4}" dt="2023-02-01T22:27:43.838" v="103770"/>
          <ac:graphicFrameMkLst>
            <pc:docMk/>
            <pc:sldMk cId="609427853" sldId="2134804373"/>
            <ac:graphicFrameMk id="28" creationId="{015DFAEE-F78A-C272-92CE-F25C3417CAD0}"/>
          </ac:graphicFrameMkLst>
        </pc:graphicFrameChg>
        <pc:graphicFrameChg chg="add del mod ord replST">
          <ac:chgData name="Wenwen Zhang" userId="9dd81366-5d6f-445a-b031-6ea562624431" providerId="ADAL" clId="{D6FBF965-026B-43DA-A554-C6861A0A35E4}" dt="2023-02-01T21:30:52.503" v="87339"/>
          <ac:graphicFrameMkLst>
            <pc:docMk/>
            <pc:sldMk cId="609427853" sldId="2134804373"/>
            <ac:graphicFrameMk id="42" creationId="{29D1FB45-5375-970D-2F5C-B571AA79446E}"/>
          </ac:graphicFrameMkLst>
        </pc:graphicFrameChg>
        <pc:graphicFrameChg chg="add del mod ord replST">
          <ac:chgData name="Wenwen Zhang" userId="9dd81366-5d6f-445a-b031-6ea562624431" providerId="ADAL" clId="{D6FBF965-026B-43DA-A554-C6861A0A35E4}" dt="2023-02-01T21:31:01.061" v="87497"/>
          <ac:graphicFrameMkLst>
            <pc:docMk/>
            <pc:sldMk cId="609427853" sldId="2134804373"/>
            <ac:graphicFrameMk id="45" creationId="{DD1EA3DD-9384-D0D5-7785-D232478BF965}"/>
          </ac:graphicFrameMkLst>
        </pc:graphicFrameChg>
        <pc:graphicFrameChg chg="add del mod ord replST">
          <ac:chgData name="Wenwen Zhang" userId="9dd81366-5d6f-445a-b031-6ea562624431" providerId="ADAL" clId="{D6FBF965-026B-43DA-A554-C6861A0A35E4}" dt="2023-02-01T21:31:13.819" v="87620"/>
          <ac:graphicFrameMkLst>
            <pc:docMk/>
            <pc:sldMk cId="609427853" sldId="2134804373"/>
            <ac:graphicFrameMk id="48" creationId="{424B093F-F690-4553-9659-0FC72568694F}"/>
          </ac:graphicFrameMkLst>
        </pc:graphicFrameChg>
        <pc:graphicFrameChg chg="add del mod ord replST">
          <ac:chgData name="Wenwen Zhang" userId="9dd81366-5d6f-445a-b031-6ea562624431" providerId="ADAL" clId="{D6FBF965-026B-43DA-A554-C6861A0A35E4}" dt="2023-02-01T21:31:16.287" v="87747"/>
          <ac:graphicFrameMkLst>
            <pc:docMk/>
            <pc:sldMk cId="609427853" sldId="2134804373"/>
            <ac:graphicFrameMk id="51" creationId="{435DB6AB-15F5-89A7-6B04-64E06C0B8BF8}"/>
          </ac:graphicFrameMkLst>
        </pc:graphicFrameChg>
        <pc:graphicFrameChg chg="add del mod ord replST">
          <ac:chgData name="Wenwen Zhang" userId="9dd81366-5d6f-445a-b031-6ea562624431" providerId="ADAL" clId="{D6FBF965-026B-43DA-A554-C6861A0A35E4}" dt="2023-02-01T21:31:23.716" v="87904"/>
          <ac:graphicFrameMkLst>
            <pc:docMk/>
            <pc:sldMk cId="609427853" sldId="2134804373"/>
            <ac:graphicFrameMk id="53" creationId="{65383C1F-4ABE-FFBB-53ED-EDB8233DF343}"/>
          </ac:graphicFrameMkLst>
        </pc:graphicFrameChg>
        <pc:graphicFrameChg chg="add del mod ord replST">
          <ac:chgData name="Wenwen Zhang" userId="9dd81366-5d6f-445a-b031-6ea562624431" providerId="ADAL" clId="{D6FBF965-026B-43DA-A554-C6861A0A35E4}" dt="2023-02-01T21:31:30.257" v="88012"/>
          <ac:graphicFrameMkLst>
            <pc:docMk/>
            <pc:sldMk cId="609427853" sldId="2134804373"/>
            <ac:graphicFrameMk id="56" creationId="{6B34E30C-6BA3-E522-4932-EA38FF597A3F}"/>
          </ac:graphicFrameMkLst>
        </pc:graphicFrameChg>
        <pc:graphicFrameChg chg="add del mod ord replST">
          <ac:chgData name="Wenwen Zhang" userId="9dd81366-5d6f-445a-b031-6ea562624431" providerId="ADAL" clId="{D6FBF965-026B-43DA-A554-C6861A0A35E4}" dt="2023-02-01T21:31:33.181" v="88136"/>
          <ac:graphicFrameMkLst>
            <pc:docMk/>
            <pc:sldMk cId="609427853" sldId="2134804373"/>
            <ac:graphicFrameMk id="58" creationId="{93817A6F-C0A7-34BD-BF09-9717F708B160}"/>
          </ac:graphicFrameMkLst>
        </pc:graphicFrameChg>
        <pc:graphicFrameChg chg="add del mod ord replST">
          <ac:chgData name="Wenwen Zhang" userId="9dd81366-5d6f-445a-b031-6ea562624431" providerId="ADAL" clId="{D6FBF965-026B-43DA-A554-C6861A0A35E4}" dt="2023-02-01T21:44:57.323" v="88536"/>
          <ac:graphicFrameMkLst>
            <pc:docMk/>
            <pc:sldMk cId="609427853" sldId="2134804373"/>
            <ac:graphicFrameMk id="60" creationId="{EE742219-5B96-C8C4-59E3-6F75DF139ACA}"/>
          </ac:graphicFrameMkLst>
        </pc:graphicFrameChg>
        <pc:graphicFrameChg chg="add del mod ord replST">
          <ac:chgData name="Wenwen Zhang" userId="9dd81366-5d6f-445a-b031-6ea562624431" providerId="ADAL" clId="{D6FBF965-026B-43DA-A554-C6861A0A35E4}" dt="2023-02-01T21:45:11.714" v="88746"/>
          <ac:graphicFrameMkLst>
            <pc:docMk/>
            <pc:sldMk cId="609427853" sldId="2134804373"/>
            <ac:graphicFrameMk id="62" creationId="{03AF1237-AE14-3573-0F00-53B06CFDA103}"/>
          </ac:graphicFrameMkLst>
        </pc:graphicFrameChg>
        <pc:graphicFrameChg chg="add del mod ord replST">
          <ac:chgData name="Wenwen Zhang" userId="9dd81366-5d6f-445a-b031-6ea562624431" providerId="ADAL" clId="{D6FBF965-026B-43DA-A554-C6861A0A35E4}" dt="2023-02-01T21:46:13.570" v="90468"/>
          <ac:graphicFrameMkLst>
            <pc:docMk/>
            <pc:sldMk cId="609427853" sldId="2134804373"/>
            <ac:graphicFrameMk id="64" creationId="{BE2EA009-7023-0957-5D46-76FB62B6F1D9}"/>
          </ac:graphicFrameMkLst>
        </pc:graphicFrameChg>
        <pc:graphicFrameChg chg="add mod ord replST delST">
          <ac:chgData name="Wenwen Zhang" userId="9dd81366-5d6f-445a-b031-6ea562624431" providerId="ADAL" clId="{D6FBF965-026B-43DA-A554-C6861A0A35E4}" dt="2023-02-01T21:46:06.472" v="89557"/>
          <ac:graphicFrameMkLst>
            <pc:docMk/>
            <pc:sldMk cId="609427853" sldId="2134804373"/>
            <ac:graphicFrameMk id="71" creationId="{02C4C8A3-FD7C-B8DC-1C9E-A73E0EF5C5E0}"/>
          </ac:graphicFrameMkLst>
        </pc:graphicFrameChg>
        <pc:graphicFrameChg chg="add del mod ord replST">
          <ac:chgData name="Wenwen Zhang" userId="9dd81366-5d6f-445a-b031-6ea562624431" providerId="ADAL" clId="{D6FBF965-026B-43DA-A554-C6861A0A35E4}" dt="2023-02-01T21:46:17.683" v="90754"/>
          <ac:graphicFrameMkLst>
            <pc:docMk/>
            <pc:sldMk cId="609427853" sldId="2134804373"/>
            <ac:graphicFrameMk id="82" creationId="{529C9669-E3B6-B4D9-6140-3A0F0249E2EB}"/>
          </ac:graphicFrameMkLst>
        </pc:graphicFrameChg>
        <pc:graphicFrameChg chg="add del mod ord replST">
          <ac:chgData name="Wenwen Zhang" userId="9dd81366-5d6f-445a-b031-6ea562624431" providerId="ADAL" clId="{D6FBF965-026B-43DA-A554-C6861A0A35E4}" dt="2023-02-01T21:46:18.898" v="90931"/>
          <ac:graphicFrameMkLst>
            <pc:docMk/>
            <pc:sldMk cId="609427853" sldId="2134804373"/>
            <ac:graphicFrameMk id="84" creationId="{681DC8D7-0E33-238F-DF2A-09181997B682}"/>
          </ac:graphicFrameMkLst>
        </pc:graphicFrameChg>
        <pc:graphicFrameChg chg="add del mod ord replST">
          <ac:chgData name="Wenwen Zhang" userId="9dd81366-5d6f-445a-b031-6ea562624431" providerId="ADAL" clId="{D6FBF965-026B-43DA-A554-C6861A0A35E4}" dt="2023-02-01T21:56:25.721" v="91474"/>
          <ac:graphicFrameMkLst>
            <pc:docMk/>
            <pc:sldMk cId="609427853" sldId="2134804373"/>
            <ac:graphicFrameMk id="87" creationId="{CD95CBD2-2C76-A4CF-CD87-76E71F59DA79}"/>
          </ac:graphicFrameMkLst>
        </pc:graphicFrameChg>
        <pc:graphicFrameChg chg="add del mod ord replST">
          <ac:chgData name="Wenwen Zhang" userId="9dd81366-5d6f-445a-b031-6ea562624431" providerId="ADAL" clId="{D6FBF965-026B-43DA-A554-C6861A0A35E4}" dt="2023-02-01T21:56:35.961" v="91635"/>
          <ac:graphicFrameMkLst>
            <pc:docMk/>
            <pc:sldMk cId="609427853" sldId="2134804373"/>
            <ac:graphicFrameMk id="94" creationId="{F4E8C775-4475-5D15-FBA7-7191D2D45156}"/>
          </ac:graphicFrameMkLst>
        </pc:graphicFrameChg>
        <pc:graphicFrameChg chg="add del mod ord replST">
          <ac:chgData name="Wenwen Zhang" userId="9dd81366-5d6f-445a-b031-6ea562624431" providerId="ADAL" clId="{D6FBF965-026B-43DA-A554-C6861A0A35E4}" dt="2023-02-01T21:57:06.602" v="91841"/>
          <ac:graphicFrameMkLst>
            <pc:docMk/>
            <pc:sldMk cId="609427853" sldId="2134804373"/>
            <ac:graphicFrameMk id="99" creationId="{F8C7F780-D363-80CA-F128-0211C0E60F64}"/>
          </ac:graphicFrameMkLst>
        </pc:graphicFrameChg>
        <pc:graphicFrameChg chg="add del mod ord replST">
          <ac:chgData name="Wenwen Zhang" userId="9dd81366-5d6f-445a-b031-6ea562624431" providerId="ADAL" clId="{D6FBF965-026B-43DA-A554-C6861A0A35E4}" dt="2023-02-01T21:57:07.634" v="91996"/>
          <ac:graphicFrameMkLst>
            <pc:docMk/>
            <pc:sldMk cId="609427853" sldId="2134804373"/>
            <ac:graphicFrameMk id="103" creationId="{89700651-E523-C461-B8F2-70E929747931}"/>
          </ac:graphicFrameMkLst>
        </pc:graphicFrameChg>
        <pc:graphicFrameChg chg="add del mod ord replST">
          <ac:chgData name="Wenwen Zhang" userId="9dd81366-5d6f-445a-b031-6ea562624431" providerId="ADAL" clId="{D6FBF965-026B-43DA-A554-C6861A0A35E4}" dt="2023-02-01T21:57:08.666" v="92117"/>
          <ac:graphicFrameMkLst>
            <pc:docMk/>
            <pc:sldMk cId="609427853" sldId="2134804373"/>
            <ac:graphicFrameMk id="106" creationId="{8A0B35B7-20B3-AEF4-8839-0899700FE692}"/>
          </ac:graphicFrameMkLst>
        </pc:graphicFrameChg>
        <pc:graphicFrameChg chg="add del mod ord replST">
          <ac:chgData name="Wenwen Zhang" userId="9dd81366-5d6f-445a-b031-6ea562624431" providerId="ADAL" clId="{D6FBF965-026B-43DA-A554-C6861A0A35E4}" dt="2023-02-01T22:26:50.411" v="103371"/>
          <ac:graphicFrameMkLst>
            <pc:docMk/>
            <pc:sldMk cId="609427853" sldId="2134804373"/>
            <ac:graphicFrameMk id="109" creationId="{BD1DF0D5-F3D5-1BF8-3492-ECABC92051BA}"/>
          </ac:graphicFrameMkLst>
        </pc:graphicFrameChg>
        <pc:graphicFrameChg chg="add del mod ord replST">
          <ac:chgData name="Wenwen Zhang" userId="9dd81366-5d6f-445a-b031-6ea562624431" providerId="ADAL" clId="{D6FBF965-026B-43DA-A554-C6861A0A35E4}" dt="2023-02-01T22:26:55.713" v="103489"/>
          <ac:graphicFrameMkLst>
            <pc:docMk/>
            <pc:sldMk cId="609427853" sldId="2134804373"/>
            <ac:graphicFrameMk id="112" creationId="{F66C580E-B167-CB59-0554-C851668E7F52}"/>
          </ac:graphicFrameMkLst>
        </pc:graphicFrameChg>
        <pc:graphicFrameChg chg="add del mod ord replST">
          <ac:chgData name="Wenwen Zhang" userId="9dd81366-5d6f-445a-b031-6ea562624431" providerId="ADAL" clId="{D6FBF965-026B-43DA-A554-C6861A0A35E4}" dt="2023-02-01T22:27:27.121" v="103617"/>
          <ac:graphicFrameMkLst>
            <pc:docMk/>
            <pc:sldMk cId="609427853" sldId="2134804373"/>
            <ac:graphicFrameMk id="115" creationId="{52105A8C-2498-DB75-9B8D-30CB3222396E}"/>
          </ac:graphicFrameMkLst>
        </pc:graphicFrameChg>
        <pc:graphicFrameChg chg="add del mod ord replST">
          <ac:chgData name="Wenwen Zhang" userId="9dd81366-5d6f-445a-b031-6ea562624431" providerId="ADAL" clId="{D6FBF965-026B-43DA-A554-C6861A0A35E4}" dt="2023-02-01T22:27:43.812" v="103731"/>
          <ac:graphicFrameMkLst>
            <pc:docMk/>
            <pc:sldMk cId="609427853" sldId="2134804373"/>
            <ac:graphicFrameMk id="118" creationId="{C000C4B1-5B30-3987-550A-AEE3A69F7234}"/>
          </ac:graphicFrameMkLst>
        </pc:graphicFrameChg>
        <pc:graphicFrameChg chg="add mod ord replST">
          <ac:chgData name="Wenwen Zhang" userId="9dd81366-5d6f-445a-b031-6ea562624431" providerId="ADAL" clId="{D6FBF965-026B-43DA-A554-C6861A0A35E4}" dt="2023-02-01T22:27:43.825" v="103739"/>
          <ac:graphicFrameMkLst>
            <pc:docMk/>
            <pc:sldMk cId="609427853" sldId="2134804373"/>
            <ac:graphicFrameMk id="121" creationId="{9A7A6D01-4A1D-35CA-AE80-70FA397B8530}"/>
          </ac:graphicFrameMkLst>
        </pc:graphicFrameChg>
        <pc:graphicFrameChg chg="del">
          <ac:chgData name="Wenwen Zhang" userId="9dd81366-5d6f-445a-b031-6ea562624431" providerId="ADAL" clId="{D6FBF965-026B-43DA-A554-C6861A0A35E4}" dt="2023-02-01T21:26:15.418" v="84079"/>
          <ac:graphicFrameMkLst>
            <pc:docMk/>
            <pc:sldMk cId="609427853" sldId="2134804373"/>
            <ac:graphicFrameMk id="737" creationId="{D478C431-5211-6F73-ED86-BD03B28183A2}"/>
          </ac:graphicFrameMkLst>
        </pc:graphicFrameChg>
        <pc:cxnChg chg="add del mod ord replST">
          <ac:chgData name="Wenwen Zhang" userId="9dd81366-5d6f-445a-b031-6ea562624431" providerId="ADAL" clId="{D6FBF965-026B-43DA-A554-C6861A0A35E4}" dt="2023-02-01T21:30:52.453" v="87270"/>
          <ac:cxnSpMkLst>
            <pc:docMk/>
            <pc:sldMk cId="609427853" sldId="2134804373"/>
            <ac:cxnSpMk id="36" creationId="{274736CC-6579-D761-AC0F-02AFFD66FB37}"/>
          </ac:cxnSpMkLst>
        </pc:cxnChg>
        <pc:cxnChg chg="add del mod ord replST">
          <ac:chgData name="Wenwen Zhang" userId="9dd81366-5d6f-445a-b031-6ea562624431" providerId="ADAL" clId="{D6FBF965-026B-43DA-A554-C6861A0A35E4}" dt="2023-02-01T21:30:52.448" v="87267"/>
          <ac:cxnSpMkLst>
            <pc:docMk/>
            <pc:sldMk cId="609427853" sldId="2134804373"/>
            <ac:cxnSpMk id="37" creationId="{5F747A16-2457-7EFB-FF91-2E22B492FC1B}"/>
          </ac:cxnSpMkLst>
        </pc:cxnChg>
        <pc:cxnChg chg="add mod ord replST">
          <ac:chgData name="Wenwen Zhang" userId="9dd81366-5d6f-445a-b031-6ea562624431" providerId="ADAL" clId="{D6FBF965-026B-43DA-A554-C6861A0A35E4}" dt="2023-02-01T22:27:43.829" v="103762"/>
          <ac:cxnSpMkLst>
            <pc:docMk/>
            <pc:sldMk cId="609427853" sldId="2134804373"/>
            <ac:cxnSpMk id="54" creationId="{A0953699-F4F3-697B-EF84-1E7DDFC53093}"/>
          </ac:cxnSpMkLst>
        </pc:cxnChg>
        <pc:cxnChg chg="add del mod ord replST">
          <ac:chgData name="Wenwen Zhang" userId="9dd81366-5d6f-445a-b031-6ea562624431" providerId="ADAL" clId="{D6FBF965-026B-43DA-A554-C6861A0A35E4}" dt="2023-02-01T21:57:08.661" v="92111"/>
          <ac:cxnSpMkLst>
            <pc:docMk/>
            <pc:sldMk cId="609427853" sldId="2134804373"/>
            <ac:cxnSpMk id="97" creationId="{E1D26D4C-D7E7-7CA9-E2D4-01B7439B4FB0}"/>
          </ac:cxnSpMkLst>
        </pc:cxnChg>
        <pc:cxnChg chg="del mod ord">
          <ac:chgData name="Wenwen Zhang" userId="9dd81366-5d6f-445a-b031-6ea562624431" providerId="ADAL" clId="{D6FBF965-026B-43DA-A554-C6861A0A35E4}" dt="2023-02-01T21:30:01.141" v="86600"/>
          <ac:cxnSpMkLst>
            <pc:docMk/>
            <pc:sldMk cId="609427853" sldId="2134804373"/>
            <ac:cxnSpMk id="348" creationId="{4AB1BCB8-D420-96C6-D6AF-C794BC493EBF}"/>
          </ac:cxnSpMkLst>
        </pc:cxnChg>
      </pc:sldChg>
      <pc:sldChg chg="addSp delSp modSp add del mod modNotesTx">
        <pc:chgData name="Wenwen Zhang" userId="9dd81366-5d6f-445a-b031-6ea562624431" providerId="ADAL" clId="{D6FBF965-026B-43DA-A554-C6861A0A35E4}" dt="2023-02-02T10:08:25.539" v="112294" actId="47"/>
        <pc:sldMkLst>
          <pc:docMk/>
          <pc:sldMk cId="3674098618" sldId="2134804374"/>
        </pc:sldMkLst>
        <pc:spChg chg="mod ord">
          <ac:chgData name="Wenwen Zhang" userId="9dd81366-5d6f-445a-b031-6ea562624431" providerId="ADAL" clId="{D6FBF965-026B-43DA-A554-C6861A0A35E4}" dt="2023-02-02T10:07:39.650" v="111709"/>
          <ac:spMkLst>
            <pc:docMk/>
            <pc:sldMk cId="3674098618" sldId="2134804374"/>
            <ac:spMk id="2" creationId="{B065B79C-C4D6-5961-7919-6BB68C420868}"/>
          </ac:spMkLst>
        </pc:spChg>
        <pc:spChg chg="add del mod modVis">
          <ac:chgData name="Wenwen Zhang" userId="9dd81366-5d6f-445a-b031-6ea562624431" providerId="ADAL" clId="{D6FBF965-026B-43DA-A554-C6861A0A35E4}" dt="2023-02-02T09:52:19.689" v="108005"/>
          <ac:spMkLst>
            <pc:docMk/>
            <pc:sldMk cId="3674098618" sldId="2134804374"/>
            <ac:spMk id="3" creationId="{DE4E7430-FA12-04A1-6B43-A991C6FB2F6A}"/>
          </ac:spMkLst>
        </pc:spChg>
        <pc:spChg chg="add del mod modVis">
          <ac:chgData name="Wenwen Zhang" userId="9dd81366-5d6f-445a-b031-6ea562624431" providerId="ADAL" clId="{D6FBF965-026B-43DA-A554-C6861A0A35E4}" dt="2023-02-02T10:07:02.587" v="109845"/>
          <ac:spMkLst>
            <pc:docMk/>
            <pc:sldMk cId="3674098618" sldId="2134804374"/>
            <ac:spMk id="5" creationId="{CE243BD2-DDC0-A31A-34F9-3629C605076A}"/>
          </ac:spMkLst>
        </pc:spChg>
        <pc:spChg chg="add del mod modVis">
          <ac:chgData name="Wenwen Zhang" userId="9dd81366-5d6f-445a-b031-6ea562624431" providerId="ADAL" clId="{D6FBF965-026B-43DA-A554-C6861A0A35E4}" dt="2023-02-02T10:07:08.110" v="110177"/>
          <ac:spMkLst>
            <pc:docMk/>
            <pc:sldMk cId="3674098618" sldId="2134804374"/>
            <ac:spMk id="7" creationId="{1065772A-CA7C-8B99-90F8-946F03288745}"/>
          </ac:spMkLst>
        </pc:spChg>
        <pc:spChg chg="add mod replST">
          <ac:chgData name="Wenwen Zhang" userId="9dd81366-5d6f-445a-b031-6ea562624431" providerId="ADAL" clId="{D6FBF965-026B-43DA-A554-C6861A0A35E4}" dt="2023-02-02T10:07:39.658" v="111763"/>
          <ac:spMkLst>
            <pc:docMk/>
            <pc:sldMk cId="3674098618" sldId="2134804374"/>
            <ac:spMk id="9" creationId="{96DB64E7-7450-5BAA-7DCA-6F75AE12EF02}"/>
          </ac:spMkLst>
        </pc:spChg>
        <pc:spChg chg="add del mod modVis">
          <ac:chgData name="Wenwen Zhang" userId="9dd81366-5d6f-445a-b031-6ea562624431" providerId="ADAL" clId="{D6FBF965-026B-43DA-A554-C6861A0A35E4}" dt="2023-02-02T10:07:10.336" v="110732"/>
          <ac:spMkLst>
            <pc:docMk/>
            <pc:sldMk cId="3674098618" sldId="2134804374"/>
            <ac:spMk id="10" creationId="{0785C135-5443-A6E4-4307-D169D744CCA2}"/>
          </ac:spMkLst>
        </pc:spChg>
        <pc:spChg chg="add mod replST">
          <ac:chgData name="Wenwen Zhang" userId="9dd81366-5d6f-445a-b031-6ea562624431" providerId="ADAL" clId="{D6FBF965-026B-43DA-A554-C6861A0A35E4}" dt="2023-02-02T10:07:39.658" v="111762"/>
          <ac:spMkLst>
            <pc:docMk/>
            <pc:sldMk cId="3674098618" sldId="2134804374"/>
            <ac:spMk id="12" creationId="{96DB64E7-7450-5BAA-7DCA-6F75AE12EF02}"/>
          </ac:spMkLst>
        </pc:spChg>
        <pc:spChg chg="add mod replST">
          <ac:chgData name="Wenwen Zhang" userId="9dd81366-5d6f-445a-b031-6ea562624431" providerId="ADAL" clId="{D6FBF965-026B-43DA-A554-C6861A0A35E4}" dt="2023-02-02T10:07:39.658" v="111761"/>
          <ac:spMkLst>
            <pc:docMk/>
            <pc:sldMk cId="3674098618" sldId="2134804374"/>
            <ac:spMk id="13" creationId="{96DB64E7-7450-5BAA-7DCA-6F75AE12EF02}"/>
          </ac:spMkLst>
        </pc:spChg>
        <pc:spChg chg="add del mod modVis">
          <ac:chgData name="Wenwen Zhang" userId="9dd81366-5d6f-445a-b031-6ea562624431" providerId="ADAL" clId="{D6FBF965-026B-43DA-A554-C6861A0A35E4}" dt="2023-02-02T10:07:31.994" v="111416"/>
          <ac:spMkLst>
            <pc:docMk/>
            <pc:sldMk cId="3674098618" sldId="2134804374"/>
            <ac:spMk id="18" creationId="{B074EAD8-9EAA-57DB-0FD3-B586FEAF10B1}"/>
          </ac:spMkLst>
        </pc:spChg>
        <pc:spChg chg="add del mod modVis">
          <ac:chgData name="Wenwen Zhang" userId="9dd81366-5d6f-445a-b031-6ea562624431" providerId="ADAL" clId="{D6FBF965-026B-43DA-A554-C6861A0A35E4}" dt="2023-02-02T10:07:39.658" v="111767"/>
          <ac:spMkLst>
            <pc:docMk/>
            <pc:sldMk cId="3674098618" sldId="2134804374"/>
            <ac:spMk id="20" creationId="{D245D2A7-8FB8-BB49-C1E9-F2EA00C253EC}"/>
          </ac:spMkLst>
        </pc:spChg>
        <pc:spChg chg="mod ord">
          <ac:chgData name="Wenwen Zhang" userId="9dd81366-5d6f-445a-b031-6ea562624431" providerId="ADAL" clId="{D6FBF965-026B-43DA-A554-C6861A0A35E4}" dt="2023-02-02T10:07:39.650" v="111711"/>
          <ac:spMkLst>
            <pc:docMk/>
            <pc:sldMk cId="3674098618" sldId="2134804374"/>
            <ac:spMk id="29" creationId="{D50B6CAA-A666-5524-85F7-444C607F0970}"/>
          </ac:spMkLst>
        </pc:spChg>
        <pc:spChg chg="mod ord">
          <ac:chgData name="Wenwen Zhang" userId="9dd81366-5d6f-445a-b031-6ea562624431" providerId="ADAL" clId="{D6FBF965-026B-43DA-A554-C6861A0A35E4}" dt="2023-02-02T10:07:39.650" v="111713"/>
          <ac:spMkLst>
            <pc:docMk/>
            <pc:sldMk cId="3674098618" sldId="2134804374"/>
            <ac:spMk id="43" creationId="{C58C7321-3BF7-61DC-5B1A-AD075E56AE05}"/>
          </ac:spMkLst>
        </pc:spChg>
        <pc:spChg chg="del">
          <ac:chgData name="Wenwen Zhang" userId="9dd81366-5d6f-445a-b031-6ea562624431" providerId="ADAL" clId="{D6FBF965-026B-43DA-A554-C6861A0A35E4}" dt="2023-02-02T09:52:13.892" v="107448"/>
          <ac:spMkLst>
            <pc:docMk/>
            <pc:sldMk cId="3674098618" sldId="2134804374"/>
            <ac:spMk id="45" creationId="{60A5EDA6-1581-4C1B-0F33-75BB24155868}"/>
          </ac:spMkLst>
        </pc:spChg>
        <pc:spChg chg="del">
          <ac:chgData name="Wenwen Zhang" userId="9dd81366-5d6f-445a-b031-6ea562624431" providerId="ADAL" clId="{D6FBF965-026B-43DA-A554-C6861A0A35E4}" dt="2023-02-02T09:52:13.891" v="107442"/>
          <ac:spMkLst>
            <pc:docMk/>
            <pc:sldMk cId="3674098618" sldId="2134804374"/>
            <ac:spMk id="46" creationId="{F6EE6FC4-06BE-032D-62DA-8AB057C340DB}"/>
          </ac:spMkLst>
        </pc:spChg>
        <pc:spChg chg="del">
          <ac:chgData name="Wenwen Zhang" userId="9dd81366-5d6f-445a-b031-6ea562624431" providerId="ADAL" clId="{D6FBF965-026B-43DA-A554-C6861A0A35E4}" dt="2023-02-02T09:52:13.888" v="107430"/>
          <ac:spMkLst>
            <pc:docMk/>
            <pc:sldMk cId="3674098618" sldId="2134804374"/>
            <ac:spMk id="51" creationId="{50326C18-B022-FF85-D344-051B3FE45C20}"/>
          </ac:spMkLst>
        </pc:spChg>
        <pc:spChg chg="del">
          <ac:chgData name="Wenwen Zhang" userId="9dd81366-5d6f-445a-b031-6ea562624431" providerId="ADAL" clId="{D6FBF965-026B-43DA-A554-C6861A0A35E4}" dt="2023-02-02T09:52:13.886" v="107424"/>
          <ac:spMkLst>
            <pc:docMk/>
            <pc:sldMk cId="3674098618" sldId="2134804374"/>
            <ac:spMk id="54" creationId="{F5AE73F4-2208-7784-5A92-F88EC7C9AF6F}"/>
          </ac:spMkLst>
        </pc:spChg>
        <pc:spChg chg="del">
          <ac:chgData name="Wenwen Zhang" userId="9dd81366-5d6f-445a-b031-6ea562624431" providerId="ADAL" clId="{D6FBF965-026B-43DA-A554-C6861A0A35E4}" dt="2023-02-02T09:52:13.885" v="107418"/>
          <ac:spMkLst>
            <pc:docMk/>
            <pc:sldMk cId="3674098618" sldId="2134804374"/>
            <ac:spMk id="56" creationId="{5599528B-8933-8418-470B-4FC962F494AC}"/>
          </ac:spMkLst>
        </pc:spChg>
        <pc:spChg chg="del">
          <ac:chgData name="Wenwen Zhang" userId="9dd81366-5d6f-445a-b031-6ea562624431" providerId="ADAL" clId="{D6FBF965-026B-43DA-A554-C6861A0A35E4}" dt="2023-02-02T09:52:13.889" v="107436"/>
          <ac:spMkLst>
            <pc:docMk/>
            <pc:sldMk cId="3674098618" sldId="2134804374"/>
            <ac:spMk id="58" creationId="{C29B06AF-B31A-F3FE-15D6-702FB1164441}"/>
          </ac:spMkLst>
        </pc:spChg>
        <pc:spChg chg="del">
          <ac:chgData name="Wenwen Zhang" userId="9dd81366-5d6f-445a-b031-6ea562624431" providerId="ADAL" clId="{D6FBF965-026B-43DA-A554-C6861A0A35E4}" dt="2023-02-02T09:52:13.894" v="107454"/>
          <ac:spMkLst>
            <pc:docMk/>
            <pc:sldMk cId="3674098618" sldId="2134804374"/>
            <ac:spMk id="61" creationId="{2DA10572-55C8-32FE-15E0-4C91B5CD6363}"/>
          </ac:spMkLst>
        </pc:spChg>
        <pc:spChg chg="del">
          <ac:chgData name="Wenwen Zhang" userId="9dd81366-5d6f-445a-b031-6ea562624431" providerId="ADAL" clId="{D6FBF965-026B-43DA-A554-C6861A0A35E4}" dt="2023-02-02T09:52:13.882" v="107414"/>
          <ac:spMkLst>
            <pc:docMk/>
            <pc:sldMk cId="3674098618" sldId="2134804374"/>
            <ac:spMk id="67" creationId="{EB89D8E5-89C8-6819-6C93-C8672AC4E35E}"/>
          </ac:spMkLst>
        </pc:spChg>
        <pc:spChg chg="del">
          <ac:chgData name="Wenwen Zhang" userId="9dd81366-5d6f-445a-b031-6ea562624431" providerId="ADAL" clId="{D6FBF965-026B-43DA-A554-C6861A0A35E4}" dt="2023-02-02T09:52:13.883" v="107417"/>
          <ac:spMkLst>
            <pc:docMk/>
            <pc:sldMk cId="3674098618" sldId="2134804374"/>
            <ac:spMk id="68" creationId="{13DE25E4-8BDF-BDB0-0042-EA9530B14B34}"/>
          </ac:spMkLst>
        </pc:spChg>
        <pc:spChg chg="del">
          <ac:chgData name="Wenwen Zhang" userId="9dd81366-5d6f-445a-b031-6ea562624431" providerId="ADAL" clId="{D6FBF965-026B-43DA-A554-C6861A0A35E4}" dt="2023-02-02T09:52:13.881" v="107411"/>
          <ac:spMkLst>
            <pc:docMk/>
            <pc:sldMk cId="3674098618" sldId="2134804374"/>
            <ac:spMk id="69" creationId="{D2A41CA4-8CA0-3E40-0028-C13B2D9FC988}"/>
          </ac:spMkLst>
        </pc:spChg>
        <pc:spChg chg="mod">
          <ac:chgData name="Wenwen Zhang" userId="9dd81366-5d6f-445a-b031-6ea562624431" providerId="ADAL" clId="{D6FBF965-026B-43DA-A554-C6861A0A35E4}" dt="2023-02-02T10:07:39.656" v="111750"/>
          <ac:spMkLst>
            <pc:docMk/>
            <pc:sldMk cId="3674098618" sldId="2134804374"/>
            <ac:spMk id="139" creationId="{BCF033E6-0677-DC7C-2A20-FE34CF547E82}"/>
          </ac:spMkLst>
        </pc:spChg>
        <pc:spChg chg="mod">
          <ac:chgData name="Wenwen Zhang" userId="9dd81366-5d6f-445a-b031-6ea562624431" providerId="ADAL" clId="{D6FBF965-026B-43DA-A554-C6861A0A35E4}" dt="2023-02-02T10:07:39.655" v="111744"/>
          <ac:spMkLst>
            <pc:docMk/>
            <pc:sldMk cId="3674098618" sldId="2134804374"/>
            <ac:spMk id="140" creationId="{33D060D9-8E33-A77D-F666-74FA16AE1288}"/>
          </ac:spMkLst>
        </pc:spChg>
        <pc:spChg chg="mod">
          <ac:chgData name="Wenwen Zhang" userId="9dd81366-5d6f-445a-b031-6ea562624431" providerId="ADAL" clId="{D6FBF965-026B-43DA-A554-C6861A0A35E4}" dt="2023-02-02T10:07:39.654" v="111742"/>
          <ac:spMkLst>
            <pc:docMk/>
            <pc:sldMk cId="3674098618" sldId="2134804374"/>
            <ac:spMk id="141" creationId="{6C652CC7-19A5-18F7-E747-01F412CCE31D}"/>
          </ac:spMkLst>
        </pc:spChg>
        <pc:spChg chg="mod">
          <ac:chgData name="Wenwen Zhang" userId="9dd81366-5d6f-445a-b031-6ea562624431" providerId="ADAL" clId="{D6FBF965-026B-43DA-A554-C6861A0A35E4}" dt="2023-02-02T10:07:39.655" v="111747"/>
          <ac:spMkLst>
            <pc:docMk/>
            <pc:sldMk cId="3674098618" sldId="2134804374"/>
            <ac:spMk id="142" creationId="{F0030C4C-2B9A-146B-370A-EB01E3D964DF}"/>
          </ac:spMkLst>
        </pc:spChg>
        <pc:spChg chg="mod">
          <ac:chgData name="Wenwen Zhang" userId="9dd81366-5d6f-445a-b031-6ea562624431" providerId="ADAL" clId="{D6FBF965-026B-43DA-A554-C6861A0A35E4}" dt="2023-02-02T10:07:39.655" v="111745"/>
          <ac:spMkLst>
            <pc:docMk/>
            <pc:sldMk cId="3674098618" sldId="2134804374"/>
            <ac:spMk id="143" creationId="{52774453-C7FA-CC10-9B80-840652DE358B}"/>
          </ac:spMkLst>
        </pc:spChg>
        <pc:spChg chg="mod">
          <ac:chgData name="Wenwen Zhang" userId="9dd81366-5d6f-445a-b031-6ea562624431" providerId="ADAL" clId="{D6FBF965-026B-43DA-A554-C6861A0A35E4}" dt="2023-02-02T10:07:39.656" v="111749"/>
          <ac:spMkLst>
            <pc:docMk/>
            <pc:sldMk cId="3674098618" sldId="2134804374"/>
            <ac:spMk id="144" creationId="{EBEFE3C2-74AE-7BA5-FCE4-30AA5D1B77A4}"/>
          </ac:spMkLst>
        </pc:spChg>
        <pc:spChg chg="mod">
          <ac:chgData name="Wenwen Zhang" userId="9dd81366-5d6f-445a-b031-6ea562624431" providerId="ADAL" clId="{D6FBF965-026B-43DA-A554-C6861A0A35E4}" dt="2023-02-02T10:07:39.656" v="111748"/>
          <ac:spMkLst>
            <pc:docMk/>
            <pc:sldMk cId="3674098618" sldId="2134804374"/>
            <ac:spMk id="145" creationId="{3499B3BD-E464-B4AF-2CB0-94A85BA56744}"/>
          </ac:spMkLst>
        </pc:spChg>
        <pc:spChg chg="mod">
          <ac:chgData name="Wenwen Zhang" userId="9dd81366-5d6f-445a-b031-6ea562624431" providerId="ADAL" clId="{D6FBF965-026B-43DA-A554-C6861A0A35E4}" dt="2023-02-02T10:07:39.654" v="111743"/>
          <ac:spMkLst>
            <pc:docMk/>
            <pc:sldMk cId="3674098618" sldId="2134804374"/>
            <ac:spMk id="146" creationId="{4AD9EF50-A352-9C31-2056-1A7ED554AAC5}"/>
          </ac:spMkLst>
        </pc:spChg>
        <pc:spChg chg="mod">
          <ac:chgData name="Wenwen Zhang" userId="9dd81366-5d6f-445a-b031-6ea562624431" providerId="ADAL" clId="{D6FBF965-026B-43DA-A554-C6861A0A35E4}" dt="2023-02-02T10:07:39.657" v="111754"/>
          <ac:spMkLst>
            <pc:docMk/>
            <pc:sldMk cId="3674098618" sldId="2134804374"/>
            <ac:spMk id="147" creationId="{F39B6819-F063-240E-87F6-ACA1EA730704}"/>
          </ac:spMkLst>
        </pc:spChg>
        <pc:spChg chg="mod">
          <ac:chgData name="Wenwen Zhang" userId="9dd81366-5d6f-445a-b031-6ea562624431" providerId="ADAL" clId="{D6FBF965-026B-43DA-A554-C6861A0A35E4}" dt="2023-02-02T10:07:39.656" v="111751"/>
          <ac:spMkLst>
            <pc:docMk/>
            <pc:sldMk cId="3674098618" sldId="2134804374"/>
            <ac:spMk id="148" creationId="{41BDADE6-3189-9D92-637C-64761C37C072}"/>
          </ac:spMkLst>
        </pc:spChg>
        <pc:spChg chg="mod">
          <ac:chgData name="Wenwen Zhang" userId="9dd81366-5d6f-445a-b031-6ea562624431" providerId="ADAL" clId="{D6FBF965-026B-43DA-A554-C6861A0A35E4}" dt="2023-02-02T10:07:39.655" v="111746"/>
          <ac:spMkLst>
            <pc:docMk/>
            <pc:sldMk cId="3674098618" sldId="2134804374"/>
            <ac:spMk id="149" creationId="{0348978A-25D2-A7A4-C578-62B06127AAD4}"/>
          </ac:spMkLst>
        </pc:spChg>
        <pc:spChg chg="mod">
          <ac:chgData name="Wenwen Zhang" userId="9dd81366-5d6f-445a-b031-6ea562624431" providerId="ADAL" clId="{D6FBF965-026B-43DA-A554-C6861A0A35E4}" dt="2023-02-02T10:07:39.657" v="111752"/>
          <ac:spMkLst>
            <pc:docMk/>
            <pc:sldMk cId="3674098618" sldId="2134804374"/>
            <ac:spMk id="150" creationId="{04B38771-A702-2E24-78A7-12C559B4546A}"/>
          </ac:spMkLst>
        </pc:spChg>
        <pc:spChg chg="mod">
          <ac:chgData name="Wenwen Zhang" userId="9dd81366-5d6f-445a-b031-6ea562624431" providerId="ADAL" clId="{D6FBF965-026B-43DA-A554-C6861A0A35E4}" dt="2023-02-02T10:07:39.657" v="111753"/>
          <ac:spMkLst>
            <pc:docMk/>
            <pc:sldMk cId="3674098618" sldId="2134804374"/>
            <ac:spMk id="151" creationId="{05E8580D-3CFC-3F12-73FB-6527163F6F0E}"/>
          </ac:spMkLst>
        </pc:spChg>
        <pc:spChg chg="del mod ord">
          <ac:chgData name="Wenwen Zhang" userId="9dd81366-5d6f-445a-b031-6ea562624431" providerId="ADAL" clId="{D6FBF965-026B-43DA-A554-C6861A0A35E4}" dt="2023-02-02T10:06:10.247" v="108319" actId="478"/>
          <ac:spMkLst>
            <pc:docMk/>
            <pc:sldMk cId="3674098618" sldId="2134804374"/>
            <ac:spMk id="160" creationId="{DC005067-E5FF-BD2C-B588-BE82E8613CC6}"/>
          </ac:spMkLst>
        </pc:spChg>
        <pc:spChg chg="del">
          <ac:chgData name="Wenwen Zhang" userId="9dd81366-5d6f-445a-b031-6ea562624431" providerId="ADAL" clId="{D6FBF965-026B-43DA-A554-C6861A0A35E4}" dt="2023-02-02T09:52:13.893" v="107451"/>
          <ac:spMkLst>
            <pc:docMk/>
            <pc:sldMk cId="3674098618" sldId="2134804374"/>
            <ac:spMk id="166" creationId="{96DB64E7-7450-5BAA-7DCA-6F75AE12EF02}"/>
          </ac:spMkLst>
        </pc:spChg>
        <pc:spChg chg="del">
          <ac:chgData name="Wenwen Zhang" userId="9dd81366-5d6f-445a-b031-6ea562624431" providerId="ADAL" clId="{D6FBF965-026B-43DA-A554-C6861A0A35E4}" dt="2023-02-02T09:52:13.892" v="107445"/>
          <ac:spMkLst>
            <pc:docMk/>
            <pc:sldMk cId="3674098618" sldId="2134804374"/>
            <ac:spMk id="167" creationId="{96DB64E7-7450-5BAA-7DCA-6F75AE12EF02}"/>
          </ac:spMkLst>
        </pc:spChg>
        <pc:spChg chg="del">
          <ac:chgData name="Wenwen Zhang" userId="9dd81366-5d6f-445a-b031-6ea562624431" providerId="ADAL" clId="{D6FBF965-026B-43DA-A554-C6861A0A35E4}" dt="2023-02-02T09:52:13.890" v="107439"/>
          <ac:spMkLst>
            <pc:docMk/>
            <pc:sldMk cId="3674098618" sldId="2134804374"/>
            <ac:spMk id="168" creationId="{96DB64E7-7450-5BAA-7DCA-6F75AE12EF02}"/>
          </ac:spMkLst>
        </pc:spChg>
        <pc:spChg chg="del">
          <ac:chgData name="Wenwen Zhang" userId="9dd81366-5d6f-445a-b031-6ea562624431" providerId="ADAL" clId="{D6FBF965-026B-43DA-A554-C6861A0A35E4}" dt="2023-02-02T09:52:13.888" v="107433"/>
          <ac:spMkLst>
            <pc:docMk/>
            <pc:sldMk cId="3674098618" sldId="2134804374"/>
            <ac:spMk id="169" creationId="{96DB64E7-7450-5BAA-7DCA-6F75AE12EF02}"/>
          </ac:spMkLst>
        </pc:spChg>
        <pc:spChg chg="del">
          <ac:chgData name="Wenwen Zhang" userId="9dd81366-5d6f-445a-b031-6ea562624431" providerId="ADAL" clId="{D6FBF965-026B-43DA-A554-C6861A0A35E4}" dt="2023-02-02T09:52:13.887" v="107427"/>
          <ac:spMkLst>
            <pc:docMk/>
            <pc:sldMk cId="3674098618" sldId="2134804374"/>
            <ac:spMk id="170" creationId="{96DB64E7-7450-5BAA-7DCA-6F75AE12EF02}"/>
          </ac:spMkLst>
        </pc:spChg>
        <pc:spChg chg="del">
          <ac:chgData name="Wenwen Zhang" userId="9dd81366-5d6f-445a-b031-6ea562624431" providerId="ADAL" clId="{D6FBF965-026B-43DA-A554-C6861A0A35E4}" dt="2023-02-02T09:52:13.886" v="107421"/>
          <ac:spMkLst>
            <pc:docMk/>
            <pc:sldMk cId="3674098618" sldId="2134804374"/>
            <ac:spMk id="171" creationId="{96DB64E7-7450-5BAA-7DCA-6F75AE12EF02}"/>
          </ac:spMkLst>
        </pc:spChg>
        <pc:spChg chg="del mod ord">
          <ac:chgData name="Wenwen Zhang" userId="9dd81366-5d6f-445a-b031-6ea562624431" providerId="ADAL" clId="{D6FBF965-026B-43DA-A554-C6861A0A35E4}" dt="2023-02-02T10:06:47.571" v="109514" actId="478"/>
          <ac:spMkLst>
            <pc:docMk/>
            <pc:sldMk cId="3674098618" sldId="2134804374"/>
            <ac:spMk id="181" creationId="{7CDC462B-DC01-E701-64AE-27E4845FB608}"/>
          </ac:spMkLst>
        </pc:spChg>
        <pc:graphicFrameChg chg="add del mod ord replST">
          <ac:chgData name="Wenwen Zhang" userId="9dd81366-5d6f-445a-b031-6ea562624431" providerId="ADAL" clId="{D6FBF965-026B-43DA-A554-C6861A0A35E4}" dt="2023-02-02T10:07:02.549" v="109738"/>
          <ac:graphicFrameMkLst>
            <pc:docMk/>
            <pc:sldMk cId="3674098618" sldId="2134804374"/>
            <ac:graphicFrameMk id="4" creationId="{530D2573-9AC9-A1CE-8721-DB0ECD508C7E}"/>
          </ac:graphicFrameMkLst>
        </pc:graphicFrameChg>
        <pc:graphicFrameChg chg="add del mod ord replST">
          <ac:chgData name="Wenwen Zhang" userId="9dd81366-5d6f-445a-b031-6ea562624431" providerId="ADAL" clId="{D6FBF965-026B-43DA-A554-C6861A0A35E4}" dt="2023-02-02T10:07:08.074" v="110070"/>
          <ac:graphicFrameMkLst>
            <pc:docMk/>
            <pc:sldMk cId="3674098618" sldId="2134804374"/>
            <ac:graphicFrameMk id="6" creationId="{75826191-A04A-D761-5E09-7C5A2612A772}"/>
          </ac:graphicFrameMkLst>
        </pc:graphicFrameChg>
        <pc:graphicFrameChg chg="add del mod ord replST">
          <ac:chgData name="Wenwen Zhang" userId="9dd81366-5d6f-445a-b031-6ea562624431" providerId="ADAL" clId="{D6FBF965-026B-43DA-A554-C6861A0A35E4}" dt="2023-02-02T10:07:10.267" v="110523"/>
          <ac:graphicFrameMkLst>
            <pc:docMk/>
            <pc:sldMk cId="3674098618" sldId="2134804374"/>
            <ac:graphicFrameMk id="8" creationId="{A4215C73-64DF-49FF-AAA8-CB7231C65C9A}"/>
          </ac:graphicFrameMkLst>
        </pc:graphicFrameChg>
        <pc:graphicFrameChg chg="add del mod ord replST">
          <ac:chgData name="Wenwen Zhang" userId="9dd81366-5d6f-445a-b031-6ea562624431" providerId="ADAL" clId="{D6FBF965-026B-43DA-A554-C6861A0A35E4}" dt="2023-02-02T10:07:31.945" v="111300"/>
          <ac:graphicFrameMkLst>
            <pc:docMk/>
            <pc:sldMk cId="3674098618" sldId="2134804374"/>
            <ac:graphicFrameMk id="14" creationId="{4C8A7805-A6A2-1D5B-C927-947C023BB25A}"/>
          </ac:graphicFrameMkLst>
        </pc:graphicFrameChg>
        <pc:graphicFrameChg chg="add del mod ord replST">
          <ac:chgData name="Wenwen Zhang" userId="9dd81366-5d6f-445a-b031-6ea562624431" providerId="ADAL" clId="{D6FBF965-026B-43DA-A554-C6861A0A35E4}" dt="2023-02-02T10:07:39.613" v="111651"/>
          <ac:graphicFrameMkLst>
            <pc:docMk/>
            <pc:sldMk cId="3674098618" sldId="2134804374"/>
            <ac:graphicFrameMk id="19" creationId="{963B8923-B9BB-BE9C-9593-82A2D8200276}"/>
          </ac:graphicFrameMkLst>
        </pc:graphicFrameChg>
        <pc:graphicFrameChg chg="add mod ord replST">
          <ac:chgData name="Wenwen Zhang" userId="9dd81366-5d6f-445a-b031-6ea562624431" providerId="ADAL" clId="{D6FBF965-026B-43DA-A554-C6861A0A35E4}" dt="2023-02-02T10:07:39.654" v="111741"/>
          <ac:graphicFrameMkLst>
            <pc:docMk/>
            <pc:sldMk cId="3674098618" sldId="2134804374"/>
            <ac:graphicFrameMk id="21" creationId="{8077B45D-25F7-61FF-B843-B71C974C1189}"/>
          </ac:graphicFrameMkLst>
        </pc:graphicFrameChg>
        <pc:graphicFrameChg chg="mod">
          <ac:chgData name="Wenwen Zhang" userId="9dd81366-5d6f-445a-b031-6ea562624431" providerId="ADAL" clId="{D6FBF965-026B-43DA-A554-C6861A0A35E4}" dt="2023-02-02T10:07:39.658" v="111769"/>
          <ac:graphicFrameMkLst>
            <pc:docMk/>
            <pc:sldMk cId="3674098618" sldId="2134804374"/>
            <ac:graphicFrameMk id="28" creationId="{015DFAEE-F78A-C272-92CE-F25C3417CAD0}"/>
          </ac:graphicFrameMkLst>
        </pc:graphicFrameChg>
        <pc:graphicFrameChg chg="del">
          <ac:chgData name="Wenwen Zhang" userId="9dd81366-5d6f-445a-b031-6ea562624431" providerId="ADAL" clId="{D6FBF965-026B-43DA-A554-C6861A0A35E4}" dt="2023-02-02T09:52:19.625" v="107894"/>
          <ac:graphicFrameMkLst>
            <pc:docMk/>
            <pc:sldMk cId="3674098618" sldId="2134804374"/>
            <ac:graphicFrameMk id="180" creationId="{EA4F9180-CB00-A4CE-DDEA-B810A96CB839}"/>
          </ac:graphicFrameMkLst>
        </pc:graphicFrameChg>
        <pc:graphicFrameChg chg="del">
          <ac:chgData name="Wenwen Zhang" userId="9dd81366-5d6f-445a-b031-6ea562624431" providerId="ADAL" clId="{D6FBF965-026B-43DA-A554-C6861A0A35E4}" dt="2023-02-02T09:52:13.895" v="107458"/>
          <ac:graphicFrameMkLst>
            <pc:docMk/>
            <pc:sldMk cId="3674098618" sldId="2134804374"/>
            <ac:graphicFrameMk id="197" creationId="{DD4BB0B2-9858-7872-FCF0-9AE2ED8EBF1A}"/>
          </ac:graphicFrameMkLst>
        </pc:graphicFrameChg>
        <pc:cxnChg chg="del">
          <ac:chgData name="Wenwen Zhang" userId="9dd81366-5d6f-445a-b031-6ea562624431" providerId="ADAL" clId="{D6FBF965-026B-43DA-A554-C6861A0A35E4}" dt="2023-02-02T09:52:13.888" v="107432"/>
          <ac:cxnSpMkLst>
            <pc:docMk/>
            <pc:sldMk cId="3674098618" sldId="2134804374"/>
            <ac:cxnSpMk id="11" creationId="{36989B73-932F-7F73-67AE-4BADF3449F9F}"/>
          </ac:cxnSpMkLst>
        </pc:cxnChg>
        <pc:cxnChg chg="add mod ord replST">
          <ac:chgData name="Wenwen Zhang" userId="9dd81366-5d6f-445a-b031-6ea562624431" providerId="ADAL" clId="{D6FBF965-026B-43DA-A554-C6861A0A35E4}" dt="2023-02-02T10:07:39.657" v="111756"/>
          <ac:cxnSpMkLst>
            <pc:docMk/>
            <pc:sldMk cId="3674098618" sldId="2134804374"/>
            <ac:cxnSpMk id="15" creationId="{AA0F825C-829B-99A1-F1C8-F96FC60483C3}"/>
          </ac:cxnSpMkLst>
        </pc:cxnChg>
        <pc:cxnChg chg="add mod ord replST">
          <ac:chgData name="Wenwen Zhang" userId="9dd81366-5d6f-445a-b031-6ea562624431" providerId="ADAL" clId="{D6FBF965-026B-43DA-A554-C6861A0A35E4}" dt="2023-02-02T10:07:39.658" v="111758"/>
          <ac:cxnSpMkLst>
            <pc:docMk/>
            <pc:sldMk cId="3674098618" sldId="2134804374"/>
            <ac:cxnSpMk id="16" creationId="{401C332A-66FE-BFC6-7AB9-AFB25B2FEC07}"/>
          </ac:cxnSpMkLst>
        </pc:cxnChg>
        <pc:cxnChg chg="add mod ord replST">
          <ac:chgData name="Wenwen Zhang" userId="9dd81366-5d6f-445a-b031-6ea562624431" providerId="ADAL" clId="{D6FBF965-026B-43DA-A554-C6861A0A35E4}" dt="2023-02-02T10:07:39.658" v="111760"/>
          <ac:cxnSpMkLst>
            <pc:docMk/>
            <pc:sldMk cId="3674098618" sldId="2134804374"/>
            <ac:cxnSpMk id="17" creationId="{88D64E37-4BEF-DC9C-04F1-78B04264C9E8}"/>
          </ac:cxnSpMkLst>
        </pc:cxnChg>
        <pc:cxnChg chg="del">
          <ac:chgData name="Wenwen Zhang" userId="9dd81366-5d6f-445a-b031-6ea562624431" providerId="ADAL" clId="{D6FBF965-026B-43DA-A554-C6861A0A35E4}" dt="2023-02-02T09:52:13.894" v="107456"/>
          <ac:cxnSpMkLst>
            <pc:docMk/>
            <pc:sldMk cId="3674098618" sldId="2134804374"/>
            <ac:cxnSpMk id="25" creationId="{B98B81E8-E7A4-102B-F5B1-935F1709A52E}"/>
          </ac:cxnSpMkLst>
        </pc:cxnChg>
        <pc:cxnChg chg="del">
          <ac:chgData name="Wenwen Zhang" userId="9dd81366-5d6f-445a-b031-6ea562624431" providerId="ADAL" clId="{D6FBF965-026B-43DA-A554-C6861A0A35E4}" dt="2023-02-02T09:52:13.893" v="107450"/>
          <ac:cxnSpMkLst>
            <pc:docMk/>
            <pc:sldMk cId="3674098618" sldId="2134804374"/>
            <ac:cxnSpMk id="26" creationId="{B294AEC1-DDE5-CDAF-3F9B-D8CAE9EE86A4}"/>
          </ac:cxnSpMkLst>
        </pc:cxnChg>
        <pc:cxnChg chg="del">
          <ac:chgData name="Wenwen Zhang" userId="9dd81366-5d6f-445a-b031-6ea562624431" providerId="ADAL" clId="{D6FBF965-026B-43DA-A554-C6861A0A35E4}" dt="2023-02-02T09:52:13.891" v="107444"/>
          <ac:cxnSpMkLst>
            <pc:docMk/>
            <pc:sldMk cId="3674098618" sldId="2134804374"/>
            <ac:cxnSpMk id="31" creationId="{BBA4CFD8-50E2-590E-359C-B7B30680283A}"/>
          </ac:cxnSpMkLst>
        </pc:cxnChg>
        <pc:cxnChg chg="del">
          <ac:chgData name="Wenwen Zhang" userId="9dd81366-5d6f-445a-b031-6ea562624431" providerId="ADAL" clId="{D6FBF965-026B-43DA-A554-C6861A0A35E4}" dt="2023-02-02T09:52:13.890" v="107438"/>
          <ac:cxnSpMkLst>
            <pc:docMk/>
            <pc:sldMk cId="3674098618" sldId="2134804374"/>
            <ac:cxnSpMk id="34" creationId="{90466765-2333-EB42-B879-3266B81004F2}"/>
          </ac:cxnSpMkLst>
        </pc:cxnChg>
        <pc:cxnChg chg="del">
          <ac:chgData name="Wenwen Zhang" userId="9dd81366-5d6f-445a-b031-6ea562624431" providerId="ADAL" clId="{D6FBF965-026B-43DA-A554-C6861A0A35E4}" dt="2023-02-02T09:52:13.887" v="107426"/>
          <ac:cxnSpMkLst>
            <pc:docMk/>
            <pc:sldMk cId="3674098618" sldId="2134804374"/>
            <ac:cxnSpMk id="39" creationId="{64B2D29A-8079-5F0A-1C71-BE7A1F1BEE65}"/>
          </ac:cxnSpMkLst>
        </pc:cxnChg>
        <pc:cxnChg chg="del">
          <ac:chgData name="Wenwen Zhang" userId="9dd81366-5d6f-445a-b031-6ea562624431" providerId="ADAL" clId="{D6FBF965-026B-43DA-A554-C6861A0A35E4}" dt="2023-02-02T09:52:13.885" v="107420"/>
          <ac:cxnSpMkLst>
            <pc:docMk/>
            <pc:sldMk cId="3674098618" sldId="2134804374"/>
            <ac:cxnSpMk id="42" creationId="{CA523B21-1A74-CF9C-C27A-9A5B306A90FD}"/>
          </ac:cxnSpMkLst>
        </pc:cxnChg>
        <pc:cxnChg chg="del">
          <ac:chgData name="Wenwen Zhang" userId="9dd81366-5d6f-445a-b031-6ea562624431" providerId="ADAL" clId="{D6FBF965-026B-43DA-A554-C6861A0A35E4}" dt="2023-02-02T09:52:13.879" v="107410"/>
          <ac:cxnSpMkLst>
            <pc:docMk/>
            <pc:sldMk cId="3674098618" sldId="2134804374"/>
            <ac:cxnSpMk id="64" creationId="{CDC2214B-B624-4ABB-E00E-E9564153FBE5}"/>
          </ac:cxnSpMkLst>
        </pc:cxnChg>
        <pc:cxnChg chg="del">
          <ac:chgData name="Wenwen Zhang" userId="9dd81366-5d6f-445a-b031-6ea562624431" providerId="ADAL" clId="{D6FBF965-026B-43DA-A554-C6861A0A35E4}" dt="2023-02-02T09:52:13.883" v="107416"/>
          <ac:cxnSpMkLst>
            <pc:docMk/>
            <pc:sldMk cId="3674098618" sldId="2134804374"/>
            <ac:cxnSpMk id="65" creationId="{E56A49A2-72D4-FBAC-1B5D-86ED101CA13A}"/>
          </ac:cxnSpMkLst>
        </pc:cxnChg>
        <pc:cxnChg chg="del">
          <ac:chgData name="Wenwen Zhang" userId="9dd81366-5d6f-445a-b031-6ea562624431" providerId="ADAL" clId="{D6FBF965-026B-43DA-A554-C6861A0A35E4}" dt="2023-02-02T09:52:13.882" v="107413"/>
          <ac:cxnSpMkLst>
            <pc:docMk/>
            <pc:sldMk cId="3674098618" sldId="2134804374"/>
            <ac:cxnSpMk id="66" creationId="{D884AC93-119A-B9AF-03F2-E526E09BD973}"/>
          </ac:cxnSpMkLst>
        </pc:cxnChg>
        <pc:cxnChg chg="mod ord">
          <ac:chgData name="Wenwen Zhang" userId="9dd81366-5d6f-445a-b031-6ea562624431" providerId="ADAL" clId="{D6FBF965-026B-43DA-A554-C6861A0A35E4}" dt="2023-02-02T10:07:39.651" v="111717"/>
          <ac:cxnSpMkLst>
            <pc:docMk/>
            <pc:sldMk cId="3674098618" sldId="2134804374"/>
            <ac:cxnSpMk id="125" creationId="{5F9EB9C0-49E9-7E1D-1C57-E2821E94D2A0}"/>
          </ac:cxnSpMkLst>
        </pc:cxnChg>
        <pc:cxnChg chg="mod ord">
          <ac:chgData name="Wenwen Zhang" userId="9dd81366-5d6f-445a-b031-6ea562624431" providerId="ADAL" clId="{D6FBF965-026B-43DA-A554-C6861A0A35E4}" dt="2023-02-02T10:07:39.651" v="111723"/>
          <ac:cxnSpMkLst>
            <pc:docMk/>
            <pc:sldMk cId="3674098618" sldId="2134804374"/>
            <ac:cxnSpMk id="126" creationId="{6FA067FE-69A3-A71F-190A-644AF167F809}"/>
          </ac:cxnSpMkLst>
        </pc:cxnChg>
        <pc:cxnChg chg="mod ord">
          <ac:chgData name="Wenwen Zhang" userId="9dd81366-5d6f-445a-b031-6ea562624431" providerId="ADAL" clId="{D6FBF965-026B-43DA-A554-C6861A0A35E4}" dt="2023-02-02T10:07:39.653" v="111737"/>
          <ac:cxnSpMkLst>
            <pc:docMk/>
            <pc:sldMk cId="3674098618" sldId="2134804374"/>
            <ac:cxnSpMk id="127" creationId="{8F0CA0E5-434A-9B53-D097-B404FEDCDA24}"/>
          </ac:cxnSpMkLst>
        </pc:cxnChg>
        <pc:cxnChg chg="mod ord">
          <ac:chgData name="Wenwen Zhang" userId="9dd81366-5d6f-445a-b031-6ea562624431" providerId="ADAL" clId="{D6FBF965-026B-43DA-A554-C6861A0A35E4}" dt="2023-02-02T10:07:39.651" v="111719"/>
          <ac:cxnSpMkLst>
            <pc:docMk/>
            <pc:sldMk cId="3674098618" sldId="2134804374"/>
            <ac:cxnSpMk id="128" creationId="{07EB8F80-70FF-BBD5-7E9C-57A0E4B479EF}"/>
          </ac:cxnSpMkLst>
        </pc:cxnChg>
        <pc:cxnChg chg="mod ord">
          <ac:chgData name="Wenwen Zhang" userId="9dd81366-5d6f-445a-b031-6ea562624431" providerId="ADAL" clId="{D6FBF965-026B-43DA-A554-C6861A0A35E4}" dt="2023-02-02T10:07:39.651" v="111721"/>
          <ac:cxnSpMkLst>
            <pc:docMk/>
            <pc:sldMk cId="3674098618" sldId="2134804374"/>
            <ac:cxnSpMk id="129" creationId="{B3EC27FF-CA83-2D7B-CD55-EC4AFEC2E104}"/>
          </ac:cxnSpMkLst>
        </pc:cxnChg>
        <pc:cxnChg chg="mod ord">
          <ac:chgData name="Wenwen Zhang" userId="9dd81366-5d6f-445a-b031-6ea562624431" providerId="ADAL" clId="{D6FBF965-026B-43DA-A554-C6861A0A35E4}" dt="2023-02-02T10:07:39.650" v="111715"/>
          <ac:cxnSpMkLst>
            <pc:docMk/>
            <pc:sldMk cId="3674098618" sldId="2134804374"/>
            <ac:cxnSpMk id="130" creationId="{B4A58098-3579-09A2-6F10-151FF88E3E74}"/>
          </ac:cxnSpMkLst>
        </pc:cxnChg>
        <pc:cxnChg chg="mod ord">
          <ac:chgData name="Wenwen Zhang" userId="9dd81366-5d6f-445a-b031-6ea562624431" providerId="ADAL" clId="{D6FBF965-026B-43DA-A554-C6861A0A35E4}" dt="2023-02-02T10:07:39.653" v="111733"/>
          <ac:cxnSpMkLst>
            <pc:docMk/>
            <pc:sldMk cId="3674098618" sldId="2134804374"/>
            <ac:cxnSpMk id="131" creationId="{9B0E97CC-3596-FEAD-3A64-1882048CB54D}"/>
          </ac:cxnSpMkLst>
        </pc:cxnChg>
        <pc:cxnChg chg="mod ord">
          <ac:chgData name="Wenwen Zhang" userId="9dd81366-5d6f-445a-b031-6ea562624431" providerId="ADAL" clId="{D6FBF965-026B-43DA-A554-C6861A0A35E4}" dt="2023-02-02T10:07:39.652" v="111729"/>
          <ac:cxnSpMkLst>
            <pc:docMk/>
            <pc:sldMk cId="3674098618" sldId="2134804374"/>
            <ac:cxnSpMk id="132" creationId="{86580FB6-703B-6108-436F-BF9980CC59CD}"/>
          </ac:cxnSpMkLst>
        </pc:cxnChg>
        <pc:cxnChg chg="mod ord">
          <ac:chgData name="Wenwen Zhang" userId="9dd81366-5d6f-445a-b031-6ea562624431" providerId="ADAL" clId="{D6FBF965-026B-43DA-A554-C6861A0A35E4}" dt="2023-02-02T10:07:39.652" v="111725"/>
          <ac:cxnSpMkLst>
            <pc:docMk/>
            <pc:sldMk cId="3674098618" sldId="2134804374"/>
            <ac:cxnSpMk id="133" creationId="{AA3C007C-263F-C2C1-6353-53C570FD61A6}"/>
          </ac:cxnSpMkLst>
        </pc:cxnChg>
        <pc:cxnChg chg="mod ord">
          <ac:chgData name="Wenwen Zhang" userId="9dd81366-5d6f-445a-b031-6ea562624431" providerId="ADAL" clId="{D6FBF965-026B-43DA-A554-C6861A0A35E4}" dt="2023-02-02T10:07:39.653" v="111735"/>
          <ac:cxnSpMkLst>
            <pc:docMk/>
            <pc:sldMk cId="3674098618" sldId="2134804374"/>
            <ac:cxnSpMk id="134" creationId="{C93747C4-38D1-3F5E-97E5-CAF3DE4F103A}"/>
          </ac:cxnSpMkLst>
        </pc:cxnChg>
        <pc:cxnChg chg="mod ord">
          <ac:chgData name="Wenwen Zhang" userId="9dd81366-5d6f-445a-b031-6ea562624431" providerId="ADAL" clId="{D6FBF965-026B-43DA-A554-C6861A0A35E4}" dt="2023-02-02T10:07:39.652" v="111731"/>
          <ac:cxnSpMkLst>
            <pc:docMk/>
            <pc:sldMk cId="3674098618" sldId="2134804374"/>
            <ac:cxnSpMk id="135" creationId="{6EEACDA4-6157-E225-2B68-E49B9560839A}"/>
          </ac:cxnSpMkLst>
        </pc:cxnChg>
        <pc:cxnChg chg="mod ord">
          <ac:chgData name="Wenwen Zhang" userId="9dd81366-5d6f-445a-b031-6ea562624431" providerId="ADAL" clId="{D6FBF965-026B-43DA-A554-C6861A0A35E4}" dt="2023-02-02T10:07:39.654" v="111739"/>
          <ac:cxnSpMkLst>
            <pc:docMk/>
            <pc:sldMk cId="3674098618" sldId="2134804374"/>
            <ac:cxnSpMk id="136" creationId="{22008B42-5795-1D40-0733-27AE0F0E272A}"/>
          </ac:cxnSpMkLst>
        </pc:cxnChg>
        <pc:cxnChg chg="mod ord">
          <ac:chgData name="Wenwen Zhang" userId="9dd81366-5d6f-445a-b031-6ea562624431" providerId="ADAL" clId="{D6FBF965-026B-43DA-A554-C6861A0A35E4}" dt="2023-02-02T10:07:39.652" v="111727"/>
          <ac:cxnSpMkLst>
            <pc:docMk/>
            <pc:sldMk cId="3674098618" sldId="2134804374"/>
            <ac:cxnSpMk id="137" creationId="{3637E7BF-7872-465D-3E5C-26E1CE39756B}"/>
          </ac:cxnSpMkLst>
        </pc:cxnChg>
        <pc:cxnChg chg="del">
          <ac:chgData name="Wenwen Zhang" userId="9dd81366-5d6f-445a-b031-6ea562624431" providerId="ADAL" clId="{D6FBF965-026B-43DA-A554-C6861A0A35E4}" dt="2023-02-02T09:52:13.893" v="107453"/>
          <ac:cxnSpMkLst>
            <pc:docMk/>
            <pc:sldMk cId="3674098618" sldId="2134804374"/>
            <ac:cxnSpMk id="172" creationId="{B5F5BC6E-FD1F-6113-F7EF-21987490C173}"/>
          </ac:cxnSpMkLst>
        </pc:cxnChg>
        <pc:cxnChg chg="del">
          <ac:chgData name="Wenwen Zhang" userId="9dd81366-5d6f-445a-b031-6ea562624431" providerId="ADAL" clId="{D6FBF965-026B-43DA-A554-C6861A0A35E4}" dt="2023-02-02T09:52:13.892" v="107447"/>
          <ac:cxnSpMkLst>
            <pc:docMk/>
            <pc:sldMk cId="3674098618" sldId="2134804374"/>
            <ac:cxnSpMk id="173" creationId="{6EFB9C0C-869F-F0AA-4679-52CE8DC641B3}"/>
          </ac:cxnSpMkLst>
        </pc:cxnChg>
        <pc:cxnChg chg="del">
          <ac:chgData name="Wenwen Zhang" userId="9dd81366-5d6f-445a-b031-6ea562624431" providerId="ADAL" clId="{D6FBF965-026B-43DA-A554-C6861A0A35E4}" dt="2023-02-02T09:52:13.891" v="107441"/>
          <ac:cxnSpMkLst>
            <pc:docMk/>
            <pc:sldMk cId="3674098618" sldId="2134804374"/>
            <ac:cxnSpMk id="174" creationId="{EC9C4FBC-F489-FD5A-4129-B3A2E02409C1}"/>
          </ac:cxnSpMkLst>
        </pc:cxnChg>
        <pc:cxnChg chg="del">
          <ac:chgData name="Wenwen Zhang" userId="9dd81366-5d6f-445a-b031-6ea562624431" providerId="ADAL" clId="{D6FBF965-026B-43DA-A554-C6861A0A35E4}" dt="2023-02-02T09:52:13.889" v="107435"/>
          <ac:cxnSpMkLst>
            <pc:docMk/>
            <pc:sldMk cId="3674098618" sldId="2134804374"/>
            <ac:cxnSpMk id="175" creationId="{3D601B5C-8908-8F11-1FCE-3E34B0171AD5}"/>
          </ac:cxnSpMkLst>
        </pc:cxnChg>
        <pc:cxnChg chg="del">
          <ac:chgData name="Wenwen Zhang" userId="9dd81366-5d6f-445a-b031-6ea562624431" providerId="ADAL" clId="{D6FBF965-026B-43DA-A554-C6861A0A35E4}" dt="2023-02-02T09:52:13.888" v="107429"/>
          <ac:cxnSpMkLst>
            <pc:docMk/>
            <pc:sldMk cId="3674098618" sldId="2134804374"/>
            <ac:cxnSpMk id="176" creationId="{F10EAC1F-7C6E-E3E7-88D1-04F55C4CD46F}"/>
          </ac:cxnSpMkLst>
        </pc:cxnChg>
        <pc:cxnChg chg="del">
          <ac:chgData name="Wenwen Zhang" userId="9dd81366-5d6f-445a-b031-6ea562624431" providerId="ADAL" clId="{D6FBF965-026B-43DA-A554-C6861A0A35E4}" dt="2023-02-02T09:52:13.886" v="107423"/>
          <ac:cxnSpMkLst>
            <pc:docMk/>
            <pc:sldMk cId="3674098618" sldId="2134804374"/>
            <ac:cxnSpMk id="177" creationId="{A0509D4F-3A62-D57D-BB3C-A42840FFC36A}"/>
          </ac:cxnSpMkLst>
        </pc:cxnChg>
      </pc:sldChg>
      <pc:sldChg chg="modSp add del mod">
        <pc:chgData name="Wenwen Zhang" userId="9dd81366-5d6f-445a-b031-6ea562624431" providerId="ADAL" clId="{D6FBF965-026B-43DA-A554-C6861A0A35E4}" dt="2023-02-02T00:11:07.528" v="105434" actId="47"/>
        <pc:sldMkLst>
          <pc:docMk/>
          <pc:sldMk cId="4210396842" sldId="2134804374"/>
        </pc:sldMkLst>
        <pc:graphicFrameChg chg="mod">
          <ac:chgData name="Wenwen Zhang" userId="9dd81366-5d6f-445a-b031-6ea562624431" providerId="ADAL" clId="{D6FBF965-026B-43DA-A554-C6861A0A35E4}" dt="2023-02-02T00:11:04.489" v="105433"/>
          <ac:graphicFrameMkLst>
            <pc:docMk/>
            <pc:sldMk cId="4210396842" sldId="2134804374"/>
            <ac:graphicFrameMk id="9" creationId="{9E623100-FD89-1DB8-6F4F-B410DD8D5A15}"/>
          </ac:graphicFrameMkLst>
        </pc:graphicFrameChg>
      </pc:sldChg>
      <pc:sldChg chg="addSp delSp modSp add mod modNotesTx">
        <pc:chgData name="Wenwen Zhang" userId="9dd81366-5d6f-445a-b031-6ea562624431" providerId="ADAL" clId="{D6FBF965-026B-43DA-A554-C6861A0A35E4}" dt="2023-02-02T14:55:42.398" v="133193" actId="14100"/>
        <pc:sldMkLst>
          <pc:docMk/>
          <pc:sldMk cId="2573365278" sldId="2134804375"/>
        </pc:sldMkLst>
        <pc:spChg chg="mod ord">
          <ac:chgData name="Wenwen Zhang" userId="9dd81366-5d6f-445a-b031-6ea562624431" providerId="ADAL" clId="{D6FBF965-026B-43DA-A554-C6861A0A35E4}" dt="2023-02-02T10:08:30.194" v="112296" actId="20577"/>
          <ac:spMkLst>
            <pc:docMk/>
            <pc:sldMk cId="2573365278" sldId="2134804375"/>
            <ac:spMk id="2" creationId="{B065B79C-C4D6-5961-7919-6BB68C420868}"/>
          </ac:spMkLst>
        </pc:spChg>
        <pc:spChg chg="add del mod modVis">
          <ac:chgData name="Wenwen Zhang" userId="9dd81366-5d6f-445a-b031-6ea562624431" providerId="ADAL" clId="{D6FBF965-026B-43DA-A554-C6861A0A35E4}" dt="2023-02-02T10:08:10.519" v="112291"/>
          <ac:spMkLst>
            <pc:docMk/>
            <pc:sldMk cId="2573365278" sldId="2134804375"/>
            <ac:spMk id="3" creationId="{605E7CD5-2ACE-6422-3C50-2F8D64FA024F}"/>
          </ac:spMkLst>
        </pc:spChg>
        <pc:spChg chg="mod ord">
          <ac:chgData name="Wenwen Zhang" userId="9dd81366-5d6f-445a-b031-6ea562624431" providerId="ADAL" clId="{D6FBF965-026B-43DA-A554-C6861A0A35E4}" dt="2023-02-02T14:55:42.398" v="133193" actId="14100"/>
          <ac:spMkLst>
            <pc:docMk/>
            <pc:sldMk cId="2573365278" sldId="2134804375"/>
            <ac:spMk id="29" creationId="{D50B6CAA-A666-5524-85F7-444C607F0970}"/>
          </ac:spMkLst>
        </pc:spChg>
        <pc:spChg chg="mod ord">
          <ac:chgData name="Wenwen Zhang" userId="9dd81366-5d6f-445a-b031-6ea562624431" providerId="ADAL" clId="{D6FBF965-026B-43DA-A554-C6861A0A35E4}" dt="2023-02-02T12:53:28.282" v="133137"/>
          <ac:spMkLst>
            <pc:docMk/>
            <pc:sldMk cId="2573365278" sldId="2134804375"/>
            <ac:spMk id="43" creationId="{C58C7321-3BF7-61DC-5B1A-AD075E56AE05}"/>
          </ac:spMkLst>
        </pc:spChg>
        <pc:spChg chg="mod">
          <ac:chgData name="Wenwen Zhang" userId="9dd81366-5d6f-445a-b031-6ea562624431" providerId="ADAL" clId="{D6FBF965-026B-43DA-A554-C6861A0A35E4}" dt="2023-02-02T10:08:10.514" v="112267"/>
          <ac:spMkLst>
            <pc:docMk/>
            <pc:sldMk cId="2573365278" sldId="2134804375"/>
            <ac:spMk id="45" creationId="{60A5EDA6-1581-4C1B-0F33-75BB24155868}"/>
          </ac:spMkLst>
        </pc:spChg>
        <pc:spChg chg="mod">
          <ac:chgData name="Wenwen Zhang" userId="9dd81366-5d6f-445a-b031-6ea562624431" providerId="ADAL" clId="{D6FBF965-026B-43DA-A554-C6861A0A35E4}" dt="2023-02-02T10:08:10.514" v="112268"/>
          <ac:spMkLst>
            <pc:docMk/>
            <pc:sldMk cId="2573365278" sldId="2134804375"/>
            <ac:spMk id="46" creationId="{F6EE6FC4-06BE-032D-62DA-8AB057C340DB}"/>
          </ac:spMkLst>
        </pc:spChg>
        <pc:spChg chg="mod">
          <ac:chgData name="Wenwen Zhang" userId="9dd81366-5d6f-445a-b031-6ea562624431" providerId="ADAL" clId="{D6FBF965-026B-43DA-A554-C6861A0A35E4}" dt="2023-02-02T10:08:10.515" v="112272"/>
          <ac:spMkLst>
            <pc:docMk/>
            <pc:sldMk cId="2573365278" sldId="2134804375"/>
            <ac:spMk id="51" creationId="{50326C18-B022-FF85-D344-051B3FE45C20}"/>
          </ac:spMkLst>
        </pc:spChg>
        <pc:spChg chg="mod">
          <ac:chgData name="Wenwen Zhang" userId="9dd81366-5d6f-445a-b031-6ea562624431" providerId="ADAL" clId="{D6FBF965-026B-43DA-A554-C6861A0A35E4}" dt="2023-02-02T10:08:10.515" v="112274"/>
          <ac:spMkLst>
            <pc:docMk/>
            <pc:sldMk cId="2573365278" sldId="2134804375"/>
            <ac:spMk id="54" creationId="{F5AE73F4-2208-7784-5A92-F88EC7C9AF6F}"/>
          </ac:spMkLst>
        </pc:spChg>
        <pc:spChg chg="mod">
          <ac:chgData name="Wenwen Zhang" userId="9dd81366-5d6f-445a-b031-6ea562624431" providerId="ADAL" clId="{D6FBF965-026B-43DA-A554-C6861A0A35E4}" dt="2023-02-02T10:08:10.516" v="112276"/>
          <ac:spMkLst>
            <pc:docMk/>
            <pc:sldMk cId="2573365278" sldId="2134804375"/>
            <ac:spMk id="56" creationId="{5599528B-8933-8418-470B-4FC962F494AC}"/>
          </ac:spMkLst>
        </pc:spChg>
        <pc:spChg chg="mod">
          <ac:chgData name="Wenwen Zhang" userId="9dd81366-5d6f-445a-b031-6ea562624431" providerId="ADAL" clId="{D6FBF965-026B-43DA-A554-C6861A0A35E4}" dt="2023-02-02T10:08:10.515" v="112270"/>
          <ac:spMkLst>
            <pc:docMk/>
            <pc:sldMk cId="2573365278" sldId="2134804375"/>
            <ac:spMk id="58" creationId="{C29B06AF-B31A-F3FE-15D6-702FB1164441}"/>
          </ac:spMkLst>
        </pc:spChg>
        <pc:spChg chg="mod">
          <ac:chgData name="Wenwen Zhang" userId="9dd81366-5d6f-445a-b031-6ea562624431" providerId="ADAL" clId="{D6FBF965-026B-43DA-A554-C6861A0A35E4}" dt="2023-02-02T10:08:10.514" v="112265"/>
          <ac:spMkLst>
            <pc:docMk/>
            <pc:sldMk cId="2573365278" sldId="2134804375"/>
            <ac:spMk id="61" creationId="{2DA10572-55C8-32FE-15E0-4C91B5CD6363}"/>
          </ac:spMkLst>
        </pc:spChg>
        <pc:spChg chg="mod">
          <ac:chgData name="Wenwen Zhang" userId="9dd81366-5d6f-445a-b031-6ea562624431" providerId="ADAL" clId="{D6FBF965-026B-43DA-A554-C6861A0A35E4}" dt="2023-02-02T10:08:10.517" v="112284"/>
          <ac:spMkLst>
            <pc:docMk/>
            <pc:sldMk cId="2573365278" sldId="2134804375"/>
            <ac:spMk id="67" creationId="{EB89D8E5-89C8-6819-6C93-C8672AC4E35E}"/>
          </ac:spMkLst>
        </pc:spChg>
        <pc:spChg chg="mod">
          <ac:chgData name="Wenwen Zhang" userId="9dd81366-5d6f-445a-b031-6ea562624431" providerId="ADAL" clId="{D6FBF965-026B-43DA-A554-C6861A0A35E4}" dt="2023-02-02T10:08:10.517" v="112283"/>
          <ac:spMkLst>
            <pc:docMk/>
            <pc:sldMk cId="2573365278" sldId="2134804375"/>
            <ac:spMk id="68" creationId="{13DE25E4-8BDF-BDB0-0042-EA9530B14B34}"/>
          </ac:spMkLst>
        </pc:spChg>
        <pc:spChg chg="mod">
          <ac:chgData name="Wenwen Zhang" userId="9dd81366-5d6f-445a-b031-6ea562624431" providerId="ADAL" clId="{D6FBF965-026B-43DA-A554-C6861A0A35E4}" dt="2023-02-02T10:08:10.517" v="112285"/>
          <ac:spMkLst>
            <pc:docMk/>
            <pc:sldMk cId="2573365278" sldId="2134804375"/>
            <ac:spMk id="69" creationId="{D2A41CA4-8CA0-3E40-0028-C13B2D9FC988}"/>
          </ac:spMkLst>
        </pc:spChg>
        <pc:spChg chg="mod">
          <ac:chgData name="Wenwen Zhang" userId="9dd81366-5d6f-445a-b031-6ea562624431" providerId="ADAL" clId="{D6FBF965-026B-43DA-A554-C6861A0A35E4}" dt="2023-02-02T10:08:10.513" v="112264"/>
          <ac:spMkLst>
            <pc:docMk/>
            <pc:sldMk cId="2573365278" sldId="2134804375"/>
            <ac:spMk id="166" creationId="{96DB64E7-7450-5BAA-7DCA-6F75AE12EF02}"/>
          </ac:spMkLst>
        </pc:spChg>
        <pc:spChg chg="mod">
          <ac:chgData name="Wenwen Zhang" userId="9dd81366-5d6f-445a-b031-6ea562624431" providerId="ADAL" clId="{D6FBF965-026B-43DA-A554-C6861A0A35E4}" dt="2023-02-02T10:08:10.514" v="112266"/>
          <ac:spMkLst>
            <pc:docMk/>
            <pc:sldMk cId="2573365278" sldId="2134804375"/>
            <ac:spMk id="167" creationId="{96DB64E7-7450-5BAA-7DCA-6F75AE12EF02}"/>
          </ac:spMkLst>
        </pc:spChg>
        <pc:spChg chg="mod">
          <ac:chgData name="Wenwen Zhang" userId="9dd81366-5d6f-445a-b031-6ea562624431" providerId="ADAL" clId="{D6FBF965-026B-43DA-A554-C6861A0A35E4}" dt="2023-02-02T10:08:10.514" v="112269"/>
          <ac:spMkLst>
            <pc:docMk/>
            <pc:sldMk cId="2573365278" sldId="2134804375"/>
            <ac:spMk id="168" creationId="{96DB64E7-7450-5BAA-7DCA-6F75AE12EF02}"/>
          </ac:spMkLst>
        </pc:spChg>
        <pc:spChg chg="mod">
          <ac:chgData name="Wenwen Zhang" userId="9dd81366-5d6f-445a-b031-6ea562624431" providerId="ADAL" clId="{D6FBF965-026B-43DA-A554-C6861A0A35E4}" dt="2023-02-02T10:08:10.515" v="112271"/>
          <ac:spMkLst>
            <pc:docMk/>
            <pc:sldMk cId="2573365278" sldId="2134804375"/>
            <ac:spMk id="169" creationId="{96DB64E7-7450-5BAA-7DCA-6F75AE12EF02}"/>
          </ac:spMkLst>
        </pc:spChg>
        <pc:spChg chg="mod">
          <ac:chgData name="Wenwen Zhang" userId="9dd81366-5d6f-445a-b031-6ea562624431" providerId="ADAL" clId="{D6FBF965-026B-43DA-A554-C6861A0A35E4}" dt="2023-02-02T10:08:10.515" v="112273"/>
          <ac:spMkLst>
            <pc:docMk/>
            <pc:sldMk cId="2573365278" sldId="2134804375"/>
            <ac:spMk id="170" creationId="{96DB64E7-7450-5BAA-7DCA-6F75AE12EF02}"/>
          </ac:spMkLst>
        </pc:spChg>
        <pc:spChg chg="mod">
          <ac:chgData name="Wenwen Zhang" userId="9dd81366-5d6f-445a-b031-6ea562624431" providerId="ADAL" clId="{D6FBF965-026B-43DA-A554-C6861A0A35E4}" dt="2023-02-02T10:08:10.516" v="112275"/>
          <ac:spMkLst>
            <pc:docMk/>
            <pc:sldMk cId="2573365278" sldId="2134804375"/>
            <ac:spMk id="171" creationId="{96DB64E7-7450-5BAA-7DCA-6F75AE12EF02}"/>
          </ac:spMkLst>
        </pc:spChg>
        <pc:spChg chg="mod ord">
          <ac:chgData name="Wenwen Zhang" userId="9dd81366-5d6f-445a-b031-6ea562624431" providerId="ADAL" clId="{D6FBF965-026B-43DA-A554-C6861A0A35E4}" dt="2023-02-02T10:08:10.517" v="112287"/>
          <ac:spMkLst>
            <pc:docMk/>
            <pc:sldMk cId="2573365278" sldId="2134804375"/>
            <ac:spMk id="181" creationId="{7CDC462B-DC01-E701-64AE-27E4845FB608}"/>
          </ac:spMkLst>
        </pc:spChg>
        <pc:graphicFrameChg chg="add mod ord replST">
          <ac:chgData name="Wenwen Zhang" userId="9dd81366-5d6f-445a-b031-6ea562624431" providerId="ADAL" clId="{D6FBF965-026B-43DA-A554-C6861A0A35E4}" dt="2023-02-02T10:08:10.513" v="112263"/>
          <ac:graphicFrameMkLst>
            <pc:docMk/>
            <pc:sldMk cId="2573365278" sldId="2134804375"/>
            <ac:graphicFrameMk id="4" creationId="{865D5F74-4BC7-7419-389A-0FF5B534081A}"/>
          </ac:graphicFrameMkLst>
        </pc:graphicFrameChg>
        <pc:graphicFrameChg chg="del">
          <ac:chgData name="Wenwen Zhang" userId="9dd81366-5d6f-445a-b031-6ea562624431" providerId="ADAL" clId="{D6FBF965-026B-43DA-A554-C6861A0A35E4}" dt="2023-02-02T10:08:10.472" v="112171"/>
          <ac:graphicFrameMkLst>
            <pc:docMk/>
            <pc:sldMk cId="2573365278" sldId="2134804375"/>
            <ac:graphicFrameMk id="12" creationId="{CD2E35E0-19EB-2106-2C63-15375D7273C0}"/>
          </ac:graphicFrameMkLst>
        </pc:graphicFrameChg>
        <pc:graphicFrameChg chg="mod">
          <ac:chgData name="Wenwen Zhang" userId="9dd81366-5d6f-445a-b031-6ea562624431" providerId="ADAL" clId="{D6FBF965-026B-43DA-A554-C6861A0A35E4}" dt="2023-02-02T10:08:10.529" v="112293"/>
          <ac:graphicFrameMkLst>
            <pc:docMk/>
            <pc:sldMk cId="2573365278" sldId="2134804375"/>
            <ac:graphicFrameMk id="28" creationId="{015DFAEE-F78A-C272-92CE-F25C3417CAD0}"/>
          </ac:graphicFrameMkLst>
        </pc:graphicFrameChg>
        <pc:cxnChg chg="mod ord">
          <ac:chgData name="Wenwen Zhang" userId="9dd81366-5d6f-445a-b031-6ea562624431" providerId="ADAL" clId="{D6FBF965-026B-43DA-A554-C6861A0A35E4}" dt="2023-02-02T10:08:10.512" v="112253"/>
          <ac:cxnSpMkLst>
            <pc:docMk/>
            <pc:sldMk cId="2573365278" sldId="2134804375"/>
            <ac:cxnSpMk id="11" creationId="{36989B73-932F-7F73-67AE-4BADF3449F9F}"/>
          </ac:cxnSpMkLst>
        </pc:cxnChg>
        <pc:cxnChg chg="mod ord">
          <ac:chgData name="Wenwen Zhang" userId="9dd81366-5d6f-445a-b031-6ea562624431" providerId="ADAL" clId="{D6FBF965-026B-43DA-A554-C6861A0A35E4}" dt="2023-02-02T10:08:10.510" v="112237"/>
          <ac:cxnSpMkLst>
            <pc:docMk/>
            <pc:sldMk cId="2573365278" sldId="2134804375"/>
            <ac:cxnSpMk id="25" creationId="{B98B81E8-E7A4-102B-F5B1-935F1709A52E}"/>
          </ac:cxnSpMkLst>
        </pc:cxnChg>
        <pc:cxnChg chg="mod ord">
          <ac:chgData name="Wenwen Zhang" userId="9dd81366-5d6f-445a-b031-6ea562624431" providerId="ADAL" clId="{D6FBF965-026B-43DA-A554-C6861A0A35E4}" dt="2023-02-02T10:08:10.510" v="112239"/>
          <ac:cxnSpMkLst>
            <pc:docMk/>
            <pc:sldMk cId="2573365278" sldId="2134804375"/>
            <ac:cxnSpMk id="26" creationId="{B294AEC1-DDE5-CDAF-3F9B-D8CAE9EE86A4}"/>
          </ac:cxnSpMkLst>
        </pc:cxnChg>
        <pc:cxnChg chg="mod ord">
          <ac:chgData name="Wenwen Zhang" userId="9dd81366-5d6f-445a-b031-6ea562624431" providerId="ADAL" clId="{D6FBF965-026B-43DA-A554-C6861A0A35E4}" dt="2023-02-02T10:08:10.511" v="112247"/>
          <ac:cxnSpMkLst>
            <pc:docMk/>
            <pc:sldMk cId="2573365278" sldId="2134804375"/>
            <ac:cxnSpMk id="31" creationId="{BBA4CFD8-50E2-590E-359C-B7B30680283A}"/>
          </ac:cxnSpMkLst>
        </pc:cxnChg>
        <pc:cxnChg chg="mod ord">
          <ac:chgData name="Wenwen Zhang" userId="9dd81366-5d6f-445a-b031-6ea562624431" providerId="ADAL" clId="{D6FBF965-026B-43DA-A554-C6861A0A35E4}" dt="2023-02-02T10:08:10.511" v="112249"/>
          <ac:cxnSpMkLst>
            <pc:docMk/>
            <pc:sldMk cId="2573365278" sldId="2134804375"/>
            <ac:cxnSpMk id="34" creationId="{90466765-2333-EB42-B879-3266B81004F2}"/>
          </ac:cxnSpMkLst>
        </pc:cxnChg>
        <pc:cxnChg chg="mod ord">
          <ac:chgData name="Wenwen Zhang" userId="9dd81366-5d6f-445a-b031-6ea562624431" providerId="ADAL" clId="{D6FBF965-026B-43DA-A554-C6861A0A35E4}" dt="2023-02-02T10:08:10.512" v="112257"/>
          <ac:cxnSpMkLst>
            <pc:docMk/>
            <pc:sldMk cId="2573365278" sldId="2134804375"/>
            <ac:cxnSpMk id="39" creationId="{64B2D29A-8079-5F0A-1C71-BE7A1F1BEE65}"/>
          </ac:cxnSpMkLst>
        </pc:cxnChg>
        <pc:cxnChg chg="mod ord">
          <ac:chgData name="Wenwen Zhang" userId="9dd81366-5d6f-445a-b031-6ea562624431" providerId="ADAL" clId="{D6FBF965-026B-43DA-A554-C6861A0A35E4}" dt="2023-02-02T10:08:10.513" v="112261"/>
          <ac:cxnSpMkLst>
            <pc:docMk/>
            <pc:sldMk cId="2573365278" sldId="2134804375"/>
            <ac:cxnSpMk id="42" creationId="{CA523B21-1A74-CF9C-C27A-9A5B306A90FD}"/>
          </ac:cxnSpMkLst>
        </pc:cxnChg>
        <pc:cxnChg chg="mod ord">
          <ac:chgData name="Wenwen Zhang" userId="9dd81366-5d6f-445a-b031-6ea562624431" providerId="ADAL" clId="{D6FBF965-026B-43DA-A554-C6861A0A35E4}" dt="2023-02-02T10:08:10.517" v="112282"/>
          <ac:cxnSpMkLst>
            <pc:docMk/>
            <pc:sldMk cId="2573365278" sldId="2134804375"/>
            <ac:cxnSpMk id="64" creationId="{CDC2214B-B624-4ABB-E00E-E9564153FBE5}"/>
          </ac:cxnSpMkLst>
        </pc:cxnChg>
        <pc:cxnChg chg="mod ord">
          <ac:chgData name="Wenwen Zhang" userId="9dd81366-5d6f-445a-b031-6ea562624431" providerId="ADAL" clId="{D6FBF965-026B-43DA-A554-C6861A0A35E4}" dt="2023-02-02T10:08:10.516" v="112280"/>
          <ac:cxnSpMkLst>
            <pc:docMk/>
            <pc:sldMk cId="2573365278" sldId="2134804375"/>
            <ac:cxnSpMk id="65" creationId="{E56A49A2-72D4-FBAC-1B5D-86ED101CA13A}"/>
          </ac:cxnSpMkLst>
        </pc:cxnChg>
        <pc:cxnChg chg="mod ord">
          <ac:chgData name="Wenwen Zhang" userId="9dd81366-5d6f-445a-b031-6ea562624431" providerId="ADAL" clId="{D6FBF965-026B-43DA-A554-C6861A0A35E4}" dt="2023-02-02T10:08:10.516" v="112278"/>
          <ac:cxnSpMkLst>
            <pc:docMk/>
            <pc:sldMk cId="2573365278" sldId="2134804375"/>
            <ac:cxnSpMk id="66" creationId="{D884AC93-119A-B9AF-03F2-E526E09BD973}"/>
          </ac:cxnSpMkLst>
        </pc:cxnChg>
        <pc:cxnChg chg="mod ord">
          <ac:chgData name="Wenwen Zhang" userId="9dd81366-5d6f-445a-b031-6ea562624431" providerId="ADAL" clId="{D6FBF965-026B-43DA-A554-C6861A0A35E4}" dt="2023-02-02T10:08:10.510" v="112241"/>
          <ac:cxnSpMkLst>
            <pc:docMk/>
            <pc:sldMk cId="2573365278" sldId="2134804375"/>
            <ac:cxnSpMk id="172" creationId="{B5F5BC6E-FD1F-6113-F7EF-21987490C173}"/>
          </ac:cxnSpMkLst>
        </pc:cxnChg>
        <pc:cxnChg chg="mod ord">
          <ac:chgData name="Wenwen Zhang" userId="9dd81366-5d6f-445a-b031-6ea562624431" providerId="ADAL" clId="{D6FBF965-026B-43DA-A554-C6861A0A35E4}" dt="2023-02-02T10:08:10.511" v="112243"/>
          <ac:cxnSpMkLst>
            <pc:docMk/>
            <pc:sldMk cId="2573365278" sldId="2134804375"/>
            <ac:cxnSpMk id="173" creationId="{6EFB9C0C-869F-F0AA-4679-52CE8DC641B3}"/>
          </ac:cxnSpMkLst>
        </pc:cxnChg>
        <pc:cxnChg chg="mod ord">
          <ac:chgData name="Wenwen Zhang" userId="9dd81366-5d6f-445a-b031-6ea562624431" providerId="ADAL" clId="{D6FBF965-026B-43DA-A554-C6861A0A35E4}" dt="2023-02-02T10:08:10.511" v="112245"/>
          <ac:cxnSpMkLst>
            <pc:docMk/>
            <pc:sldMk cId="2573365278" sldId="2134804375"/>
            <ac:cxnSpMk id="174" creationId="{EC9C4FBC-F489-FD5A-4129-B3A2E02409C1}"/>
          </ac:cxnSpMkLst>
        </pc:cxnChg>
        <pc:cxnChg chg="mod ord">
          <ac:chgData name="Wenwen Zhang" userId="9dd81366-5d6f-445a-b031-6ea562624431" providerId="ADAL" clId="{D6FBF965-026B-43DA-A554-C6861A0A35E4}" dt="2023-02-02T10:08:10.512" v="112251"/>
          <ac:cxnSpMkLst>
            <pc:docMk/>
            <pc:sldMk cId="2573365278" sldId="2134804375"/>
            <ac:cxnSpMk id="175" creationId="{3D601B5C-8908-8F11-1FCE-3E34B0171AD5}"/>
          </ac:cxnSpMkLst>
        </pc:cxnChg>
        <pc:cxnChg chg="mod ord">
          <ac:chgData name="Wenwen Zhang" userId="9dd81366-5d6f-445a-b031-6ea562624431" providerId="ADAL" clId="{D6FBF965-026B-43DA-A554-C6861A0A35E4}" dt="2023-02-02T10:08:10.512" v="112255"/>
          <ac:cxnSpMkLst>
            <pc:docMk/>
            <pc:sldMk cId="2573365278" sldId="2134804375"/>
            <ac:cxnSpMk id="176" creationId="{F10EAC1F-7C6E-E3E7-88D1-04F55C4CD46F}"/>
          </ac:cxnSpMkLst>
        </pc:cxnChg>
        <pc:cxnChg chg="mod ord">
          <ac:chgData name="Wenwen Zhang" userId="9dd81366-5d6f-445a-b031-6ea562624431" providerId="ADAL" clId="{D6FBF965-026B-43DA-A554-C6861A0A35E4}" dt="2023-02-02T10:08:10.513" v="112259"/>
          <ac:cxnSpMkLst>
            <pc:docMk/>
            <pc:sldMk cId="2573365278" sldId="2134804375"/>
            <ac:cxnSpMk id="177" creationId="{A0509D4F-3A62-D57D-BB3C-A42840FFC36A}"/>
          </ac:cxnSpMkLst>
        </pc:cxnChg>
      </pc:sldChg>
      <pc:sldChg chg="addSp delSp modSp add mod ord modNotesTx">
        <pc:chgData name="Wenwen Zhang" userId="9dd81366-5d6f-445a-b031-6ea562624431" providerId="ADAL" clId="{D6FBF965-026B-43DA-A554-C6861A0A35E4}" dt="2023-02-02T12:00:29.752" v="131934"/>
        <pc:sldMkLst>
          <pc:docMk/>
          <pc:sldMk cId="574567390" sldId="2134804376"/>
        </pc:sldMkLst>
        <pc:spChg chg="add del mod modVis">
          <ac:chgData name="Wenwen Zhang" userId="9dd81366-5d6f-445a-b031-6ea562624431" providerId="ADAL" clId="{D6FBF965-026B-43DA-A554-C6861A0A35E4}" dt="2023-02-02T11:56:02.571" v="124418"/>
          <ac:spMkLst>
            <pc:docMk/>
            <pc:sldMk cId="574567390" sldId="2134804376"/>
            <ac:spMk id="3" creationId="{5821B791-8687-A63E-2476-619046B49BBC}"/>
          </ac:spMkLst>
        </pc:spChg>
        <pc:spChg chg="mod">
          <ac:chgData name="Wenwen Zhang" userId="9dd81366-5d6f-445a-b031-6ea562624431" providerId="ADAL" clId="{D6FBF965-026B-43DA-A554-C6861A0A35E4}" dt="2023-02-02T12:00:10.971" v="131933" actId="6549"/>
          <ac:spMkLst>
            <pc:docMk/>
            <pc:sldMk cId="574567390" sldId="2134804376"/>
            <ac:spMk id="29" creationId="{D50B6CAA-A666-5524-85F7-444C607F0970}"/>
          </ac:spMkLst>
        </pc:spChg>
        <pc:spChg chg="mod">
          <ac:chgData name="Wenwen Zhang" userId="9dd81366-5d6f-445a-b031-6ea562624431" providerId="ADAL" clId="{D6FBF965-026B-43DA-A554-C6861A0A35E4}" dt="2023-02-02T11:56:02.570" v="124414"/>
          <ac:spMkLst>
            <pc:docMk/>
            <pc:sldMk cId="574567390" sldId="2134804376"/>
            <ac:spMk id="176" creationId="{0333CDF8-75B9-FB8B-354B-CE0536B52445}"/>
          </ac:spMkLst>
        </pc:spChg>
        <pc:spChg chg="mod">
          <ac:chgData name="Wenwen Zhang" userId="9dd81366-5d6f-445a-b031-6ea562624431" providerId="ADAL" clId="{D6FBF965-026B-43DA-A554-C6861A0A35E4}" dt="2023-02-02T11:56:02.565" v="124396"/>
          <ac:spMkLst>
            <pc:docMk/>
            <pc:sldMk cId="574567390" sldId="2134804376"/>
            <ac:spMk id="341" creationId="{684A672A-79D1-5720-64EE-C0A5AEEF8BD4}"/>
          </ac:spMkLst>
        </pc:spChg>
        <pc:graphicFrameChg chg="mod">
          <ac:chgData name="Wenwen Zhang" userId="9dd81366-5d6f-445a-b031-6ea562624431" providerId="ADAL" clId="{D6FBF965-026B-43DA-A554-C6861A0A35E4}" dt="2023-02-02T11:56:02.574" v="124420"/>
          <ac:graphicFrameMkLst>
            <pc:docMk/>
            <pc:sldMk cId="574567390" sldId="2134804376"/>
            <ac:graphicFrameMk id="28" creationId="{015DFAEE-F78A-C272-92CE-F25C3417CAD0}"/>
          </ac:graphicFrameMkLst>
        </pc:graphicFrameChg>
        <pc:cxnChg chg="mod">
          <ac:chgData name="Wenwen Zhang" userId="9dd81366-5d6f-445a-b031-6ea562624431" providerId="ADAL" clId="{D6FBF965-026B-43DA-A554-C6861A0A35E4}" dt="2023-02-02T11:56:02.569" v="124412" actId="16931"/>
          <ac:cxnSpMkLst>
            <pc:docMk/>
            <pc:sldMk cId="574567390" sldId="2134804376"/>
            <ac:cxnSpMk id="351" creationId="{B8898D04-479E-C629-732A-6F95BE615BDF}"/>
          </ac:cxnSpMkLst>
        </pc:cxnChg>
        <pc:cxnChg chg="mod">
          <ac:chgData name="Wenwen Zhang" userId="9dd81366-5d6f-445a-b031-6ea562624431" providerId="ADAL" clId="{D6FBF965-026B-43DA-A554-C6861A0A35E4}" dt="2023-02-02T11:56:02.564" v="124394" actId="16931"/>
          <ac:cxnSpMkLst>
            <pc:docMk/>
            <pc:sldMk cId="574567390" sldId="2134804376"/>
            <ac:cxnSpMk id="744" creationId="{DD26C715-26F1-5C85-6A29-1821B415E66C}"/>
          </ac:cxnSpMkLst>
        </pc:cxnChg>
      </pc:sldChg>
    </pc:docChg>
  </pc:docChgLst>
  <pc:docChgLst>
    <pc:chgData name="Wenwen Zhang" userId="9dd81366-5d6f-445a-b031-6ea562624431" providerId="ADAL" clId="{3909E7CC-5EA5-469C-9AFF-9A201E30CD9D}"/>
    <pc:docChg chg="undo redo custSel addSld delSld modSld sldOrd modSection replTag">
      <pc:chgData name="Wenwen Zhang" userId="9dd81366-5d6f-445a-b031-6ea562624431" providerId="ADAL" clId="{3909E7CC-5EA5-469C-9AFF-9A201E30CD9D}" dt="2022-12-07T11:15:22.232" v="66864" actId="1038"/>
      <pc:docMkLst>
        <pc:docMk/>
      </pc:docMkLst>
      <pc:sldChg chg="addSp delSp modSp mod">
        <pc:chgData name="Wenwen Zhang" userId="9dd81366-5d6f-445a-b031-6ea562624431" providerId="ADAL" clId="{3909E7CC-5EA5-469C-9AFF-9A201E30CD9D}" dt="2022-12-07T11:15:22.232" v="66864" actId="1038"/>
        <pc:sldMkLst>
          <pc:docMk/>
          <pc:sldMk cId="1688420569" sldId="259"/>
        </pc:sldMkLst>
        <pc:spChg chg="del">
          <ac:chgData name="Wenwen Zhang" userId="9dd81366-5d6f-445a-b031-6ea562624431" providerId="ADAL" clId="{3909E7CC-5EA5-469C-9AFF-9A201E30CD9D}" dt="2022-12-07T11:14:47.645" v="66850" actId="478"/>
          <ac:spMkLst>
            <pc:docMk/>
            <pc:sldMk cId="1688420569" sldId="259"/>
            <ac:spMk id="5" creationId="{F6CB29BD-CAC3-7F01-7623-35124513A328}"/>
          </ac:spMkLst>
        </pc:spChg>
        <pc:picChg chg="add mod">
          <ac:chgData name="Wenwen Zhang" userId="9dd81366-5d6f-445a-b031-6ea562624431" providerId="ADAL" clId="{3909E7CC-5EA5-469C-9AFF-9A201E30CD9D}" dt="2022-12-07T11:15:22.232" v="66864" actId="1038"/>
          <ac:picMkLst>
            <pc:docMk/>
            <pc:sldMk cId="1688420569" sldId="259"/>
            <ac:picMk id="40962" creationId="{906EEB25-5E4B-11E9-3D04-6CF072591915}"/>
          </ac:picMkLst>
        </pc:picChg>
      </pc:sldChg>
      <pc:sldChg chg="addSp delSp modSp add mod ord modNotesTx">
        <pc:chgData name="Wenwen Zhang" userId="9dd81366-5d6f-445a-b031-6ea562624431" providerId="ADAL" clId="{3909E7CC-5EA5-469C-9AFF-9A201E30CD9D}" dt="2022-12-06T16:45:21.949" v="57379"/>
        <pc:sldMkLst>
          <pc:docMk/>
          <pc:sldMk cId="95124222" sldId="326"/>
        </pc:sldMkLst>
        <pc:spChg chg="mod ord">
          <ac:chgData name="Wenwen Zhang" userId="9dd81366-5d6f-445a-b031-6ea562624431" providerId="ADAL" clId="{3909E7CC-5EA5-469C-9AFF-9A201E30CD9D}" dt="2022-12-05T21:59:07.770" v="13441"/>
          <ac:spMkLst>
            <pc:docMk/>
            <pc:sldMk cId="95124222" sldId="326"/>
            <ac:spMk id="2" creationId="{6A15B527-DF64-B80B-421E-C9A6463D1F44}"/>
          </ac:spMkLst>
        </pc:spChg>
        <pc:spChg chg="add del mod">
          <ac:chgData name="Wenwen Zhang" userId="9dd81366-5d6f-445a-b031-6ea562624431" providerId="ADAL" clId="{3909E7CC-5EA5-469C-9AFF-9A201E30CD9D}" dt="2022-12-05T21:58:06.407" v="13418" actId="478"/>
          <ac:spMkLst>
            <pc:docMk/>
            <pc:sldMk cId="95124222" sldId="326"/>
            <ac:spMk id="5" creationId="{2780A720-4ED8-D5D3-0FAC-9C90602950E7}"/>
          </ac:spMkLst>
        </pc:spChg>
        <pc:spChg chg="add del mod">
          <ac:chgData name="Wenwen Zhang" userId="9dd81366-5d6f-445a-b031-6ea562624431" providerId="ADAL" clId="{3909E7CC-5EA5-469C-9AFF-9A201E30CD9D}" dt="2022-12-05T21:58:06.407" v="13418" actId="478"/>
          <ac:spMkLst>
            <pc:docMk/>
            <pc:sldMk cId="95124222" sldId="326"/>
            <ac:spMk id="7" creationId="{0F592369-2017-6124-933A-B05A6BBE8E94}"/>
          </ac:spMkLst>
        </pc:spChg>
        <pc:spChg chg="add del mod">
          <ac:chgData name="Wenwen Zhang" userId="9dd81366-5d6f-445a-b031-6ea562624431" providerId="ADAL" clId="{3909E7CC-5EA5-469C-9AFF-9A201E30CD9D}" dt="2022-12-05T21:58:06.407" v="13418" actId="478"/>
          <ac:spMkLst>
            <pc:docMk/>
            <pc:sldMk cId="95124222" sldId="326"/>
            <ac:spMk id="9" creationId="{B482E791-AA03-F835-B9A2-A0ED13B5F951}"/>
          </ac:spMkLst>
        </pc:spChg>
        <pc:spChg chg="add del mod">
          <ac:chgData name="Wenwen Zhang" userId="9dd81366-5d6f-445a-b031-6ea562624431" providerId="ADAL" clId="{3909E7CC-5EA5-469C-9AFF-9A201E30CD9D}" dt="2022-12-05T21:58:06.407" v="13418" actId="478"/>
          <ac:spMkLst>
            <pc:docMk/>
            <pc:sldMk cId="95124222" sldId="326"/>
            <ac:spMk id="11" creationId="{6773690E-BCDF-DEDB-772A-2CF25E61E9F4}"/>
          </ac:spMkLst>
        </pc:spChg>
        <pc:spChg chg="add del mod">
          <ac:chgData name="Wenwen Zhang" userId="9dd81366-5d6f-445a-b031-6ea562624431" providerId="ADAL" clId="{3909E7CC-5EA5-469C-9AFF-9A201E30CD9D}" dt="2022-12-05T21:58:06.407" v="13418" actId="478"/>
          <ac:spMkLst>
            <pc:docMk/>
            <pc:sldMk cId="95124222" sldId="326"/>
            <ac:spMk id="13" creationId="{5327B83F-F421-FF5A-FB4D-384FB82D17EF}"/>
          </ac:spMkLst>
        </pc:spChg>
        <pc:spChg chg="mod ord">
          <ac:chgData name="Wenwen Zhang" userId="9dd81366-5d6f-445a-b031-6ea562624431" providerId="ADAL" clId="{3909E7CC-5EA5-469C-9AFF-9A201E30CD9D}" dt="2022-12-05T21:59:07.769" v="13435"/>
          <ac:spMkLst>
            <pc:docMk/>
            <pc:sldMk cId="95124222" sldId="326"/>
            <ac:spMk id="24" creationId="{E78D2A77-9AAF-BD13-DB49-60CFDD94CA71}"/>
          </ac:spMkLst>
        </pc:spChg>
        <pc:spChg chg="mod ord">
          <ac:chgData name="Wenwen Zhang" userId="9dd81366-5d6f-445a-b031-6ea562624431" providerId="ADAL" clId="{3909E7CC-5EA5-469C-9AFF-9A201E30CD9D}" dt="2022-12-05T22:11:08.910" v="13542"/>
          <ac:spMkLst>
            <pc:docMk/>
            <pc:sldMk cId="95124222" sldId="326"/>
            <ac:spMk id="32" creationId="{72265772-1579-7BE0-41E3-501213E083D7}"/>
          </ac:spMkLst>
        </pc:spChg>
        <pc:spChg chg="mod ord">
          <ac:chgData name="Wenwen Zhang" userId="9dd81366-5d6f-445a-b031-6ea562624431" providerId="ADAL" clId="{3909E7CC-5EA5-469C-9AFF-9A201E30CD9D}" dt="2022-12-05T21:59:07.770" v="13443"/>
          <ac:spMkLst>
            <pc:docMk/>
            <pc:sldMk cId="95124222" sldId="326"/>
            <ac:spMk id="36" creationId="{F55868CD-D0D8-FB04-3717-1FF148201707}"/>
          </ac:spMkLst>
        </pc:spChg>
        <pc:spChg chg="mod ord">
          <ac:chgData name="Wenwen Zhang" userId="9dd81366-5d6f-445a-b031-6ea562624431" providerId="ADAL" clId="{3909E7CC-5EA5-469C-9AFF-9A201E30CD9D}" dt="2022-12-05T21:59:07.770" v="13445"/>
          <ac:spMkLst>
            <pc:docMk/>
            <pc:sldMk cId="95124222" sldId="326"/>
            <ac:spMk id="37" creationId="{04948244-AE20-07D3-7B68-9E3511F96494}"/>
          </ac:spMkLst>
        </pc:spChg>
        <pc:spChg chg="mod ord">
          <ac:chgData name="Wenwen Zhang" userId="9dd81366-5d6f-445a-b031-6ea562624431" providerId="ADAL" clId="{3909E7CC-5EA5-469C-9AFF-9A201E30CD9D}" dt="2022-12-06T10:25:47.858" v="45861" actId="20577"/>
          <ac:spMkLst>
            <pc:docMk/>
            <pc:sldMk cId="95124222" sldId="326"/>
            <ac:spMk id="38" creationId="{9AA87FE2-26FF-55F3-D2DF-AD7FF5DB9D6D}"/>
          </ac:spMkLst>
        </pc:spChg>
        <pc:graphicFrameChg chg="mod">
          <ac:chgData name="Wenwen Zhang" userId="9dd81366-5d6f-445a-b031-6ea562624431" providerId="ADAL" clId="{3909E7CC-5EA5-469C-9AFF-9A201E30CD9D}" dt="2022-12-05T21:59:07.771" v="13449"/>
          <ac:graphicFrameMkLst>
            <pc:docMk/>
            <pc:sldMk cId="95124222" sldId="326"/>
            <ac:graphicFrameMk id="4" creationId="{485A9725-724D-191E-3C79-D50A2378CEDC}"/>
          </ac:graphicFrameMkLst>
        </pc:graphicFrameChg>
        <pc:graphicFrameChg chg="add mod ord">
          <ac:chgData name="Wenwen Zhang" userId="9dd81366-5d6f-445a-b031-6ea562624431" providerId="ADAL" clId="{3909E7CC-5EA5-469C-9AFF-9A201E30CD9D}" dt="2022-12-05T21:59:32.102" v="13450" actId="1076"/>
          <ac:graphicFrameMkLst>
            <pc:docMk/>
            <pc:sldMk cId="95124222" sldId="326"/>
            <ac:graphicFrameMk id="14" creationId="{58E8D189-6C71-96BE-67D5-F51C07249748}"/>
          </ac:graphicFrameMkLst>
        </pc:graphicFrameChg>
        <pc:graphicFrameChg chg="add mod ord">
          <ac:chgData name="Wenwen Zhang" userId="9dd81366-5d6f-445a-b031-6ea562624431" providerId="ADAL" clId="{3909E7CC-5EA5-469C-9AFF-9A201E30CD9D}" dt="2022-12-05T21:59:32.102" v="13450" actId="1076"/>
          <ac:graphicFrameMkLst>
            <pc:docMk/>
            <pc:sldMk cId="95124222" sldId="326"/>
            <ac:graphicFrameMk id="15" creationId="{D28547F9-351C-9150-C555-5215EB417942}"/>
          </ac:graphicFrameMkLst>
        </pc:graphicFrameChg>
        <pc:graphicFrameChg chg="add mod ord">
          <ac:chgData name="Wenwen Zhang" userId="9dd81366-5d6f-445a-b031-6ea562624431" providerId="ADAL" clId="{3909E7CC-5EA5-469C-9AFF-9A201E30CD9D}" dt="2022-12-05T21:59:32.102" v="13450" actId="1076"/>
          <ac:graphicFrameMkLst>
            <pc:docMk/>
            <pc:sldMk cId="95124222" sldId="326"/>
            <ac:graphicFrameMk id="16" creationId="{306EBAE8-9906-F2C4-E1B3-D7E2A71837A2}"/>
          </ac:graphicFrameMkLst>
        </pc:graphicFrameChg>
        <pc:graphicFrameChg chg="add mod ord">
          <ac:chgData name="Wenwen Zhang" userId="9dd81366-5d6f-445a-b031-6ea562624431" providerId="ADAL" clId="{3909E7CC-5EA5-469C-9AFF-9A201E30CD9D}" dt="2022-12-05T21:59:32.102" v="13450" actId="1076"/>
          <ac:graphicFrameMkLst>
            <pc:docMk/>
            <pc:sldMk cId="95124222" sldId="326"/>
            <ac:graphicFrameMk id="17" creationId="{D3D15CA4-6D7A-9DC0-3D99-68412EECC0A2}"/>
          </ac:graphicFrameMkLst>
        </pc:graphicFrameChg>
        <pc:graphicFrameChg chg="add mod ord">
          <ac:chgData name="Wenwen Zhang" userId="9dd81366-5d6f-445a-b031-6ea562624431" providerId="ADAL" clId="{3909E7CC-5EA5-469C-9AFF-9A201E30CD9D}" dt="2022-12-05T21:59:32.102" v="13450" actId="1076"/>
          <ac:graphicFrameMkLst>
            <pc:docMk/>
            <pc:sldMk cId="95124222" sldId="326"/>
            <ac:graphicFrameMk id="18" creationId="{943BF56E-59B3-43BA-85B9-50E3F9E5C83F}"/>
          </ac:graphicFrameMkLst>
        </pc:graphicFrameChg>
        <pc:graphicFrameChg chg="add mod ord">
          <ac:chgData name="Wenwen Zhang" userId="9dd81366-5d6f-445a-b031-6ea562624431" providerId="ADAL" clId="{3909E7CC-5EA5-469C-9AFF-9A201E30CD9D}" dt="2022-12-05T21:59:32.102" v="13450" actId="1076"/>
          <ac:graphicFrameMkLst>
            <pc:docMk/>
            <pc:sldMk cId="95124222" sldId="326"/>
            <ac:graphicFrameMk id="19" creationId="{53741631-5B7A-A2F8-DE01-0D0166BF443C}"/>
          </ac:graphicFrameMkLst>
        </pc:graphicFrameChg>
        <pc:graphicFrameChg chg="del">
          <ac:chgData name="Wenwen Zhang" userId="9dd81366-5d6f-445a-b031-6ea562624431" providerId="ADAL" clId="{3909E7CC-5EA5-469C-9AFF-9A201E30CD9D}" dt="2022-12-05T21:58:01.105" v="13417" actId="478"/>
          <ac:graphicFrameMkLst>
            <pc:docMk/>
            <pc:sldMk cId="95124222" sldId="326"/>
            <ac:graphicFrameMk id="21" creationId="{F014AE70-4DE9-0371-871B-704CCCADAAFE}"/>
          </ac:graphicFrameMkLst>
        </pc:graphicFrameChg>
        <pc:graphicFrameChg chg="del">
          <ac:chgData name="Wenwen Zhang" userId="9dd81366-5d6f-445a-b031-6ea562624431" providerId="ADAL" clId="{3909E7CC-5EA5-469C-9AFF-9A201E30CD9D}" dt="2022-12-05T21:58:01.105" v="13417" actId="478"/>
          <ac:graphicFrameMkLst>
            <pc:docMk/>
            <pc:sldMk cId="95124222" sldId="326"/>
            <ac:graphicFrameMk id="22" creationId="{E3FD6366-CA82-45A3-B885-4ECA597EDFEA}"/>
          </ac:graphicFrameMkLst>
        </pc:graphicFrameChg>
        <pc:graphicFrameChg chg="del">
          <ac:chgData name="Wenwen Zhang" userId="9dd81366-5d6f-445a-b031-6ea562624431" providerId="ADAL" clId="{3909E7CC-5EA5-469C-9AFF-9A201E30CD9D}" dt="2022-12-05T21:58:01.105" v="13417" actId="478"/>
          <ac:graphicFrameMkLst>
            <pc:docMk/>
            <pc:sldMk cId="95124222" sldId="326"/>
            <ac:graphicFrameMk id="23" creationId="{B57E8948-BD12-4ACE-7488-C2D2ECDAD9D0}"/>
          </ac:graphicFrameMkLst>
        </pc:graphicFrameChg>
        <pc:graphicFrameChg chg="del">
          <ac:chgData name="Wenwen Zhang" userId="9dd81366-5d6f-445a-b031-6ea562624431" providerId="ADAL" clId="{3909E7CC-5EA5-469C-9AFF-9A201E30CD9D}" dt="2022-12-05T21:58:01.105" v="13417" actId="478"/>
          <ac:graphicFrameMkLst>
            <pc:docMk/>
            <pc:sldMk cId="95124222" sldId="326"/>
            <ac:graphicFrameMk id="33" creationId="{7A16D0EC-9AE2-3381-EA43-D79B5B77C9C9}"/>
          </ac:graphicFrameMkLst>
        </pc:graphicFrameChg>
        <pc:graphicFrameChg chg="del">
          <ac:chgData name="Wenwen Zhang" userId="9dd81366-5d6f-445a-b031-6ea562624431" providerId="ADAL" clId="{3909E7CC-5EA5-469C-9AFF-9A201E30CD9D}" dt="2022-12-05T21:58:01.105" v="13417" actId="478"/>
          <ac:graphicFrameMkLst>
            <pc:docMk/>
            <pc:sldMk cId="95124222" sldId="326"/>
            <ac:graphicFrameMk id="34" creationId="{5DC68390-B2A5-21F8-7B4D-DD4466355C56}"/>
          </ac:graphicFrameMkLst>
        </pc:graphicFrameChg>
        <pc:graphicFrameChg chg="del">
          <ac:chgData name="Wenwen Zhang" userId="9dd81366-5d6f-445a-b031-6ea562624431" providerId="ADAL" clId="{3909E7CC-5EA5-469C-9AFF-9A201E30CD9D}" dt="2022-12-05T21:58:01.105" v="13417" actId="478"/>
          <ac:graphicFrameMkLst>
            <pc:docMk/>
            <pc:sldMk cId="95124222" sldId="326"/>
            <ac:graphicFrameMk id="35" creationId="{C222A8E7-19A3-E782-BFB8-655825A3C324}"/>
          </ac:graphicFrameMkLst>
        </pc:graphicFrameChg>
      </pc:sldChg>
      <pc:sldChg chg="addSp delSp modSp add del mod">
        <pc:chgData name="Wenwen Zhang" userId="9dd81366-5d6f-445a-b031-6ea562624431" providerId="ADAL" clId="{3909E7CC-5EA5-469C-9AFF-9A201E30CD9D}" dt="2022-12-07T09:18:48.864" v="65686" actId="2696"/>
        <pc:sldMkLst>
          <pc:docMk/>
          <pc:sldMk cId="4270526946" sldId="329"/>
        </pc:sldMkLst>
        <pc:spChg chg="mod ord">
          <ac:chgData name="Wenwen Zhang" userId="9dd81366-5d6f-445a-b031-6ea562624431" providerId="ADAL" clId="{3909E7CC-5EA5-469C-9AFF-9A201E30CD9D}" dt="2022-12-07T09:18:27.715" v="65503"/>
          <ac:spMkLst>
            <pc:docMk/>
            <pc:sldMk cId="4270526946" sldId="329"/>
            <ac:spMk id="2" creationId="{B065B79C-C4D6-5961-7919-6BB68C420868}"/>
          </ac:spMkLst>
        </pc:spChg>
        <pc:spChg chg="add del mod modVis">
          <ac:chgData name="Wenwen Zhang" userId="9dd81366-5d6f-445a-b031-6ea562624431" providerId="ADAL" clId="{3909E7CC-5EA5-469C-9AFF-9A201E30CD9D}" dt="2022-12-07T09:18:24.195" v="65465"/>
          <ac:spMkLst>
            <pc:docMk/>
            <pc:sldMk cId="4270526946" sldId="329"/>
            <ac:spMk id="3" creationId="{8143CA6B-A1BA-9774-76F2-785928524F22}"/>
          </ac:spMkLst>
        </pc:spChg>
        <pc:spChg chg="add del mod modVis">
          <ac:chgData name="Wenwen Zhang" userId="9dd81366-5d6f-445a-b031-6ea562624431" providerId="ADAL" clId="{3909E7CC-5EA5-469C-9AFF-9A201E30CD9D}" dt="2022-12-06T18:19:57.117" v="60729"/>
          <ac:spMkLst>
            <pc:docMk/>
            <pc:sldMk cId="4270526946" sldId="329"/>
            <ac:spMk id="3" creationId="{8143CF4C-EA1E-0E2E-CEBD-D5283B351DE4}"/>
          </ac:spMkLst>
        </pc:spChg>
        <pc:spChg chg="mod">
          <ac:chgData name="Wenwen Zhang" userId="9dd81366-5d6f-445a-b031-6ea562624431" providerId="ADAL" clId="{3909E7CC-5EA5-469C-9AFF-9A201E30CD9D}" dt="2022-12-07T09:18:27.716" v="65511"/>
          <ac:spMkLst>
            <pc:docMk/>
            <pc:sldMk cId="4270526946" sldId="329"/>
            <ac:spMk id="9" creationId="{930103B3-3CFE-D4B3-FFB6-B99BF869F93A}"/>
          </ac:spMkLst>
        </pc:spChg>
        <pc:spChg chg="add del mod modVis">
          <ac:chgData name="Wenwen Zhang" userId="9dd81366-5d6f-445a-b031-6ea562624431" providerId="ADAL" clId="{3909E7CC-5EA5-469C-9AFF-9A201E30CD9D}" dt="2022-12-06T18:20:11.699" v="60947"/>
          <ac:spMkLst>
            <pc:docMk/>
            <pc:sldMk cId="4270526946" sldId="329"/>
            <ac:spMk id="15" creationId="{B857145B-91A9-6E8F-BC8B-62C3D735F691}"/>
          </ac:spMkLst>
        </pc:spChg>
        <pc:spChg chg="mod">
          <ac:chgData name="Wenwen Zhang" userId="9dd81366-5d6f-445a-b031-6ea562624431" providerId="ADAL" clId="{3909E7CC-5EA5-469C-9AFF-9A201E30CD9D}" dt="2022-12-07T09:18:27.716" v="65510"/>
          <ac:spMkLst>
            <pc:docMk/>
            <pc:sldMk cId="4270526946" sldId="329"/>
            <ac:spMk id="19" creationId="{2BF0481C-3F0F-AB06-DE88-4997B47DBE83}"/>
          </ac:spMkLst>
        </pc:spChg>
        <pc:spChg chg="add del mod modVis">
          <ac:chgData name="Wenwen Zhang" userId="9dd81366-5d6f-445a-b031-6ea562624431" providerId="ADAL" clId="{3909E7CC-5EA5-469C-9AFF-9A201E30CD9D}" dt="2022-12-06T18:20:14.790" v="61081"/>
          <ac:spMkLst>
            <pc:docMk/>
            <pc:sldMk cId="4270526946" sldId="329"/>
            <ac:spMk id="24" creationId="{249A0F01-674F-E3A9-BCC8-9D99F10E6F20}"/>
          </ac:spMkLst>
        </pc:spChg>
        <pc:spChg chg="mod">
          <ac:chgData name="Wenwen Zhang" userId="9dd81366-5d6f-445a-b031-6ea562624431" providerId="ADAL" clId="{3909E7CC-5EA5-469C-9AFF-9A201E30CD9D}" dt="2022-12-07T09:18:27.717" v="65514"/>
          <ac:spMkLst>
            <pc:docMk/>
            <pc:sldMk cId="4270526946" sldId="329"/>
            <ac:spMk id="25" creationId="{81DEA806-9E6B-0A47-9736-7CFE39552076}"/>
          </ac:spMkLst>
        </pc:spChg>
        <pc:spChg chg="mod">
          <ac:chgData name="Wenwen Zhang" userId="9dd81366-5d6f-445a-b031-6ea562624431" providerId="ADAL" clId="{3909E7CC-5EA5-469C-9AFF-9A201E30CD9D}" dt="2022-12-07T09:18:27.717" v="65515"/>
          <ac:spMkLst>
            <pc:docMk/>
            <pc:sldMk cId="4270526946" sldId="329"/>
            <ac:spMk id="26" creationId="{F1241739-299F-8C30-FD50-BAEACE503D91}"/>
          </ac:spMkLst>
        </pc:spChg>
        <pc:spChg chg="mod ord">
          <ac:chgData name="Wenwen Zhang" userId="9dd81366-5d6f-445a-b031-6ea562624431" providerId="ADAL" clId="{3909E7CC-5EA5-469C-9AFF-9A201E30CD9D}" dt="2022-12-07T09:18:27.715" v="65505"/>
          <ac:spMkLst>
            <pc:docMk/>
            <pc:sldMk cId="4270526946" sldId="329"/>
            <ac:spMk id="29" creationId="{D50B6CAA-A666-5524-85F7-444C607F0970}"/>
          </ac:spMkLst>
        </pc:spChg>
        <pc:spChg chg="mod">
          <ac:chgData name="Wenwen Zhang" userId="9dd81366-5d6f-445a-b031-6ea562624431" providerId="ADAL" clId="{3909E7CC-5EA5-469C-9AFF-9A201E30CD9D}" dt="2022-12-07T09:18:27.718" v="65519"/>
          <ac:spMkLst>
            <pc:docMk/>
            <pc:sldMk cId="4270526946" sldId="329"/>
            <ac:spMk id="30" creationId="{A4D202E4-8433-3049-6ACC-57B344081520}"/>
          </ac:spMkLst>
        </pc:spChg>
        <pc:spChg chg="mod">
          <ac:chgData name="Wenwen Zhang" userId="9dd81366-5d6f-445a-b031-6ea562624431" providerId="ADAL" clId="{3909E7CC-5EA5-469C-9AFF-9A201E30CD9D}" dt="2022-12-07T09:18:27.717" v="65518"/>
          <ac:spMkLst>
            <pc:docMk/>
            <pc:sldMk cId="4270526946" sldId="329"/>
            <ac:spMk id="31" creationId="{898AABC0-BF25-202B-F55F-97609925ECCF}"/>
          </ac:spMkLst>
        </pc:spChg>
        <pc:spChg chg="mod ord">
          <ac:chgData name="Wenwen Zhang" userId="9dd81366-5d6f-445a-b031-6ea562624431" providerId="ADAL" clId="{3909E7CC-5EA5-469C-9AFF-9A201E30CD9D}" dt="2022-12-07T09:18:27.718" v="65521"/>
          <ac:spMkLst>
            <pc:docMk/>
            <pc:sldMk cId="4270526946" sldId="329"/>
            <ac:spMk id="32" creationId="{FAE8DA4D-635A-C53B-7E7C-92720081EEF5}"/>
          </ac:spMkLst>
        </pc:spChg>
        <pc:spChg chg="mod ord">
          <ac:chgData name="Wenwen Zhang" userId="9dd81366-5d6f-445a-b031-6ea562624431" providerId="ADAL" clId="{3909E7CC-5EA5-469C-9AFF-9A201E30CD9D}" dt="2022-12-07T09:18:27.718" v="65523"/>
          <ac:spMkLst>
            <pc:docMk/>
            <pc:sldMk cId="4270526946" sldId="329"/>
            <ac:spMk id="33" creationId="{14B13B60-7C36-23CE-888B-2619DD01A202}"/>
          </ac:spMkLst>
        </pc:spChg>
        <pc:spChg chg="mod ord">
          <ac:chgData name="Wenwen Zhang" userId="9dd81366-5d6f-445a-b031-6ea562624431" providerId="ADAL" clId="{3909E7CC-5EA5-469C-9AFF-9A201E30CD9D}" dt="2022-12-07T09:18:27.719" v="65525"/>
          <ac:spMkLst>
            <pc:docMk/>
            <pc:sldMk cId="4270526946" sldId="329"/>
            <ac:spMk id="34" creationId="{AA1D8FA9-B92C-815E-87A4-039CCDA0CBF6}"/>
          </ac:spMkLst>
        </pc:spChg>
        <pc:spChg chg="mod ord">
          <ac:chgData name="Wenwen Zhang" userId="9dd81366-5d6f-445a-b031-6ea562624431" providerId="ADAL" clId="{3909E7CC-5EA5-469C-9AFF-9A201E30CD9D}" dt="2022-12-07T09:18:27.719" v="65527"/>
          <ac:spMkLst>
            <pc:docMk/>
            <pc:sldMk cId="4270526946" sldId="329"/>
            <ac:spMk id="36" creationId="{60C74DE7-D7C8-F669-6A4A-7252E5B8210A}"/>
          </ac:spMkLst>
        </pc:spChg>
        <pc:spChg chg="mod ord">
          <ac:chgData name="Wenwen Zhang" userId="9dd81366-5d6f-445a-b031-6ea562624431" providerId="ADAL" clId="{3909E7CC-5EA5-469C-9AFF-9A201E30CD9D}" dt="2022-12-07T09:18:27.719" v="65529"/>
          <ac:spMkLst>
            <pc:docMk/>
            <pc:sldMk cId="4270526946" sldId="329"/>
            <ac:spMk id="38" creationId="{04A0BAFB-2E91-0DB5-3387-C1140F96484B}"/>
          </ac:spMkLst>
        </pc:spChg>
        <pc:spChg chg="mod">
          <ac:chgData name="Wenwen Zhang" userId="9dd81366-5d6f-445a-b031-6ea562624431" providerId="ADAL" clId="{3909E7CC-5EA5-469C-9AFF-9A201E30CD9D}" dt="2022-12-07T09:18:44.399" v="65543"/>
          <ac:spMkLst>
            <pc:docMk/>
            <pc:sldMk cId="4270526946" sldId="329"/>
            <ac:spMk id="39" creationId="{BFC5A6D8-E32C-D751-0032-518AAC549602}"/>
          </ac:spMkLst>
        </pc:spChg>
        <pc:spChg chg="mod">
          <ac:chgData name="Wenwen Zhang" userId="9dd81366-5d6f-445a-b031-6ea562624431" providerId="ADAL" clId="{3909E7CC-5EA5-469C-9AFF-9A201E30CD9D}" dt="2022-12-07T09:18:44.399" v="65544"/>
          <ac:spMkLst>
            <pc:docMk/>
            <pc:sldMk cId="4270526946" sldId="329"/>
            <ac:spMk id="40" creationId="{6801922F-4EAB-75E2-75CB-8F3684177F32}"/>
          </ac:spMkLst>
        </pc:spChg>
        <pc:spChg chg="mod ord">
          <ac:chgData name="Wenwen Zhang" userId="9dd81366-5d6f-445a-b031-6ea562624431" providerId="ADAL" clId="{3909E7CC-5EA5-469C-9AFF-9A201E30CD9D}" dt="2022-12-07T09:18:27.716" v="65507"/>
          <ac:spMkLst>
            <pc:docMk/>
            <pc:sldMk cId="4270526946" sldId="329"/>
            <ac:spMk id="43" creationId="{C58C7321-3BF7-61DC-5B1A-AD075E56AE05}"/>
          </ac:spMkLst>
        </pc:spChg>
        <pc:spChg chg="add del mod modVis">
          <ac:chgData name="Wenwen Zhang" userId="9dd81366-5d6f-445a-b031-6ea562624431" providerId="ADAL" clId="{3909E7CC-5EA5-469C-9AFF-9A201E30CD9D}" dt="2022-12-06T18:20:33.144" v="61215"/>
          <ac:spMkLst>
            <pc:docMk/>
            <pc:sldMk cId="4270526946" sldId="329"/>
            <ac:spMk id="44" creationId="{F74EE5ED-CBE4-74CF-A47C-03D6A1588529}"/>
          </ac:spMkLst>
        </pc:spChg>
        <pc:spChg chg="mod">
          <ac:chgData name="Wenwen Zhang" userId="9dd81366-5d6f-445a-b031-6ea562624431" providerId="ADAL" clId="{3909E7CC-5EA5-469C-9AFF-9A201E30CD9D}" dt="2022-12-07T09:18:27.721" v="65534"/>
          <ac:spMkLst>
            <pc:docMk/>
            <pc:sldMk cId="4270526946" sldId="329"/>
            <ac:spMk id="45" creationId="{FDA37D37-D76E-8C85-BB3A-3FB73D989191}"/>
          </ac:spMkLst>
        </pc:spChg>
        <pc:spChg chg="mod">
          <ac:chgData name="Wenwen Zhang" userId="9dd81366-5d6f-445a-b031-6ea562624431" providerId="ADAL" clId="{3909E7CC-5EA5-469C-9AFF-9A201E30CD9D}" dt="2022-12-07T09:18:27.721" v="65535"/>
          <ac:spMkLst>
            <pc:docMk/>
            <pc:sldMk cId="4270526946" sldId="329"/>
            <ac:spMk id="46" creationId="{0E3BBB49-09AC-6936-C133-BF402756EEF9}"/>
          </ac:spMkLst>
        </pc:spChg>
        <pc:spChg chg="mod ord">
          <ac:chgData name="Wenwen Zhang" userId="9dd81366-5d6f-445a-b031-6ea562624431" providerId="ADAL" clId="{3909E7CC-5EA5-469C-9AFF-9A201E30CD9D}" dt="2022-12-07T09:18:27.721" v="65537"/>
          <ac:spMkLst>
            <pc:docMk/>
            <pc:sldMk cId="4270526946" sldId="329"/>
            <ac:spMk id="47" creationId="{F2CEB1AF-1C81-1586-90F4-6576A6E97F24}"/>
          </ac:spMkLst>
        </pc:spChg>
        <pc:spChg chg="add del mod modVis">
          <ac:chgData name="Wenwen Zhang" userId="9dd81366-5d6f-445a-b031-6ea562624431" providerId="ADAL" clId="{3909E7CC-5EA5-469C-9AFF-9A201E30CD9D}" dt="2022-12-06T18:20:36.893" v="61349"/>
          <ac:spMkLst>
            <pc:docMk/>
            <pc:sldMk cId="4270526946" sldId="329"/>
            <ac:spMk id="52" creationId="{BF6D786B-17EE-DA0D-FFAA-4266F9D384EF}"/>
          </ac:spMkLst>
        </pc:spChg>
        <pc:spChg chg="add del mod modVis">
          <ac:chgData name="Wenwen Zhang" userId="9dd81366-5d6f-445a-b031-6ea562624431" providerId="ADAL" clId="{3909E7CC-5EA5-469C-9AFF-9A201E30CD9D}" dt="2022-12-06T18:20:43.753" v="61495"/>
          <ac:spMkLst>
            <pc:docMk/>
            <pc:sldMk cId="4270526946" sldId="329"/>
            <ac:spMk id="58" creationId="{4C74E454-5623-0CDC-947F-B2A6059E9018}"/>
          </ac:spMkLst>
        </pc:spChg>
        <pc:spChg chg="add del mod modVis">
          <ac:chgData name="Wenwen Zhang" userId="9dd81366-5d6f-445a-b031-6ea562624431" providerId="ADAL" clId="{3909E7CC-5EA5-469C-9AFF-9A201E30CD9D}" dt="2022-12-06T18:20:46.597" v="61641"/>
          <ac:spMkLst>
            <pc:docMk/>
            <pc:sldMk cId="4270526946" sldId="329"/>
            <ac:spMk id="63" creationId="{FBFBECC9-3BE0-CD81-2927-597C9CB3583D}"/>
          </ac:spMkLst>
        </pc:spChg>
        <pc:graphicFrameChg chg="add del mod ord replST">
          <ac:chgData name="Wenwen Zhang" userId="9dd81366-5d6f-445a-b031-6ea562624431" providerId="ADAL" clId="{3909E7CC-5EA5-469C-9AFF-9A201E30CD9D}" dt="2022-12-06T18:20:03.803" v="60739"/>
          <ac:graphicFrameMkLst>
            <pc:docMk/>
            <pc:sldMk cId="4270526946" sldId="329"/>
            <ac:graphicFrameMk id="4" creationId="{6B0A2387-B526-F8DF-5C21-BC6DDE6AC920}"/>
          </ac:graphicFrameMkLst>
        </pc:graphicFrameChg>
        <pc:graphicFrameChg chg="add del mod ord replST">
          <ac:chgData name="Wenwen Zhang" userId="9dd81366-5d6f-445a-b031-6ea562624431" providerId="ADAL" clId="{3909E7CC-5EA5-469C-9AFF-9A201E30CD9D}" dt="2022-12-07T09:18:27.676" v="65475"/>
          <ac:graphicFrameMkLst>
            <pc:docMk/>
            <pc:sldMk cId="4270526946" sldId="329"/>
            <ac:graphicFrameMk id="4" creationId="{FDB398F3-B736-9490-2F62-5625B4700F31}"/>
          </ac:graphicFrameMkLst>
        </pc:graphicFrameChg>
        <pc:graphicFrameChg chg="add del mod ord replST">
          <ac:chgData name="Wenwen Zhang" userId="9dd81366-5d6f-445a-b031-6ea562624431" providerId="ADAL" clId="{3909E7CC-5EA5-469C-9AFF-9A201E30CD9D}" dt="2022-12-06T18:20:03.825" v="60749"/>
          <ac:graphicFrameMkLst>
            <pc:docMk/>
            <pc:sldMk cId="4270526946" sldId="329"/>
            <ac:graphicFrameMk id="5" creationId="{9F59E46C-774E-45DD-B828-8DE796D487F0}"/>
          </ac:graphicFrameMkLst>
        </pc:graphicFrameChg>
        <pc:graphicFrameChg chg="add del mod ord replST">
          <ac:chgData name="Wenwen Zhang" userId="9dd81366-5d6f-445a-b031-6ea562624431" providerId="ADAL" clId="{3909E7CC-5EA5-469C-9AFF-9A201E30CD9D}" dt="2022-12-07T09:18:27.691" v="65485"/>
          <ac:graphicFrameMkLst>
            <pc:docMk/>
            <pc:sldMk cId="4270526946" sldId="329"/>
            <ac:graphicFrameMk id="5" creationId="{C503B247-3217-6FDF-579C-B66126A5EFF6}"/>
          </ac:graphicFrameMkLst>
        </pc:graphicFrameChg>
        <pc:graphicFrameChg chg="add del mod ord replST">
          <ac:chgData name="Wenwen Zhang" userId="9dd81366-5d6f-445a-b031-6ea562624431" providerId="ADAL" clId="{3909E7CC-5EA5-469C-9AFF-9A201E30CD9D}" dt="2022-12-07T09:18:27.705" v="65495"/>
          <ac:graphicFrameMkLst>
            <pc:docMk/>
            <pc:sldMk cId="4270526946" sldId="329"/>
            <ac:graphicFrameMk id="6" creationId="{A8D431E4-6670-01BD-50FC-2A126EA0906D}"/>
          </ac:graphicFrameMkLst>
        </pc:graphicFrameChg>
        <pc:graphicFrameChg chg="add del mod ord replST">
          <ac:chgData name="Wenwen Zhang" userId="9dd81366-5d6f-445a-b031-6ea562624431" providerId="ADAL" clId="{3909E7CC-5EA5-469C-9AFF-9A201E30CD9D}" dt="2022-12-06T18:20:03.838" v="60759"/>
          <ac:graphicFrameMkLst>
            <pc:docMk/>
            <pc:sldMk cId="4270526946" sldId="329"/>
            <ac:graphicFrameMk id="6" creationId="{F5A9977A-E61E-AD15-ACD7-66E08D49B1EB}"/>
          </ac:graphicFrameMkLst>
        </pc:graphicFrameChg>
        <pc:graphicFrameChg chg="add mod ord replST">
          <ac:chgData name="Wenwen Zhang" userId="9dd81366-5d6f-445a-b031-6ea562624431" providerId="ADAL" clId="{3909E7CC-5EA5-469C-9AFF-9A201E30CD9D}" dt="2022-12-07T09:18:27.716" v="65509"/>
          <ac:graphicFrameMkLst>
            <pc:docMk/>
            <pc:sldMk cId="4270526946" sldId="329"/>
            <ac:graphicFrameMk id="7" creationId="{1455BBBE-10F6-D81F-A5B2-E954F08E13E4}"/>
          </ac:graphicFrameMkLst>
        </pc:graphicFrameChg>
        <pc:graphicFrameChg chg="add del mod ord replST">
          <ac:chgData name="Wenwen Zhang" userId="9dd81366-5d6f-445a-b031-6ea562624431" providerId="ADAL" clId="{3909E7CC-5EA5-469C-9AFF-9A201E30CD9D}" dt="2022-12-06T18:20:03.851" v="60769"/>
          <ac:graphicFrameMkLst>
            <pc:docMk/>
            <pc:sldMk cId="4270526946" sldId="329"/>
            <ac:graphicFrameMk id="7" creationId="{98A502A3-C003-5F7D-3FFE-8CE3596F91EC}"/>
          </ac:graphicFrameMkLst>
        </pc:graphicFrameChg>
        <pc:graphicFrameChg chg="add del mod ord replST">
          <ac:chgData name="Wenwen Zhang" userId="9dd81366-5d6f-445a-b031-6ea562624431" providerId="ADAL" clId="{3909E7CC-5EA5-469C-9AFF-9A201E30CD9D}" dt="2022-12-06T18:20:11.600" v="60832"/>
          <ac:graphicFrameMkLst>
            <pc:docMk/>
            <pc:sldMk cId="4270526946" sldId="329"/>
            <ac:graphicFrameMk id="8" creationId="{50DF9E95-EEC5-D571-0896-76078BF563DE}"/>
          </ac:graphicFrameMkLst>
        </pc:graphicFrameChg>
        <pc:graphicFrameChg chg="add mod ord replST">
          <ac:chgData name="Wenwen Zhang" userId="9dd81366-5d6f-445a-b031-6ea562624431" providerId="ADAL" clId="{3909E7CC-5EA5-469C-9AFF-9A201E30CD9D}" dt="2022-12-07T09:18:27.717" v="65517"/>
          <ac:graphicFrameMkLst>
            <pc:docMk/>
            <pc:sldMk cId="4270526946" sldId="329"/>
            <ac:graphicFrameMk id="8" creationId="{7FFBE0F9-3FEA-DEC2-F20E-5146F872738A}"/>
          </ac:graphicFrameMkLst>
        </pc:graphicFrameChg>
        <pc:graphicFrameChg chg="add mod ord replST">
          <ac:chgData name="Wenwen Zhang" userId="9dd81366-5d6f-445a-b031-6ea562624431" providerId="ADAL" clId="{3909E7CC-5EA5-469C-9AFF-9A201E30CD9D}" dt="2022-12-07T09:18:27.720" v="65533"/>
          <ac:graphicFrameMkLst>
            <pc:docMk/>
            <pc:sldMk cId="4270526946" sldId="329"/>
            <ac:graphicFrameMk id="10" creationId="{40226BD1-FED0-2191-141B-88B393A0A196}"/>
          </ac:graphicFrameMkLst>
        </pc:graphicFrameChg>
        <pc:graphicFrameChg chg="add del mod ord replST">
          <ac:chgData name="Wenwen Zhang" userId="9dd81366-5d6f-445a-b031-6ea562624431" providerId="ADAL" clId="{3909E7CC-5EA5-469C-9AFF-9A201E30CD9D}" dt="2022-12-06T18:20:11.653" v="60881"/>
          <ac:graphicFrameMkLst>
            <pc:docMk/>
            <pc:sldMk cId="4270526946" sldId="329"/>
            <ac:graphicFrameMk id="10" creationId="{AAE28009-55E7-5B9A-9279-9E94B1CBBC57}"/>
          </ac:graphicFrameMkLst>
        </pc:graphicFrameChg>
        <pc:graphicFrameChg chg="add del mod ord replST">
          <ac:chgData name="Wenwen Zhang" userId="9dd81366-5d6f-445a-b031-6ea562624431" providerId="ADAL" clId="{3909E7CC-5EA5-469C-9AFF-9A201E30CD9D}" dt="2022-12-06T18:20:11.668" v="60891"/>
          <ac:graphicFrameMkLst>
            <pc:docMk/>
            <pc:sldMk cId="4270526946" sldId="329"/>
            <ac:graphicFrameMk id="11" creationId="{F21B4493-5E97-E8F0-13C0-09CCC3B6670F}"/>
          </ac:graphicFrameMkLst>
        </pc:graphicFrameChg>
        <pc:graphicFrameChg chg="add del mod ord replST">
          <ac:chgData name="Wenwen Zhang" userId="9dd81366-5d6f-445a-b031-6ea562624431" providerId="ADAL" clId="{3909E7CC-5EA5-469C-9AFF-9A201E30CD9D}" dt="2022-12-06T18:20:11.680" v="60901"/>
          <ac:graphicFrameMkLst>
            <pc:docMk/>
            <pc:sldMk cId="4270526946" sldId="329"/>
            <ac:graphicFrameMk id="12" creationId="{F2B7E11B-E34A-7C3A-25BE-573C8C79B03C}"/>
          </ac:graphicFrameMkLst>
        </pc:graphicFrameChg>
        <pc:graphicFrameChg chg="add del mod ord replST">
          <ac:chgData name="Wenwen Zhang" userId="9dd81366-5d6f-445a-b031-6ea562624431" providerId="ADAL" clId="{3909E7CC-5EA5-469C-9AFF-9A201E30CD9D}" dt="2022-12-06T18:20:14.707" v="60966"/>
          <ac:graphicFrameMkLst>
            <pc:docMk/>
            <pc:sldMk cId="4270526946" sldId="329"/>
            <ac:graphicFrameMk id="13" creationId="{A9161070-2BFF-69A3-0F40-BB301E2C39AA}"/>
          </ac:graphicFrameMkLst>
        </pc:graphicFrameChg>
        <pc:graphicFrameChg chg="del">
          <ac:chgData name="Wenwen Zhang" userId="9dd81366-5d6f-445a-b031-6ea562624431" providerId="ADAL" clId="{3909E7CC-5EA5-469C-9AFF-9A201E30CD9D}" dt="2022-12-06T18:19:57.017" v="60641"/>
          <ac:graphicFrameMkLst>
            <pc:docMk/>
            <pc:sldMk cId="4270526946" sldId="329"/>
            <ac:graphicFrameMk id="14" creationId="{37FE89EE-5B6A-6CD3-F2BA-8CA5F89B5F3D}"/>
          </ac:graphicFrameMkLst>
        </pc:graphicFrameChg>
        <pc:graphicFrameChg chg="add del mod ord replST">
          <ac:chgData name="Wenwen Zhang" userId="9dd81366-5d6f-445a-b031-6ea562624431" providerId="ADAL" clId="{3909E7CC-5EA5-469C-9AFF-9A201E30CD9D}" dt="2022-12-06T18:20:14.750" v="61015"/>
          <ac:graphicFrameMkLst>
            <pc:docMk/>
            <pc:sldMk cId="4270526946" sldId="329"/>
            <ac:graphicFrameMk id="16" creationId="{3ED9DBEA-FBB3-B9AC-96AE-4ED9CD57EAE1}"/>
          </ac:graphicFrameMkLst>
        </pc:graphicFrameChg>
        <pc:graphicFrameChg chg="add del mod ord replST">
          <ac:chgData name="Wenwen Zhang" userId="9dd81366-5d6f-445a-b031-6ea562624431" providerId="ADAL" clId="{3909E7CC-5EA5-469C-9AFF-9A201E30CD9D}" dt="2022-12-06T18:20:14.763" v="61025"/>
          <ac:graphicFrameMkLst>
            <pc:docMk/>
            <pc:sldMk cId="4270526946" sldId="329"/>
            <ac:graphicFrameMk id="17" creationId="{77B9BA18-0F7F-AF32-DF02-9CEB9AD4AF2B}"/>
          </ac:graphicFrameMkLst>
        </pc:graphicFrameChg>
        <pc:graphicFrameChg chg="del">
          <ac:chgData name="Wenwen Zhang" userId="9dd81366-5d6f-445a-b031-6ea562624431" providerId="ADAL" clId="{3909E7CC-5EA5-469C-9AFF-9A201E30CD9D}" dt="2022-12-06T18:19:57.048" v="60655"/>
          <ac:graphicFrameMkLst>
            <pc:docMk/>
            <pc:sldMk cId="4270526946" sldId="329"/>
            <ac:graphicFrameMk id="18" creationId="{627BD503-FE77-D9F0-2A93-F378F57F0BD8}"/>
          </ac:graphicFrameMkLst>
        </pc:graphicFrameChg>
        <pc:graphicFrameChg chg="del">
          <ac:chgData name="Wenwen Zhang" userId="9dd81366-5d6f-445a-b031-6ea562624431" providerId="ADAL" clId="{3909E7CC-5EA5-469C-9AFF-9A201E30CD9D}" dt="2022-12-06T18:19:57.071" v="60669"/>
          <ac:graphicFrameMkLst>
            <pc:docMk/>
            <pc:sldMk cId="4270526946" sldId="329"/>
            <ac:graphicFrameMk id="20" creationId="{9B47CE27-5BA7-B253-76A0-1DEDD2631B48}"/>
          </ac:graphicFrameMkLst>
        </pc:graphicFrameChg>
        <pc:graphicFrameChg chg="del">
          <ac:chgData name="Wenwen Zhang" userId="9dd81366-5d6f-445a-b031-6ea562624431" providerId="ADAL" clId="{3909E7CC-5EA5-469C-9AFF-9A201E30CD9D}" dt="2022-12-06T18:19:57.102" v="60683"/>
          <ac:graphicFrameMkLst>
            <pc:docMk/>
            <pc:sldMk cId="4270526946" sldId="329"/>
            <ac:graphicFrameMk id="21" creationId="{C43ABD81-9114-C62E-B8C9-EE12FEF4BAC8}"/>
          </ac:graphicFrameMkLst>
        </pc:graphicFrameChg>
        <pc:graphicFrameChg chg="add del mod ord replST">
          <ac:chgData name="Wenwen Zhang" userId="9dd81366-5d6f-445a-b031-6ea562624431" providerId="ADAL" clId="{3909E7CC-5EA5-469C-9AFF-9A201E30CD9D}" dt="2022-12-06T18:20:14.775" v="61035"/>
          <ac:graphicFrameMkLst>
            <pc:docMk/>
            <pc:sldMk cId="4270526946" sldId="329"/>
            <ac:graphicFrameMk id="22" creationId="{D579ACFA-8FA7-F2BC-8F92-B6E18676688D}"/>
          </ac:graphicFrameMkLst>
        </pc:graphicFrameChg>
        <pc:graphicFrameChg chg="add del mod ord replST">
          <ac:chgData name="Wenwen Zhang" userId="9dd81366-5d6f-445a-b031-6ea562624431" providerId="ADAL" clId="{3909E7CC-5EA5-469C-9AFF-9A201E30CD9D}" dt="2022-12-06T18:20:33.026" v="61100"/>
          <ac:graphicFrameMkLst>
            <pc:docMk/>
            <pc:sldMk cId="4270526946" sldId="329"/>
            <ac:graphicFrameMk id="23" creationId="{1C15DF72-E4B1-2731-D1D1-BEC67E4468D6}"/>
          </ac:graphicFrameMkLst>
        </pc:graphicFrameChg>
        <pc:graphicFrameChg chg="add del mod ord replST">
          <ac:chgData name="Wenwen Zhang" userId="9dd81366-5d6f-445a-b031-6ea562624431" providerId="ADAL" clId="{3909E7CC-5EA5-469C-9AFF-9A201E30CD9D}" dt="2022-12-06T18:20:33.050" v="61110"/>
          <ac:graphicFrameMkLst>
            <pc:docMk/>
            <pc:sldMk cId="4270526946" sldId="329"/>
            <ac:graphicFrameMk id="27" creationId="{466A99CD-82F6-3680-B82D-AD1AA98CDE8A}"/>
          </ac:graphicFrameMkLst>
        </pc:graphicFrameChg>
        <pc:graphicFrameChg chg="mod">
          <ac:chgData name="Wenwen Zhang" userId="9dd81366-5d6f-445a-b031-6ea562624431" providerId="ADAL" clId="{3909E7CC-5EA5-469C-9AFF-9A201E30CD9D}" dt="2022-12-07T09:18:44.501" v="65685"/>
          <ac:graphicFrameMkLst>
            <pc:docMk/>
            <pc:sldMk cId="4270526946" sldId="329"/>
            <ac:graphicFrameMk id="28" creationId="{015DFAEE-F78A-C272-92CE-F25C3417CAD0}"/>
          </ac:graphicFrameMkLst>
        </pc:graphicFrameChg>
        <pc:graphicFrameChg chg="add del mod ord replST">
          <ac:chgData name="Wenwen Zhang" userId="9dd81366-5d6f-445a-b031-6ea562624431" providerId="ADAL" clId="{3909E7CC-5EA5-469C-9AFF-9A201E30CD9D}" dt="2022-12-06T18:20:33.098" v="61159"/>
          <ac:graphicFrameMkLst>
            <pc:docMk/>
            <pc:sldMk cId="4270526946" sldId="329"/>
            <ac:graphicFrameMk id="35" creationId="{0E831EDC-D45A-C035-7801-D16D4D96D448}"/>
          </ac:graphicFrameMkLst>
        </pc:graphicFrameChg>
        <pc:graphicFrameChg chg="add del mod ord replST">
          <ac:chgData name="Wenwen Zhang" userId="9dd81366-5d6f-445a-b031-6ea562624431" providerId="ADAL" clId="{3909E7CC-5EA5-469C-9AFF-9A201E30CD9D}" dt="2022-12-06T18:20:33.117" v="61169"/>
          <ac:graphicFrameMkLst>
            <pc:docMk/>
            <pc:sldMk cId="4270526946" sldId="329"/>
            <ac:graphicFrameMk id="37" creationId="{192F813E-7559-FAD7-E06B-AA5A0E544576}"/>
          </ac:graphicFrameMkLst>
        </pc:graphicFrameChg>
        <pc:graphicFrameChg chg="add del mod ord replST">
          <ac:chgData name="Wenwen Zhang" userId="9dd81366-5d6f-445a-b031-6ea562624431" providerId="ADAL" clId="{3909E7CC-5EA5-469C-9AFF-9A201E30CD9D}" dt="2022-12-06T18:20:36.799" v="61234"/>
          <ac:graphicFrameMkLst>
            <pc:docMk/>
            <pc:sldMk cId="4270526946" sldId="329"/>
            <ac:graphicFrameMk id="41" creationId="{5FF3310F-E81A-1677-D5BA-C64B2A44033D}"/>
          </ac:graphicFrameMkLst>
        </pc:graphicFrameChg>
        <pc:graphicFrameChg chg="add del mod ord replST">
          <ac:chgData name="Wenwen Zhang" userId="9dd81366-5d6f-445a-b031-6ea562624431" providerId="ADAL" clId="{3909E7CC-5EA5-469C-9AFF-9A201E30CD9D}" dt="2022-12-06T18:20:36.821" v="61244"/>
          <ac:graphicFrameMkLst>
            <pc:docMk/>
            <pc:sldMk cId="4270526946" sldId="329"/>
            <ac:graphicFrameMk id="42" creationId="{B9FB6DC3-7048-4F8D-FC3F-429BEABA6D9F}"/>
          </ac:graphicFrameMkLst>
        </pc:graphicFrameChg>
        <pc:graphicFrameChg chg="add del mod ord replST">
          <ac:chgData name="Wenwen Zhang" userId="9dd81366-5d6f-445a-b031-6ea562624431" providerId="ADAL" clId="{3909E7CC-5EA5-469C-9AFF-9A201E30CD9D}" dt="2022-12-06T18:20:36.861" v="61293"/>
          <ac:graphicFrameMkLst>
            <pc:docMk/>
            <pc:sldMk cId="4270526946" sldId="329"/>
            <ac:graphicFrameMk id="48" creationId="{68CDBB1B-5519-81FF-C131-AED996A84F37}"/>
          </ac:graphicFrameMkLst>
        </pc:graphicFrameChg>
        <pc:graphicFrameChg chg="add del mod ord replST">
          <ac:chgData name="Wenwen Zhang" userId="9dd81366-5d6f-445a-b031-6ea562624431" providerId="ADAL" clId="{3909E7CC-5EA5-469C-9AFF-9A201E30CD9D}" dt="2022-12-06T18:20:36.876" v="61303"/>
          <ac:graphicFrameMkLst>
            <pc:docMk/>
            <pc:sldMk cId="4270526946" sldId="329"/>
            <ac:graphicFrameMk id="49" creationId="{ADA8432E-C552-AAD9-0AC1-32595FF73046}"/>
          </ac:graphicFrameMkLst>
        </pc:graphicFrameChg>
        <pc:graphicFrameChg chg="add del mod ord replST">
          <ac:chgData name="Wenwen Zhang" userId="9dd81366-5d6f-445a-b031-6ea562624431" providerId="ADAL" clId="{3909E7CC-5EA5-469C-9AFF-9A201E30CD9D}" dt="2022-12-06T18:20:43.578" v="61372"/>
          <ac:graphicFrameMkLst>
            <pc:docMk/>
            <pc:sldMk cId="4270526946" sldId="329"/>
            <ac:graphicFrameMk id="50" creationId="{E176EE95-8E4E-C61A-F97E-C10F0DC91A55}"/>
          </ac:graphicFrameMkLst>
        </pc:graphicFrameChg>
        <pc:graphicFrameChg chg="add del mod ord replST">
          <ac:chgData name="Wenwen Zhang" userId="9dd81366-5d6f-445a-b031-6ea562624431" providerId="ADAL" clId="{3909E7CC-5EA5-469C-9AFF-9A201E30CD9D}" dt="2022-12-06T18:20:43.625" v="61386"/>
          <ac:graphicFrameMkLst>
            <pc:docMk/>
            <pc:sldMk cId="4270526946" sldId="329"/>
            <ac:graphicFrameMk id="51" creationId="{A03CC68C-7B8C-5F2E-3C0E-01EFE4EB513D}"/>
          </ac:graphicFrameMkLst>
        </pc:graphicFrameChg>
        <pc:graphicFrameChg chg="add del mod ord replST">
          <ac:chgData name="Wenwen Zhang" userId="9dd81366-5d6f-445a-b031-6ea562624431" providerId="ADAL" clId="{3909E7CC-5EA5-469C-9AFF-9A201E30CD9D}" dt="2022-12-06T18:20:43.658" v="61400"/>
          <ac:graphicFrameMkLst>
            <pc:docMk/>
            <pc:sldMk cId="4270526946" sldId="329"/>
            <ac:graphicFrameMk id="53" creationId="{89DEE3F9-FB20-9F1F-4B3F-3A9F294408F7}"/>
          </ac:graphicFrameMkLst>
        </pc:graphicFrameChg>
        <pc:graphicFrameChg chg="add del mod ord replST">
          <ac:chgData name="Wenwen Zhang" userId="9dd81366-5d6f-445a-b031-6ea562624431" providerId="ADAL" clId="{3909E7CC-5EA5-469C-9AFF-9A201E30CD9D}" dt="2022-12-06T18:20:43.726" v="61449"/>
          <ac:graphicFrameMkLst>
            <pc:docMk/>
            <pc:sldMk cId="4270526946" sldId="329"/>
            <ac:graphicFrameMk id="54" creationId="{C274CF47-F3D4-40A6-17F3-50009CA821BB}"/>
          </ac:graphicFrameMkLst>
        </pc:graphicFrameChg>
        <pc:graphicFrameChg chg="add del mod ord replST">
          <ac:chgData name="Wenwen Zhang" userId="9dd81366-5d6f-445a-b031-6ea562624431" providerId="ADAL" clId="{3909E7CC-5EA5-469C-9AFF-9A201E30CD9D}" dt="2022-12-06T18:20:46.504" v="61518"/>
          <ac:graphicFrameMkLst>
            <pc:docMk/>
            <pc:sldMk cId="4270526946" sldId="329"/>
            <ac:graphicFrameMk id="55" creationId="{3B9897E4-A319-E798-FBF7-341098E775C6}"/>
          </ac:graphicFrameMkLst>
        </pc:graphicFrameChg>
        <pc:graphicFrameChg chg="add del mod ord replST">
          <ac:chgData name="Wenwen Zhang" userId="9dd81366-5d6f-445a-b031-6ea562624431" providerId="ADAL" clId="{3909E7CC-5EA5-469C-9AFF-9A201E30CD9D}" dt="2022-12-06T18:20:46.526" v="61532"/>
          <ac:graphicFrameMkLst>
            <pc:docMk/>
            <pc:sldMk cId="4270526946" sldId="329"/>
            <ac:graphicFrameMk id="56" creationId="{4FAD9C9A-5E8D-62F8-00FE-4641F257077C}"/>
          </ac:graphicFrameMkLst>
        </pc:graphicFrameChg>
        <pc:graphicFrameChg chg="add del mod ord replST">
          <ac:chgData name="Wenwen Zhang" userId="9dd81366-5d6f-445a-b031-6ea562624431" providerId="ADAL" clId="{3909E7CC-5EA5-469C-9AFF-9A201E30CD9D}" dt="2022-12-06T18:20:46.539" v="61546"/>
          <ac:graphicFrameMkLst>
            <pc:docMk/>
            <pc:sldMk cId="4270526946" sldId="329"/>
            <ac:graphicFrameMk id="57" creationId="{4A31B927-C2DE-E541-B06D-8467F72AA793}"/>
          </ac:graphicFrameMkLst>
        </pc:graphicFrameChg>
        <pc:graphicFrameChg chg="add del mod ord replST">
          <ac:chgData name="Wenwen Zhang" userId="9dd81366-5d6f-445a-b031-6ea562624431" providerId="ADAL" clId="{3909E7CC-5EA5-469C-9AFF-9A201E30CD9D}" dt="2022-12-06T18:20:46.576" v="61595"/>
          <ac:graphicFrameMkLst>
            <pc:docMk/>
            <pc:sldMk cId="4270526946" sldId="329"/>
            <ac:graphicFrameMk id="59" creationId="{26FC96E8-E083-FA78-B5AF-DF7FB596A984}"/>
          </ac:graphicFrameMkLst>
        </pc:graphicFrameChg>
        <pc:graphicFrameChg chg="add del mod ord replST">
          <ac:chgData name="Wenwen Zhang" userId="9dd81366-5d6f-445a-b031-6ea562624431" providerId="ADAL" clId="{3909E7CC-5EA5-469C-9AFF-9A201E30CD9D}" dt="2022-12-07T09:18:24.141" v="65391"/>
          <ac:graphicFrameMkLst>
            <pc:docMk/>
            <pc:sldMk cId="4270526946" sldId="329"/>
            <ac:graphicFrameMk id="60" creationId="{DCD4A281-98B0-FD26-55FD-C1D4DD338C98}"/>
          </ac:graphicFrameMkLst>
        </pc:graphicFrameChg>
        <pc:graphicFrameChg chg="add mod ord replST">
          <ac:chgData name="Wenwen Zhang" userId="9dd81366-5d6f-445a-b031-6ea562624431" providerId="ADAL" clId="{3909E7CC-5EA5-469C-9AFF-9A201E30CD9D}" dt="2022-12-07T09:18:27.716" v="65513"/>
          <ac:graphicFrameMkLst>
            <pc:docMk/>
            <pc:sldMk cId="4270526946" sldId="329"/>
            <ac:graphicFrameMk id="61" creationId="{74E22699-35BD-9659-6CAC-2D2765866631}"/>
          </ac:graphicFrameMkLst>
        </pc:graphicFrameChg>
        <pc:graphicFrameChg chg="add del mod ord replST">
          <ac:chgData name="Wenwen Zhang" userId="9dd81366-5d6f-445a-b031-6ea562624431" providerId="ADAL" clId="{3909E7CC-5EA5-469C-9AFF-9A201E30CD9D}" dt="2022-12-07T09:18:24.161" v="65405"/>
          <ac:graphicFrameMkLst>
            <pc:docMk/>
            <pc:sldMk cId="4270526946" sldId="329"/>
            <ac:graphicFrameMk id="62" creationId="{8ED7BB18-1BB8-C387-216B-FDD8CD0E3205}"/>
          </ac:graphicFrameMkLst>
        </pc:graphicFrameChg>
        <pc:graphicFrameChg chg="add del mod ord replST">
          <ac:chgData name="Wenwen Zhang" userId="9dd81366-5d6f-445a-b031-6ea562624431" providerId="ADAL" clId="{3909E7CC-5EA5-469C-9AFF-9A201E30CD9D}" dt="2022-12-07T09:18:24.180" v="65419"/>
          <ac:graphicFrameMkLst>
            <pc:docMk/>
            <pc:sldMk cId="4270526946" sldId="329"/>
            <ac:graphicFrameMk id="64" creationId="{C72854FA-068C-8352-FF18-388EB588631A}"/>
          </ac:graphicFrameMkLst>
        </pc:graphicFrameChg>
      </pc:sldChg>
      <pc:sldChg chg="addSp delSp modSp mod ord modNotesTx">
        <pc:chgData name="Wenwen Zhang" userId="9dd81366-5d6f-445a-b031-6ea562624431" providerId="ADAL" clId="{3909E7CC-5EA5-469C-9AFF-9A201E30CD9D}" dt="2022-12-06T16:47:26.573" v="57404" actId="20577"/>
        <pc:sldMkLst>
          <pc:docMk/>
          <pc:sldMk cId="2884773076" sldId="2134804360"/>
        </pc:sldMkLst>
        <pc:spChg chg="mod">
          <ac:chgData name="Wenwen Zhang" userId="9dd81366-5d6f-445a-b031-6ea562624431" providerId="ADAL" clId="{3909E7CC-5EA5-469C-9AFF-9A201E30CD9D}" dt="2022-12-06T09:44:43.544" v="43550" actId="1076"/>
          <ac:spMkLst>
            <pc:docMk/>
            <pc:sldMk cId="2884773076" sldId="2134804360"/>
            <ac:spMk id="5" creationId="{B1C7F52F-C566-AF5C-07F0-48C6788B0B96}"/>
          </ac:spMkLst>
        </pc:spChg>
        <pc:spChg chg="add mod ord">
          <ac:chgData name="Wenwen Zhang" userId="9dd81366-5d6f-445a-b031-6ea562624431" providerId="ADAL" clId="{3909E7CC-5EA5-469C-9AFF-9A201E30CD9D}" dt="2022-12-06T09:54:49.174" v="43675"/>
          <ac:spMkLst>
            <pc:docMk/>
            <pc:sldMk cId="2884773076" sldId="2134804360"/>
            <ac:spMk id="7" creationId="{8890DF3E-BC77-6ED6-424D-CBE88FB93210}"/>
          </ac:spMkLst>
        </pc:spChg>
        <pc:spChg chg="add del mod">
          <ac:chgData name="Wenwen Zhang" userId="9dd81366-5d6f-445a-b031-6ea562624431" providerId="ADAL" clId="{3909E7CC-5EA5-469C-9AFF-9A201E30CD9D}" dt="2022-12-06T11:41:57.449" v="47124"/>
          <ac:spMkLst>
            <pc:docMk/>
            <pc:sldMk cId="2884773076" sldId="2134804360"/>
            <ac:spMk id="24" creationId="{994D9EFD-59F7-A7C2-964C-CF40891E4552}"/>
          </ac:spMkLst>
        </pc:spChg>
        <pc:spChg chg="add del mod">
          <ac:chgData name="Wenwen Zhang" userId="9dd81366-5d6f-445a-b031-6ea562624431" providerId="ADAL" clId="{3909E7CC-5EA5-469C-9AFF-9A201E30CD9D}" dt="2022-12-06T16:47:09.012" v="57381" actId="478"/>
          <ac:spMkLst>
            <pc:docMk/>
            <pc:sldMk cId="2884773076" sldId="2134804360"/>
            <ac:spMk id="25" creationId="{23FA8B2F-BE22-DB9F-144E-21E4DF6D7696}"/>
          </ac:spMkLst>
        </pc:spChg>
        <pc:grpChg chg="mod ord">
          <ac:chgData name="Wenwen Zhang" userId="9dd81366-5d6f-445a-b031-6ea562624431" providerId="ADAL" clId="{3909E7CC-5EA5-469C-9AFF-9A201E30CD9D}" dt="2022-12-06T09:54:49.173" v="43673"/>
          <ac:grpSpMkLst>
            <pc:docMk/>
            <pc:sldMk cId="2884773076" sldId="2134804360"/>
            <ac:grpSpMk id="11" creationId="{29671453-A171-DBA9-E86D-1725DD3EF2AC}"/>
          </ac:grpSpMkLst>
        </pc:grpChg>
        <pc:graphicFrameChg chg="mod">
          <ac:chgData name="Wenwen Zhang" userId="9dd81366-5d6f-445a-b031-6ea562624431" providerId="ADAL" clId="{3909E7CC-5EA5-469C-9AFF-9A201E30CD9D}" dt="2022-12-06T09:54:49.176" v="43679"/>
          <ac:graphicFrameMkLst>
            <pc:docMk/>
            <pc:sldMk cId="2884773076" sldId="2134804360"/>
            <ac:graphicFrameMk id="9" creationId="{9E623100-FD89-1DB8-6F4F-B410DD8D5A15}"/>
          </ac:graphicFrameMkLst>
        </pc:graphicFrameChg>
        <pc:picChg chg="del">
          <ac:chgData name="Wenwen Zhang" userId="9dd81366-5d6f-445a-b031-6ea562624431" providerId="ADAL" clId="{3909E7CC-5EA5-469C-9AFF-9A201E30CD9D}" dt="2022-12-06T09:32:18.424" v="43435" actId="478"/>
          <ac:picMkLst>
            <pc:docMk/>
            <pc:sldMk cId="2884773076" sldId="2134804360"/>
            <ac:picMk id="3" creationId="{F2C8E369-B952-7B4F-09C6-7B499CC9ECB9}"/>
          </ac:picMkLst>
        </pc:picChg>
        <pc:picChg chg="add del mod ord">
          <ac:chgData name="Wenwen Zhang" userId="9dd81366-5d6f-445a-b031-6ea562624431" providerId="ADAL" clId="{3909E7CC-5EA5-469C-9AFF-9A201E30CD9D}" dt="2022-12-06T09:41:31.959" v="43476" actId="478"/>
          <ac:picMkLst>
            <pc:docMk/>
            <pc:sldMk cId="2884773076" sldId="2134804360"/>
            <ac:picMk id="4" creationId="{F627F301-54EB-4E3A-4A7C-121DB9C68080}"/>
          </ac:picMkLst>
        </pc:picChg>
        <pc:picChg chg="add del mod ord">
          <ac:chgData name="Wenwen Zhang" userId="9dd81366-5d6f-445a-b031-6ea562624431" providerId="ADAL" clId="{3909E7CC-5EA5-469C-9AFF-9A201E30CD9D}" dt="2022-12-06T09:43:15.447" v="43506" actId="478"/>
          <ac:picMkLst>
            <pc:docMk/>
            <pc:sldMk cId="2884773076" sldId="2134804360"/>
            <ac:picMk id="10" creationId="{807EC7AE-52A8-E9BB-9CCB-EA4D7293CB5C}"/>
          </ac:picMkLst>
        </pc:picChg>
        <pc:picChg chg="add del">
          <ac:chgData name="Wenwen Zhang" userId="9dd81366-5d6f-445a-b031-6ea562624431" providerId="ADAL" clId="{3909E7CC-5EA5-469C-9AFF-9A201E30CD9D}" dt="2022-12-06T09:43:21.987" v="43509" actId="478"/>
          <ac:picMkLst>
            <pc:docMk/>
            <pc:sldMk cId="2884773076" sldId="2134804360"/>
            <ac:picMk id="13" creationId="{7312B5BB-AF70-76C2-1767-924E220B4A0D}"/>
          </ac:picMkLst>
        </pc:picChg>
        <pc:picChg chg="add del mod ord modCrop">
          <ac:chgData name="Wenwen Zhang" userId="9dd81366-5d6f-445a-b031-6ea562624431" providerId="ADAL" clId="{3909E7CC-5EA5-469C-9AFF-9A201E30CD9D}" dt="2022-12-06T09:49:53.272" v="43585" actId="478"/>
          <ac:picMkLst>
            <pc:docMk/>
            <pc:sldMk cId="2884773076" sldId="2134804360"/>
            <ac:picMk id="15" creationId="{E0CE22B1-9107-89AD-FC74-79BCB19F8099}"/>
          </ac:picMkLst>
        </pc:picChg>
        <pc:picChg chg="add del mod ord modCrop">
          <ac:chgData name="Wenwen Zhang" userId="9dd81366-5d6f-445a-b031-6ea562624431" providerId="ADAL" clId="{3909E7CC-5EA5-469C-9AFF-9A201E30CD9D}" dt="2022-12-06T09:53:03.953" v="43639" actId="478"/>
          <ac:picMkLst>
            <pc:docMk/>
            <pc:sldMk cId="2884773076" sldId="2134804360"/>
            <ac:picMk id="17" creationId="{FB5BCECA-CBAC-9427-CBC4-E57D7BF07932}"/>
          </ac:picMkLst>
        </pc:picChg>
        <pc:picChg chg="add del mod">
          <ac:chgData name="Wenwen Zhang" userId="9dd81366-5d6f-445a-b031-6ea562624431" providerId="ADAL" clId="{3909E7CC-5EA5-469C-9AFF-9A201E30CD9D}" dt="2022-12-06T09:52:45.070" v="43637" actId="22"/>
          <ac:picMkLst>
            <pc:docMk/>
            <pc:sldMk cId="2884773076" sldId="2134804360"/>
            <ac:picMk id="19" creationId="{E4DC0893-3A65-3CCE-E2CF-4DE22FE759C0}"/>
          </ac:picMkLst>
        </pc:picChg>
        <pc:picChg chg="add del mod ord modCrop">
          <ac:chgData name="Wenwen Zhang" userId="9dd81366-5d6f-445a-b031-6ea562624431" providerId="ADAL" clId="{3909E7CC-5EA5-469C-9AFF-9A201E30CD9D}" dt="2022-12-06T09:54:04.330" v="43661" actId="478"/>
          <ac:picMkLst>
            <pc:docMk/>
            <pc:sldMk cId="2884773076" sldId="2134804360"/>
            <ac:picMk id="21" creationId="{79A4126F-69B2-5DD7-243A-202CF217D3EE}"/>
          </ac:picMkLst>
        </pc:picChg>
        <pc:picChg chg="add mod ord modCrop">
          <ac:chgData name="Wenwen Zhang" userId="9dd81366-5d6f-445a-b031-6ea562624431" providerId="ADAL" clId="{3909E7CC-5EA5-469C-9AFF-9A201E30CD9D}" dt="2022-12-06T11:42:16.298" v="47134" actId="1076"/>
          <ac:picMkLst>
            <pc:docMk/>
            <pc:sldMk cId="2884773076" sldId="2134804360"/>
            <ac:picMk id="23" creationId="{6DE7413D-4F6C-7D77-5CD9-F3A5B551E965}"/>
          </ac:picMkLst>
        </pc:picChg>
      </pc:sldChg>
      <pc:sldChg chg="addSp delSp modSp add mod modNotesTx">
        <pc:chgData name="Wenwen Zhang" userId="9dd81366-5d6f-445a-b031-6ea562624431" providerId="ADAL" clId="{3909E7CC-5EA5-469C-9AFF-9A201E30CD9D}" dt="2022-12-06T22:06:30.302" v="65340"/>
        <pc:sldMkLst>
          <pc:docMk/>
          <pc:sldMk cId="853588367" sldId="2134804361"/>
        </pc:sldMkLst>
        <pc:spChg chg="mod ord">
          <ac:chgData name="Wenwen Zhang" userId="9dd81366-5d6f-445a-b031-6ea562624431" providerId="ADAL" clId="{3909E7CC-5EA5-469C-9AFF-9A201E30CD9D}" dt="2022-12-06T22:06:30.270" v="65246"/>
          <ac:spMkLst>
            <pc:docMk/>
            <pc:sldMk cId="853588367" sldId="2134804361"/>
            <ac:spMk id="2" creationId="{B065B79C-C4D6-5961-7919-6BB68C420868}"/>
          </ac:spMkLst>
        </pc:spChg>
        <pc:spChg chg="add del mod modVis">
          <ac:chgData name="Wenwen Zhang" userId="9dd81366-5d6f-445a-b031-6ea562624431" providerId="ADAL" clId="{3909E7CC-5EA5-469C-9AFF-9A201E30CD9D}" dt="2022-12-05T21:39:51.644" v="110"/>
          <ac:spMkLst>
            <pc:docMk/>
            <pc:sldMk cId="853588367" sldId="2134804361"/>
            <ac:spMk id="3" creationId="{413ED1B3-7C45-B181-1830-639991EAE9AB}"/>
          </ac:spMkLst>
        </pc:spChg>
        <pc:spChg chg="add del mod modVis">
          <ac:chgData name="Wenwen Zhang" userId="9dd81366-5d6f-445a-b031-6ea562624431" providerId="ADAL" clId="{3909E7CC-5EA5-469C-9AFF-9A201E30CD9D}" dt="2022-12-06T22:05:52.608" v="62401"/>
          <ac:spMkLst>
            <pc:docMk/>
            <pc:sldMk cId="853588367" sldId="2134804361"/>
            <ac:spMk id="3" creationId="{6F6359DE-6EDE-71E4-64F5-98E6E4018AB0}"/>
          </ac:spMkLst>
        </pc:spChg>
        <pc:spChg chg="add del mod modVis">
          <ac:chgData name="Wenwen Zhang" userId="9dd81366-5d6f-445a-b031-6ea562624431" providerId="ADAL" clId="{3909E7CC-5EA5-469C-9AFF-9A201E30CD9D}" dt="2022-12-06T22:05:56.413" v="62572"/>
          <ac:spMkLst>
            <pc:docMk/>
            <pc:sldMk cId="853588367" sldId="2134804361"/>
            <ac:spMk id="5" creationId="{F73B021F-8F4A-BE50-F89C-EE0809A3A3AE}"/>
          </ac:spMkLst>
        </pc:spChg>
        <pc:spChg chg="add del mod ord">
          <ac:chgData name="Wenwen Zhang" userId="9dd81366-5d6f-445a-b031-6ea562624431" providerId="ADAL" clId="{3909E7CC-5EA5-469C-9AFF-9A201E30CD9D}" dt="2022-12-05T21:40:34.667" v="6219"/>
          <ac:spMkLst>
            <pc:docMk/>
            <pc:sldMk cId="853588367" sldId="2134804361"/>
            <ac:spMk id="7" creationId="{8948D877-5340-B660-D39F-2E0DE0608122}"/>
          </ac:spMkLst>
        </pc:spChg>
        <pc:spChg chg="add del mod modVis">
          <ac:chgData name="Wenwen Zhang" userId="9dd81366-5d6f-445a-b031-6ea562624431" providerId="ADAL" clId="{3909E7CC-5EA5-469C-9AFF-9A201E30CD9D}" dt="2022-12-06T22:06:05.177" v="63214"/>
          <ac:spMkLst>
            <pc:docMk/>
            <pc:sldMk cId="853588367" sldId="2134804361"/>
            <ac:spMk id="7" creationId="{DA1A87A7-F38F-0558-75FA-E5ABE0D0F1BE}"/>
          </ac:spMkLst>
        </pc:spChg>
        <pc:spChg chg="add del mod ord">
          <ac:chgData name="Wenwen Zhang" userId="9dd81366-5d6f-445a-b031-6ea562624431" providerId="ADAL" clId="{3909E7CC-5EA5-469C-9AFF-9A201E30CD9D}" dt="2022-12-05T21:40:34.667" v="6219"/>
          <ac:spMkLst>
            <pc:docMk/>
            <pc:sldMk cId="853588367" sldId="2134804361"/>
            <ac:spMk id="8" creationId="{DDA09C24-C70A-A8C2-0F46-9BA4FD89E5FB}"/>
          </ac:spMkLst>
        </pc:spChg>
        <pc:spChg chg="del mod">
          <ac:chgData name="Wenwen Zhang" userId="9dd81366-5d6f-445a-b031-6ea562624431" providerId="ADAL" clId="{3909E7CC-5EA5-469C-9AFF-9A201E30CD9D}" dt="2022-12-05T21:39:59.875" v="155"/>
          <ac:spMkLst>
            <pc:docMk/>
            <pc:sldMk cId="853588367" sldId="2134804361"/>
            <ac:spMk id="9" creationId="{930103B3-3CFE-D4B3-FFB6-B99BF869F93A}"/>
          </ac:spMkLst>
        </pc:spChg>
        <pc:spChg chg="add del mod modVis">
          <ac:chgData name="Wenwen Zhang" userId="9dd81366-5d6f-445a-b031-6ea562624431" providerId="ADAL" clId="{3909E7CC-5EA5-469C-9AFF-9A201E30CD9D}" dt="2022-12-06T22:06:08.761" v="63424"/>
          <ac:spMkLst>
            <pc:docMk/>
            <pc:sldMk cId="853588367" sldId="2134804361"/>
            <ac:spMk id="9" creationId="{9B85A875-FA8C-065F-8CE2-0BAA58AD32AD}"/>
          </ac:spMkLst>
        </pc:spChg>
        <pc:spChg chg="add del mod ord">
          <ac:chgData name="Wenwen Zhang" userId="9dd81366-5d6f-445a-b031-6ea562624431" providerId="ADAL" clId="{3909E7CC-5EA5-469C-9AFF-9A201E30CD9D}" dt="2022-12-05T21:40:34.667" v="6219"/>
          <ac:spMkLst>
            <pc:docMk/>
            <pc:sldMk cId="853588367" sldId="2134804361"/>
            <ac:spMk id="10" creationId="{7D590613-2CA7-6E3F-FC4A-B18E7A518DC6}"/>
          </ac:spMkLst>
        </pc:spChg>
        <pc:spChg chg="add del mod ord">
          <ac:chgData name="Wenwen Zhang" userId="9dd81366-5d6f-445a-b031-6ea562624431" providerId="ADAL" clId="{3909E7CC-5EA5-469C-9AFF-9A201E30CD9D}" dt="2022-12-05T21:40:34.667" v="6219"/>
          <ac:spMkLst>
            <pc:docMk/>
            <pc:sldMk cId="853588367" sldId="2134804361"/>
            <ac:spMk id="11" creationId="{58DE7C40-641B-A9D2-8AA6-7E2847FFAD07}"/>
          </ac:spMkLst>
        </pc:spChg>
        <pc:spChg chg="add del mod modVis">
          <ac:chgData name="Wenwen Zhang" userId="9dd81366-5d6f-445a-b031-6ea562624431" providerId="ADAL" clId="{3909E7CC-5EA5-469C-9AFF-9A201E30CD9D}" dt="2022-12-06T22:06:16.693" v="64196"/>
          <ac:spMkLst>
            <pc:docMk/>
            <pc:sldMk cId="853588367" sldId="2134804361"/>
            <ac:spMk id="11" creationId="{B32FD4E4-25A0-4337-3ABA-A68A634381C7}"/>
          </ac:spMkLst>
        </pc:spChg>
        <pc:spChg chg="add del mod modVis">
          <ac:chgData name="Wenwen Zhang" userId="9dd81366-5d6f-445a-b031-6ea562624431" providerId="ADAL" clId="{3909E7CC-5EA5-469C-9AFF-9A201E30CD9D}" dt="2022-12-06T22:06:20.277" v="64367"/>
          <ac:spMkLst>
            <pc:docMk/>
            <pc:sldMk cId="853588367" sldId="2134804361"/>
            <ac:spMk id="13" creationId="{383B799D-5717-01CD-E533-FDADCCB8C83F}"/>
          </ac:spMkLst>
        </pc:spChg>
        <pc:spChg chg="add del mod replST">
          <ac:chgData name="Wenwen Zhang" userId="9dd81366-5d6f-445a-b031-6ea562624431" providerId="ADAL" clId="{3909E7CC-5EA5-469C-9AFF-9A201E30CD9D}" dt="2022-12-05T21:40:34.667" v="6219"/>
          <ac:spMkLst>
            <pc:docMk/>
            <pc:sldMk cId="853588367" sldId="2134804361"/>
            <ac:spMk id="15" creationId="{3321FE09-8A11-D139-55D2-31E09F71E56D}"/>
          </ac:spMkLst>
        </pc:spChg>
        <pc:spChg chg="add del mod modVis">
          <ac:chgData name="Wenwen Zhang" userId="9dd81366-5d6f-445a-b031-6ea562624431" providerId="ADAL" clId="{3909E7CC-5EA5-469C-9AFF-9A201E30CD9D}" dt="2022-12-06T22:06:27.437" v="65155"/>
          <ac:spMkLst>
            <pc:docMk/>
            <pc:sldMk cId="853588367" sldId="2134804361"/>
            <ac:spMk id="15" creationId="{A226A182-639D-EE7F-D761-59A486BFF2AE}"/>
          </ac:spMkLst>
        </pc:spChg>
        <pc:spChg chg="add del mod replST">
          <ac:chgData name="Wenwen Zhang" userId="9dd81366-5d6f-445a-b031-6ea562624431" providerId="ADAL" clId="{3909E7CC-5EA5-469C-9AFF-9A201E30CD9D}" dt="2022-12-05T21:40:34.667" v="6219"/>
          <ac:spMkLst>
            <pc:docMk/>
            <pc:sldMk cId="853588367" sldId="2134804361"/>
            <ac:spMk id="16" creationId="{9CD6DCF1-B7C7-DB2B-0EA8-E6018DDFD695}"/>
          </ac:spMkLst>
        </pc:spChg>
        <pc:spChg chg="add del mod replST">
          <ac:chgData name="Wenwen Zhang" userId="9dd81366-5d6f-445a-b031-6ea562624431" providerId="ADAL" clId="{3909E7CC-5EA5-469C-9AFF-9A201E30CD9D}" dt="2022-12-05T21:40:34.667" v="6219"/>
          <ac:spMkLst>
            <pc:docMk/>
            <pc:sldMk cId="853588367" sldId="2134804361"/>
            <ac:spMk id="17" creationId="{84ECE192-9A76-FBF5-372C-84893AE8597D}"/>
          </ac:spMkLst>
        </pc:spChg>
        <pc:spChg chg="add del mod modVis">
          <ac:chgData name="Wenwen Zhang" userId="9dd81366-5d6f-445a-b031-6ea562624431" providerId="ADAL" clId="{3909E7CC-5EA5-469C-9AFF-9A201E30CD9D}" dt="2022-12-06T22:06:30.289" v="65338"/>
          <ac:spMkLst>
            <pc:docMk/>
            <pc:sldMk cId="853588367" sldId="2134804361"/>
            <ac:spMk id="17" creationId="{A5BA3497-883C-8E2C-E635-11E35023DF0E}"/>
          </ac:spMkLst>
        </pc:spChg>
        <pc:spChg chg="del mod">
          <ac:chgData name="Wenwen Zhang" userId="9dd81366-5d6f-445a-b031-6ea562624431" providerId="ADAL" clId="{3909E7CC-5EA5-469C-9AFF-9A201E30CD9D}" dt="2022-12-05T21:39:59.876" v="156"/>
          <ac:spMkLst>
            <pc:docMk/>
            <pc:sldMk cId="853588367" sldId="2134804361"/>
            <ac:spMk id="19" creationId="{2BF0481C-3F0F-AB06-DE88-4997B47DBE83}"/>
          </ac:spMkLst>
        </pc:spChg>
        <pc:spChg chg="add del mod replST">
          <ac:chgData name="Wenwen Zhang" userId="9dd81366-5d6f-445a-b031-6ea562624431" providerId="ADAL" clId="{3909E7CC-5EA5-469C-9AFF-9A201E30CD9D}" dt="2022-12-05T21:40:34.667" v="6219"/>
          <ac:spMkLst>
            <pc:docMk/>
            <pc:sldMk cId="853588367" sldId="2134804361"/>
            <ac:spMk id="22" creationId="{D964D63C-CF75-31C8-E64A-1F9B10A82DCE}"/>
          </ac:spMkLst>
        </pc:spChg>
        <pc:spChg chg="add del mod replST">
          <ac:chgData name="Wenwen Zhang" userId="9dd81366-5d6f-445a-b031-6ea562624431" providerId="ADAL" clId="{3909E7CC-5EA5-469C-9AFF-9A201E30CD9D}" dt="2022-12-05T21:40:34.667" v="6219"/>
          <ac:spMkLst>
            <pc:docMk/>
            <pc:sldMk cId="853588367" sldId="2134804361"/>
            <ac:spMk id="23" creationId="{035EC531-5209-ABAC-9C3E-F93FF475CE44}"/>
          </ac:spMkLst>
        </pc:spChg>
        <pc:spChg chg="add del mod replST">
          <ac:chgData name="Wenwen Zhang" userId="9dd81366-5d6f-445a-b031-6ea562624431" providerId="ADAL" clId="{3909E7CC-5EA5-469C-9AFF-9A201E30CD9D}" dt="2022-12-05T21:40:34.667" v="6219"/>
          <ac:spMkLst>
            <pc:docMk/>
            <pc:sldMk cId="853588367" sldId="2134804361"/>
            <ac:spMk id="24" creationId="{9776CADC-8A29-C986-E257-859CD0043492}"/>
          </ac:spMkLst>
        </pc:spChg>
        <pc:spChg chg="del">
          <ac:chgData name="Wenwen Zhang" userId="9dd81366-5d6f-445a-b031-6ea562624431" providerId="ADAL" clId="{3909E7CC-5EA5-469C-9AFF-9A201E30CD9D}" dt="2022-12-05T21:39:51.569" v="3"/>
          <ac:spMkLst>
            <pc:docMk/>
            <pc:sldMk cId="853588367" sldId="2134804361"/>
            <ac:spMk id="25" creationId="{81DEA806-9E6B-0A47-9736-7CFE39552076}"/>
          </ac:spMkLst>
        </pc:spChg>
        <pc:spChg chg="del">
          <ac:chgData name="Wenwen Zhang" userId="9dd81366-5d6f-445a-b031-6ea562624431" providerId="ADAL" clId="{3909E7CC-5EA5-469C-9AFF-9A201E30CD9D}" dt="2022-12-05T21:39:51.569" v="2"/>
          <ac:spMkLst>
            <pc:docMk/>
            <pc:sldMk cId="853588367" sldId="2134804361"/>
            <ac:spMk id="26" creationId="{F1241739-299F-8C30-FD50-BAEACE503D91}"/>
          </ac:spMkLst>
        </pc:spChg>
        <pc:spChg chg="add del mod replST">
          <ac:chgData name="Wenwen Zhang" userId="9dd81366-5d6f-445a-b031-6ea562624431" providerId="ADAL" clId="{3909E7CC-5EA5-469C-9AFF-9A201E30CD9D}" dt="2022-12-05T21:40:34.667" v="6219"/>
          <ac:spMkLst>
            <pc:docMk/>
            <pc:sldMk cId="853588367" sldId="2134804361"/>
            <ac:spMk id="27" creationId="{DE3D2822-DCB8-33EB-019E-C6AA410A565A}"/>
          </ac:spMkLst>
        </pc:spChg>
        <pc:spChg chg="mod ord">
          <ac:chgData name="Wenwen Zhang" userId="9dd81366-5d6f-445a-b031-6ea562624431" providerId="ADAL" clId="{3909E7CC-5EA5-469C-9AFF-9A201E30CD9D}" dt="2022-12-06T22:06:30.270" v="65248"/>
          <ac:spMkLst>
            <pc:docMk/>
            <pc:sldMk cId="853588367" sldId="2134804361"/>
            <ac:spMk id="29" creationId="{D50B6CAA-A666-5524-85F7-444C607F0970}"/>
          </ac:spMkLst>
        </pc:spChg>
        <pc:spChg chg="del">
          <ac:chgData name="Wenwen Zhang" userId="9dd81366-5d6f-445a-b031-6ea562624431" providerId="ADAL" clId="{3909E7CC-5EA5-469C-9AFF-9A201E30CD9D}" dt="2022-12-05T21:39:51.571" v="7"/>
          <ac:spMkLst>
            <pc:docMk/>
            <pc:sldMk cId="853588367" sldId="2134804361"/>
            <ac:spMk id="30" creationId="{A4D202E4-8433-3049-6ACC-57B344081520}"/>
          </ac:spMkLst>
        </pc:spChg>
        <pc:spChg chg="del">
          <ac:chgData name="Wenwen Zhang" userId="9dd81366-5d6f-445a-b031-6ea562624431" providerId="ADAL" clId="{3909E7CC-5EA5-469C-9AFF-9A201E30CD9D}" dt="2022-12-05T21:39:51.571" v="6"/>
          <ac:spMkLst>
            <pc:docMk/>
            <pc:sldMk cId="853588367" sldId="2134804361"/>
            <ac:spMk id="31" creationId="{898AABC0-BF25-202B-F55F-97609925ECCF}"/>
          </ac:spMkLst>
        </pc:spChg>
        <pc:spChg chg="del">
          <ac:chgData name="Wenwen Zhang" userId="9dd81366-5d6f-445a-b031-6ea562624431" providerId="ADAL" clId="{3909E7CC-5EA5-469C-9AFF-9A201E30CD9D}" dt="2022-12-05T21:39:51.573" v="13"/>
          <ac:spMkLst>
            <pc:docMk/>
            <pc:sldMk cId="853588367" sldId="2134804361"/>
            <ac:spMk id="32" creationId="{FAE8DA4D-635A-C53B-7E7C-92720081EEF5}"/>
          </ac:spMkLst>
        </pc:spChg>
        <pc:spChg chg="del">
          <ac:chgData name="Wenwen Zhang" userId="9dd81366-5d6f-445a-b031-6ea562624431" providerId="ADAL" clId="{3909E7CC-5EA5-469C-9AFF-9A201E30CD9D}" dt="2022-12-05T21:39:51.573" v="11"/>
          <ac:spMkLst>
            <pc:docMk/>
            <pc:sldMk cId="853588367" sldId="2134804361"/>
            <ac:spMk id="33" creationId="{14B13B60-7C36-23CE-888B-2619DD01A202}"/>
          </ac:spMkLst>
        </pc:spChg>
        <pc:spChg chg="del">
          <ac:chgData name="Wenwen Zhang" userId="9dd81366-5d6f-445a-b031-6ea562624431" providerId="ADAL" clId="{3909E7CC-5EA5-469C-9AFF-9A201E30CD9D}" dt="2022-12-05T21:39:51.574" v="15"/>
          <ac:spMkLst>
            <pc:docMk/>
            <pc:sldMk cId="853588367" sldId="2134804361"/>
            <ac:spMk id="34" creationId="{AA1D8FA9-B92C-815E-87A4-039CCDA0CBF6}"/>
          </ac:spMkLst>
        </pc:spChg>
        <pc:spChg chg="add del mod replST">
          <ac:chgData name="Wenwen Zhang" userId="9dd81366-5d6f-445a-b031-6ea562624431" providerId="ADAL" clId="{3909E7CC-5EA5-469C-9AFF-9A201E30CD9D}" dt="2022-12-05T21:40:34.667" v="6219"/>
          <ac:spMkLst>
            <pc:docMk/>
            <pc:sldMk cId="853588367" sldId="2134804361"/>
            <ac:spMk id="35" creationId="{6576B4A7-DE3A-E7C9-BDB7-456B02639E95}"/>
          </ac:spMkLst>
        </pc:spChg>
        <pc:spChg chg="del mod ord">
          <ac:chgData name="Wenwen Zhang" userId="9dd81366-5d6f-445a-b031-6ea562624431" providerId="ADAL" clId="{3909E7CC-5EA5-469C-9AFF-9A201E30CD9D}" dt="2022-12-05T21:39:59.876" v="158"/>
          <ac:spMkLst>
            <pc:docMk/>
            <pc:sldMk cId="853588367" sldId="2134804361"/>
            <ac:spMk id="36" creationId="{60C74DE7-D7C8-F669-6A4A-7252E5B8210A}"/>
          </ac:spMkLst>
        </pc:spChg>
        <pc:spChg chg="add del mod replST">
          <ac:chgData name="Wenwen Zhang" userId="9dd81366-5d6f-445a-b031-6ea562624431" providerId="ADAL" clId="{3909E7CC-5EA5-469C-9AFF-9A201E30CD9D}" dt="2022-12-05T21:40:34.667" v="6219"/>
          <ac:spMkLst>
            <pc:docMk/>
            <pc:sldMk cId="853588367" sldId="2134804361"/>
            <ac:spMk id="37" creationId="{2747D7BB-DB61-878B-142D-FB6F2E27554D}"/>
          </ac:spMkLst>
        </pc:spChg>
        <pc:spChg chg="del mod ord">
          <ac:chgData name="Wenwen Zhang" userId="9dd81366-5d6f-445a-b031-6ea562624431" providerId="ADAL" clId="{3909E7CC-5EA5-469C-9AFF-9A201E30CD9D}" dt="2022-12-05T21:39:59.877" v="161"/>
          <ac:spMkLst>
            <pc:docMk/>
            <pc:sldMk cId="853588367" sldId="2134804361"/>
            <ac:spMk id="38" creationId="{04A0BAFB-2E91-0DB5-3387-C1140F96484B}"/>
          </ac:spMkLst>
        </pc:spChg>
        <pc:spChg chg="del mod">
          <ac:chgData name="Wenwen Zhang" userId="9dd81366-5d6f-445a-b031-6ea562624431" providerId="ADAL" clId="{3909E7CC-5EA5-469C-9AFF-9A201E30CD9D}" dt="2022-12-05T21:39:59.876" v="159"/>
          <ac:spMkLst>
            <pc:docMk/>
            <pc:sldMk cId="853588367" sldId="2134804361"/>
            <ac:spMk id="39" creationId="{BFC5A6D8-E32C-D751-0032-518AAC549602}"/>
          </ac:spMkLst>
        </pc:spChg>
        <pc:spChg chg="del mod">
          <ac:chgData name="Wenwen Zhang" userId="9dd81366-5d6f-445a-b031-6ea562624431" providerId="ADAL" clId="{3909E7CC-5EA5-469C-9AFF-9A201E30CD9D}" dt="2022-12-05T21:39:59.877" v="162"/>
          <ac:spMkLst>
            <pc:docMk/>
            <pc:sldMk cId="853588367" sldId="2134804361"/>
            <ac:spMk id="40" creationId="{6801922F-4EAB-75E2-75CB-8F3684177F32}"/>
          </ac:spMkLst>
        </pc:spChg>
        <pc:spChg chg="add del mod replST">
          <ac:chgData name="Wenwen Zhang" userId="9dd81366-5d6f-445a-b031-6ea562624431" providerId="ADAL" clId="{3909E7CC-5EA5-469C-9AFF-9A201E30CD9D}" dt="2022-12-05T21:40:34.667" v="6219"/>
          <ac:spMkLst>
            <pc:docMk/>
            <pc:sldMk cId="853588367" sldId="2134804361"/>
            <ac:spMk id="41" creationId="{F750B215-96CB-DB9B-3E17-62D6CAADD90A}"/>
          </ac:spMkLst>
        </pc:spChg>
        <pc:spChg chg="add del mod replST">
          <ac:chgData name="Wenwen Zhang" userId="9dd81366-5d6f-445a-b031-6ea562624431" providerId="ADAL" clId="{3909E7CC-5EA5-469C-9AFF-9A201E30CD9D}" dt="2022-12-05T21:40:34.667" v="6219"/>
          <ac:spMkLst>
            <pc:docMk/>
            <pc:sldMk cId="853588367" sldId="2134804361"/>
            <ac:spMk id="42" creationId="{EB776AEB-4633-BF4C-E4B1-15FE2C4B8169}"/>
          </ac:spMkLst>
        </pc:spChg>
        <pc:spChg chg="mod ord">
          <ac:chgData name="Wenwen Zhang" userId="9dd81366-5d6f-445a-b031-6ea562624431" providerId="ADAL" clId="{3909E7CC-5EA5-469C-9AFF-9A201E30CD9D}" dt="2022-12-06T22:06:30.271" v="65250"/>
          <ac:spMkLst>
            <pc:docMk/>
            <pc:sldMk cId="853588367" sldId="2134804361"/>
            <ac:spMk id="43" creationId="{C58C7321-3BF7-61DC-5B1A-AD075E56AE05}"/>
          </ac:spMkLst>
        </pc:spChg>
        <pc:spChg chg="add del mod replST">
          <ac:chgData name="Wenwen Zhang" userId="9dd81366-5d6f-445a-b031-6ea562624431" providerId="ADAL" clId="{3909E7CC-5EA5-469C-9AFF-9A201E30CD9D}" dt="2022-12-05T21:40:34.667" v="6219"/>
          <ac:spMkLst>
            <pc:docMk/>
            <pc:sldMk cId="853588367" sldId="2134804361"/>
            <ac:spMk id="44" creationId="{6832A31D-7A4C-A753-982D-E955B553FF33}"/>
          </ac:spMkLst>
        </pc:spChg>
        <pc:spChg chg="del mod">
          <ac:chgData name="Wenwen Zhang" userId="9dd81366-5d6f-445a-b031-6ea562624431" providerId="ADAL" clId="{3909E7CC-5EA5-469C-9AFF-9A201E30CD9D}" dt="2022-12-05T21:39:54.732" v="116"/>
          <ac:spMkLst>
            <pc:docMk/>
            <pc:sldMk cId="853588367" sldId="2134804361"/>
            <ac:spMk id="45" creationId="{FDA37D37-D76E-8C85-BB3A-3FB73D989191}"/>
          </ac:spMkLst>
        </pc:spChg>
        <pc:spChg chg="del mod">
          <ac:chgData name="Wenwen Zhang" userId="9dd81366-5d6f-445a-b031-6ea562624431" providerId="ADAL" clId="{3909E7CC-5EA5-469C-9AFF-9A201E30CD9D}" dt="2022-12-05T21:39:54.732" v="115"/>
          <ac:spMkLst>
            <pc:docMk/>
            <pc:sldMk cId="853588367" sldId="2134804361"/>
            <ac:spMk id="46" creationId="{0E3BBB49-09AC-6936-C133-BF402756EEF9}"/>
          </ac:spMkLst>
        </pc:spChg>
        <pc:spChg chg="del">
          <ac:chgData name="Wenwen Zhang" userId="9dd81366-5d6f-445a-b031-6ea562624431" providerId="ADAL" clId="{3909E7CC-5EA5-469C-9AFF-9A201E30CD9D}" dt="2022-12-05T21:39:51.575" v="17"/>
          <ac:spMkLst>
            <pc:docMk/>
            <pc:sldMk cId="853588367" sldId="2134804361"/>
            <ac:spMk id="47" creationId="{F2CEB1AF-1C81-1586-90F4-6576A6E97F24}"/>
          </ac:spMkLst>
        </pc:spChg>
        <pc:spChg chg="add del mod replST">
          <ac:chgData name="Wenwen Zhang" userId="9dd81366-5d6f-445a-b031-6ea562624431" providerId="ADAL" clId="{3909E7CC-5EA5-469C-9AFF-9A201E30CD9D}" dt="2022-12-05T21:40:34.667" v="6219"/>
          <ac:spMkLst>
            <pc:docMk/>
            <pc:sldMk cId="853588367" sldId="2134804361"/>
            <ac:spMk id="48" creationId="{1F5DC85D-2F23-C503-F050-2F56DE88E55F}"/>
          </ac:spMkLst>
        </pc:spChg>
        <pc:spChg chg="add del mod ord replST">
          <ac:chgData name="Wenwen Zhang" userId="9dd81366-5d6f-445a-b031-6ea562624431" providerId="ADAL" clId="{3909E7CC-5EA5-469C-9AFF-9A201E30CD9D}" dt="2022-12-05T21:40:34.667" v="6219"/>
          <ac:spMkLst>
            <pc:docMk/>
            <pc:sldMk cId="853588367" sldId="2134804361"/>
            <ac:spMk id="49" creationId="{B19232DF-616C-C6E4-50D4-F413FAFE15DB}"/>
          </ac:spMkLst>
        </pc:spChg>
        <pc:spChg chg="add del mod ord replST">
          <ac:chgData name="Wenwen Zhang" userId="9dd81366-5d6f-445a-b031-6ea562624431" providerId="ADAL" clId="{3909E7CC-5EA5-469C-9AFF-9A201E30CD9D}" dt="2022-12-05T21:40:34.667" v="6219"/>
          <ac:spMkLst>
            <pc:docMk/>
            <pc:sldMk cId="853588367" sldId="2134804361"/>
            <ac:spMk id="51" creationId="{29A5B0E7-9828-65DE-0BB4-52D862BC8073}"/>
          </ac:spMkLst>
        </pc:spChg>
        <pc:spChg chg="add del mod replST">
          <ac:chgData name="Wenwen Zhang" userId="9dd81366-5d6f-445a-b031-6ea562624431" providerId="ADAL" clId="{3909E7CC-5EA5-469C-9AFF-9A201E30CD9D}" dt="2022-12-05T21:40:34.667" v="6219"/>
          <ac:spMkLst>
            <pc:docMk/>
            <pc:sldMk cId="853588367" sldId="2134804361"/>
            <ac:spMk id="52" creationId="{7620E201-EEDF-6313-C74A-09581F02D345}"/>
          </ac:spMkLst>
        </pc:spChg>
        <pc:spChg chg="add del mod replST">
          <ac:chgData name="Wenwen Zhang" userId="9dd81366-5d6f-445a-b031-6ea562624431" providerId="ADAL" clId="{3909E7CC-5EA5-469C-9AFF-9A201E30CD9D}" dt="2022-12-05T21:40:34.667" v="6219"/>
          <ac:spMkLst>
            <pc:docMk/>
            <pc:sldMk cId="853588367" sldId="2134804361"/>
            <ac:spMk id="53" creationId="{17F6803B-2AE2-9A3C-2172-3DED725B6EBC}"/>
          </ac:spMkLst>
        </pc:spChg>
        <pc:spChg chg="add del mod replST">
          <ac:chgData name="Wenwen Zhang" userId="9dd81366-5d6f-445a-b031-6ea562624431" providerId="ADAL" clId="{3909E7CC-5EA5-469C-9AFF-9A201E30CD9D}" dt="2022-12-05T21:40:34.667" v="6219"/>
          <ac:spMkLst>
            <pc:docMk/>
            <pc:sldMk cId="853588367" sldId="2134804361"/>
            <ac:spMk id="55" creationId="{9154288E-250F-29C0-52BC-B7582DDDB33C}"/>
          </ac:spMkLst>
        </pc:spChg>
        <pc:spChg chg="add del mod replST">
          <ac:chgData name="Wenwen Zhang" userId="9dd81366-5d6f-445a-b031-6ea562624431" providerId="ADAL" clId="{3909E7CC-5EA5-469C-9AFF-9A201E30CD9D}" dt="2022-12-05T21:40:34.667" v="6219"/>
          <ac:spMkLst>
            <pc:docMk/>
            <pc:sldMk cId="853588367" sldId="2134804361"/>
            <ac:spMk id="56" creationId="{860CE86D-54BA-CB34-64BD-E95CF8968086}"/>
          </ac:spMkLst>
        </pc:spChg>
        <pc:spChg chg="add del mod replST">
          <ac:chgData name="Wenwen Zhang" userId="9dd81366-5d6f-445a-b031-6ea562624431" providerId="ADAL" clId="{3909E7CC-5EA5-469C-9AFF-9A201E30CD9D}" dt="2022-12-05T21:40:34.667" v="6219"/>
          <ac:spMkLst>
            <pc:docMk/>
            <pc:sldMk cId="853588367" sldId="2134804361"/>
            <ac:spMk id="57" creationId="{3C9D55B2-BEFA-F7CF-ED4C-3F64A690ECDA}"/>
          </ac:spMkLst>
        </pc:spChg>
        <pc:spChg chg="add del mod replST">
          <ac:chgData name="Wenwen Zhang" userId="9dd81366-5d6f-445a-b031-6ea562624431" providerId="ADAL" clId="{3909E7CC-5EA5-469C-9AFF-9A201E30CD9D}" dt="2022-12-05T21:40:34.667" v="6219"/>
          <ac:spMkLst>
            <pc:docMk/>
            <pc:sldMk cId="853588367" sldId="2134804361"/>
            <ac:spMk id="58" creationId="{5B47EB98-34EA-681B-5D6A-82AB9584ADAD}"/>
          </ac:spMkLst>
        </pc:spChg>
        <pc:spChg chg="add del mod replST">
          <ac:chgData name="Wenwen Zhang" userId="9dd81366-5d6f-445a-b031-6ea562624431" providerId="ADAL" clId="{3909E7CC-5EA5-469C-9AFF-9A201E30CD9D}" dt="2022-12-05T21:40:34.667" v="6219"/>
          <ac:spMkLst>
            <pc:docMk/>
            <pc:sldMk cId="853588367" sldId="2134804361"/>
            <ac:spMk id="59" creationId="{DE7A94A8-34A4-6F30-AA9D-4C529E861121}"/>
          </ac:spMkLst>
        </pc:spChg>
        <pc:spChg chg="add del mod replST">
          <ac:chgData name="Wenwen Zhang" userId="9dd81366-5d6f-445a-b031-6ea562624431" providerId="ADAL" clId="{3909E7CC-5EA5-469C-9AFF-9A201E30CD9D}" dt="2022-12-05T21:40:34.667" v="6219"/>
          <ac:spMkLst>
            <pc:docMk/>
            <pc:sldMk cId="853588367" sldId="2134804361"/>
            <ac:spMk id="60" creationId="{2ADAA0B4-0CDF-FF2F-DC5D-1432B5E6D600}"/>
          </ac:spMkLst>
        </pc:spChg>
        <pc:spChg chg="add del mod replST">
          <ac:chgData name="Wenwen Zhang" userId="9dd81366-5d6f-445a-b031-6ea562624431" providerId="ADAL" clId="{3909E7CC-5EA5-469C-9AFF-9A201E30CD9D}" dt="2022-12-05T21:40:34.667" v="6219"/>
          <ac:spMkLst>
            <pc:docMk/>
            <pc:sldMk cId="853588367" sldId="2134804361"/>
            <ac:spMk id="61" creationId="{2D2FF03E-74DB-9D32-825C-F976003B627F}"/>
          </ac:spMkLst>
        </pc:spChg>
        <pc:spChg chg="add del mod replST">
          <ac:chgData name="Wenwen Zhang" userId="9dd81366-5d6f-445a-b031-6ea562624431" providerId="ADAL" clId="{3909E7CC-5EA5-469C-9AFF-9A201E30CD9D}" dt="2022-12-05T21:40:34.667" v="6219"/>
          <ac:spMkLst>
            <pc:docMk/>
            <pc:sldMk cId="853588367" sldId="2134804361"/>
            <ac:spMk id="62" creationId="{1C16A6BB-A8CC-69E5-477C-17E4FF9C652F}"/>
          </ac:spMkLst>
        </pc:spChg>
        <pc:spChg chg="add del mod replST">
          <ac:chgData name="Wenwen Zhang" userId="9dd81366-5d6f-445a-b031-6ea562624431" providerId="ADAL" clId="{3909E7CC-5EA5-469C-9AFF-9A201E30CD9D}" dt="2022-12-05T21:40:34.667" v="6219"/>
          <ac:spMkLst>
            <pc:docMk/>
            <pc:sldMk cId="853588367" sldId="2134804361"/>
            <ac:spMk id="63" creationId="{8F5E2B52-EEEC-0A16-D2D4-23932297042C}"/>
          </ac:spMkLst>
        </pc:spChg>
        <pc:spChg chg="add del mod replST">
          <ac:chgData name="Wenwen Zhang" userId="9dd81366-5d6f-445a-b031-6ea562624431" providerId="ADAL" clId="{3909E7CC-5EA5-469C-9AFF-9A201E30CD9D}" dt="2022-12-05T21:40:34.667" v="6219"/>
          <ac:spMkLst>
            <pc:docMk/>
            <pc:sldMk cId="853588367" sldId="2134804361"/>
            <ac:spMk id="64" creationId="{98319769-80C6-16F0-5A7D-A1DD733D6315}"/>
          </ac:spMkLst>
        </pc:spChg>
        <pc:spChg chg="add del mod replST">
          <ac:chgData name="Wenwen Zhang" userId="9dd81366-5d6f-445a-b031-6ea562624431" providerId="ADAL" clId="{3909E7CC-5EA5-469C-9AFF-9A201E30CD9D}" dt="2022-12-05T21:40:34.667" v="6219"/>
          <ac:spMkLst>
            <pc:docMk/>
            <pc:sldMk cId="853588367" sldId="2134804361"/>
            <ac:spMk id="65" creationId="{88732141-ED62-646D-8D2F-A8A432C9ED49}"/>
          </ac:spMkLst>
        </pc:spChg>
        <pc:spChg chg="add del mod replST">
          <ac:chgData name="Wenwen Zhang" userId="9dd81366-5d6f-445a-b031-6ea562624431" providerId="ADAL" clId="{3909E7CC-5EA5-469C-9AFF-9A201E30CD9D}" dt="2022-12-05T21:40:34.667" v="6219"/>
          <ac:spMkLst>
            <pc:docMk/>
            <pc:sldMk cId="853588367" sldId="2134804361"/>
            <ac:spMk id="66" creationId="{996B57E5-0D54-C736-0E01-553EBE6D4607}"/>
          </ac:spMkLst>
        </pc:spChg>
        <pc:spChg chg="add del mod replST">
          <ac:chgData name="Wenwen Zhang" userId="9dd81366-5d6f-445a-b031-6ea562624431" providerId="ADAL" clId="{3909E7CC-5EA5-469C-9AFF-9A201E30CD9D}" dt="2022-12-05T21:40:34.667" v="6219"/>
          <ac:spMkLst>
            <pc:docMk/>
            <pc:sldMk cId="853588367" sldId="2134804361"/>
            <ac:spMk id="67" creationId="{C53A03C4-007F-958E-D656-61F944B28BB2}"/>
          </ac:spMkLst>
        </pc:spChg>
        <pc:spChg chg="add del mod ord replST">
          <ac:chgData name="Wenwen Zhang" userId="9dd81366-5d6f-445a-b031-6ea562624431" providerId="ADAL" clId="{3909E7CC-5EA5-469C-9AFF-9A201E30CD9D}" dt="2022-12-05T21:40:34.667" v="6219"/>
          <ac:spMkLst>
            <pc:docMk/>
            <pc:sldMk cId="853588367" sldId="2134804361"/>
            <ac:spMk id="68" creationId="{EA8C52E3-4208-5326-C612-77E6D3EFF639}"/>
          </ac:spMkLst>
        </pc:spChg>
        <pc:spChg chg="add del mod replST">
          <ac:chgData name="Wenwen Zhang" userId="9dd81366-5d6f-445a-b031-6ea562624431" providerId="ADAL" clId="{3909E7CC-5EA5-469C-9AFF-9A201E30CD9D}" dt="2022-12-05T21:40:34.667" v="6219"/>
          <ac:spMkLst>
            <pc:docMk/>
            <pc:sldMk cId="853588367" sldId="2134804361"/>
            <ac:spMk id="70" creationId="{A0B7E6D2-9167-9FCD-6DD1-B98715DFDAF0}"/>
          </ac:spMkLst>
        </pc:spChg>
        <pc:spChg chg="add del mod replST">
          <ac:chgData name="Wenwen Zhang" userId="9dd81366-5d6f-445a-b031-6ea562624431" providerId="ADAL" clId="{3909E7CC-5EA5-469C-9AFF-9A201E30CD9D}" dt="2022-12-05T21:40:34.667" v="6219"/>
          <ac:spMkLst>
            <pc:docMk/>
            <pc:sldMk cId="853588367" sldId="2134804361"/>
            <ac:spMk id="71" creationId="{A2E97C5F-96A0-CA14-311A-15B2812A74D2}"/>
          </ac:spMkLst>
        </pc:spChg>
        <pc:spChg chg="add del mod replST">
          <ac:chgData name="Wenwen Zhang" userId="9dd81366-5d6f-445a-b031-6ea562624431" providerId="ADAL" clId="{3909E7CC-5EA5-469C-9AFF-9A201E30CD9D}" dt="2022-12-05T21:40:34.667" v="6219"/>
          <ac:spMkLst>
            <pc:docMk/>
            <pc:sldMk cId="853588367" sldId="2134804361"/>
            <ac:spMk id="72" creationId="{47E49F81-E7EC-648B-ECF6-EB60A15E8533}"/>
          </ac:spMkLst>
        </pc:spChg>
        <pc:spChg chg="add del mod replST">
          <ac:chgData name="Wenwen Zhang" userId="9dd81366-5d6f-445a-b031-6ea562624431" providerId="ADAL" clId="{3909E7CC-5EA5-469C-9AFF-9A201E30CD9D}" dt="2022-12-05T21:40:34.667" v="6219"/>
          <ac:spMkLst>
            <pc:docMk/>
            <pc:sldMk cId="853588367" sldId="2134804361"/>
            <ac:spMk id="73" creationId="{73DC0C74-CBC1-6A36-B94A-57A8F761D5E3}"/>
          </ac:spMkLst>
        </pc:spChg>
        <pc:spChg chg="add del mod replST">
          <ac:chgData name="Wenwen Zhang" userId="9dd81366-5d6f-445a-b031-6ea562624431" providerId="ADAL" clId="{3909E7CC-5EA5-469C-9AFF-9A201E30CD9D}" dt="2022-12-05T21:40:34.667" v="6219"/>
          <ac:spMkLst>
            <pc:docMk/>
            <pc:sldMk cId="853588367" sldId="2134804361"/>
            <ac:spMk id="74" creationId="{378C2900-33B1-A945-033C-376DD7266297}"/>
          </ac:spMkLst>
        </pc:spChg>
        <pc:spChg chg="add del mod replST">
          <ac:chgData name="Wenwen Zhang" userId="9dd81366-5d6f-445a-b031-6ea562624431" providerId="ADAL" clId="{3909E7CC-5EA5-469C-9AFF-9A201E30CD9D}" dt="2022-12-05T21:40:34.667" v="6219"/>
          <ac:spMkLst>
            <pc:docMk/>
            <pc:sldMk cId="853588367" sldId="2134804361"/>
            <ac:spMk id="75" creationId="{9D7535FD-14DB-1B1D-3D2B-4FD9CD6A5C64}"/>
          </ac:spMkLst>
        </pc:spChg>
        <pc:spChg chg="add del mod replST">
          <ac:chgData name="Wenwen Zhang" userId="9dd81366-5d6f-445a-b031-6ea562624431" providerId="ADAL" clId="{3909E7CC-5EA5-469C-9AFF-9A201E30CD9D}" dt="2022-12-05T21:40:34.667" v="6219"/>
          <ac:spMkLst>
            <pc:docMk/>
            <pc:sldMk cId="853588367" sldId="2134804361"/>
            <ac:spMk id="76" creationId="{6CB9FE57-4FAF-6365-AE65-FF9DDED5F95F}"/>
          </ac:spMkLst>
        </pc:spChg>
        <pc:spChg chg="add del mod replST">
          <ac:chgData name="Wenwen Zhang" userId="9dd81366-5d6f-445a-b031-6ea562624431" providerId="ADAL" clId="{3909E7CC-5EA5-469C-9AFF-9A201E30CD9D}" dt="2022-12-05T21:40:34.667" v="6219"/>
          <ac:spMkLst>
            <pc:docMk/>
            <pc:sldMk cId="853588367" sldId="2134804361"/>
            <ac:spMk id="77" creationId="{419CC66D-E542-5929-504F-9280E2A0AB50}"/>
          </ac:spMkLst>
        </pc:spChg>
        <pc:spChg chg="add del mod replST">
          <ac:chgData name="Wenwen Zhang" userId="9dd81366-5d6f-445a-b031-6ea562624431" providerId="ADAL" clId="{3909E7CC-5EA5-469C-9AFF-9A201E30CD9D}" dt="2022-12-05T21:40:34.667" v="6219"/>
          <ac:spMkLst>
            <pc:docMk/>
            <pc:sldMk cId="853588367" sldId="2134804361"/>
            <ac:spMk id="78" creationId="{804B3DA1-D581-EDDA-B2D9-796468380BEE}"/>
          </ac:spMkLst>
        </pc:spChg>
        <pc:spChg chg="add del mod replST">
          <ac:chgData name="Wenwen Zhang" userId="9dd81366-5d6f-445a-b031-6ea562624431" providerId="ADAL" clId="{3909E7CC-5EA5-469C-9AFF-9A201E30CD9D}" dt="2022-12-05T21:40:34.667" v="6219"/>
          <ac:spMkLst>
            <pc:docMk/>
            <pc:sldMk cId="853588367" sldId="2134804361"/>
            <ac:spMk id="79" creationId="{93E4DF09-0F3E-4A9E-D44C-E4C466E1BCE5}"/>
          </ac:spMkLst>
        </pc:spChg>
        <pc:spChg chg="add del mod replST">
          <ac:chgData name="Wenwen Zhang" userId="9dd81366-5d6f-445a-b031-6ea562624431" providerId="ADAL" clId="{3909E7CC-5EA5-469C-9AFF-9A201E30CD9D}" dt="2022-12-05T21:40:34.667" v="6219"/>
          <ac:spMkLst>
            <pc:docMk/>
            <pc:sldMk cId="853588367" sldId="2134804361"/>
            <ac:spMk id="80" creationId="{03C1368A-553B-6546-7BD3-9E9EBB1750B5}"/>
          </ac:spMkLst>
        </pc:spChg>
        <pc:spChg chg="add del mod replST">
          <ac:chgData name="Wenwen Zhang" userId="9dd81366-5d6f-445a-b031-6ea562624431" providerId="ADAL" clId="{3909E7CC-5EA5-469C-9AFF-9A201E30CD9D}" dt="2022-12-05T21:40:34.667" v="6219"/>
          <ac:spMkLst>
            <pc:docMk/>
            <pc:sldMk cId="853588367" sldId="2134804361"/>
            <ac:spMk id="81" creationId="{0D942EA5-14AD-043A-2F25-40D0A610D983}"/>
          </ac:spMkLst>
        </pc:spChg>
        <pc:spChg chg="add del mod replST">
          <ac:chgData name="Wenwen Zhang" userId="9dd81366-5d6f-445a-b031-6ea562624431" providerId="ADAL" clId="{3909E7CC-5EA5-469C-9AFF-9A201E30CD9D}" dt="2022-12-05T21:40:34.667" v="6219"/>
          <ac:spMkLst>
            <pc:docMk/>
            <pc:sldMk cId="853588367" sldId="2134804361"/>
            <ac:spMk id="82" creationId="{1D4EFFD9-9245-DFF0-FC98-C0FC523DBA81}"/>
          </ac:spMkLst>
        </pc:spChg>
        <pc:spChg chg="add del mod ord replST">
          <ac:chgData name="Wenwen Zhang" userId="9dd81366-5d6f-445a-b031-6ea562624431" providerId="ADAL" clId="{3909E7CC-5EA5-469C-9AFF-9A201E30CD9D}" dt="2022-12-05T21:40:34.667" v="6219"/>
          <ac:spMkLst>
            <pc:docMk/>
            <pc:sldMk cId="853588367" sldId="2134804361"/>
            <ac:spMk id="84" creationId="{84C561F2-586D-60D9-1B71-4D93AF01C515}"/>
          </ac:spMkLst>
        </pc:spChg>
        <pc:spChg chg="add del mod replST">
          <ac:chgData name="Wenwen Zhang" userId="9dd81366-5d6f-445a-b031-6ea562624431" providerId="ADAL" clId="{3909E7CC-5EA5-469C-9AFF-9A201E30CD9D}" dt="2022-12-05T21:40:34.667" v="6219"/>
          <ac:spMkLst>
            <pc:docMk/>
            <pc:sldMk cId="853588367" sldId="2134804361"/>
            <ac:spMk id="85" creationId="{6DC18EFD-5692-0B01-823A-1A652B23AA53}"/>
          </ac:spMkLst>
        </pc:spChg>
        <pc:spChg chg="add del mod replST">
          <ac:chgData name="Wenwen Zhang" userId="9dd81366-5d6f-445a-b031-6ea562624431" providerId="ADAL" clId="{3909E7CC-5EA5-469C-9AFF-9A201E30CD9D}" dt="2022-12-05T21:40:34.667" v="6219"/>
          <ac:spMkLst>
            <pc:docMk/>
            <pc:sldMk cId="853588367" sldId="2134804361"/>
            <ac:spMk id="86" creationId="{2BD2A519-56AD-D867-B0B5-1F53374EE9A3}"/>
          </ac:spMkLst>
        </pc:spChg>
        <pc:spChg chg="add del mod replST">
          <ac:chgData name="Wenwen Zhang" userId="9dd81366-5d6f-445a-b031-6ea562624431" providerId="ADAL" clId="{3909E7CC-5EA5-469C-9AFF-9A201E30CD9D}" dt="2022-12-05T21:40:34.667" v="6219"/>
          <ac:spMkLst>
            <pc:docMk/>
            <pc:sldMk cId="853588367" sldId="2134804361"/>
            <ac:spMk id="87" creationId="{01823342-0165-4AC8-7D37-644E2CE71003}"/>
          </ac:spMkLst>
        </pc:spChg>
        <pc:spChg chg="add del mod replST">
          <ac:chgData name="Wenwen Zhang" userId="9dd81366-5d6f-445a-b031-6ea562624431" providerId="ADAL" clId="{3909E7CC-5EA5-469C-9AFF-9A201E30CD9D}" dt="2022-12-05T21:40:34.667" v="6219"/>
          <ac:spMkLst>
            <pc:docMk/>
            <pc:sldMk cId="853588367" sldId="2134804361"/>
            <ac:spMk id="88" creationId="{C6725197-5B98-B1AC-A48A-C2C0629A6F66}"/>
          </ac:spMkLst>
        </pc:spChg>
        <pc:spChg chg="add del mod replST">
          <ac:chgData name="Wenwen Zhang" userId="9dd81366-5d6f-445a-b031-6ea562624431" providerId="ADAL" clId="{3909E7CC-5EA5-469C-9AFF-9A201E30CD9D}" dt="2022-12-05T21:40:34.667" v="6219"/>
          <ac:spMkLst>
            <pc:docMk/>
            <pc:sldMk cId="853588367" sldId="2134804361"/>
            <ac:spMk id="89" creationId="{29199BDF-1256-601C-96D0-B6FD70693AE5}"/>
          </ac:spMkLst>
        </pc:spChg>
        <pc:spChg chg="add del mod replST">
          <ac:chgData name="Wenwen Zhang" userId="9dd81366-5d6f-445a-b031-6ea562624431" providerId="ADAL" clId="{3909E7CC-5EA5-469C-9AFF-9A201E30CD9D}" dt="2022-12-05T21:40:34.667" v="6219"/>
          <ac:spMkLst>
            <pc:docMk/>
            <pc:sldMk cId="853588367" sldId="2134804361"/>
            <ac:spMk id="90" creationId="{3AF1CA19-E7C0-B062-7037-5717BD1E863D}"/>
          </ac:spMkLst>
        </pc:spChg>
        <pc:spChg chg="add del mod replST">
          <ac:chgData name="Wenwen Zhang" userId="9dd81366-5d6f-445a-b031-6ea562624431" providerId="ADAL" clId="{3909E7CC-5EA5-469C-9AFF-9A201E30CD9D}" dt="2022-12-05T21:40:34.667" v="6219"/>
          <ac:spMkLst>
            <pc:docMk/>
            <pc:sldMk cId="853588367" sldId="2134804361"/>
            <ac:spMk id="91" creationId="{1493BBF8-1EB0-2B35-A2A0-CD630BF95B50}"/>
          </ac:spMkLst>
        </pc:spChg>
        <pc:spChg chg="add del mod replST">
          <ac:chgData name="Wenwen Zhang" userId="9dd81366-5d6f-445a-b031-6ea562624431" providerId="ADAL" clId="{3909E7CC-5EA5-469C-9AFF-9A201E30CD9D}" dt="2022-12-05T21:40:34.667" v="6219"/>
          <ac:spMkLst>
            <pc:docMk/>
            <pc:sldMk cId="853588367" sldId="2134804361"/>
            <ac:spMk id="92" creationId="{6615B36A-B665-E105-F31E-94CA427FBDA3}"/>
          </ac:spMkLst>
        </pc:spChg>
        <pc:spChg chg="add del mod replST">
          <ac:chgData name="Wenwen Zhang" userId="9dd81366-5d6f-445a-b031-6ea562624431" providerId="ADAL" clId="{3909E7CC-5EA5-469C-9AFF-9A201E30CD9D}" dt="2022-12-05T21:40:34.667" v="6219"/>
          <ac:spMkLst>
            <pc:docMk/>
            <pc:sldMk cId="853588367" sldId="2134804361"/>
            <ac:spMk id="93" creationId="{53E73357-B3DD-6FB2-9797-F3CB94D0A6A7}"/>
          </ac:spMkLst>
        </pc:spChg>
        <pc:spChg chg="add del mod replST">
          <ac:chgData name="Wenwen Zhang" userId="9dd81366-5d6f-445a-b031-6ea562624431" providerId="ADAL" clId="{3909E7CC-5EA5-469C-9AFF-9A201E30CD9D}" dt="2022-12-05T21:40:34.667" v="6219"/>
          <ac:spMkLst>
            <pc:docMk/>
            <pc:sldMk cId="853588367" sldId="2134804361"/>
            <ac:spMk id="94" creationId="{ACDF118E-5ADC-6AC9-9EA3-A402CFAED306}"/>
          </ac:spMkLst>
        </pc:spChg>
        <pc:spChg chg="add del mod replST">
          <ac:chgData name="Wenwen Zhang" userId="9dd81366-5d6f-445a-b031-6ea562624431" providerId="ADAL" clId="{3909E7CC-5EA5-469C-9AFF-9A201E30CD9D}" dt="2022-12-05T21:40:34.667" v="6219"/>
          <ac:spMkLst>
            <pc:docMk/>
            <pc:sldMk cId="853588367" sldId="2134804361"/>
            <ac:spMk id="95" creationId="{BA46B2F9-2A14-75A0-4D18-9BFEBAA1B995}"/>
          </ac:spMkLst>
        </pc:spChg>
        <pc:spChg chg="add del mod replST">
          <ac:chgData name="Wenwen Zhang" userId="9dd81366-5d6f-445a-b031-6ea562624431" providerId="ADAL" clId="{3909E7CC-5EA5-469C-9AFF-9A201E30CD9D}" dt="2022-12-05T21:40:34.667" v="6219"/>
          <ac:spMkLst>
            <pc:docMk/>
            <pc:sldMk cId="853588367" sldId="2134804361"/>
            <ac:spMk id="96" creationId="{7726EF51-CBC6-3E1B-51B5-2A1FE84D6341}"/>
          </ac:spMkLst>
        </pc:spChg>
        <pc:spChg chg="add del mod replST">
          <ac:chgData name="Wenwen Zhang" userId="9dd81366-5d6f-445a-b031-6ea562624431" providerId="ADAL" clId="{3909E7CC-5EA5-469C-9AFF-9A201E30CD9D}" dt="2022-12-05T21:40:34.667" v="6219"/>
          <ac:spMkLst>
            <pc:docMk/>
            <pc:sldMk cId="853588367" sldId="2134804361"/>
            <ac:spMk id="97" creationId="{138C9402-A2F9-CE6E-8184-799C9C0FDD29}"/>
          </ac:spMkLst>
        </pc:spChg>
        <pc:spChg chg="add del mod ord replST">
          <ac:chgData name="Wenwen Zhang" userId="9dd81366-5d6f-445a-b031-6ea562624431" providerId="ADAL" clId="{3909E7CC-5EA5-469C-9AFF-9A201E30CD9D}" dt="2022-12-05T21:40:34.667" v="6219"/>
          <ac:spMkLst>
            <pc:docMk/>
            <pc:sldMk cId="853588367" sldId="2134804361"/>
            <ac:spMk id="98" creationId="{99496468-547A-E0F8-706B-F4CDED1C3C38}"/>
          </ac:spMkLst>
        </pc:spChg>
        <pc:spChg chg="add del mod modVis">
          <ac:chgData name="Wenwen Zhang" userId="9dd81366-5d6f-445a-b031-6ea562624431" providerId="ADAL" clId="{3909E7CC-5EA5-469C-9AFF-9A201E30CD9D}" dt="2022-12-05T21:40:34.667" v="6219"/>
          <ac:spMkLst>
            <pc:docMk/>
            <pc:sldMk cId="853588367" sldId="2134804361"/>
            <ac:spMk id="99" creationId="{3C2EBF60-1496-5B09-642A-D7EEC23F982F}"/>
          </ac:spMkLst>
        </pc:spChg>
        <pc:spChg chg="add mod ord">
          <ac:chgData name="Wenwen Zhang" userId="9dd81366-5d6f-445a-b031-6ea562624431" providerId="ADAL" clId="{3909E7CC-5EA5-469C-9AFF-9A201E30CD9D}" dt="2022-12-06T22:06:30.271" v="65252"/>
          <ac:spMkLst>
            <pc:docMk/>
            <pc:sldMk cId="853588367" sldId="2134804361"/>
            <ac:spMk id="104" creationId="{FDBD28FE-864B-3639-481F-9B88362F82CC}"/>
          </ac:spMkLst>
        </pc:spChg>
        <pc:spChg chg="add mod ord">
          <ac:chgData name="Wenwen Zhang" userId="9dd81366-5d6f-445a-b031-6ea562624431" providerId="ADAL" clId="{3909E7CC-5EA5-469C-9AFF-9A201E30CD9D}" dt="2022-12-06T22:06:30.271" v="65254"/>
          <ac:spMkLst>
            <pc:docMk/>
            <pc:sldMk cId="853588367" sldId="2134804361"/>
            <ac:spMk id="105" creationId="{1363392A-1BB3-B133-547E-68E043C4DA98}"/>
          </ac:spMkLst>
        </pc:spChg>
        <pc:spChg chg="add mod ord">
          <ac:chgData name="Wenwen Zhang" userId="9dd81366-5d6f-445a-b031-6ea562624431" providerId="ADAL" clId="{3909E7CC-5EA5-469C-9AFF-9A201E30CD9D}" dt="2022-12-06T22:06:30.271" v="65256"/>
          <ac:spMkLst>
            <pc:docMk/>
            <pc:sldMk cId="853588367" sldId="2134804361"/>
            <ac:spMk id="106" creationId="{B6CECE3F-2DD3-9848-61CB-5D61B786F6D6}"/>
          </ac:spMkLst>
        </pc:spChg>
        <pc:spChg chg="add mod ord">
          <ac:chgData name="Wenwen Zhang" userId="9dd81366-5d6f-445a-b031-6ea562624431" providerId="ADAL" clId="{3909E7CC-5EA5-469C-9AFF-9A201E30CD9D}" dt="2022-12-06T22:06:30.272" v="65258"/>
          <ac:spMkLst>
            <pc:docMk/>
            <pc:sldMk cId="853588367" sldId="2134804361"/>
            <ac:spMk id="107" creationId="{92A4A1AE-F0BD-E696-BBF1-927ADB68572C}"/>
          </ac:spMkLst>
        </pc:spChg>
        <pc:spChg chg="add mod replST">
          <ac:chgData name="Wenwen Zhang" userId="9dd81366-5d6f-445a-b031-6ea562624431" providerId="ADAL" clId="{3909E7CC-5EA5-469C-9AFF-9A201E30CD9D}" dt="2022-12-06T22:06:30.272" v="65263"/>
          <ac:spMkLst>
            <pc:docMk/>
            <pc:sldMk cId="853588367" sldId="2134804361"/>
            <ac:spMk id="110" creationId="{EB466A29-BB15-299D-E58C-2DB1FF262484}"/>
          </ac:spMkLst>
        </pc:spChg>
        <pc:spChg chg="add mod replST">
          <ac:chgData name="Wenwen Zhang" userId="9dd81366-5d6f-445a-b031-6ea562624431" providerId="ADAL" clId="{3909E7CC-5EA5-469C-9AFF-9A201E30CD9D}" dt="2022-12-06T22:06:30.273" v="65267"/>
          <ac:spMkLst>
            <pc:docMk/>
            <pc:sldMk cId="853588367" sldId="2134804361"/>
            <ac:spMk id="111" creationId="{B3F2D249-23C1-84A9-2AD6-B2662B3E3BCF}"/>
          </ac:spMkLst>
        </pc:spChg>
        <pc:spChg chg="add mod replST">
          <ac:chgData name="Wenwen Zhang" userId="9dd81366-5d6f-445a-b031-6ea562624431" providerId="ADAL" clId="{3909E7CC-5EA5-469C-9AFF-9A201E30CD9D}" dt="2022-12-06T22:06:30.273" v="65268"/>
          <ac:spMkLst>
            <pc:docMk/>
            <pc:sldMk cId="853588367" sldId="2134804361"/>
            <ac:spMk id="112" creationId="{BA643405-2191-0382-388A-60D2AC577598}"/>
          </ac:spMkLst>
        </pc:spChg>
        <pc:spChg chg="add mod replST">
          <ac:chgData name="Wenwen Zhang" userId="9dd81366-5d6f-445a-b031-6ea562624431" providerId="ADAL" clId="{3909E7CC-5EA5-469C-9AFF-9A201E30CD9D}" dt="2022-12-06T22:06:30.273" v="65265"/>
          <ac:spMkLst>
            <pc:docMk/>
            <pc:sldMk cId="853588367" sldId="2134804361"/>
            <ac:spMk id="113" creationId="{6EE89640-6F33-A36D-0F7A-14FB999796CC}"/>
          </ac:spMkLst>
        </pc:spChg>
        <pc:spChg chg="add mod replST">
          <ac:chgData name="Wenwen Zhang" userId="9dd81366-5d6f-445a-b031-6ea562624431" providerId="ADAL" clId="{3909E7CC-5EA5-469C-9AFF-9A201E30CD9D}" dt="2022-12-06T22:06:30.273" v="65269"/>
          <ac:spMkLst>
            <pc:docMk/>
            <pc:sldMk cId="853588367" sldId="2134804361"/>
            <ac:spMk id="114" creationId="{7C1BBF76-B358-3AEA-7E4B-584C98EDF454}"/>
          </ac:spMkLst>
        </pc:spChg>
        <pc:spChg chg="add mod replST">
          <ac:chgData name="Wenwen Zhang" userId="9dd81366-5d6f-445a-b031-6ea562624431" providerId="ADAL" clId="{3909E7CC-5EA5-469C-9AFF-9A201E30CD9D}" dt="2022-12-06T22:06:30.272" v="65264"/>
          <ac:spMkLst>
            <pc:docMk/>
            <pc:sldMk cId="853588367" sldId="2134804361"/>
            <ac:spMk id="115" creationId="{E84BFAFE-9E38-2C24-32B7-19AFB4E31D8A}"/>
          </ac:spMkLst>
        </pc:spChg>
        <pc:spChg chg="add mod replST">
          <ac:chgData name="Wenwen Zhang" userId="9dd81366-5d6f-445a-b031-6ea562624431" providerId="ADAL" clId="{3909E7CC-5EA5-469C-9AFF-9A201E30CD9D}" dt="2022-12-06T22:06:30.273" v="65266"/>
          <ac:spMkLst>
            <pc:docMk/>
            <pc:sldMk cId="853588367" sldId="2134804361"/>
            <ac:spMk id="116" creationId="{2879393F-9951-4B42-0211-926F1CD614FD}"/>
          </ac:spMkLst>
        </pc:spChg>
        <pc:spChg chg="add mod replST">
          <ac:chgData name="Wenwen Zhang" userId="9dd81366-5d6f-445a-b031-6ea562624431" providerId="ADAL" clId="{3909E7CC-5EA5-469C-9AFF-9A201E30CD9D}" dt="2022-12-06T22:06:30.274" v="65270"/>
          <ac:spMkLst>
            <pc:docMk/>
            <pc:sldMk cId="853588367" sldId="2134804361"/>
            <ac:spMk id="117" creationId="{7B4004B3-1B58-8EA3-810A-4541CE925F94}"/>
          </ac:spMkLst>
        </pc:spChg>
        <pc:spChg chg="add mod replST">
          <ac:chgData name="Wenwen Zhang" userId="9dd81366-5d6f-445a-b031-6ea562624431" providerId="ADAL" clId="{3909E7CC-5EA5-469C-9AFF-9A201E30CD9D}" dt="2022-12-06T22:06:30.274" v="65271"/>
          <ac:spMkLst>
            <pc:docMk/>
            <pc:sldMk cId="853588367" sldId="2134804361"/>
            <ac:spMk id="118" creationId="{543C7A91-609B-233B-73A2-82934241561B}"/>
          </ac:spMkLst>
        </pc:spChg>
        <pc:spChg chg="add mod replST">
          <ac:chgData name="Wenwen Zhang" userId="9dd81366-5d6f-445a-b031-6ea562624431" providerId="ADAL" clId="{3909E7CC-5EA5-469C-9AFF-9A201E30CD9D}" dt="2022-12-06T22:06:30.274" v="65272"/>
          <ac:spMkLst>
            <pc:docMk/>
            <pc:sldMk cId="853588367" sldId="2134804361"/>
            <ac:spMk id="119" creationId="{746F5A5F-7D37-A8B4-5646-8E66A9CF8143}"/>
          </ac:spMkLst>
        </pc:spChg>
        <pc:spChg chg="add mod replST">
          <ac:chgData name="Wenwen Zhang" userId="9dd81366-5d6f-445a-b031-6ea562624431" providerId="ADAL" clId="{3909E7CC-5EA5-469C-9AFF-9A201E30CD9D}" dt="2022-12-06T22:06:30.274" v="65273"/>
          <ac:spMkLst>
            <pc:docMk/>
            <pc:sldMk cId="853588367" sldId="2134804361"/>
            <ac:spMk id="120" creationId="{09527C48-061F-94D5-9B29-17F8A70C9815}"/>
          </ac:spMkLst>
        </pc:spChg>
        <pc:spChg chg="add mod replST">
          <ac:chgData name="Wenwen Zhang" userId="9dd81366-5d6f-445a-b031-6ea562624431" providerId="ADAL" clId="{3909E7CC-5EA5-469C-9AFF-9A201E30CD9D}" dt="2022-12-06T22:06:30.274" v="65274"/>
          <ac:spMkLst>
            <pc:docMk/>
            <pc:sldMk cId="853588367" sldId="2134804361"/>
            <ac:spMk id="121" creationId="{961758EE-8AC7-B339-5039-0BC4FDCAC9F8}"/>
          </ac:spMkLst>
        </pc:spChg>
        <pc:spChg chg="add del mod ord replST">
          <ac:chgData name="Wenwen Zhang" userId="9dd81366-5d6f-445a-b031-6ea562624431" providerId="ADAL" clId="{3909E7CC-5EA5-469C-9AFF-9A201E30CD9D}" dt="2022-12-06T22:06:30.276" v="65276"/>
          <ac:spMkLst>
            <pc:docMk/>
            <pc:sldMk cId="853588367" sldId="2134804361"/>
            <ac:spMk id="122" creationId="{7CF3F3AC-902C-3E44-1BE1-C9E99A5FEA7E}"/>
          </ac:spMkLst>
        </pc:spChg>
        <pc:spChg chg="add mod replST">
          <ac:chgData name="Wenwen Zhang" userId="9dd81366-5d6f-445a-b031-6ea562624431" providerId="ADAL" clId="{3909E7CC-5EA5-469C-9AFF-9A201E30CD9D}" dt="2022-12-06T22:06:30.276" v="65277"/>
          <ac:spMkLst>
            <pc:docMk/>
            <pc:sldMk cId="853588367" sldId="2134804361"/>
            <ac:spMk id="123" creationId="{003DF909-5840-07E7-A971-F667BF2C4160}"/>
          </ac:spMkLst>
        </pc:spChg>
        <pc:spChg chg="add mod ord replST">
          <ac:chgData name="Wenwen Zhang" userId="9dd81366-5d6f-445a-b031-6ea562624431" providerId="ADAL" clId="{3909E7CC-5EA5-469C-9AFF-9A201E30CD9D}" dt="2022-12-06T22:06:30.277" v="65281"/>
          <ac:spMkLst>
            <pc:docMk/>
            <pc:sldMk cId="853588367" sldId="2134804361"/>
            <ac:spMk id="125" creationId="{A97773B0-CC35-AA61-9F79-8B71A53E6F4F}"/>
          </ac:spMkLst>
        </pc:spChg>
        <pc:spChg chg="add mod replST">
          <ac:chgData name="Wenwen Zhang" userId="9dd81366-5d6f-445a-b031-6ea562624431" providerId="ADAL" clId="{3909E7CC-5EA5-469C-9AFF-9A201E30CD9D}" dt="2022-12-06T22:06:30.277" v="65283"/>
          <ac:spMkLst>
            <pc:docMk/>
            <pc:sldMk cId="853588367" sldId="2134804361"/>
            <ac:spMk id="126" creationId="{D4841A68-3A7B-2D4C-2E10-5779DB290A18}"/>
          </ac:spMkLst>
        </pc:spChg>
        <pc:spChg chg="add mod replST">
          <ac:chgData name="Wenwen Zhang" userId="9dd81366-5d6f-445a-b031-6ea562624431" providerId="ADAL" clId="{3909E7CC-5EA5-469C-9AFF-9A201E30CD9D}" dt="2022-12-06T22:06:30.277" v="65282"/>
          <ac:spMkLst>
            <pc:docMk/>
            <pc:sldMk cId="853588367" sldId="2134804361"/>
            <ac:spMk id="127" creationId="{B85FA783-FC5C-A335-9593-76EEE1795146}"/>
          </ac:spMkLst>
        </pc:spChg>
        <pc:spChg chg="add mod replST">
          <ac:chgData name="Wenwen Zhang" userId="9dd81366-5d6f-445a-b031-6ea562624431" providerId="ADAL" clId="{3909E7CC-5EA5-469C-9AFF-9A201E30CD9D}" dt="2022-12-06T22:06:30.278" v="65289"/>
          <ac:spMkLst>
            <pc:docMk/>
            <pc:sldMk cId="853588367" sldId="2134804361"/>
            <ac:spMk id="129" creationId="{8C9596DF-CD4F-1987-E593-DA7D7F316E1D}"/>
          </ac:spMkLst>
        </pc:spChg>
        <pc:spChg chg="add mod replST">
          <ac:chgData name="Wenwen Zhang" userId="9dd81366-5d6f-445a-b031-6ea562624431" providerId="ADAL" clId="{3909E7CC-5EA5-469C-9AFF-9A201E30CD9D}" dt="2022-12-06T22:06:30.278" v="65288"/>
          <ac:spMkLst>
            <pc:docMk/>
            <pc:sldMk cId="853588367" sldId="2134804361"/>
            <ac:spMk id="130" creationId="{11260D6E-D5A9-62C6-F621-AC934C6BF6EC}"/>
          </ac:spMkLst>
        </pc:spChg>
        <pc:spChg chg="add mod replST">
          <ac:chgData name="Wenwen Zhang" userId="9dd81366-5d6f-445a-b031-6ea562624431" providerId="ADAL" clId="{3909E7CC-5EA5-469C-9AFF-9A201E30CD9D}" dt="2022-12-06T22:06:30.278" v="65290"/>
          <ac:spMkLst>
            <pc:docMk/>
            <pc:sldMk cId="853588367" sldId="2134804361"/>
            <ac:spMk id="131" creationId="{908498BF-C3B2-A3CD-8FFD-F11DEFAAE421}"/>
          </ac:spMkLst>
        </pc:spChg>
        <pc:spChg chg="add mod replST">
          <ac:chgData name="Wenwen Zhang" userId="9dd81366-5d6f-445a-b031-6ea562624431" providerId="ADAL" clId="{3909E7CC-5EA5-469C-9AFF-9A201E30CD9D}" dt="2022-12-06T22:06:30.278" v="65287"/>
          <ac:spMkLst>
            <pc:docMk/>
            <pc:sldMk cId="853588367" sldId="2134804361"/>
            <ac:spMk id="132" creationId="{3AD96635-1453-C29E-DF57-ECEED7328AAF}"/>
          </ac:spMkLst>
        </pc:spChg>
        <pc:spChg chg="add mod replST">
          <ac:chgData name="Wenwen Zhang" userId="9dd81366-5d6f-445a-b031-6ea562624431" providerId="ADAL" clId="{3909E7CC-5EA5-469C-9AFF-9A201E30CD9D}" dt="2022-12-06T22:06:30.279" v="65293"/>
          <ac:spMkLst>
            <pc:docMk/>
            <pc:sldMk cId="853588367" sldId="2134804361"/>
            <ac:spMk id="133" creationId="{783E8298-1BC6-5D4F-D8E4-28EB0B8CBC89}"/>
          </ac:spMkLst>
        </pc:spChg>
        <pc:spChg chg="add mod replST">
          <ac:chgData name="Wenwen Zhang" userId="9dd81366-5d6f-445a-b031-6ea562624431" providerId="ADAL" clId="{3909E7CC-5EA5-469C-9AFF-9A201E30CD9D}" dt="2022-12-06T22:06:30.279" v="65292"/>
          <ac:spMkLst>
            <pc:docMk/>
            <pc:sldMk cId="853588367" sldId="2134804361"/>
            <ac:spMk id="134" creationId="{8DBBC1D2-0DBF-C170-21D5-901871DABD3F}"/>
          </ac:spMkLst>
        </pc:spChg>
        <pc:spChg chg="add mod replST">
          <ac:chgData name="Wenwen Zhang" userId="9dd81366-5d6f-445a-b031-6ea562624431" providerId="ADAL" clId="{3909E7CC-5EA5-469C-9AFF-9A201E30CD9D}" dt="2022-12-06T22:06:30.278" v="65286"/>
          <ac:spMkLst>
            <pc:docMk/>
            <pc:sldMk cId="853588367" sldId="2134804361"/>
            <ac:spMk id="135" creationId="{AF6F9639-445C-F8DE-B0FE-43C4E32BC467}"/>
          </ac:spMkLst>
        </pc:spChg>
        <pc:spChg chg="add mod replST">
          <ac:chgData name="Wenwen Zhang" userId="9dd81366-5d6f-445a-b031-6ea562624431" providerId="ADAL" clId="{3909E7CC-5EA5-469C-9AFF-9A201E30CD9D}" dt="2022-12-06T22:06:30.279" v="65291"/>
          <ac:spMkLst>
            <pc:docMk/>
            <pc:sldMk cId="853588367" sldId="2134804361"/>
            <ac:spMk id="136" creationId="{68EC1D8E-A0FE-08F2-7519-150C51098AA6}"/>
          </ac:spMkLst>
        </pc:spChg>
        <pc:spChg chg="add mod replST">
          <ac:chgData name="Wenwen Zhang" userId="9dd81366-5d6f-445a-b031-6ea562624431" providerId="ADAL" clId="{3909E7CC-5EA5-469C-9AFF-9A201E30CD9D}" dt="2022-12-06T22:06:30.280" v="65296"/>
          <ac:spMkLst>
            <pc:docMk/>
            <pc:sldMk cId="853588367" sldId="2134804361"/>
            <ac:spMk id="137" creationId="{29F667CB-6569-0A6D-4C34-B7484C8C0906}"/>
          </ac:spMkLst>
        </pc:spChg>
        <pc:spChg chg="add mod replST">
          <ac:chgData name="Wenwen Zhang" userId="9dd81366-5d6f-445a-b031-6ea562624431" providerId="ADAL" clId="{3909E7CC-5EA5-469C-9AFF-9A201E30CD9D}" dt="2022-12-06T22:06:30.280" v="65295"/>
          <ac:spMkLst>
            <pc:docMk/>
            <pc:sldMk cId="853588367" sldId="2134804361"/>
            <ac:spMk id="138" creationId="{D75DD1B6-7E2E-C6A2-851B-95A169844BFE}"/>
          </ac:spMkLst>
        </pc:spChg>
        <pc:spChg chg="add mod replST">
          <ac:chgData name="Wenwen Zhang" userId="9dd81366-5d6f-445a-b031-6ea562624431" providerId="ADAL" clId="{3909E7CC-5EA5-469C-9AFF-9A201E30CD9D}" dt="2022-12-06T22:06:30.279" v="65294"/>
          <ac:spMkLst>
            <pc:docMk/>
            <pc:sldMk cId="853588367" sldId="2134804361"/>
            <ac:spMk id="139" creationId="{1ADD6669-24AA-81F3-652D-118CECD17A1F}"/>
          </ac:spMkLst>
        </pc:spChg>
        <pc:spChg chg="add mod replST">
          <ac:chgData name="Wenwen Zhang" userId="9dd81366-5d6f-445a-b031-6ea562624431" providerId="ADAL" clId="{3909E7CC-5EA5-469C-9AFF-9A201E30CD9D}" dt="2022-12-06T22:06:30.280" v="65297"/>
          <ac:spMkLst>
            <pc:docMk/>
            <pc:sldMk cId="853588367" sldId="2134804361"/>
            <ac:spMk id="140" creationId="{C95E4FD9-537E-DB96-3D6D-49570A40F374}"/>
          </ac:spMkLst>
        </pc:spChg>
        <pc:spChg chg="add mod replST">
          <ac:chgData name="Wenwen Zhang" userId="9dd81366-5d6f-445a-b031-6ea562624431" providerId="ADAL" clId="{3909E7CC-5EA5-469C-9AFF-9A201E30CD9D}" dt="2022-12-06T22:06:30.280" v="65298"/>
          <ac:spMkLst>
            <pc:docMk/>
            <pc:sldMk cId="853588367" sldId="2134804361"/>
            <ac:spMk id="141" creationId="{B13D8B3F-B0D7-3773-6573-3C3B9F8344D0}"/>
          </ac:spMkLst>
        </pc:spChg>
        <pc:spChg chg="add mod ord replST">
          <ac:chgData name="Wenwen Zhang" userId="9dd81366-5d6f-445a-b031-6ea562624431" providerId="ADAL" clId="{3909E7CC-5EA5-469C-9AFF-9A201E30CD9D}" dt="2022-12-06T22:06:30.281" v="65300"/>
          <ac:spMkLst>
            <pc:docMk/>
            <pc:sldMk cId="853588367" sldId="2134804361"/>
            <ac:spMk id="142" creationId="{ABED452A-494B-CF2F-293D-BADD86D9ADE5}"/>
          </ac:spMkLst>
        </pc:spChg>
        <pc:spChg chg="add mod replST">
          <ac:chgData name="Wenwen Zhang" userId="9dd81366-5d6f-445a-b031-6ea562624431" providerId="ADAL" clId="{3909E7CC-5EA5-469C-9AFF-9A201E30CD9D}" dt="2022-12-06T22:06:30.282" v="65305"/>
          <ac:spMkLst>
            <pc:docMk/>
            <pc:sldMk cId="853588367" sldId="2134804361"/>
            <ac:spMk id="144" creationId="{11C7A7E1-4336-A27E-C716-555F1F7E54EF}"/>
          </ac:spMkLst>
        </pc:spChg>
        <pc:spChg chg="add mod replST">
          <ac:chgData name="Wenwen Zhang" userId="9dd81366-5d6f-445a-b031-6ea562624431" providerId="ADAL" clId="{3909E7CC-5EA5-469C-9AFF-9A201E30CD9D}" dt="2022-12-06T22:06:30.281" v="65303"/>
          <ac:spMkLst>
            <pc:docMk/>
            <pc:sldMk cId="853588367" sldId="2134804361"/>
            <ac:spMk id="145" creationId="{517E4A6C-341D-0BEA-11CE-5A26F760D0DE}"/>
          </ac:spMkLst>
        </pc:spChg>
        <pc:spChg chg="add mod replST">
          <ac:chgData name="Wenwen Zhang" userId="9dd81366-5d6f-445a-b031-6ea562624431" providerId="ADAL" clId="{3909E7CC-5EA5-469C-9AFF-9A201E30CD9D}" dt="2022-12-06T22:06:30.282" v="65306"/>
          <ac:spMkLst>
            <pc:docMk/>
            <pc:sldMk cId="853588367" sldId="2134804361"/>
            <ac:spMk id="146" creationId="{758AEBAB-896C-46A7-630F-A419AC66B53F}"/>
          </ac:spMkLst>
        </pc:spChg>
        <pc:spChg chg="add mod replST">
          <ac:chgData name="Wenwen Zhang" userId="9dd81366-5d6f-445a-b031-6ea562624431" providerId="ADAL" clId="{3909E7CC-5EA5-469C-9AFF-9A201E30CD9D}" dt="2022-12-06T22:06:30.283" v="65311"/>
          <ac:spMkLst>
            <pc:docMk/>
            <pc:sldMk cId="853588367" sldId="2134804361"/>
            <ac:spMk id="147" creationId="{0F7532C7-B78B-559E-4691-EC779437B4C7}"/>
          </ac:spMkLst>
        </pc:spChg>
        <pc:spChg chg="add mod replST">
          <ac:chgData name="Wenwen Zhang" userId="9dd81366-5d6f-445a-b031-6ea562624431" providerId="ADAL" clId="{3909E7CC-5EA5-469C-9AFF-9A201E30CD9D}" dt="2022-12-06T22:06:30.282" v="65309"/>
          <ac:spMkLst>
            <pc:docMk/>
            <pc:sldMk cId="853588367" sldId="2134804361"/>
            <ac:spMk id="148" creationId="{50C656ED-8804-594C-2475-2154ACF7B5F2}"/>
          </ac:spMkLst>
        </pc:spChg>
        <pc:spChg chg="add mod replST">
          <ac:chgData name="Wenwen Zhang" userId="9dd81366-5d6f-445a-b031-6ea562624431" providerId="ADAL" clId="{3909E7CC-5EA5-469C-9AFF-9A201E30CD9D}" dt="2022-12-06T22:06:30.283" v="65310"/>
          <ac:spMkLst>
            <pc:docMk/>
            <pc:sldMk cId="853588367" sldId="2134804361"/>
            <ac:spMk id="149" creationId="{3ACD07E6-0573-2916-9E89-67904E6E7511}"/>
          </ac:spMkLst>
        </pc:spChg>
        <pc:spChg chg="add mod replST">
          <ac:chgData name="Wenwen Zhang" userId="9dd81366-5d6f-445a-b031-6ea562624431" providerId="ADAL" clId="{3909E7CC-5EA5-469C-9AFF-9A201E30CD9D}" dt="2022-12-06T22:06:30.282" v="65308"/>
          <ac:spMkLst>
            <pc:docMk/>
            <pc:sldMk cId="853588367" sldId="2134804361"/>
            <ac:spMk id="150" creationId="{762ED66D-115D-5EC3-1FEC-AA7BD1C36D0F}"/>
          </ac:spMkLst>
        </pc:spChg>
        <pc:spChg chg="add mod replST">
          <ac:chgData name="Wenwen Zhang" userId="9dd81366-5d6f-445a-b031-6ea562624431" providerId="ADAL" clId="{3909E7CC-5EA5-469C-9AFF-9A201E30CD9D}" dt="2022-12-06T22:06:30.283" v="65312"/>
          <ac:spMkLst>
            <pc:docMk/>
            <pc:sldMk cId="853588367" sldId="2134804361"/>
            <ac:spMk id="151" creationId="{BF73D308-71D9-D49B-CE57-AFAD03C13725}"/>
          </ac:spMkLst>
        </pc:spChg>
        <pc:spChg chg="add mod replST">
          <ac:chgData name="Wenwen Zhang" userId="9dd81366-5d6f-445a-b031-6ea562624431" providerId="ADAL" clId="{3909E7CC-5EA5-469C-9AFF-9A201E30CD9D}" dt="2022-12-06T22:06:30.284" v="65314"/>
          <ac:spMkLst>
            <pc:docMk/>
            <pc:sldMk cId="853588367" sldId="2134804361"/>
            <ac:spMk id="152" creationId="{5A28F48E-9F08-7DC0-DFC3-5E9305199018}"/>
          </ac:spMkLst>
        </pc:spChg>
        <pc:spChg chg="add mod replST">
          <ac:chgData name="Wenwen Zhang" userId="9dd81366-5d6f-445a-b031-6ea562624431" providerId="ADAL" clId="{3909E7CC-5EA5-469C-9AFF-9A201E30CD9D}" dt="2022-12-06T22:06:30.283" v="65313"/>
          <ac:spMkLst>
            <pc:docMk/>
            <pc:sldMk cId="853588367" sldId="2134804361"/>
            <ac:spMk id="153" creationId="{9E42A9CD-02AA-1343-29EE-1A645CACE54B}"/>
          </ac:spMkLst>
        </pc:spChg>
        <pc:spChg chg="add mod replST">
          <ac:chgData name="Wenwen Zhang" userId="9dd81366-5d6f-445a-b031-6ea562624431" providerId="ADAL" clId="{3909E7CC-5EA5-469C-9AFF-9A201E30CD9D}" dt="2022-12-06T22:06:30.282" v="65307"/>
          <ac:spMkLst>
            <pc:docMk/>
            <pc:sldMk cId="853588367" sldId="2134804361"/>
            <ac:spMk id="154" creationId="{3D323ECA-6509-1B33-A269-DD05152E8214}"/>
          </ac:spMkLst>
        </pc:spChg>
        <pc:spChg chg="add mod replST">
          <ac:chgData name="Wenwen Zhang" userId="9dd81366-5d6f-445a-b031-6ea562624431" providerId="ADAL" clId="{3909E7CC-5EA5-469C-9AFF-9A201E30CD9D}" dt="2022-12-06T22:06:30.284" v="65315"/>
          <ac:spMkLst>
            <pc:docMk/>
            <pc:sldMk cId="853588367" sldId="2134804361"/>
            <ac:spMk id="155" creationId="{FC8D7B74-EEC6-9314-DCA2-E6887B718127}"/>
          </ac:spMkLst>
        </pc:spChg>
        <pc:spChg chg="add mod replST">
          <ac:chgData name="Wenwen Zhang" userId="9dd81366-5d6f-445a-b031-6ea562624431" providerId="ADAL" clId="{3909E7CC-5EA5-469C-9AFF-9A201E30CD9D}" dt="2022-12-06T22:06:30.281" v="65304"/>
          <ac:spMkLst>
            <pc:docMk/>
            <pc:sldMk cId="853588367" sldId="2134804361"/>
            <ac:spMk id="156" creationId="{D3B03944-F181-5313-FDA9-9B3A3C3C1B83}"/>
          </ac:spMkLst>
        </pc:spChg>
        <pc:spChg chg="add mod replST">
          <ac:chgData name="Wenwen Zhang" userId="9dd81366-5d6f-445a-b031-6ea562624431" providerId="ADAL" clId="{3909E7CC-5EA5-469C-9AFF-9A201E30CD9D}" dt="2022-12-06T22:06:30.286" v="65324"/>
          <ac:spMkLst>
            <pc:docMk/>
            <pc:sldMk cId="853588367" sldId="2134804361"/>
            <ac:spMk id="158" creationId="{CF502607-5D84-957A-642D-C103006F216B}"/>
          </ac:spMkLst>
        </pc:spChg>
        <pc:spChg chg="add mod replST">
          <ac:chgData name="Wenwen Zhang" userId="9dd81366-5d6f-445a-b031-6ea562624431" providerId="ADAL" clId="{3909E7CC-5EA5-469C-9AFF-9A201E30CD9D}" dt="2022-12-06T22:06:30.286" v="65322"/>
          <ac:spMkLst>
            <pc:docMk/>
            <pc:sldMk cId="853588367" sldId="2134804361"/>
            <ac:spMk id="159" creationId="{9C7B7BA7-EB43-1B93-8ED0-3235B5D2EC39}"/>
          </ac:spMkLst>
        </pc:spChg>
        <pc:spChg chg="add mod ord replST">
          <ac:chgData name="Wenwen Zhang" userId="9dd81366-5d6f-445a-b031-6ea562624431" providerId="ADAL" clId="{3909E7CC-5EA5-469C-9AFF-9A201E30CD9D}" dt="2022-12-06T22:06:30.287" v="65326"/>
          <ac:spMkLst>
            <pc:docMk/>
            <pc:sldMk cId="853588367" sldId="2134804361"/>
            <ac:spMk id="160" creationId="{02571662-D82A-E194-AAF6-29909EB629CC}"/>
          </ac:spMkLst>
        </pc:spChg>
        <pc:spChg chg="add mod replST">
          <ac:chgData name="Wenwen Zhang" userId="9dd81366-5d6f-445a-b031-6ea562624431" providerId="ADAL" clId="{3909E7CC-5EA5-469C-9AFF-9A201E30CD9D}" dt="2022-12-06T22:06:30.285" v="65320"/>
          <ac:spMkLst>
            <pc:docMk/>
            <pc:sldMk cId="853588367" sldId="2134804361"/>
            <ac:spMk id="161" creationId="{266654B0-B5BC-EDF4-F208-AA7C4B400D9A}"/>
          </ac:spMkLst>
        </pc:spChg>
        <pc:spChg chg="add mod replST">
          <ac:chgData name="Wenwen Zhang" userId="9dd81366-5d6f-445a-b031-6ea562624431" providerId="ADAL" clId="{3909E7CC-5EA5-469C-9AFF-9A201E30CD9D}" dt="2022-12-06T22:06:30.285" v="65318"/>
          <ac:spMkLst>
            <pc:docMk/>
            <pc:sldMk cId="853588367" sldId="2134804361"/>
            <ac:spMk id="162" creationId="{0F473F9B-03DD-3606-33CC-E91C7361642F}"/>
          </ac:spMkLst>
        </pc:spChg>
        <pc:spChg chg="add mod replST">
          <ac:chgData name="Wenwen Zhang" userId="9dd81366-5d6f-445a-b031-6ea562624431" providerId="ADAL" clId="{3909E7CC-5EA5-469C-9AFF-9A201E30CD9D}" dt="2022-12-06T22:06:30.287" v="65328"/>
          <ac:spMkLst>
            <pc:docMk/>
            <pc:sldMk cId="853588367" sldId="2134804361"/>
            <ac:spMk id="163" creationId="{B8321BE6-85B8-0E43-59F3-C7E6211C2F36}"/>
          </ac:spMkLst>
        </pc:spChg>
        <pc:spChg chg="add mod replST">
          <ac:chgData name="Wenwen Zhang" userId="9dd81366-5d6f-445a-b031-6ea562624431" providerId="ADAL" clId="{3909E7CC-5EA5-469C-9AFF-9A201E30CD9D}" dt="2022-12-06T22:06:30.286" v="65323"/>
          <ac:spMkLst>
            <pc:docMk/>
            <pc:sldMk cId="853588367" sldId="2134804361"/>
            <ac:spMk id="164" creationId="{6C47C923-C1C8-DAF4-14EC-B489FD775865}"/>
          </ac:spMkLst>
        </pc:spChg>
        <pc:spChg chg="add mod replST">
          <ac:chgData name="Wenwen Zhang" userId="9dd81366-5d6f-445a-b031-6ea562624431" providerId="ADAL" clId="{3909E7CC-5EA5-469C-9AFF-9A201E30CD9D}" dt="2022-12-06T22:06:30.287" v="65327"/>
          <ac:spMkLst>
            <pc:docMk/>
            <pc:sldMk cId="853588367" sldId="2134804361"/>
            <ac:spMk id="165" creationId="{9B495C01-62DB-E83C-EF6B-BCA2190D72D3}"/>
          </ac:spMkLst>
        </pc:spChg>
        <pc:spChg chg="add mod replST">
          <ac:chgData name="Wenwen Zhang" userId="9dd81366-5d6f-445a-b031-6ea562624431" providerId="ADAL" clId="{3909E7CC-5EA5-469C-9AFF-9A201E30CD9D}" dt="2022-12-06T22:06:30.286" v="65321"/>
          <ac:spMkLst>
            <pc:docMk/>
            <pc:sldMk cId="853588367" sldId="2134804361"/>
            <ac:spMk id="166" creationId="{4B1E994B-115E-AB36-2426-9FF61B61E69B}"/>
          </ac:spMkLst>
        </pc:spChg>
        <pc:spChg chg="add mod replST">
          <ac:chgData name="Wenwen Zhang" userId="9dd81366-5d6f-445a-b031-6ea562624431" providerId="ADAL" clId="{3909E7CC-5EA5-469C-9AFF-9A201E30CD9D}" dt="2022-12-06T22:06:30.287" v="65329"/>
          <ac:spMkLst>
            <pc:docMk/>
            <pc:sldMk cId="853588367" sldId="2134804361"/>
            <ac:spMk id="167" creationId="{6DE5F6E4-B926-809C-D4DA-CC1A010E93DA}"/>
          </ac:spMkLst>
        </pc:spChg>
        <pc:spChg chg="add mod replST">
          <ac:chgData name="Wenwen Zhang" userId="9dd81366-5d6f-445a-b031-6ea562624431" providerId="ADAL" clId="{3909E7CC-5EA5-469C-9AFF-9A201E30CD9D}" dt="2022-12-06T22:06:30.285" v="65319"/>
          <ac:spMkLst>
            <pc:docMk/>
            <pc:sldMk cId="853588367" sldId="2134804361"/>
            <ac:spMk id="168" creationId="{2F9707DC-BA63-86C7-AFB0-C49FBF6FDC9A}"/>
          </ac:spMkLst>
        </pc:spChg>
        <pc:spChg chg="add mod replST">
          <ac:chgData name="Wenwen Zhang" userId="9dd81366-5d6f-445a-b031-6ea562624431" providerId="ADAL" clId="{3909E7CC-5EA5-469C-9AFF-9A201E30CD9D}" dt="2022-12-06T22:06:30.288" v="65330"/>
          <ac:spMkLst>
            <pc:docMk/>
            <pc:sldMk cId="853588367" sldId="2134804361"/>
            <ac:spMk id="169" creationId="{24B6AB77-6AB0-C1FD-9777-1063A8AE89B0}"/>
          </ac:spMkLst>
        </pc:spChg>
        <pc:spChg chg="add mod replST">
          <ac:chgData name="Wenwen Zhang" userId="9dd81366-5d6f-445a-b031-6ea562624431" providerId="ADAL" clId="{3909E7CC-5EA5-469C-9AFF-9A201E30CD9D}" dt="2022-12-06T22:06:30.288" v="65331"/>
          <ac:spMkLst>
            <pc:docMk/>
            <pc:sldMk cId="853588367" sldId="2134804361"/>
            <ac:spMk id="170" creationId="{6996419F-1E61-57C4-09E8-896E03F16A10}"/>
          </ac:spMkLst>
        </pc:spChg>
        <pc:spChg chg="add mod replST">
          <ac:chgData name="Wenwen Zhang" userId="9dd81366-5d6f-445a-b031-6ea562624431" providerId="ADAL" clId="{3909E7CC-5EA5-469C-9AFF-9A201E30CD9D}" dt="2022-12-06T22:06:30.288" v="65332"/>
          <ac:spMkLst>
            <pc:docMk/>
            <pc:sldMk cId="853588367" sldId="2134804361"/>
            <ac:spMk id="171" creationId="{B8BEE789-A054-B678-4B5B-587B7CF76E5C}"/>
          </ac:spMkLst>
        </pc:spChg>
        <pc:spChg chg="add mod ord replST">
          <ac:chgData name="Wenwen Zhang" userId="9dd81366-5d6f-445a-b031-6ea562624431" providerId="ADAL" clId="{3909E7CC-5EA5-469C-9AFF-9A201E30CD9D}" dt="2022-12-06T22:06:30.288" v="65334"/>
          <ac:spMkLst>
            <pc:docMk/>
            <pc:sldMk cId="853588367" sldId="2134804361"/>
            <ac:spMk id="172" creationId="{D38D3EEC-0703-1018-0682-108B8879B6BE}"/>
          </ac:spMkLst>
        </pc:spChg>
        <pc:spChg chg="add del mod modVis">
          <ac:chgData name="Wenwen Zhang" userId="9dd81366-5d6f-445a-b031-6ea562624431" providerId="ADAL" clId="{3909E7CC-5EA5-469C-9AFF-9A201E30CD9D}" dt="2022-12-05T21:41:02.120" v="9750"/>
          <ac:spMkLst>
            <pc:docMk/>
            <pc:sldMk cId="853588367" sldId="2134804361"/>
            <ac:spMk id="173" creationId="{131CEBEC-98DB-7C8A-474C-5EC6BC490B1C}"/>
          </ac:spMkLst>
        </pc:spChg>
        <pc:spChg chg="add del mod modVis">
          <ac:chgData name="Wenwen Zhang" userId="9dd81366-5d6f-445a-b031-6ea562624431" providerId="ADAL" clId="{3909E7CC-5EA5-469C-9AFF-9A201E30CD9D}" dt="2022-12-05T21:41:13.101" v="9991"/>
          <ac:spMkLst>
            <pc:docMk/>
            <pc:sldMk cId="853588367" sldId="2134804361"/>
            <ac:spMk id="178" creationId="{CF522433-D223-2E61-B77A-549FB9C77757}"/>
          </ac:spMkLst>
        </pc:spChg>
        <pc:spChg chg="add del mod modVis">
          <ac:chgData name="Wenwen Zhang" userId="9dd81366-5d6f-445a-b031-6ea562624431" providerId="ADAL" clId="{3909E7CC-5EA5-469C-9AFF-9A201E30CD9D}" dt="2022-12-05T21:41:22.327" v="10193"/>
          <ac:spMkLst>
            <pc:docMk/>
            <pc:sldMk cId="853588367" sldId="2134804361"/>
            <ac:spMk id="180" creationId="{FEE42970-5547-FD91-3A53-345AB7CB233C}"/>
          </ac:spMkLst>
        </pc:spChg>
        <pc:spChg chg="add del mod modVis">
          <ac:chgData name="Wenwen Zhang" userId="9dd81366-5d6f-445a-b031-6ea562624431" providerId="ADAL" clId="{3909E7CC-5EA5-469C-9AFF-9A201E30CD9D}" dt="2022-12-05T21:41:31.174" v="10395"/>
          <ac:spMkLst>
            <pc:docMk/>
            <pc:sldMk cId="853588367" sldId="2134804361"/>
            <ac:spMk id="182" creationId="{24FD631B-4C9B-3820-80D8-3046B62F2625}"/>
          </ac:spMkLst>
        </pc:spChg>
        <pc:spChg chg="add del mod modVis">
          <ac:chgData name="Wenwen Zhang" userId="9dd81366-5d6f-445a-b031-6ea562624431" providerId="ADAL" clId="{3909E7CC-5EA5-469C-9AFF-9A201E30CD9D}" dt="2022-12-05T21:41:47.708" v="10592"/>
          <ac:spMkLst>
            <pc:docMk/>
            <pc:sldMk cId="853588367" sldId="2134804361"/>
            <ac:spMk id="184" creationId="{67F4F4D8-1CCB-002B-34C8-BF780580B300}"/>
          </ac:spMkLst>
        </pc:spChg>
        <pc:spChg chg="add del mod modVis">
          <ac:chgData name="Wenwen Zhang" userId="9dd81366-5d6f-445a-b031-6ea562624431" providerId="ADAL" clId="{3909E7CC-5EA5-469C-9AFF-9A201E30CD9D}" dt="2022-12-05T21:41:50.978" v="10787"/>
          <ac:spMkLst>
            <pc:docMk/>
            <pc:sldMk cId="853588367" sldId="2134804361"/>
            <ac:spMk id="186" creationId="{1022A611-D2F4-0611-898B-4693D87853DB}"/>
          </ac:spMkLst>
        </pc:spChg>
        <pc:spChg chg="add del mod modVis">
          <ac:chgData name="Wenwen Zhang" userId="9dd81366-5d6f-445a-b031-6ea562624431" providerId="ADAL" clId="{3909E7CC-5EA5-469C-9AFF-9A201E30CD9D}" dt="2022-12-05T21:42:01.431" v="10999"/>
          <ac:spMkLst>
            <pc:docMk/>
            <pc:sldMk cId="853588367" sldId="2134804361"/>
            <ac:spMk id="188" creationId="{27BFD00F-7D76-F6F9-26D1-A242B6807002}"/>
          </ac:spMkLst>
        </pc:spChg>
        <pc:spChg chg="add del mod modVis">
          <ac:chgData name="Wenwen Zhang" userId="9dd81366-5d6f-445a-b031-6ea562624431" providerId="ADAL" clId="{3909E7CC-5EA5-469C-9AFF-9A201E30CD9D}" dt="2022-12-05T21:42:33.339" v="11203"/>
          <ac:spMkLst>
            <pc:docMk/>
            <pc:sldMk cId="853588367" sldId="2134804361"/>
            <ac:spMk id="190" creationId="{D0778DDE-1150-F824-4C16-F03A2FBF5BB0}"/>
          </ac:spMkLst>
        </pc:spChg>
        <pc:spChg chg="add del mod modVis">
          <ac:chgData name="Wenwen Zhang" userId="9dd81366-5d6f-445a-b031-6ea562624431" providerId="ADAL" clId="{3909E7CC-5EA5-469C-9AFF-9A201E30CD9D}" dt="2022-12-05T21:42:37.682" v="11420"/>
          <ac:spMkLst>
            <pc:docMk/>
            <pc:sldMk cId="853588367" sldId="2134804361"/>
            <ac:spMk id="192" creationId="{E6C6770B-3ED7-4559-210D-71B0FC50077D}"/>
          </ac:spMkLst>
        </pc:spChg>
        <pc:spChg chg="add del mod modVis">
          <ac:chgData name="Wenwen Zhang" userId="9dd81366-5d6f-445a-b031-6ea562624431" providerId="ADAL" clId="{3909E7CC-5EA5-469C-9AFF-9A201E30CD9D}" dt="2022-12-05T21:42:50.417" v="11637"/>
          <ac:spMkLst>
            <pc:docMk/>
            <pc:sldMk cId="853588367" sldId="2134804361"/>
            <ac:spMk id="194" creationId="{0C025600-C9CA-A2E2-041B-6E9A47E9F580}"/>
          </ac:spMkLst>
        </pc:spChg>
        <pc:spChg chg="add del mod modVis">
          <ac:chgData name="Wenwen Zhang" userId="9dd81366-5d6f-445a-b031-6ea562624431" providerId="ADAL" clId="{3909E7CC-5EA5-469C-9AFF-9A201E30CD9D}" dt="2022-12-05T21:42:58.072" v="11838"/>
          <ac:spMkLst>
            <pc:docMk/>
            <pc:sldMk cId="853588367" sldId="2134804361"/>
            <ac:spMk id="196" creationId="{E5161139-46E0-BA0F-35AB-D8AE8C3241E7}"/>
          </ac:spMkLst>
        </pc:spChg>
        <pc:spChg chg="add del mod modVis">
          <ac:chgData name="Wenwen Zhang" userId="9dd81366-5d6f-445a-b031-6ea562624431" providerId="ADAL" clId="{3909E7CC-5EA5-469C-9AFF-9A201E30CD9D}" dt="2022-12-05T21:43:10.038" v="12040"/>
          <ac:spMkLst>
            <pc:docMk/>
            <pc:sldMk cId="853588367" sldId="2134804361"/>
            <ac:spMk id="198" creationId="{4CECF92D-97DB-4530-E0B9-CAB34A5162FD}"/>
          </ac:spMkLst>
        </pc:spChg>
        <pc:spChg chg="add del mod modVis">
          <ac:chgData name="Wenwen Zhang" userId="9dd81366-5d6f-445a-b031-6ea562624431" providerId="ADAL" clId="{3909E7CC-5EA5-469C-9AFF-9A201E30CD9D}" dt="2022-12-05T21:44:06.027" v="12247"/>
          <ac:spMkLst>
            <pc:docMk/>
            <pc:sldMk cId="853588367" sldId="2134804361"/>
            <ac:spMk id="200" creationId="{0E6EB0C3-A925-152D-3570-5F95BABF9B6E}"/>
          </ac:spMkLst>
        </pc:spChg>
        <pc:spChg chg="add del mod modVis">
          <ac:chgData name="Wenwen Zhang" userId="9dd81366-5d6f-445a-b031-6ea562624431" providerId="ADAL" clId="{3909E7CC-5EA5-469C-9AFF-9A201E30CD9D}" dt="2022-12-05T21:44:09.037" v="12448"/>
          <ac:spMkLst>
            <pc:docMk/>
            <pc:sldMk cId="853588367" sldId="2134804361"/>
            <ac:spMk id="202" creationId="{95D8CF13-D86E-C376-7C43-57AE8692B328}"/>
          </ac:spMkLst>
        </pc:spChg>
        <pc:spChg chg="add del mod modVis">
          <ac:chgData name="Wenwen Zhang" userId="9dd81366-5d6f-445a-b031-6ea562624431" providerId="ADAL" clId="{3909E7CC-5EA5-469C-9AFF-9A201E30CD9D}" dt="2022-12-05T21:44:14.338" v="12694"/>
          <ac:spMkLst>
            <pc:docMk/>
            <pc:sldMk cId="853588367" sldId="2134804361"/>
            <ac:spMk id="204" creationId="{CE20AC5A-6613-C498-E77A-6976D0CE5E44}"/>
          </ac:spMkLst>
        </pc:spChg>
        <pc:spChg chg="add del mod modVis">
          <ac:chgData name="Wenwen Zhang" userId="9dd81366-5d6f-445a-b031-6ea562624431" providerId="ADAL" clId="{3909E7CC-5EA5-469C-9AFF-9A201E30CD9D}" dt="2022-12-05T21:44:38.094" v="12894"/>
          <ac:spMkLst>
            <pc:docMk/>
            <pc:sldMk cId="853588367" sldId="2134804361"/>
            <ac:spMk id="206" creationId="{5C1F2F3B-4594-EBDF-CB98-B9331DA7EFDF}"/>
          </ac:spMkLst>
        </pc:spChg>
        <pc:spChg chg="add del mod modVis">
          <ac:chgData name="Wenwen Zhang" userId="9dd81366-5d6f-445a-b031-6ea562624431" providerId="ADAL" clId="{3909E7CC-5EA5-469C-9AFF-9A201E30CD9D}" dt="2022-12-05T21:44:52.864" v="13100"/>
          <ac:spMkLst>
            <pc:docMk/>
            <pc:sldMk cId="853588367" sldId="2134804361"/>
            <ac:spMk id="208" creationId="{57266BBD-AD79-A2D4-C62A-AF2E83885C14}"/>
          </ac:spMkLst>
        </pc:spChg>
        <pc:spChg chg="add del mod modVis">
          <ac:chgData name="Wenwen Zhang" userId="9dd81366-5d6f-445a-b031-6ea562624431" providerId="ADAL" clId="{3909E7CC-5EA5-469C-9AFF-9A201E30CD9D}" dt="2022-12-05T21:44:56.628" v="13306"/>
          <ac:spMkLst>
            <pc:docMk/>
            <pc:sldMk cId="853588367" sldId="2134804361"/>
            <ac:spMk id="210" creationId="{85B6FDEC-00F0-47AC-0B72-40CA6509F4B6}"/>
          </ac:spMkLst>
        </pc:spChg>
        <pc:spChg chg="add del mod modVis">
          <ac:chgData name="Wenwen Zhang" userId="9dd81366-5d6f-445a-b031-6ea562624431" providerId="ADAL" clId="{3909E7CC-5EA5-469C-9AFF-9A201E30CD9D}" dt="2022-12-06T09:01:57.659" v="18172"/>
          <ac:spMkLst>
            <pc:docMk/>
            <pc:sldMk cId="853588367" sldId="2134804361"/>
            <ac:spMk id="212" creationId="{AB637B91-8846-C721-3F59-01068EDE96F9}"/>
          </ac:spMkLst>
        </pc:spChg>
        <pc:spChg chg="add del mod modVis">
          <ac:chgData name="Wenwen Zhang" userId="9dd81366-5d6f-445a-b031-6ea562624431" providerId="ADAL" clId="{3909E7CC-5EA5-469C-9AFF-9A201E30CD9D}" dt="2022-12-06T09:02:02.670" v="18343"/>
          <ac:spMkLst>
            <pc:docMk/>
            <pc:sldMk cId="853588367" sldId="2134804361"/>
            <ac:spMk id="214" creationId="{81E47B0D-52DD-9099-BC12-A52100FB5ADC}"/>
          </ac:spMkLst>
        </pc:spChg>
        <pc:spChg chg="add del mod modVis">
          <ac:chgData name="Wenwen Zhang" userId="9dd81366-5d6f-445a-b031-6ea562624431" providerId="ADAL" clId="{3909E7CC-5EA5-469C-9AFF-9A201E30CD9D}" dt="2022-12-06T09:02:14.328" v="18513"/>
          <ac:spMkLst>
            <pc:docMk/>
            <pc:sldMk cId="853588367" sldId="2134804361"/>
            <ac:spMk id="216" creationId="{0B9CFC80-F37C-AC97-C3E9-CD6D56712F2A}"/>
          </ac:spMkLst>
        </pc:spChg>
        <pc:spChg chg="add del mod modVis">
          <ac:chgData name="Wenwen Zhang" userId="9dd81366-5d6f-445a-b031-6ea562624431" providerId="ADAL" clId="{3909E7CC-5EA5-469C-9AFF-9A201E30CD9D}" dt="2022-12-06T09:02:18.533" v="18683"/>
          <ac:spMkLst>
            <pc:docMk/>
            <pc:sldMk cId="853588367" sldId="2134804361"/>
            <ac:spMk id="218" creationId="{E32D0F6F-8ECC-73D5-2A40-9422947982C7}"/>
          </ac:spMkLst>
        </pc:spChg>
        <pc:spChg chg="add del mod modVis">
          <ac:chgData name="Wenwen Zhang" userId="9dd81366-5d6f-445a-b031-6ea562624431" providerId="ADAL" clId="{3909E7CC-5EA5-469C-9AFF-9A201E30CD9D}" dt="2022-12-06T09:02:27.734" v="18854"/>
          <ac:spMkLst>
            <pc:docMk/>
            <pc:sldMk cId="853588367" sldId="2134804361"/>
            <ac:spMk id="220" creationId="{26AE2A36-F708-27B1-170C-099F1D6D32EA}"/>
          </ac:spMkLst>
        </pc:spChg>
        <pc:spChg chg="add del mod modVis">
          <ac:chgData name="Wenwen Zhang" userId="9dd81366-5d6f-445a-b031-6ea562624431" providerId="ADAL" clId="{3909E7CC-5EA5-469C-9AFF-9A201E30CD9D}" dt="2022-12-06T09:02:31.826" v="19025"/>
          <ac:spMkLst>
            <pc:docMk/>
            <pc:sldMk cId="853588367" sldId="2134804361"/>
            <ac:spMk id="222" creationId="{2C592BB8-8413-1353-D808-8250D52D3937}"/>
          </ac:spMkLst>
        </pc:spChg>
        <pc:spChg chg="add del mod modVis">
          <ac:chgData name="Wenwen Zhang" userId="9dd81366-5d6f-445a-b031-6ea562624431" providerId="ADAL" clId="{3909E7CC-5EA5-469C-9AFF-9A201E30CD9D}" dt="2022-12-06T09:02:40.088" v="19208"/>
          <ac:spMkLst>
            <pc:docMk/>
            <pc:sldMk cId="853588367" sldId="2134804361"/>
            <ac:spMk id="224" creationId="{C907CB68-5157-EB59-E4A6-575398836CC3}"/>
          </ac:spMkLst>
        </pc:spChg>
        <pc:spChg chg="add del mod modVis">
          <ac:chgData name="Wenwen Zhang" userId="9dd81366-5d6f-445a-b031-6ea562624431" providerId="ADAL" clId="{3909E7CC-5EA5-469C-9AFF-9A201E30CD9D}" dt="2022-12-06T09:02:43.456" v="19391"/>
          <ac:spMkLst>
            <pc:docMk/>
            <pc:sldMk cId="853588367" sldId="2134804361"/>
            <ac:spMk id="226" creationId="{F645E2BC-7155-B116-729B-8BE45E6564C7}"/>
          </ac:spMkLst>
        </pc:spChg>
        <pc:spChg chg="add del mod modVis">
          <ac:chgData name="Wenwen Zhang" userId="9dd81366-5d6f-445a-b031-6ea562624431" providerId="ADAL" clId="{3909E7CC-5EA5-469C-9AFF-9A201E30CD9D}" dt="2022-12-06T10:09:53.386" v="43948"/>
          <ac:spMkLst>
            <pc:docMk/>
            <pc:sldMk cId="853588367" sldId="2134804361"/>
            <ac:spMk id="228" creationId="{92632440-961D-6CF3-B515-39A229AB1D4C}"/>
          </ac:spMkLst>
        </pc:spChg>
        <pc:spChg chg="add del mod modVis">
          <ac:chgData name="Wenwen Zhang" userId="9dd81366-5d6f-445a-b031-6ea562624431" providerId="ADAL" clId="{3909E7CC-5EA5-469C-9AFF-9A201E30CD9D}" dt="2022-12-06T10:10:37.835" v="44630"/>
          <ac:spMkLst>
            <pc:docMk/>
            <pc:sldMk cId="853588367" sldId="2134804361"/>
            <ac:spMk id="230" creationId="{AAFCA612-E01A-CEA2-B0AB-CFBB443EEB77}"/>
          </ac:spMkLst>
        </pc:spChg>
        <pc:spChg chg="add del mod modVis">
          <ac:chgData name="Wenwen Zhang" userId="9dd81366-5d6f-445a-b031-6ea562624431" providerId="ADAL" clId="{3909E7CC-5EA5-469C-9AFF-9A201E30CD9D}" dt="2022-12-06T10:10:41.130" v="44833"/>
          <ac:spMkLst>
            <pc:docMk/>
            <pc:sldMk cId="853588367" sldId="2134804361"/>
            <ac:spMk id="232" creationId="{31FA3CFB-CF8B-4943-2619-B5DE091B795C}"/>
          </ac:spMkLst>
        </pc:spChg>
        <pc:spChg chg="add del mod modVis">
          <ac:chgData name="Wenwen Zhang" userId="9dd81366-5d6f-445a-b031-6ea562624431" providerId="ADAL" clId="{3909E7CC-5EA5-469C-9AFF-9A201E30CD9D}" dt="2022-12-06T10:10:46.096" v="45627"/>
          <ac:spMkLst>
            <pc:docMk/>
            <pc:sldMk cId="853588367" sldId="2134804361"/>
            <ac:spMk id="234" creationId="{C0C0CB1A-D0CA-A539-E32F-B2BF84A1737D}"/>
          </ac:spMkLst>
        </pc:spChg>
        <pc:spChg chg="add del mod modVis">
          <ac:chgData name="Wenwen Zhang" userId="9dd81366-5d6f-445a-b031-6ea562624431" providerId="ADAL" clId="{3909E7CC-5EA5-469C-9AFF-9A201E30CD9D}" dt="2022-12-06T10:10:49.045" v="45830"/>
          <ac:spMkLst>
            <pc:docMk/>
            <pc:sldMk cId="853588367" sldId="2134804361"/>
            <ac:spMk id="236" creationId="{3CCADB97-F8B1-2076-CC2B-E1A2F86D54B8}"/>
          </ac:spMkLst>
        </pc:spChg>
        <pc:spChg chg="add del mod modVis">
          <ac:chgData name="Wenwen Zhang" userId="9dd81366-5d6f-445a-b031-6ea562624431" providerId="ADAL" clId="{3909E7CC-5EA5-469C-9AFF-9A201E30CD9D}" dt="2022-12-06T12:40:43.224" v="48264"/>
          <ac:spMkLst>
            <pc:docMk/>
            <pc:sldMk cId="853588367" sldId="2134804361"/>
            <ac:spMk id="238" creationId="{A61FF5A1-6EB5-BC32-BEB8-6FEF213B05DF}"/>
          </ac:spMkLst>
        </pc:spChg>
        <pc:spChg chg="add del mod modVis">
          <ac:chgData name="Wenwen Zhang" userId="9dd81366-5d6f-445a-b031-6ea562624431" providerId="ADAL" clId="{3909E7CC-5EA5-469C-9AFF-9A201E30CD9D}" dt="2022-12-06T12:40:49.061" v="48345"/>
          <ac:spMkLst>
            <pc:docMk/>
            <pc:sldMk cId="853588367" sldId="2134804361"/>
            <ac:spMk id="240" creationId="{9D0B8645-2956-E95C-DDBC-13FF1E4F6E2A}"/>
          </ac:spMkLst>
        </pc:spChg>
        <pc:graphicFrameChg chg="add del mod ord replST">
          <ac:chgData name="Wenwen Zhang" userId="9dd81366-5d6f-445a-b031-6ea562624431" providerId="ADAL" clId="{3909E7CC-5EA5-469C-9AFF-9A201E30CD9D}" dt="2022-12-06T22:05:56.324" v="62472"/>
          <ac:graphicFrameMkLst>
            <pc:docMk/>
            <pc:sldMk cId="853588367" sldId="2134804361"/>
            <ac:graphicFrameMk id="4" creationId="{530CAF8A-DAAC-A5F1-045D-ADA2DABB456E}"/>
          </ac:graphicFrameMkLst>
        </pc:graphicFrameChg>
        <pc:graphicFrameChg chg="add del mod ord replST">
          <ac:chgData name="Wenwen Zhang" userId="9dd81366-5d6f-445a-b031-6ea562624431" providerId="ADAL" clId="{3909E7CC-5EA5-469C-9AFF-9A201E30CD9D}" dt="2022-12-05T21:39:54.741" v="128"/>
          <ac:graphicFrameMkLst>
            <pc:docMk/>
            <pc:sldMk cId="853588367" sldId="2134804361"/>
            <ac:graphicFrameMk id="4" creationId="{7A290623-E299-CD0D-7122-83A1802D8461}"/>
          </ac:graphicFrameMkLst>
        </pc:graphicFrameChg>
        <pc:graphicFrameChg chg="add del mod ord replST">
          <ac:chgData name="Wenwen Zhang" userId="9dd81366-5d6f-445a-b031-6ea562624431" providerId="ADAL" clId="{3909E7CC-5EA5-469C-9AFF-9A201E30CD9D}" dt="2022-12-05T21:39:54.733" v="118"/>
          <ac:graphicFrameMkLst>
            <pc:docMk/>
            <pc:sldMk cId="853588367" sldId="2134804361"/>
            <ac:graphicFrameMk id="5" creationId="{946D37DA-15F1-C138-C5CF-DB00CC020E67}"/>
          </ac:graphicFrameMkLst>
        </pc:graphicFrameChg>
        <pc:graphicFrameChg chg="add mod ord replST">
          <ac:chgData name="Wenwen Zhang" userId="9dd81366-5d6f-445a-b031-6ea562624431" providerId="ADAL" clId="{3909E7CC-5EA5-469C-9AFF-9A201E30CD9D}" dt="2022-12-06T22:06:30.277" v="65285"/>
          <ac:graphicFrameMkLst>
            <pc:docMk/>
            <pc:sldMk cId="853588367" sldId="2134804361"/>
            <ac:graphicFrameMk id="6" creationId="{11DDE9BB-5BB2-835F-5190-180195F944DA}"/>
          </ac:graphicFrameMkLst>
        </pc:graphicFrameChg>
        <pc:graphicFrameChg chg="add del mod ord replST">
          <ac:chgData name="Wenwen Zhang" userId="9dd81366-5d6f-445a-b031-6ea562624431" providerId="ADAL" clId="{3909E7CC-5EA5-469C-9AFF-9A201E30CD9D}" dt="2022-12-05T21:39:59.878" v="164"/>
          <ac:graphicFrameMkLst>
            <pc:docMk/>
            <pc:sldMk cId="853588367" sldId="2134804361"/>
            <ac:graphicFrameMk id="6" creationId="{A3484F4B-1F08-7157-9839-B9507F12D0A6}"/>
          </ac:graphicFrameMkLst>
        </pc:graphicFrameChg>
        <pc:graphicFrameChg chg="add del mod ord replST">
          <ac:chgData name="Wenwen Zhang" userId="9dd81366-5d6f-445a-b031-6ea562624431" providerId="ADAL" clId="{3909E7CC-5EA5-469C-9AFF-9A201E30CD9D}" dt="2022-12-06T22:06:08.668" v="63300"/>
          <ac:graphicFrameMkLst>
            <pc:docMk/>
            <pc:sldMk cId="853588367" sldId="2134804361"/>
            <ac:graphicFrameMk id="8" creationId="{10C5DECF-2731-2861-D526-D8AB24B09517}"/>
          </ac:graphicFrameMkLst>
        </pc:graphicFrameChg>
        <pc:graphicFrameChg chg="add mod ord replST">
          <ac:chgData name="Wenwen Zhang" userId="9dd81366-5d6f-445a-b031-6ea562624431" providerId="ADAL" clId="{3909E7CC-5EA5-469C-9AFF-9A201E30CD9D}" dt="2022-12-06T22:06:30.281" v="65302"/>
          <ac:graphicFrameMkLst>
            <pc:docMk/>
            <pc:sldMk cId="853588367" sldId="2134804361"/>
            <ac:graphicFrameMk id="10" creationId="{947B0649-E9C4-771B-133E-505C8EFFFEB7}"/>
          </ac:graphicFrameMkLst>
        </pc:graphicFrameChg>
        <pc:graphicFrameChg chg="add del mod ord replST">
          <ac:chgData name="Wenwen Zhang" userId="9dd81366-5d6f-445a-b031-6ea562624431" providerId="ADAL" clId="{3909E7CC-5EA5-469C-9AFF-9A201E30CD9D}" dt="2022-12-06T22:06:20.210" v="64267"/>
          <ac:graphicFrameMkLst>
            <pc:docMk/>
            <pc:sldMk cId="853588367" sldId="2134804361"/>
            <ac:graphicFrameMk id="12" creationId="{579CCF57-10DD-415F-4C64-16557F9BACC6}"/>
          </ac:graphicFrameMkLst>
        </pc:graphicFrameChg>
        <pc:graphicFrameChg chg="add del mod replST">
          <ac:chgData name="Wenwen Zhang" userId="9dd81366-5d6f-445a-b031-6ea562624431" providerId="ADAL" clId="{3909E7CC-5EA5-469C-9AFF-9A201E30CD9D}" dt="2022-12-05T21:40:34.667" v="6219"/>
          <ac:graphicFrameMkLst>
            <pc:docMk/>
            <pc:sldMk cId="853588367" sldId="2134804361"/>
            <ac:graphicFrameMk id="13" creationId="{21388BDB-452B-9533-2962-FD19F15B5863}"/>
          </ac:graphicFrameMkLst>
        </pc:graphicFrameChg>
        <pc:graphicFrameChg chg="del">
          <ac:chgData name="Wenwen Zhang" userId="9dd81366-5d6f-445a-b031-6ea562624431" providerId="ADAL" clId="{3909E7CC-5EA5-469C-9AFF-9A201E30CD9D}" dt="2022-12-05T21:39:51.609" v="66"/>
          <ac:graphicFrameMkLst>
            <pc:docMk/>
            <pc:sldMk cId="853588367" sldId="2134804361"/>
            <ac:graphicFrameMk id="14" creationId="{37FE89EE-5B6A-6CD3-F2BA-8CA5F89B5F3D}"/>
          </ac:graphicFrameMkLst>
        </pc:graphicFrameChg>
        <pc:graphicFrameChg chg="add mod ord replST">
          <ac:chgData name="Wenwen Zhang" userId="9dd81366-5d6f-445a-b031-6ea562624431" providerId="ADAL" clId="{3909E7CC-5EA5-469C-9AFF-9A201E30CD9D}" dt="2022-12-06T22:06:30.285" v="65317"/>
          <ac:graphicFrameMkLst>
            <pc:docMk/>
            <pc:sldMk cId="853588367" sldId="2134804361"/>
            <ac:graphicFrameMk id="14" creationId="{D7C386E5-AE55-6D41-E3F7-1D63967C76B2}"/>
          </ac:graphicFrameMkLst>
        </pc:graphicFrameChg>
        <pc:graphicFrameChg chg="add del mod ord replST">
          <ac:chgData name="Wenwen Zhang" userId="9dd81366-5d6f-445a-b031-6ea562624431" providerId="ADAL" clId="{3909E7CC-5EA5-469C-9AFF-9A201E30CD9D}" dt="2022-12-06T22:06:30.215" v="65226"/>
          <ac:graphicFrameMkLst>
            <pc:docMk/>
            <pc:sldMk cId="853588367" sldId="2134804361"/>
            <ac:graphicFrameMk id="16" creationId="{300C9D20-C4E3-8C03-8180-7C19F640735F}"/>
          </ac:graphicFrameMkLst>
        </pc:graphicFrameChg>
        <pc:graphicFrameChg chg="del">
          <ac:chgData name="Wenwen Zhang" userId="9dd81366-5d6f-445a-b031-6ea562624431" providerId="ADAL" clId="{3909E7CC-5EA5-469C-9AFF-9A201E30CD9D}" dt="2022-12-05T21:39:51.571" v="5"/>
          <ac:graphicFrameMkLst>
            <pc:docMk/>
            <pc:sldMk cId="853588367" sldId="2134804361"/>
            <ac:graphicFrameMk id="18" creationId="{627BD503-FE77-D9F0-2A93-F378F57F0BD8}"/>
          </ac:graphicFrameMkLst>
        </pc:graphicFrameChg>
        <pc:graphicFrameChg chg="add mod ord replST">
          <ac:chgData name="Wenwen Zhang" userId="9dd81366-5d6f-445a-b031-6ea562624431" providerId="ADAL" clId="{3909E7CC-5EA5-469C-9AFF-9A201E30CD9D}" dt="2022-12-06T22:06:30.272" v="65262"/>
          <ac:graphicFrameMkLst>
            <pc:docMk/>
            <pc:sldMk cId="853588367" sldId="2134804361"/>
            <ac:graphicFrameMk id="18" creationId="{FC0DF97C-D737-F0FA-7509-0A5F68B29C08}"/>
          </ac:graphicFrameMkLst>
        </pc:graphicFrameChg>
        <pc:graphicFrameChg chg="del">
          <ac:chgData name="Wenwen Zhang" userId="9dd81366-5d6f-445a-b031-6ea562624431" providerId="ADAL" clId="{3909E7CC-5EA5-469C-9AFF-9A201E30CD9D}" dt="2022-12-05T21:39:51.572" v="9"/>
          <ac:graphicFrameMkLst>
            <pc:docMk/>
            <pc:sldMk cId="853588367" sldId="2134804361"/>
            <ac:graphicFrameMk id="20" creationId="{9B47CE27-5BA7-B253-76A0-1DEDD2631B48}"/>
          </ac:graphicFrameMkLst>
        </pc:graphicFrameChg>
        <pc:graphicFrameChg chg="del">
          <ac:chgData name="Wenwen Zhang" userId="9dd81366-5d6f-445a-b031-6ea562624431" providerId="ADAL" clId="{3909E7CC-5EA5-469C-9AFF-9A201E30CD9D}" dt="2022-12-05T21:39:51.632" v="80"/>
          <ac:graphicFrameMkLst>
            <pc:docMk/>
            <pc:sldMk cId="853588367" sldId="2134804361"/>
            <ac:graphicFrameMk id="21" creationId="{C43ABD81-9114-C62E-B8C9-EE12FEF4BAC8}"/>
          </ac:graphicFrameMkLst>
        </pc:graphicFrameChg>
        <pc:graphicFrameChg chg="mod">
          <ac:chgData name="Wenwen Zhang" userId="9dd81366-5d6f-445a-b031-6ea562624431" providerId="ADAL" clId="{3909E7CC-5EA5-469C-9AFF-9A201E30CD9D}" dt="2022-12-06T22:06:30.302" v="65340"/>
          <ac:graphicFrameMkLst>
            <pc:docMk/>
            <pc:sldMk cId="853588367" sldId="2134804361"/>
            <ac:graphicFrameMk id="28" creationId="{015DFAEE-F78A-C272-92CE-F25C3417CAD0}"/>
          </ac:graphicFrameMkLst>
        </pc:graphicFrameChg>
        <pc:graphicFrameChg chg="add del mod replST">
          <ac:chgData name="Wenwen Zhang" userId="9dd81366-5d6f-445a-b031-6ea562624431" providerId="ADAL" clId="{3909E7CC-5EA5-469C-9AFF-9A201E30CD9D}" dt="2022-12-05T21:40:34.667" v="6219"/>
          <ac:graphicFrameMkLst>
            <pc:docMk/>
            <pc:sldMk cId="853588367" sldId="2134804361"/>
            <ac:graphicFrameMk id="54" creationId="{E98E7FB4-AD61-F864-4565-2EF3CCABB720}"/>
          </ac:graphicFrameMkLst>
        </pc:graphicFrameChg>
        <pc:graphicFrameChg chg="add del mod replST">
          <ac:chgData name="Wenwen Zhang" userId="9dd81366-5d6f-445a-b031-6ea562624431" providerId="ADAL" clId="{3909E7CC-5EA5-469C-9AFF-9A201E30CD9D}" dt="2022-12-05T21:40:34.667" v="6219"/>
          <ac:graphicFrameMkLst>
            <pc:docMk/>
            <pc:sldMk cId="853588367" sldId="2134804361"/>
            <ac:graphicFrameMk id="69" creationId="{0782586A-908C-5106-21CD-0E454B4D33AF}"/>
          </ac:graphicFrameMkLst>
        </pc:graphicFrameChg>
        <pc:graphicFrameChg chg="add del mod replST">
          <ac:chgData name="Wenwen Zhang" userId="9dd81366-5d6f-445a-b031-6ea562624431" providerId="ADAL" clId="{3909E7CC-5EA5-469C-9AFF-9A201E30CD9D}" dt="2022-12-05T21:40:34.667" v="6219"/>
          <ac:graphicFrameMkLst>
            <pc:docMk/>
            <pc:sldMk cId="853588367" sldId="2134804361"/>
            <ac:graphicFrameMk id="83" creationId="{7DA1ED25-BC35-4AAB-76DD-A55B611A65CB}"/>
          </ac:graphicFrameMkLst>
        </pc:graphicFrameChg>
        <pc:graphicFrameChg chg="add mod ord replST delST">
          <ac:chgData name="Wenwen Zhang" userId="9dd81366-5d6f-445a-b031-6ea562624431" providerId="ADAL" clId="{3909E7CC-5EA5-469C-9AFF-9A201E30CD9D}" dt="2022-12-05T21:40:34.667" v="6219"/>
          <ac:graphicFrameMkLst>
            <pc:docMk/>
            <pc:sldMk cId="853588367" sldId="2134804361"/>
            <ac:graphicFrameMk id="100" creationId="{5622FC9A-C00E-0CB2-BDFC-C8B62D50EF9C}"/>
          </ac:graphicFrameMkLst>
        </pc:graphicFrameChg>
        <pc:graphicFrameChg chg="add mod ord replST delST">
          <ac:chgData name="Wenwen Zhang" userId="9dd81366-5d6f-445a-b031-6ea562624431" providerId="ADAL" clId="{3909E7CC-5EA5-469C-9AFF-9A201E30CD9D}" dt="2022-12-05T21:40:34.667" v="6219"/>
          <ac:graphicFrameMkLst>
            <pc:docMk/>
            <pc:sldMk cId="853588367" sldId="2134804361"/>
            <ac:graphicFrameMk id="101" creationId="{975A02E7-6602-294B-1306-D1CF73E9F7AD}"/>
          </ac:graphicFrameMkLst>
        </pc:graphicFrameChg>
        <pc:graphicFrameChg chg="add mod ord replST delST">
          <ac:chgData name="Wenwen Zhang" userId="9dd81366-5d6f-445a-b031-6ea562624431" providerId="ADAL" clId="{3909E7CC-5EA5-469C-9AFF-9A201E30CD9D}" dt="2022-12-05T21:40:34.667" v="6219"/>
          <ac:graphicFrameMkLst>
            <pc:docMk/>
            <pc:sldMk cId="853588367" sldId="2134804361"/>
            <ac:graphicFrameMk id="102" creationId="{800ABC68-872E-D7AB-C800-8652A223CF2C}"/>
          </ac:graphicFrameMkLst>
        </pc:graphicFrameChg>
        <pc:graphicFrameChg chg="add mod ord replST delST">
          <ac:chgData name="Wenwen Zhang" userId="9dd81366-5d6f-445a-b031-6ea562624431" providerId="ADAL" clId="{3909E7CC-5EA5-469C-9AFF-9A201E30CD9D}" dt="2022-12-05T21:40:34.667" v="6219"/>
          <ac:graphicFrameMkLst>
            <pc:docMk/>
            <pc:sldMk cId="853588367" sldId="2134804361"/>
            <ac:graphicFrameMk id="103" creationId="{D0621D92-3567-2B29-6636-2527F6297C24}"/>
          </ac:graphicFrameMkLst>
        </pc:graphicFrameChg>
        <pc:graphicFrameChg chg="add del mod replST">
          <ac:chgData name="Wenwen Zhang" userId="9dd81366-5d6f-445a-b031-6ea562624431" providerId="ADAL" clId="{3909E7CC-5EA5-469C-9AFF-9A201E30CD9D}" dt="2022-12-05T21:41:00.966" v="7800"/>
          <ac:graphicFrameMkLst>
            <pc:docMk/>
            <pc:sldMk cId="853588367" sldId="2134804361"/>
            <ac:graphicFrameMk id="109" creationId="{00B7E1D0-5D1B-A75B-CE2D-3DA73246FF0E}"/>
          </ac:graphicFrameMkLst>
        </pc:graphicFrameChg>
        <pc:graphicFrameChg chg="add del mod replST">
          <ac:chgData name="Wenwen Zhang" userId="9dd81366-5d6f-445a-b031-6ea562624431" providerId="ADAL" clId="{3909E7CC-5EA5-469C-9AFF-9A201E30CD9D}" dt="2022-12-05T21:41:01.292" v="8353"/>
          <ac:graphicFrameMkLst>
            <pc:docMk/>
            <pc:sldMk cId="853588367" sldId="2134804361"/>
            <ac:graphicFrameMk id="128" creationId="{9369F8F0-8174-390A-5A1F-09D52772EBF9}"/>
          </ac:graphicFrameMkLst>
        </pc:graphicFrameChg>
        <pc:graphicFrameChg chg="add del mod replST">
          <ac:chgData name="Wenwen Zhang" userId="9dd81366-5d6f-445a-b031-6ea562624431" providerId="ADAL" clId="{3909E7CC-5EA5-469C-9AFF-9A201E30CD9D}" dt="2022-12-05T21:41:01.640" v="8929"/>
          <ac:graphicFrameMkLst>
            <pc:docMk/>
            <pc:sldMk cId="853588367" sldId="2134804361"/>
            <ac:graphicFrameMk id="143" creationId="{AAF97889-7EE6-2C8E-2379-E2C28C91BD45}"/>
          </ac:graphicFrameMkLst>
        </pc:graphicFrameChg>
        <pc:graphicFrameChg chg="add del mod replST">
          <ac:chgData name="Wenwen Zhang" userId="9dd81366-5d6f-445a-b031-6ea562624431" providerId="ADAL" clId="{3909E7CC-5EA5-469C-9AFF-9A201E30CD9D}" dt="2022-12-05T21:41:02.040" v="9618"/>
          <ac:graphicFrameMkLst>
            <pc:docMk/>
            <pc:sldMk cId="853588367" sldId="2134804361"/>
            <ac:graphicFrameMk id="157" creationId="{9EC716D5-74DB-7421-5E12-7A8B43BA7B3C}"/>
          </ac:graphicFrameMkLst>
        </pc:graphicFrameChg>
        <pc:graphicFrameChg chg="add del mod ord replST">
          <ac:chgData name="Wenwen Zhang" userId="9dd81366-5d6f-445a-b031-6ea562624431" providerId="ADAL" clId="{3909E7CC-5EA5-469C-9AFF-9A201E30CD9D}" dt="2022-12-05T21:44:52.807" v="13000"/>
          <ac:graphicFrameMkLst>
            <pc:docMk/>
            <pc:sldMk cId="853588367" sldId="2134804361"/>
            <ac:graphicFrameMk id="174" creationId="{20847D02-04C4-DF4C-159C-74E26E6F17EA}"/>
          </ac:graphicFrameMkLst>
        </pc:graphicFrameChg>
        <pc:graphicFrameChg chg="add del mod ord replST">
          <ac:chgData name="Wenwen Zhang" userId="9dd81366-5d6f-445a-b031-6ea562624431" providerId="ADAL" clId="{3909E7CC-5EA5-469C-9AFF-9A201E30CD9D}" dt="2022-12-05T21:41:13.045" v="9891"/>
          <ac:graphicFrameMkLst>
            <pc:docMk/>
            <pc:sldMk cId="853588367" sldId="2134804361"/>
            <ac:graphicFrameMk id="175" creationId="{A7BFDA8B-AD29-A1BB-0E16-757BAB39D525}"/>
          </ac:graphicFrameMkLst>
        </pc:graphicFrameChg>
        <pc:graphicFrameChg chg="add del mod ord replST">
          <ac:chgData name="Wenwen Zhang" userId="9dd81366-5d6f-445a-b031-6ea562624431" providerId="ADAL" clId="{3909E7CC-5EA5-469C-9AFF-9A201E30CD9D}" dt="2022-12-05T21:41:47.651" v="10492"/>
          <ac:graphicFrameMkLst>
            <pc:docMk/>
            <pc:sldMk cId="853588367" sldId="2134804361"/>
            <ac:graphicFrameMk id="176" creationId="{A3AC94F7-F24A-5432-AA63-7478C4A83266}"/>
          </ac:graphicFrameMkLst>
        </pc:graphicFrameChg>
        <pc:graphicFrameChg chg="add del mod ord replST">
          <ac:chgData name="Wenwen Zhang" userId="9dd81366-5d6f-445a-b031-6ea562624431" providerId="ADAL" clId="{3909E7CC-5EA5-469C-9AFF-9A201E30CD9D}" dt="2022-12-05T21:42:33.280" v="11103"/>
          <ac:graphicFrameMkLst>
            <pc:docMk/>
            <pc:sldMk cId="853588367" sldId="2134804361"/>
            <ac:graphicFrameMk id="177" creationId="{13ABEE45-77B5-F50F-CB1E-D9B83B279305}"/>
          </ac:graphicFrameMkLst>
        </pc:graphicFrameChg>
        <pc:graphicFrameChg chg="add del mod ord replST">
          <ac:chgData name="Wenwen Zhang" userId="9dd81366-5d6f-445a-b031-6ea562624431" providerId="ADAL" clId="{3909E7CC-5EA5-469C-9AFF-9A201E30CD9D}" dt="2022-12-05T21:41:22.270" v="10093"/>
          <ac:graphicFrameMkLst>
            <pc:docMk/>
            <pc:sldMk cId="853588367" sldId="2134804361"/>
            <ac:graphicFrameMk id="179" creationId="{6559B946-13FB-6903-2444-B8EA59AAD90A}"/>
          </ac:graphicFrameMkLst>
        </pc:graphicFrameChg>
        <pc:graphicFrameChg chg="add del mod ord replST">
          <ac:chgData name="Wenwen Zhang" userId="9dd81366-5d6f-445a-b031-6ea562624431" providerId="ADAL" clId="{3909E7CC-5EA5-469C-9AFF-9A201E30CD9D}" dt="2022-12-05T21:41:31.117" v="10295"/>
          <ac:graphicFrameMkLst>
            <pc:docMk/>
            <pc:sldMk cId="853588367" sldId="2134804361"/>
            <ac:graphicFrameMk id="181" creationId="{F74A6675-FE77-7EB7-CC39-5348B715008A}"/>
          </ac:graphicFrameMkLst>
        </pc:graphicFrameChg>
        <pc:graphicFrameChg chg="add del mod ord replST">
          <ac:chgData name="Wenwen Zhang" userId="9dd81366-5d6f-445a-b031-6ea562624431" providerId="ADAL" clId="{3909E7CC-5EA5-469C-9AFF-9A201E30CD9D}" dt="2022-12-05T21:42:01.376" v="10899"/>
          <ac:graphicFrameMkLst>
            <pc:docMk/>
            <pc:sldMk cId="853588367" sldId="2134804361"/>
            <ac:graphicFrameMk id="183" creationId="{C9ECE850-242F-97A4-99F2-F49CD6AC1A4A}"/>
          </ac:graphicFrameMkLst>
        </pc:graphicFrameChg>
        <pc:graphicFrameChg chg="add del mod ord replST">
          <ac:chgData name="Wenwen Zhang" userId="9dd81366-5d6f-445a-b031-6ea562624431" providerId="ADAL" clId="{3909E7CC-5EA5-469C-9AFF-9A201E30CD9D}" dt="2022-12-05T21:41:50.922" v="10687"/>
          <ac:graphicFrameMkLst>
            <pc:docMk/>
            <pc:sldMk cId="853588367" sldId="2134804361"/>
            <ac:graphicFrameMk id="185" creationId="{89FF5713-FAC1-65B4-2AB9-EBD68402FCB9}"/>
          </ac:graphicFrameMkLst>
        </pc:graphicFrameChg>
        <pc:graphicFrameChg chg="add del mod ord replST">
          <ac:chgData name="Wenwen Zhang" userId="9dd81366-5d6f-445a-b031-6ea562624431" providerId="ADAL" clId="{3909E7CC-5EA5-469C-9AFF-9A201E30CD9D}" dt="2022-12-05T21:44:38.041" v="12794"/>
          <ac:graphicFrameMkLst>
            <pc:docMk/>
            <pc:sldMk cId="853588367" sldId="2134804361"/>
            <ac:graphicFrameMk id="187" creationId="{87DAF41C-9C59-797F-DA86-7C7F890D95A5}"/>
          </ac:graphicFrameMkLst>
        </pc:graphicFrameChg>
        <pc:graphicFrameChg chg="add del mod ord replST">
          <ac:chgData name="Wenwen Zhang" userId="9dd81366-5d6f-445a-b031-6ea562624431" providerId="ADAL" clId="{3909E7CC-5EA5-469C-9AFF-9A201E30CD9D}" dt="2022-12-05T21:42:58.018" v="11738"/>
          <ac:graphicFrameMkLst>
            <pc:docMk/>
            <pc:sldMk cId="853588367" sldId="2134804361"/>
            <ac:graphicFrameMk id="189" creationId="{E06DCA1B-7CF2-EEFE-DD42-A791A7E28B9F}"/>
          </ac:graphicFrameMkLst>
        </pc:graphicFrameChg>
        <pc:graphicFrameChg chg="add del mod ord replST">
          <ac:chgData name="Wenwen Zhang" userId="9dd81366-5d6f-445a-b031-6ea562624431" providerId="ADAL" clId="{3909E7CC-5EA5-469C-9AFF-9A201E30CD9D}" dt="2022-12-05T21:42:37.611" v="11305"/>
          <ac:graphicFrameMkLst>
            <pc:docMk/>
            <pc:sldMk cId="853588367" sldId="2134804361"/>
            <ac:graphicFrameMk id="191" creationId="{969F58A4-DBFB-367C-15C6-B89BF087BE72}"/>
          </ac:graphicFrameMkLst>
        </pc:graphicFrameChg>
        <pc:graphicFrameChg chg="add del mod ord replST">
          <ac:chgData name="Wenwen Zhang" userId="9dd81366-5d6f-445a-b031-6ea562624431" providerId="ADAL" clId="{3909E7CC-5EA5-469C-9AFF-9A201E30CD9D}" dt="2022-12-05T21:42:50.351" v="11522"/>
          <ac:graphicFrameMkLst>
            <pc:docMk/>
            <pc:sldMk cId="853588367" sldId="2134804361"/>
            <ac:graphicFrameMk id="193" creationId="{DF49955F-9E63-CECB-1B3F-04CA96C48B7E}"/>
          </ac:graphicFrameMkLst>
        </pc:graphicFrameChg>
        <pc:graphicFrameChg chg="add del mod ord replST">
          <ac:chgData name="Wenwen Zhang" userId="9dd81366-5d6f-445a-b031-6ea562624431" providerId="ADAL" clId="{3909E7CC-5EA5-469C-9AFF-9A201E30CD9D}" dt="2022-12-05T21:43:09.982" v="11940"/>
          <ac:graphicFrameMkLst>
            <pc:docMk/>
            <pc:sldMk cId="853588367" sldId="2134804361"/>
            <ac:graphicFrameMk id="195" creationId="{A67DDD83-9E7A-09F7-6D11-D96993F93C38}"/>
          </ac:graphicFrameMkLst>
        </pc:graphicFrameChg>
        <pc:graphicFrameChg chg="add del mod ord replST">
          <ac:chgData name="Wenwen Zhang" userId="9dd81366-5d6f-445a-b031-6ea562624431" providerId="ADAL" clId="{3909E7CC-5EA5-469C-9AFF-9A201E30CD9D}" dt="2022-12-05T21:44:05.969" v="12147"/>
          <ac:graphicFrameMkLst>
            <pc:docMk/>
            <pc:sldMk cId="853588367" sldId="2134804361"/>
            <ac:graphicFrameMk id="197" creationId="{7FF6FF91-64F3-0A44-31D7-50B964DA7DBD}"/>
          </ac:graphicFrameMkLst>
        </pc:graphicFrameChg>
        <pc:graphicFrameChg chg="add del mod ord replST">
          <ac:chgData name="Wenwen Zhang" userId="9dd81366-5d6f-445a-b031-6ea562624431" providerId="ADAL" clId="{3909E7CC-5EA5-469C-9AFF-9A201E30CD9D}" dt="2022-12-05T21:44:14.271" v="12579"/>
          <ac:graphicFrameMkLst>
            <pc:docMk/>
            <pc:sldMk cId="853588367" sldId="2134804361"/>
            <ac:graphicFrameMk id="199" creationId="{6C2EB9BD-C410-95F7-42AC-88FEB245B3EC}"/>
          </ac:graphicFrameMkLst>
        </pc:graphicFrameChg>
        <pc:graphicFrameChg chg="add del mod ord replST">
          <ac:chgData name="Wenwen Zhang" userId="9dd81366-5d6f-445a-b031-6ea562624431" providerId="ADAL" clId="{3909E7CC-5EA5-469C-9AFF-9A201E30CD9D}" dt="2022-12-05T21:44:08.981" v="12348"/>
          <ac:graphicFrameMkLst>
            <pc:docMk/>
            <pc:sldMk cId="853588367" sldId="2134804361"/>
            <ac:graphicFrameMk id="201" creationId="{BA4CD3C0-3220-69D5-6D15-B35B2797DF1D}"/>
          </ac:graphicFrameMkLst>
        </pc:graphicFrameChg>
        <pc:graphicFrameChg chg="add del mod ord replST">
          <ac:chgData name="Wenwen Zhang" userId="9dd81366-5d6f-445a-b031-6ea562624431" providerId="ADAL" clId="{3909E7CC-5EA5-469C-9AFF-9A201E30CD9D}" dt="2022-12-06T09:01:57.533" v="18072"/>
          <ac:graphicFrameMkLst>
            <pc:docMk/>
            <pc:sldMk cId="853588367" sldId="2134804361"/>
            <ac:graphicFrameMk id="203" creationId="{896B9679-0423-DA84-C4A2-991DC5B6FDA4}"/>
          </ac:graphicFrameMkLst>
        </pc:graphicFrameChg>
        <pc:graphicFrameChg chg="add del mod ord replST">
          <ac:chgData name="Wenwen Zhang" userId="9dd81366-5d6f-445a-b031-6ea562624431" providerId="ADAL" clId="{3909E7CC-5EA5-469C-9AFF-9A201E30CD9D}" dt="2022-12-06T09:02:27.662" v="18754"/>
          <ac:graphicFrameMkLst>
            <pc:docMk/>
            <pc:sldMk cId="853588367" sldId="2134804361"/>
            <ac:graphicFrameMk id="205" creationId="{4E66B212-0B12-2A82-1728-4BD3D5460AD7}"/>
          </ac:graphicFrameMkLst>
        </pc:graphicFrameChg>
        <pc:graphicFrameChg chg="add del mod ord replST">
          <ac:chgData name="Wenwen Zhang" userId="9dd81366-5d6f-445a-b031-6ea562624431" providerId="ADAL" clId="{3909E7CC-5EA5-469C-9AFF-9A201E30CD9D}" dt="2022-12-06T09:02:14.160" v="18413"/>
          <ac:graphicFrameMkLst>
            <pc:docMk/>
            <pc:sldMk cId="853588367" sldId="2134804361"/>
            <ac:graphicFrameMk id="207" creationId="{4E6CC7D2-714C-A78C-05A1-7B54A1703E8A}"/>
          </ac:graphicFrameMkLst>
        </pc:graphicFrameChg>
        <pc:graphicFrameChg chg="add del mod ord replST">
          <ac:chgData name="Wenwen Zhang" userId="9dd81366-5d6f-445a-b031-6ea562624431" providerId="ADAL" clId="{3909E7CC-5EA5-469C-9AFF-9A201E30CD9D}" dt="2022-12-05T21:44:56.568" v="13206"/>
          <ac:graphicFrameMkLst>
            <pc:docMk/>
            <pc:sldMk cId="853588367" sldId="2134804361"/>
            <ac:graphicFrameMk id="209" creationId="{DA3B0202-84D8-9352-C78F-6E93A8726A25}"/>
          </ac:graphicFrameMkLst>
        </pc:graphicFrameChg>
        <pc:graphicFrameChg chg="add del mod ord replST">
          <ac:chgData name="Wenwen Zhang" userId="9dd81366-5d6f-445a-b031-6ea562624431" providerId="ADAL" clId="{3909E7CC-5EA5-469C-9AFF-9A201E30CD9D}" dt="2022-12-06T09:02:39.933" v="19096"/>
          <ac:graphicFrameMkLst>
            <pc:docMk/>
            <pc:sldMk cId="853588367" sldId="2134804361"/>
            <ac:graphicFrameMk id="211" creationId="{D975FA00-9F3B-D144-7951-13D1C5679AD2}"/>
          </ac:graphicFrameMkLst>
        </pc:graphicFrameChg>
        <pc:graphicFrameChg chg="add del mod ord replST">
          <ac:chgData name="Wenwen Zhang" userId="9dd81366-5d6f-445a-b031-6ea562624431" providerId="ADAL" clId="{3909E7CC-5EA5-469C-9AFF-9A201E30CD9D}" dt="2022-12-06T09:02:02.525" v="18243"/>
          <ac:graphicFrameMkLst>
            <pc:docMk/>
            <pc:sldMk cId="853588367" sldId="2134804361"/>
            <ac:graphicFrameMk id="213" creationId="{D55BAAE7-A7CC-95A0-8F3F-4053D522C211}"/>
          </ac:graphicFrameMkLst>
        </pc:graphicFrameChg>
        <pc:graphicFrameChg chg="add del mod ord replST">
          <ac:chgData name="Wenwen Zhang" userId="9dd81366-5d6f-445a-b031-6ea562624431" providerId="ADAL" clId="{3909E7CC-5EA5-469C-9AFF-9A201E30CD9D}" dt="2022-12-06T10:10:37.744" v="44495"/>
          <ac:graphicFrameMkLst>
            <pc:docMk/>
            <pc:sldMk cId="853588367" sldId="2134804361"/>
            <ac:graphicFrameMk id="215" creationId="{7F35A44B-BD05-8CE7-1872-D46527DACC07}"/>
          </ac:graphicFrameMkLst>
        </pc:graphicFrameChg>
        <pc:graphicFrameChg chg="add del mod ord replST">
          <ac:chgData name="Wenwen Zhang" userId="9dd81366-5d6f-445a-b031-6ea562624431" providerId="ADAL" clId="{3909E7CC-5EA5-469C-9AFF-9A201E30CD9D}" dt="2022-12-06T09:02:18.450" v="18583"/>
          <ac:graphicFrameMkLst>
            <pc:docMk/>
            <pc:sldMk cId="853588367" sldId="2134804361"/>
            <ac:graphicFrameMk id="217" creationId="{34505C4D-13D2-B534-897A-E3E7B6094A89}"/>
          </ac:graphicFrameMkLst>
        </pc:graphicFrameChg>
        <pc:graphicFrameChg chg="add del mod ord replST">
          <ac:chgData name="Wenwen Zhang" userId="9dd81366-5d6f-445a-b031-6ea562624431" providerId="ADAL" clId="{3909E7CC-5EA5-469C-9AFF-9A201E30CD9D}" dt="2022-12-06T22:06:05.104" v="63108"/>
          <ac:graphicFrameMkLst>
            <pc:docMk/>
            <pc:sldMk cId="853588367" sldId="2134804361"/>
            <ac:graphicFrameMk id="219" creationId="{AB96A197-B90B-BCAC-A5E9-1761E922CA5F}"/>
          </ac:graphicFrameMkLst>
        </pc:graphicFrameChg>
        <pc:graphicFrameChg chg="add del mod ord replST">
          <ac:chgData name="Wenwen Zhang" userId="9dd81366-5d6f-445a-b031-6ea562624431" providerId="ADAL" clId="{3909E7CC-5EA5-469C-9AFF-9A201E30CD9D}" dt="2022-12-06T09:02:31.730" v="18925"/>
          <ac:graphicFrameMkLst>
            <pc:docMk/>
            <pc:sldMk cId="853588367" sldId="2134804361"/>
            <ac:graphicFrameMk id="221" creationId="{109D2F63-3013-62B7-8929-ED082429E905}"/>
          </ac:graphicFrameMkLst>
        </pc:graphicFrameChg>
        <pc:graphicFrameChg chg="add del mod ord replST">
          <ac:chgData name="Wenwen Zhang" userId="9dd81366-5d6f-445a-b031-6ea562624431" providerId="ADAL" clId="{3909E7CC-5EA5-469C-9AFF-9A201E30CD9D}" dt="2022-12-06T10:10:46.021" v="45505"/>
          <ac:graphicFrameMkLst>
            <pc:docMk/>
            <pc:sldMk cId="853588367" sldId="2134804361"/>
            <ac:graphicFrameMk id="223" creationId="{4F771701-30F0-5AC6-F895-909B53A7710A}"/>
          </ac:graphicFrameMkLst>
        </pc:graphicFrameChg>
        <pc:graphicFrameChg chg="add del mod ord replST">
          <ac:chgData name="Wenwen Zhang" userId="9dd81366-5d6f-445a-b031-6ea562624431" providerId="ADAL" clId="{3909E7CC-5EA5-469C-9AFF-9A201E30CD9D}" dt="2022-12-06T09:02:43.328" v="19279"/>
          <ac:graphicFrameMkLst>
            <pc:docMk/>
            <pc:sldMk cId="853588367" sldId="2134804361"/>
            <ac:graphicFrameMk id="225" creationId="{EBF435F4-7F12-2643-C205-E148427B43C6}"/>
          </ac:graphicFrameMkLst>
        </pc:graphicFrameChg>
        <pc:graphicFrameChg chg="add del mod ord replST">
          <ac:chgData name="Wenwen Zhang" userId="9dd81366-5d6f-445a-b031-6ea562624431" providerId="ADAL" clId="{3909E7CC-5EA5-469C-9AFF-9A201E30CD9D}" dt="2022-12-06T22:06:27.360" v="65035"/>
          <ac:graphicFrameMkLst>
            <pc:docMk/>
            <pc:sldMk cId="853588367" sldId="2134804361"/>
            <ac:graphicFrameMk id="227" creationId="{7B802469-179E-B603-FBE4-D24A8873B9A8}"/>
          </ac:graphicFrameMkLst>
        </pc:graphicFrameChg>
        <pc:graphicFrameChg chg="add mod ord replST delST">
          <ac:chgData name="Wenwen Zhang" userId="9dd81366-5d6f-445a-b031-6ea562624431" providerId="ADAL" clId="{3909E7CC-5EA5-469C-9AFF-9A201E30CD9D}" dt="2022-12-06T10:09:53.386" v="43948"/>
          <ac:graphicFrameMkLst>
            <pc:docMk/>
            <pc:sldMk cId="853588367" sldId="2134804361"/>
            <ac:graphicFrameMk id="229" creationId="{06D8A3D9-E189-8711-55DB-F1883E92001D}"/>
          </ac:graphicFrameMkLst>
        </pc:graphicFrameChg>
        <pc:graphicFrameChg chg="add del mod ord replST">
          <ac:chgData name="Wenwen Zhang" userId="9dd81366-5d6f-445a-b031-6ea562624431" providerId="ADAL" clId="{3909E7CC-5EA5-469C-9AFF-9A201E30CD9D}" dt="2022-12-06T10:10:41.065" v="44733"/>
          <ac:graphicFrameMkLst>
            <pc:docMk/>
            <pc:sldMk cId="853588367" sldId="2134804361"/>
            <ac:graphicFrameMk id="231" creationId="{A9F6D713-0FEA-310E-8F4B-5A4BB809F264}"/>
          </ac:graphicFrameMkLst>
        </pc:graphicFrameChg>
        <pc:graphicFrameChg chg="add del mod ord replST">
          <ac:chgData name="Wenwen Zhang" userId="9dd81366-5d6f-445a-b031-6ea562624431" providerId="ADAL" clId="{3909E7CC-5EA5-469C-9AFF-9A201E30CD9D}" dt="2022-12-06T22:05:52.503" v="62264"/>
          <ac:graphicFrameMkLst>
            <pc:docMk/>
            <pc:sldMk cId="853588367" sldId="2134804361"/>
            <ac:graphicFrameMk id="233" creationId="{74916CF7-03A0-C196-BE12-B622E57E033B}"/>
          </ac:graphicFrameMkLst>
        </pc:graphicFrameChg>
        <pc:graphicFrameChg chg="add del mod ord replST">
          <ac:chgData name="Wenwen Zhang" userId="9dd81366-5d6f-445a-b031-6ea562624431" providerId="ADAL" clId="{3909E7CC-5EA5-469C-9AFF-9A201E30CD9D}" dt="2022-12-06T10:10:48.982" v="45730"/>
          <ac:graphicFrameMkLst>
            <pc:docMk/>
            <pc:sldMk cId="853588367" sldId="2134804361"/>
            <ac:graphicFrameMk id="235" creationId="{34340927-40F4-9040-BF69-1EEBB37DB9B3}"/>
          </ac:graphicFrameMkLst>
        </pc:graphicFrameChg>
        <pc:graphicFrameChg chg="add del mod ord replST">
          <ac:chgData name="Wenwen Zhang" userId="9dd81366-5d6f-445a-b031-6ea562624431" providerId="ADAL" clId="{3909E7CC-5EA5-469C-9AFF-9A201E30CD9D}" dt="2022-12-06T22:06:16.612" v="64072"/>
          <ac:graphicFrameMkLst>
            <pc:docMk/>
            <pc:sldMk cId="853588367" sldId="2134804361"/>
            <ac:graphicFrameMk id="237" creationId="{92E81F7A-29EA-AACC-B776-73B5229E0036}"/>
          </ac:graphicFrameMkLst>
        </pc:graphicFrameChg>
        <pc:graphicFrameChg chg="add mod ord replST delST">
          <ac:chgData name="Wenwen Zhang" userId="9dd81366-5d6f-445a-b031-6ea562624431" providerId="ADAL" clId="{3909E7CC-5EA5-469C-9AFF-9A201E30CD9D}" dt="2022-12-06T12:40:43.224" v="48264"/>
          <ac:graphicFrameMkLst>
            <pc:docMk/>
            <pc:sldMk cId="853588367" sldId="2134804361"/>
            <ac:graphicFrameMk id="239" creationId="{E91BDB9D-3EEB-186B-A532-2B5776DB9E4A}"/>
          </ac:graphicFrameMkLst>
        </pc:graphicFrameChg>
        <pc:cxnChg chg="add del mod ord replST">
          <ac:chgData name="Wenwen Zhang" userId="9dd81366-5d6f-445a-b031-6ea562624431" providerId="ADAL" clId="{3909E7CC-5EA5-469C-9AFF-9A201E30CD9D}" dt="2022-12-05T21:40:34.667" v="6219"/>
          <ac:cxnSpMkLst>
            <pc:docMk/>
            <pc:sldMk cId="853588367" sldId="2134804361"/>
            <ac:cxnSpMk id="12" creationId="{2438E5B6-04B7-7934-E715-801016C9FDE3}"/>
          </ac:cxnSpMkLst>
        </pc:cxnChg>
        <pc:cxnChg chg="add del mod ord replST">
          <ac:chgData name="Wenwen Zhang" userId="9dd81366-5d6f-445a-b031-6ea562624431" providerId="ADAL" clId="{3909E7CC-5EA5-469C-9AFF-9A201E30CD9D}" dt="2022-12-05T21:40:34.667" v="6219"/>
          <ac:cxnSpMkLst>
            <pc:docMk/>
            <pc:sldMk cId="853588367" sldId="2134804361"/>
            <ac:cxnSpMk id="50" creationId="{0F5A65DD-4F8B-C65E-DD40-D3A4020A656E}"/>
          </ac:cxnSpMkLst>
        </pc:cxnChg>
        <pc:cxnChg chg="add del mod ord replST">
          <ac:chgData name="Wenwen Zhang" userId="9dd81366-5d6f-445a-b031-6ea562624431" providerId="ADAL" clId="{3909E7CC-5EA5-469C-9AFF-9A201E30CD9D}" dt="2022-12-06T22:06:30.272" v="65260"/>
          <ac:cxnSpMkLst>
            <pc:docMk/>
            <pc:sldMk cId="853588367" sldId="2134804361"/>
            <ac:cxnSpMk id="108" creationId="{A0F13C74-0AD2-77A7-B9DD-9577B9C430C2}"/>
          </ac:cxnSpMkLst>
        </pc:cxnChg>
        <pc:cxnChg chg="add mod ord replST">
          <ac:chgData name="Wenwen Zhang" userId="9dd81366-5d6f-445a-b031-6ea562624431" providerId="ADAL" clId="{3909E7CC-5EA5-469C-9AFF-9A201E30CD9D}" dt="2022-12-06T22:06:30.276" v="65279"/>
          <ac:cxnSpMkLst>
            <pc:docMk/>
            <pc:sldMk cId="853588367" sldId="2134804361"/>
            <ac:cxnSpMk id="124" creationId="{63582769-525A-4B3F-03CE-DCEC233A6CC4}"/>
          </ac:cxnSpMkLst>
        </pc:cxnChg>
      </pc:sldChg>
      <pc:sldChg chg="addSp delSp modSp add mod ord modNotesTx">
        <pc:chgData name="Wenwen Zhang" userId="9dd81366-5d6f-445a-b031-6ea562624431" providerId="ADAL" clId="{3909E7CC-5EA5-469C-9AFF-9A201E30CD9D}" dt="2022-12-06T09:26:09.040" v="43434" actId="20577"/>
        <pc:sldMkLst>
          <pc:docMk/>
          <pc:sldMk cId="2564188142" sldId="2134804362"/>
        </pc:sldMkLst>
        <pc:spChg chg="mod ord">
          <ac:chgData name="Wenwen Zhang" userId="9dd81366-5d6f-445a-b031-6ea562624431" providerId="ADAL" clId="{3909E7CC-5EA5-469C-9AFF-9A201E30CD9D}" dt="2022-12-06T09:18:20.038" v="43241"/>
          <ac:spMkLst>
            <pc:docMk/>
            <pc:sldMk cId="2564188142" sldId="2134804362"/>
            <ac:spMk id="2" creationId="{B065B79C-C4D6-5961-7919-6BB68C420868}"/>
          </ac:spMkLst>
        </pc:spChg>
        <pc:spChg chg="add del mod replST">
          <ac:chgData name="Wenwen Zhang" userId="9dd81366-5d6f-445a-b031-6ea562624431" providerId="ADAL" clId="{3909E7CC-5EA5-469C-9AFF-9A201E30CD9D}" dt="2022-12-05T22:29:59.161" v="15487"/>
          <ac:spMkLst>
            <pc:docMk/>
            <pc:sldMk cId="2564188142" sldId="2134804362"/>
            <ac:spMk id="20" creationId="{CAFB419B-2CA0-257D-5A52-191B6AB3E07A}"/>
          </ac:spMkLst>
        </pc:spChg>
        <pc:spChg chg="add del mod replST">
          <ac:chgData name="Wenwen Zhang" userId="9dd81366-5d6f-445a-b031-6ea562624431" providerId="ADAL" clId="{3909E7CC-5EA5-469C-9AFF-9A201E30CD9D}" dt="2022-12-05T22:29:59.161" v="15487"/>
          <ac:spMkLst>
            <pc:docMk/>
            <pc:sldMk cId="2564188142" sldId="2134804362"/>
            <ac:spMk id="21" creationId="{3D404A33-1FCB-7B19-B2B8-9345918765CC}"/>
          </ac:spMkLst>
        </pc:spChg>
        <pc:spChg chg="add del mod replST">
          <ac:chgData name="Wenwen Zhang" userId="9dd81366-5d6f-445a-b031-6ea562624431" providerId="ADAL" clId="{3909E7CC-5EA5-469C-9AFF-9A201E30CD9D}" dt="2022-12-05T22:29:59.161" v="15487"/>
          <ac:spMkLst>
            <pc:docMk/>
            <pc:sldMk cId="2564188142" sldId="2134804362"/>
            <ac:spMk id="22" creationId="{648B87C3-5D0E-AC0B-7442-81D1B57A07DC}"/>
          </ac:spMkLst>
        </pc:spChg>
        <pc:spChg chg="add del mod replST">
          <ac:chgData name="Wenwen Zhang" userId="9dd81366-5d6f-445a-b031-6ea562624431" providerId="ADAL" clId="{3909E7CC-5EA5-469C-9AFF-9A201E30CD9D}" dt="2022-12-05T22:29:59.161" v="15487"/>
          <ac:spMkLst>
            <pc:docMk/>
            <pc:sldMk cId="2564188142" sldId="2134804362"/>
            <ac:spMk id="23" creationId="{7263C46E-FD37-462D-9FCE-3C243D111328}"/>
          </ac:spMkLst>
        </pc:spChg>
        <pc:spChg chg="add del mod replST">
          <ac:chgData name="Wenwen Zhang" userId="9dd81366-5d6f-445a-b031-6ea562624431" providerId="ADAL" clId="{3909E7CC-5EA5-469C-9AFF-9A201E30CD9D}" dt="2022-12-05T22:29:59.161" v="15487"/>
          <ac:spMkLst>
            <pc:docMk/>
            <pc:sldMk cId="2564188142" sldId="2134804362"/>
            <ac:spMk id="24" creationId="{6F216D9B-6605-E949-5589-C133D2844CE2}"/>
          </ac:spMkLst>
        </pc:spChg>
        <pc:spChg chg="add del mod replST">
          <ac:chgData name="Wenwen Zhang" userId="9dd81366-5d6f-445a-b031-6ea562624431" providerId="ADAL" clId="{3909E7CC-5EA5-469C-9AFF-9A201E30CD9D}" dt="2022-12-05T22:29:59.161" v="15487"/>
          <ac:spMkLst>
            <pc:docMk/>
            <pc:sldMk cId="2564188142" sldId="2134804362"/>
            <ac:spMk id="25" creationId="{BD6B3B7E-9475-9276-327C-B91D6A7592DE}"/>
          </ac:spMkLst>
        </pc:spChg>
        <pc:spChg chg="add del mod replST">
          <ac:chgData name="Wenwen Zhang" userId="9dd81366-5d6f-445a-b031-6ea562624431" providerId="ADAL" clId="{3909E7CC-5EA5-469C-9AFF-9A201E30CD9D}" dt="2022-12-05T22:29:59.161" v="15487"/>
          <ac:spMkLst>
            <pc:docMk/>
            <pc:sldMk cId="2564188142" sldId="2134804362"/>
            <ac:spMk id="26" creationId="{CFA49A6C-5FCC-34CD-2AA8-B75454540BEB}"/>
          </ac:spMkLst>
        </pc:spChg>
        <pc:spChg chg="add del mod replST">
          <ac:chgData name="Wenwen Zhang" userId="9dd81366-5d6f-445a-b031-6ea562624431" providerId="ADAL" clId="{3909E7CC-5EA5-469C-9AFF-9A201E30CD9D}" dt="2022-12-05T22:29:59.161" v="15487"/>
          <ac:spMkLst>
            <pc:docMk/>
            <pc:sldMk cId="2564188142" sldId="2134804362"/>
            <ac:spMk id="27" creationId="{152A7D66-D702-46CA-0E5F-9375806185F8}"/>
          </ac:spMkLst>
        </pc:spChg>
        <pc:spChg chg="mod ord">
          <ac:chgData name="Wenwen Zhang" userId="9dd81366-5d6f-445a-b031-6ea562624431" providerId="ADAL" clId="{3909E7CC-5EA5-469C-9AFF-9A201E30CD9D}" dt="2022-12-06T09:24:13.995" v="43420" actId="20577"/>
          <ac:spMkLst>
            <pc:docMk/>
            <pc:sldMk cId="2564188142" sldId="2134804362"/>
            <ac:spMk id="29" creationId="{D50B6CAA-A666-5524-85F7-444C607F0970}"/>
          </ac:spMkLst>
        </pc:spChg>
        <pc:spChg chg="add del mod replST">
          <ac:chgData name="Wenwen Zhang" userId="9dd81366-5d6f-445a-b031-6ea562624431" providerId="ADAL" clId="{3909E7CC-5EA5-469C-9AFF-9A201E30CD9D}" dt="2022-12-05T22:29:59.161" v="15487"/>
          <ac:spMkLst>
            <pc:docMk/>
            <pc:sldMk cId="2564188142" sldId="2134804362"/>
            <ac:spMk id="30" creationId="{F8854434-EABE-7753-D4D3-7A652EA072DE}"/>
          </ac:spMkLst>
        </pc:spChg>
        <pc:spChg chg="add del mod replST">
          <ac:chgData name="Wenwen Zhang" userId="9dd81366-5d6f-445a-b031-6ea562624431" providerId="ADAL" clId="{3909E7CC-5EA5-469C-9AFF-9A201E30CD9D}" dt="2022-12-05T22:29:59.161" v="15487"/>
          <ac:spMkLst>
            <pc:docMk/>
            <pc:sldMk cId="2564188142" sldId="2134804362"/>
            <ac:spMk id="31" creationId="{070113A2-E360-B30C-7802-F2493234114C}"/>
          </ac:spMkLst>
        </pc:spChg>
        <pc:spChg chg="add del mod replST">
          <ac:chgData name="Wenwen Zhang" userId="9dd81366-5d6f-445a-b031-6ea562624431" providerId="ADAL" clId="{3909E7CC-5EA5-469C-9AFF-9A201E30CD9D}" dt="2022-12-05T22:29:59.161" v="15487"/>
          <ac:spMkLst>
            <pc:docMk/>
            <pc:sldMk cId="2564188142" sldId="2134804362"/>
            <ac:spMk id="32" creationId="{86C0FF93-838C-AF46-E4F6-4BECAC4F155C}"/>
          </ac:spMkLst>
        </pc:spChg>
        <pc:spChg chg="add del mod replST">
          <ac:chgData name="Wenwen Zhang" userId="9dd81366-5d6f-445a-b031-6ea562624431" providerId="ADAL" clId="{3909E7CC-5EA5-469C-9AFF-9A201E30CD9D}" dt="2022-12-05T22:29:59.161" v="15487"/>
          <ac:spMkLst>
            <pc:docMk/>
            <pc:sldMk cId="2564188142" sldId="2134804362"/>
            <ac:spMk id="33" creationId="{FC9A3F71-17CE-FA48-071E-3F896FC312A0}"/>
          </ac:spMkLst>
        </pc:spChg>
        <pc:spChg chg="add del mod replST">
          <ac:chgData name="Wenwen Zhang" userId="9dd81366-5d6f-445a-b031-6ea562624431" providerId="ADAL" clId="{3909E7CC-5EA5-469C-9AFF-9A201E30CD9D}" dt="2022-12-05T22:29:59.161" v="15487"/>
          <ac:spMkLst>
            <pc:docMk/>
            <pc:sldMk cId="2564188142" sldId="2134804362"/>
            <ac:spMk id="34" creationId="{B073FF16-55E8-60C0-52F6-79B674A70E76}"/>
          </ac:spMkLst>
        </pc:spChg>
        <pc:spChg chg="add del mod replST">
          <ac:chgData name="Wenwen Zhang" userId="9dd81366-5d6f-445a-b031-6ea562624431" providerId="ADAL" clId="{3909E7CC-5EA5-469C-9AFF-9A201E30CD9D}" dt="2022-12-05T22:29:59.161" v="15487"/>
          <ac:spMkLst>
            <pc:docMk/>
            <pc:sldMk cId="2564188142" sldId="2134804362"/>
            <ac:spMk id="35" creationId="{6865692D-DD76-4094-7CC9-A63323CA8075}"/>
          </ac:spMkLst>
        </pc:spChg>
        <pc:spChg chg="add del mod replST">
          <ac:chgData name="Wenwen Zhang" userId="9dd81366-5d6f-445a-b031-6ea562624431" providerId="ADAL" clId="{3909E7CC-5EA5-469C-9AFF-9A201E30CD9D}" dt="2022-12-05T22:29:59.161" v="15487"/>
          <ac:spMkLst>
            <pc:docMk/>
            <pc:sldMk cId="2564188142" sldId="2134804362"/>
            <ac:spMk id="36" creationId="{3D3D4EBA-31E7-FE90-2DEC-F1435ACCAFAB}"/>
          </ac:spMkLst>
        </pc:spChg>
        <pc:spChg chg="add del mod replST">
          <ac:chgData name="Wenwen Zhang" userId="9dd81366-5d6f-445a-b031-6ea562624431" providerId="ADAL" clId="{3909E7CC-5EA5-469C-9AFF-9A201E30CD9D}" dt="2022-12-05T22:29:59.161" v="15487"/>
          <ac:spMkLst>
            <pc:docMk/>
            <pc:sldMk cId="2564188142" sldId="2134804362"/>
            <ac:spMk id="37" creationId="{5C75355A-E753-3425-E79A-FBDAF56E1AEE}"/>
          </ac:spMkLst>
        </pc:spChg>
        <pc:spChg chg="add del mod replST">
          <ac:chgData name="Wenwen Zhang" userId="9dd81366-5d6f-445a-b031-6ea562624431" providerId="ADAL" clId="{3909E7CC-5EA5-469C-9AFF-9A201E30CD9D}" dt="2022-12-05T22:29:59.161" v="15487"/>
          <ac:spMkLst>
            <pc:docMk/>
            <pc:sldMk cId="2564188142" sldId="2134804362"/>
            <ac:spMk id="41" creationId="{5A885EE6-017B-97EC-7320-5036AB5AF553}"/>
          </ac:spMkLst>
        </pc:spChg>
        <pc:spChg chg="add del mod ord replST">
          <ac:chgData name="Wenwen Zhang" userId="9dd81366-5d6f-445a-b031-6ea562624431" providerId="ADAL" clId="{3909E7CC-5EA5-469C-9AFF-9A201E30CD9D}" dt="2022-12-05T22:29:59.161" v="15487"/>
          <ac:spMkLst>
            <pc:docMk/>
            <pc:sldMk cId="2564188142" sldId="2134804362"/>
            <ac:spMk id="42" creationId="{59E30282-04BE-5F18-D021-1D95C6C4E290}"/>
          </ac:spMkLst>
        </pc:spChg>
        <pc:spChg chg="mod ord">
          <ac:chgData name="Wenwen Zhang" userId="9dd81366-5d6f-445a-b031-6ea562624431" providerId="ADAL" clId="{3909E7CC-5EA5-469C-9AFF-9A201E30CD9D}" dt="2022-12-06T09:16:20.534" v="43135"/>
          <ac:spMkLst>
            <pc:docMk/>
            <pc:sldMk cId="2564188142" sldId="2134804362"/>
            <ac:spMk id="43" creationId="{C58C7321-3BF7-61DC-5B1A-AD075E56AE05}"/>
          </ac:spMkLst>
        </pc:spChg>
        <pc:spChg chg="add del mod replST">
          <ac:chgData name="Wenwen Zhang" userId="9dd81366-5d6f-445a-b031-6ea562624431" providerId="ADAL" clId="{3909E7CC-5EA5-469C-9AFF-9A201E30CD9D}" dt="2022-12-05T22:29:59.161" v="15487"/>
          <ac:spMkLst>
            <pc:docMk/>
            <pc:sldMk cId="2564188142" sldId="2134804362"/>
            <ac:spMk id="46" creationId="{18285803-69C4-C9E4-0364-F7C3F5CC4E88}"/>
          </ac:spMkLst>
        </pc:spChg>
        <pc:spChg chg="add del mod replST">
          <ac:chgData name="Wenwen Zhang" userId="9dd81366-5d6f-445a-b031-6ea562624431" providerId="ADAL" clId="{3909E7CC-5EA5-469C-9AFF-9A201E30CD9D}" dt="2022-12-05T22:29:59.161" v="15487"/>
          <ac:spMkLst>
            <pc:docMk/>
            <pc:sldMk cId="2564188142" sldId="2134804362"/>
            <ac:spMk id="47" creationId="{289ED196-3573-0A9F-D51C-5B93357911EC}"/>
          </ac:spMkLst>
        </pc:spChg>
        <pc:spChg chg="add del mod modVis">
          <ac:chgData name="Wenwen Zhang" userId="9dd81366-5d6f-445a-b031-6ea562624431" providerId="ADAL" clId="{3909E7CC-5EA5-469C-9AFF-9A201E30CD9D}" dt="2022-12-05T22:29:59.161" v="15487"/>
          <ac:spMkLst>
            <pc:docMk/>
            <pc:sldMk cId="2564188142" sldId="2134804362"/>
            <ac:spMk id="48" creationId="{3699C624-28FE-09F3-18C1-A066F0245229}"/>
          </ac:spMkLst>
        </pc:spChg>
        <pc:spChg chg="add del mod replST">
          <ac:chgData name="Wenwen Zhang" userId="9dd81366-5d6f-445a-b031-6ea562624431" providerId="ADAL" clId="{3909E7CC-5EA5-469C-9AFF-9A201E30CD9D}" dt="2022-12-06T09:06:11.780" v="19430"/>
          <ac:spMkLst>
            <pc:docMk/>
            <pc:sldMk cId="2564188142" sldId="2134804362"/>
            <ac:spMk id="67" creationId="{0DFA5FCA-CE29-25FC-AD60-F110A8E124D7}"/>
          </ac:spMkLst>
        </pc:spChg>
        <pc:spChg chg="add del mod replST">
          <ac:chgData name="Wenwen Zhang" userId="9dd81366-5d6f-445a-b031-6ea562624431" providerId="ADAL" clId="{3909E7CC-5EA5-469C-9AFF-9A201E30CD9D}" dt="2022-12-06T09:06:11.780" v="19433"/>
          <ac:spMkLst>
            <pc:docMk/>
            <pc:sldMk cId="2564188142" sldId="2134804362"/>
            <ac:spMk id="68" creationId="{B7AD710F-8B1D-0D2C-081A-1C77F9373C99}"/>
          </ac:spMkLst>
        </pc:spChg>
        <pc:spChg chg="add del mod replST">
          <ac:chgData name="Wenwen Zhang" userId="9dd81366-5d6f-445a-b031-6ea562624431" providerId="ADAL" clId="{3909E7CC-5EA5-469C-9AFF-9A201E30CD9D}" dt="2022-12-06T09:06:11.776" v="19409"/>
          <ac:spMkLst>
            <pc:docMk/>
            <pc:sldMk cId="2564188142" sldId="2134804362"/>
            <ac:spMk id="69" creationId="{251FB0C8-02D4-0E5C-1AF9-968E7D05F015}"/>
          </ac:spMkLst>
        </pc:spChg>
        <pc:spChg chg="add del mod replST">
          <ac:chgData name="Wenwen Zhang" userId="9dd81366-5d6f-445a-b031-6ea562624431" providerId="ADAL" clId="{3909E7CC-5EA5-469C-9AFF-9A201E30CD9D}" dt="2022-12-06T09:06:11.779" v="19421"/>
          <ac:spMkLst>
            <pc:docMk/>
            <pc:sldMk cId="2564188142" sldId="2134804362"/>
            <ac:spMk id="70" creationId="{B383C063-9FEF-2B11-C7BF-31E74F56B75C}"/>
          </ac:spMkLst>
        </pc:spChg>
        <pc:spChg chg="add del mod replST">
          <ac:chgData name="Wenwen Zhang" userId="9dd81366-5d6f-445a-b031-6ea562624431" providerId="ADAL" clId="{3909E7CC-5EA5-469C-9AFF-9A201E30CD9D}" dt="2022-12-06T09:06:11.779" v="19424"/>
          <ac:spMkLst>
            <pc:docMk/>
            <pc:sldMk cId="2564188142" sldId="2134804362"/>
            <ac:spMk id="71" creationId="{DFBD5611-746E-255C-0FE4-D9E3DFAA76F4}"/>
          </ac:spMkLst>
        </pc:spChg>
        <pc:spChg chg="add del mod replST">
          <ac:chgData name="Wenwen Zhang" userId="9dd81366-5d6f-445a-b031-6ea562624431" providerId="ADAL" clId="{3909E7CC-5EA5-469C-9AFF-9A201E30CD9D}" dt="2022-12-06T09:06:11.779" v="19418"/>
          <ac:spMkLst>
            <pc:docMk/>
            <pc:sldMk cId="2564188142" sldId="2134804362"/>
            <ac:spMk id="72" creationId="{964FDE70-253D-E797-15BE-5EE44BE3B1B8}"/>
          </ac:spMkLst>
        </pc:spChg>
        <pc:spChg chg="add del mod replST">
          <ac:chgData name="Wenwen Zhang" userId="9dd81366-5d6f-445a-b031-6ea562624431" providerId="ADAL" clId="{3909E7CC-5EA5-469C-9AFF-9A201E30CD9D}" dt="2022-12-06T09:06:11.773" v="19394"/>
          <ac:spMkLst>
            <pc:docMk/>
            <pc:sldMk cId="2564188142" sldId="2134804362"/>
            <ac:spMk id="73" creationId="{21399DA5-30BC-A50F-AA2A-9970F154535D}"/>
          </ac:spMkLst>
        </pc:spChg>
        <pc:spChg chg="add del mod replST">
          <ac:chgData name="Wenwen Zhang" userId="9dd81366-5d6f-445a-b031-6ea562624431" providerId="ADAL" clId="{3909E7CC-5EA5-469C-9AFF-9A201E30CD9D}" dt="2022-12-06T09:06:11.778" v="19415"/>
          <ac:spMkLst>
            <pc:docMk/>
            <pc:sldMk cId="2564188142" sldId="2134804362"/>
            <ac:spMk id="74" creationId="{2BA09A5F-E315-C1FE-2877-1717E7392860}"/>
          </ac:spMkLst>
        </pc:spChg>
        <pc:spChg chg="add del mod replST">
          <ac:chgData name="Wenwen Zhang" userId="9dd81366-5d6f-445a-b031-6ea562624431" providerId="ADAL" clId="{3909E7CC-5EA5-469C-9AFF-9A201E30CD9D}" dt="2022-12-06T09:06:11.776" v="19406"/>
          <ac:spMkLst>
            <pc:docMk/>
            <pc:sldMk cId="2564188142" sldId="2134804362"/>
            <ac:spMk id="75" creationId="{3EA7E0E3-55DA-3564-A374-28859016132F}"/>
          </ac:spMkLst>
        </pc:spChg>
        <pc:spChg chg="add del mod replST">
          <ac:chgData name="Wenwen Zhang" userId="9dd81366-5d6f-445a-b031-6ea562624431" providerId="ADAL" clId="{3909E7CC-5EA5-469C-9AFF-9A201E30CD9D}" dt="2022-12-06T09:06:11.777" v="19412"/>
          <ac:spMkLst>
            <pc:docMk/>
            <pc:sldMk cId="2564188142" sldId="2134804362"/>
            <ac:spMk id="76" creationId="{2F79BDF9-8F0B-F5F3-672B-196C4CD4D21B}"/>
          </ac:spMkLst>
        </pc:spChg>
        <pc:spChg chg="add del mod replST">
          <ac:chgData name="Wenwen Zhang" userId="9dd81366-5d6f-445a-b031-6ea562624431" providerId="ADAL" clId="{3909E7CC-5EA5-469C-9AFF-9A201E30CD9D}" dt="2022-12-06T09:06:11.780" v="19427"/>
          <ac:spMkLst>
            <pc:docMk/>
            <pc:sldMk cId="2564188142" sldId="2134804362"/>
            <ac:spMk id="77" creationId="{E0AB411B-E161-6495-D666-EBADCEB32853}"/>
          </ac:spMkLst>
        </pc:spChg>
        <pc:spChg chg="add del mod replST">
          <ac:chgData name="Wenwen Zhang" userId="9dd81366-5d6f-445a-b031-6ea562624431" providerId="ADAL" clId="{3909E7CC-5EA5-469C-9AFF-9A201E30CD9D}" dt="2022-12-06T09:06:11.775" v="19403"/>
          <ac:spMkLst>
            <pc:docMk/>
            <pc:sldMk cId="2564188142" sldId="2134804362"/>
            <ac:spMk id="78" creationId="{53D15780-6BED-32C9-3448-744706CD6AC8}"/>
          </ac:spMkLst>
        </pc:spChg>
        <pc:spChg chg="add del mod replST">
          <ac:chgData name="Wenwen Zhang" userId="9dd81366-5d6f-445a-b031-6ea562624431" providerId="ADAL" clId="{3909E7CC-5EA5-469C-9AFF-9A201E30CD9D}" dt="2022-12-06T09:06:11.775" v="19400"/>
          <ac:spMkLst>
            <pc:docMk/>
            <pc:sldMk cId="2564188142" sldId="2134804362"/>
            <ac:spMk id="79" creationId="{FAEAE316-43B6-712D-E8E0-08F73A220B0C}"/>
          </ac:spMkLst>
        </pc:spChg>
        <pc:spChg chg="add del mod replST">
          <ac:chgData name="Wenwen Zhang" userId="9dd81366-5d6f-445a-b031-6ea562624431" providerId="ADAL" clId="{3909E7CC-5EA5-469C-9AFF-9A201E30CD9D}" dt="2022-12-06T09:06:11.782" v="19436"/>
          <ac:spMkLst>
            <pc:docMk/>
            <pc:sldMk cId="2564188142" sldId="2134804362"/>
            <ac:spMk id="80" creationId="{7DC2DB60-3355-94A7-0ED1-D121EDF96E6F}"/>
          </ac:spMkLst>
        </pc:spChg>
        <pc:spChg chg="add del mod replST">
          <ac:chgData name="Wenwen Zhang" userId="9dd81366-5d6f-445a-b031-6ea562624431" providerId="ADAL" clId="{3909E7CC-5EA5-469C-9AFF-9A201E30CD9D}" dt="2022-12-06T09:06:11.774" v="19397"/>
          <ac:spMkLst>
            <pc:docMk/>
            <pc:sldMk cId="2564188142" sldId="2134804362"/>
            <ac:spMk id="81" creationId="{2D9C49E3-F962-15E6-D531-4923C3C0510F}"/>
          </ac:spMkLst>
        </pc:spChg>
        <pc:spChg chg="add del mod replST">
          <ac:chgData name="Wenwen Zhang" userId="9dd81366-5d6f-445a-b031-6ea562624431" providerId="ADAL" clId="{3909E7CC-5EA5-469C-9AFF-9A201E30CD9D}" dt="2022-12-06T09:06:11.783" v="19439"/>
          <ac:spMkLst>
            <pc:docMk/>
            <pc:sldMk cId="2564188142" sldId="2134804362"/>
            <ac:spMk id="82" creationId="{F7D4A8AC-C721-778B-48E1-D81FBA026F74}"/>
          </ac:spMkLst>
        </pc:spChg>
        <pc:spChg chg="add mod replST">
          <ac:chgData name="Wenwen Zhang" userId="9dd81366-5d6f-445a-b031-6ea562624431" providerId="ADAL" clId="{3909E7CC-5EA5-469C-9AFF-9A201E30CD9D}" dt="2022-12-06T09:16:20.544" v="43201"/>
          <ac:spMkLst>
            <pc:docMk/>
            <pc:sldMk cId="2564188142" sldId="2134804362"/>
            <ac:spMk id="86" creationId="{E983946A-835B-E530-5456-E7F93215E6C4}"/>
          </ac:spMkLst>
        </pc:spChg>
        <pc:spChg chg="add del mod ord replST">
          <ac:chgData name="Wenwen Zhang" userId="9dd81366-5d6f-445a-b031-6ea562624431" providerId="ADAL" clId="{3909E7CC-5EA5-469C-9AFF-9A201E30CD9D}" dt="2022-12-06T09:12:10.540" v="39689"/>
          <ac:spMkLst>
            <pc:docMk/>
            <pc:sldMk cId="2564188142" sldId="2134804362"/>
            <ac:spMk id="87" creationId="{4D6A8C5C-3863-D288-721D-7AC8777B7481}"/>
          </ac:spMkLst>
        </pc:spChg>
        <pc:spChg chg="add mod replST">
          <ac:chgData name="Wenwen Zhang" userId="9dd81366-5d6f-445a-b031-6ea562624431" providerId="ADAL" clId="{3909E7CC-5EA5-469C-9AFF-9A201E30CD9D}" dt="2022-12-06T09:16:20.545" v="43208"/>
          <ac:spMkLst>
            <pc:docMk/>
            <pc:sldMk cId="2564188142" sldId="2134804362"/>
            <ac:spMk id="90" creationId="{573CBC18-B0A5-0366-01A7-6F01F1D7CA93}"/>
          </ac:spMkLst>
        </pc:spChg>
        <pc:spChg chg="add mod replST">
          <ac:chgData name="Wenwen Zhang" userId="9dd81366-5d6f-445a-b031-6ea562624431" providerId="ADAL" clId="{3909E7CC-5EA5-469C-9AFF-9A201E30CD9D}" dt="2022-12-06T09:16:20.545" v="43209"/>
          <ac:spMkLst>
            <pc:docMk/>
            <pc:sldMk cId="2564188142" sldId="2134804362"/>
            <ac:spMk id="91" creationId="{B41F8198-4056-C309-C0EF-3CA0DBFF5628}"/>
          </ac:spMkLst>
        </pc:spChg>
        <pc:spChg chg="add del mod modVis">
          <ac:chgData name="Wenwen Zhang" userId="9dd81366-5d6f-445a-b031-6ea562624431" providerId="ADAL" clId="{3909E7CC-5EA5-469C-9AFF-9A201E30CD9D}" dt="2022-12-05T22:30:03.273" v="16388"/>
          <ac:spMkLst>
            <pc:docMk/>
            <pc:sldMk cId="2564188142" sldId="2134804362"/>
            <ac:spMk id="92" creationId="{716B82E7-7804-5FC8-FE67-0BE06633F4EF}"/>
          </ac:spMkLst>
        </pc:spChg>
        <pc:spChg chg="add mod ord">
          <ac:chgData name="Wenwen Zhang" userId="9dd81366-5d6f-445a-b031-6ea562624431" providerId="ADAL" clId="{3909E7CC-5EA5-469C-9AFF-9A201E30CD9D}" dt="2022-12-06T09:16:20.546" v="43211"/>
          <ac:spMkLst>
            <pc:docMk/>
            <pc:sldMk cId="2564188142" sldId="2134804362"/>
            <ac:spMk id="94" creationId="{571C8A10-7905-A76D-1E04-A8D148FE5A59}"/>
          </ac:spMkLst>
        </pc:spChg>
        <pc:spChg chg="add del mod ord">
          <ac:chgData name="Wenwen Zhang" userId="9dd81366-5d6f-445a-b031-6ea562624431" providerId="ADAL" clId="{3909E7CC-5EA5-469C-9AFF-9A201E30CD9D}" dt="2022-12-06T09:10:16.700" v="39683" actId="478"/>
          <ac:spMkLst>
            <pc:docMk/>
            <pc:sldMk cId="2564188142" sldId="2134804362"/>
            <ac:spMk id="95" creationId="{9C7D4390-48A0-CD91-559E-CBC38D67A4DD}"/>
          </ac:spMkLst>
        </pc:spChg>
        <pc:spChg chg="add mod ord">
          <ac:chgData name="Wenwen Zhang" userId="9dd81366-5d6f-445a-b031-6ea562624431" providerId="ADAL" clId="{3909E7CC-5EA5-469C-9AFF-9A201E30CD9D}" dt="2022-12-06T09:16:20.546" v="43213"/>
          <ac:spMkLst>
            <pc:docMk/>
            <pc:sldMk cId="2564188142" sldId="2134804362"/>
            <ac:spMk id="97" creationId="{CEFE9D52-24A2-1DBC-2576-8F4E702E5E6B}"/>
          </ac:spMkLst>
        </pc:spChg>
        <pc:spChg chg="add mod ord">
          <ac:chgData name="Wenwen Zhang" userId="9dd81366-5d6f-445a-b031-6ea562624431" providerId="ADAL" clId="{3909E7CC-5EA5-469C-9AFF-9A201E30CD9D}" dt="2022-12-06T09:16:20.547" v="43217"/>
          <ac:spMkLst>
            <pc:docMk/>
            <pc:sldMk cId="2564188142" sldId="2134804362"/>
            <ac:spMk id="99" creationId="{50421E70-E141-C8F3-CDF5-D62E631F03B6}"/>
          </ac:spMkLst>
        </pc:spChg>
        <pc:spChg chg="add mod ord">
          <ac:chgData name="Wenwen Zhang" userId="9dd81366-5d6f-445a-b031-6ea562624431" providerId="ADAL" clId="{3909E7CC-5EA5-469C-9AFF-9A201E30CD9D}" dt="2022-12-06T09:16:20.547" v="43221"/>
          <ac:spMkLst>
            <pc:docMk/>
            <pc:sldMk cId="2564188142" sldId="2134804362"/>
            <ac:spMk id="101" creationId="{6E5AC542-6B75-4185-0659-1E990B7D226C}"/>
          </ac:spMkLst>
        </pc:spChg>
        <pc:spChg chg="add mod ord">
          <ac:chgData name="Wenwen Zhang" userId="9dd81366-5d6f-445a-b031-6ea562624431" providerId="ADAL" clId="{3909E7CC-5EA5-469C-9AFF-9A201E30CD9D}" dt="2022-12-06T09:16:20.547" v="43225"/>
          <ac:spMkLst>
            <pc:docMk/>
            <pc:sldMk cId="2564188142" sldId="2134804362"/>
            <ac:spMk id="103" creationId="{8DC9777F-6B87-731A-2DF6-29C3095C9C39}"/>
          </ac:spMkLst>
        </pc:spChg>
        <pc:spChg chg="del">
          <ac:chgData name="Wenwen Zhang" userId="9dd81366-5d6f-445a-b031-6ea562624431" providerId="ADAL" clId="{3909E7CC-5EA5-469C-9AFF-9A201E30CD9D}" dt="2022-12-05T22:05:55.472" v="13459"/>
          <ac:spMkLst>
            <pc:docMk/>
            <pc:sldMk cId="2564188142" sldId="2134804362"/>
            <ac:spMk id="104" creationId="{FDBD28FE-864B-3639-481F-9B88362F82CC}"/>
          </ac:spMkLst>
        </pc:spChg>
        <pc:spChg chg="del">
          <ac:chgData name="Wenwen Zhang" userId="9dd81366-5d6f-445a-b031-6ea562624431" providerId="ADAL" clId="{3909E7CC-5EA5-469C-9AFF-9A201E30CD9D}" dt="2022-12-05T22:05:55.473" v="13461"/>
          <ac:spMkLst>
            <pc:docMk/>
            <pc:sldMk cId="2564188142" sldId="2134804362"/>
            <ac:spMk id="105" creationId="{1363392A-1BB3-B133-547E-68E043C4DA98}"/>
          </ac:spMkLst>
        </pc:spChg>
        <pc:spChg chg="del">
          <ac:chgData name="Wenwen Zhang" userId="9dd81366-5d6f-445a-b031-6ea562624431" providerId="ADAL" clId="{3909E7CC-5EA5-469C-9AFF-9A201E30CD9D}" dt="2022-12-05T22:05:55.471" v="13457"/>
          <ac:spMkLst>
            <pc:docMk/>
            <pc:sldMk cId="2564188142" sldId="2134804362"/>
            <ac:spMk id="106" creationId="{B6CECE3F-2DD3-9848-61CB-5D61B786F6D6}"/>
          </ac:spMkLst>
        </pc:spChg>
        <pc:spChg chg="del">
          <ac:chgData name="Wenwen Zhang" userId="9dd81366-5d6f-445a-b031-6ea562624431" providerId="ADAL" clId="{3909E7CC-5EA5-469C-9AFF-9A201E30CD9D}" dt="2022-12-05T22:05:55.471" v="13455"/>
          <ac:spMkLst>
            <pc:docMk/>
            <pc:sldMk cId="2564188142" sldId="2134804362"/>
            <ac:spMk id="107" creationId="{92A4A1AE-F0BD-E696-BBF1-927ADB68572C}"/>
          </ac:spMkLst>
        </pc:spChg>
        <pc:spChg chg="del">
          <ac:chgData name="Wenwen Zhang" userId="9dd81366-5d6f-445a-b031-6ea562624431" providerId="ADAL" clId="{3909E7CC-5EA5-469C-9AFF-9A201E30CD9D}" dt="2022-12-05T22:05:55.488" v="13527"/>
          <ac:spMkLst>
            <pc:docMk/>
            <pc:sldMk cId="2564188142" sldId="2134804362"/>
            <ac:spMk id="110" creationId="{EB466A29-BB15-299D-E58C-2DB1FF262484}"/>
          </ac:spMkLst>
        </pc:spChg>
        <pc:spChg chg="del">
          <ac:chgData name="Wenwen Zhang" userId="9dd81366-5d6f-445a-b031-6ea562624431" providerId="ADAL" clId="{3909E7CC-5EA5-469C-9AFF-9A201E30CD9D}" dt="2022-12-05T22:05:55.488" v="13526"/>
          <ac:spMkLst>
            <pc:docMk/>
            <pc:sldMk cId="2564188142" sldId="2134804362"/>
            <ac:spMk id="111" creationId="{B3F2D249-23C1-84A9-2AD6-B2662B3E3BCF}"/>
          </ac:spMkLst>
        </pc:spChg>
        <pc:spChg chg="del">
          <ac:chgData name="Wenwen Zhang" userId="9dd81366-5d6f-445a-b031-6ea562624431" providerId="ADAL" clId="{3909E7CC-5EA5-469C-9AFF-9A201E30CD9D}" dt="2022-12-05T22:05:55.488" v="13525"/>
          <ac:spMkLst>
            <pc:docMk/>
            <pc:sldMk cId="2564188142" sldId="2134804362"/>
            <ac:spMk id="112" creationId="{BA643405-2191-0382-388A-60D2AC577598}"/>
          </ac:spMkLst>
        </pc:spChg>
        <pc:spChg chg="del">
          <ac:chgData name="Wenwen Zhang" userId="9dd81366-5d6f-445a-b031-6ea562624431" providerId="ADAL" clId="{3909E7CC-5EA5-469C-9AFF-9A201E30CD9D}" dt="2022-12-05T22:05:55.487" v="13524"/>
          <ac:spMkLst>
            <pc:docMk/>
            <pc:sldMk cId="2564188142" sldId="2134804362"/>
            <ac:spMk id="113" creationId="{6EE89640-6F33-A36D-0F7A-14FB999796CC}"/>
          </ac:spMkLst>
        </pc:spChg>
        <pc:spChg chg="del">
          <ac:chgData name="Wenwen Zhang" userId="9dd81366-5d6f-445a-b031-6ea562624431" providerId="ADAL" clId="{3909E7CC-5EA5-469C-9AFF-9A201E30CD9D}" dt="2022-12-05T22:05:55.487" v="13521"/>
          <ac:spMkLst>
            <pc:docMk/>
            <pc:sldMk cId="2564188142" sldId="2134804362"/>
            <ac:spMk id="114" creationId="{7C1BBF76-B358-3AEA-7E4B-584C98EDF454}"/>
          </ac:spMkLst>
        </pc:spChg>
        <pc:spChg chg="del">
          <ac:chgData name="Wenwen Zhang" userId="9dd81366-5d6f-445a-b031-6ea562624431" providerId="ADAL" clId="{3909E7CC-5EA5-469C-9AFF-9A201E30CD9D}" dt="2022-12-05T22:05:55.487" v="13523"/>
          <ac:spMkLst>
            <pc:docMk/>
            <pc:sldMk cId="2564188142" sldId="2134804362"/>
            <ac:spMk id="115" creationId="{E84BFAFE-9E38-2C24-32B7-19AFB4E31D8A}"/>
          </ac:spMkLst>
        </pc:spChg>
        <pc:spChg chg="del">
          <ac:chgData name="Wenwen Zhang" userId="9dd81366-5d6f-445a-b031-6ea562624431" providerId="ADAL" clId="{3909E7CC-5EA5-469C-9AFF-9A201E30CD9D}" dt="2022-12-05T22:05:55.487" v="13522"/>
          <ac:spMkLst>
            <pc:docMk/>
            <pc:sldMk cId="2564188142" sldId="2134804362"/>
            <ac:spMk id="116" creationId="{2879393F-9951-4B42-0211-926F1CD614FD}"/>
          </ac:spMkLst>
        </pc:spChg>
        <pc:spChg chg="del">
          <ac:chgData name="Wenwen Zhang" userId="9dd81366-5d6f-445a-b031-6ea562624431" providerId="ADAL" clId="{3909E7CC-5EA5-469C-9AFF-9A201E30CD9D}" dt="2022-12-05T22:05:55.486" v="13520"/>
          <ac:spMkLst>
            <pc:docMk/>
            <pc:sldMk cId="2564188142" sldId="2134804362"/>
            <ac:spMk id="117" creationId="{7B4004B3-1B58-8EA3-810A-4541CE925F94}"/>
          </ac:spMkLst>
        </pc:spChg>
        <pc:spChg chg="del">
          <ac:chgData name="Wenwen Zhang" userId="9dd81366-5d6f-445a-b031-6ea562624431" providerId="ADAL" clId="{3909E7CC-5EA5-469C-9AFF-9A201E30CD9D}" dt="2022-12-05T22:05:55.486" v="13519"/>
          <ac:spMkLst>
            <pc:docMk/>
            <pc:sldMk cId="2564188142" sldId="2134804362"/>
            <ac:spMk id="118" creationId="{543C7A91-609B-233B-73A2-82934241561B}"/>
          </ac:spMkLst>
        </pc:spChg>
        <pc:spChg chg="del">
          <ac:chgData name="Wenwen Zhang" userId="9dd81366-5d6f-445a-b031-6ea562624431" providerId="ADAL" clId="{3909E7CC-5EA5-469C-9AFF-9A201E30CD9D}" dt="2022-12-05T22:05:55.486" v="13518"/>
          <ac:spMkLst>
            <pc:docMk/>
            <pc:sldMk cId="2564188142" sldId="2134804362"/>
            <ac:spMk id="119" creationId="{746F5A5F-7D37-A8B4-5646-8E66A9CF8143}"/>
          </ac:spMkLst>
        </pc:spChg>
        <pc:spChg chg="del">
          <ac:chgData name="Wenwen Zhang" userId="9dd81366-5d6f-445a-b031-6ea562624431" providerId="ADAL" clId="{3909E7CC-5EA5-469C-9AFF-9A201E30CD9D}" dt="2022-12-05T22:05:55.486" v="13517"/>
          <ac:spMkLst>
            <pc:docMk/>
            <pc:sldMk cId="2564188142" sldId="2134804362"/>
            <ac:spMk id="120" creationId="{09527C48-061F-94D5-9B29-17F8A70C9815}"/>
          </ac:spMkLst>
        </pc:spChg>
        <pc:spChg chg="del">
          <ac:chgData name="Wenwen Zhang" userId="9dd81366-5d6f-445a-b031-6ea562624431" providerId="ADAL" clId="{3909E7CC-5EA5-469C-9AFF-9A201E30CD9D}" dt="2022-12-05T22:05:55.486" v="13516"/>
          <ac:spMkLst>
            <pc:docMk/>
            <pc:sldMk cId="2564188142" sldId="2134804362"/>
            <ac:spMk id="121" creationId="{961758EE-8AC7-B339-5039-0BC4FDCAC9F8}"/>
          </ac:spMkLst>
        </pc:spChg>
        <pc:spChg chg="del">
          <ac:chgData name="Wenwen Zhang" userId="9dd81366-5d6f-445a-b031-6ea562624431" providerId="ADAL" clId="{3909E7CC-5EA5-469C-9AFF-9A201E30CD9D}" dt="2022-12-05T22:05:55.485" v="13514"/>
          <ac:spMkLst>
            <pc:docMk/>
            <pc:sldMk cId="2564188142" sldId="2134804362"/>
            <ac:spMk id="122" creationId="{7CF3F3AC-902C-3E44-1BE1-C9E99A5FEA7E}"/>
          </ac:spMkLst>
        </pc:spChg>
        <pc:spChg chg="del">
          <ac:chgData name="Wenwen Zhang" userId="9dd81366-5d6f-445a-b031-6ea562624431" providerId="ADAL" clId="{3909E7CC-5EA5-469C-9AFF-9A201E30CD9D}" dt="2022-12-05T22:05:55.485" v="13515"/>
          <ac:spMkLst>
            <pc:docMk/>
            <pc:sldMk cId="2564188142" sldId="2134804362"/>
            <ac:spMk id="123" creationId="{003DF909-5840-07E7-A971-F667BF2C4160}"/>
          </ac:spMkLst>
        </pc:spChg>
        <pc:spChg chg="del">
          <ac:chgData name="Wenwen Zhang" userId="9dd81366-5d6f-445a-b031-6ea562624431" providerId="ADAL" clId="{3909E7CC-5EA5-469C-9AFF-9A201E30CD9D}" dt="2022-12-05T22:05:55.488" v="13529"/>
          <ac:spMkLst>
            <pc:docMk/>
            <pc:sldMk cId="2564188142" sldId="2134804362"/>
            <ac:spMk id="125" creationId="{A97773B0-CC35-AA61-9F79-8B71A53E6F4F}"/>
          </ac:spMkLst>
        </pc:spChg>
        <pc:spChg chg="del">
          <ac:chgData name="Wenwen Zhang" userId="9dd81366-5d6f-445a-b031-6ea562624431" providerId="ADAL" clId="{3909E7CC-5EA5-469C-9AFF-9A201E30CD9D}" dt="2022-12-05T22:05:55.489" v="13530"/>
          <ac:spMkLst>
            <pc:docMk/>
            <pc:sldMk cId="2564188142" sldId="2134804362"/>
            <ac:spMk id="126" creationId="{D4841A68-3A7B-2D4C-2E10-5779DB290A18}"/>
          </ac:spMkLst>
        </pc:spChg>
        <pc:spChg chg="del">
          <ac:chgData name="Wenwen Zhang" userId="9dd81366-5d6f-445a-b031-6ea562624431" providerId="ADAL" clId="{3909E7CC-5EA5-469C-9AFF-9A201E30CD9D}" dt="2022-12-05T22:05:55.489" v="13533"/>
          <ac:spMkLst>
            <pc:docMk/>
            <pc:sldMk cId="2564188142" sldId="2134804362"/>
            <ac:spMk id="127" creationId="{B85FA783-FC5C-A335-9593-76EEE1795146}"/>
          </ac:spMkLst>
        </pc:spChg>
        <pc:spChg chg="add del mod modVis">
          <ac:chgData name="Wenwen Zhang" userId="9dd81366-5d6f-445a-b031-6ea562624431" providerId="ADAL" clId="{3909E7CC-5EA5-469C-9AFF-9A201E30CD9D}" dt="2022-12-06T09:06:40.683" v="34754"/>
          <ac:spMkLst>
            <pc:docMk/>
            <pc:sldMk cId="2564188142" sldId="2134804362"/>
            <ac:spMk id="128" creationId="{00DEB8F8-61B6-C638-7C4A-1D6DEC5FA3B2}"/>
          </ac:spMkLst>
        </pc:spChg>
        <pc:spChg chg="del">
          <ac:chgData name="Wenwen Zhang" userId="9dd81366-5d6f-445a-b031-6ea562624431" providerId="ADAL" clId="{3909E7CC-5EA5-469C-9AFF-9A201E30CD9D}" dt="2022-12-05T22:05:55.475" v="13469"/>
          <ac:spMkLst>
            <pc:docMk/>
            <pc:sldMk cId="2564188142" sldId="2134804362"/>
            <ac:spMk id="129" creationId="{8C9596DF-CD4F-1987-E593-DA7D7F316E1D}"/>
          </ac:spMkLst>
        </pc:spChg>
        <pc:spChg chg="del">
          <ac:chgData name="Wenwen Zhang" userId="9dd81366-5d6f-445a-b031-6ea562624431" providerId="ADAL" clId="{3909E7CC-5EA5-469C-9AFF-9A201E30CD9D}" dt="2022-12-05T22:05:55.477" v="13478"/>
          <ac:spMkLst>
            <pc:docMk/>
            <pc:sldMk cId="2564188142" sldId="2134804362"/>
            <ac:spMk id="130" creationId="{11260D6E-D5A9-62C6-F621-AC934C6BF6EC}"/>
          </ac:spMkLst>
        </pc:spChg>
        <pc:spChg chg="del">
          <ac:chgData name="Wenwen Zhang" userId="9dd81366-5d6f-445a-b031-6ea562624431" providerId="ADAL" clId="{3909E7CC-5EA5-469C-9AFF-9A201E30CD9D}" dt="2022-12-05T22:05:55.476" v="13477"/>
          <ac:spMkLst>
            <pc:docMk/>
            <pc:sldMk cId="2564188142" sldId="2134804362"/>
            <ac:spMk id="131" creationId="{908498BF-C3B2-A3CD-8FFD-F11DEFAAE421}"/>
          </ac:spMkLst>
        </pc:spChg>
        <pc:spChg chg="del">
          <ac:chgData name="Wenwen Zhang" userId="9dd81366-5d6f-445a-b031-6ea562624431" providerId="ADAL" clId="{3909E7CC-5EA5-469C-9AFF-9A201E30CD9D}" dt="2022-12-05T22:05:55.476" v="13475"/>
          <ac:spMkLst>
            <pc:docMk/>
            <pc:sldMk cId="2564188142" sldId="2134804362"/>
            <ac:spMk id="132" creationId="{3AD96635-1453-C29E-DF57-ECEED7328AAF}"/>
          </ac:spMkLst>
        </pc:spChg>
        <pc:spChg chg="del">
          <ac:chgData name="Wenwen Zhang" userId="9dd81366-5d6f-445a-b031-6ea562624431" providerId="ADAL" clId="{3909E7CC-5EA5-469C-9AFF-9A201E30CD9D}" dt="2022-12-05T22:05:55.476" v="13476"/>
          <ac:spMkLst>
            <pc:docMk/>
            <pc:sldMk cId="2564188142" sldId="2134804362"/>
            <ac:spMk id="133" creationId="{783E8298-1BC6-5D4F-D8E4-28EB0B8CBC89}"/>
          </ac:spMkLst>
        </pc:spChg>
        <pc:spChg chg="del">
          <ac:chgData name="Wenwen Zhang" userId="9dd81366-5d6f-445a-b031-6ea562624431" providerId="ADAL" clId="{3909E7CC-5EA5-469C-9AFF-9A201E30CD9D}" dt="2022-12-05T22:05:55.474" v="13466"/>
          <ac:spMkLst>
            <pc:docMk/>
            <pc:sldMk cId="2564188142" sldId="2134804362"/>
            <ac:spMk id="134" creationId="{8DBBC1D2-0DBF-C170-21D5-901871DABD3F}"/>
          </ac:spMkLst>
        </pc:spChg>
        <pc:spChg chg="del">
          <ac:chgData name="Wenwen Zhang" userId="9dd81366-5d6f-445a-b031-6ea562624431" providerId="ADAL" clId="{3909E7CC-5EA5-469C-9AFF-9A201E30CD9D}" dt="2022-12-05T22:05:55.476" v="13474"/>
          <ac:spMkLst>
            <pc:docMk/>
            <pc:sldMk cId="2564188142" sldId="2134804362"/>
            <ac:spMk id="135" creationId="{AF6F9639-445C-F8DE-B0FE-43C4E32BC467}"/>
          </ac:spMkLst>
        </pc:spChg>
        <pc:spChg chg="del">
          <ac:chgData name="Wenwen Zhang" userId="9dd81366-5d6f-445a-b031-6ea562624431" providerId="ADAL" clId="{3909E7CC-5EA5-469C-9AFF-9A201E30CD9D}" dt="2022-12-05T22:05:55.475" v="13471"/>
          <ac:spMkLst>
            <pc:docMk/>
            <pc:sldMk cId="2564188142" sldId="2134804362"/>
            <ac:spMk id="136" creationId="{68EC1D8E-A0FE-08F2-7519-150C51098AA6}"/>
          </ac:spMkLst>
        </pc:spChg>
        <pc:spChg chg="del">
          <ac:chgData name="Wenwen Zhang" userId="9dd81366-5d6f-445a-b031-6ea562624431" providerId="ADAL" clId="{3909E7CC-5EA5-469C-9AFF-9A201E30CD9D}" dt="2022-12-05T22:05:55.474" v="13467"/>
          <ac:spMkLst>
            <pc:docMk/>
            <pc:sldMk cId="2564188142" sldId="2134804362"/>
            <ac:spMk id="137" creationId="{29F667CB-6569-0A6D-4C34-B7484C8C0906}"/>
          </ac:spMkLst>
        </pc:spChg>
        <pc:spChg chg="del">
          <ac:chgData name="Wenwen Zhang" userId="9dd81366-5d6f-445a-b031-6ea562624431" providerId="ADAL" clId="{3909E7CC-5EA5-469C-9AFF-9A201E30CD9D}" dt="2022-12-05T22:05:55.475" v="13470"/>
          <ac:spMkLst>
            <pc:docMk/>
            <pc:sldMk cId="2564188142" sldId="2134804362"/>
            <ac:spMk id="138" creationId="{D75DD1B6-7E2E-C6A2-851B-95A169844BFE}"/>
          </ac:spMkLst>
        </pc:spChg>
        <pc:spChg chg="del">
          <ac:chgData name="Wenwen Zhang" userId="9dd81366-5d6f-445a-b031-6ea562624431" providerId="ADAL" clId="{3909E7CC-5EA5-469C-9AFF-9A201E30CD9D}" dt="2022-12-05T22:05:55.474" v="13468"/>
          <ac:spMkLst>
            <pc:docMk/>
            <pc:sldMk cId="2564188142" sldId="2134804362"/>
            <ac:spMk id="139" creationId="{1ADD6669-24AA-81F3-652D-118CECD17A1F}"/>
          </ac:spMkLst>
        </pc:spChg>
        <pc:spChg chg="del">
          <ac:chgData name="Wenwen Zhang" userId="9dd81366-5d6f-445a-b031-6ea562624431" providerId="ADAL" clId="{3909E7CC-5EA5-469C-9AFF-9A201E30CD9D}" dt="2022-12-05T22:05:55.474" v="13465"/>
          <ac:spMkLst>
            <pc:docMk/>
            <pc:sldMk cId="2564188142" sldId="2134804362"/>
            <ac:spMk id="140" creationId="{C95E4FD9-537E-DB96-3D6D-49570A40F374}"/>
          </ac:spMkLst>
        </pc:spChg>
        <pc:spChg chg="del">
          <ac:chgData name="Wenwen Zhang" userId="9dd81366-5d6f-445a-b031-6ea562624431" providerId="ADAL" clId="{3909E7CC-5EA5-469C-9AFF-9A201E30CD9D}" dt="2022-12-05T22:05:55.473" v="13464"/>
          <ac:spMkLst>
            <pc:docMk/>
            <pc:sldMk cId="2564188142" sldId="2134804362"/>
            <ac:spMk id="141" creationId="{B13D8B3F-B0D7-3773-6573-3C3B9F8344D0}"/>
          </ac:spMkLst>
        </pc:spChg>
        <pc:spChg chg="del">
          <ac:chgData name="Wenwen Zhang" userId="9dd81366-5d6f-445a-b031-6ea562624431" providerId="ADAL" clId="{3909E7CC-5EA5-469C-9AFF-9A201E30CD9D}" dt="2022-12-05T22:05:55.476" v="13473"/>
          <ac:spMkLst>
            <pc:docMk/>
            <pc:sldMk cId="2564188142" sldId="2134804362"/>
            <ac:spMk id="142" creationId="{ABED452A-494B-CF2F-293D-BADD86D9ADE5}"/>
          </ac:spMkLst>
        </pc:spChg>
        <pc:spChg chg="add del mod replST">
          <ac:chgData name="Wenwen Zhang" userId="9dd81366-5d6f-445a-b031-6ea562624431" providerId="ADAL" clId="{3909E7CC-5EA5-469C-9AFF-9A201E30CD9D}" dt="2022-12-06T09:06:44.243" v="36717"/>
          <ac:spMkLst>
            <pc:docMk/>
            <pc:sldMk cId="2564188142" sldId="2134804362"/>
            <ac:spMk id="143" creationId="{96DB64E7-7450-5BAA-7DCA-6F75AE12EF02}"/>
          </ac:spMkLst>
        </pc:spChg>
        <pc:spChg chg="del">
          <ac:chgData name="Wenwen Zhang" userId="9dd81366-5d6f-445a-b031-6ea562624431" providerId="ADAL" clId="{3909E7CC-5EA5-469C-9AFF-9A201E30CD9D}" dt="2022-12-05T22:05:55.483" v="13505"/>
          <ac:spMkLst>
            <pc:docMk/>
            <pc:sldMk cId="2564188142" sldId="2134804362"/>
            <ac:spMk id="144" creationId="{11C7A7E1-4336-A27E-C716-555F1F7E54EF}"/>
          </ac:spMkLst>
        </pc:spChg>
        <pc:spChg chg="del">
          <ac:chgData name="Wenwen Zhang" userId="9dd81366-5d6f-445a-b031-6ea562624431" providerId="ADAL" clId="{3909E7CC-5EA5-469C-9AFF-9A201E30CD9D}" dt="2022-12-05T22:05:55.484" v="13508"/>
          <ac:spMkLst>
            <pc:docMk/>
            <pc:sldMk cId="2564188142" sldId="2134804362"/>
            <ac:spMk id="145" creationId="{517E4A6C-341D-0BEA-11CE-5A26F760D0DE}"/>
          </ac:spMkLst>
        </pc:spChg>
        <pc:spChg chg="del">
          <ac:chgData name="Wenwen Zhang" userId="9dd81366-5d6f-445a-b031-6ea562624431" providerId="ADAL" clId="{3909E7CC-5EA5-469C-9AFF-9A201E30CD9D}" dt="2022-12-05T22:05:55.484" v="13510"/>
          <ac:spMkLst>
            <pc:docMk/>
            <pc:sldMk cId="2564188142" sldId="2134804362"/>
            <ac:spMk id="146" creationId="{758AEBAB-896C-46A7-630F-A419AC66B53F}"/>
          </ac:spMkLst>
        </pc:spChg>
        <pc:spChg chg="del">
          <ac:chgData name="Wenwen Zhang" userId="9dd81366-5d6f-445a-b031-6ea562624431" providerId="ADAL" clId="{3909E7CC-5EA5-469C-9AFF-9A201E30CD9D}" dt="2022-12-05T22:05:55.483" v="13503"/>
          <ac:spMkLst>
            <pc:docMk/>
            <pc:sldMk cId="2564188142" sldId="2134804362"/>
            <ac:spMk id="147" creationId="{0F7532C7-B78B-559E-4691-EC779437B4C7}"/>
          </ac:spMkLst>
        </pc:spChg>
        <pc:spChg chg="del">
          <ac:chgData name="Wenwen Zhang" userId="9dd81366-5d6f-445a-b031-6ea562624431" providerId="ADAL" clId="{3909E7CC-5EA5-469C-9AFF-9A201E30CD9D}" dt="2022-12-05T22:05:55.484" v="13509"/>
          <ac:spMkLst>
            <pc:docMk/>
            <pc:sldMk cId="2564188142" sldId="2134804362"/>
            <ac:spMk id="148" creationId="{50C656ED-8804-594C-2475-2154ACF7B5F2}"/>
          </ac:spMkLst>
        </pc:spChg>
        <pc:spChg chg="del">
          <ac:chgData name="Wenwen Zhang" userId="9dd81366-5d6f-445a-b031-6ea562624431" providerId="ADAL" clId="{3909E7CC-5EA5-469C-9AFF-9A201E30CD9D}" dt="2022-12-05T22:05:55.483" v="13507"/>
          <ac:spMkLst>
            <pc:docMk/>
            <pc:sldMk cId="2564188142" sldId="2134804362"/>
            <ac:spMk id="149" creationId="{3ACD07E6-0573-2916-9E89-67904E6E7511}"/>
          </ac:spMkLst>
        </pc:spChg>
        <pc:spChg chg="del">
          <ac:chgData name="Wenwen Zhang" userId="9dd81366-5d6f-445a-b031-6ea562624431" providerId="ADAL" clId="{3909E7CC-5EA5-469C-9AFF-9A201E30CD9D}" dt="2022-12-05T22:05:55.483" v="13506"/>
          <ac:spMkLst>
            <pc:docMk/>
            <pc:sldMk cId="2564188142" sldId="2134804362"/>
            <ac:spMk id="150" creationId="{762ED66D-115D-5EC3-1FEC-AA7BD1C36D0F}"/>
          </ac:spMkLst>
        </pc:spChg>
        <pc:spChg chg="del">
          <ac:chgData name="Wenwen Zhang" userId="9dd81366-5d6f-445a-b031-6ea562624431" providerId="ADAL" clId="{3909E7CC-5EA5-469C-9AFF-9A201E30CD9D}" dt="2022-12-05T22:05:55.483" v="13504"/>
          <ac:spMkLst>
            <pc:docMk/>
            <pc:sldMk cId="2564188142" sldId="2134804362"/>
            <ac:spMk id="151" creationId="{BF73D308-71D9-D49B-CE57-AFAD03C13725}"/>
          </ac:spMkLst>
        </pc:spChg>
        <pc:spChg chg="del">
          <ac:chgData name="Wenwen Zhang" userId="9dd81366-5d6f-445a-b031-6ea562624431" providerId="ADAL" clId="{3909E7CC-5EA5-469C-9AFF-9A201E30CD9D}" dt="2022-12-05T22:05:55.482" v="13502"/>
          <ac:spMkLst>
            <pc:docMk/>
            <pc:sldMk cId="2564188142" sldId="2134804362"/>
            <ac:spMk id="152" creationId="{5A28F48E-9F08-7DC0-DFC3-5E9305199018}"/>
          </ac:spMkLst>
        </pc:spChg>
        <pc:spChg chg="del">
          <ac:chgData name="Wenwen Zhang" userId="9dd81366-5d6f-445a-b031-6ea562624431" providerId="ADAL" clId="{3909E7CC-5EA5-469C-9AFF-9A201E30CD9D}" dt="2022-12-05T22:05:55.482" v="13501"/>
          <ac:spMkLst>
            <pc:docMk/>
            <pc:sldMk cId="2564188142" sldId="2134804362"/>
            <ac:spMk id="153" creationId="{9E42A9CD-02AA-1343-29EE-1A645CACE54B}"/>
          </ac:spMkLst>
        </pc:spChg>
        <pc:spChg chg="del">
          <ac:chgData name="Wenwen Zhang" userId="9dd81366-5d6f-445a-b031-6ea562624431" providerId="ADAL" clId="{3909E7CC-5EA5-469C-9AFF-9A201E30CD9D}" dt="2022-12-05T22:05:55.482" v="13500"/>
          <ac:spMkLst>
            <pc:docMk/>
            <pc:sldMk cId="2564188142" sldId="2134804362"/>
            <ac:spMk id="154" creationId="{3D323ECA-6509-1B33-A269-DD05152E8214}"/>
          </ac:spMkLst>
        </pc:spChg>
        <pc:spChg chg="del">
          <ac:chgData name="Wenwen Zhang" userId="9dd81366-5d6f-445a-b031-6ea562624431" providerId="ADAL" clId="{3909E7CC-5EA5-469C-9AFF-9A201E30CD9D}" dt="2022-12-05T22:05:55.482" v="13499"/>
          <ac:spMkLst>
            <pc:docMk/>
            <pc:sldMk cId="2564188142" sldId="2134804362"/>
            <ac:spMk id="155" creationId="{FC8D7B74-EEC6-9314-DCA2-E6887B718127}"/>
          </ac:spMkLst>
        </pc:spChg>
        <pc:spChg chg="del">
          <ac:chgData name="Wenwen Zhang" userId="9dd81366-5d6f-445a-b031-6ea562624431" providerId="ADAL" clId="{3909E7CC-5EA5-469C-9AFF-9A201E30CD9D}" dt="2022-12-05T22:05:55.481" v="13498"/>
          <ac:spMkLst>
            <pc:docMk/>
            <pc:sldMk cId="2564188142" sldId="2134804362"/>
            <ac:spMk id="156" creationId="{D3B03944-F181-5313-FDA9-9B3A3C3C1B83}"/>
          </ac:spMkLst>
        </pc:spChg>
        <pc:spChg chg="add del mod replST">
          <ac:chgData name="Wenwen Zhang" userId="9dd81366-5d6f-445a-b031-6ea562624431" providerId="ADAL" clId="{3909E7CC-5EA5-469C-9AFF-9A201E30CD9D}" dt="2022-12-06T09:06:44.244" v="36718"/>
          <ac:spMkLst>
            <pc:docMk/>
            <pc:sldMk cId="2564188142" sldId="2134804362"/>
            <ac:spMk id="157" creationId="{96DB64E7-7450-5BAA-7DCA-6F75AE12EF02}"/>
          </ac:spMkLst>
        </pc:spChg>
        <pc:spChg chg="del">
          <ac:chgData name="Wenwen Zhang" userId="9dd81366-5d6f-445a-b031-6ea562624431" providerId="ADAL" clId="{3909E7CC-5EA5-469C-9AFF-9A201E30CD9D}" dt="2022-12-05T22:05:55.480" v="13493"/>
          <ac:spMkLst>
            <pc:docMk/>
            <pc:sldMk cId="2564188142" sldId="2134804362"/>
            <ac:spMk id="158" creationId="{CF502607-5D84-957A-642D-C103006F216B}"/>
          </ac:spMkLst>
        </pc:spChg>
        <pc:spChg chg="del">
          <ac:chgData name="Wenwen Zhang" userId="9dd81366-5d6f-445a-b031-6ea562624431" providerId="ADAL" clId="{3909E7CC-5EA5-469C-9AFF-9A201E30CD9D}" dt="2022-12-05T22:05:55.480" v="13494"/>
          <ac:spMkLst>
            <pc:docMk/>
            <pc:sldMk cId="2564188142" sldId="2134804362"/>
            <ac:spMk id="159" creationId="{9C7B7BA7-EB43-1B93-8ED0-3235B5D2EC39}"/>
          </ac:spMkLst>
        </pc:spChg>
        <pc:spChg chg="del">
          <ac:chgData name="Wenwen Zhang" userId="9dd81366-5d6f-445a-b031-6ea562624431" providerId="ADAL" clId="{3909E7CC-5EA5-469C-9AFF-9A201E30CD9D}" dt="2022-12-05T22:05:55.478" v="13482"/>
          <ac:spMkLst>
            <pc:docMk/>
            <pc:sldMk cId="2564188142" sldId="2134804362"/>
            <ac:spMk id="160" creationId="{02571662-D82A-E194-AAF6-29909EB629CC}"/>
          </ac:spMkLst>
        </pc:spChg>
        <pc:spChg chg="del">
          <ac:chgData name="Wenwen Zhang" userId="9dd81366-5d6f-445a-b031-6ea562624431" providerId="ADAL" clId="{3909E7CC-5EA5-469C-9AFF-9A201E30CD9D}" dt="2022-12-05T22:05:55.480" v="13495"/>
          <ac:spMkLst>
            <pc:docMk/>
            <pc:sldMk cId="2564188142" sldId="2134804362"/>
            <ac:spMk id="161" creationId="{266654B0-B5BC-EDF4-F208-AA7C4B400D9A}"/>
          </ac:spMkLst>
        </pc:spChg>
        <pc:spChg chg="del">
          <ac:chgData name="Wenwen Zhang" userId="9dd81366-5d6f-445a-b031-6ea562624431" providerId="ADAL" clId="{3909E7CC-5EA5-469C-9AFF-9A201E30CD9D}" dt="2022-12-05T22:05:55.480" v="13492"/>
          <ac:spMkLst>
            <pc:docMk/>
            <pc:sldMk cId="2564188142" sldId="2134804362"/>
            <ac:spMk id="162" creationId="{0F473F9B-03DD-3606-33CC-E91C7361642F}"/>
          </ac:spMkLst>
        </pc:spChg>
        <pc:spChg chg="del">
          <ac:chgData name="Wenwen Zhang" userId="9dd81366-5d6f-445a-b031-6ea562624431" providerId="ADAL" clId="{3909E7CC-5EA5-469C-9AFF-9A201E30CD9D}" dt="2022-12-05T22:05:55.479" v="13488"/>
          <ac:spMkLst>
            <pc:docMk/>
            <pc:sldMk cId="2564188142" sldId="2134804362"/>
            <ac:spMk id="163" creationId="{B8321BE6-85B8-0E43-59F3-C7E6211C2F36}"/>
          </ac:spMkLst>
        </pc:spChg>
        <pc:spChg chg="del">
          <ac:chgData name="Wenwen Zhang" userId="9dd81366-5d6f-445a-b031-6ea562624431" providerId="ADAL" clId="{3909E7CC-5EA5-469C-9AFF-9A201E30CD9D}" dt="2022-12-05T22:05:55.480" v="13491"/>
          <ac:spMkLst>
            <pc:docMk/>
            <pc:sldMk cId="2564188142" sldId="2134804362"/>
            <ac:spMk id="164" creationId="{6C47C923-C1C8-DAF4-14EC-B489FD775865}"/>
          </ac:spMkLst>
        </pc:spChg>
        <pc:spChg chg="del">
          <ac:chgData name="Wenwen Zhang" userId="9dd81366-5d6f-445a-b031-6ea562624431" providerId="ADAL" clId="{3909E7CC-5EA5-469C-9AFF-9A201E30CD9D}" dt="2022-12-05T22:05:55.480" v="13490"/>
          <ac:spMkLst>
            <pc:docMk/>
            <pc:sldMk cId="2564188142" sldId="2134804362"/>
            <ac:spMk id="165" creationId="{9B495C01-62DB-E83C-EF6B-BCA2190D72D3}"/>
          </ac:spMkLst>
        </pc:spChg>
        <pc:spChg chg="del">
          <ac:chgData name="Wenwen Zhang" userId="9dd81366-5d6f-445a-b031-6ea562624431" providerId="ADAL" clId="{3909E7CC-5EA5-469C-9AFF-9A201E30CD9D}" dt="2022-12-05T22:05:55.480" v="13489"/>
          <ac:spMkLst>
            <pc:docMk/>
            <pc:sldMk cId="2564188142" sldId="2134804362"/>
            <ac:spMk id="166" creationId="{4B1E994B-115E-AB36-2426-9FF61B61E69B}"/>
          </ac:spMkLst>
        </pc:spChg>
        <pc:spChg chg="del">
          <ac:chgData name="Wenwen Zhang" userId="9dd81366-5d6f-445a-b031-6ea562624431" providerId="ADAL" clId="{3909E7CC-5EA5-469C-9AFF-9A201E30CD9D}" dt="2022-12-05T22:05:55.479" v="13487"/>
          <ac:spMkLst>
            <pc:docMk/>
            <pc:sldMk cId="2564188142" sldId="2134804362"/>
            <ac:spMk id="167" creationId="{6DE5F6E4-B926-809C-D4DA-CC1A010E93DA}"/>
          </ac:spMkLst>
        </pc:spChg>
        <pc:spChg chg="del">
          <ac:chgData name="Wenwen Zhang" userId="9dd81366-5d6f-445a-b031-6ea562624431" providerId="ADAL" clId="{3909E7CC-5EA5-469C-9AFF-9A201E30CD9D}" dt="2022-12-05T22:05:55.479" v="13486"/>
          <ac:spMkLst>
            <pc:docMk/>
            <pc:sldMk cId="2564188142" sldId="2134804362"/>
            <ac:spMk id="168" creationId="{2F9707DC-BA63-86C7-AFB0-C49FBF6FDC9A}"/>
          </ac:spMkLst>
        </pc:spChg>
        <pc:spChg chg="del">
          <ac:chgData name="Wenwen Zhang" userId="9dd81366-5d6f-445a-b031-6ea562624431" providerId="ADAL" clId="{3909E7CC-5EA5-469C-9AFF-9A201E30CD9D}" dt="2022-12-05T22:05:55.479" v="13485"/>
          <ac:spMkLst>
            <pc:docMk/>
            <pc:sldMk cId="2564188142" sldId="2134804362"/>
            <ac:spMk id="169" creationId="{24B6AB77-6AB0-C1FD-9777-1063A8AE89B0}"/>
          </ac:spMkLst>
        </pc:spChg>
        <pc:spChg chg="del">
          <ac:chgData name="Wenwen Zhang" userId="9dd81366-5d6f-445a-b031-6ea562624431" providerId="ADAL" clId="{3909E7CC-5EA5-469C-9AFF-9A201E30CD9D}" dt="2022-12-05T22:05:55.479" v="13484"/>
          <ac:spMkLst>
            <pc:docMk/>
            <pc:sldMk cId="2564188142" sldId="2134804362"/>
            <ac:spMk id="170" creationId="{6996419F-1E61-57C4-09E8-896E03F16A10}"/>
          </ac:spMkLst>
        </pc:spChg>
        <pc:spChg chg="del">
          <ac:chgData name="Wenwen Zhang" userId="9dd81366-5d6f-445a-b031-6ea562624431" providerId="ADAL" clId="{3909E7CC-5EA5-469C-9AFF-9A201E30CD9D}" dt="2022-12-05T22:05:55.478" v="13483"/>
          <ac:spMkLst>
            <pc:docMk/>
            <pc:sldMk cId="2564188142" sldId="2134804362"/>
            <ac:spMk id="171" creationId="{B8BEE789-A054-B678-4B5B-587B7CF76E5C}"/>
          </ac:spMkLst>
        </pc:spChg>
        <pc:spChg chg="del">
          <ac:chgData name="Wenwen Zhang" userId="9dd81366-5d6f-445a-b031-6ea562624431" providerId="ADAL" clId="{3909E7CC-5EA5-469C-9AFF-9A201E30CD9D}" dt="2022-12-05T22:05:55.473" v="13463"/>
          <ac:spMkLst>
            <pc:docMk/>
            <pc:sldMk cId="2564188142" sldId="2134804362"/>
            <ac:spMk id="172" creationId="{D38D3EEC-0703-1018-0682-108B8879B6BE}"/>
          </ac:spMkLst>
        </pc:spChg>
        <pc:spChg chg="add del mod replST">
          <ac:chgData name="Wenwen Zhang" userId="9dd81366-5d6f-445a-b031-6ea562624431" providerId="ADAL" clId="{3909E7CC-5EA5-469C-9AFF-9A201E30CD9D}" dt="2022-12-06T09:06:44.245" v="36719"/>
          <ac:spMkLst>
            <pc:docMk/>
            <pc:sldMk cId="2564188142" sldId="2134804362"/>
            <ac:spMk id="173" creationId="{96DB64E7-7450-5BAA-7DCA-6F75AE12EF02}"/>
          </ac:spMkLst>
        </pc:spChg>
        <pc:spChg chg="add del mod replST">
          <ac:chgData name="Wenwen Zhang" userId="9dd81366-5d6f-445a-b031-6ea562624431" providerId="ADAL" clId="{3909E7CC-5EA5-469C-9AFF-9A201E30CD9D}" dt="2022-12-06T09:06:44.246" v="36720"/>
          <ac:spMkLst>
            <pc:docMk/>
            <pc:sldMk cId="2564188142" sldId="2134804362"/>
            <ac:spMk id="174" creationId="{96DB64E7-7450-5BAA-7DCA-6F75AE12EF02}"/>
          </ac:spMkLst>
        </pc:spChg>
        <pc:spChg chg="add del mod replST">
          <ac:chgData name="Wenwen Zhang" userId="9dd81366-5d6f-445a-b031-6ea562624431" providerId="ADAL" clId="{3909E7CC-5EA5-469C-9AFF-9A201E30CD9D}" dt="2022-12-06T09:06:44.247" v="36721"/>
          <ac:spMkLst>
            <pc:docMk/>
            <pc:sldMk cId="2564188142" sldId="2134804362"/>
            <ac:spMk id="175" creationId="{96DB64E7-7450-5BAA-7DCA-6F75AE12EF02}"/>
          </ac:spMkLst>
        </pc:spChg>
        <pc:spChg chg="add del mod replST">
          <ac:chgData name="Wenwen Zhang" userId="9dd81366-5d6f-445a-b031-6ea562624431" providerId="ADAL" clId="{3909E7CC-5EA5-469C-9AFF-9A201E30CD9D}" dt="2022-12-06T09:06:44.248" v="36722"/>
          <ac:spMkLst>
            <pc:docMk/>
            <pc:sldMk cId="2564188142" sldId="2134804362"/>
            <ac:spMk id="176" creationId="{96DB64E7-7450-5BAA-7DCA-6F75AE12EF02}"/>
          </ac:spMkLst>
        </pc:spChg>
        <pc:spChg chg="add del mod replST">
          <ac:chgData name="Wenwen Zhang" userId="9dd81366-5d6f-445a-b031-6ea562624431" providerId="ADAL" clId="{3909E7CC-5EA5-469C-9AFF-9A201E30CD9D}" dt="2022-12-06T09:06:44.249" v="36723"/>
          <ac:spMkLst>
            <pc:docMk/>
            <pc:sldMk cId="2564188142" sldId="2134804362"/>
            <ac:spMk id="177" creationId="{96DB64E7-7450-5BAA-7DCA-6F75AE12EF02}"/>
          </ac:spMkLst>
        </pc:spChg>
        <pc:spChg chg="add del mod replST">
          <ac:chgData name="Wenwen Zhang" userId="9dd81366-5d6f-445a-b031-6ea562624431" providerId="ADAL" clId="{3909E7CC-5EA5-469C-9AFF-9A201E30CD9D}" dt="2022-12-06T09:06:44.250" v="36724"/>
          <ac:spMkLst>
            <pc:docMk/>
            <pc:sldMk cId="2564188142" sldId="2134804362"/>
            <ac:spMk id="178" creationId="{96DB64E7-7450-5BAA-7DCA-6F75AE12EF02}"/>
          </ac:spMkLst>
        </pc:spChg>
        <pc:spChg chg="add del mod replST">
          <ac:chgData name="Wenwen Zhang" userId="9dd81366-5d6f-445a-b031-6ea562624431" providerId="ADAL" clId="{3909E7CC-5EA5-469C-9AFF-9A201E30CD9D}" dt="2022-12-06T09:06:44.250" v="36725"/>
          <ac:spMkLst>
            <pc:docMk/>
            <pc:sldMk cId="2564188142" sldId="2134804362"/>
            <ac:spMk id="179" creationId="{96DB64E7-7450-5BAA-7DCA-6F75AE12EF02}"/>
          </ac:spMkLst>
        </pc:spChg>
        <pc:spChg chg="add del mod replST">
          <ac:chgData name="Wenwen Zhang" userId="9dd81366-5d6f-445a-b031-6ea562624431" providerId="ADAL" clId="{3909E7CC-5EA5-469C-9AFF-9A201E30CD9D}" dt="2022-12-06T09:06:44.251" v="36726"/>
          <ac:spMkLst>
            <pc:docMk/>
            <pc:sldMk cId="2564188142" sldId="2134804362"/>
            <ac:spMk id="180" creationId="{96DB64E7-7450-5BAA-7DCA-6F75AE12EF02}"/>
          </ac:spMkLst>
        </pc:spChg>
        <pc:spChg chg="add del mod replST">
          <ac:chgData name="Wenwen Zhang" userId="9dd81366-5d6f-445a-b031-6ea562624431" providerId="ADAL" clId="{3909E7CC-5EA5-469C-9AFF-9A201E30CD9D}" dt="2022-12-06T09:06:44.252" v="36727"/>
          <ac:spMkLst>
            <pc:docMk/>
            <pc:sldMk cId="2564188142" sldId="2134804362"/>
            <ac:spMk id="181" creationId="{96DB64E7-7450-5BAA-7DCA-6F75AE12EF02}"/>
          </ac:spMkLst>
        </pc:spChg>
        <pc:spChg chg="add del mod replST">
          <ac:chgData name="Wenwen Zhang" userId="9dd81366-5d6f-445a-b031-6ea562624431" providerId="ADAL" clId="{3909E7CC-5EA5-469C-9AFF-9A201E30CD9D}" dt="2022-12-06T09:06:44.253" v="36728"/>
          <ac:spMkLst>
            <pc:docMk/>
            <pc:sldMk cId="2564188142" sldId="2134804362"/>
            <ac:spMk id="182" creationId="{96DB64E7-7450-5BAA-7DCA-6F75AE12EF02}"/>
          </ac:spMkLst>
        </pc:spChg>
        <pc:spChg chg="add del mod replST">
          <ac:chgData name="Wenwen Zhang" userId="9dd81366-5d6f-445a-b031-6ea562624431" providerId="ADAL" clId="{3909E7CC-5EA5-469C-9AFF-9A201E30CD9D}" dt="2022-12-06T09:06:44.254" v="36729"/>
          <ac:spMkLst>
            <pc:docMk/>
            <pc:sldMk cId="2564188142" sldId="2134804362"/>
            <ac:spMk id="183" creationId="{96DB64E7-7450-5BAA-7DCA-6F75AE12EF02}"/>
          </ac:spMkLst>
        </pc:spChg>
        <pc:spChg chg="add del mod replST">
          <ac:chgData name="Wenwen Zhang" userId="9dd81366-5d6f-445a-b031-6ea562624431" providerId="ADAL" clId="{3909E7CC-5EA5-469C-9AFF-9A201E30CD9D}" dt="2022-12-06T09:06:44.255" v="36730"/>
          <ac:spMkLst>
            <pc:docMk/>
            <pc:sldMk cId="2564188142" sldId="2134804362"/>
            <ac:spMk id="184" creationId="{96DB64E7-7450-5BAA-7DCA-6F75AE12EF02}"/>
          </ac:spMkLst>
        </pc:spChg>
        <pc:spChg chg="add del mod replST">
          <ac:chgData name="Wenwen Zhang" userId="9dd81366-5d6f-445a-b031-6ea562624431" providerId="ADAL" clId="{3909E7CC-5EA5-469C-9AFF-9A201E30CD9D}" dt="2022-12-06T09:06:44.256" v="36731"/>
          <ac:spMkLst>
            <pc:docMk/>
            <pc:sldMk cId="2564188142" sldId="2134804362"/>
            <ac:spMk id="185" creationId="{96DB64E7-7450-5BAA-7DCA-6F75AE12EF02}"/>
          </ac:spMkLst>
        </pc:spChg>
        <pc:spChg chg="add del mod replST">
          <ac:chgData name="Wenwen Zhang" userId="9dd81366-5d6f-445a-b031-6ea562624431" providerId="ADAL" clId="{3909E7CC-5EA5-469C-9AFF-9A201E30CD9D}" dt="2022-12-06T09:06:44.257" v="36732"/>
          <ac:spMkLst>
            <pc:docMk/>
            <pc:sldMk cId="2564188142" sldId="2134804362"/>
            <ac:spMk id="186" creationId="{96DB64E7-7450-5BAA-7DCA-6F75AE12EF02}"/>
          </ac:spMkLst>
        </pc:spChg>
        <pc:spChg chg="add del mod replST">
          <ac:chgData name="Wenwen Zhang" userId="9dd81366-5d6f-445a-b031-6ea562624431" providerId="ADAL" clId="{3909E7CC-5EA5-469C-9AFF-9A201E30CD9D}" dt="2022-12-06T09:06:44.257" v="36733"/>
          <ac:spMkLst>
            <pc:docMk/>
            <pc:sldMk cId="2564188142" sldId="2134804362"/>
            <ac:spMk id="187" creationId="{96DB64E7-7450-5BAA-7DCA-6F75AE12EF02}"/>
          </ac:spMkLst>
        </pc:spChg>
        <pc:spChg chg="add del mod replST">
          <ac:chgData name="Wenwen Zhang" userId="9dd81366-5d6f-445a-b031-6ea562624431" providerId="ADAL" clId="{3909E7CC-5EA5-469C-9AFF-9A201E30CD9D}" dt="2022-12-06T09:06:44.258" v="36734"/>
          <ac:spMkLst>
            <pc:docMk/>
            <pc:sldMk cId="2564188142" sldId="2134804362"/>
            <ac:spMk id="188" creationId="{96DB64E7-7450-5BAA-7DCA-6F75AE12EF02}"/>
          </ac:spMkLst>
        </pc:spChg>
        <pc:spChg chg="add del mod replST">
          <ac:chgData name="Wenwen Zhang" userId="9dd81366-5d6f-445a-b031-6ea562624431" providerId="ADAL" clId="{3909E7CC-5EA5-469C-9AFF-9A201E30CD9D}" dt="2022-12-06T09:06:44.259" v="36735"/>
          <ac:spMkLst>
            <pc:docMk/>
            <pc:sldMk cId="2564188142" sldId="2134804362"/>
            <ac:spMk id="189" creationId="{96DB64E7-7450-5BAA-7DCA-6F75AE12EF02}"/>
          </ac:spMkLst>
        </pc:spChg>
        <pc:spChg chg="add del mod replST">
          <ac:chgData name="Wenwen Zhang" userId="9dd81366-5d6f-445a-b031-6ea562624431" providerId="ADAL" clId="{3909E7CC-5EA5-469C-9AFF-9A201E30CD9D}" dt="2022-12-06T09:06:44.260" v="36736"/>
          <ac:spMkLst>
            <pc:docMk/>
            <pc:sldMk cId="2564188142" sldId="2134804362"/>
            <ac:spMk id="190" creationId="{96DB64E7-7450-5BAA-7DCA-6F75AE12EF02}"/>
          </ac:spMkLst>
        </pc:spChg>
        <pc:spChg chg="add del mod replST">
          <ac:chgData name="Wenwen Zhang" userId="9dd81366-5d6f-445a-b031-6ea562624431" providerId="ADAL" clId="{3909E7CC-5EA5-469C-9AFF-9A201E30CD9D}" dt="2022-12-06T09:06:44.260" v="36737"/>
          <ac:spMkLst>
            <pc:docMk/>
            <pc:sldMk cId="2564188142" sldId="2134804362"/>
            <ac:spMk id="191" creationId="{96DB64E7-7450-5BAA-7DCA-6F75AE12EF02}"/>
          </ac:spMkLst>
        </pc:spChg>
        <pc:spChg chg="add del mod replST">
          <ac:chgData name="Wenwen Zhang" userId="9dd81366-5d6f-445a-b031-6ea562624431" providerId="ADAL" clId="{3909E7CC-5EA5-469C-9AFF-9A201E30CD9D}" dt="2022-12-06T09:06:44.260" v="36738"/>
          <ac:spMkLst>
            <pc:docMk/>
            <pc:sldMk cId="2564188142" sldId="2134804362"/>
            <ac:spMk id="192" creationId="{96DB64E7-7450-5BAA-7DCA-6F75AE12EF02}"/>
          </ac:spMkLst>
        </pc:spChg>
        <pc:spChg chg="add del mod replST">
          <ac:chgData name="Wenwen Zhang" userId="9dd81366-5d6f-445a-b031-6ea562624431" providerId="ADAL" clId="{3909E7CC-5EA5-469C-9AFF-9A201E30CD9D}" dt="2022-12-06T09:06:44.261" v="36739"/>
          <ac:spMkLst>
            <pc:docMk/>
            <pc:sldMk cId="2564188142" sldId="2134804362"/>
            <ac:spMk id="193" creationId="{96DB64E7-7450-5BAA-7DCA-6F75AE12EF02}"/>
          </ac:spMkLst>
        </pc:spChg>
        <pc:spChg chg="add del mod replST">
          <ac:chgData name="Wenwen Zhang" userId="9dd81366-5d6f-445a-b031-6ea562624431" providerId="ADAL" clId="{3909E7CC-5EA5-469C-9AFF-9A201E30CD9D}" dt="2022-12-06T09:06:44.261" v="36740"/>
          <ac:spMkLst>
            <pc:docMk/>
            <pc:sldMk cId="2564188142" sldId="2134804362"/>
            <ac:spMk id="194" creationId="{96DB64E7-7450-5BAA-7DCA-6F75AE12EF02}"/>
          </ac:spMkLst>
        </pc:spChg>
        <pc:spChg chg="add del mod replST">
          <ac:chgData name="Wenwen Zhang" userId="9dd81366-5d6f-445a-b031-6ea562624431" providerId="ADAL" clId="{3909E7CC-5EA5-469C-9AFF-9A201E30CD9D}" dt="2022-12-06T09:06:44.261" v="36741"/>
          <ac:spMkLst>
            <pc:docMk/>
            <pc:sldMk cId="2564188142" sldId="2134804362"/>
            <ac:spMk id="195" creationId="{96DB64E7-7450-5BAA-7DCA-6F75AE12EF02}"/>
          </ac:spMkLst>
        </pc:spChg>
        <pc:spChg chg="add del mod replST">
          <ac:chgData name="Wenwen Zhang" userId="9dd81366-5d6f-445a-b031-6ea562624431" providerId="ADAL" clId="{3909E7CC-5EA5-469C-9AFF-9A201E30CD9D}" dt="2022-12-06T09:06:44.262" v="36742"/>
          <ac:spMkLst>
            <pc:docMk/>
            <pc:sldMk cId="2564188142" sldId="2134804362"/>
            <ac:spMk id="196" creationId="{96DB64E7-7450-5BAA-7DCA-6F75AE12EF02}"/>
          </ac:spMkLst>
        </pc:spChg>
        <pc:spChg chg="add del mod replST">
          <ac:chgData name="Wenwen Zhang" userId="9dd81366-5d6f-445a-b031-6ea562624431" providerId="ADAL" clId="{3909E7CC-5EA5-469C-9AFF-9A201E30CD9D}" dt="2022-12-06T09:06:44.263" v="36743"/>
          <ac:spMkLst>
            <pc:docMk/>
            <pc:sldMk cId="2564188142" sldId="2134804362"/>
            <ac:spMk id="197" creationId="{96DB64E7-7450-5BAA-7DCA-6F75AE12EF02}"/>
          </ac:spMkLst>
        </pc:spChg>
        <pc:spChg chg="add del mod replST">
          <ac:chgData name="Wenwen Zhang" userId="9dd81366-5d6f-445a-b031-6ea562624431" providerId="ADAL" clId="{3909E7CC-5EA5-469C-9AFF-9A201E30CD9D}" dt="2022-12-06T09:06:44.264" v="36744"/>
          <ac:spMkLst>
            <pc:docMk/>
            <pc:sldMk cId="2564188142" sldId="2134804362"/>
            <ac:spMk id="198" creationId="{96DB64E7-7450-5BAA-7DCA-6F75AE12EF02}"/>
          </ac:spMkLst>
        </pc:spChg>
        <pc:spChg chg="add del mod replST">
          <ac:chgData name="Wenwen Zhang" userId="9dd81366-5d6f-445a-b031-6ea562624431" providerId="ADAL" clId="{3909E7CC-5EA5-469C-9AFF-9A201E30CD9D}" dt="2022-12-06T09:06:44.265" v="36745"/>
          <ac:spMkLst>
            <pc:docMk/>
            <pc:sldMk cId="2564188142" sldId="2134804362"/>
            <ac:spMk id="199" creationId="{96DB64E7-7450-5BAA-7DCA-6F75AE12EF02}"/>
          </ac:spMkLst>
        </pc:spChg>
        <pc:spChg chg="add del mod replST">
          <ac:chgData name="Wenwen Zhang" userId="9dd81366-5d6f-445a-b031-6ea562624431" providerId="ADAL" clId="{3909E7CC-5EA5-469C-9AFF-9A201E30CD9D}" dt="2022-12-06T09:06:44.266" v="36746"/>
          <ac:spMkLst>
            <pc:docMk/>
            <pc:sldMk cId="2564188142" sldId="2134804362"/>
            <ac:spMk id="200" creationId="{96DB64E7-7450-5BAA-7DCA-6F75AE12EF02}"/>
          </ac:spMkLst>
        </pc:spChg>
        <pc:spChg chg="add del mod replST">
          <ac:chgData name="Wenwen Zhang" userId="9dd81366-5d6f-445a-b031-6ea562624431" providerId="ADAL" clId="{3909E7CC-5EA5-469C-9AFF-9A201E30CD9D}" dt="2022-12-06T09:06:44.266" v="36747"/>
          <ac:spMkLst>
            <pc:docMk/>
            <pc:sldMk cId="2564188142" sldId="2134804362"/>
            <ac:spMk id="201" creationId="{96DB64E7-7450-5BAA-7DCA-6F75AE12EF02}"/>
          </ac:spMkLst>
        </pc:spChg>
        <pc:spChg chg="add del mod replST">
          <ac:chgData name="Wenwen Zhang" userId="9dd81366-5d6f-445a-b031-6ea562624431" providerId="ADAL" clId="{3909E7CC-5EA5-469C-9AFF-9A201E30CD9D}" dt="2022-12-06T09:06:44.267" v="36748"/>
          <ac:spMkLst>
            <pc:docMk/>
            <pc:sldMk cId="2564188142" sldId="2134804362"/>
            <ac:spMk id="202" creationId="{96DB64E7-7450-5BAA-7DCA-6F75AE12EF02}"/>
          </ac:spMkLst>
        </pc:spChg>
        <pc:spChg chg="add del mod replST">
          <ac:chgData name="Wenwen Zhang" userId="9dd81366-5d6f-445a-b031-6ea562624431" providerId="ADAL" clId="{3909E7CC-5EA5-469C-9AFF-9A201E30CD9D}" dt="2022-12-06T09:06:44.268" v="36749"/>
          <ac:spMkLst>
            <pc:docMk/>
            <pc:sldMk cId="2564188142" sldId="2134804362"/>
            <ac:spMk id="204" creationId="{96DB64E7-7450-5BAA-7DCA-6F75AE12EF02}"/>
          </ac:spMkLst>
        </pc:spChg>
        <pc:spChg chg="add del mod replST">
          <ac:chgData name="Wenwen Zhang" userId="9dd81366-5d6f-445a-b031-6ea562624431" providerId="ADAL" clId="{3909E7CC-5EA5-469C-9AFF-9A201E30CD9D}" dt="2022-12-06T09:06:44.269" v="36750"/>
          <ac:spMkLst>
            <pc:docMk/>
            <pc:sldMk cId="2564188142" sldId="2134804362"/>
            <ac:spMk id="206" creationId="{96DB64E7-7450-5BAA-7DCA-6F75AE12EF02}"/>
          </ac:spMkLst>
        </pc:spChg>
        <pc:spChg chg="add del mod replST">
          <ac:chgData name="Wenwen Zhang" userId="9dd81366-5d6f-445a-b031-6ea562624431" providerId="ADAL" clId="{3909E7CC-5EA5-469C-9AFF-9A201E30CD9D}" dt="2022-12-06T09:06:44.270" v="36751"/>
          <ac:spMkLst>
            <pc:docMk/>
            <pc:sldMk cId="2564188142" sldId="2134804362"/>
            <ac:spMk id="208" creationId="{96DB64E7-7450-5BAA-7DCA-6F75AE12EF02}"/>
          </ac:spMkLst>
        </pc:spChg>
        <pc:spChg chg="add del mod replST">
          <ac:chgData name="Wenwen Zhang" userId="9dd81366-5d6f-445a-b031-6ea562624431" providerId="ADAL" clId="{3909E7CC-5EA5-469C-9AFF-9A201E30CD9D}" dt="2022-12-06T09:06:44.271" v="36752"/>
          <ac:spMkLst>
            <pc:docMk/>
            <pc:sldMk cId="2564188142" sldId="2134804362"/>
            <ac:spMk id="209" creationId="{96DB64E7-7450-5BAA-7DCA-6F75AE12EF02}"/>
          </ac:spMkLst>
        </pc:spChg>
        <pc:spChg chg="add del mod replST">
          <ac:chgData name="Wenwen Zhang" userId="9dd81366-5d6f-445a-b031-6ea562624431" providerId="ADAL" clId="{3909E7CC-5EA5-469C-9AFF-9A201E30CD9D}" dt="2022-12-06T09:06:44.271" v="36753"/>
          <ac:spMkLst>
            <pc:docMk/>
            <pc:sldMk cId="2564188142" sldId="2134804362"/>
            <ac:spMk id="210" creationId="{96DB64E7-7450-5BAA-7DCA-6F75AE12EF02}"/>
          </ac:spMkLst>
        </pc:spChg>
        <pc:spChg chg="add del mod replST">
          <ac:chgData name="Wenwen Zhang" userId="9dd81366-5d6f-445a-b031-6ea562624431" providerId="ADAL" clId="{3909E7CC-5EA5-469C-9AFF-9A201E30CD9D}" dt="2022-12-06T09:06:44.273" v="36754"/>
          <ac:spMkLst>
            <pc:docMk/>
            <pc:sldMk cId="2564188142" sldId="2134804362"/>
            <ac:spMk id="212" creationId="{96DB64E7-7450-5BAA-7DCA-6F75AE12EF02}"/>
          </ac:spMkLst>
        </pc:spChg>
        <pc:spChg chg="add del mod replST">
          <ac:chgData name="Wenwen Zhang" userId="9dd81366-5d6f-445a-b031-6ea562624431" providerId="ADAL" clId="{3909E7CC-5EA5-469C-9AFF-9A201E30CD9D}" dt="2022-12-06T09:06:44.274" v="36755"/>
          <ac:spMkLst>
            <pc:docMk/>
            <pc:sldMk cId="2564188142" sldId="2134804362"/>
            <ac:spMk id="213" creationId="{96DB64E7-7450-5BAA-7DCA-6F75AE12EF02}"/>
          </ac:spMkLst>
        </pc:spChg>
        <pc:spChg chg="add del mod replST">
          <ac:chgData name="Wenwen Zhang" userId="9dd81366-5d6f-445a-b031-6ea562624431" providerId="ADAL" clId="{3909E7CC-5EA5-469C-9AFF-9A201E30CD9D}" dt="2022-12-06T09:06:44.275" v="36756"/>
          <ac:spMkLst>
            <pc:docMk/>
            <pc:sldMk cId="2564188142" sldId="2134804362"/>
            <ac:spMk id="214" creationId="{96DB64E7-7450-5BAA-7DCA-6F75AE12EF02}"/>
          </ac:spMkLst>
        </pc:spChg>
        <pc:spChg chg="add del mod replST">
          <ac:chgData name="Wenwen Zhang" userId="9dd81366-5d6f-445a-b031-6ea562624431" providerId="ADAL" clId="{3909E7CC-5EA5-469C-9AFF-9A201E30CD9D}" dt="2022-12-06T09:06:44.277" v="36757"/>
          <ac:spMkLst>
            <pc:docMk/>
            <pc:sldMk cId="2564188142" sldId="2134804362"/>
            <ac:spMk id="215" creationId="{96DB64E7-7450-5BAA-7DCA-6F75AE12EF02}"/>
          </ac:spMkLst>
        </pc:spChg>
        <pc:spChg chg="add del mod replST">
          <ac:chgData name="Wenwen Zhang" userId="9dd81366-5d6f-445a-b031-6ea562624431" providerId="ADAL" clId="{3909E7CC-5EA5-469C-9AFF-9A201E30CD9D}" dt="2022-12-06T09:06:44.277" v="36758"/>
          <ac:spMkLst>
            <pc:docMk/>
            <pc:sldMk cId="2564188142" sldId="2134804362"/>
            <ac:spMk id="216" creationId="{96DB64E7-7450-5BAA-7DCA-6F75AE12EF02}"/>
          </ac:spMkLst>
        </pc:spChg>
        <pc:spChg chg="add del mod replST">
          <ac:chgData name="Wenwen Zhang" userId="9dd81366-5d6f-445a-b031-6ea562624431" providerId="ADAL" clId="{3909E7CC-5EA5-469C-9AFF-9A201E30CD9D}" dt="2022-12-06T09:06:44.277" v="36759"/>
          <ac:spMkLst>
            <pc:docMk/>
            <pc:sldMk cId="2564188142" sldId="2134804362"/>
            <ac:spMk id="217" creationId="{96DB64E7-7450-5BAA-7DCA-6F75AE12EF02}"/>
          </ac:spMkLst>
        </pc:spChg>
        <pc:spChg chg="add del mod replST">
          <ac:chgData name="Wenwen Zhang" userId="9dd81366-5d6f-445a-b031-6ea562624431" providerId="ADAL" clId="{3909E7CC-5EA5-469C-9AFF-9A201E30CD9D}" dt="2022-12-06T09:06:44.278" v="36760"/>
          <ac:spMkLst>
            <pc:docMk/>
            <pc:sldMk cId="2564188142" sldId="2134804362"/>
            <ac:spMk id="218" creationId="{96DB64E7-7450-5BAA-7DCA-6F75AE12EF02}"/>
          </ac:spMkLst>
        </pc:spChg>
        <pc:spChg chg="add del mod replST">
          <ac:chgData name="Wenwen Zhang" userId="9dd81366-5d6f-445a-b031-6ea562624431" providerId="ADAL" clId="{3909E7CC-5EA5-469C-9AFF-9A201E30CD9D}" dt="2022-12-06T09:06:44.279" v="36761"/>
          <ac:spMkLst>
            <pc:docMk/>
            <pc:sldMk cId="2564188142" sldId="2134804362"/>
            <ac:spMk id="219" creationId="{96DB64E7-7450-5BAA-7DCA-6F75AE12EF02}"/>
          </ac:spMkLst>
        </pc:spChg>
        <pc:spChg chg="add del mod replST">
          <ac:chgData name="Wenwen Zhang" userId="9dd81366-5d6f-445a-b031-6ea562624431" providerId="ADAL" clId="{3909E7CC-5EA5-469C-9AFF-9A201E30CD9D}" dt="2022-12-06T09:06:44.280" v="36762"/>
          <ac:spMkLst>
            <pc:docMk/>
            <pc:sldMk cId="2564188142" sldId="2134804362"/>
            <ac:spMk id="220" creationId="{96DB64E7-7450-5BAA-7DCA-6F75AE12EF02}"/>
          </ac:spMkLst>
        </pc:spChg>
        <pc:spChg chg="add del mod replST">
          <ac:chgData name="Wenwen Zhang" userId="9dd81366-5d6f-445a-b031-6ea562624431" providerId="ADAL" clId="{3909E7CC-5EA5-469C-9AFF-9A201E30CD9D}" dt="2022-12-06T09:06:44.281" v="36763"/>
          <ac:spMkLst>
            <pc:docMk/>
            <pc:sldMk cId="2564188142" sldId="2134804362"/>
            <ac:spMk id="221" creationId="{96DB64E7-7450-5BAA-7DCA-6F75AE12EF02}"/>
          </ac:spMkLst>
        </pc:spChg>
        <pc:spChg chg="add del mod replST">
          <ac:chgData name="Wenwen Zhang" userId="9dd81366-5d6f-445a-b031-6ea562624431" providerId="ADAL" clId="{3909E7CC-5EA5-469C-9AFF-9A201E30CD9D}" dt="2022-12-06T09:06:44.282" v="36764"/>
          <ac:spMkLst>
            <pc:docMk/>
            <pc:sldMk cId="2564188142" sldId="2134804362"/>
            <ac:spMk id="222" creationId="{96DB64E7-7450-5BAA-7DCA-6F75AE12EF02}"/>
          </ac:spMkLst>
        </pc:spChg>
        <pc:spChg chg="add del mod replST">
          <ac:chgData name="Wenwen Zhang" userId="9dd81366-5d6f-445a-b031-6ea562624431" providerId="ADAL" clId="{3909E7CC-5EA5-469C-9AFF-9A201E30CD9D}" dt="2022-12-06T09:06:44.282" v="36765"/>
          <ac:spMkLst>
            <pc:docMk/>
            <pc:sldMk cId="2564188142" sldId="2134804362"/>
            <ac:spMk id="223" creationId="{96DB64E7-7450-5BAA-7DCA-6F75AE12EF02}"/>
          </ac:spMkLst>
        </pc:spChg>
        <pc:spChg chg="add del mod replST">
          <ac:chgData name="Wenwen Zhang" userId="9dd81366-5d6f-445a-b031-6ea562624431" providerId="ADAL" clId="{3909E7CC-5EA5-469C-9AFF-9A201E30CD9D}" dt="2022-12-06T09:06:44.283" v="36766"/>
          <ac:spMkLst>
            <pc:docMk/>
            <pc:sldMk cId="2564188142" sldId="2134804362"/>
            <ac:spMk id="224" creationId="{96DB64E7-7450-5BAA-7DCA-6F75AE12EF02}"/>
          </ac:spMkLst>
        </pc:spChg>
        <pc:spChg chg="add del mod replST">
          <ac:chgData name="Wenwen Zhang" userId="9dd81366-5d6f-445a-b031-6ea562624431" providerId="ADAL" clId="{3909E7CC-5EA5-469C-9AFF-9A201E30CD9D}" dt="2022-12-06T09:06:44.284" v="36767"/>
          <ac:spMkLst>
            <pc:docMk/>
            <pc:sldMk cId="2564188142" sldId="2134804362"/>
            <ac:spMk id="225" creationId="{96DB64E7-7450-5BAA-7DCA-6F75AE12EF02}"/>
          </ac:spMkLst>
        </pc:spChg>
        <pc:spChg chg="add del mod replST">
          <ac:chgData name="Wenwen Zhang" userId="9dd81366-5d6f-445a-b031-6ea562624431" providerId="ADAL" clId="{3909E7CC-5EA5-469C-9AFF-9A201E30CD9D}" dt="2022-12-06T09:06:44.285" v="36768"/>
          <ac:spMkLst>
            <pc:docMk/>
            <pc:sldMk cId="2564188142" sldId="2134804362"/>
            <ac:spMk id="226" creationId="{96DB64E7-7450-5BAA-7DCA-6F75AE12EF02}"/>
          </ac:spMkLst>
        </pc:spChg>
        <pc:spChg chg="add del mod replST">
          <ac:chgData name="Wenwen Zhang" userId="9dd81366-5d6f-445a-b031-6ea562624431" providerId="ADAL" clId="{3909E7CC-5EA5-469C-9AFF-9A201E30CD9D}" dt="2022-12-06T09:06:44.286" v="36769"/>
          <ac:spMkLst>
            <pc:docMk/>
            <pc:sldMk cId="2564188142" sldId="2134804362"/>
            <ac:spMk id="227" creationId="{96DB64E7-7450-5BAA-7DCA-6F75AE12EF02}"/>
          </ac:spMkLst>
        </pc:spChg>
        <pc:spChg chg="add del mod replST">
          <ac:chgData name="Wenwen Zhang" userId="9dd81366-5d6f-445a-b031-6ea562624431" providerId="ADAL" clId="{3909E7CC-5EA5-469C-9AFF-9A201E30CD9D}" dt="2022-12-06T09:06:44.287" v="36770"/>
          <ac:spMkLst>
            <pc:docMk/>
            <pc:sldMk cId="2564188142" sldId="2134804362"/>
            <ac:spMk id="228" creationId="{96DB64E7-7450-5BAA-7DCA-6F75AE12EF02}"/>
          </ac:spMkLst>
        </pc:spChg>
        <pc:spChg chg="add del mod replST">
          <ac:chgData name="Wenwen Zhang" userId="9dd81366-5d6f-445a-b031-6ea562624431" providerId="ADAL" clId="{3909E7CC-5EA5-469C-9AFF-9A201E30CD9D}" dt="2022-12-06T09:06:44.288" v="36771"/>
          <ac:spMkLst>
            <pc:docMk/>
            <pc:sldMk cId="2564188142" sldId="2134804362"/>
            <ac:spMk id="229" creationId="{96DB64E7-7450-5BAA-7DCA-6F75AE12EF02}"/>
          </ac:spMkLst>
        </pc:spChg>
        <pc:spChg chg="add del mod replST">
          <ac:chgData name="Wenwen Zhang" userId="9dd81366-5d6f-445a-b031-6ea562624431" providerId="ADAL" clId="{3909E7CC-5EA5-469C-9AFF-9A201E30CD9D}" dt="2022-12-06T09:06:44.288" v="36772"/>
          <ac:spMkLst>
            <pc:docMk/>
            <pc:sldMk cId="2564188142" sldId="2134804362"/>
            <ac:spMk id="230" creationId="{96DB64E7-7450-5BAA-7DCA-6F75AE12EF02}"/>
          </ac:spMkLst>
        </pc:spChg>
        <pc:spChg chg="add del mod replST">
          <ac:chgData name="Wenwen Zhang" userId="9dd81366-5d6f-445a-b031-6ea562624431" providerId="ADAL" clId="{3909E7CC-5EA5-469C-9AFF-9A201E30CD9D}" dt="2022-12-06T09:06:44.288" v="36773"/>
          <ac:spMkLst>
            <pc:docMk/>
            <pc:sldMk cId="2564188142" sldId="2134804362"/>
            <ac:spMk id="231" creationId="{96DB64E7-7450-5BAA-7DCA-6F75AE12EF02}"/>
          </ac:spMkLst>
        </pc:spChg>
        <pc:spChg chg="add del mod replST">
          <ac:chgData name="Wenwen Zhang" userId="9dd81366-5d6f-445a-b031-6ea562624431" providerId="ADAL" clId="{3909E7CC-5EA5-469C-9AFF-9A201E30CD9D}" dt="2022-12-06T09:06:44.289" v="36774"/>
          <ac:spMkLst>
            <pc:docMk/>
            <pc:sldMk cId="2564188142" sldId="2134804362"/>
            <ac:spMk id="232" creationId="{96DB64E7-7450-5BAA-7DCA-6F75AE12EF02}"/>
          </ac:spMkLst>
        </pc:spChg>
        <pc:spChg chg="add del mod replST">
          <ac:chgData name="Wenwen Zhang" userId="9dd81366-5d6f-445a-b031-6ea562624431" providerId="ADAL" clId="{3909E7CC-5EA5-469C-9AFF-9A201E30CD9D}" dt="2022-12-06T09:06:44.289" v="36775"/>
          <ac:spMkLst>
            <pc:docMk/>
            <pc:sldMk cId="2564188142" sldId="2134804362"/>
            <ac:spMk id="233" creationId="{96DB64E7-7450-5BAA-7DCA-6F75AE12EF02}"/>
          </ac:spMkLst>
        </pc:spChg>
        <pc:spChg chg="add del mod replST">
          <ac:chgData name="Wenwen Zhang" userId="9dd81366-5d6f-445a-b031-6ea562624431" providerId="ADAL" clId="{3909E7CC-5EA5-469C-9AFF-9A201E30CD9D}" dt="2022-12-06T09:06:44.289" v="36776"/>
          <ac:spMkLst>
            <pc:docMk/>
            <pc:sldMk cId="2564188142" sldId="2134804362"/>
            <ac:spMk id="234" creationId="{96DB64E7-7450-5BAA-7DCA-6F75AE12EF02}"/>
          </ac:spMkLst>
        </pc:spChg>
        <pc:spChg chg="add del mod replST">
          <ac:chgData name="Wenwen Zhang" userId="9dd81366-5d6f-445a-b031-6ea562624431" providerId="ADAL" clId="{3909E7CC-5EA5-469C-9AFF-9A201E30CD9D}" dt="2022-12-06T09:06:44.289" v="36777"/>
          <ac:spMkLst>
            <pc:docMk/>
            <pc:sldMk cId="2564188142" sldId="2134804362"/>
            <ac:spMk id="235" creationId="{96DB64E7-7450-5BAA-7DCA-6F75AE12EF02}"/>
          </ac:spMkLst>
        </pc:spChg>
        <pc:spChg chg="add del mod replST">
          <ac:chgData name="Wenwen Zhang" userId="9dd81366-5d6f-445a-b031-6ea562624431" providerId="ADAL" clId="{3909E7CC-5EA5-469C-9AFF-9A201E30CD9D}" dt="2022-12-06T09:06:44.290" v="36778"/>
          <ac:spMkLst>
            <pc:docMk/>
            <pc:sldMk cId="2564188142" sldId="2134804362"/>
            <ac:spMk id="236" creationId="{96DB64E7-7450-5BAA-7DCA-6F75AE12EF02}"/>
          </ac:spMkLst>
        </pc:spChg>
        <pc:spChg chg="add del mod replST">
          <ac:chgData name="Wenwen Zhang" userId="9dd81366-5d6f-445a-b031-6ea562624431" providerId="ADAL" clId="{3909E7CC-5EA5-469C-9AFF-9A201E30CD9D}" dt="2022-12-06T09:06:44.290" v="36779"/>
          <ac:spMkLst>
            <pc:docMk/>
            <pc:sldMk cId="2564188142" sldId="2134804362"/>
            <ac:spMk id="237" creationId="{96DB64E7-7450-5BAA-7DCA-6F75AE12EF02}"/>
          </ac:spMkLst>
        </pc:spChg>
        <pc:spChg chg="add del mod replST">
          <ac:chgData name="Wenwen Zhang" userId="9dd81366-5d6f-445a-b031-6ea562624431" providerId="ADAL" clId="{3909E7CC-5EA5-469C-9AFF-9A201E30CD9D}" dt="2022-12-06T09:06:44.290" v="36780"/>
          <ac:spMkLst>
            <pc:docMk/>
            <pc:sldMk cId="2564188142" sldId="2134804362"/>
            <ac:spMk id="238" creationId="{96DB64E7-7450-5BAA-7DCA-6F75AE12EF02}"/>
          </ac:spMkLst>
        </pc:spChg>
        <pc:spChg chg="add del mod replST">
          <ac:chgData name="Wenwen Zhang" userId="9dd81366-5d6f-445a-b031-6ea562624431" providerId="ADAL" clId="{3909E7CC-5EA5-469C-9AFF-9A201E30CD9D}" dt="2022-12-06T09:06:44.291" v="36781"/>
          <ac:spMkLst>
            <pc:docMk/>
            <pc:sldMk cId="2564188142" sldId="2134804362"/>
            <ac:spMk id="239" creationId="{96DB64E7-7450-5BAA-7DCA-6F75AE12EF02}"/>
          </ac:spMkLst>
        </pc:spChg>
        <pc:spChg chg="add del mod replST">
          <ac:chgData name="Wenwen Zhang" userId="9dd81366-5d6f-445a-b031-6ea562624431" providerId="ADAL" clId="{3909E7CC-5EA5-469C-9AFF-9A201E30CD9D}" dt="2022-12-06T09:06:44.291" v="36782"/>
          <ac:spMkLst>
            <pc:docMk/>
            <pc:sldMk cId="2564188142" sldId="2134804362"/>
            <ac:spMk id="240" creationId="{96DB64E7-7450-5BAA-7DCA-6F75AE12EF02}"/>
          </ac:spMkLst>
        </pc:spChg>
        <pc:spChg chg="add del mod replST">
          <ac:chgData name="Wenwen Zhang" userId="9dd81366-5d6f-445a-b031-6ea562624431" providerId="ADAL" clId="{3909E7CC-5EA5-469C-9AFF-9A201E30CD9D}" dt="2022-12-06T09:06:44.291" v="36783"/>
          <ac:spMkLst>
            <pc:docMk/>
            <pc:sldMk cId="2564188142" sldId="2134804362"/>
            <ac:spMk id="241" creationId="{96DB64E7-7450-5BAA-7DCA-6F75AE12EF02}"/>
          </ac:spMkLst>
        </pc:spChg>
        <pc:spChg chg="add del mod replST">
          <ac:chgData name="Wenwen Zhang" userId="9dd81366-5d6f-445a-b031-6ea562624431" providerId="ADAL" clId="{3909E7CC-5EA5-469C-9AFF-9A201E30CD9D}" dt="2022-12-06T09:06:44.291" v="36784"/>
          <ac:spMkLst>
            <pc:docMk/>
            <pc:sldMk cId="2564188142" sldId="2134804362"/>
            <ac:spMk id="242" creationId="{96DB64E7-7450-5BAA-7DCA-6F75AE12EF02}"/>
          </ac:spMkLst>
        </pc:spChg>
        <pc:spChg chg="add del mod replST">
          <ac:chgData name="Wenwen Zhang" userId="9dd81366-5d6f-445a-b031-6ea562624431" providerId="ADAL" clId="{3909E7CC-5EA5-469C-9AFF-9A201E30CD9D}" dt="2022-12-06T09:06:44.292" v="36785"/>
          <ac:spMkLst>
            <pc:docMk/>
            <pc:sldMk cId="2564188142" sldId="2134804362"/>
            <ac:spMk id="243" creationId="{96DB64E7-7450-5BAA-7DCA-6F75AE12EF02}"/>
          </ac:spMkLst>
        </pc:spChg>
        <pc:spChg chg="add del mod replST">
          <ac:chgData name="Wenwen Zhang" userId="9dd81366-5d6f-445a-b031-6ea562624431" providerId="ADAL" clId="{3909E7CC-5EA5-469C-9AFF-9A201E30CD9D}" dt="2022-12-06T09:06:44.292" v="36786"/>
          <ac:spMkLst>
            <pc:docMk/>
            <pc:sldMk cId="2564188142" sldId="2134804362"/>
            <ac:spMk id="244" creationId="{96DB64E7-7450-5BAA-7DCA-6F75AE12EF02}"/>
          </ac:spMkLst>
        </pc:spChg>
        <pc:spChg chg="add del mod replST">
          <ac:chgData name="Wenwen Zhang" userId="9dd81366-5d6f-445a-b031-6ea562624431" providerId="ADAL" clId="{3909E7CC-5EA5-469C-9AFF-9A201E30CD9D}" dt="2022-12-06T09:06:44.292" v="36787"/>
          <ac:spMkLst>
            <pc:docMk/>
            <pc:sldMk cId="2564188142" sldId="2134804362"/>
            <ac:spMk id="245" creationId="{96DB64E7-7450-5BAA-7DCA-6F75AE12EF02}"/>
          </ac:spMkLst>
        </pc:spChg>
        <pc:spChg chg="add del mod replST">
          <ac:chgData name="Wenwen Zhang" userId="9dd81366-5d6f-445a-b031-6ea562624431" providerId="ADAL" clId="{3909E7CC-5EA5-469C-9AFF-9A201E30CD9D}" dt="2022-12-06T09:06:44.292" v="36788"/>
          <ac:spMkLst>
            <pc:docMk/>
            <pc:sldMk cId="2564188142" sldId="2134804362"/>
            <ac:spMk id="246" creationId="{96DB64E7-7450-5BAA-7DCA-6F75AE12EF02}"/>
          </ac:spMkLst>
        </pc:spChg>
        <pc:spChg chg="add del mod replST">
          <ac:chgData name="Wenwen Zhang" userId="9dd81366-5d6f-445a-b031-6ea562624431" providerId="ADAL" clId="{3909E7CC-5EA5-469C-9AFF-9A201E30CD9D}" dt="2022-12-06T09:06:44.292" v="36789"/>
          <ac:spMkLst>
            <pc:docMk/>
            <pc:sldMk cId="2564188142" sldId="2134804362"/>
            <ac:spMk id="247" creationId="{96DB64E7-7450-5BAA-7DCA-6F75AE12EF02}"/>
          </ac:spMkLst>
        </pc:spChg>
        <pc:spChg chg="add del mod replST">
          <ac:chgData name="Wenwen Zhang" userId="9dd81366-5d6f-445a-b031-6ea562624431" providerId="ADAL" clId="{3909E7CC-5EA5-469C-9AFF-9A201E30CD9D}" dt="2022-12-06T09:06:44.293" v="36790"/>
          <ac:spMkLst>
            <pc:docMk/>
            <pc:sldMk cId="2564188142" sldId="2134804362"/>
            <ac:spMk id="248" creationId="{96DB64E7-7450-5BAA-7DCA-6F75AE12EF02}"/>
          </ac:spMkLst>
        </pc:spChg>
        <pc:spChg chg="add del mod replST">
          <ac:chgData name="Wenwen Zhang" userId="9dd81366-5d6f-445a-b031-6ea562624431" providerId="ADAL" clId="{3909E7CC-5EA5-469C-9AFF-9A201E30CD9D}" dt="2022-12-06T09:06:44.293" v="36791"/>
          <ac:spMkLst>
            <pc:docMk/>
            <pc:sldMk cId="2564188142" sldId="2134804362"/>
            <ac:spMk id="249" creationId="{96DB64E7-7450-5BAA-7DCA-6F75AE12EF02}"/>
          </ac:spMkLst>
        </pc:spChg>
        <pc:spChg chg="add del mod replST">
          <ac:chgData name="Wenwen Zhang" userId="9dd81366-5d6f-445a-b031-6ea562624431" providerId="ADAL" clId="{3909E7CC-5EA5-469C-9AFF-9A201E30CD9D}" dt="2022-12-06T09:06:44.293" v="36792"/>
          <ac:spMkLst>
            <pc:docMk/>
            <pc:sldMk cId="2564188142" sldId="2134804362"/>
            <ac:spMk id="250" creationId="{96DB64E7-7450-5BAA-7DCA-6F75AE12EF02}"/>
          </ac:spMkLst>
        </pc:spChg>
        <pc:spChg chg="add del mod replST">
          <ac:chgData name="Wenwen Zhang" userId="9dd81366-5d6f-445a-b031-6ea562624431" providerId="ADAL" clId="{3909E7CC-5EA5-469C-9AFF-9A201E30CD9D}" dt="2022-12-06T09:06:44.293" v="36793"/>
          <ac:spMkLst>
            <pc:docMk/>
            <pc:sldMk cId="2564188142" sldId="2134804362"/>
            <ac:spMk id="251" creationId="{96DB64E7-7450-5BAA-7DCA-6F75AE12EF02}"/>
          </ac:spMkLst>
        </pc:spChg>
        <pc:spChg chg="add del mod replST">
          <ac:chgData name="Wenwen Zhang" userId="9dd81366-5d6f-445a-b031-6ea562624431" providerId="ADAL" clId="{3909E7CC-5EA5-469C-9AFF-9A201E30CD9D}" dt="2022-12-06T09:06:44.294" v="36794"/>
          <ac:spMkLst>
            <pc:docMk/>
            <pc:sldMk cId="2564188142" sldId="2134804362"/>
            <ac:spMk id="252" creationId="{96DB64E7-7450-5BAA-7DCA-6F75AE12EF02}"/>
          </ac:spMkLst>
        </pc:spChg>
        <pc:spChg chg="add del mod replST">
          <ac:chgData name="Wenwen Zhang" userId="9dd81366-5d6f-445a-b031-6ea562624431" providerId="ADAL" clId="{3909E7CC-5EA5-469C-9AFF-9A201E30CD9D}" dt="2022-12-06T09:06:44.294" v="36795"/>
          <ac:spMkLst>
            <pc:docMk/>
            <pc:sldMk cId="2564188142" sldId="2134804362"/>
            <ac:spMk id="253" creationId="{96DB64E7-7450-5BAA-7DCA-6F75AE12EF02}"/>
          </ac:spMkLst>
        </pc:spChg>
        <pc:spChg chg="add del mod replST">
          <ac:chgData name="Wenwen Zhang" userId="9dd81366-5d6f-445a-b031-6ea562624431" providerId="ADAL" clId="{3909E7CC-5EA5-469C-9AFF-9A201E30CD9D}" dt="2022-12-06T09:06:44.295" v="36796"/>
          <ac:spMkLst>
            <pc:docMk/>
            <pc:sldMk cId="2564188142" sldId="2134804362"/>
            <ac:spMk id="254" creationId="{96DB64E7-7450-5BAA-7DCA-6F75AE12EF02}"/>
          </ac:spMkLst>
        </pc:spChg>
        <pc:spChg chg="add del mod replST">
          <ac:chgData name="Wenwen Zhang" userId="9dd81366-5d6f-445a-b031-6ea562624431" providerId="ADAL" clId="{3909E7CC-5EA5-469C-9AFF-9A201E30CD9D}" dt="2022-12-06T09:06:44.295" v="36797"/>
          <ac:spMkLst>
            <pc:docMk/>
            <pc:sldMk cId="2564188142" sldId="2134804362"/>
            <ac:spMk id="255" creationId="{96DB64E7-7450-5BAA-7DCA-6F75AE12EF02}"/>
          </ac:spMkLst>
        </pc:spChg>
        <pc:spChg chg="add del mod replST">
          <ac:chgData name="Wenwen Zhang" userId="9dd81366-5d6f-445a-b031-6ea562624431" providerId="ADAL" clId="{3909E7CC-5EA5-469C-9AFF-9A201E30CD9D}" dt="2022-12-06T09:06:44.296" v="36798"/>
          <ac:spMkLst>
            <pc:docMk/>
            <pc:sldMk cId="2564188142" sldId="2134804362"/>
            <ac:spMk id="256" creationId="{96DB64E7-7450-5BAA-7DCA-6F75AE12EF02}"/>
          </ac:spMkLst>
        </pc:spChg>
        <pc:spChg chg="add del mod replST">
          <ac:chgData name="Wenwen Zhang" userId="9dd81366-5d6f-445a-b031-6ea562624431" providerId="ADAL" clId="{3909E7CC-5EA5-469C-9AFF-9A201E30CD9D}" dt="2022-12-06T09:06:44.296" v="36799"/>
          <ac:spMkLst>
            <pc:docMk/>
            <pc:sldMk cId="2564188142" sldId="2134804362"/>
            <ac:spMk id="257" creationId="{96DB64E7-7450-5BAA-7DCA-6F75AE12EF02}"/>
          </ac:spMkLst>
        </pc:spChg>
        <pc:spChg chg="add del mod replST">
          <ac:chgData name="Wenwen Zhang" userId="9dd81366-5d6f-445a-b031-6ea562624431" providerId="ADAL" clId="{3909E7CC-5EA5-469C-9AFF-9A201E30CD9D}" dt="2022-12-06T09:06:44.296" v="36800"/>
          <ac:spMkLst>
            <pc:docMk/>
            <pc:sldMk cId="2564188142" sldId="2134804362"/>
            <ac:spMk id="258" creationId="{96DB64E7-7450-5BAA-7DCA-6F75AE12EF02}"/>
          </ac:spMkLst>
        </pc:spChg>
        <pc:spChg chg="add del mod replST">
          <ac:chgData name="Wenwen Zhang" userId="9dd81366-5d6f-445a-b031-6ea562624431" providerId="ADAL" clId="{3909E7CC-5EA5-469C-9AFF-9A201E30CD9D}" dt="2022-12-06T09:06:44.297" v="36801"/>
          <ac:spMkLst>
            <pc:docMk/>
            <pc:sldMk cId="2564188142" sldId="2134804362"/>
            <ac:spMk id="259" creationId="{96DB64E7-7450-5BAA-7DCA-6F75AE12EF02}"/>
          </ac:spMkLst>
        </pc:spChg>
        <pc:spChg chg="add del mod replST">
          <ac:chgData name="Wenwen Zhang" userId="9dd81366-5d6f-445a-b031-6ea562624431" providerId="ADAL" clId="{3909E7CC-5EA5-469C-9AFF-9A201E30CD9D}" dt="2022-12-06T09:06:44.298" v="36802"/>
          <ac:spMkLst>
            <pc:docMk/>
            <pc:sldMk cId="2564188142" sldId="2134804362"/>
            <ac:spMk id="260" creationId="{96DB64E7-7450-5BAA-7DCA-6F75AE12EF02}"/>
          </ac:spMkLst>
        </pc:spChg>
        <pc:spChg chg="add del mod replST">
          <ac:chgData name="Wenwen Zhang" userId="9dd81366-5d6f-445a-b031-6ea562624431" providerId="ADAL" clId="{3909E7CC-5EA5-469C-9AFF-9A201E30CD9D}" dt="2022-12-06T09:06:44.299" v="36803"/>
          <ac:spMkLst>
            <pc:docMk/>
            <pc:sldMk cId="2564188142" sldId="2134804362"/>
            <ac:spMk id="261" creationId="{96DB64E7-7450-5BAA-7DCA-6F75AE12EF02}"/>
          </ac:spMkLst>
        </pc:spChg>
        <pc:spChg chg="add del mod replST">
          <ac:chgData name="Wenwen Zhang" userId="9dd81366-5d6f-445a-b031-6ea562624431" providerId="ADAL" clId="{3909E7CC-5EA5-469C-9AFF-9A201E30CD9D}" dt="2022-12-06T09:06:44.300" v="36804"/>
          <ac:spMkLst>
            <pc:docMk/>
            <pc:sldMk cId="2564188142" sldId="2134804362"/>
            <ac:spMk id="262" creationId="{96DB64E7-7450-5BAA-7DCA-6F75AE12EF02}"/>
          </ac:spMkLst>
        </pc:spChg>
        <pc:spChg chg="add del mod replST">
          <ac:chgData name="Wenwen Zhang" userId="9dd81366-5d6f-445a-b031-6ea562624431" providerId="ADAL" clId="{3909E7CC-5EA5-469C-9AFF-9A201E30CD9D}" dt="2022-12-06T09:06:44.300" v="36805"/>
          <ac:spMkLst>
            <pc:docMk/>
            <pc:sldMk cId="2564188142" sldId="2134804362"/>
            <ac:spMk id="263" creationId="{96DB64E7-7450-5BAA-7DCA-6F75AE12EF02}"/>
          </ac:spMkLst>
        </pc:spChg>
        <pc:spChg chg="add del mod replST">
          <ac:chgData name="Wenwen Zhang" userId="9dd81366-5d6f-445a-b031-6ea562624431" providerId="ADAL" clId="{3909E7CC-5EA5-469C-9AFF-9A201E30CD9D}" dt="2022-12-06T09:06:44.301" v="36806"/>
          <ac:spMkLst>
            <pc:docMk/>
            <pc:sldMk cId="2564188142" sldId="2134804362"/>
            <ac:spMk id="264" creationId="{96DB64E7-7450-5BAA-7DCA-6F75AE12EF02}"/>
          </ac:spMkLst>
        </pc:spChg>
        <pc:spChg chg="add del mod replST">
          <ac:chgData name="Wenwen Zhang" userId="9dd81366-5d6f-445a-b031-6ea562624431" providerId="ADAL" clId="{3909E7CC-5EA5-469C-9AFF-9A201E30CD9D}" dt="2022-12-06T09:06:44.302" v="36807"/>
          <ac:spMkLst>
            <pc:docMk/>
            <pc:sldMk cId="2564188142" sldId="2134804362"/>
            <ac:spMk id="265" creationId="{96DB64E7-7450-5BAA-7DCA-6F75AE12EF02}"/>
          </ac:spMkLst>
        </pc:spChg>
        <pc:spChg chg="add del mod replST">
          <ac:chgData name="Wenwen Zhang" userId="9dd81366-5d6f-445a-b031-6ea562624431" providerId="ADAL" clId="{3909E7CC-5EA5-469C-9AFF-9A201E30CD9D}" dt="2022-12-06T09:06:44.302" v="36808"/>
          <ac:spMkLst>
            <pc:docMk/>
            <pc:sldMk cId="2564188142" sldId="2134804362"/>
            <ac:spMk id="266" creationId="{96DB64E7-7450-5BAA-7DCA-6F75AE12EF02}"/>
          </ac:spMkLst>
        </pc:spChg>
        <pc:spChg chg="add del mod replST">
          <ac:chgData name="Wenwen Zhang" userId="9dd81366-5d6f-445a-b031-6ea562624431" providerId="ADAL" clId="{3909E7CC-5EA5-469C-9AFF-9A201E30CD9D}" dt="2022-12-06T09:06:44.303" v="36809"/>
          <ac:spMkLst>
            <pc:docMk/>
            <pc:sldMk cId="2564188142" sldId="2134804362"/>
            <ac:spMk id="267" creationId="{96DB64E7-7450-5BAA-7DCA-6F75AE12EF02}"/>
          </ac:spMkLst>
        </pc:spChg>
        <pc:spChg chg="add del mod replST">
          <ac:chgData name="Wenwen Zhang" userId="9dd81366-5d6f-445a-b031-6ea562624431" providerId="ADAL" clId="{3909E7CC-5EA5-469C-9AFF-9A201E30CD9D}" dt="2022-12-06T09:06:44.304" v="36810"/>
          <ac:spMkLst>
            <pc:docMk/>
            <pc:sldMk cId="2564188142" sldId="2134804362"/>
            <ac:spMk id="268" creationId="{96DB64E7-7450-5BAA-7DCA-6F75AE12EF02}"/>
          </ac:spMkLst>
        </pc:spChg>
        <pc:spChg chg="add del mod replST">
          <ac:chgData name="Wenwen Zhang" userId="9dd81366-5d6f-445a-b031-6ea562624431" providerId="ADAL" clId="{3909E7CC-5EA5-469C-9AFF-9A201E30CD9D}" dt="2022-12-06T09:06:44.306" v="36811"/>
          <ac:spMkLst>
            <pc:docMk/>
            <pc:sldMk cId="2564188142" sldId="2134804362"/>
            <ac:spMk id="269" creationId="{96DB64E7-7450-5BAA-7DCA-6F75AE12EF02}"/>
          </ac:spMkLst>
        </pc:spChg>
        <pc:spChg chg="add del mod replST">
          <ac:chgData name="Wenwen Zhang" userId="9dd81366-5d6f-445a-b031-6ea562624431" providerId="ADAL" clId="{3909E7CC-5EA5-469C-9AFF-9A201E30CD9D}" dt="2022-12-06T09:06:44.306" v="36812"/>
          <ac:spMkLst>
            <pc:docMk/>
            <pc:sldMk cId="2564188142" sldId="2134804362"/>
            <ac:spMk id="270" creationId="{96DB64E7-7450-5BAA-7DCA-6F75AE12EF02}"/>
          </ac:spMkLst>
        </pc:spChg>
        <pc:spChg chg="add del mod replST">
          <ac:chgData name="Wenwen Zhang" userId="9dd81366-5d6f-445a-b031-6ea562624431" providerId="ADAL" clId="{3909E7CC-5EA5-469C-9AFF-9A201E30CD9D}" dt="2022-12-06T09:06:44.307" v="36813"/>
          <ac:spMkLst>
            <pc:docMk/>
            <pc:sldMk cId="2564188142" sldId="2134804362"/>
            <ac:spMk id="271" creationId="{96DB64E7-7450-5BAA-7DCA-6F75AE12EF02}"/>
          </ac:spMkLst>
        </pc:spChg>
        <pc:spChg chg="add del mod replST">
          <ac:chgData name="Wenwen Zhang" userId="9dd81366-5d6f-445a-b031-6ea562624431" providerId="ADAL" clId="{3909E7CC-5EA5-469C-9AFF-9A201E30CD9D}" dt="2022-12-06T09:06:44.308" v="36814"/>
          <ac:spMkLst>
            <pc:docMk/>
            <pc:sldMk cId="2564188142" sldId="2134804362"/>
            <ac:spMk id="272" creationId="{96DB64E7-7450-5BAA-7DCA-6F75AE12EF02}"/>
          </ac:spMkLst>
        </pc:spChg>
        <pc:spChg chg="add del mod replST">
          <ac:chgData name="Wenwen Zhang" userId="9dd81366-5d6f-445a-b031-6ea562624431" providerId="ADAL" clId="{3909E7CC-5EA5-469C-9AFF-9A201E30CD9D}" dt="2022-12-06T09:06:44.309" v="36815"/>
          <ac:spMkLst>
            <pc:docMk/>
            <pc:sldMk cId="2564188142" sldId="2134804362"/>
            <ac:spMk id="273" creationId="{96DB64E7-7450-5BAA-7DCA-6F75AE12EF02}"/>
          </ac:spMkLst>
        </pc:spChg>
        <pc:spChg chg="add del mod replST">
          <ac:chgData name="Wenwen Zhang" userId="9dd81366-5d6f-445a-b031-6ea562624431" providerId="ADAL" clId="{3909E7CC-5EA5-469C-9AFF-9A201E30CD9D}" dt="2022-12-06T09:06:44.310" v="36816"/>
          <ac:spMkLst>
            <pc:docMk/>
            <pc:sldMk cId="2564188142" sldId="2134804362"/>
            <ac:spMk id="274" creationId="{96DB64E7-7450-5BAA-7DCA-6F75AE12EF02}"/>
          </ac:spMkLst>
        </pc:spChg>
        <pc:spChg chg="add del mod replST">
          <ac:chgData name="Wenwen Zhang" userId="9dd81366-5d6f-445a-b031-6ea562624431" providerId="ADAL" clId="{3909E7CC-5EA5-469C-9AFF-9A201E30CD9D}" dt="2022-12-06T09:06:44.311" v="36817"/>
          <ac:spMkLst>
            <pc:docMk/>
            <pc:sldMk cId="2564188142" sldId="2134804362"/>
            <ac:spMk id="275" creationId="{96DB64E7-7450-5BAA-7DCA-6F75AE12EF02}"/>
          </ac:spMkLst>
        </pc:spChg>
        <pc:spChg chg="add del mod replST">
          <ac:chgData name="Wenwen Zhang" userId="9dd81366-5d6f-445a-b031-6ea562624431" providerId="ADAL" clId="{3909E7CC-5EA5-469C-9AFF-9A201E30CD9D}" dt="2022-12-06T09:06:44.312" v="36818"/>
          <ac:spMkLst>
            <pc:docMk/>
            <pc:sldMk cId="2564188142" sldId="2134804362"/>
            <ac:spMk id="276" creationId="{96DB64E7-7450-5BAA-7DCA-6F75AE12EF02}"/>
          </ac:spMkLst>
        </pc:spChg>
        <pc:spChg chg="add del mod replST">
          <ac:chgData name="Wenwen Zhang" userId="9dd81366-5d6f-445a-b031-6ea562624431" providerId="ADAL" clId="{3909E7CC-5EA5-469C-9AFF-9A201E30CD9D}" dt="2022-12-06T09:06:44.313" v="36819"/>
          <ac:spMkLst>
            <pc:docMk/>
            <pc:sldMk cId="2564188142" sldId="2134804362"/>
            <ac:spMk id="277" creationId="{96DB64E7-7450-5BAA-7DCA-6F75AE12EF02}"/>
          </ac:spMkLst>
        </pc:spChg>
        <pc:spChg chg="add del mod replST">
          <ac:chgData name="Wenwen Zhang" userId="9dd81366-5d6f-445a-b031-6ea562624431" providerId="ADAL" clId="{3909E7CC-5EA5-469C-9AFF-9A201E30CD9D}" dt="2022-12-06T09:06:44.314" v="36820"/>
          <ac:spMkLst>
            <pc:docMk/>
            <pc:sldMk cId="2564188142" sldId="2134804362"/>
            <ac:spMk id="278" creationId="{96DB64E7-7450-5BAA-7DCA-6F75AE12EF02}"/>
          </ac:spMkLst>
        </pc:spChg>
        <pc:spChg chg="add del mod replST">
          <ac:chgData name="Wenwen Zhang" userId="9dd81366-5d6f-445a-b031-6ea562624431" providerId="ADAL" clId="{3909E7CC-5EA5-469C-9AFF-9A201E30CD9D}" dt="2022-12-06T09:06:44.315" v="36821"/>
          <ac:spMkLst>
            <pc:docMk/>
            <pc:sldMk cId="2564188142" sldId="2134804362"/>
            <ac:spMk id="279" creationId="{96DB64E7-7450-5BAA-7DCA-6F75AE12EF02}"/>
          </ac:spMkLst>
        </pc:spChg>
        <pc:spChg chg="add del mod replST">
          <ac:chgData name="Wenwen Zhang" userId="9dd81366-5d6f-445a-b031-6ea562624431" providerId="ADAL" clId="{3909E7CC-5EA5-469C-9AFF-9A201E30CD9D}" dt="2022-12-06T09:06:44.315" v="36822"/>
          <ac:spMkLst>
            <pc:docMk/>
            <pc:sldMk cId="2564188142" sldId="2134804362"/>
            <ac:spMk id="280" creationId="{96DB64E7-7450-5BAA-7DCA-6F75AE12EF02}"/>
          </ac:spMkLst>
        </pc:spChg>
        <pc:spChg chg="add del mod replST">
          <ac:chgData name="Wenwen Zhang" userId="9dd81366-5d6f-445a-b031-6ea562624431" providerId="ADAL" clId="{3909E7CC-5EA5-469C-9AFF-9A201E30CD9D}" dt="2022-12-06T09:06:44.316" v="36823"/>
          <ac:spMkLst>
            <pc:docMk/>
            <pc:sldMk cId="2564188142" sldId="2134804362"/>
            <ac:spMk id="281" creationId="{96DB64E7-7450-5BAA-7DCA-6F75AE12EF02}"/>
          </ac:spMkLst>
        </pc:spChg>
        <pc:spChg chg="add del mod replST">
          <ac:chgData name="Wenwen Zhang" userId="9dd81366-5d6f-445a-b031-6ea562624431" providerId="ADAL" clId="{3909E7CC-5EA5-469C-9AFF-9A201E30CD9D}" dt="2022-12-06T09:06:44.317" v="36824"/>
          <ac:spMkLst>
            <pc:docMk/>
            <pc:sldMk cId="2564188142" sldId="2134804362"/>
            <ac:spMk id="282" creationId="{96DB64E7-7450-5BAA-7DCA-6F75AE12EF02}"/>
          </ac:spMkLst>
        </pc:spChg>
        <pc:spChg chg="add del mod replST">
          <ac:chgData name="Wenwen Zhang" userId="9dd81366-5d6f-445a-b031-6ea562624431" providerId="ADAL" clId="{3909E7CC-5EA5-469C-9AFF-9A201E30CD9D}" dt="2022-12-06T09:06:44.318" v="36825"/>
          <ac:spMkLst>
            <pc:docMk/>
            <pc:sldMk cId="2564188142" sldId="2134804362"/>
            <ac:spMk id="283" creationId="{96DB64E7-7450-5BAA-7DCA-6F75AE12EF02}"/>
          </ac:spMkLst>
        </pc:spChg>
        <pc:spChg chg="add del mod replST">
          <ac:chgData name="Wenwen Zhang" userId="9dd81366-5d6f-445a-b031-6ea562624431" providerId="ADAL" clId="{3909E7CC-5EA5-469C-9AFF-9A201E30CD9D}" dt="2022-12-06T09:06:44.319" v="36826"/>
          <ac:spMkLst>
            <pc:docMk/>
            <pc:sldMk cId="2564188142" sldId="2134804362"/>
            <ac:spMk id="284" creationId="{96DB64E7-7450-5BAA-7DCA-6F75AE12EF02}"/>
          </ac:spMkLst>
        </pc:spChg>
        <pc:spChg chg="add del mod replST">
          <ac:chgData name="Wenwen Zhang" userId="9dd81366-5d6f-445a-b031-6ea562624431" providerId="ADAL" clId="{3909E7CC-5EA5-469C-9AFF-9A201E30CD9D}" dt="2022-12-06T09:06:44.320" v="36827"/>
          <ac:spMkLst>
            <pc:docMk/>
            <pc:sldMk cId="2564188142" sldId="2134804362"/>
            <ac:spMk id="285" creationId="{96DB64E7-7450-5BAA-7DCA-6F75AE12EF02}"/>
          </ac:spMkLst>
        </pc:spChg>
        <pc:spChg chg="add del mod replST">
          <ac:chgData name="Wenwen Zhang" userId="9dd81366-5d6f-445a-b031-6ea562624431" providerId="ADAL" clId="{3909E7CC-5EA5-469C-9AFF-9A201E30CD9D}" dt="2022-12-06T09:06:44.320" v="36828"/>
          <ac:spMkLst>
            <pc:docMk/>
            <pc:sldMk cId="2564188142" sldId="2134804362"/>
            <ac:spMk id="286" creationId="{96DB64E7-7450-5BAA-7DCA-6F75AE12EF02}"/>
          </ac:spMkLst>
        </pc:spChg>
        <pc:spChg chg="add del mod replST">
          <ac:chgData name="Wenwen Zhang" userId="9dd81366-5d6f-445a-b031-6ea562624431" providerId="ADAL" clId="{3909E7CC-5EA5-469C-9AFF-9A201E30CD9D}" dt="2022-12-06T09:06:44.321" v="36829"/>
          <ac:spMkLst>
            <pc:docMk/>
            <pc:sldMk cId="2564188142" sldId="2134804362"/>
            <ac:spMk id="287" creationId="{96DB64E7-7450-5BAA-7DCA-6F75AE12EF02}"/>
          </ac:spMkLst>
        </pc:spChg>
        <pc:spChg chg="add del mod replST">
          <ac:chgData name="Wenwen Zhang" userId="9dd81366-5d6f-445a-b031-6ea562624431" providerId="ADAL" clId="{3909E7CC-5EA5-469C-9AFF-9A201E30CD9D}" dt="2022-12-06T09:06:44.322" v="36830"/>
          <ac:spMkLst>
            <pc:docMk/>
            <pc:sldMk cId="2564188142" sldId="2134804362"/>
            <ac:spMk id="288" creationId="{96DB64E7-7450-5BAA-7DCA-6F75AE12EF02}"/>
          </ac:spMkLst>
        </pc:spChg>
        <pc:spChg chg="add del mod replST">
          <ac:chgData name="Wenwen Zhang" userId="9dd81366-5d6f-445a-b031-6ea562624431" providerId="ADAL" clId="{3909E7CC-5EA5-469C-9AFF-9A201E30CD9D}" dt="2022-12-06T09:06:44.323" v="36831"/>
          <ac:spMkLst>
            <pc:docMk/>
            <pc:sldMk cId="2564188142" sldId="2134804362"/>
            <ac:spMk id="289" creationId="{96DB64E7-7450-5BAA-7DCA-6F75AE12EF02}"/>
          </ac:spMkLst>
        </pc:spChg>
        <pc:spChg chg="add del mod replST">
          <ac:chgData name="Wenwen Zhang" userId="9dd81366-5d6f-445a-b031-6ea562624431" providerId="ADAL" clId="{3909E7CC-5EA5-469C-9AFF-9A201E30CD9D}" dt="2022-12-06T09:06:44.324" v="36832"/>
          <ac:spMkLst>
            <pc:docMk/>
            <pc:sldMk cId="2564188142" sldId="2134804362"/>
            <ac:spMk id="290" creationId="{96DB64E7-7450-5BAA-7DCA-6F75AE12EF02}"/>
          </ac:spMkLst>
        </pc:spChg>
        <pc:spChg chg="add del mod replST">
          <ac:chgData name="Wenwen Zhang" userId="9dd81366-5d6f-445a-b031-6ea562624431" providerId="ADAL" clId="{3909E7CC-5EA5-469C-9AFF-9A201E30CD9D}" dt="2022-12-06T09:06:44.324" v="36833"/>
          <ac:spMkLst>
            <pc:docMk/>
            <pc:sldMk cId="2564188142" sldId="2134804362"/>
            <ac:spMk id="291" creationId="{96DB64E7-7450-5BAA-7DCA-6F75AE12EF02}"/>
          </ac:spMkLst>
        </pc:spChg>
        <pc:spChg chg="add del mod replST">
          <ac:chgData name="Wenwen Zhang" userId="9dd81366-5d6f-445a-b031-6ea562624431" providerId="ADAL" clId="{3909E7CC-5EA5-469C-9AFF-9A201E30CD9D}" dt="2022-12-06T09:06:44.325" v="36834"/>
          <ac:spMkLst>
            <pc:docMk/>
            <pc:sldMk cId="2564188142" sldId="2134804362"/>
            <ac:spMk id="292" creationId="{96DB64E7-7450-5BAA-7DCA-6F75AE12EF02}"/>
          </ac:spMkLst>
        </pc:spChg>
        <pc:spChg chg="add del mod replST">
          <ac:chgData name="Wenwen Zhang" userId="9dd81366-5d6f-445a-b031-6ea562624431" providerId="ADAL" clId="{3909E7CC-5EA5-469C-9AFF-9A201E30CD9D}" dt="2022-12-06T09:06:44.326" v="36835"/>
          <ac:spMkLst>
            <pc:docMk/>
            <pc:sldMk cId="2564188142" sldId="2134804362"/>
            <ac:spMk id="293" creationId="{96DB64E7-7450-5BAA-7DCA-6F75AE12EF02}"/>
          </ac:spMkLst>
        </pc:spChg>
        <pc:spChg chg="add del mod replST">
          <ac:chgData name="Wenwen Zhang" userId="9dd81366-5d6f-445a-b031-6ea562624431" providerId="ADAL" clId="{3909E7CC-5EA5-469C-9AFF-9A201E30CD9D}" dt="2022-12-06T09:06:44.327" v="36836"/>
          <ac:spMkLst>
            <pc:docMk/>
            <pc:sldMk cId="2564188142" sldId="2134804362"/>
            <ac:spMk id="294" creationId="{96DB64E7-7450-5BAA-7DCA-6F75AE12EF02}"/>
          </ac:spMkLst>
        </pc:spChg>
        <pc:spChg chg="add del mod replST">
          <ac:chgData name="Wenwen Zhang" userId="9dd81366-5d6f-445a-b031-6ea562624431" providerId="ADAL" clId="{3909E7CC-5EA5-469C-9AFF-9A201E30CD9D}" dt="2022-12-06T09:06:44.328" v="36837"/>
          <ac:spMkLst>
            <pc:docMk/>
            <pc:sldMk cId="2564188142" sldId="2134804362"/>
            <ac:spMk id="295" creationId="{96DB64E7-7450-5BAA-7DCA-6F75AE12EF02}"/>
          </ac:spMkLst>
        </pc:spChg>
        <pc:spChg chg="add del mod replST">
          <ac:chgData name="Wenwen Zhang" userId="9dd81366-5d6f-445a-b031-6ea562624431" providerId="ADAL" clId="{3909E7CC-5EA5-469C-9AFF-9A201E30CD9D}" dt="2022-12-06T09:06:44.329" v="36838"/>
          <ac:spMkLst>
            <pc:docMk/>
            <pc:sldMk cId="2564188142" sldId="2134804362"/>
            <ac:spMk id="296" creationId="{96DB64E7-7450-5BAA-7DCA-6F75AE12EF02}"/>
          </ac:spMkLst>
        </pc:spChg>
        <pc:spChg chg="add del mod replST">
          <ac:chgData name="Wenwen Zhang" userId="9dd81366-5d6f-445a-b031-6ea562624431" providerId="ADAL" clId="{3909E7CC-5EA5-469C-9AFF-9A201E30CD9D}" dt="2022-12-06T09:06:44.330" v="36839"/>
          <ac:spMkLst>
            <pc:docMk/>
            <pc:sldMk cId="2564188142" sldId="2134804362"/>
            <ac:spMk id="297" creationId="{96DB64E7-7450-5BAA-7DCA-6F75AE12EF02}"/>
          </ac:spMkLst>
        </pc:spChg>
        <pc:spChg chg="add del mod replST">
          <ac:chgData name="Wenwen Zhang" userId="9dd81366-5d6f-445a-b031-6ea562624431" providerId="ADAL" clId="{3909E7CC-5EA5-469C-9AFF-9A201E30CD9D}" dt="2022-12-06T09:06:44.331" v="36840"/>
          <ac:spMkLst>
            <pc:docMk/>
            <pc:sldMk cId="2564188142" sldId="2134804362"/>
            <ac:spMk id="298" creationId="{96DB64E7-7450-5BAA-7DCA-6F75AE12EF02}"/>
          </ac:spMkLst>
        </pc:spChg>
        <pc:spChg chg="add del mod replST">
          <ac:chgData name="Wenwen Zhang" userId="9dd81366-5d6f-445a-b031-6ea562624431" providerId="ADAL" clId="{3909E7CC-5EA5-469C-9AFF-9A201E30CD9D}" dt="2022-12-06T09:06:44.331" v="36841"/>
          <ac:spMkLst>
            <pc:docMk/>
            <pc:sldMk cId="2564188142" sldId="2134804362"/>
            <ac:spMk id="299" creationId="{96DB64E7-7450-5BAA-7DCA-6F75AE12EF02}"/>
          </ac:spMkLst>
        </pc:spChg>
        <pc:spChg chg="add del mod replST">
          <ac:chgData name="Wenwen Zhang" userId="9dd81366-5d6f-445a-b031-6ea562624431" providerId="ADAL" clId="{3909E7CC-5EA5-469C-9AFF-9A201E30CD9D}" dt="2022-12-06T09:06:44.332" v="36842"/>
          <ac:spMkLst>
            <pc:docMk/>
            <pc:sldMk cId="2564188142" sldId="2134804362"/>
            <ac:spMk id="300" creationId="{96DB64E7-7450-5BAA-7DCA-6F75AE12EF02}"/>
          </ac:spMkLst>
        </pc:spChg>
        <pc:spChg chg="add del mod replST">
          <ac:chgData name="Wenwen Zhang" userId="9dd81366-5d6f-445a-b031-6ea562624431" providerId="ADAL" clId="{3909E7CC-5EA5-469C-9AFF-9A201E30CD9D}" dt="2022-12-06T09:06:44.333" v="36843"/>
          <ac:spMkLst>
            <pc:docMk/>
            <pc:sldMk cId="2564188142" sldId="2134804362"/>
            <ac:spMk id="301" creationId="{96DB64E7-7450-5BAA-7DCA-6F75AE12EF02}"/>
          </ac:spMkLst>
        </pc:spChg>
        <pc:spChg chg="add del mod replST">
          <ac:chgData name="Wenwen Zhang" userId="9dd81366-5d6f-445a-b031-6ea562624431" providerId="ADAL" clId="{3909E7CC-5EA5-469C-9AFF-9A201E30CD9D}" dt="2022-12-06T09:06:44.334" v="36844"/>
          <ac:spMkLst>
            <pc:docMk/>
            <pc:sldMk cId="2564188142" sldId="2134804362"/>
            <ac:spMk id="302" creationId="{96DB64E7-7450-5BAA-7DCA-6F75AE12EF02}"/>
          </ac:spMkLst>
        </pc:spChg>
        <pc:spChg chg="add del mod replST">
          <ac:chgData name="Wenwen Zhang" userId="9dd81366-5d6f-445a-b031-6ea562624431" providerId="ADAL" clId="{3909E7CC-5EA5-469C-9AFF-9A201E30CD9D}" dt="2022-12-06T09:06:44.335" v="36845"/>
          <ac:spMkLst>
            <pc:docMk/>
            <pc:sldMk cId="2564188142" sldId="2134804362"/>
            <ac:spMk id="303" creationId="{96DB64E7-7450-5BAA-7DCA-6F75AE12EF02}"/>
          </ac:spMkLst>
        </pc:spChg>
        <pc:spChg chg="add del mod replST">
          <ac:chgData name="Wenwen Zhang" userId="9dd81366-5d6f-445a-b031-6ea562624431" providerId="ADAL" clId="{3909E7CC-5EA5-469C-9AFF-9A201E30CD9D}" dt="2022-12-06T09:06:44.336" v="36846"/>
          <ac:spMkLst>
            <pc:docMk/>
            <pc:sldMk cId="2564188142" sldId="2134804362"/>
            <ac:spMk id="304" creationId="{96DB64E7-7450-5BAA-7DCA-6F75AE12EF02}"/>
          </ac:spMkLst>
        </pc:spChg>
        <pc:spChg chg="add del mod replST">
          <ac:chgData name="Wenwen Zhang" userId="9dd81366-5d6f-445a-b031-6ea562624431" providerId="ADAL" clId="{3909E7CC-5EA5-469C-9AFF-9A201E30CD9D}" dt="2022-12-06T09:06:44.336" v="36847"/>
          <ac:spMkLst>
            <pc:docMk/>
            <pc:sldMk cId="2564188142" sldId="2134804362"/>
            <ac:spMk id="305" creationId="{96DB64E7-7450-5BAA-7DCA-6F75AE12EF02}"/>
          </ac:spMkLst>
        </pc:spChg>
        <pc:spChg chg="add del mod replST">
          <ac:chgData name="Wenwen Zhang" userId="9dd81366-5d6f-445a-b031-6ea562624431" providerId="ADAL" clId="{3909E7CC-5EA5-469C-9AFF-9A201E30CD9D}" dt="2022-12-06T09:06:44.337" v="36848"/>
          <ac:spMkLst>
            <pc:docMk/>
            <pc:sldMk cId="2564188142" sldId="2134804362"/>
            <ac:spMk id="306" creationId="{96DB64E7-7450-5BAA-7DCA-6F75AE12EF02}"/>
          </ac:spMkLst>
        </pc:spChg>
        <pc:spChg chg="add del mod replST">
          <ac:chgData name="Wenwen Zhang" userId="9dd81366-5d6f-445a-b031-6ea562624431" providerId="ADAL" clId="{3909E7CC-5EA5-469C-9AFF-9A201E30CD9D}" dt="2022-12-06T09:06:44.338" v="36849"/>
          <ac:spMkLst>
            <pc:docMk/>
            <pc:sldMk cId="2564188142" sldId="2134804362"/>
            <ac:spMk id="307" creationId="{96DB64E7-7450-5BAA-7DCA-6F75AE12EF02}"/>
          </ac:spMkLst>
        </pc:spChg>
        <pc:spChg chg="add del mod replST">
          <ac:chgData name="Wenwen Zhang" userId="9dd81366-5d6f-445a-b031-6ea562624431" providerId="ADAL" clId="{3909E7CC-5EA5-469C-9AFF-9A201E30CD9D}" dt="2022-12-06T09:06:44.339" v="36850"/>
          <ac:spMkLst>
            <pc:docMk/>
            <pc:sldMk cId="2564188142" sldId="2134804362"/>
            <ac:spMk id="308" creationId="{96DB64E7-7450-5BAA-7DCA-6F75AE12EF02}"/>
          </ac:spMkLst>
        </pc:spChg>
        <pc:spChg chg="add del mod replST">
          <ac:chgData name="Wenwen Zhang" userId="9dd81366-5d6f-445a-b031-6ea562624431" providerId="ADAL" clId="{3909E7CC-5EA5-469C-9AFF-9A201E30CD9D}" dt="2022-12-06T09:06:44.340" v="36851"/>
          <ac:spMkLst>
            <pc:docMk/>
            <pc:sldMk cId="2564188142" sldId="2134804362"/>
            <ac:spMk id="309" creationId="{96DB64E7-7450-5BAA-7DCA-6F75AE12EF02}"/>
          </ac:spMkLst>
        </pc:spChg>
        <pc:spChg chg="add del mod replST">
          <ac:chgData name="Wenwen Zhang" userId="9dd81366-5d6f-445a-b031-6ea562624431" providerId="ADAL" clId="{3909E7CC-5EA5-469C-9AFF-9A201E30CD9D}" dt="2022-12-06T09:06:44.340" v="36852"/>
          <ac:spMkLst>
            <pc:docMk/>
            <pc:sldMk cId="2564188142" sldId="2134804362"/>
            <ac:spMk id="310" creationId="{96DB64E7-7450-5BAA-7DCA-6F75AE12EF02}"/>
          </ac:spMkLst>
        </pc:spChg>
        <pc:spChg chg="add del mod replST">
          <ac:chgData name="Wenwen Zhang" userId="9dd81366-5d6f-445a-b031-6ea562624431" providerId="ADAL" clId="{3909E7CC-5EA5-469C-9AFF-9A201E30CD9D}" dt="2022-12-06T09:06:44.341" v="36853"/>
          <ac:spMkLst>
            <pc:docMk/>
            <pc:sldMk cId="2564188142" sldId="2134804362"/>
            <ac:spMk id="311" creationId="{96DB64E7-7450-5BAA-7DCA-6F75AE12EF02}"/>
          </ac:spMkLst>
        </pc:spChg>
        <pc:spChg chg="add del mod replST">
          <ac:chgData name="Wenwen Zhang" userId="9dd81366-5d6f-445a-b031-6ea562624431" providerId="ADAL" clId="{3909E7CC-5EA5-469C-9AFF-9A201E30CD9D}" dt="2022-12-06T09:06:44.342" v="36854"/>
          <ac:spMkLst>
            <pc:docMk/>
            <pc:sldMk cId="2564188142" sldId="2134804362"/>
            <ac:spMk id="312" creationId="{96DB64E7-7450-5BAA-7DCA-6F75AE12EF02}"/>
          </ac:spMkLst>
        </pc:spChg>
        <pc:spChg chg="add del mod replST">
          <ac:chgData name="Wenwen Zhang" userId="9dd81366-5d6f-445a-b031-6ea562624431" providerId="ADAL" clId="{3909E7CC-5EA5-469C-9AFF-9A201E30CD9D}" dt="2022-12-06T09:06:44.343" v="36855"/>
          <ac:spMkLst>
            <pc:docMk/>
            <pc:sldMk cId="2564188142" sldId="2134804362"/>
            <ac:spMk id="313" creationId="{96DB64E7-7450-5BAA-7DCA-6F75AE12EF02}"/>
          </ac:spMkLst>
        </pc:spChg>
        <pc:spChg chg="add del mod replST">
          <ac:chgData name="Wenwen Zhang" userId="9dd81366-5d6f-445a-b031-6ea562624431" providerId="ADAL" clId="{3909E7CC-5EA5-469C-9AFF-9A201E30CD9D}" dt="2022-12-06T09:06:44.344" v="36856"/>
          <ac:spMkLst>
            <pc:docMk/>
            <pc:sldMk cId="2564188142" sldId="2134804362"/>
            <ac:spMk id="314" creationId="{96DB64E7-7450-5BAA-7DCA-6F75AE12EF02}"/>
          </ac:spMkLst>
        </pc:spChg>
        <pc:spChg chg="add del mod replST">
          <ac:chgData name="Wenwen Zhang" userId="9dd81366-5d6f-445a-b031-6ea562624431" providerId="ADAL" clId="{3909E7CC-5EA5-469C-9AFF-9A201E30CD9D}" dt="2022-12-06T09:06:44.345" v="36857"/>
          <ac:spMkLst>
            <pc:docMk/>
            <pc:sldMk cId="2564188142" sldId="2134804362"/>
            <ac:spMk id="315" creationId="{96DB64E7-7450-5BAA-7DCA-6F75AE12EF02}"/>
          </ac:spMkLst>
        </pc:spChg>
        <pc:spChg chg="add del mod replST">
          <ac:chgData name="Wenwen Zhang" userId="9dd81366-5d6f-445a-b031-6ea562624431" providerId="ADAL" clId="{3909E7CC-5EA5-469C-9AFF-9A201E30CD9D}" dt="2022-12-06T09:06:44.346" v="36858"/>
          <ac:spMkLst>
            <pc:docMk/>
            <pc:sldMk cId="2564188142" sldId="2134804362"/>
            <ac:spMk id="316" creationId="{96DB64E7-7450-5BAA-7DCA-6F75AE12EF02}"/>
          </ac:spMkLst>
        </pc:spChg>
        <pc:spChg chg="add del mod replST">
          <ac:chgData name="Wenwen Zhang" userId="9dd81366-5d6f-445a-b031-6ea562624431" providerId="ADAL" clId="{3909E7CC-5EA5-469C-9AFF-9A201E30CD9D}" dt="2022-12-06T09:06:44.347" v="36859"/>
          <ac:spMkLst>
            <pc:docMk/>
            <pc:sldMk cId="2564188142" sldId="2134804362"/>
            <ac:spMk id="317" creationId="{96DB64E7-7450-5BAA-7DCA-6F75AE12EF02}"/>
          </ac:spMkLst>
        </pc:spChg>
        <pc:spChg chg="add del mod replST">
          <ac:chgData name="Wenwen Zhang" userId="9dd81366-5d6f-445a-b031-6ea562624431" providerId="ADAL" clId="{3909E7CC-5EA5-469C-9AFF-9A201E30CD9D}" dt="2022-12-06T09:06:44.348" v="36860"/>
          <ac:spMkLst>
            <pc:docMk/>
            <pc:sldMk cId="2564188142" sldId="2134804362"/>
            <ac:spMk id="318" creationId="{96DB64E7-7450-5BAA-7DCA-6F75AE12EF02}"/>
          </ac:spMkLst>
        </pc:spChg>
        <pc:spChg chg="add del mod replST">
          <ac:chgData name="Wenwen Zhang" userId="9dd81366-5d6f-445a-b031-6ea562624431" providerId="ADAL" clId="{3909E7CC-5EA5-469C-9AFF-9A201E30CD9D}" dt="2022-12-06T09:06:44.348" v="36861"/>
          <ac:spMkLst>
            <pc:docMk/>
            <pc:sldMk cId="2564188142" sldId="2134804362"/>
            <ac:spMk id="319" creationId="{96DB64E7-7450-5BAA-7DCA-6F75AE12EF02}"/>
          </ac:spMkLst>
        </pc:spChg>
        <pc:spChg chg="add del mod replST">
          <ac:chgData name="Wenwen Zhang" userId="9dd81366-5d6f-445a-b031-6ea562624431" providerId="ADAL" clId="{3909E7CC-5EA5-469C-9AFF-9A201E30CD9D}" dt="2022-12-06T09:06:44.350" v="36862"/>
          <ac:spMkLst>
            <pc:docMk/>
            <pc:sldMk cId="2564188142" sldId="2134804362"/>
            <ac:spMk id="320" creationId="{96DB64E7-7450-5BAA-7DCA-6F75AE12EF02}"/>
          </ac:spMkLst>
        </pc:spChg>
        <pc:spChg chg="add del mod replST">
          <ac:chgData name="Wenwen Zhang" userId="9dd81366-5d6f-445a-b031-6ea562624431" providerId="ADAL" clId="{3909E7CC-5EA5-469C-9AFF-9A201E30CD9D}" dt="2022-12-06T09:06:44.351" v="36863"/>
          <ac:spMkLst>
            <pc:docMk/>
            <pc:sldMk cId="2564188142" sldId="2134804362"/>
            <ac:spMk id="321" creationId="{96DB64E7-7450-5BAA-7DCA-6F75AE12EF02}"/>
          </ac:spMkLst>
        </pc:spChg>
        <pc:spChg chg="add del mod replST">
          <ac:chgData name="Wenwen Zhang" userId="9dd81366-5d6f-445a-b031-6ea562624431" providerId="ADAL" clId="{3909E7CC-5EA5-469C-9AFF-9A201E30CD9D}" dt="2022-12-06T09:06:44.352" v="36864"/>
          <ac:spMkLst>
            <pc:docMk/>
            <pc:sldMk cId="2564188142" sldId="2134804362"/>
            <ac:spMk id="322" creationId="{96DB64E7-7450-5BAA-7DCA-6F75AE12EF02}"/>
          </ac:spMkLst>
        </pc:spChg>
        <pc:spChg chg="add del mod replST">
          <ac:chgData name="Wenwen Zhang" userId="9dd81366-5d6f-445a-b031-6ea562624431" providerId="ADAL" clId="{3909E7CC-5EA5-469C-9AFF-9A201E30CD9D}" dt="2022-12-06T09:06:44.352" v="36865"/>
          <ac:spMkLst>
            <pc:docMk/>
            <pc:sldMk cId="2564188142" sldId="2134804362"/>
            <ac:spMk id="323" creationId="{96DB64E7-7450-5BAA-7DCA-6F75AE12EF02}"/>
          </ac:spMkLst>
        </pc:spChg>
        <pc:spChg chg="add del mod replST">
          <ac:chgData name="Wenwen Zhang" userId="9dd81366-5d6f-445a-b031-6ea562624431" providerId="ADAL" clId="{3909E7CC-5EA5-469C-9AFF-9A201E30CD9D}" dt="2022-12-06T09:06:44.352" v="36866"/>
          <ac:spMkLst>
            <pc:docMk/>
            <pc:sldMk cId="2564188142" sldId="2134804362"/>
            <ac:spMk id="324" creationId="{96DB64E7-7450-5BAA-7DCA-6F75AE12EF02}"/>
          </ac:spMkLst>
        </pc:spChg>
        <pc:spChg chg="add del mod replST">
          <ac:chgData name="Wenwen Zhang" userId="9dd81366-5d6f-445a-b031-6ea562624431" providerId="ADAL" clId="{3909E7CC-5EA5-469C-9AFF-9A201E30CD9D}" dt="2022-12-06T09:06:44.352" v="36867"/>
          <ac:spMkLst>
            <pc:docMk/>
            <pc:sldMk cId="2564188142" sldId="2134804362"/>
            <ac:spMk id="325" creationId="{96DB64E7-7450-5BAA-7DCA-6F75AE12EF02}"/>
          </ac:spMkLst>
        </pc:spChg>
        <pc:spChg chg="add del mod replST">
          <ac:chgData name="Wenwen Zhang" userId="9dd81366-5d6f-445a-b031-6ea562624431" providerId="ADAL" clId="{3909E7CC-5EA5-469C-9AFF-9A201E30CD9D}" dt="2022-12-06T09:06:44.353" v="36868"/>
          <ac:spMkLst>
            <pc:docMk/>
            <pc:sldMk cId="2564188142" sldId="2134804362"/>
            <ac:spMk id="326" creationId="{96DB64E7-7450-5BAA-7DCA-6F75AE12EF02}"/>
          </ac:spMkLst>
        </pc:spChg>
        <pc:spChg chg="add del mod replST">
          <ac:chgData name="Wenwen Zhang" userId="9dd81366-5d6f-445a-b031-6ea562624431" providerId="ADAL" clId="{3909E7CC-5EA5-469C-9AFF-9A201E30CD9D}" dt="2022-12-06T09:06:44.353" v="36869"/>
          <ac:spMkLst>
            <pc:docMk/>
            <pc:sldMk cId="2564188142" sldId="2134804362"/>
            <ac:spMk id="327" creationId="{96DB64E7-7450-5BAA-7DCA-6F75AE12EF02}"/>
          </ac:spMkLst>
        </pc:spChg>
        <pc:spChg chg="add del mod replST">
          <ac:chgData name="Wenwen Zhang" userId="9dd81366-5d6f-445a-b031-6ea562624431" providerId="ADAL" clId="{3909E7CC-5EA5-469C-9AFF-9A201E30CD9D}" dt="2022-12-06T09:06:44.353" v="36870"/>
          <ac:spMkLst>
            <pc:docMk/>
            <pc:sldMk cId="2564188142" sldId="2134804362"/>
            <ac:spMk id="328" creationId="{96DB64E7-7450-5BAA-7DCA-6F75AE12EF02}"/>
          </ac:spMkLst>
        </pc:spChg>
        <pc:spChg chg="add del mod replST">
          <ac:chgData name="Wenwen Zhang" userId="9dd81366-5d6f-445a-b031-6ea562624431" providerId="ADAL" clId="{3909E7CC-5EA5-469C-9AFF-9A201E30CD9D}" dt="2022-12-06T09:06:44.353" v="36871"/>
          <ac:spMkLst>
            <pc:docMk/>
            <pc:sldMk cId="2564188142" sldId="2134804362"/>
            <ac:spMk id="329" creationId="{96DB64E7-7450-5BAA-7DCA-6F75AE12EF02}"/>
          </ac:spMkLst>
        </pc:spChg>
        <pc:spChg chg="add del mod replST">
          <ac:chgData name="Wenwen Zhang" userId="9dd81366-5d6f-445a-b031-6ea562624431" providerId="ADAL" clId="{3909E7CC-5EA5-469C-9AFF-9A201E30CD9D}" dt="2022-12-06T09:06:44.354" v="36872"/>
          <ac:spMkLst>
            <pc:docMk/>
            <pc:sldMk cId="2564188142" sldId="2134804362"/>
            <ac:spMk id="330" creationId="{96DB64E7-7450-5BAA-7DCA-6F75AE12EF02}"/>
          </ac:spMkLst>
        </pc:spChg>
        <pc:spChg chg="add del mod replST">
          <ac:chgData name="Wenwen Zhang" userId="9dd81366-5d6f-445a-b031-6ea562624431" providerId="ADAL" clId="{3909E7CC-5EA5-469C-9AFF-9A201E30CD9D}" dt="2022-12-06T09:06:44.354" v="36873"/>
          <ac:spMkLst>
            <pc:docMk/>
            <pc:sldMk cId="2564188142" sldId="2134804362"/>
            <ac:spMk id="331" creationId="{96DB64E7-7450-5BAA-7DCA-6F75AE12EF02}"/>
          </ac:spMkLst>
        </pc:spChg>
        <pc:spChg chg="add del mod replST">
          <ac:chgData name="Wenwen Zhang" userId="9dd81366-5d6f-445a-b031-6ea562624431" providerId="ADAL" clId="{3909E7CC-5EA5-469C-9AFF-9A201E30CD9D}" dt="2022-12-06T09:06:44.355" v="36874"/>
          <ac:spMkLst>
            <pc:docMk/>
            <pc:sldMk cId="2564188142" sldId="2134804362"/>
            <ac:spMk id="332" creationId="{96DB64E7-7450-5BAA-7DCA-6F75AE12EF02}"/>
          </ac:spMkLst>
        </pc:spChg>
        <pc:spChg chg="add del mod replST">
          <ac:chgData name="Wenwen Zhang" userId="9dd81366-5d6f-445a-b031-6ea562624431" providerId="ADAL" clId="{3909E7CC-5EA5-469C-9AFF-9A201E30CD9D}" dt="2022-12-06T09:06:44.356" v="36875"/>
          <ac:spMkLst>
            <pc:docMk/>
            <pc:sldMk cId="2564188142" sldId="2134804362"/>
            <ac:spMk id="333" creationId="{96DB64E7-7450-5BAA-7DCA-6F75AE12EF02}"/>
          </ac:spMkLst>
        </pc:spChg>
        <pc:spChg chg="add del mod replST">
          <ac:chgData name="Wenwen Zhang" userId="9dd81366-5d6f-445a-b031-6ea562624431" providerId="ADAL" clId="{3909E7CC-5EA5-469C-9AFF-9A201E30CD9D}" dt="2022-12-06T09:06:44.356" v="36876"/>
          <ac:spMkLst>
            <pc:docMk/>
            <pc:sldMk cId="2564188142" sldId="2134804362"/>
            <ac:spMk id="334" creationId="{96DB64E7-7450-5BAA-7DCA-6F75AE12EF02}"/>
          </ac:spMkLst>
        </pc:spChg>
        <pc:spChg chg="add del mod replST">
          <ac:chgData name="Wenwen Zhang" userId="9dd81366-5d6f-445a-b031-6ea562624431" providerId="ADAL" clId="{3909E7CC-5EA5-469C-9AFF-9A201E30CD9D}" dt="2022-12-06T09:06:44.357" v="36877"/>
          <ac:spMkLst>
            <pc:docMk/>
            <pc:sldMk cId="2564188142" sldId="2134804362"/>
            <ac:spMk id="335" creationId="{96DB64E7-7450-5BAA-7DCA-6F75AE12EF02}"/>
          </ac:spMkLst>
        </pc:spChg>
        <pc:spChg chg="add del mod replST">
          <ac:chgData name="Wenwen Zhang" userId="9dd81366-5d6f-445a-b031-6ea562624431" providerId="ADAL" clId="{3909E7CC-5EA5-469C-9AFF-9A201E30CD9D}" dt="2022-12-06T09:06:44.357" v="36878"/>
          <ac:spMkLst>
            <pc:docMk/>
            <pc:sldMk cId="2564188142" sldId="2134804362"/>
            <ac:spMk id="336" creationId="{96DB64E7-7450-5BAA-7DCA-6F75AE12EF02}"/>
          </ac:spMkLst>
        </pc:spChg>
        <pc:spChg chg="add del mod replST">
          <ac:chgData name="Wenwen Zhang" userId="9dd81366-5d6f-445a-b031-6ea562624431" providerId="ADAL" clId="{3909E7CC-5EA5-469C-9AFF-9A201E30CD9D}" dt="2022-12-06T09:06:44.358" v="36879"/>
          <ac:spMkLst>
            <pc:docMk/>
            <pc:sldMk cId="2564188142" sldId="2134804362"/>
            <ac:spMk id="337" creationId="{96DB64E7-7450-5BAA-7DCA-6F75AE12EF02}"/>
          </ac:spMkLst>
        </pc:spChg>
        <pc:spChg chg="add del mod replST">
          <ac:chgData name="Wenwen Zhang" userId="9dd81366-5d6f-445a-b031-6ea562624431" providerId="ADAL" clId="{3909E7CC-5EA5-469C-9AFF-9A201E30CD9D}" dt="2022-12-06T09:06:44.358" v="36880"/>
          <ac:spMkLst>
            <pc:docMk/>
            <pc:sldMk cId="2564188142" sldId="2134804362"/>
            <ac:spMk id="338" creationId="{96DB64E7-7450-5BAA-7DCA-6F75AE12EF02}"/>
          </ac:spMkLst>
        </pc:spChg>
        <pc:spChg chg="add del mod replST">
          <ac:chgData name="Wenwen Zhang" userId="9dd81366-5d6f-445a-b031-6ea562624431" providerId="ADAL" clId="{3909E7CC-5EA5-469C-9AFF-9A201E30CD9D}" dt="2022-12-06T09:06:44.359" v="36881"/>
          <ac:spMkLst>
            <pc:docMk/>
            <pc:sldMk cId="2564188142" sldId="2134804362"/>
            <ac:spMk id="339" creationId="{96DB64E7-7450-5BAA-7DCA-6F75AE12EF02}"/>
          </ac:spMkLst>
        </pc:spChg>
        <pc:spChg chg="add del mod replST">
          <ac:chgData name="Wenwen Zhang" userId="9dd81366-5d6f-445a-b031-6ea562624431" providerId="ADAL" clId="{3909E7CC-5EA5-469C-9AFF-9A201E30CD9D}" dt="2022-12-06T09:06:44.359" v="36882"/>
          <ac:spMkLst>
            <pc:docMk/>
            <pc:sldMk cId="2564188142" sldId="2134804362"/>
            <ac:spMk id="340" creationId="{96DB64E7-7450-5BAA-7DCA-6F75AE12EF02}"/>
          </ac:spMkLst>
        </pc:spChg>
        <pc:spChg chg="add del mod replST">
          <ac:chgData name="Wenwen Zhang" userId="9dd81366-5d6f-445a-b031-6ea562624431" providerId="ADAL" clId="{3909E7CC-5EA5-469C-9AFF-9A201E30CD9D}" dt="2022-12-06T09:06:44.359" v="36883"/>
          <ac:spMkLst>
            <pc:docMk/>
            <pc:sldMk cId="2564188142" sldId="2134804362"/>
            <ac:spMk id="341" creationId="{96DB64E7-7450-5BAA-7DCA-6F75AE12EF02}"/>
          </ac:spMkLst>
        </pc:spChg>
        <pc:spChg chg="add del mod replST">
          <ac:chgData name="Wenwen Zhang" userId="9dd81366-5d6f-445a-b031-6ea562624431" providerId="ADAL" clId="{3909E7CC-5EA5-469C-9AFF-9A201E30CD9D}" dt="2022-12-06T09:06:44.360" v="36884"/>
          <ac:spMkLst>
            <pc:docMk/>
            <pc:sldMk cId="2564188142" sldId="2134804362"/>
            <ac:spMk id="342" creationId="{96DB64E7-7450-5BAA-7DCA-6F75AE12EF02}"/>
          </ac:spMkLst>
        </pc:spChg>
        <pc:spChg chg="add del mod replST">
          <ac:chgData name="Wenwen Zhang" userId="9dd81366-5d6f-445a-b031-6ea562624431" providerId="ADAL" clId="{3909E7CC-5EA5-469C-9AFF-9A201E30CD9D}" dt="2022-12-06T09:06:44.360" v="36885"/>
          <ac:spMkLst>
            <pc:docMk/>
            <pc:sldMk cId="2564188142" sldId="2134804362"/>
            <ac:spMk id="343" creationId="{96DB64E7-7450-5BAA-7DCA-6F75AE12EF02}"/>
          </ac:spMkLst>
        </pc:spChg>
        <pc:spChg chg="add del mod replST">
          <ac:chgData name="Wenwen Zhang" userId="9dd81366-5d6f-445a-b031-6ea562624431" providerId="ADAL" clId="{3909E7CC-5EA5-469C-9AFF-9A201E30CD9D}" dt="2022-12-06T09:06:44.361" v="36886"/>
          <ac:spMkLst>
            <pc:docMk/>
            <pc:sldMk cId="2564188142" sldId="2134804362"/>
            <ac:spMk id="344" creationId="{96DB64E7-7450-5BAA-7DCA-6F75AE12EF02}"/>
          </ac:spMkLst>
        </pc:spChg>
        <pc:spChg chg="add del mod replST">
          <ac:chgData name="Wenwen Zhang" userId="9dd81366-5d6f-445a-b031-6ea562624431" providerId="ADAL" clId="{3909E7CC-5EA5-469C-9AFF-9A201E30CD9D}" dt="2022-12-06T09:06:44.361" v="36887"/>
          <ac:spMkLst>
            <pc:docMk/>
            <pc:sldMk cId="2564188142" sldId="2134804362"/>
            <ac:spMk id="345" creationId="{96DB64E7-7450-5BAA-7DCA-6F75AE12EF02}"/>
          </ac:spMkLst>
        </pc:spChg>
        <pc:spChg chg="add del mod replST">
          <ac:chgData name="Wenwen Zhang" userId="9dd81366-5d6f-445a-b031-6ea562624431" providerId="ADAL" clId="{3909E7CC-5EA5-469C-9AFF-9A201E30CD9D}" dt="2022-12-06T09:06:44.362" v="36888"/>
          <ac:spMkLst>
            <pc:docMk/>
            <pc:sldMk cId="2564188142" sldId="2134804362"/>
            <ac:spMk id="346" creationId="{96DB64E7-7450-5BAA-7DCA-6F75AE12EF02}"/>
          </ac:spMkLst>
        </pc:spChg>
        <pc:spChg chg="add del mod replST">
          <ac:chgData name="Wenwen Zhang" userId="9dd81366-5d6f-445a-b031-6ea562624431" providerId="ADAL" clId="{3909E7CC-5EA5-469C-9AFF-9A201E30CD9D}" dt="2022-12-06T09:06:44.363" v="36889"/>
          <ac:spMkLst>
            <pc:docMk/>
            <pc:sldMk cId="2564188142" sldId="2134804362"/>
            <ac:spMk id="347" creationId="{96DB64E7-7450-5BAA-7DCA-6F75AE12EF02}"/>
          </ac:spMkLst>
        </pc:spChg>
        <pc:spChg chg="add del mod replST">
          <ac:chgData name="Wenwen Zhang" userId="9dd81366-5d6f-445a-b031-6ea562624431" providerId="ADAL" clId="{3909E7CC-5EA5-469C-9AFF-9A201E30CD9D}" dt="2022-12-06T09:06:44.364" v="36890"/>
          <ac:spMkLst>
            <pc:docMk/>
            <pc:sldMk cId="2564188142" sldId="2134804362"/>
            <ac:spMk id="348" creationId="{96DB64E7-7450-5BAA-7DCA-6F75AE12EF02}"/>
          </ac:spMkLst>
        </pc:spChg>
        <pc:spChg chg="add del mod replST">
          <ac:chgData name="Wenwen Zhang" userId="9dd81366-5d6f-445a-b031-6ea562624431" providerId="ADAL" clId="{3909E7CC-5EA5-469C-9AFF-9A201E30CD9D}" dt="2022-12-06T09:06:44.364" v="36891"/>
          <ac:spMkLst>
            <pc:docMk/>
            <pc:sldMk cId="2564188142" sldId="2134804362"/>
            <ac:spMk id="349" creationId="{96DB64E7-7450-5BAA-7DCA-6F75AE12EF02}"/>
          </ac:spMkLst>
        </pc:spChg>
        <pc:spChg chg="add del mod replST">
          <ac:chgData name="Wenwen Zhang" userId="9dd81366-5d6f-445a-b031-6ea562624431" providerId="ADAL" clId="{3909E7CC-5EA5-469C-9AFF-9A201E30CD9D}" dt="2022-12-06T09:06:44.365" v="36892"/>
          <ac:spMkLst>
            <pc:docMk/>
            <pc:sldMk cId="2564188142" sldId="2134804362"/>
            <ac:spMk id="350" creationId="{96DB64E7-7450-5BAA-7DCA-6F75AE12EF02}"/>
          </ac:spMkLst>
        </pc:spChg>
        <pc:spChg chg="add del mod replST">
          <ac:chgData name="Wenwen Zhang" userId="9dd81366-5d6f-445a-b031-6ea562624431" providerId="ADAL" clId="{3909E7CC-5EA5-469C-9AFF-9A201E30CD9D}" dt="2022-12-06T09:06:44.366" v="36893"/>
          <ac:spMkLst>
            <pc:docMk/>
            <pc:sldMk cId="2564188142" sldId="2134804362"/>
            <ac:spMk id="351" creationId="{96DB64E7-7450-5BAA-7DCA-6F75AE12EF02}"/>
          </ac:spMkLst>
        </pc:spChg>
        <pc:spChg chg="add del mod replST">
          <ac:chgData name="Wenwen Zhang" userId="9dd81366-5d6f-445a-b031-6ea562624431" providerId="ADAL" clId="{3909E7CC-5EA5-469C-9AFF-9A201E30CD9D}" dt="2022-12-06T09:06:44.367" v="36894"/>
          <ac:spMkLst>
            <pc:docMk/>
            <pc:sldMk cId="2564188142" sldId="2134804362"/>
            <ac:spMk id="352" creationId="{96DB64E7-7450-5BAA-7DCA-6F75AE12EF02}"/>
          </ac:spMkLst>
        </pc:spChg>
        <pc:spChg chg="add del mod replST">
          <ac:chgData name="Wenwen Zhang" userId="9dd81366-5d6f-445a-b031-6ea562624431" providerId="ADAL" clId="{3909E7CC-5EA5-469C-9AFF-9A201E30CD9D}" dt="2022-12-06T09:06:44.368" v="36895"/>
          <ac:spMkLst>
            <pc:docMk/>
            <pc:sldMk cId="2564188142" sldId="2134804362"/>
            <ac:spMk id="353" creationId="{96DB64E7-7450-5BAA-7DCA-6F75AE12EF02}"/>
          </ac:spMkLst>
        </pc:spChg>
        <pc:spChg chg="add del mod replST">
          <ac:chgData name="Wenwen Zhang" userId="9dd81366-5d6f-445a-b031-6ea562624431" providerId="ADAL" clId="{3909E7CC-5EA5-469C-9AFF-9A201E30CD9D}" dt="2022-12-06T09:06:44.369" v="36896"/>
          <ac:spMkLst>
            <pc:docMk/>
            <pc:sldMk cId="2564188142" sldId="2134804362"/>
            <ac:spMk id="354" creationId="{96DB64E7-7450-5BAA-7DCA-6F75AE12EF02}"/>
          </ac:spMkLst>
        </pc:spChg>
        <pc:spChg chg="add del mod replST">
          <ac:chgData name="Wenwen Zhang" userId="9dd81366-5d6f-445a-b031-6ea562624431" providerId="ADAL" clId="{3909E7CC-5EA5-469C-9AFF-9A201E30CD9D}" dt="2022-12-06T09:06:44.370" v="36897"/>
          <ac:spMkLst>
            <pc:docMk/>
            <pc:sldMk cId="2564188142" sldId="2134804362"/>
            <ac:spMk id="355" creationId="{96DB64E7-7450-5BAA-7DCA-6F75AE12EF02}"/>
          </ac:spMkLst>
        </pc:spChg>
        <pc:spChg chg="add del mod replST">
          <ac:chgData name="Wenwen Zhang" userId="9dd81366-5d6f-445a-b031-6ea562624431" providerId="ADAL" clId="{3909E7CC-5EA5-469C-9AFF-9A201E30CD9D}" dt="2022-12-06T09:06:44.370" v="36898"/>
          <ac:spMkLst>
            <pc:docMk/>
            <pc:sldMk cId="2564188142" sldId="2134804362"/>
            <ac:spMk id="356" creationId="{96DB64E7-7450-5BAA-7DCA-6F75AE12EF02}"/>
          </ac:spMkLst>
        </pc:spChg>
        <pc:spChg chg="add del mod replST">
          <ac:chgData name="Wenwen Zhang" userId="9dd81366-5d6f-445a-b031-6ea562624431" providerId="ADAL" clId="{3909E7CC-5EA5-469C-9AFF-9A201E30CD9D}" dt="2022-12-06T09:06:44.371" v="36899"/>
          <ac:spMkLst>
            <pc:docMk/>
            <pc:sldMk cId="2564188142" sldId="2134804362"/>
            <ac:spMk id="357" creationId="{96DB64E7-7450-5BAA-7DCA-6F75AE12EF02}"/>
          </ac:spMkLst>
        </pc:spChg>
        <pc:spChg chg="add del mod replST">
          <ac:chgData name="Wenwen Zhang" userId="9dd81366-5d6f-445a-b031-6ea562624431" providerId="ADAL" clId="{3909E7CC-5EA5-469C-9AFF-9A201E30CD9D}" dt="2022-12-06T09:06:44.372" v="36900"/>
          <ac:spMkLst>
            <pc:docMk/>
            <pc:sldMk cId="2564188142" sldId="2134804362"/>
            <ac:spMk id="358" creationId="{96DB64E7-7450-5BAA-7DCA-6F75AE12EF02}"/>
          </ac:spMkLst>
        </pc:spChg>
        <pc:spChg chg="add del mod replST">
          <ac:chgData name="Wenwen Zhang" userId="9dd81366-5d6f-445a-b031-6ea562624431" providerId="ADAL" clId="{3909E7CC-5EA5-469C-9AFF-9A201E30CD9D}" dt="2022-12-06T09:06:44.372" v="36901"/>
          <ac:spMkLst>
            <pc:docMk/>
            <pc:sldMk cId="2564188142" sldId="2134804362"/>
            <ac:spMk id="359" creationId="{96DB64E7-7450-5BAA-7DCA-6F75AE12EF02}"/>
          </ac:spMkLst>
        </pc:spChg>
        <pc:spChg chg="add del mod replST">
          <ac:chgData name="Wenwen Zhang" userId="9dd81366-5d6f-445a-b031-6ea562624431" providerId="ADAL" clId="{3909E7CC-5EA5-469C-9AFF-9A201E30CD9D}" dt="2022-12-06T09:06:44.372" v="36902"/>
          <ac:spMkLst>
            <pc:docMk/>
            <pc:sldMk cId="2564188142" sldId="2134804362"/>
            <ac:spMk id="360" creationId="{96DB64E7-7450-5BAA-7DCA-6F75AE12EF02}"/>
          </ac:spMkLst>
        </pc:spChg>
        <pc:spChg chg="add del mod replST">
          <ac:chgData name="Wenwen Zhang" userId="9dd81366-5d6f-445a-b031-6ea562624431" providerId="ADAL" clId="{3909E7CC-5EA5-469C-9AFF-9A201E30CD9D}" dt="2022-12-06T09:06:44.372" v="36903"/>
          <ac:spMkLst>
            <pc:docMk/>
            <pc:sldMk cId="2564188142" sldId="2134804362"/>
            <ac:spMk id="361" creationId="{96DB64E7-7450-5BAA-7DCA-6F75AE12EF02}"/>
          </ac:spMkLst>
        </pc:spChg>
        <pc:spChg chg="add del mod replST">
          <ac:chgData name="Wenwen Zhang" userId="9dd81366-5d6f-445a-b031-6ea562624431" providerId="ADAL" clId="{3909E7CC-5EA5-469C-9AFF-9A201E30CD9D}" dt="2022-12-06T09:06:44.373" v="36904"/>
          <ac:spMkLst>
            <pc:docMk/>
            <pc:sldMk cId="2564188142" sldId="2134804362"/>
            <ac:spMk id="362" creationId="{96DB64E7-7450-5BAA-7DCA-6F75AE12EF02}"/>
          </ac:spMkLst>
        </pc:spChg>
        <pc:spChg chg="add del mod replST">
          <ac:chgData name="Wenwen Zhang" userId="9dd81366-5d6f-445a-b031-6ea562624431" providerId="ADAL" clId="{3909E7CC-5EA5-469C-9AFF-9A201E30CD9D}" dt="2022-12-06T09:06:44.373" v="36905"/>
          <ac:spMkLst>
            <pc:docMk/>
            <pc:sldMk cId="2564188142" sldId="2134804362"/>
            <ac:spMk id="363" creationId="{96DB64E7-7450-5BAA-7DCA-6F75AE12EF02}"/>
          </ac:spMkLst>
        </pc:spChg>
        <pc:spChg chg="add del mod replST">
          <ac:chgData name="Wenwen Zhang" userId="9dd81366-5d6f-445a-b031-6ea562624431" providerId="ADAL" clId="{3909E7CC-5EA5-469C-9AFF-9A201E30CD9D}" dt="2022-12-06T09:06:44.373" v="36906"/>
          <ac:spMkLst>
            <pc:docMk/>
            <pc:sldMk cId="2564188142" sldId="2134804362"/>
            <ac:spMk id="364" creationId="{96DB64E7-7450-5BAA-7DCA-6F75AE12EF02}"/>
          </ac:spMkLst>
        </pc:spChg>
        <pc:spChg chg="add del mod replST">
          <ac:chgData name="Wenwen Zhang" userId="9dd81366-5d6f-445a-b031-6ea562624431" providerId="ADAL" clId="{3909E7CC-5EA5-469C-9AFF-9A201E30CD9D}" dt="2022-12-06T09:06:44.373" v="36907"/>
          <ac:spMkLst>
            <pc:docMk/>
            <pc:sldMk cId="2564188142" sldId="2134804362"/>
            <ac:spMk id="365" creationId="{96DB64E7-7450-5BAA-7DCA-6F75AE12EF02}"/>
          </ac:spMkLst>
        </pc:spChg>
        <pc:spChg chg="add del mod replST">
          <ac:chgData name="Wenwen Zhang" userId="9dd81366-5d6f-445a-b031-6ea562624431" providerId="ADAL" clId="{3909E7CC-5EA5-469C-9AFF-9A201E30CD9D}" dt="2022-12-06T09:06:44.374" v="36908"/>
          <ac:spMkLst>
            <pc:docMk/>
            <pc:sldMk cId="2564188142" sldId="2134804362"/>
            <ac:spMk id="366" creationId="{96DB64E7-7450-5BAA-7DCA-6F75AE12EF02}"/>
          </ac:spMkLst>
        </pc:spChg>
        <pc:spChg chg="add del mod replST">
          <ac:chgData name="Wenwen Zhang" userId="9dd81366-5d6f-445a-b031-6ea562624431" providerId="ADAL" clId="{3909E7CC-5EA5-469C-9AFF-9A201E30CD9D}" dt="2022-12-06T09:06:44.374" v="36909"/>
          <ac:spMkLst>
            <pc:docMk/>
            <pc:sldMk cId="2564188142" sldId="2134804362"/>
            <ac:spMk id="367" creationId="{96DB64E7-7450-5BAA-7DCA-6F75AE12EF02}"/>
          </ac:spMkLst>
        </pc:spChg>
        <pc:spChg chg="add del mod replST">
          <ac:chgData name="Wenwen Zhang" userId="9dd81366-5d6f-445a-b031-6ea562624431" providerId="ADAL" clId="{3909E7CC-5EA5-469C-9AFF-9A201E30CD9D}" dt="2022-12-06T09:06:44.374" v="36910"/>
          <ac:spMkLst>
            <pc:docMk/>
            <pc:sldMk cId="2564188142" sldId="2134804362"/>
            <ac:spMk id="368" creationId="{96DB64E7-7450-5BAA-7DCA-6F75AE12EF02}"/>
          </ac:spMkLst>
        </pc:spChg>
        <pc:spChg chg="add del mod replST">
          <ac:chgData name="Wenwen Zhang" userId="9dd81366-5d6f-445a-b031-6ea562624431" providerId="ADAL" clId="{3909E7CC-5EA5-469C-9AFF-9A201E30CD9D}" dt="2022-12-06T09:06:44.374" v="36911"/>
          <ac:spMkLst>
            <pc:docMk/>
            <pc:sldMk cId="2564188142" sldId="2134804362"/>
            <ac:spMk id="369" creationId="{96DB64E7-7450-5BAA-7DCA-6F75AE12EF02}"/>
          </ac:spMkLst>
        </pc:spChg>
        <pc:spChg chg="add del mod replST">
          <ac:chgData name="Wenwen Zhang" userId="9dd81366-5d6f-445a-b031-6ea562624431" providerId="ADAL" clId="{3909E7CC-5EA5-469C-9AFF-9A201E30CD9D}" dt="2022-12-06T09:06:44.375" v="36912"/>
          <ac:spMkLst>
            <pc:docMk/>
            <pc:sldMk cId="2564188142" sldId="2134804362"/>
            <ac:spMk id="370" creationId="{96DB64E7-7450-5BAA-7DCA-6F75AE12EF02}"/>
          </ac:spMkLst>
        </pc:spChg>
        <pc:spChg chg="add del mod replST">
          <ac:chgData name="Wenwen Zhang" userId="9dd81366-5d6f-445a-b031-6ea562624431" providerId="ADAL" clId="{3909E7CC-5EA5-469C-9AFF-9A201E30CD9D}" dt="2022-12-06T09:06:44.375" v="36913"/>
          <ac:spMkLst>
            <pc:docMk/>
            <pc:sldMk cId="2564188142" sldId="2134804362"/>
            <ac:spMk id="371" creationId="{96DB64E7-7450-5BAA-7DCA-6F75AE12EF02}"/>
          </ac:spMkLst>
        </pc:spChg>
        <pc:spChg chg="add del mod replST">
          <ac:chgData name="Wenwen Zhang" userId="9dd81366-5d6f-445a-b031-6ea562624431" providerId="ADAL" clId="{3909E7CC-5EA5-469C-9AFF-9A201E30CD9D}" dt="2022-12-06T09:06:44.375" v="36914"/>
          <ac:spMkLst>
            <pc:docMk/>
            <pc:sldMk cId="2564188142" sldId="2134804362"/>
            <ac:spMk id="372" creationId="{96DB64E7-7450-5BAA-7DCA-6F75AE12EF02}"/>
          </ac:spMkLst>
        </pc:spChg>
        <pc:spChg chg="add del mod replST">
          <ac:chgData name="Wenwen Zhang" userId="9dd81366-5d6f-445a-b031-6ea562624431" providerId="ADAL" clId="{3909E7CC-5EA5-469C-9AFF-9A201E30CD9D}" dt="2022-12-06T09:06:44.375" v="36915"/>
          <ac:spMkLst>
            <pc:docMk/>
            <pc:sldMk cId="2564188142" sldId="2134804362"/>
            <ac:spMk id="373" creationId="{96DB64E7-7450-5BAA-7DCA-6F75AE12EF02}"/>
          </ac:spMkLst>
        </pc:spChg>
        <pc:spChg chg="add del mod replST">
          <ac:chgData name="Wenwen Zhang" userId="9dd81366-5d6f-445a-b031-6ea562624431" providerId="ADAL" clId="{3909E7CC-5EA5-469C-9AFF-9A201E30CD9D}" dt="2022-12-06T09:06:44.376" v="36916"/>
          <ac:spMkLst>
            <pc:docMk/>
            <pc:sldMk cId="2564188142" sldId="2134804362"/>
            <ac:spMk id="374" creationId="{96DB64E7-7450-5BAA-7DCA-6F75AE12EF02}"/>
          </ac:spMkLst>
        </pc:spChg>
        <pc:spChg chg="add del mod replST">
          <ac:chgData name="Wenwen Zhang" userId="9dd81366-5d6f-445a-b031-6ea562624431" providerId="ADAL" clId="{3909E7CC-5EA5-469C-9AFF-9A201E30CD9D}" dt="2022-12-06T09:06:44.376" v="36917"/>
          <ac:spMkLst>
            <pc:docMk/>
            <pc:sldMk cId="2564188142" sldId="2134804362"/>
            <ac:spMk id="375" creationId="{96DB64E7-7450-5BAA-7DCA-6F75AE12EF02}"/>
          </ac:spMkLst>
        </pc:spChg>
        <pc:spChg chg="add del mod replST">
          <ac:chgData name="Wenwen Zhang" userId="9dd81366-5d6f-445a-b031-6ea562624431" providerId="ADAL" clId="{3909E7CC-5EA5-469C-9AFF-9A201E30CD9D}" dt="2022-12-06T09:06:44.376" v="36918"/>
          <ac:spMkLst>
            <pc:docMk/>
            <pc:sldMk cId="2564188142" sldId="2134804362"/>
            <ac:spMk id="376" creationId="{96DB64E7-7450-5BAA-7DCA-6F75AE12EF02}"/>
          </ac:spMkLst>
        </pc:spChg>
        <pc:spChg chg="add del mod replST">
          <ac:chgData name="Wenwen Zhang" userId="9dd81366-5d6f-445a-b031-6ea562624431" providerId="ADAL" clId="{3909E7CC-5EA5-469C-9AFF-9A201E30CD9D}" dt="2022-12-06T09:06:44.376" v="36919"/>
          <ac:spMkLst>
            <pc:docMk/>
            <pc:sldMk cId="2564188142" sldId="2134804362"/>
            <ac:spMk id="377" creationId="{96DB64E7-7450-5BAA-7DCA-6F75AE12EF02}"/>
          </ac:spMkLst>
        </pc:spChg>
        <pc:spChg chg="add del mod replST">
          <ac:chgData name="Wenwen Zhang" userId="9dd81366-5d6f-445a-b031-6ea562624431" providerId="ADAL" clId="{3909E7CC-5EA5-469C-9AFF-9A201E30CD9D}" dt="2022-12-06T09:06:44.377" v="36920"/>
          <ac:spMkLst>
            <pc:docMk/>
            <pc:sldMk cId="2564188142" sldId="2134804362"/>
            <ac:spMk id="378" creationId="{96DB64E7-7450-5BAA-7DCA-6F75AE12EF02}"/>
          </ac:spMkLst>
        </pc:spChg>
        <pc:spChg chg="add del mod modVis">
          <ac:chgData name="Wenwen Zhang" userId="9dd81366-5d6f-445a-b031-6ea562624431" providerId="ADAL" clId="{3909E7CC-5EA5-469C-9AFF-9A201E30CD9D}" dt="2022-12-06T09:06:44.574" v="37089"/>
          <ac:spMkLst>
            <pc:docMk/>
            <pc:sldMk cId="2564188142" sldId="2134804362"/>
            <ac:spMk id="380" creationId="{2B5ED503-3C6E-73DB-895D-045677F8FF03}"/>
          </ac:spMkLst>
        </pc:spChg>
        <pc:spChg chg="add del mod replST">
          <ac:chgData name="Wenwen Zhang" userId="9dd81366-5d6f-445a-b031-6ea562624431" providerId="ADAL" clId="{3909E7CC-5EA5-469C-9AFF-9A201E30CD9D}" dt="2022-12-06T09:10:10.750" v="38264"/>
          <ac:spMkLst>
            <pc:docMk/>
            <pc:sldMk cId="2564188142" sldId="2134804362"/>
            <ac:spMk id="381" creationId="{96DB64E7-7450-5BAA-7DCA-6F75AE12EF02}"/>
          </ac:spMkLst>
        </pc:spChg>
        <pc:spChg chg="add del mod replST">
          <ac:chgData name="Wenwen Zhang" userId="9dd81366-5d6f-445a-b031-6ea562624431" providerId="ADAL" clId="{3909E7CC-5EA5-469C-9AFF-9A201E30CD9D}" dt="2022-12-06T09:10:10.748" v="38261"/>
          <ac:spMkLst>
            <pc:docMk/>
            <pc:sldMk cId="2564188142" sldId="2134804362"/>
            <ac:spMk id="382" creationId="{96DB64E7-7450-5BAA-7DCA-6F75AE12EF02}"/>
          </ac:spMkLst>
        </pc:spChg>
        <pc:spChg chg="add del mod replST">
          <ac:chgData name="Wenwen Zhang" userId="9dd81366-5d6f-445a-b031-6ea562624431" providerId="ADAL" clId="{3909E7CC-5EA5-469C-9AFF-9A201E30CD9D}" dt="2022-12-06T09:10:10.746" v="38258"/>
          <ac:spMkLst>
            <pc:docMk/>
            <pc:sldMk cId="2564188142" sldId="2134804362"/>
            <ac:spMk id="383" creationId="{96DB64E7-7450-5BAA-7DCA-6F75AE12EF02}"/>
          </ac:spMkLst>
        </pc:spChg>
        <pc:spChg chg="add del mod replST">
          <ac:chgData name="Wenwen Zhang" userId="9dd81366-5d6f-445a-b031-6ea562624431" providerId="ADAL" clId="{3909E7CC-5EA5-469C-9AFF-9A201E30CD9D}" dt="2022-12-06T09:10:10.744" v="38255"/>
          <ac:spMkLst>
            <pc:docMk/>
            <pc:sldMk cId="2564188142" sldId="2134804362"/>
            <ac:spMk id="384" creationId="{96DB64E7-7450-5BAA-7DCA-6F75AE12EF02}"/>
          </ac:spMkLst>
        </pc:spChg>
        <pc:spChg chg="add mod replST">
          <ac:chgData name="Wenwen Zhang" userId="9dd81366-5d6f-445a-b031-6ea562624431" providerId="ADAL" clId="{3909E7CC-5EA5-469C-9AFF-9A201E30CD9D}" dt="2022-12-06T09:16:20.541" v="43185"/>
          <ac:spMkLst>
            <pc:docMk/>
            <pc:sldMk cId="2564188142" sldId="2134804362"/>
            <ac:spMk id="385" creationId="{96DB64E7-7450-5BAA-7DCA-6F75AE12EF02}"/>
          </ac:spMkLst>
        </pc:spChg>
        <pc:spChg chg="add del mod replST">
          <ac:chgData name="Wenwen Zhang" userId="9dd81366-5d6f-445a-b031-6ea562624431" providerId="ADAL" clId="{3909E7CC-5EA5-469C-9AFF-9A201E30CD9D}" dt="2022-12-06T09:10:10.742" v="38252"/>
          <ac:spMkLst>
            <pc:docMk/>
            <pc:sldMk cId="2564188142" sldId="2134804362"/>
            <ac:spMk id="386" creationId="{96DB64E7-7450-5BAA-7DCA-6F75AE12EF02}"/>
          </ac:spMkLst>
        </pc:spChg>
        <pc:spChg chg="add mod replST">
          <ac:chgData name="Wenwen Zhang" userId="9dd81366-5d6f-445a-b031-6ea562624431" providerId="ADAL" clId="{3909E7CC-5EA5-469C-9AFF-9A201E30CD9D}" dt="2022-12-06T09:16:20.542" v="43190"/>
          <ac:spMkLst>
            <pc:docMk/>
            <pc:sldMk cId="2564188142" sldId="2134804362"/>
            <ac:spMk id="387" creationId="{96DB64E7-7450-5BAA-7DCA-6F75AE12EF02}"/>
          </ac:spMkLst>
        </pc:spChg>
        <pc:spChg chg="add del mod replST">
          <ac:chgData name="Wenwen Zhang" userId="9dd81366-5d6f-445a-b031-6ea562624431" providerId="ADAL" clId="{3909E7CC-5EA5-469C-9AFF-9A201E30CD9D}" dt="2022-12-06T09:10:10.740" v="38249"/>
          <ac:spMkLst>
            <pc:docMk/>
            <pc:sldMk cId="2564188142" sldId="2134804362"/>
            <ac:spMk id="388" creationId="{96DB64E7-7450-5BAA-7DCA-6F75AE12EF02}"/>
          </ac:spMkLst>
        </pc:spChg>
        <pc:spChg chg="add mod replST">
          <ac:chgData name="Wenwen Zhang" userId="9dd81366-5d6f-445a-b031-6ea562624431" providerId="ADAL" clId="{3909E7CC-5EA5-469C-9AFF-9A201E30CD9D}" dt="2022-12-06T09:16:20.539" v="43177"/>
          <ac:spMkLst>
            <pc:docMk/>
            <pc:sldMk cId="2564188142" sldId="2134804362"/>
            <ac:spMk id="389" creationId="{96DB64E7-7450-5BAA-7DCA-6F75AE12EF02}"/>
          </ac:spMkLst>
        </pc:spChg>
        <pc:spChg chg="add del mod replST">
          <ac:chgData name="Wenwen Zhang" userId="9dd81366-5d6f-445a-b031-6ea562624431" providerId="ADAL" clId="{3909E7CC-5EA5-469C-9AFF-9A201E30CD9D}" dt="2022-12-06T09:10:10.738" v="38246"/>
          <ac:spMkLst>
            <pc:docMk/>
            <pc:sldMk cId="2564188142" sldId="2134804362"/>
            <ac:spMk id="390" creationId="{96DB64E7-7450-5BAA-7DCA-6F75AE12EF02}"/>
          </ac:spMkLst>
        </pc:spChg>
        <pc:spChg chg="add mod replST">
          <ac:chgData name="Wenwen Zhang" userId="9dd81366-5d6f-445a-b031-6ea562624431" providerId="ADAL" clId="{3909E7CC-5EA5-469C-9AFF-9A201E30CD9D}" dt="2022-12-06T09:16:20.542" v="43191"/>
          <ac:spMkLst>
            <pc:docMk/>
            <pc:sldMk cId="2564188142" sldId="2134804362"/>
            <ac:spMk id="391" creationId="{96DB64E7-7450-5BAA-7DCA-6F75AE12EF02}"/>
          </ac:spMkLst>
        </pc:spChg>
        <pc:spChg chg="add del mod replST">
          <ac:chgData name="Wenwen Zhang" userId="9dd81366-5d6f-445a-b031-6ea562624431" providerId="ADAL" clId="{3909E7CC-5EA5-469C-9AFF-9A201E30CD9D}" dt="2022-12-06T09:10:10.736" v="38243"/>
          <ac:spMkLst>
            <pc:docMk/>
            <pc:sldMk cId="2564188142" sldId="2134804362"/>
            <ac:spMk id="392" creationId="{96DB64E7-7450-5BAA-7DCA-6F75AE12EF02}"/>
          </ac:spMkLst>
        </pc:spChg>
        <pc:spChg chg="add mod replST">
          <ac:chgData name="Wenwen Zhang" userId="9dd81366-5d6f-445a-b031-6ea562624431" providerId="ADAL" clId="{3909E7CC-5EA5-469C-9AFF-9A201E30CD9D}" dt="2022-12-06T09:16:20.541" v="43187"/>
          <ac:spMkLst>
            <pc:docMk/>
            <pc:sldMk cId="2564188142" sldId="2134804362"/>
            <ac:spMk id="393" creationId="{96DB64E7-7450-5BAA-7DCA-6F75AE12EF02}"/>
          </ac:spMkLst>
        </pc:spChg>
        <pc:spChg chg="add del mod replST">
          <ac:chgData name="Wenwen Zhang" userId="9dd81366-5d6f-445a-b031-6ea562624431" providerId="ADAL" clId="{3909E7CC-5EA5-469C-9AFF-9A201E30CD9D}" dt="2022-12-06T09:10:10.734" v="38240"/>
          <ac:spMkLst>
            <pc:docMk/>
            <pc:sldMk cId="2564188142" sldId="2134804362"/>
            <ac:spMk id="394" creationId="{96DB64E7-7450-5BAA-7DCA-6F75AE12EF02}"/>
          </ac:spMkLst>
        </pc:spChg>
        <pc:spChg chg="add mod replST">
          <ac:chgData name="Wenwen Zhang" userId="9dd81366-5d6f-445a-b031-6ea562624431" providerId="ADAL" clId="{3909E7CC-5EA5-469C-9AFF-9A201E30CD9D}" dt="2022-12-06T09:16:20.542" v="43189"/>
          <ac:spMkLst>
            <pc:docMk/>
            <pc:sldMk cId="2564188142" sldId="2134804362"/>
            <ac:spMk id="395" creationId="{96DB64E7-7450-5BAA-7DCA-6F75AE12EF02}"/>
          </ac:spMkLst>
        </pc:spChg>
        <pc:spChg chg="add del mod replST">
          <ac:chgData name="Wenwen Zhang" userId="9dd81366-5d6f-445a-b031-6ea562624431" providerId="ADAL" clId="{3909E7CC-5EA5-469C-9AFF-9A201E30CD9D}" dt="2022-12-06T09:10:10.732" v="38237"/>
          <ac:spMkLst>
            <pc:docMk/>
            <pc:sldMk cId="2564188142" sldId="2134804362"/>
            <ac:spMk id="396" creationId="{96DB64E7-7450-5BAA-7DCA-6F75AE12EF02}"/>
          </ac:spMkLst>
        </pc:spChg>
        <pc:spChg chg="add del mod replST">
          <ac:chgData name="Wenwen Zhang" userId="9dd81366-5d6f-445a-b031-6ea562624431" providerId="ADAL" clId="{3909E7CC-5EA5-469C-9AFF-9A201E30CD9D}" dt="2022-12-06T09:07:06.520" v="37401"/>
          <ac:spMkLst>
            <pc:docMk/>
            <pc:sldMk cId="2564188142" sldId="2134804362"/>
            <ac:spMk id="397" creationId="{96DB64E7-7450-5BAA-7DCA-6F75AE12EF02}"/>
          </ac:spMkLst>
        </pc:spChg>
        <pc:spChg chg="add del mod modVis">
          <ac:chgData name="Wenwen Zhang" userId="9dd81366-5d6f-445a-b031-6ea562624431" providerId="ADAL" clId="{3909E7CC-5EA5-469C-9AFF-9A201E30CD9D}" dt="2022-12-06T09:07:00.798" v="37308"/>
          <ac:spMkLst>
            <pc:docMk/>
            <pc:sldMk cId="2564188142" sldId="2134804362"/>
            <ac:spMk id="416" creationId="{14546CCD-6DAC-8050-B3AE-46B35FCC7120}"/>
          </ac:spMkLst>
        </pc:spChg>
        <pc:spChg chg="add del mod modVis">
          <ac:chgData name="Wenwen Zhang" userId="9dd81366-5d6f-445a-b031-6ea562624431" providerId="ADAL" clId="{3909E7CC-5EA5-469C-9AFF-9A201E30CD9D}" dt="2022-12-06T09:07:06.604" v="37632"/>
          <ac:spMkLst>
            <pc:docMk/>
            <pc:sldMk cId="2564188142" sldId="2134804362"/>
            <ac:spMk id="418" creationId="{16A0774C-97AF-FF15-C170-03B2505B78E0}"/>
          </ac:spMkLst>
        </pc:spChg>
        <pc:spChg chg="add del mod modVis">
          <ac:chgData name="Wenwen Zhang" userId="9dd81366-5d6f-445a-b031-6ea562624431" providerId="ADAL" clId="{3909E7CC-5EA5-469C-9AFF-9A201E30CD9D}" dt="2022-12-06T09:07:29.652" v="37871"/>
          <ac:spMkLst>
            <pc:docMk/>
            <pc:sldMk cId="2564188142" sldId="2134804362"/>
            <ac:spMk id="420" creationId="{DC71736A-A675-A516-338E-6A339C01FCE9}"/>
          </ac:spMkLst>
        </pc:spChg>
        <pc:spChg chg="add del mod modVis">
          <ac:chgData name="Wenwen Zhang" userId="9dd81366-5d6f-445a-b031-6ea562624431" providerId="ADAL" clId="{3909E7CC-5EA5-469C-9AFF-9A201E30CD9D}" dt="2022-12-06T09:07:32.875" v="38111"/>
          <ac:spMkLst>
            <pc:docMk/>
            <pc:sldMk cId="2564188142" sldId="2134804362"/>
            <ac:spMk id="422" creationId="{82749909-3465-C2A8-402A-872FBAA417A9}"/>
          </ac:spMkLst>
        </pc:spChg>
        <pc:spChg chg="add del mod modVis">
          <ac:chgData name="Wenwen Zhang" userId="9dd81366-5d6f-445a-b031-6ea562624431" providerId="ADAL" clId="{3909E7CC-5EA5-469C-9AFF-9A201E30CD9D}" dt="2022-12-06T09:10:12.274" v="39680"/>
          <ac:spMkLst>
            <pc:docMk/>
            <pc:sldMk cId="2564188142" sldId="2134804362"/>
            <ac:spMk id="427" creationId="{DD87E8D4-37CD-4A09-43DD-F295E963F6BB}"/>
          </ac:spMkLst>
        </pc:spChg>
        <pc:spChg chg="add mod replST">
          <ac:chgData name="Wenwen Zhang" userId="9dd81366-5d6f-445a-b031-6ea562624431" providerId="ADAL" clId="{3909E7CC-5EA5-469C-9AFF-9A201E30CD9D}" dt="2022-12-06T09:16:20.541" v="43184"/>
          <ac:spMkLst>
            <pc:docMk/>
            <pc:sldMk cId="2564188142" sldId="2134804362"/>
            <ac:spMk id="428" creationId="{96DB64E7-7450-5BAA-7DCA-6F75AE12EF02}"/>
          </ac:spMkLst>
        </pc:spChg>
        <pc:spChg chg="add mod replST">
          <ac:chgData name="Wenwen Zhang" userId="9dd81366-5d6f-445a-b031-6ea562624431" providerId="ADAL" clId="{3909E7CC-5EA5-469C-9AFF-9A201E30CD9D}" dt="2022-12-06T09:16:20.539" v="43178"/>
          <ac:spMkLst>
            <pc:docMk/>
            <pc:sldMk cId="2564188142" sldId="2134804362"/>
            <ac:spMk id="429" creationId="{96DB64E7-7450-5BAA-7DCA-6F75AE12EF02}"/>
          </ac:spMkLst>
        </pc:spChg>
        <pc:spChg chg="add mod replST">
          <ac:chgData name="Wenwen Zhang" userId="9dd81366-5d6f-445a-b031-6ea562624431" providerId="ADAL" clId="{3909E7CC-5EA5-469C-9AFF-9A201E30CD9D}" dt="2022-12-06T09:16:20.540" v="43181"/>
          <ac:spMkLst>
            <pc:docMk/>
            <pc:sldMk cId="2564188142" sldId="2134804362"/>
            <ac:spMk id="430" creationId="{96DB64E7-7450-5BAA-7DCA-6F75AE12EF02}"/>
          </ac:spMkLst>
        </pc:spChg>
        <pc:spChg chg="add mod replST">
          <ac:chgData name="Wenwen Zhang" userId="9dd81366-5d6f-445a-b031-6ea562624431" providerId="ADAL" clId="{3909E7CC-5EA5-469C-9AFF-9A201E30CD9D}" dt="2022-12-06T09:16:20.541" v="43186"/>
          <ac:spMkLst>
            <pc:docMk/>
            <pc:sldMk cId="2564188142" sldId="2134804362"/>
            <ac:spMk id="431" creationId="{96DB64E7-7450-5BAA-7DCA-6F75AE12EF02}"/>
          </ac:spMkLst>
        </pc:spChg>
        <pc:spChg chg="add mod replST">
          <ac:chgData name="Wenwen Zhang" userId="9dd81366-5d6f-445a-b031-6ea562624431" providerId="ADAL" clId="{3909E7CC-5EA5-469C-9AFF-9A201E30CD9D}" dt="2022-12-06T09:16:20.539" v="43176"/>
          <ac:spMkLst>
            <pc:docMk/>
            <pc:sldMk cId="2564188142" sldId="2134804362"/>
            <ac:spMk id="432" creationId="{96DB64E7-7450-5BAA-7DCA-6F75AE12EF02}"/>
          </ac:spMkLst>
        </pc:spChg>
        <pc:spChg chg="add mod replST">
          <ac:chgData name="Wenwen Zhang" userId="9dd81366-5d6f-445a-b031-6ea562624431" providerId="ADAL" clId="{3909E7CC-5EA5-469C-9AFF-9A201E30CD9D}" dt="2022-12-06T09:16:20.540" v="43179"/>
          <ac:spMkLst>
            <pc:docMk/>
            <pc:sldMk cId="2564188142" sldId="2134804362"/>
            <ac:spMk id="433" creationId="{96DB64E7-7450-5BAA-7DCA-6F75AE12EF02}"/>
          </ac:spMkLst>
        </pc:spChg>
        <pc:spChg chg="add mod replST">
          <ac:chgData name="Wenwen Zhang" userId="9dd81366-5d6f-445a-b031-6ea562624431" providerId="ADAL" clId="{3909E7CC-5EA5-469C-9AFF-9A201E30CD9D}" dt="2022-12-06T09:16:20.540" v="43180"/>
          <ac:spMkLst>
            <pc:docMk/>
            <pc:sldMk cId="2564188142" sldId="2134804362"/>
            <ac:spMk id="434" creationId="{96DB64E7-7450-5BAA-7DCA-6F75AE12EF02}"/>
          </ac:spMkLst>
        </pc:spChg>
        <pc:spChg chg="add mod replST">
          <ac:chgData name="Wenwen Zhang" userId="9dd81366-5d6f-445a-b031-6ea562624431" providerId="ADAL" clId="{3909E7CC-5EA5-469C-9AFF-9A201E30CD9D}" dt="2022-12-06T09:16:20.540" v="43182"/>
          <ac:spMkLst>
            <pc:docMk/>
            <pc:sldMk cId="2564188142" sldId="2134804362"/>
            <ac:spMk id="435" creationId="{96DB64E7-7450-5BAA-7DCA-6F75AE12EF02}"/>
          </ac:spMkLst>
        </pc:spChg>
        <pc:spChg chg="add mod replST">
          <ac:chgData name="Wenwen Zhang" userId="9dd81366-5d6f-445a-b031-6ea562624431" providerId="ADAL" clId="{3909E7CC-5EA5-469C-9AFF-9A201E30CD9D}" dt="2022-12-06T09:16:20.541" v="43183"/>
          <ac:spMkLst>
            <pc:docMk/>
            <pc:sldMk cId="2564188142" sldId="2134804362"/>
            <ac:spMk id="436" creationId="{96DB64E7-7450-5BAA-7DCA-6F75AE12EF02}"/>
          </ac:spMkLst>
        </pc:spChg>
        <pc:spChg chg="add mod replST">
          <ac:chgData name="Wenwen Zhang" userId="9dd81366-5d6f-445a-b031-6ea562624431" providerId="ADAL" clId="{3909E7CC-5EA5-469C-9AFF-9A201E30CD9D}" dt="2022-12-06T09:16:20.543" v="43194"/>
          <ac:spMkLst>
            <pc:docMk/>
            <pc:sldMk cId="2564188142" sldId="2134804362"/>
            <ac:spMk id="437" creationId="{96DB64E7-7450-5BAA-7DCA-6F75AE12EF02}"/>
          </ac:spMkLst>
        </pc:spChg>
        <pc:spChg chg="add mod replST">
          <ac:chgData name="Wenwen Zhang" userId="9dd81366-5d6f-445a-b031-6ea562624431" providerId="ADAL" clId="{3909E7CC-5EA5-469C-9AFF-9A201E30CD9D}" dt="2022-12-06T09:16:20.542" v="43188"/>
          <ac:spMkLst>
            <pc:docMk/>
            <pc:sldMk cId="2564188142" sldId="2134804362"/>
            <ac:spMk id="438" creationId="{96DB64E7-7450-5BAA-7DCA-6F75AE12EF02}"/>
          </ac:spMkLst>
        </pc:spChg>
        <pc:spChg chg="add mod replST">
          <ac:chgData name="Wenwen Zhang" userId="9dd81366-5d6f-445a-b031-6ea562624431" providerId="ADAL" clId="{3909E7CC-5EA5-469C-9AFF-9A201E30CD9D}" dt="2022-12-06T09:16:20.543" v="43193"/>
          <ac:spMkLst>
            <pc:docMk/>
            <pc:sldMk cId="2564188142" sldId="2134804362"/>
            <ac:spMk id="439" creationId="{96DB64E7-7450-5BAA-7DCA-6F75AE12EF02}"/>
          </ac:spMkLst>
        </pc:spChg>
        <pc:spChg chg="add mod replST">
          <ac:chgData name="Wenwen Zhang" userId="9dd81366-5d6f-445a-b031-6ea562624431" providerId="ADAL" clId="{3909E7CC-5EA5-469C-9AFF-9A201E30CD9D}" dt="2022-12-06T09:16:20.543" v="43192"/>
          <ac:spMkLst>
            <pc:docMk/>
            <pc:sldMk cId="2564188142" sldId="2134804362"/>
            <ac:spMk id="440" creationId="{96DB64E7-7450-5BAA-7DCA-6F75AE12EF02}"/>
          </ac:spMkLst>
        </pc:spChg>
        <pc:spChg chg="add del mod modVis">
          <ac:chgData name="Wenwen Zhang" userId="9dd81366-5d6f-445a-b031-6ea562624431" providerId="ADAL" clId="{3909E7CC-5EA5-469C-9AFF-9A201E30CD9D}" dt="2022-12-06T09:12:10.728" v="39911"/>
          <ac:spMkLst>
            <pc:docMk/>
            <pc:sldMk cId="2564188142" sldId="2134804362"/>
            <ac:spMk id="455" creationId="{53E2E5C3-4D75-5642-4F93-8C5CA91FB6AC}"/>
          </ac:spMkLst>
        </pc:spChg>
        <pc:spChg chg="add del mod modVis">
          <ac:chgData name="Wenwen Zhang" userId="9dd81366-5d6f-445a-b031-6ea562624431" providerId="ADAL" clId="{3909E7CC-5EA5-469C-9AFF-9A201E30CD9D}" dt="2022-12-06T09:12:19.290" v="40139"/>
          <ac:spMkLst>
            <pc:docMk/>
            <pc:sldMk cId="2564188142" sldId="2134804362"/>
            <ac:spMk id="457" creationId="{0D789B58-FD29-F39C-E29F-752A42489EF6}"/>
          </ac:spMkLst>
        </pc:spChg>
        <pc:spChg chg="add del mod modVis">
          <ac:chgData name="Wenwen Zhang" userId="9dd81366-5d6f-445a-b031-6ea562624431" providerId="ADAL" clId="{3909E7CC-5EA5-469C-9AFF-9A201E30CD9D}" dt="2022-12-06T09:12:48.303" v="40527"/>
          <ac:spMkLst>
            <pc:docMk/>
            <pc:sldMk cId="2564188142" sldId="2134804362"/>
            <ac:spMk id="459" creationId="{BE19B751-92DF-E97C-646B-43486772C2D9}"/>
          </ac:spMkLst>
        </pc:spChg>
        <pc:spChg chg="add mod ord replST">
          <ac:chgData name="Wenwen Zhang" userId="9dd81366-5d6f-445a-b031-6ea562624431" providerId="ADAL" clId="{3909E7CC-5EA5-469C-9AFF-9A201E30CD9D}" dt="2022-12-06T09:16:20.544" v="43203"/>
          <ac:spMkLst>
            <pc:docMk/>
            <pc:sldMk cId="2564188142" sldId="2134804362"/>
            <ac:spMk id="460" creationId="{96DB64E7-7450-5BAA-7DCA-6F75AE12EF02}"/>
          </ac:spMkLst>
        </pc:spChg>
        <pc:spChg chg="add del mod modVis">
          <ac:chgData name="Wenwen Zhang" userId="9dd81366-5d6f-445a-b031-6ea562624431" providerId="ADAL" clId="{3909E7CC-5EA5-469C-9AFF-9A201E30CD9D}" dt="2022-12-06T09:12:56.319" v="40756"/>
          <ac:spMkLst>
            <pc:docMk/>
            <pc:sldMk cId="2564188142" sldId="2134804362"/>
            <ac:spMk id="465" creationId="{F76D0886-E3FD-3165-40FF-8A9B99A23C5C}"/>
          </ac:spMkLst>
        </pc:spChg>
        <pc:spChg chg="add del mod modVis">
          <ac:chgData name="Wenwen Zhang" userId="9dd81366-5d6f-445a-b031-6ea562624431" providerId="ADAL" clId="{3909E7CC-5EA5-469C-9AFF-9A201E30CD9D}" dt="2022-12-06T09:13:03.083" v="41046"/>
          <ac:spMkLst>
            <pc:docMk/>
            <pc:sldMk cId="2564188142" sldId="2134804362"/>
            <ac:spMk id="467" creationId="{64B95CF2-6F42-170A-497B-AA5B5E7F9D71}"/>
          </ac:spMkLst>
        </pc:spChg>
        <pc:spChg chg="add del mod modVis">
          <ac:chgData name="Wenwen Zhang" userId="9dd81366-5d6f-445a-b031-6ea562624431" providerId="ADAL" clId="{3909E7CC-5EA5-469C-9AFF-9A201E30CD9D}" dt="2022-12-06T09:14:09.611" v="41591"/>
          <ac:spMkLst>
            <pc:docMk/>
            <pc:sldMk cId="2564188142" sldId="2134804362"/>
            <ac:spMk id="469" creationId="{5F2FC4F6-2531-E86C-3EBD-EA2839026770}"/>
          </ac:spMkLst>
        </pc:spChg>
        <pc:spChg chg="add del mod modVis">
          <ac:chgData name="Wenwen Zhang" userId="9dd81366-5d6f-445a-b031-6ea562624431" providerId="ADAL" clId="{3909E7CC-5EA5-469C-9AFF-9A201E30CD9D}" dt="2022-12-06T09:14:22.374" v="42170"/>
          <ac:spMkLst>
            <pc:docMk/>
            <pc:sldMk cId="2564188142" sldId="2134804362"/>
            <ac:spMk id="471" creationId="{335FD772-0EF7-B7B3-85F4-0EF447EF05B8}"/>
          </ac:spMkLst>
        </pc:spChg>
        <pc:spChg chg="add del mod modVis">
          <ac:chgData name="Wenwen Zhang" userId="9dd81366-5d6f-445a-b031-6ea562624431" providerId="ADAL" clId="{3909E7CC-5EA5-469C-9AFF-9A201E30CD9D}" dt="2022-12-06T09:14:29.143" v="42521"/>
          <ac:spMkLst>
            <pc:docMk/>
            <pc:sldMk cId="2564188142" sldId="2134804362"/>
            <ac:spMk id="473" creationId="{96D14F8C-4498-B46D-8C7C-B2BCF58083B8}"/>
          </ac:spMkLst>
        </pc:spChg>
        <pc:spChg chg="add del mod modVis">
          <ac:chgData name="Wenwen Zhang" userId="9dd81366-5d6f-445a-b031-6ea562624431" providerId="ADAL" clId="{3909E7CC-5EA5-469C-9AFF-9A201E30CD9D}" dt="2022-12-06T09:16:18.994" v="42763"/>
          <ac:spMkLst>
            <pc:docMk/>
            <pc:sldMk cId="2564188142" sldId="2134804362"/>
            <ac:spMk id="475" creationId="{6509C18D-BCB6-1BEF-F2B8-6A05F8B4E8C3}"/>
          </ac:spMkLst>
        </pc:spChg>
        <pc:spChg chg="add del mod modVis">
          <ac:chgData name="Wenwen Zhang" userId="9dd81366-5d6f-445a-b031-6ea562624431" providerId="ADAL" clId="{3909E7CC-5EA5-469C-9AFF-9A201E30CD9D}" dt="2022-12-06T09:16:19.771" v="42999"/>
          <ac:spMkLst>
            <pc:docMk/>
            <pc:sldMk cId="2564188142" sldId="2134804362"/>
            <ac:spMk id="477" creationId="{EB0572A5-C76B-35A6-D4BA-1B4987139C2F}"/>
          </ac:spMkLst>
        </pc:spChg>
        <pc:spChg chg="add del mod modVis">
          <ac:chgData name="Wenwen Zhang" userId="9dd81366-5d6f-445a-b031-6ea562624431" providerId="ADAL" clId="{3909E7CC-5EA5-469C-9AFF-9A201E30CD9D}" dt="2022-12-06T09:16:20.549" v="43231"/>
          <ac:spMkLst>
            <pc:docMk/>
            <pc:sldMk cId="2564188142" sldId="2134804362"/>
            <ac:spMk id="479" creationId="{257D0DEF-85D4-A453-A95F-6BAD7B7D71B5}"/>
          </ac:spMkLst>
        </pc:spChg>
        <pc:graphicFrameChg chg="add del mod replST">
          <ac:chgData name="Wenwen Zhang" userId="9dd81366-5d6f-445a-b031-6ea562624431" providerId="ADAL" clId="{3909E7CC-5EA5-469C-9AFF-9A201E30CD9D}" dt="2022-12-05T22:29:59.161" v="15487"/>
          <ac:graphicFrameMkLst>
            <pc:docMk/>
            <pc:sldMk cId="2564188142" sldId="2134804362"/>
            <ac:graphicFrameMk id="19" creationId="{8B147074-04EE-D1EE-969D-3AB1A159DE84}"/>
          </ac:graphicFrameMkLst>
        </pc:graphicFrameChg>
        <pc:graphicFrameChg chg="mod">
          <ac:chgData name="Wenwen Zhang" userId="9dd81366-5d6f-445a-b031-6ea562624431" providerId="ADAL" clId="{3909E7CC-5EA5-469C-9AFF-9A201E30CD9D}" dt="2022-12-06T09:16:20.571" v="43233"/>
          <ac:graphicFrameMkLst>
            <pc:docMk/>
            <pc:sldMk cId="2564188142" sldId="2134804362"/>
            <ac:graphicFrameMk id="28" creationId="{015DFAEE-F78A-C272-92CE-F25C3417CAD0}"/>
          </ac:graphicFrameMkLst>
        </pc:graphicFrameChg>
        <pc:graphicFrameChg chg="add mod ord replST delST">
          <ac:chgData name="Wenwen Zhang" userId="9dd81366-5d6f-445a-b031-6ea562624431" providerId="ADAL" clId="{3909E7CC-5EA5-469C-9AFF-9A201E30CD9D}" dt="2022-12-05T22:29:59.161" v="15487"/>
          <ac:graphicFrameMkLst>
            <pc:docMk/>
            <pc:sldMk cId="2564188142" sldId="2134804362"/>
            <ac:graphicFrameMk id="49" creationId="{2051E044-2190-FD84-BA50-B156073CAB17}"/>
          </ac:graphicFrameMkLst>
        </pc:graphicFrameChg>
        <pc:graphicFrameChg chg="add del mod replST">
          <ac:chgData name="Wenwen Zhang" userId="9dd81366-5d6f-445a-b031-6ea562624431" providerId="ADAL" clId="{3909E7CC-5EA5-469C-9AFF-9A201E30CD9D}" dt="2022-12-05T22:30:03.209" v="16235"/>
          <ac:graphicFrameMkLst>
            <pc:docMk/>
            <pc:sldMk cId="2564188142" sldId="2134804362"/>
            <ac:graphicFrameMk id="66" creationId="{D5C359EE-6E25-BDB4-51F1-EECC0921DD96}"/>
          </ac:graphicFrameMkLst>
        </pc:graphicFrameChg>
        <pc:graphicFrameChg chg="add del mod ord replST">
          <ac:chgData name="Wenwen Zhang" userId="9dd81366-5d6f-445a-b031-6ea562624431" providerId="ADAL" clId="{3909E7CC-5EA5-469C-9AFF-9A201E30CD9D}" dt="2022-12-06T09:06:40.198" v="34447"/>
          <ac:graphicFrameMkLst>
            <pc:docMk/>
            <pc:sldMk cId="2564188142" sldId="2134804362"/>
            <ac:graphicFrameMk id="93" creationId="{D0E1B62F-0099-0B06-7B21-83B20D88E501}"/>
          </ac:graphicFrameMkLst>
        </pc:graphicFrameChg>
        <pc:graphicFrameChg chg="del">
          <ac:chgData name="Wenwen Zhang" userId="9dd81366-5d6f-445a-b031-6ea562624431" providerId="ADAL" clId="{3909E7CC-5EA5-469C-9AFF-9A201E30CD9D}" dt="2022-12-05T22:05:55.478" v="13480"/>
          <ac:graphicFrameMkLst>
            <pc:docMk/>
            <pc:sldMk cId="2564188142" sldId="2134804362"/>
            <ac:graphicFrameMk id="203" creationId="{896B9679-0423-DA84-C4A2-991DC5B6FDA4}"/>
          </ac:graphicFrameMkLst>
        </pc:graphicFrameChg>
        <pc:graphicFrameChg chg="del">
          <ac:chgData name="Wenwen Zhang" userId="9dd81366-5d6f-445a-b031-6ea562624431" providerId="ADAL" clId="{3909E7CC-5EA5-469C-9AFF-9A201E30CD9D}" dt="2022-12-05T22:05:55.481" v="13497"/>
          <ac:graphicFrameMkLst>
            <pc:docMk/>
            <pc:sldMk cId="2564188142" sldId="2134804362"/>
            <ac:graphicFrameMk id="205" creationId="{4E66B212-0B12-2A82-1728-4BD3D5460AD7}"/>
          </ac:graphicFrameMkLst>
        </pc:graphicFrameChg>
        <pc:graphicFrameChg chg="del">
          <ac:chgData name="Wenwen Zhang" userId="9dd81366-5d6f-445a-b031-6ea562624431" providerId="ADAL" clId="{3909E7CC-5EA5-469C-9AFF-9A201E30CD9D}" dt="2022-12-05T22:05:55.485" v="13512"/>
          <ac:graphicFrameMkLst>
            <pc:docMk/>
            <pc:sldMk cId="2564188142" sldId="2134804362"/>
            <ac:graphicFrameMk id="207" creationId="{4E6CC7D2-714C-A78C-05A1-7B54A1703E8A}"/>
          </ac:graphicFrameMkLst>
        </pc:graphicFrameChg>
        <pc:graphicFrameChg chg="del">
          <ac:chgData name="Wenwen Zhang" userId="9dd81366-5d6f-445a-b031-6ea562624431" providerId="ADAL" clId="{3909E7CC-5EA5-469C-9AFF-9A201E30CD9D}" dt="2022-12-05T22:05:55.490" v="13537"/>
          <ac:graphicFrameMkLst>
            <pc:docMk/>
            <pc:sldMk cId="2564188142" sldId="2134804362"/>
            <ac:graphicFrameMk id="211" creationId="{D975FA00-9F3B-D144-7951-13D1C5679AD2}"/>
          </ac:graphicFrameMkLst>
        </pc:graphicFrameChg>
        <pc:graphicFrameChg chg="add del mod ord replST">
          <ac:chgData name="Wenwen Zhang" userId="9dd81366-5d6f-445a-b031-6ea562624431" providerId="ADAL" clId="{3909E7CC-5EA5-469C-9AFF-9A201E30CD9D}" dt="2022-12-06T09:06:44.396" v="36939"/>
          <ac:graphicFrameMkLst>
            <pc:docMk/>
            <pc:sldMk cId="2564188142" sldId="2134804362"/>
            <ac:graphicFrameMk id="379" creationId="{32487FD9-3F0F-02E7-2917-2CB6F44EDEF4}"/>
          </ac:graphicFrameMkLst>
        </pc:graphicFrameChg>
        <pc:graphicFrameChg chg="add del mod ord replST">
          <ac:chgData name="Wenwen Zhang" userId="9dd81366-5d6f-445a-b031-6ea562624431" providerId="ADAL" clId="{3909E7CC-5EA5-469C-9AFF-9A201E30CD9D}" dt="2022-12-06T09:07:00.763" v="37202"/>
          <ac:graphicFrameMkLst>
            <pc:docMk/>
            <pc:sldMk cId="2564188142" sldId="2134804362"/>
            <ac:graphicFrameMk id="415" creationId="{99BAD1A8-5472-F66F-2766-BD2D964BBBC1}"/>
          </ac:graphicFrameMkLst>
        </pc:graphicFrameChg>
        <pc:graphicFrameChg chg="add del mod ord replST">
          <ac:chgData name="Wenwen Zhang" userId="9dd81366-5d6f-445a-b031-6ea562624431" providerId="ADAL" clId="{3909E7CC-5EA5-469C-9AFF-9A201E30CD9D}" dt="2022-12-06T09:07:06.568" v="37529"/>
          <ac:graphicFrameMkLst>
            <pc:docMk/>
            <pc:sldMk cId="2564188142" sldId="2134804362"/>
            <ac:graphicFrameMk id="417" creationId="{066751C6-6474-B7D3-1951-E44013E348B7}"/>
          </ac:graphicFrameMkLst>
        </pc:graphicFrameChg>
        <pc:graphicFrameChg chg="add del mod ord replST">
          <ac:chgData name="Wenwen Zhang" userId="9dd81366-5d6f-445a-b031-6ea562624431" providerId="ADAL" clId="{3909E7CC-5EA5-469C-9AFF-9A201E30CD9D}" dt="2022-12-06T09:07:29.601" v="37744"/>
          <ac:graphicFrameMkLst>
            <pc:docMk/>
            <pc:sldMk cId="2564188142" sldId="2134804362"/>
            <ac:graphicFrameMk id="419" creationId="{0558A805-E6A6-53B7-0130-BD1ED06E2EE1}"/>
          </ac:graphicFrameMkLst>
        </pc:graphicFrameChg>
        <pc:graphicFrameChg chg="add del mod ord replST">
          <ac:chgData name="Wenwen Zhang" userId="9dd81366-5d6f-445a-b031-6ea562624431" providerId="ADAL" clId="{3909E7CC-5EA5-469C-9AFF-9A201E30CD9D}" dt="2022-12-06T09:07:32.823" v="37984"/>
          <ac:graphicFrameMkLst>
            <pc:docMk/>
            <pc:sldMk cId="2564188142" sldId="2134804362"/>
            <ac:graphicFrameMk id="421" creationId="{C9ED4308-5D57-4E5D-781A-B16FC2C019F8}"/>
          </ac:graphicFrameMkLst>
        </pc:graphicFrameChg>
        <pc:graphicFrameChg chg="add del mod ord replST">
          <ac:chgData name="Wenwen Zhang" userId="9dd81366-5d6f-445a-b031-6ea562624431" providerId="ADAL" clId="{3909E7CC-5EA5-469C-9AFF-9A201E30CD9D}" dt="2022-12-06T09:10:12.199" v="39524"/>
          <ac:graphicFrameMkLst>
            <pc:docMk/>
            <pc:sldMk cId="2564188142" sldId="2134804362"/>
            <ac:graphicFrameMk id="423" creationId="{0D0F219B-3366-1692-D850-23CC78CEFED6}"/>
          </ac:graphicFrameMkLst>
        </pc:graphicFrameChg>
        <pc:graphicFrameChg chg="add del mod ord replST">
          <ac:chgData name="Wenwen Zhang" userId="9dd81366-5d6f-445a-b031-6ea562624431" providerId="ADAL" clId="{3909E7CC-5EA5-469C-9AFF-9A201E30CD9D}" dt="2022-12-06T09:12:10.690" v="39805"/>
          <ac:graphicFrameMkLst>
            <pc:docMk/>
            <pc:sldMk cId="2564188142" sldId="2134804362"/>
            <ac:graphicFrameMk id="454" creationId="{5E7BFA79-270C-2AD8-7C5E-48464121669B}"/>
          </ac:graphicFrameMkLst>
        </pc:graphicFrameChg>
        <pc:graphicFrameChg chg="add del mod ord replST">
          <ac:chgData name="Wenwen Zhang" userId="9dd81366-5d6f-445a-b031-6ea562624431" providerId="ADAL" clId="{3909E7CC-5EA5-469C-9AFF-9A201E30CD9D}" dt="2022-12-06T09:12:19.258" v="40037"/>
          <ac:graphicFrameMkLst>
            <pc:docMk/>
            <pc:sldMk cId="2564188142" sldId="2134804362"/>
            <ac:graphicFrameMk id="456" creationId="{4ABB17D4-0564-635C-B062-29BB295F1E96}"/>
          </ac:graphicFrameMkLst>
        </pc:graphicFrameChg>
        <pc:graphicFrameChg chg="add del mod ord replST">
          <ac:chgData name="Wenwen Zhang" userId="9dd81366-5d6f-445a-b031-6ea562624431" providerId="ADAL" clId="{3909E7CC-5EA5-469C-9AFF-9A201E30CD9D}" dt="2022-12-06T09:12:48.260" v="40397"/>
          <ac:graphicFrameMkLst>
            <pc:docMk/>
            <pc:sldMk cId="2564188142" sldId="2134804362"/>
            <ac:graphicFrameMk id="458" creationId="{78D67FE6-C3AA-B395-604A-092D06153C73}"/>
          </ac:graphicFrameMkLst>
        </pc:graphicFrameChg>
        <pc:graphicFrameChg chg="add del mod ord replST">
          <ac:chgData name="Wenwen Zhang" userId="9dd81366-5d6f-445a-b031-6ea562624431" providerId="ADAL" clId="{3909E7CC-5EA5-469C-9AFF-9A201E30CD9D}" dt="2022-12-06T09:12:56.285" v="40646"/>
          <ac:graphicFrameMkLst>
            <pc:docMk/>
            <pc:sldMk cId="2564188142" sldId="2134804362"/>
            <ac:graphicFrameMk id="464" creationId="{134181F9-47BB-6C61-2C4B-32185811693B}"/>
          </ac:graphicFrameMkLst>
        </pc:graphicFrameChg>
        <pc:graphicFrameChg chg="add del mod ord replST">
          <ac:chgData name="Wenwen Zhang" userId="9dd81366-5d6f-445a-b031-6ea562624431" providerId="ADAL" clId="{3909E7CC-5EA5-469C-9AFF-9A201E30CD9D}" dt="2022-12-06T09:13:03.039" v="40918"/>
          <ac:graphicFrameMkLst>
            <pc:docMk/>
            <pc:sldMk cId="2564188142" sldId="2134804362"/>
            <ac:graphicFrameMk id="466" creationId="{F0E6C896-D41F-2B58-422D-129F5FEEC492}"/>
          </ac:graphicFrameMkLst>
        </pc:graphicFrameChg>
        <pc:graphicFrameChg chg="add del mod ord replST">
          <ac:chgData name="Wenwen Zhang" userId="9dd81366-5d6f-445a-b031-6ea562624431" providerId="ADAL" clId="{3909E7CC-5EA5-469C-9AFF-9A201E30CD9D}" dt="2022-12-06T09:14:22.328" v="42042"/>
          <ac:graphicFrameMkLst>
            <pc:docMk/>
            <pc:sldMk cId="2564188142" sldId="2134804362"/>
            <ac:graphicFrameMk id="468" creationId="{E89C6551-31BB-0015-0AEB-30798F6A56CB}"/>
          </ac:graphicFrameMkLst>
        </pc:graphicFrameChg>
        <pc:graphicFrameChg chg="add mod ord replST delST">
          <ac:chgData name="Wenwen Zhang" userId="9dd81366-5d6f-445a-b031-6ea562624431" providerId="ADAL" clId="{3909E7CC-5EA5-469C-9AFF-9A201E30CD9D}" dt="2022-12-06T09:14:09.611" v="41591"/>
          <ac:graphicFrameMkLst>
            <pc:docMk/>
            <pc:sldMk cId="2564188142" sldId="2134804362"/>
            <ac:graphicFrameMk id="470" creationId="{2741E336-76A6-4E29-616F-1A7B05320C15}"/>
          </ac:graphicFrameMkLst>
        </pc:graphicFrameChg>
        <pc:graphicFrameChg chg="add del mod ord replST">
          <ac:chgData name="Wenwen Zhang" userId="9dd81366-5d6f-445a-b031-6ea562624431" providerId="ADAL" clId="{3909E7CC-5EA5-469C-9AFF-9A201E30CD9D}" dt="2022-12-06T09:14:29.109" v="42413"/>
          <ac:graphicFrameMkLst>
            <pc:docMk/>
            <pc:sldMk cId="2564188142" sldId="2134804362"/>
            <ac:graphicFrameMk id="472" creationId="{971E9CB6-C77B-8A2A-AEB5-6A5B8855A6E7}"/>
          </ac:graphicFrameMkLst>
        </pc:graphicFrameChg>
        <pc:graphicFrameChg chg="add del mod ord replST">
          <ac:chgData name="Wenwen Zhang" userId="9dd81366-5d6f-445a-b031-6ea562624431" providerId="ADAL" clId="{3909E7CC-5EA5-469C-9AFF-9A201E30CD9D}" dt="2022-12-06T09:16:18.957" v="42655"/>
          <ac:graphicFrameMkLst>
            <pc:docMk/>
            <pc:sldMk cId="2564188142" sldId="2134804362"/>
            <ac:graphicFrameMk id="474" creationId="{A03680A1-398F-49F0-17E7-1594580005C5}"/>
          </ac:graphicFrameMkLst>
        </pc:graphicFrameChg>
        <pc:graphicFrameChg chg="add del mod ord replST">
          <ac:chgData name="Wenwen Zhang" userId="9dd81366-5d6f-445a-b031-6ea562624431" providerId="ADAL" clId="{3909E7CC-5EA5-469C-9AFF-9A201E30CD9D}" dt="2022-12-06T09:16:19.735" v="42891"/>
          <ac:graphicFrameMkLst>
            <pc:docMk/>
            <pc:sldMk cId="2564188142" sldId="2134804362"/>
            <ac:graphicFrameMk id="476" creationId="{A7AE1130-B78A-900C-F9B7-71A0E5A4BA6B}"/>
          </ac:graphicFrameMkLst>
        </pc:graphicFrameChg>
        <pc:graphicFrameChg chg="add del mod ord replST">
          <ac:chgData name="Wenwen Zhang" userId="9dd81366-5d6f-445a-b031-6ea562624431" providerId="ADAL" clId="{3909E7CC-5EA5-469C-9AFF-9A201E30CD9D}" dt="2022-12-06T09:16:20.512" v="43123"/>
          <ac:graphicFrameMkLst>
            <pc:docMk/>
            <pc:sldMk cId="2564188142" sldId="2134804362"/>
            <ac:graphicFrameMk id="478" creationId="{160FEE2B-E15F-C388-465D-C04C6695B268}"/>
          </ac:graphicFrameMkLst>
        </pc:graphicFrameChg>
        <pc:graphicFrameChg chg="add mod ord replST">
          <ac:chgData name="Wenwen Zhang" userId="9dd81366-5d6f-445a-b031-6ea562624431" providerId="ADAL" clId="{3909E7CC-5EA5-469C-9AFF-9A201E30CD9D}" dt="2022-12-06T09:16:20.539" v="43175"/>
          <ac:graphicFrameMkLst>
            <pc:docMk/>
            <pc:sldMk cId="2564188142" sldId="2134804362"/>
            <ac:graphicFrameMk id="480" creationId="{CBCA49E7-CA02-875A-F84B-E72C11E60780}"/>
          </ac:graphicFrameMkLst>
        </pc:graphicFrameChg>
        <pc:cxnChg chg="add del mod ord replST">
          <ac:chgData name="Wenwen Zhang" userId="9dd81366-5d6f-445a-b031-6ea562624431" providerId="ADAL" clId="{3909E7CC-5EA5-469C-9AFF-9A201E30CD9D}" dt="2022-12-05T22:29:59.161" v="15487"/>
          <ac:cxnSpMkLst>
            <pc:docMk/>
            <pc:sldMk cId="2564188142" sldId="2134804362"/>
            <ac:cxnSpMk id="3" creationId="{4A5718CD-79FA-4413-FFA2-BA277511A239}"/>
          </ac:cxnSpMkLst>
        </pc:cxnChg>
        <pc:cxnChg chg="add del mod ord replST">
          <ac:chgData name="Wenwen Zhang" userId="9dd81366-5d6f-445a-b031-6ea562624431" providerId="ADAL" clId="{3909E7CC-5EA5-469C-9AFF-9A201E30CD9D}" dt="2022-12-05T22:29:59.161" v="15487"/>
          <ac:cxnSpMkLst>
            <pc:docMk/>
            <pc:sldMk cId="2564188142" sldId="2134804362"/>
            <ac:cxnSpMk id="4" creationId="{5D9267E0-5772-B2EB-A2F8-FD07206FFB68}"/>
          </ac:cxnSpMkLst>
        </pc:cxnChg>
        <pc:cxnChg chg="add del mod ord replST">
          <ac:chgData name="Wenwen Zhang" userId="9dd81366-5d6f-445a-b031-6ea562624431" providerId="ADAL" clId="{3909E7CC-5EA5-469C-9AFF-9A201E30CD9D}" dt="2022-12-05T22:29:59.161" v="15487"/>
          <ac:cxnSpMkLst>
            <pc:docMk/>
            <pc:sldMk cId="2564188142" sldId="2134804362"/>
            <ac:cxnSpMk id="5" creationId="{59AD75D5-E716-B1A8-C334-E3D8C8437744}"/>
          </ac:cxnSpMkLst>
        </pc:cxnChg>
        <pc:cxnChg chg="add del mod ord replST">
          <ac:chgData name="Wenwen Zhang" userId="9dd81366-5d6f-445a-b031-6ea562624431" providerId="ADAL" clId="{3909E7CC-5EA5-469C-9AFF-9A201E30CD9D}" dt="2022-12-05T22:29:59.161" v="15487"/>
          <ac:cxnSpMkLst>
            <pc:docMk/>
            <pc:sldMk cId="2564188142" sldId="2134804362"/>
            <ac:cxnSpMk id="6" creationId="{16D7D816-3C74-EA01-82AA-15227A4BDDB9}"/>
          </ac:cxnSpMkLst>
        </pc:cxnChg>
        <pc:cxnChg chg="add del mod ord replST">
          <ac:chgData name="Wenwen Zhang" userId="9dd81366-5d6f-445a-b031-6ea562624431" providerId="ADAL" clId="{3909E7CC-5EA5-469C-9AFF-9A201E30CD9D}" dt="2022-12-05T22:29:59.161" v="15487"/>
          <ac:cxnSpMkLst>
            <pc:docMk/>
            <pc:sldMk cId="2564188142" sldId="2134804362"/>
            <ac:cxnSpMk id="7" creationId="{45B50A1F-ACD2-8BC8-28FB-8BB518FBBFF5}"/>
          </ac:cxnSpMkLst>
        </pc:cxnChg>
        <pc:cxnChg chg="add del mod ord replST">
          <ac:chgData name="Wenwen Zhang" userId="9dd81366-5d6f-445a-b031-6ea562624431" providerId="ADAL" clId="{3909E7CC-5EA5-469C-9AFF-9A201E30CD9D}" dt="2022-12-05T22:29:59.161" v="15487"/>
          <ac:cxnSpMkLst>
            <pc:docMk/>
            <pc:sldMk cId="2564188142" sldId="2134804362"/>
            <ac:cxnSpMk id="8" creationId="{AE946DF0-3765-E9C7-8E63-B5B3BD39CDE5}"/>
          </ac:cxnSpMkLst>
        </pc:cxnChg>
        <pc:cxnChg chg="add del mod ord replST">
          <ac:chgData name="Wenwen Zhang" userId="9dd81366-5d6f-445a-b031-6ea562624431" providerId="ADAL" clId="{3909E7CC-5EA5-469C-9AFF-9A201E30CD9D}" dt="2022-12-05T22:29:59.161" v="15487"/>
          <ac:cxnSpMkLst>
            <pc:docMk/>
            <pc:sldMk cId="2564188142" sldId="2134804362"/>
            <ac:cxnSpMk id="9" creationId="{545CC721-43DD-E48F-D553-0A02D5FD929E}"/>
          </ac:cxnSpMkLst>
        </pc:cxnChg>
        <pc:cxnChg chg="add del mod ord replST">
          <ac:chgData name="Wenwen Zhang" userId="9dd81366-5d6f-445a-b031-6ea562624431" providerId="ADAL" clId="{3909E7CC-5EA5-469C-9AFF-9A201E30CD9D}" dt="2022-12-05T22:29:59.161" v="15487"/>
          <ac:cxnSpMkLst>
            <pc:docMk/>
            <pc:sldMk cId="2564188142" sldId="2134804362"/>
            <ac:cxnSpMk id="10" creationId="{9E76F45A-F9FB-9B24-CC7B-2F7B90A917D6}"/>
          </ac:cxnSpMkLst>
        </pc:cxnChg>
        <pc:cxnChg chg="add del mod ord replST">
          <ac:chgData name="Wenwen Zhang" userId="9dd81366-5d6f-445a-b031-6ea562624431" providerId="ADAL" clId="{3909E7CC-5EA5-469C-9AFF-9A201E30CD9D}" dt="2022-12-05T22:29:59.161" v="15487"/>
          <ac:cxnSpMkLst>
            <pc:docMk/>
            <pc:sldMk cId="2564188142" sldId="2134804362"/>
            <ac:cxnSpMk id="11" creationId="{EB37E76E-7F10-A546-A532-037DD45EB7AC}"/>
          </ac:cxnSpMkLst>
        </pc:cxnChg>
        <pc:cxnChg chg="add del mod ord replST">
          <ac:chgData name="Wenwen Zhang" userId="9dd81366-5d6f-445a-b031-6ea562624431" providerId="ADAL" clId="{3909E7CC-5EA5-469C-9AFF-9A201E30CD9D}" dt="2022-12-05T22:29:59.161" v="15487"/>
          <ac:cxnSpMkLst>
            <pc:docMk/>
            <pc:sldMk cId="2564188142" sldId="2134804362"/>
            <ac:cxnSpMk id="12" creationId="{B430EA56-A5D1-1778-5110-CF4C7B8342A0}"/>
          </ac:cxnSpMkLst>
        </pc:cxnChg>
        <pc:cxnChg chg="add del mod ord replST">
          <ac:chgData name="Wenwen Zhang" userId="9dd81366-5d6f-445a-b031-6ea562624431" providerId="ADAL" clId="{3909E7CC-5EA5-469C-9AFF-9A201E30CD9D}" dt="2022-12-05T22:29:59.161" v="15487"/>
          <ac:cxnSpMkLst>
            <pc:docMk/>
            <pc:sldMk cId="2564188142" sldId="2134804362"/>
            <ac:cxnSpMk id="13" creationId="{940909D4-D0B6-BDAE-F168-216B00255AB6}"/>
          </ac:cxnSpMkLst>
        </pc:cxnChg>
        <pc:cxnChg chg="add del mod ord replST">
          <ac:chgData name="Wenwen Zhang" userId="9dd81366-5d6f-445a-b031-6ea562624431" providerId="ADAL" clId="{3909E7CC-5EA5-469C-9AFF-9A201E30CD9D}" dt="2022-12-05T22:29:59.161" v="15487"/>
          <ac:cxnSpMkLst>
            <pc:docMk/>
            <pc:sldMk cId="2564188142" sldId="2134804362"/>
            <ac:cxnSpMk id="14" creationId="{62808A40-91E9-198F-6769-D975D0125A16}"/>
          </ac:cxnSpMkLst>
        </pc:cxnChg>
        <pc:cxnChg chg="add del mod ord replST">
          <ac:chgData name="Wenwen Zhang" userId="9dd81366-5d6f-445a-b031-6ea562624431" providerId="ADAL" clId="{3909E7CC-5EA5-469C-9AFF-9A201E30CD9D}" dt="2022-12-05T22:29:59.161" v="15487"/>
          <ac:cxnSpMkLst>
            <pc:docMk/>
            <pc:sldMk cId="2564188142" sldId="2134804362"/>
            <ac:cxnSpMk id="15" creationId="{484A94C8-6590-30A0-9820-6D5D6F588DC6}"/>
          </ac:cxnSpMkLst>
        </pc:cxnChg>
        <pc:cxnChg chg="add del mod ord replST">
          <ac:chgData name="Wenwen Zhang" userId="9dd81366-5d6f-445a-b031-6ea562624431" providerId="ADAL" clId="{3909E7CC-5EA5-469C-9AFF-9A201E30CD9D}" dt="2022-12-05T22:29:59.161" v="15487"/>
          <ac:cxnSpMkLst>
            <pc:docMk/>
            <pc:sldMk cId="2564188142" sldId="2134804362"/>
            <ac:cxnSpMk id="16" creationId="{4C5D7DCC-AA9E-C9F5-4E0F-27AAC880AF38}"/>
          </ac:cxnSpMkLst>
        </pc:cxnChg>
        <pc:cxnChg chg="add del mod ord replST">
          <ac:chgData name="Wenwen Zhang" userId="9dd81366-5d6f-445a-b031-6ea562624431" providerId="ADAL" clId="{3909E7CC-5EA5-469C-9AFF-9A201E30CD9D}" dt="2022-12-05T22:29:59.161" v="15487"/>
          <ac:cxnSpMkLst>
            <pc:docMk/>
            <pc:sldMk cId="2564188142" sldId="2134804362"/>
            <ac:cxnSpMk id="17" creationId="{296411F1-362B-3A16-C103-34A7730638E8}"/>
          </ac:cxnSpMkLst>
        </pc:cxnChg>
        <pc:cxnChg chg="add del mod ord replST">
          <ac:chgData name="Wenwen Zhang" userId="9dd81366-5d6f-445a-b031-6ea562624431" providerId="ADAL" clId="{3909E7CC-5EA5-469C-9AFF-9A201E30CD9D}" dt="2022-12-05T22:29:59.161" v="15487"/>
          <ac:cxnSpMkLst>
            <pc:docMk/>
            <pc:sldMk cId="2564188142" sldId="2134804362"/>
            <ac:cxnSpMk id="18" creationId="{54D48874-C929-AA3D-76C1-669A4A305913}"/>
          </ac:cxnSpMkLst>
        </pc:cxnChg>
        <pc:cxnChg chg="add del mod ord replST">
          <ac:chgData name="Wenwen Zhang" userId="9dd81366-5d6f-445a-b031-6ea562624431" providerId="ADAL" clId="{3909E7CC-5EA5-469C-9AFF-9A201E30CD9D}" dt="2022-12-05T22:29:59.161" v="15487"/>
          <ac:cxnSpMkLst>
            <pc:docMk/>
            <pc:sldMk cId="2564188142" sldId="2134804362"/>
            <ac:cxnSpMk id="38" creationId="{31D88083-1200-BE3E-A1CB-6060E7A79DBA}"/>
          </ac:cxnSpMkLst>
        </pc:cxnChg>
        <pc:cxnChg chg="add del mod ord replST">
          <ac:chgData name="Wenwen Zhang" userId="9dd81366-5d6f-445a-b031-6ea562624431" providerId="ADAL" clId="{3909E7CC-5EA5-469C-9AFF-9A201E30CD9D}" dt="2022-12-05T22:29:59.161" v="15487"/>
          <ac:cxnSpMkLst>
            <pc:docMk/>
            <pc:sldMk cId="2564188142" sldId="2134804362"/>
            <ac:cxnSpMk id="39" creationId="{B7E48465-1BF7-5596-5306-52104A8A13A2}"/>
          </ac:cxnSpMkLst>
        </pc:cxnChg>
        <pc:cxnChg chg="add del mod ord replST">
          <ac:chgData name="Wenwen Zhang" userId="9dd81366-5d6f-445a-b031-6ea562624431" providerId="ADAL" clId="{3909E7CC-5EA5-469C-9AFF-9A201E30CD9D}" dt="2022-12-05T22:29:59.161" v="15487"/>
          <ac:cxnSpMkLst>
            <pc:docMk/>
            <pc:sldMk cId="2564188142" sldId="2134804362"/>
            <ac:cxnSpMk id="40" creationId="{22FCB09E-6711-38D6-570F-F45CB8F640A1}"/>
          </ac:cxnSpMkLst>
        </pc:cxnChg>
        <pc:cxnChg chg="add del mod ord replST">
          <ac:chgData name="Wenwen Zhang" userId="9dd81366-5d6f-445a-b031-6ea562624431" providerId="ADAL" clId="{3909E7CC-5EA5-469C-9AFF-9A201E30CD9D}" dt="2022-12-05T22:29:59.161" v="15487"/>
          <ac:cxnSpMkLst>
            <pc:docMk/>
            <pc:sldMk cId="2564188142" sldId="2134804362"/>
            <ac:cxnSpMk id="44" creationId="{B877B82C-FE0C-3D4A-E172-60FC44493844}"/>
          </ac:cxnSpMkLst>
        </pc:cxnChg>
        <pc:cxnChg chg="add del mod ord replST">
          <ac:chgData name="Wenwen Zhang" userId="9dd81366-5d6f-445a-b031-6ea562624431" providerId="ADAL" clId="{3909E7CC-5EA5-469C-9AFF-9A201E30CD9D}" dt="2022-12-05T22:29:59.161" v="15487"/>
          <ac:cxnSpMkLst>
            <pc:docMk/>
            <pc:sldMk cId="2564188142" sldId="2134804362"/>
            <ac:cxnSpMk id="45" creationId="{9196E2CB-8366-8D88-8DB1-999F6C20314A}"/>
          </ac:cxnSpMkLst>
        </pc:cxnChg>
        <pc:cxnChg chg="add del mod ord replST">
          <ac:chgData name="Wenwen Zhang" userId="9dd81366-5d6f-445a-b031-6ea562624431" providerId="ADAL" clId="{3909E7CC-5EA5-469C-9AFF-9A201E30CD9D}" dt="2022-12-06T09:06:11.777" v="19414"/>
          <ac:cxnSpMkLst>
            <pc:docMk/>
            <pc:sldMk cId="2564188142" sldId="2134804362"/>
            <ac:cxnSpMk id="50" creationId="{1EBA2EA8-8B2F-700A-3FD4-AEEAD52E9412}"/>
          </ac:cxnSpMkLst>
        </pc:cxnChg>
        <pc:cxnChg chg="add del mod ord replST">
          <ac:chgData name="Wenwen Zhang" userId="9dd81366-5d6f-445a-b031-6ea562624431" providerId="ADAL" clId="{3909E7CC-5EA5-469C-9AFF-9A201E30CD9D}" dt="2022-12-06T09:06:11.779" v="19423"/>
          <ac:cxnSpMkLst>
            <pc:docMk/>
            <pc:sldMk cId="2564188142" sldId="2134804362"/>
            <ac:cxnSpMk id="51" creationId="{613F19B9-CCD8-C0A7-29FB-34ECC2061A30}"/>
          </ac:cxnSpMkLst>
        </pc:cxnChg>
        <pc:cxnChg chg="add del mod ord replST">
          <ac:chgData name="Wenwen Zhang" userId="9dd81366-5d6f-445a-b031-6ea562624431" providerId="ADAL" clId="{3909E7CC-5EA5-469C-9AFF-9A201E30CD9D}" dt="2022-12-06T09:06:11.782" v="19435"/>
          <ac:cxnSpMkLst>
            <pc:docMk/>
            <pc:sldMk cId="2564188142" sldId="2134804362"/>
            <ac:cxnSpMk id="52" creationId="{457AA314-D4C7-275C-F2F1-00FB02E95728}"/>
          </ac:cxnSpMkLst>
        </pc:cxnChg>
        <pc:cxnChg chg="add del mod ord replST">
          <ac:chgData name="Wenwen Zhang" userId="9dd81366-5d6f-445a-b031-6ea562624431" providerId="ADAL" clId="{3909E7CC-5EA5-469C-9AFF-9A201E30CD9D}" dt="2022-12-06T09:06:11.780" v="19429"/>
          <ac:cxnSpMkLst>
            <pc:docMk/>
            <pc:sldMk cId="2564188142" sldId="2134804362"/>
            <ac:cxnSpMk id="53" creationId="{21D047F9-C089-5552-D21D-3D7AB20EBA26}"/>
          </ac:cxnSpMkLst>
        </pc:cxnChg>
        <pc:cxnChg chg="add del mod ord replST">
          <ac:chgData name="Wenwen Zhang" userId="9dd81366-5d6f-445a-b031-6ea562624431" providerId="ADAL" clId="{3909E7CC-5EA5-469C-9AFF-9A201E30CD9D}" dt="2022-12-06T09:06:11.776" v="19405"/>
          <ac:cxnSpMkLst>
            <pc:docMk/>
            <pc:sldMk cId="2564188142" sldId="2134804362"/>
            <ac:cxnSpMk id="54" creationId="{7126B783-6E4F-DFEE-01DA-E68C1C88318A}"/>
          </ac:cxnSpMkLst>
        </pc:cxnChg>
        <pc:cxnChg chg="add del mod ord replST">
          <ac:chgData name="Wenwen Zhang" userId="9dd81366-5d6f-445a-b031-6ea562624431" providerId="ADAL" clId="{3909E7CC-5EA5-469C-9AFF-9A201E30CD9D}" dt="2022-12-06T09:06:11.780" v="19426"/>
          <ac:cxnSpMkLst>
            <pc:docMk/>
            <pc:sldMk cId="2564188142" sldId="2134804362"/>
            <ac:cxnSpMk id="55" creationId="{6F41F7AC-D0AF-7480-86C4-6DD6A0D74CF5}"/>
          </ac:cxnSpMkLst>
        </pc:cxnChg>
        <pc:cxnChg chg="add del mod ord replST">
          <ac:chgData name="Wenwen Zhang" userId="9dd81366-5d6f-445a-b031-6ea562624431" providerId="ADAL" clId="{3909E7CC-5EA5-469C-9AFF-9A201E30CD9D}" dt="2022-12-06T09:06:11.774" v="19396"/>
          <ac:cxnSpMkLst>
            <pc:docMk/>
            <pc:sldMk cId="2564188142" sldId="2134804362"/>
            <ac:cxnSpMk id="56" creationId="{739CBEF2-6A81-5BC1-2FE4-A05652CC026A}"/>
          </ac:cxnSpMkLst>
        </pc:cxnChg>
        <pc:cxnChg chg="add del mod ord replST">
          <ac:chgData name="Wenwen Zhang" userId="9dd81366-5d6f-445a-b031-6ea562624431" providerId="ADAL" clId="{3909E7CC-5EA5-469C-9AFF-9A201E30CD9D}" dt="2022-12-06T09:06:11.783" v="19441"/>
          <ac:cxnSpMkLst>
            <pc:docMk/>
            <pc:sldMk cId="2564188142" sldId="2134804362"/>
            <ac:cxnSpMk id="57" creationId="{C42FF9E9-3F3F-209C-8DA4-192BB630DC18}"/>
          </ac:cxnSpMkLst>
        </pc:cxnChg>
        <pc:cxnChg chg="add del mod ord replST">
          <ac:chgData name="Wenwen Zhang" userId="9dd81366-5d6f-445a-b031-6ea562624431" providerId="ADAL" clId="{3909E7CC-5EA5-469C-9AFF-9A201E30CD9D}" dt="2022-12-06T09:06:11.780" v="19432"/>
          <ac:cxnSpMkLst>
            <pc:docMk/>
            <pc:sldMk cId="2564188142" sldId="2134804362"/>
            <ac:cxnSpMk id="58" creationId="{438BB540-F38D-E804-2491-FA03D8F59B9F}"/>
          </ac:cxnSpMkLst>
        </pc:cxnChg>
        <pc:cxnChg chg="add del mod ord replST">
          <ac:chgData name="Wenwen Zhang" userId="9dd81366-5d6f-445a-b031-6ea562624431" providerId="ADAL" clId="{3909E7CC-5EA5-469C-9AFF-9A201E30CD9D}" dt="2022-12-06T09:06:11.778" v="19417"/>
          <ac:cxnSpMkLst>
            <pc:docMk/>
            <pc:sldMk cId="2564188142" sldId="2134804362"/>
            <ac:cxnSpMk id="59" creationId="{6E0EA138-885B-8A97-EA30-0078361BBFF8}"/>
          </ac:cxnSpMkLst>
        </pc:cxnChg>
        <pc:cxnChg chg="add del mod ord replST">
          <ac:chgData name="Wenwen Zhang" userId="9dd81366-5d6f-445a-b031-6ea562624431" providerId="ADAL" clId="{3909E7CC-5EA5-469C-9AFF-9A201E30CD9D}" dt="2022-12-06T09:06:11.775" v="19402"/>
          <ac:cxnSpMkLst>
            <pc:docMk/>
            <pc:sldMk cId="2564188142" sldId="2134804362"/>
            <ac:cxnSpMk id="60" creationId="{E7B06BAB-DF9C-4F80-F237-99EABC8320BD}"/>
          </ac:cxnSpMkLst>
        </pc:cxnChg>
        <pc:cxnChg chg="add del mod ord replST">
          <ac:chgData name="Wenwen Zhang" userId="9dd81366-5d6f-445a-b031-6ea562624431" providerId="ADAL" clId="{3909E7CC-5EA5-469C-9AFF-9A201E30CD9D}" dt="2022-12-06T09:06:11.782" v="19438"/>
          <ac:cxnSpMkLst>
            <pc:docMk/>
            <pc:sldMk cId="2564188142" sldId="2134804362"/>
            <ac:cxnSpMk id="61" creationId="{FCBBA440-D02C-BFE3-0521-106CE6506280}"/>
          </ac:cxnSpMkLst>
        </pc:cxnChg>
        <pc:cxnChg chg="add del mod ord replST">
          <ac:chgData name="Wenwen Zhang" userId="9dd81366-5d6f-445a-b031-6ea562624431" providerId="ADAL" clId="{3909E7CC-5EA5-469C-9AFF-9A201E30CD9D}" dt="2022-12-06T09:06:11.776" v="19408"/>
          <ac:cxnSpMkLst>
            <pc:docMk/>
            <pc:sldMk cId="2564188142" sldId="2134804362"/>
            <ac:cxnSpMk id="62" creationId="{7765B1C3-96D6-54D1-8269-1CE06C596FB2}"/>
          </ac:cxnSpMkLst>
        </pc:cxnChg>
        <pc:cxnChg chg="add del mod ord replST">
          <ac:chgData name="Wenwen Zhang" userId="9dd81366-5d6f-445a-b031-6ea562624431" providerId="ADAL" clId="{3909E7CC-5EA5-469C-9AFF-9A201E30CD9D}" dt="2022-12-06T09:06:11.777" v="19411"/>
          <ac:cxnSpMkLst>
            <pc:docMk/>
            <pc:sldMk cId="2564188142" sldId="2134804362"/>
            <ac:cxnSpMk id="63" creationId="{B1FD4D10-0241-020B-6E17-1C1A01ABC871}"/>
          </ac:cxnSpMkLst>
        </pc:cxnChg>
        <pc:cxnChg chg="add del mod ord replST">
          <ac:chgData name="Wenwen Zhang" userId="9dd81366-5d6f-445a-b031-6ea562624431" providerId="ADAL" clId="{3909E7CC-5EA5-469C-9AFF-9A201E30CD9D}" dt="2022-12-06T09:06:11.779" v="19420"/>
          <ac:cxnSpMkLst>
            <pc:docMk/>
            <pc:sldMk cId="2564188142" sldId="2134804362"/>
            <ac:cxnSpMk id="64" creationId="{56341DC7-204D-70E3-335E-CDD5FD93D610}"/>
          </ac:cxnSpMkLst>
        </pc:cxnChg>
        <pc:cxnChg chg="add del mod ord replST">
          <ac:chgData name="Wenwen Zhang" userId="9dd81366-5d6f-445a-b031-6ea562624431" providerId="ADAL" clId="{3909E7CC-5EA5-469C-9AFF-9A201E30CD9D}" dt="2022-12-06T09:06:11.775" v="19399"/>
          <ac:cxnSpMkLst>
            <pc:docMk/>
            <pc:sldMk cId="2564188142" sldId="2134804362"/>
            <ac:cxnSpMk id="65" creationId="{C30863E9-C97F-FEB2-28E0-E765D7F0ED52}"/>
          </ac:cxnSpMkLst>
        </pc:cxnChg>
        <pc:cxnChg chg="add del mod ord replST">
          <ac:chgData name="Wenwen Zhang" userId="9dd81366-5d6f-445a-b031-6ea562624431" providerId="ADAL" clId="{3909E7CC-5EA5-469C-9AFF-9A201E30CD9D}" dt="2022-12-06T09:12:19.111" v="39917"/>
          <ac:cxnSpMkLst>
            <pc:docMk/>
            <pc:sldMk cId="2564188142" sldId="2134804362"/>
            <ac:cxnSpMk id="83" creationId="{B4E29599-9F13-6C66-B755-BCB38F036EBA}"/>
          </ac:cxnSpMkLst>
        </pc:cxnChg>
        <pc:cxnChg chg="add del mod ord replST">
          <ac:chgData name="Wenwen Zhang" userId="9dd81366-5d6f-445a-b031-6ea562624431" providerId="ADAL" clId="{3909E7CC-5EA5-469C-9AFF-9A201E30CD9D}" dt="2022-12-06T09:12:19.111" v="39915"/>
          <ac:cxnSpMkLst>
            <pc:docMk/>
            <pc:sldMk cId="2564188142" sldId="2134804362"/>
            <ac:cxnSpMk id="84" creationId="{42FD4A48-F455-61C1-1522-B3306DF1D5D8}"/>
          </ac:cxnSpMkLst>
        </pc:cxnChg>
        <pc:cxnChg chg="add mod ord replST">
          <ac:chgData name="Wenwen Zhang" userId="9dd81366-5d6f-445a-b031-6ea562624431" providerId="ADAL" clId="{3909E7CC-5EA5-469C-9AFF-9A201E30CD9D}" dt="2022-12-06T09:16:20.544" v="43200"/>
          <ac:cxnSpMkLst>
            <pc:docMk/>
            <pc:sldMk cId="2564188142" sldId="2134804362"/>
            <ac:cxnSpMk id="85" creationId="{A81AA825-DAF9-1A0F-861E-FB9C75992094}"/>
          </ac:cxnSpMkLst>
        </pc:cxnChg>
        <pc:cxnChg chg="add mod ord replST">
          <ac:chgData name="Wenwen Zhang" userId="9dd81366-5d6f-445a-b031-6ea562624431" providerId="ADAL" clId="{3909E7CC-5EA5-469C-9AFF-9A201E30CD9D}" dt="2022-12-06T09:16:20.545" v="43205"/>
          <ac:cxnSpMkLst>
            <pc:docMk/>
            <pc:sldMk cId="2564188142" sldId="2134804362"/>
            <ac:cxnSpMk id="88" creationId="{73881464-A6B9-9EFC-F648-87237F0F19B7}"/>
          </ac:cxnSpMkLst>
        </pc:cxnChg>
        <pc:cxnChg chg="add mod ord replST">
          <ac:chgData name="Wenwen Zhang" userId="9dd81366-5d6f-445a-b031-6ea562624431" providerId="ADAL" clId="{3909E7CC-5EA5-469C-9AFF-9A201E30CD9D}" dt="2022-12-06T09:16:20.545" v="43207"/>
          <ac:cxnSpMkLst>
            <pc:docMk/>
            <pc:sldMk cId="2564188142" sldId="2134804362"/>
            <ac:cxnSpMk id="89" creationId="{BFD59649-B8D3-B3A5-031D-E7C270BD299A}"/>
          </ac:cxnSpMkLst>
        </pc:cxnChg>
        <pc:cxnChg chg="add del mod ord">
          <ac:chgData name="Wenwen Zhang" userId="9dd81366-5d6f-445a-b031-6ea562624431" providerId="ADAL" clId="{3909E7CC-5EA5-469C-9AFF-9A201E30CD9D}" dt="2022-12-06T09:10:16.700" v="39683" actId="478"/>
          <ac:cxnSpMkLst>
            <pc:docMk/>
            <pc:sldMk cId="2564188142" sldId="2134804362"/>
            <ac:cxnSpMk id="96" creationId="{C77EAE65-DCBC-9B7D-8308-3BD87BA63679}"/>
          </ac:cxnSpMkLst>
        </pc:cxnChg>
        <pc:cxnChg chg="add mod ord">
          <ac:chgData name="Wenwen Zhang" userId="9dd81366-5d6f-445a-b031-6ea562624431" providerId="ADAL" clId="{3909E7CC-5EA5-469C-9AFF-9A201E30CD9D}" dt="2022-12-06T09:16:20.546" v="43215"/>
          <ac:cxnSpMkLst>
            <pc:docMk/>
            <pc:sldMk cId="2564188142" sldId="2134804362"/>
            <ac:cxnSpMk id="98" creationId="{66FA8896-4BDD-445C-3B2F-AA8F962AEED5}"/>
          </ac:cxnSpMkLst>
        </pc:cxnChg>
        <pc:cxnChg chg="add mod ord">
          <ac:chgData name="Wenwen Zhang" userId="9dd81366-5d6f-445a-b031-6ea562624431" providerId="ADAL" clId="{3909E7CC-5EA5-469C-9AFF-9A201E30CD9D}" dt="2022-12-06T09:16:20.547" v="43219"/>
          <ac:cxnSpMkLst>
            <pc:docMk/>
            <pc:sldMk cId="2564188142" sldId="2134804362"/>
            <ac:cxnSpMk id="100" creationId="{98DC5EAC-0376-1640-32DC-541D50A061EF}"/>
          </ac:cxnSpMkLst>
        </pc:cxnChg>
        <pc:cxnChg chg="add mod ord">
          <ac:chgData name="Wenwen Zhang" userId="9dd81366-5d6f-445a-b031-6ea562624431" providerId="ADAL" clId="{3909E7CC-5EA5-469C-9AFF-9A201E30CD9D}" dt="2022-12-06T09:16:20.547" v="43223"/>
          <ac:cxnSpMkLst>
            <pc:docMk/>
            <pc:sldMk cId="2564188142" sldId="2134804362"/>
            <ac:cxnSpMk id="102" creationId="{D52FF959-F2BD-7A79-4A67-857B62F6D8C8}"/>
          </ac:cxnSpMkLst>
        </pc:cxnChg>
        <pc:cxnChg chg="del">
          <ac:chgData name="Wenwen Zhang" userId="9dd81366-5d6f-445a-b031-6ea562624431" providerId="ADAL" clId="{3909E7CC-5EA5-469C-9AFF-9A201E30CD9D}" dt="2022-12-05T22:05:55.490" v="13535"/>
          <ac:cxnSpMkLst>
            <pc:docMk/>
            <pc:sldMk cId="2564188142" sldId="2134804362"/>
            <ac:cxnSpMk id="108" creationId="{A0F13C74-0AD2-77A7-B9DD-9577B9C430C2}"/>
          </ac:cxnSpMkLst>
        </pc:cxnChg>
        <pc:cxnChg chg="add mod ord">
          <ac:chgData name="Wenwen Zhang" userId="9dd81366-5d6f-445a-b031-6ea562624431" providerId="ADAL" clId="{3909E7CC-5EA5-469C-9AFF-9A201E30CD9D}" dt="2022-12-06T09:16:20.548" v="43227"/>
          <ac:cxnSpMkLst>
            <pc:docMk/>
            <pc:sldMk cId="2564188142" sldId="2134804362"/>
            <ac:cxnSpMk id="109" creationId="{7A3F9DA5-F17E-C493-4912-EBA35BCECB70}"/>
          </ac:cxnSpMkLst>
        </pc:cxnChg>
        <pc:cxnChg chg="del">
          <ac:chgData name="Wenwen Zhang" userId="9dd81366-5d6f-445a-b031-6ea562624431" providerId="ADAL" clId="{3909E7CC-5EA5-469C-9AFF-9A201E30CD9D}" dt="2022-12-05T22:05:55.489" v="13532"/>
          <ac:cxnSpMkLst>
            <pc:docMk/>
            <pc:sldMk cId="2564188142" sldId="2134804362"/>
            <ac:cxnSpMk id="124" creationId="{63582769-525A-4B3F-03CE-DCEC233A6CC4}"/>
          </ac:cxnSpMkLst>
        </pc:cxnChg>
        <pc:cxnChg chg="add del mod ord replST">
          <ac:chgData name="Wenwen Zhang" userId="9dd81366-5d6f-445a-b031-6ea562624431" providerId="ADAL" clId="{3909E7CC-5EA5-469C-9AFF-9A201E30CD9D}" dt="2022-12-06T09:10:10.751" v="38266"/>
          <ac:cxnSpMkLst>
            <pc:docMk/>
            <pc:sldMk cId="2564188142" sldId="2134804362"/>
            <ac:cxnSpMk id="398" creationId="{7ADB9D92-F736-0682-AC5B-05D20AAB2CD1}"/>
          </ac:cxnSpMkLst>
        </pc:cxnChg>
        <pc:cxnChg chg="add del mod ord replST">
          <ac:chgData name="Wenwen Zhang" userId="9dd81366-5d6f-445a-b031-6ea562624431" providerId="ADAL" clId="{3909E7CC-5EA5-469C-9AFF-9A201E30CD9D}" dt="2022-12-06T09:10:10.750" v="38263"/>
          <ac:cxnSpMkLst>
            <pc:docMk/>
            <pc:sldMk cId="2564188142" sldId="2134804362"/>
            <ac:cxnSpMk id="399" creationId="{663E7575-6CB9-F178-1331-63EA48AA777E}"/>
          </ac:cxnSpMkLst>
        </pc:cxnChg>
        <pc:cxnChg chg="add del mod ord replST">
          <ac:chgData name="Wenwen Zhang" userId="9dd81366-5d6f-445a-b031-6ea562624431" providerId="ADAL" clId="{3909E7CC-5EA5-469C-9AFF-9A201E30CD9D}" dt="2022-12-06T09:10:10.748" v="38260"/>
          <ac:cxnSpMkLst>
            <pc:docMk/>
            <pc:sldMk cId="2564188142" sldId="2134804362"/>
            <ac:cxnSpMk id="400" creationId="{ED2DD7F0-F07E-2016-126F-1BFB72D6EFD4}"/>
          </ac:cxnSpMkLst>
        </pc:cxnChg>
        <pc:cxnChg chg="add del mod ord replST">
          <ac:chgData name="Wenwen Zhang" userId="9dd81366-5d6f-445a-b031-6ea562624431" providerId="ADAL" clId="{3909E7CC-5EA5-469C-9AFF-9A201E30CD9D}" dt="2022-12-06T09:10:10.746" v="38257"/>
          <ac:cxnSpMkLst>
            <pc:docMk/>
            <pc:sldMk cId="2564188142" sldId="2134804362"/>
            <ac:cxnSpMk id="401" creationId="{FA9E6398-F5B1-F33A-D7BE-7ED89CB03D32}"/>
          </ac:cxnSpMkLst>
        </pc:cxnChg>
        <pc:cxnChg chg="add mod ord replST">
          <ac:chgData name="Wenwen Zhang" userId="9dd81366-5d6f-445a-b031-6ea562624431" providerId="ADAL" clId="{3909E7CC-5EA5-469C-9AFF-9A201E30CD9D}" dt="2022-12-06T09:16:20.535" v="43149"/>
          <ac:cxnSpMkLst>
            <pc:docMk/>
            <pc:sldMk cId="2564188142" sldId="2134804362"/>
            <ac:cxnSpMk id="402" creationId="{4D8DA9B8-EC47-4F68-212F-15C2F37F762D}"/>
          </ac:cxnSpMkLst>
        </pc:cxnChg>
        <pc:cxnChg chg="add del mod ord replST">
          <ac:chgData name="Wenwen Zhang" userId="9dd81366-5d6f-445a-b031-6ea562624431" providerId="ADAL" clId="{3909E7CC-5EA5-469C-9AFF-9A201E30CD9D}" dt="2022-12-06T09:10:10.744" v="38254"/>
          <ac:cxnSpMkLst>
            <pc:docMk/>
            <pc:sldMk cId="2564188142" sldId="2134804362"/>
            <ac:cxnSpMk id="403" creationId="{8706B9C3-724A-CC69-5B43-BCF1A542513E}"/>
          </ac:cxnSpMkLst>
        </pc:cxnChg>
        <pc:cxnChg chg="add mod ord replST">
          <ac:chgData name="Wenwen Zhang" userId="9dd81366-5d6f-445a-b031-6ea562624431" providerId="ADAL" clId="{3909E7CC-5EA5-469C-9AFF-9A201E30CD9D}" dt="2022-12-06T09:16:20.537" v="43159"/>
          <ac:cxnSpMkLst>
            <pc:docMk/>
            <pc:sldMk cId="2564188142" sldId="2134804362"/>
            <ac:cxnSpMk id="404" creationId="{CBCFFA4B-20D2-D59A-7B85-331C4C42B3CF}"/>
          </ac:cxnSpMkLst>
        </pc:cxnChg>
        <pc:cxnChg chg="add del mod ord replST">
          <ac:chgData name="Wenwen Zhang" userId="9dd81366-5d6f-445a-b031-6ea562624431" providerId="ADAL" clId="{3909E7CC-5EA5-469C-9AFF-9A201E30CD9D}" dt="2022-12-06T09:10:10.742" v="38251"/>
          <ac:cxnSpMkLst>
            <pc:docMk/>
            <pc:sldMk cId="2564188142" sldId="2134804362"/>
            <ac:cxnSpMk id="405" creationId="{46DF8CFC-B73B-F9B3-D173-F323CB4F757E}"/>
          </ac:cxnSpMkLst>
        </pc:cxnChg>
        <pc:cxnChg chg="add mod ord replST">
          <ac:chgData name="Wenwen Zhang" userId="9dd81366-5d6f-445a-b031-6ea562624431" providerId="ADAL" clId="{3909E7CC-5EA5-469C-9AFF-9A201E30CD9D}" dt="2022-12-06T09:16:20.535" v="43147"/>
          <ac:cxnSpMkLst>
            <pc:docMk/>
            <pc:sldMk cId="2564188142" sldId="2134804362"/>
            <ac:cxnSpMk id="406" creationId="{8419D0EB-156F-14C0-822F-3DE614C32B86}"/>
          </ac:cxnSpMkLst>
        </pc:cxnChg>
        <pc:cxnChg chg="add del mod ord replST">
          <ac:chgData name="Wenwen Zhang" userId="9dd81366-5d6f-445a-b031-6ea562624431" providerId="ADAL" clId="{3909E7CC-5EA5-469C-9AFF-9A201E30CD9D}" dt="2022-12-06T09:10:10.740" v="38248"/>
          <ac:cxnSpMkLst>
            <pc:docMk/>
            <pc:sldMk cId="2564188142" sldId="2134804362"/>
            <ac:cxnSpMk id="407" creationId="{69C416A3-DFC5-8E6C-8397-A02F51F97A61}"/>
          </ac:cxnSpMkLst>
        </pc:cxnChg>
        <pc:cxnChg chg="add mod ord replST">
          <ac:chgData name="Wenwen Zhang" userId="9dd81366-5d6f-445a-b031-6ea562624431" providerId="ADAL" clId="{3909E7CC-5EA5-469C-9AFF-9A201E30CD9D}" dt="2022-12-06T09:16:20.537" v="43163"/>
          <ac:cxnSpMkLst>
            <pc:docMk/>
            <pc:sldMk cId="2564188142" sldId="2134804362"/>
            <ac:cxnSpMk id="408" creationId="{4236D9FE-7023-EE92-B5A1-54B269E3FF22}"/>
          </ac:cxnSpMkLst>
        </pc:cxnChg>
        <pc:cxnChg chg="add del mod ord replST">
          <ac:chgData name="Wenwen Zhang" userId="9dd81366-5d6f-445a-b031-6ea562624431" providerId="ADAL" clId="{3909E7CC-5EA5-469C-9AFF-9A201E30CD9D}" dt="2022-12-06T09:10:10.738" v="38245"/>
          <ac:cxnSpMkLst>
            <pc:docMk/>
            <pc:sldMk cId="2564188142" sldId="2134804362"/>
            <ac:cxnSpMk id="409" creationId="{590E8B49-B86F-A450-1B65-CB51AC894CA1}"/>
          </ac:cxnSpMkLst>
        </pc:cxnChg>
        <pc:cxnChg chg="add mod ord replST">
          <ac:chgData name="Wenwen Zhang" userId="9dd81366-5d6f-445a-b031-6ea562624431" providerId="ADAL" clId="{3909E7CC-5EA5-469C-9AFF-9A201E30CD9D}" dt="2022-12-06T09:16:20.537" v="43161"/>
          <ac:cxnSpMkLst>
            <pc:docMk/>
            <pc:sldMk cId="2564188142" sldId="2134804362"/>
            <ac:cxnSpMk id="410" creationId="{B6D1752F-98F6-9A5A-4E9E-0CEDBA7CADF2}"/>
          </ac:cxnSpMkLst>
        </pc:cxnChg>
        <pc:cxnChg chg="add del mod ord replST">
          <ac:chgData name="Wenwen Zhang" userId="9dd81366-5d6f-445a-b031-6ea562624431" providerId="ADAL" clId="{3909E7CC-5EA5-469C-9AFF-9A201E30CD9D}" dt="2022-12-06T09:10:10.736" v="38242"/>
          <ac:cxnSpMkLst>
            <pc:docMk/>
            <pc:sldMk cId="2564188142" sldId="2134804362"/>
            <ac:cxnSpMk id="411" creationId="{7317AE0B-A801-3B03-7C07-ECC22ACBD769}"/>
          </ac:cxnSpMkLst>
        </pc:cxnChg>
        <pc:cxnChg chg="add mod ord replST">
          <ac:chgData name="Wenwen Zhang" userId="9dd81366-5d6f-445a-b031-6ea562624431" providerId="ADAL" clId="{3909E7CC-5EA5-469C-9AFF-9A201E30CD9D}" dt="2022-12-06T09:16:20.538" v="43171"/>
          <ac:cxnSpMkLst>
            <pc:docMk/>
            <pc:sldMk cId="2564188142" sldId="2134804362"/>
            <ac:cxnSpMk id="412" creationId="{A9611B2A-34BC-13BB-98B4-9108D0257A80}"/>
          </ac:cxnSpMkLst>
        </pc:cxnChg>
        <pc:cxnChg chg="add del mod ord replST">
          <ac:chgData name="Wenwen Zhang" userId="9dd81366-5d6f-445a-b031-6ea562624431" providerId="ADAL" clId="{3909E7CC-5EA5-469C-9AFF-9A201E30CD9D}" dt="2022-12-06T09:10:10.733" v="38239"/>
          <ac:cxnSpMkLst>
            <pc:docMk/>
            <pc:sldMk cId="2564188142" sldId="2134804362"/>
            <ac:cxnSpMk id="413" creationId="{9189ED4C-2C1B-EA40-1A66-CD26D11E2D9B}"/>
          </ac:cxnSpMkLst>
        </pc:cxnChg>
        <pc:cxnChg chg="add del mod ord replST">
          <ac:chgData name="Wenwen Zhang" userId="9dd81366-5d6f-445a-b031-6ea562624431" providerId="ADAL" clId="{3909E7CC-5EA5-469C-9AFF-9A201E30CD9D}" dt="2022-12-06T09:07:06.520" v="37403"/>
          <ac:cxnSpMkLst>
            <pc:docMk/>
            <pc:sldMk cId="2564188142" sldId="2134804362"/>
            <ac:cxnSpMk id="414" creationId="{2ECFAB7F-A480-23C7-3955-FEAA312E0213}"/>
          </ac:cxnSpMkLst>
        </pc:cxnChg>
        <pc:cxnChg chg="add mod ord replST">
          <ac:chgData name="Wenwen Zhang" userId="9dd81366-5d6f-445a-b031-6ea562624431" providerId="ADAL" clId="{3909E7CC-5EA5-469C-9AFF-9A201E30CD9D}" dt="2022-12-06T09:16:20.534" v="43141"/>
          <ac:cxnSpMkLst>
            <pc:docMk/>
            <pc:sldMk cId="2564188142" sldId="2134804362"/>
            <ac:cxnSpMk id="441" creationId="{703C6E22-E548-38E5-B7AA-C946101513FE}"/>
          </ac:cxnSpMkLst>
        </pc:cxnChg>
        <pc:cxnChg chg="add mod ord replST">
          <ac:chgData name="Wenwen Zhang" userId="9dd81366-5d6f-445a-b031-6ea562624431" providerId="ADAL" clId="{3909E7CC-5EA5-469C-9AFF-9A201E30CD9D}" dt="2022-12-06T09:16:20.535" v="43143"/>
          <ac:cxnSpMkLst>
            <pc:docMk/>
            <pc:sldMk cId="2564188142" sldId="2134804362"/>
            <ac:cxnSpMk id="442" creationId="{7FDF2007-DEFF-1E08-474A-414AD49F322F}"/>
          </ac:cxnSpMkLst>
        </pc:cxnChg>
        <pc:cxnChg chg="add mod ord replST">
          <ac:chgData name="Wenwen Zhang" userId="9dd81366-5d6f-445a-b031-6ea562624431" providerId="ADAL" clId="{3909E7CC-5EA5-469C-9AFF-9A201E30CD9D}" dt="2022-12-06T09:16:20.536" v="43153"/>
          <ac:cxnSpMkLst>
            <pc:docMk/>
            <pc:sldMk cId="2564188142" sldId="2134804362"/>
            <ac:cxnSpMk id="443" creationId="{9CAFB325-217B-592A-B729-9500A830D4E2}"/>
          </ac:cxnSpMkLst>
        </pc:cxnChg>
        <pc:cxnChg chg="add mod ord replST">
          <ac:chgData name="Wenwen Zhang" userId="9dd81366-5d6f-445a-b031-6ea562624431" providerId="ADAL" clId="{3909E7CC-5EA5-469C-9AFF-9A201E30CD9D}" dt="2022-12-06T09:16:20.534" v="43137"/>
          <ac:cxnSpMkLst>
            <pc:docMk/>
            <pc:sldMk cId="2564188142" sldId="2134804362"/>
            <ac:cxnSpMk id="444" creationId="{1F56DC54-F3DA-66E1-3AAD-448E4A48FFB2}"/>
          </ac:cxnSpMkLst>
        </pc:cxnChg>
        <pc:cxnChg chg="add mod ord replST">
          <ac:chgData name="Wenwen Zhang" userId="9dd81366-5d6f-445a-b031-6ea562624431" providerId="ADAL" clId="{3909E7CC-5EA5-469C-9AFF-9A201E30CD9D}" dt="2022-12-06T09:16:20.536" v="43157"/>
          <ac:cxnSpMkLst>
            <pc:docMk/>
            <pc:sldMk cId="2564188142" sldId="2134804362"/>
            <ac:cxnSpMk id="445" creationId="{DA1552D6-76F5-8C1F-B504-D1FA65B2B15A}"/>
          </ac:cxnSpMkLst>
        </pc:cxnChg>
        <pc:cxnChg chg="add mod ord replST">
          <ac:chgData name="Wenwen Zhang" userId="9dd81366-5d6f-445a-b031-6ea562624431" providerId="ADAL" clId="{3909E7CC-5EA5-469C-9AFF-9A201E30CD9D}" dt="2022-12-06T09:16:20.536" v="43155"/>
          <ac:cxnSpMkLst>
            <pc:docMk/>
            <pc:sldMk cId="2564188142" sldId="2134804362"/>
            <ac:cxnSpMk id="446" creationId="{F134FFB9-50AC-F3CD-B6F7-D032B0AA7FC8}"/>
          </ac:cxnSpMkLst>
        </pc:cxnChg>
        <pc:cxnChg chg="add mod ord replST">
          <ac:chgData name="Wenwen Zhang" userId="9dd81366-5d6f-445a-b031-6ea562624431" providerId="ADAL" clId="{3909E7CC-5EA5-469C-9AFF-9A201E30CD9D}" dt="2022-12-06T09:16:20.536" v="43151"/>
          <ac:cxnSpMkLst>
            <pc:docMk/>
            <pc:sldMk cId="2564188142" sldId="2134804362"/>
            <ac:cxnSpMk id="447" creationId="{56A62DD4-B9F7-FA2B-C120-C65A0109BC19}"/>
          </ac:cxnSpMkLst>
        </pc:cxnChg>
        <pc:cxnChg chg="add mod ord replST">
          <ac:chgData name="Wenwen Zhang" userId="9dd81366-5d6f-445a-b031-6ea562624431" providerId="ADAL" clId="{3909E7CC-5EA5-469C-9AFF-9A201E30CD9D}" dt="2022-12-06T09:16:20.535" v="43145"/>
          <ac:cxnSpMkLst>
            <pc:docMk/>
            <pc:sldMk cId="2564188142" sldId="2134804362"/>
            <ac:cxnSpMk id="448" creationId="{E2D55AA7-0274-7B0F-8D73-9A59A38BE828}"/>
          </ac:cxnSpMkLst>
        </pc:cxnChg>
        <pc:cxnChg chg="add mod ord replST">
          <ac:chgData name="Wenwen Zhang" userId="9dd81366-5d6f-445a-b031-6ea562624431" providerId="ADAL" clId="{3909E7CC-5EA5-469C-9AFF-9A201E30CD9D}" dt="2022-12-06T09:16:20.538" v="43167"/>
          <ac:cxnSpMkLst>
            <pc:docMk/>
            <pc:sldMk cId="2564188142" sldId="2134804362"/>
            <ac:cxnSpMk id="449" creationId="{1AAF5DA3-0BF8-39AA-6CE0-8E5451A2E8C8}"/>
          </ac:cxnSpMkLst>
        </pc:cxnChg>
        <pc:cxnChg chg="add mod ord replST">
          <ac:chgData name="Wenwen Zhang" userId="9dd81366-5d6f-445a-b031-6ea562624431" providerId="ADAL" clId="{3909E7CC-5EA5-469C-9AFF-9A201E30CD9D}" dt="2022-12-06T09:16:20.537" v="43165"/>
          <ac:cxnSpMkLst>
            <pc:docMk/>
            <pc:sldMk cId="2564188142" sldId="2134804362"/>
            <ac:cxnSpMk id="450" creationId="{9FEC988C-579B-2E82-ABFA-300D13B457FC}"/>
          </ac:cxnSpMkLst>
        </pc:cxnChg>
        <pc:cxnChg chg="add mod ord replST">
          <ac:chgData name="Wenwen Zhang" userId="9dd81366-5d6f-445a-b031-6ea562624431" providerId="ADAL" clId="{3909E7CC-5EA5-469C-9AFF-9A201E30CD9D}" dt="2022-12-06T09:16:20.534" v="43139"/>
          <ac:cxnSpMkLst>
            <pc:docMk/>
            <pc:sldMk cId="2564188142" sldId="2134804362"/>
            <ac:cxnSpMk id="451" creationId="{820F1B90-C711-C5BD-ED73-ED7051A9AA7D}"/>
          </ac:cxnSpMkLst>
        </pc:cxnChg>
        <pc:cxnChg chg="add mod ord replST">
          <ac:chgData name="Wenwen Zhang" userId="9dd81366-5d6f-445a-b031-6ea562624431" providerId="ADAL" clId="{3909E7CC-5EA5-469C-9AFF-9A201E30CD9D}" dt="2022-12-06T09:16:20.538" v="43169"/>
          <ac:cxnSpMkLst>
            <pc:docMk/>
            <pc:sldMk cId="2564188142" sldId="2134804362"/>
            <ac:cxnSpMk id="452" creationId="{CF8E414A-F4CF-A3A0-DD67-F59DDD2735E8}"/>
          </ac:cxnSpMkLst>
        </pc:cxnChg>
        <pc:cxnChg chg="add mod ord replST">
          <ac:chgData name="Wenwen Zhang" userId="9dd81366-5d6f-445a-b031-6ea562624431" providerId="ADAL" clId="{3909E7CC-5EA5-469C-9AFF-9A201E30CD9D}" dt="2022-12-06T09:16:20.538" v="43173"/>
          <ac:cxnSpMkLst>
            <pc:docMk/>
            <pc:sldMk cId="2564188142" sldId="2134804362"/>
            <ac:cxnSpMk id="453" creationId="{BEEE290C-08CE-667E-DA9B-EEC33E516C13}"/>
          </ac:cxnSpMkLst>
        </pc:cxnChg>
        <pc:cxnChg chg="add del mod ord replST">
          <ac:chgData name="Wenwen Zhang" userId="9dd81366-5d6f-445a-b031-6ea562624431" providerId="ADAL" clId="{3909E7CC-5EA5-469C-9AFF-9A201E30CD9D}" dt="2022-12-06T09:13:03.033" v="40908"/>
          <ac:cxnSpMkLst>
            <pc:docMk/>
            <pc:sldMk cId="2564188142" sldId="2134804362"/>
            <ac:cxnSpMk id="461" creationId="{6CE045B9-C035-B5E9-CBCB-6D333F219E05}"/>
          </ac:cxnSpMkLst>
        </pc:cxnChg>
        <pc:cxnChg chg="add mod ord replST">
          <ac:chgData name="Wenwen Zhang" userId="9dd81366-5d6f-445a-b031-6ea562624431" providerId="ADAL" clId="{3909E7CC-5EA5-469C-9AFF-9A201E30CD9D}" dt="2022-12-06T09:16:20.544" v="43198"/>
          <ac:cxnSpMkLst>
            <pc:docMk/>
            <pc:sldMk cId="2564188142" sldId="2134804362"/>
            <ac:cxnSpMk id="462" creationId="{7963D332-B030-C751-BCCB-69A655A3852F}"/>
          </ac:cxnSpMkLst>
        </pc:cxnChg>
        <pc:cxnChg chg="add mod ord replST">
          <ac:chgData name="Wenwen Zhang" userId="9dd81366-5d6f-445a-b031-6ea562624431" providerId="ADAL" clId="{3909E7CC-5EA5-469C-9AFF-9A201E30CD9D}" dt="2022-12-06T09:16:20.543" v="43196"/>
          <ac:cxnSpMkLst>
            <pc:docMk/>
            <pc:sldMk cId="2564188142" sldId="2134804362"/>
            <ac:cxnSpMk id="463" creationId="{5BB5CF81-0A18-3998-F920-AF547D1FF386}"/>
          </ac:cxnSpMkLst>
        </pc:cxnChg>
      </pc:sldChg>
      <pc:sldChg chg="addSp delSp modSp add del mod ord modNotesTx">
        <pc:chgData name="Wenwen Zhang" userId="9dd81366-5d6f-445a-b031-6ea562624431" providerId="ADAL" clId="{3909E7CC-5EA5-469C-9AFF-9A201E30CD9D}" dt="2022-12-06T18:25:34.262" v="61665" actId="47"/>
        <pc:sldMkLst>
          <pc:docMk/>
          <pc:sldMk cId="889115042" sldId="2134804363"/>
        </pc:sldMkLst>
        <pc:spChg chg="add del mod ord">
          <ac:chgData name="Wenwen Zhang" userId="9dd81366-5d6f-445a-b031-6ea562624431" providerId="ADAL" clId="{3909E7CC-5EA5-469C-9AFF-9A201E30CD9D}" dt="2022-12-06T16:24:44.977" v="50391"/>
          <ac:spMkLst>
            <pc:docMk/>
            <pc:sldMk cId="889115042" sldId="2134804363"/>
            <ac:spMk id="2" creationId="{B065B79C-C4D6-5961-7919-6BB68C420868}"/>
          </ac:spMkLst>
        </pc:spChg>
        <pc:spChg chg="add del mod ord replST">
          <ac:chgData name="Wenwen Zhang" userId="9dd81366-5d6f-445a-b031-6ea562624431" providerId="ADAL" clId="{3909E7CC-5EA5-469C-9AFF-9A201E30CD9D}" dt="2022-12-06T16:57:12.146" v="59286" actId="948"/>
          <ac:spMkLst>
            <pc:docMk/>
            <pc:sldMk cId="889115042" sldId="2134804363"/>
            <ac:spMk id="3" creationId="{96DB64E7-7450-5BAA-7DCA-6F75AE12EF02}"/>
          </ac:spMkLst>
        </pc:spChg>
        <pc:spChg chg="add del mod modVis">
          <ac:chgData name="Wenwen Zhang" userId="9dd81366-5d6f-445a-b031-6ea562624431" providerId="ADAL" clId="{3909E7CC-5EA5-469C-9AFF-9A201E30CD9D}" dt="2022-12-06T11:27:09.626" v="46439"/>
          <ac:spMkLst>
            <pc:docMk/>
            <pc:sldMk cId="889115042" sldId="2134804363"/>
            <ac:spMk id="4" creationId="{7790352A-DE9D-D467-8321-D1BAD36C7336}"/>
          </ac:spMkLst>
        </pc:spChg>
        <pc:spChg chg="add del mod replST">
          <ac:chgData name="Wenwen Zhang" userId="9dd81366-5d6f-445a-b031-6ea562624431" providerId="ADAL" clId="{3909E7CC-5EA5-469C-9AFF-9A201E30CD9D}" dt="2022-12-06T11:28:14.181" v="46616"/>
          <ac:spMkLst>
            <pc:docMk/>
            <pc:sldMk cId="889115042" sldId="2134804363"/>
            <ac:spMk id="5" creationId="{96DB64E7-7450-5BAA-7DCA-6F75AE12EF02}"/>
          </ac:spMkLst>
        </pc:spChg>
        <pc:spChg chg="add del mod ord replST">
          <ac:chgData name="Wenwen Zhang" userId="9dd81366-5d6f-445a-b031-6ea562624431" providerId="ADAL" clId="{3909E7CC-5EA5-469C-9AFF-9A201E30CD9D}" dt="2022-12-06T16:57:12.146" v="59287" actId="948"/>
          <ac:spMkLst>
            <pc:docMk/>
            <pc:sldMk cId="889115042" sldId="2134804363"/>
            <ac:spMk id="6" creationId="{74D7989D-F61F-08AA-F1DD-D123F6DE99B7}"/>
          </ac:spMkLst>
        </pc:spChg>
        <pc:spChg chg="add del mod modVis">
          <ac:chgData name="Wenwen Zhang" userId="9dd81366-5d6f-445a-b031-6ea562624431" providerId="ADAL" clId="{3909E7CC-5EA5-469C-9AFF-9A201E30CD9D}" dt="2022-12-06T11:27:58.336" v="46523"/>
          <ac:spMkLst>
            <pc:docMk/>
            <pc:sldMk cId="889115042" sldId="2134804363"/>
            <ac:spMk id="7" creationId="{92E3E5FD-4FD1-B5A5-CD31-AD3FE083E263}"/>
          </ac:spMkLst>
        </pc:spChg>
        <pc:spChg chg="add del mod ord replST">
          <ac:chgData name="Wenwen Zhang" userId="9dd81366-5d6f-445a-b031-6ea562624431" providerId="ADAL" clId="{3909E7CC-5EA5-469C-9AFF-9A201E30CD9D}" dt="2022-12-06T11:28:14.182" v="46618"/>
          <ac:spMkLst>
            <pc:docMk/>
            <pc:sldMk cId="889115042" sldId="2134804363"/>
            <ac:spMk id="8" creationId="{C8194B47-C842-E2ED-B18F-5A9BD296F3B5}"/>
          </ac:spMkLst>
        </pc:spChg>
        <pc:spChg chg="add del mod modVis">
          <ac:chgData name="Wenwen Zhang" userId="9dd81366-5d6f-445a-b031-6ea562624431" providerId="ADAL" clId="{3909E7CC-5EA5-469C-9AFF-9A201E30CD9D}" dt="2022-12-06T11:28:01.747" v="46613"/>
          <ac:spMkLst>
            <pc:docMk/>
            <pc:sldMk cId="889115042" sldId="2134804363"/>
            <ac:spMk id="9" creationId="{A1EE35E9-3BA3-CC31-6249-B314CB293CAA}"/>
          </ac:spMkLst>
        </pc:spChg>
        <pc:spChg chg="add del mod modVis">
          <ac:chgData name="Wenwen Zhang" userId="9dd81366-5d6f-445a-b031-6ea562624431" providerId="ADAL" clId="{3909E7CC-5EA5-469C-9AFF-9A201E30CD9D}" dt="2022-12-06T11:28:14.297" v="46689"/>
          <ac:spMkLst>
            <pc:docMk/>
            <pc:sldMk cId="889115042" sldId="2134804363"/>
            <ac:spMk id="10" creationId="{FCB9DD46-4E05-AF44-5510-A157AF407768}"/>
          </ac:spMkLst>
        </pc:spChg>
        <pc:spChg chg="add mod replST">
          <ac:chgData name="Wenwen Zhang" userId="9dd81366-5d6f-445a-b031-6ea562624431" providerId="ADAL" clId="{3909E7CC-5EA5-469C-9AFF-9A201E30CD9D}" dt="2022-12-06T11:46:29.607" v="47716"/>
          <ac:spMkLst>
            <pc:docMk/>
            <pc:sldMk cId="889115042" sldId="2134804363"/>
            <ac:spMk id="11" creationId="{A942D490-A4D8-D868-2C0B-38D7282A41B4}"/>
          </ac:spMkLst>
        </pc:spChg>
        <pc:spChg chg="add del mod modVis">
          <ac:chgData name="Wenwen Zhang" userId="9dd81366-5d6f-445a-b031-6ea562624431" providerId="ADAL" clId="{3909E7CC-5EA5-469C-9AFF-9A201E30CD9D}" dt="2022-12-06T11:46:29.607" v="47716"/>
          <ac:spMkLst>
            <pc:docMk/>
            <pc:sldMk cId="889115042" sldId="2134804363"/>
            <ac:spMk id="12" creationId="{412425BC-E78F-DB4D-C948-BBFC14702577}"/>
          </ac:spMkLst>
        </pc:spChg>
        <pc:spChg chg="add del mod replST">
          <ac:chgData name="Wenwen Zhang" userId="9dd81366-5d6f-445a-b031-6ea562624431" providerId="ADAL" clId="{3909E7CC-5EA5-469C-9AFF-9A201E30CD9D}" dt="2022-12-06T16:57:12.147" v="59288" actId="948"/>
          <ac:spMkLst>
            <pc:docMk/>
            <pc:sldMk cId="889115042" sldId="2134804363"/>
            <ac:spMk id="13" creationId="{BD1157A2-BBCE-2A86-3D8A-E084224BBDC7}"/>
          </ac:spMkLst>
        </pc:spChg>
        <pc:spChg chg="add del mod replST">
          <ac:chgData name="Wenwen Zhang" userId="9dd81366-5d6f-445a-b031-6ea562624431" providerId="ADAL" clId="{3909E7CC-5EA5-469C-9AFF-9A201E30CD9D}" dt="2022-12-06T16:57:12.148" v="59289"/>
          <ac:spMkLst>
            <pc:docMk/>
            <pc:sldMk cId="889115042" sldId="2134804363"/>
            <ac:spMk id="14" creationId="{1E8D4857-4842-D6D3-534F-E0C4AAA507EC}"/>
          </ac:spMkLst>
        </pc:spChg>
        <pc:spChg chg="add del mod modVis">
          <ac:chgData name="Wenwen Zhang" userId="9dd81366-5d6f-445a-b031-6ea562624431" providerId="ADAL" clId="{3909E7CC-5EA5-469C-9AFF-9A201E30CD9D}" dt="2022-12-06T11:46:32.708" v="47826"/>
          <ac:spMkLst>
            <pc:docMk/>
            <pc:sldMk cId="889115042" sldId="2134804363"/>
            <ac:spMk id="15" creationId="{E190FC7E-19DB-BA6C-6844-15A21F036F9B}"/>
          </ac:spMkLst>
        </pc:spChg>
        <pc:spChg chg="add del mod modVis">
          <ac:chgData name="Wenwen Zhang" userId="9dd81366-5d6f-445a-b031-6ea562624431" providerId="ADAL" clId="{3909E7CC-5EA5-469C-9AFF-9A201E30CD9D}" dt="2022-12-06T16:23:32.924" v="49720"/>
          <ac:spMkLst>
            <pc:docMk/>
            <pc:sldMk cId="889115042" sldId="2134804363"/>
            <ac:spMk id="16" creationId="{13F145EC-7F34-6537-59BC-045FA6B7C7FB}"/>
          </ac:spMkLst>
        </pc:spChg>
        <pc:spChg chg="add del mod modVis">
          <ac:chgData name="Wenwen Zhang" userId="9dd81366-5d6f-445a-b031-6ea562624431" providerId="ADAL" clId="{3909E7CC-5EA5-469C-9AFF-9A201E30CD9D}" dt="2022-12-06T16:23:34.141" v="49773"/>
          <ac:spMkLst>
            <pc:docMk/>
            <pc:sldMk cId="889115042" sldId="2134804363"/>
            <ac:spMk id="17" creationId="{02FD346C-99F9-FBA9-359C-55E2CB331059}"/>
          </ac:spMkLst>
        </pc:spChg>
        <pc:spChg chg="add del mod modVis">
          <ac:chgData name="Wenwen Zhang" userId="9dd81366-5d6f-445a-b031-6ea562624431" providerId="ADAL" clId="{3909E7CC-5EA5-469C-9AFF-9A201E30CD9D}" dt="2022-12-06T16:23:35.279" v="49820"/>
          <ac:spMkLst>
            <pc:docMk/>
            <pc:sldMk cId="889115042" sldId="2134804363"/>
            <ac:spMk id="18" creationId="{26FB125F-A07A-9569-987C-6AA48DCD45BD}"/>
          </ac:spMkLst>
        </pc:spChg>
        <pc:spChg chg="add del mod modVis">
          <ac:chgData name="Wenwen Zhang" userId="9dd81366-5d6f-445a-b031-6ea562624431" providerId="ADAL" clId="{3909E7CC-5EA5-469C-9AFF-9A201E30CD9D}" dt="2022-12-06T16:23:38.176" v="49868"/>
          <ac:spMkLst>
            <pc:docMk/>
            <pc:sldMk cId="889115042" sldId="2134804363"/>
            <ac:spMk id="19" creationId="{F34D6A90-05E2-C067-44CA-04135F41DA74}"/>
          </ac:spMkLst>
        </pc:spChg>
        <pc:spChg chg="add del mod modVis">
          <ac:chgData name="Wenwen Zhang" userId="9dd81366-5d6f-445a-b031-6ea562624431" providerId="ADAL" clId="{3909E7CC-5EA5-469C-9AFF-9A201E30CD9D}" dt="2022-12-06T16:23:40.303" v="49944"/>
          <ac:spMkLst>
            <pc:docMk/>
            <pc:sldMk cId="889115042" sldId="2134804363"/>
            <ac:spMk id="20" creationId="{13E79CD3-499F-BD0E-BEC1-481E2F5E2216}"/>
          </ac:spMkLst>
        </pc:spChg>
        <pc:spChg chg="add del mod modVis">
          <ac:chgData name="Wenwen Zhang" userId="9dd81366-5d6f-445a-b031-6ea562624431" providerId="ADAL" clId="{3909E7CC-5EA5-469C-9AFF-9A201E30CD9D}" dt="2022-12-06T16:23:41.418" v="50011"/>
          <ac:spMkLst>
            <pc:docMk/>
            <pc:sldMk cId="889115042" sldId="2134804363"/>
            <ac:spMk id="21" creationId="{1154AA60-299C-0104-2151-981BCA9D54BB}"/>
          </ac:spMkLst>
        </pc:spChg>
        <pc:spChg chg="add del mod modVis">
          <ac:chgData name="Wenwen Zhang" userId="9dd81366-5d6f-445a-b031-6ea562624431" providerId="ADAL" clId="{3909E7CC-5EA5-469C-9AFF-9A201E30CD9D}" dt="2022-12-06T16:23:43.925" v="50077"/>
          <ac:spMkLst>
            <pc:docMk/>
            <pc:sldMk cId="889115042" sldId="2134804363"/>
            <ac:spMk id="22" creationId="{025B8701-ECE2-75D1-9F36-500B38BE4247}"/>
          </ac:spMkLst>
        </pc:spChg>
        <pc:spChg chg="add del mod modVis">
          <ac:chgData name="Wenwen Zhang" userId="9dd81366-5d6f-445a-b031-6ea562624431" providerId="ADAL" clId="{3909E7CC-5EA5-469C-9AFF-9A201E30CD9D}" dt="2022-12-06T16:23:44.657" v="50142"/>
          <ac:spMkLst>
            <pc:docMk/>
            <pc:sldMk cId="889115042" sldId="2134804363"/>
            <ac:spMk id="23" creationId="{6F31D481-19A6-3191-B6D4-0830D3F79FBB}"/>
          </ac:spMkLst>
        </pc:spChg>
        <pc:spChg chg="add del mod modVis">
          <ac:chgData name="Wenwen Zhang" userId="9dd81366-5d6f-445a-b031-6ea562624431" providerId="ADAL" clId="{3909E7CC-5EA5-469C-9AFF-9A201E30CD9D}" dt="2022-12-06T16:23:45.657" v="50208"/>
          <ac:spMkLst>
            <pc:docMk/>
            <pc:sldMk cId="889115042" sldId="2134804363"/>
            <ac:spMk id="24" creationId="{C4DAF503-D3F5-C52F-795F-F838DE33BB4E}"/>
          </ac:spMkLst>
        </pc:spChg>
        <pc:spChg chg="add del mod modVis">
          <ac:chgData name="Wenwen Zhang" userId="9dd81366-5d6f-445a-b031-6ea562624431" providerId="ADAL" clId="{3909E7CC-5EA5-469C-9AFF-9A201E30CD9D}" dt="2022-12-06T16:23:47.703" v="50279"/>
          <ac:spMkLst>
            <pc:docMk/>
            <pc:sldMk cId="889115042" sldId="2134804363"/>
            <ac:spMk id="25" creationId="{69E6E830-6A29-0826-E77B-70F0BB4AE469}"/>
          </ac:spMkLst>
        </pc:spChg>
        <pc:spChg chg="add del mod replST">
          <ac:chgData name="Wenwen Zhang" userId="9dd81366-5d6f-445a-b031-6ea562624431" providerId="ADAL" clId="{3909E7CC-5EA5-469C-9AFF-9A201E30CD9D}" dt="2022-12-06T16:57:12.149" v="59290" actId="948"/>
          <ac:spMkLst>
            <pc:docMk/>
            <pc:sldMk cId="889115042" sldId="2134804363"/>
            <ac:spMk id="26" creationId="{14CE96EE-B60C-A24E-22C2-D39D5571CEA7}"/>
          </ac:spMkLst>
        </pc:spChg>
        <pc:spChg chg="add del mod modVis">
          <ac:chgData name="Wenwen Zhang" userId="9dd81366-5d6f-445a-b031-6ea562624431" providerId="ADAL" clId="{3909E7CC-5EA5-469C-9AFF-9A201E30CD9D}" dt="2022-12-06T16:24:39.414" v="50357"/>
          <ac:spMkLst>
            <pc:docMk/>
            <pc:sldMk cId="889115042" sldId="2134804363"/>
            <ac:spMk id="27" creationId="{735AE763-0232-8855-6466-3AE2D86002A8}"/>
          </ac:spMkLst>
        </pc:spChg>
        <pc:spChg chg="add del mod ord">
          <ac:chgData name="Wenwen Zhang" userId="9dd81366-5d6f-445a-b031-6ea562624431" providerId="ADAL" clId="{3909E7CC-5EA5-469C-9AFF-9A201E30CD9D}" dt="2022-12-06T16:24:44.977" v="50391"/>
          <ac:spMkLst>
            <pc:docMk/>
            <pc:sldMk cId="889115042" sldId="2134804363"/>
            <ac:spMk id="29" creationId="{D50B6CAA-A666-5524-85F7-444C607F0970}"/>
          </ac:spMkLst>
        </pc:spChg>
        <pc:spChg chg="add del mod modVis">
          <ac:chgData name="Wenwen Zhang" userId="9dd81366-5d6f-445a-b031-6ea562624431" providerId="ADAL" clId="{3909E7CC-5EA5-469C-9AFF-9A201E30CD9D}" dt="2022-12-06T16:24:56.805" v="50468"/>
          <ac:spMkLst>
            <pc:docMk/>
            <pc:sldMk cId="889115042" sldId="2134804363"/>
            <ac:spMk id="30" creationId="{20C578AE-9FCE-28F1-8D22-6F9F06978BDF}"/>
          </ac:spMkLst>
        </pc:spChg>
        <pc:spChg chg="add del mod modVis">
          <ac:chgData name="Wenwen Zhang" userId="9dd81366-5d6f-445a-b031-6ea562624431" providerId="ADAL" clId="{3909E7CC-5EA5-469C-9AFF-9A201E30CD9D}" dt="2022-12-06T16:25:01.548" v="50542"/>
          <ac:spMkLst>
            <pc:docMk/>
            <pc:sldMk cId="889115042" sldId="2134804363"/>
            <ac:spMk id="31" creationId="{D58912F7-C057-6B42-9BA2-045C6C6E8378}"/>
          </ac:spMkLst>
        </pc:spChg>
        <pc:spChg chg="add del mod modVis">
          <ac:chgData name="Wenwen Zhang" userId="9dd81366-5d6f-445a-b031-6ea562624431" providerId="ADAL" clId="{3909E7CC-5EA5-469C-9AFF-9A201E30CD9D}" dt="2022-12-06T16:25:02.681" v="50613"/>
          <ac:spMkLst>
            <pc:docMk/>
            <pc:sldMk cId="889115042" sldId="2134804363"/>
            <ac:spMk id="32" creationId="{F519928B-4D8D-6678-5CFD-988057904036}"/>
          </ac:spMkLst>
        </pc:spChg>
        <pc:spChg chg="add del mod modVis">
          <ac:chgData name="Wenwen Zhang" userId="9dd81366-5d6f-445a-b031-6ea562624431" providerId="ADAL" clId="{3909E7CC-5EA5-469C-9AFF-9A201E30CD9D}" dt="2022-12-06T16:25:03.537" v="50683"/>
          <ac:spMkLst>
            <pc:docMk/>
            <pc:sldMk cId="889115042" sldId="2134804363"/>
            <ac:spMk id="33" creationId="{499A4DED-64C3-4641-42A4-838C9B772062}"/>
          </ac:spMkLst>
        </pc:spChg>
        <pc:spChg chg="add del mod modVis">
          <ac:chgData name="Wenwen Zhang" userId="9dd81366-5d6f-445a-b031-6ea562624431" providerId="ADAL" clId="{3909E7CC-5EA5-469C-9AFF-9A201E30CD9D}" dt="2022-12-06T16:25:06.120" v="50738"/>
          <ac:spMkLst>
            <pc:docMk/>
            <pc:sldMk cId="889115042" sldId="2134804363"/>
            <ac:spMk id="34" creationId="{F4926F7E-2596-7065-7F94-514D73245EF5}"/>
          </ac:spMkLst>
        </pc:spChg>
        <pc:spChg chg="add del mod modVis">
          <ac:chgData name="Wenwen Zhang" userId="9dd81366-5d6f-445a-b031-6ea562624431" providerId="ADAL" clId="{3909E7CC-5EA5-469C-9AFF-9A201E30CD9D}" dt="2022-12-06T16:25:13.961" v="50808"/>
          <ac:spMkLst>
            <pc:docMk/>
            <pc:sldMk cId="889115042" sldId="2134804363"/>
            <ac:spMk id="35" creationId="{92B38A14-F149-B72D-B9B8-0B73426590A0}"/>
          </ac:spMkLst>
        </pc:spChg>
        <pc:spChg chg="add del mod modVis">
          <ac:chgData name="Wenwen Zhang" userId="9dd81366-5d6f-445a-b031-6ea562624431" providerId="ADAL" clId="{3909E7CC-5EA5-469C-9AFF-9A201E30CD9D}" dt="2022-12-06T16:25:15.019" v="50878"/>
          <ac:spMkLst>
            <pc:docMk/>
            <pc:sldMk cId="889115042" sldId="2134804363"/>
            <ac:spMk id="36" creationId="{820841F0-79EC-49B4-EDCC-0CABC4CD5850}"/>
          </ac:spMkLst>
        </pc:spChg>
        <pc:spChg chg="add del mod modVis">
          <ac:chgData name="Wenwen Zhang" userId="9dd81366-5d6f-445a-b031-6ea562624431" providerId="ADAL" clId="{3909E7CC-5EA5-469C-9AFF-9A201E30CD9D}" dt="2022-12-06T16:25:15.816" v="50948"/>
          <ac:spMkLst>
            <pc:docMk/>
            <pc:sldMk cId="889115042" sldId="2134804363"/>
            <ac:spMk id="37" creationId="{C522BE25-5DF9-D5D9-94E1-88607E5834AE}"/>
          </ac:spMkLst>
        </pc:spChg>
        <pc:spChg chg="add del mod modVis">
          <ac:chgData name="Wenwen Zhang" userId="9dd81366-5d6f-445a-b031-6ea562624431" providerId="ADAL" clId="{3909E7CC-5EA5-469C-9AFF-9A201E30CD9D}" dt="2022-12-06T16:25:16.533" v="51017"/>
          <ac:spMkLst>
            <pc:docMk/>
            <pc:sldMk cId="889115042" sldId="2134804363"/>
            <ac:spMk id="38" creationId="{CFFF3710-50B3-4F41-4FD6-7EC4D83CB225}"/>
          </ac:spMkLst>
        </pc:spChg>
        <pc:spChg chg="add del mod modVis">
          <ac:chgData name="Wenwen Zhang" userId="9dd81366-5d6f-445a-b031-6ea562624431" providerId="ADAL" clId="{3909E7CC-5EA5-469C-9AFF-9A201E30CD9D}" dt="2022-12-06T16:25:16.660" v="51086"/>
          <ac:spMkLst>
            <pc:docMk/>
            <pc:sldMk cId="889115042" sldId="2134804363"/>
            <ac:spMk id="39" creationId="{453F0CB3-A11C-0880-84EF-0E2609FE49CF}"/>
          </ac:spMkLst>
        </pc:spChg>
        <pc:spChg chg="add del mod modVis">
          <ac:chgData name="Wenwen Zhang" userId="9dd81366-5d6f-445a-b031-6ea562624431" providerId="ADAL" clId="{3909E7CC-5EA5-469C-9AFF-9A201E30CD9D}" dt="2022-12-06T16:25:18.170" v="51160"/>
          <ac:spMkLst>
            <pc:docMk/>
            <pc:sldMk cId="889115042" sldId="2134804363"/>
            <ac:spMk id="40" creationId="{98DC9B73-CB96-F532-9767-28B9FCAC4B60}"/>
          </ac:spMkLst>
        </pc:spChg>
        <pc:spChg chg="add del mod modVis">
          <ac:chgData name="Wenwen Zhang" userId="9dd81366-5d6f-445a-b031-6ea562624431" providerId="ADAL" clId="{3909E7CC-5EA5-469C-9AFF-9A201E30CD9D}" dt="2022-12-06T16:25:20.342" v="51235"/>
          <ac:spMkLst>
            <pc:docMk/>
            <pc:sldMk cId="889115042" sldId="2134804363"/>
            <ac:spMk id="41" creationId="{42652A32-87FE-57AC-F8F8-4A7EDAE1C3E3}"/>
          </ac:spMkLst>
        </pc:spChg>
        <pc:spChg chg="add del mod modVis">
          <ac:chgData name="Wenwen Zhang" userId="9dd81366-5d6f-445a-b031-6ea562624431" providerId="ADAL" clId="{3909E7CC-5EA5-469C-9AFF-9A201E30CD9D}" dt="2022-12-06T16:25:24.390" v="51323"/>
          <ac:spMkLst>
            <pc:docMk/>
            <pc:sldMk cId="889115042" sldId="2134804363"/>
            <ac:spMk id="42" creationId="{2DF54A63-7E0C-6954-4799-3008538FB34C}"/>
          </ac:spMkLst>
        </pc:spChg>
        <pc:spChg chg="add del mod ord">
          <ac:chgData name="Wenwen Zhang" userId="9dd81366-5d6f-445a-b031-6ea562624431" providerId="ADAL" clId="{3909E7CC-5EA5-469C-9AFF-9A201E30CD9D}" dt="2022-12-06T16:24:44.977" v="50391"/>
          <ac:spMkLst>
            <pc:docMk/>
            <pc:sldMk cId="889115042" sldId="2134804363"/>
            <ac:spMk id="43" creationId="{C58C7321-3BF7-61DC-5B1A-AD075E56AE05}"/>
          </ac:spMkLst>
        </pc:spChg>
        <pc:spChg chg="add del mod modVis">
          <ac:chgData name="Wenwen Zhang" userId="9dd81366-5d6f-445a-b031-6ea562624431" providerId="ADAL" clId="{3909E7CC-5EA5-469C-9AFF-9A201E30CD9D}" dt="2022-12-06T16:25:25.862" v="51392"/>
          <ac:spMkLst>
            <pc:docMk/>
            <pc:sldMk cId="889115042" sldId="2134804363"/>
            <ac:spMk id="44" creationId="{C322C5BB-DBCB-C351-544C-210BD15FAD44}"/>
          </ac:spMkLst>
        </pc:spChg>
        <pc:spChg chg="add del mod modVis">
          <ac:chgData name="Wenwen Zhang" userId="9dd81366-5d6f-445a-b031-6ea562624431" providerId="ADAL" clId="{3909E7CC-5EA5-469C-9AFF-9A201E30CD9D}" dt="2022-12-06T16:25:27.083" v="51461"/>
          <ac:spMkLst>
            <pc:docMk/>
            <pc:sldMk cId="889115042" sldId="2134804363"/>
            <ac:spMk id="45" creationId="{34543FFC-238A-8183-B204-A8F41F98CA08}"/>
          </ac:spMkLst>
        </pc:spChg>
        <pc:spChg chg="add del mod modVis">
          <ac:chgData name="Wenwen Zhang" userId="9dd81366-5d6f-445a-b031-6ea562624431" providerId="ADAL" clId="{3909E7CC-5EA5-469C-9AFF-9A201E30CD9D}" dt="2022-12-06T16:25:28.778" v="51544"/>
          <ac:spMkLst>
            <pc:docMk/>
            <pc:sldMk cId="889115042" sldId="2134804363"/>
            <ac:spMk id="46" creationId="{F5246321-62DD-615B-4AA1-105379C2FFD1}"/>
          </ac:spMkLst>
        </pc:spChg>
        <pc:spChg chg="add del mod modVis">
          <ac:chgData name="Wenwen Zhang" userId="9dd81366-5d6f-445a-b031-6ea562624431" providerId="ADAL" clId="{3909E7CC-5EA5-469C-9AFF-9A201E30CD9D}" dt="2022-12-06T16:25:31.682" v="51630"/>
          <ac:spMkLst>
            <pc:docMk/>
            <pc:sldMk cId="889115042" sldId="2134804363"/>
            <ac:spMk id="47" creationId="{9B5CA8E0-DAFE-8535-BE01-BA02394B7A14}"/>
          </ac:spMkLst>
        </pc:spChg>
        <pc:spChg chg="add del mod modVis">
          <ac:chgData name="Wenwen Zhang" userId="9dd81366-5d6f-445a-b031-6ea562624431" providerId="ADAL" clId="{3909E7CC-5EA5-469C-9AFF-9A201E30CD9D}" dt="2022-12-06T16:25:33.647" v="51719"/>
          <ac:spMkLst>
            <pc:docMk/>
            <pc:sldMk cId="889115042" sldId="2134804363"/>
            <ac:spMk id="48" creationId="{1CB23D08-371D-705B-D351-5702558A9974}"/>
          </ac:spMkLst>
        </pc:spChg>
        <pc:spChg chg="add del mod modVis">
          <ac:chgData name="Wenwen Zhang" userId="9dd81366-5d6f-445a-b031-6ea562624431" providerId="ADAL" clId="{3909E7CC-5EA5-469C-9AFF-9A201E30CD9D}" dt="2022-12-06T16:25:34.736" v="51803"/>
          <ac:spMkLst>
            <pc:docMk/>
            <pc:sldMk cId="889115042" sldId="2134804363"/>
            <ac:spMk id="49" creationId="{533E4453-0107-D8E5-0895-3C406BCF6766}"/>
          </ac:spMkLst>
        </pc:spChg>
        <pc:spChg chg="add del mod modVis">
          <ac:chgData name="Wenwen Zhang" userId="9dd81366-5d6f-445a-b031-6ea562624431" providerId="ADAL" clId="{3909E7CC-5EA5-469C-9AFF-9A201E30CD9D}" dt="2022-12-06T16:25:35.541" v="51887"/>
          <ac:spMkLst>
            <pc:docMk/>
            <pc:sldMk cId="889115042" sldId="2134804363"/>
            <ac:spMk id="50" creationId="{D3300F51-D2BE-F880-B948-20C2BBD7CB50}"/>
          </ac:spMkLst>
        </pc:spChg>
        <pc:spChg chg="add del mod modVis">
          <ac:chgData name="Wenwen Zhang" userId="9dd81366-5d6f-445a-b031-6ea562624431" providerId="ADAL" clId="{3909E7CC-5EA5-469C-9AFF-9A201E30CD9D}" dt="2022-12-06T16:25:39.385" v="51937"/>
          <ac:spMkLst>
            <pc:docMk/>
            <pc:sldMk cId="889115042" sldId="2134804363"/>
            <ac:spMk id="51" creationId="{9F3F8ECB-90D9-9D0A-3896-8B6A33BB07A0}"/>
          </ac:spMkLst>
        </pc:spChg>
        <pc:spChg chg="add del mod modVis">
          <ac:chgData name="Wenwen Zhang" userId="9dd81366-5d6f-445a-b031-6ea562624431" providerId="ADAL" clId="{3909E7CC-5EA5-469C-9AFF-9A201E30CD9D}" dt="2022-12-06T16:25:41.040" v="51987"/>
          <ac:spMkLst>
            <pc:docMk/>
            <pc:sldMk cId="889115042" sldId="2134804363"/>
            <ac:spMk id="52" creationId="{DA35A587-E06F-1FCC-E7CD-0EE12DDF1473}"/>
          </ac:spMkLst>
        </pc:spChg>
        <pc:spChg chg="add del mod modVis">
          <ac:chgData name="Wenwen Zhang" userId="9dd81366-5d6f-445a-b031-6ea562624431" providerId="ADAL" clId="{3909E7CC-5EA5-469C-9AFF-9A201E30CD9D}" dt="2022-12-06T16:25:44.132" v="52045"/>
          <ac:spMkLst>
            <pc:docMk/>
            <pc:sldMk cId="889115042" sldId="2134804363"/>
            <ac:spMk id="53" creationId="{8BDAB8A5-44E2-281F-C6A8-605AC6514F37}"/>
          </ac:spMkLst>
        </pc:spChg>
        <pc:spChg chg="add del mod modVis">
          <ac:chgData name="Wenwen Zhang" userId="9dd81366-5d6f-445a-b031-6ea562624431" providerId="ADAL" clId="{3909E7CC-5EA5-469C-9AFF-9A201E30CD9D}" dt="2022-12-06T16:26:02.558" v="52127"/>
          <ac:spMkLst>
            <pc:docMk/>
            <pc:sldMk cId="889115042" sldId="2134804363"/>
            <ac:spMk id="54" creationId="{028639C0-7AFF-2BAE-6528-1288E2D35A5A}"/>
          </ac:spMkLst>
        </pc:spChg>
        <pc:spChg chg="add del mod modVis">
          <ac:chgData name="Wenwen Zhang" userId="9dd81366-5d6f-445a-b031-6ea562624431" providerId="ADAL" clId="{3909E7CC-5EA5-469C-9AFF-9A201E30CD9D}" dt="2022-12-06T16:26:04.748" v="52187"/>
          <ac:spMkLst>
            <pc:docMk/>
            <pc:sldMk cId="889115042" sldId="2134804363"/>
            <ac:spMk id="55" creationId="{13A1AA10-C533-E695-E68B-1B9D08BFBFDA}"/>
          </ac:spMkLst>
        </pc:spChg>
        <pc:spChg chg="add del mod modVis">
          <ac:chgData name="Wenwen Zhang" userId="9dd81366-5d6f-445a-b031-6ea562624431" providerId="ADAL" clId="{3909E7CC-5EA5-469C-9AFF-9A201E30CD9D}" dt="2022-12-06T16:26:09.333" v="52250"/>
          <ac:spMkLst>
            <pc:docMk/>
            <pc:sldMk cId="889115042" sldId="2134804363"/>
            <ac:spMk id="56" creationId="{6E1AABB5-7F27-E25E-DB52-670FEB9A195D}"/>
          </ac:spMkLst>
        </pc:spChg>
        <pc:spChg chg="add del mod modVis">
          <ac:chgData name="Wenwen Zhang" userId="9dd81366-5d6f-445a-b031-6ea562624431" providerId="ADAL" clId="{3909E7CC-5EA5-469C-9AFF-9A201E30CD9D}" dt="2022-12-06T16:26:11.017" v="52304"/>
          <ac:spMkLst>
            <pc:docMk/>
            <pc:sldMk cId="889115042" sldId="2134804363"/>
            <ac:spMk id="57" creationId="{1F175FEB-59FF-D4FF-66EA-9E0167353B85}"/>
          </ac:spMkLst>
        </pc:spChg>
        <pc:spChg chg="add del mod modVis">
          <ac:chgData name="Wenwen Zhang" userId="9dd81366-5d6f-445a-b031-6ea562624431" providerId="ADAL" clId="{3909E7CC-5EA5-469C-9AFF-9A201E30CD9D}" dt="2022-12-06T16:26:11.963" v="52354"/>
          <ac:spMkLst>
            <pc:docMk/>
            <pc:sldMk cId="889115042" sldId="2134804363"/>
            <ac:spMk id="58" creationId="{EA6BF77D-EFCF-904C-0590-C4B1D05D6745}"/>
          </ac:spMkLst>
        </pc:spChg>
        <pc:spChg chg="add del mod modVis">
          <ac:chgData name="Wenwen Zhang" userId="9dd81366-5d6f-445a-b031-6ea562624431" providerId="ADAL" clId="{3909E7CC-5EA5-469C-9AFF-9A201E30CD9D}" dt="2022-12-06T16:26:13.845" v="52429"/>
          <ac:spMkLst>
            <pc:docMk/>
            <pc:sldMk cId="889115042" sldId="2134804363"/>
            <ac:spMk id="59" creationId="{F19C65E2-65AC-04A6-4C86-477D557C9606}"/>
          </ac:spMkLst>
        </pc:spChg>
        <pc:spChg chg="add del mod modVis">
          <ac:chgData name="Wenwen Zhang" userId="9dd81366-5d6f-445a-b031-6ea562624431" providerId="ADAL" clId="{3909E7CC-5EA5-469C-9AFF-9A201E30CD9D}" dt="2022-12-06T16:26:37.814" v="52545"/>
          <ac:spMkLst>
            <pc:docMk/>
            <pc:sldMk cId="889115042" sldId="2134804363"/>
            <ac:spMk id="60" creationId="{4AA59671-0E8E-F722-B299-C5C42007E67E}"/>
          </ac:spMkLst>
        </pc:spChg>
        <pc:spChg chg="add del mod modVis">
          <ac:chgData name="Wenwen Zhang" userId="9dd81366-5d6f-445a-b031-6ea562624431" providerId="ADAL" clId="{3909E7CC-5EA5-469C-9AFF-9A201E30CD9D}" dt="2022-12-06T16:26:45.236" v="52597"/>
          <ac:spMkLst>
            <pc:docMk/>
            <pc:sldMk cId="889115042" sldId="2134804363"/>
            <ac:spMk id="61" creationId="{A331ABC6-742B-B78B-A935-E95FE9EFBDB0}"/>
          </ac:spMkLst>
        </pc:spChg>
        <pc:spChg chg="add mod replST">
          <ac:chgData name="Wenwen Zhang" userId="9dd81366-5d6f-445a-b031-6ea562624431" providerId="ADAL" clId="{3909E7CC-5EA5-469C-9AFF-9A201E30CD9D}" dt="2022-12-06T16:57:12.149" v="59291" actId="948"/>
          <ac:spMkLst>
            <pc:docMk/>
            <pc:sldMk cId="889115042" sldId="2134804363"/>
            <ac:spMk id="62" creationId="{6EBAC1CE-A6D5-46F5-BAEC-2A366E22CD0A}"/>
          </ac:spMkLst>
        </pc:spChg>
        <pc:spChg chg="add del mod modVis">
          <ac:chgData name="Wenwen Zhang" userId="9dd81366-5d6f-445a-b031-6ea562624431" providerId="ADAL" clId="{3909E7CC-5EA5-469C-9AFF-9A201E30CD9D}" dt="2022-12-06T16:26:58.929" v="52680"/>
          <ac:spMkLst>
            <pc:docMk/>
            <pc:sldMk cId="889115042" sldId="2134804363"/>
            <ac:spMk id="63" creationId="{7783F7E7-816D-18DF-F1FB-7C2BCD324BE0}"/>
          </ac:spMkLst>
        </pc:spChg>
        <pc:spChg chg="add del mod modVis">
          <ac:chgData name="Wenwen Zhang" userId="9dd81366-5d6f-445a-b031-6ea562624431" providerId="ADAL" clId="{3909E7CC-5EA5-469C-9AFF-9A201E30CD9D}" dt="2022-12-06T16:28:19.244" v="52730"/>
          <ac:spMkLst>
            <pc:docMk/>
            <pc:sldMk cId="889115042" sldId="2134804363"/>
            <ac:spMk id="64" creationId="{BEB9B21D-6C6A-CFA9-E9D8-B8C3871C2ABF}"/>
          </ac:spMkLst>
        </pc:spChg>
        <pc:spChg chg="add del mod modVis">
          <ac:chgData name="Wenwen Zhang" userId="9dd81366-5d6f-445a-b031-6ea562624431" providerId="ADAL" clId="{3909E7CC-5EA5-469C-9AFF-9A201E30CD9D}" dt="2022-12-06T16:28:21.874" v="52828"/>
          <ac:spMkLst>
            <pc:docMk/>
            <pc:sldMk cId="889115042" sldId="2134804363"/>
            <ac:spMk id="65" creationId="{FA9BE221-5225-76F9-E06F-637E19B758EF}"/>
          </ac:spMkLst>
        </pc:spChg>
        <pc:spChg chg="add del mod modVis">
          <ac:chgData name="Wenwen Zhang" userId="9dd81366-5d6f-445a-b031-6ea562624431" providerId="ADAL" clId="{3909E7CC-5EA5-469C-9AFF-9A201E30CD9D}" dt="2022-12-06T16:28:26.614" v="52912"/>
          <ac:spMkLst>
            <pc:docMk/>
            <pc:sldMk cId="889115042" sldId="2134804363"/>
            <ac:spMk id="66" creationId="{C6F6B313-D43F-896A-445E-5307BB49B594}"/>
          </ac:spMkLst>
        </pc:spChg>
        <pc:spChg chg="add del mod modVis">
          <ac:chgData name="Wenwen Zhang" userId="9dd81366-5d6f-445a-b031-6ea562624431" providerId="ADAL" clId="{3909E7CC-5EA5-469C-9AFF-9A201E30CD9D}" dt="2022-12-06T16:28:44.823" v="52988"/>
          <ac:spMkLst>
            <pc:docMk/>
            <pc:sldMk cId="889115042" sldId="2134804363"/>
            <ac:spMk id="67" creationId="{D0B4EFCF-F66F-8908-6ED4-1E6134AC2B4D}"/>
          </ac:spMkLst>
        </pc:spChg>
        <pc:spChg chg="add del mod modVis">
          <ac:chgData name="Wenwen Zhang" userId="9dd81366-5d6f-445a-b031-6ea562624431" providerId="ADAL" clId="{3909E7CC-5EA5-469C-9AFF-9A201E30CD9D}" dt="2022-12-06T16:29:00.718" v="53046"/>
          <ac:spMkLst>
            <pc:docMk/>
            <pc:sldMk cId="889115042" sldId="2134804363"/>
            <ac:spMk id="68" creationId="{99749AC7-48C8-F527-FD6D-BDBE416D05FA}"/>
          </ac:spMkLst>
        </pc:spChg>
        <pc:spChg chg="add del mod modVis">
          <ac:chgData name="Wenwen Zhang" userId="9dd81366-5d6f-445a-b031-6ea562624431" providerId="ADAL" clId="{3909E7CC-5EA5-469C-9AFF-9A201E30CD9D}" dt="2022-12-06T16:29:02.084" v="53101"/>
          <ac:spMkLst>
            <pc:docMk/>
            <pc:sldMk cId="889115042" sldId="2134804363"/>
            <ac:spMk id="69" creationId="{A9CF2544-0B68-E31D-087F-69BF5326A4A8}"/>
          </ac:spMkLst>
        </pc:spChg>
        <pc:spChg chg="add del mod modVis">
          <ac:chgData name="Wenwen Zhang" userId="9dd81366-5d6f-445a-b031-6ea562624431" providerId="ADAL" clId="{3909E7CC-5EA5-469C-9AFF-9A201E30CD9D}" dt="2022-12-06T16:29:03.115" v="53152"/>
          <ac:spMkLst>
            <pc:docMk/>
            <pc:sldMk cId="889115042" sldId="2134804363"/>
            <ac:spMk id="70" creationId="{D13E22E8-72C3-B06F-9A93-E77B281A2822}"/>
          </ac:spMkLst>
        </pc:spChg>
        <pc:spChg chg="add del mod modVis">
          <ac:chgData name="Wenwen Zhang" userId="9dd81366-5d6f-445a-b031-6ea562624431" providerId="ADAL" clId="{3909E7CC-5EA5-469C-9AFF-9A201E30CD9D}" dt="2022-12-06T16:29:30.770" v="53223"/>
          <ac:spMkLst>
            <pc:docMk/>
            <pc:sldMk cId="889115042" sldId="2134804363"/>
            <ac:spMk id="71" creationId="{44ECF7C1-23A6-9E75-8BE7-DEF6D80E11A7}"/>
          </ac:spMkLst>
        </pc:spChg>
        <pc:spChg chg="add del mod modVis">
          <ac:chgData name="Wenwen Zhang" userId="9dd81366-5d6f-445a-b031-6ea562624431" providerId="ADAL" clId="{3909E7CC-5EA5-469C-9AFF-9A201E30CD9D}" dt="2022-12-06T16:29:34.639" v="53280"/>
          <ac:spMkLst>
            <pc:docMk/>
            <pc:sldMk cId="889115042" sldId="2134804363"/>
            <ac:spMk id="72" creationId="{2C04AE98-A984-FE8D-59DC-CD321105E3A4}"/>
          </ac:spMkLst>
        </pc:spChg>
        <pc:spChg chg="add del mod modVis">
          <ac:chgData name="Wenwen Zhang" userId="9dd81366-5d6f-445a-b031-6ea562624431" providerId="ADAL" clId="{3909E7CC-5EA5-469C-9AFF-9A201E30CD9D}" dt="2022-12-06T16:30:07.026" v="53437"/>
          <ac:spMkLst>
            <pc:docMk/>
            <pc:sldMk cId="889115042" sldId="2134804363"/>
            <ac:spMk id="73" creationId="{58A14FE2-5012-7F11-210D-13608FBAF33E}"/>
          </ac:spMkLst>
        </pc:spChg>
        <pc:spChg chg="add del mod modVis">
          <ac:chgData name="Wenwen Zhang" userId="9dd81366-5d6f-445a-b031-6ea562624431" providerId="ADAL" clId="{3909E7CC-5EA5-469C-9AFF-9A201E30CD9D}" dt="2022-12-06T16:30:08.583" v="53487"/>
          <ac:spMkLst>
            <pc:docMk/>
            <pc:sldMk cId="889115042" sldId="2134804363"/>
            <ac:spMk id="74" creationId="{A7E48B01-BA3F-1081-9B6A-E6A837173E4B}"/>
          </ac:spMkLst>
        </pc:spChg>
        <pc:spChg chg="add del mod modVis">
          <ac:chgData name="Wenwen Zhang" userId="9dd81366-5d6f-445a-b031-6ea562624431" providerId="ADAL" clId="{3909E7CC-5EA5-469C-9AFF-9A201E30CD9D}" dt="2022-12-06T16:30:11.094" v="53572"/>
          <ac:spMkLst>
            <pc:docMk/>
            <pc:sldMk cId="889115042" sldId="2134804363"/>
            <ac:spMk id="75" creationId="{A9991AA1-9E95-5CC4-4CF2-727538C629D2}"/>
          </ac:spMkLst>
        </pc:spChg>
        <pc:spChg chg="add del mod modVis">
          <ac:chgData name="Wenwen Zhang" userId="9dd81366-5d6f-445a-b031-6ea562624431" providerId="ADAL" clId="{3909E7CC-5EA5-469C-9AFF-9A201E30CD9D}" dt="2022-12-06T16:30:11.839" v="53648"/>
          <ac:spMkLst>
            <pc:docMk/>
            <pc:sldMk cId="889115042" sldId="2134804363"/>
            <ac:spMk id="76" creationId="{520FC282-39D2-FAB6-7DFD-6FC30C9990CB}"/>
          </ac:spMkLst>
        </pc:spChg>
        <pc:spChg chg="add del mod modVis">
          <ac:chgData name="Wenwen Zhang" userId="9dd81366-5d6f-445a-b031-6ea562624431" providerId="ADAL" clId="{3909E7CC-5EA5-469C-9AFF-9A201E30CD9D}" dt="2022-12-06T16:31:05.720" v="53724"/>
          <ac:spMkLst>
            <pc:docMk/>
            <pc:sldMk cId="889115042" sldId="2134804363"/>
            <ac:spMk id="77" creationId="{C51C64CF-A1F7-A26D-67A5-2523C5FE2CDD}"/>
          </ac:spMkLst>
        </pc:spChg>
        <pc:spChg chg="add del mod modVis">
          <ac:chgData name="Wenwen Zhang" userId="9dd81366-5d6f-445a-b031-6ea562624431" providerId="ADAL" clId="{3909E7CC-5EA5-469C-9AFF-9A201E30CD9D}" dt="2022-12-06T16:31:13.544" v="53810"/>
          <ac:spMkLst>
            <pc:docMk/>
            <pc:sldMk cId="889115042" sldId="2134804363"/>
            <ac:spMk id="78" creationId="{6716D9A5-35D3-8A3F-2C26-635F81996488}"/>
          </ac:spMkLst>
        </pc:spChg>
        <pc:spChg chg="add del mod modVis">
          <ac:chgData name="Wenwen Zhang" userId="9dd81366-5d6f-445a-b031-6ea562624431" providerId="ADAL" clId="{3909E7CC-5EA5-469C-9AFF-9A201E30CD9D}" dt="2022-12-06T16:31:14.714" v="53865"/>
          <ac:spMkLst>
            <pc:docMk/>
            <pc:sldMk cId="889115042" sldId="2134804363"/>
            <ac:spMk id="79" creationId="{8375333A-35EF-C690-82C8-A24366D582B6}"/>
          </ac:spMkLst>
        </pc:spChg>
        <pc:spChg chg="add del mod modVis">
          <ac:chgData name="Wenwen Zhang" userId="9dd81366-5d6f-445a-b031-6ea562624431" providerId="ADAL" clId="{3909E7CC-5EA5-469C-9AFF-9A201E30CD9D}" dt="2022-12-06T16:31:16.754" v="53915"/>
          <ac:spMkLst>
            <pc:docMk/>
            <pc:sldMk cId="889115042" sldId="2134804363"/>
            <ac:spMk id="80" creationId="{83A24CFC-94AD-CC3C-6B2A-A418E6BCE75E}"/>
          </ac:spMkLst>
        </pc:spChg>
        <pc:spChg chg="add del mod modVis">
          <ac:chgData name="Wenwen Zhang" userId="9dd81366-5d6f-445a-b031-6ea562624431" providerId="ADAL" clId="{3909E7CC-5EA5-469C-9AFF-9A201E30CD9D}" dt="2022-12-06T16:31:19.857" v="53970"/>
          <ac:spMkLst>
            <pc:docMk/>
            <pc:sldMk cId="889115042" sldId="2134804363"/>
            <ac:spMk id="81" creationId="{6F719CC3-89A4-7D0D-B518-976BF5AE3018}"/>
          </ac:spMkLst>
        </pc:spChg>
        <pc:spChg chg="add del mod modVis">
          <ac:chgData name="Wenwen Zhang" userId="9dd81366-5d6f-445a-b031-6ea562624431" providerId="ADAL" clId="{3909E7CC-5EA5-469C-9AFF-9A201E30CD9D}" dt="2022-12-06T16:31:23.163" v="54059"/>
          <ac:spMkLst>
            <pc:docMk/>
            <pc:sldMk cId="889115042" sldId="2134804363"/>
            <ac:spMk id="82" creationId="{F3D0360C-3C11-3DA2-4627-E33B65558F35}"/>
          </ac:spMkLst>
        </pc:spChg>
        <pc:spChg chg="add del mod modVis">
          <ac:chgData name="Wenwen Zhang" userId="9dd81366-5d6f-445a-b031-6ea562624431" providerId="ADAL" clId="{3909E7CC-5EA5-469C-9AFF-9A201E30CD9D}" dt="2022-12-06T16:31:23.817" v="54134"/>
          <ac:spMkLst>
            <pc:docMk/>
            <pc:sldMk cId="889115042" sldId="2134804363"/>
            <ac:spMk id="83" creationId="{35920A3B-8632-D32B-C479-CC69BA1DC77B}"/>
          </ac:spMkLst>
        </pc:spChg>
        <pc:spChg chg="add del mod modVis">
          <ac:chgData name="Wenwen Zhang" userId="9dd81366-5d6f-445a-b031-6ea562624431" providerId="ADAL" clId="{3909E7CC-5EA5-469C-9AFF-9A201E30CD9D}" dt="2022-12-06T16:31:24.946" v="54210"/>
          <ac:spMkLst>
            <pc:docMk/>
            <pc:sldMk cId="889115042" sldId="2134804363"/>
            <ac:spMk id="84" creationId="{B2BE16CA-7EF8-4ABC-2A83-A7F3509D00B8}"/>
          </ac:spMkLst>
        </pc:spChg>
        <pc:spChg chg="add del mod modVis">
          <ac:chgData name="Wenwen Zhang" userId="9dd81366-5d6f-445a-b031-6ea562624431" providerId="ADAL" clId="{3909E7CC-5EA5-469C-9AFF-9A201E30CD9D}" dt="2022-12-06T16:31:25.843" v="54288"/>
          <ac:spMkLst>
            <pc:docMk/>
            <pc:sldMk cId="889115042" sldId="2134804363"/>
            <ac:spMk id="85" creationId="{EEEFA853-E7A4-B3FB-64C6-2B899B382C2D}"/>
          </ac:spMkLst>
        </pc:spChg>
        <pc:spChg chg="add del mod modVis">
          <ac:chgData name="Wenwen Zhang" userId="9dd81366-5d6f-445a-b031-6ea562624431" providerId="ADAL" clId="{3909E7CC-5EA5-469C-9AFF-9A201E30CD9D}" dt="2022-12-06T16:31:27.457" v="54340"/>
          <ac:spMkLst>
            <pc:docMk/>
            <pc:sldMk cId="889115042" sldId="2134804363"/>
            <ac:spMk id="86" creationId="{F80463F0-A8A2-0EA5-0EF2-10835204FE0A}"/>
          </ac:spMkLst>
        </pc:spChg>
        <pc:spChg chg="add del mod modVis">
          <ac:chgData name="Wenwen Zhang" userId="9dd81366-5d6f-445a-b031-6ea562624431" providerId="ADAL" clId="{3909E7CC-5EA5-469C-9AFF-9A201E30CD9D}" dt="2022-12-06T16:31:28.637" v="54392"/>
          <ac:spMkLst>
            <pc:docMk/>
            <pc:sldMk cId="889115042" sldId="2134804363"/>
            <ac:spMk id="87" creationId="{1C6E8659-DCC3-2E6D-D53E-81E96374AD20}"/>
          </ac:spMkLst>
        </pc:spChg>
        <pc:spChg chg="add del mod modVis">
          <ac:chgData name="Wenwen Zhang" userId="9dd81366-5d6f-445a-b031-6ea562624431" providerId="ADAL" clId="{3909E7CC-5EA5-469C-9AFF-9A201E30CD9D}" dt="2022-12-06T16:31:30.229" v="54442"/>
          <ac:spMkLst>
            <pc:docMk/>
            <pc:sldMk cId="889115042" sldId="2134804363"/>
            <ac:spMk id="88" creationId="{96D4D50C-A351-0D08-D45F-BBD7BB749DE6}"/>
          </ac:spMkLst>
        </pc:spChg>
        <pc:spChg chg="add del mod modVis">
          <ac:chgData name="Wenwen Zhang" userId="9dd81366-5d6f-445a-b031-6ea562624431" providerId="ADAL" clId="{3909E7CC-5EA5-469C-9AFF-9A201E30CD9D}" dt="2022-12-06T16:31:32.661" v="54537"/>
          <ac:spMkLst>
            <pc:docMk/>
            <pc:sldMk cId="889115042" sldId="2134804363"/>
            <ac:spMk id="89" creationId="{41CA2F67-4008-2DD0-1A79-1B5CBD168436}"/>
          </ac:spMkLst>
        </pc:spChg>
        <pc:spChg chg="add del mod modVis">
          <ac:chgData name="Wenwen Zhang" userId="9dd81366-5d6f-445a-b031-6ea562624431" providerId="ADAL" clId="{3909E7CC-5EA5-469C-9AFF-9A201E30CD9D}" dt="2022-12-06T16:31:34.467" v="54615"/>
          <ac:spMkLst>
            <pc:docMk/>
            <pc:sldMk cId="889115042" sldId="2134804363"/>
            <ac:spMk id="90" creationId="{0590EB65-6CE1-AB4F-11D7-CEC44F2647E1}"/>
          </ac:spMkLst>
        </pc:spChg>
        <pc:spChg chg="add del mod modVis">
          <ac:chgData name="Wenwen Zhang" userId="9dd81366-5d6f-445a-b031-6ea562624431" providerId="ADAL" clId="{3909E7CC-5EA5-469C-9AFF-9A201E30CD9D}" dt="2022-12-06T16:31:40.252" v="54691"/>
          <ac:spMkLst>
            <pc:docMk/>
            <pc:sldMk cId="889115042" sldId="2134804363"/>
            <ac:spMk id="91" creationId="{079BFFBC-ACB6-82A0-B317-4AB4DC087E54}"/>
          </ac:spMkLst>
        </pc:spChg>
        <pc:spChg chg="add del mod modVis">
          <ac:chgData name="Wenwen Zhang" userId="9dd81366-5d6f-445a-b031-6ea562624431" providerId="ADAL" clId="{3909E7CC-5EA5-469C-9AFF-9A201E30CD9D}" dt="2022-12-06T16:31:41.242" v="54743"/>
          <ac:spMkLst>
            <pc:docMk/>
            <pc:sldMk cId="889115042" sldId="2134804363"/>
            <ac:spMk id="92" creationId="{E79B83D6-451B-79F2-C090-F99B61496001}"/>
          </ac:spMkLst>
        </pc:spChg>
        <pc:spChg chg="add del mod modVis">
          <ac:chgData name="Wenwen Zhang" userId="9dd81366-5d6f-445a-b031-6ea562624431" providerId="ADAL" clId="{3909E7CC-5EA5-469C-9AFF-9A201E30CD9D}" dt="2022-12-06T16:31:42.087" v="54794"/>
          <ac:spMkLst>
            <pc:docMk/>
            <pc:sldMk cId="889115042" sldId="2134804363"/>
            <ac:spMk id="93" creationId="{7AFD0CD7-DC7A-1052-6436-CD52BF6B00CC}"/>
          </ac:spMkLst>
        </pc:spChg>
        <pc:spChg chg="add del mod modVis">
          <ac:chgData name="Wenwen Zhang" userId="9dd81366-5d6f-445a-b031-6ea562624431" providerId="ADAL" clId="{3909E7CC-5EA5-469C-9AFF-9A201E30CD9D}" dt="2022-12-06T16:31:43.130" v="54876"/>
          <ac:spMkLst>
            <pc:docMk/>
            <pc:sldMk cId="889115042" sldId="2134804363"/>
            <ac:spMk id="94" creationId="{62252971-D4FB-DFC4-087A-E43556F361C1}"/>
          </ac:spMkLst>
        </pc:spChg>
        <pc:spChg chg="add del mod modVis">
          <ac:chgData name="Wenwen Zhang" userId="9dd81366-5d6f-445a-b031-6ea562624431" providerId="ADAL" clId="{3909E7CC-5EA5-469C-9AFF-9A201E30CD9D}" dt="2022-12-06T16:31:51.551" v="54927"/>
          <ac:spMkLst>
            <pc:docMk/>
            <pc:sldMk cId="889115042" sldId="2134804363"/>
            <ac:spMk id="95" creationId="{A5A59AAB-2095-EED5-522C-8EFAEB92D624}"/>
          </ac:spMkLst>
        </pc:spChg>
        <pc:spChg chg="add mod replST">
          <ac:chgData name="Wenwen Zhang" userId="9dd81366-5d6f-445a-b031-6ea562624431" providerId="ADAL" clId="{3909E7CC-5EA5-469C-9AFF-9A201E30CD9D}" dt="2022-12-06T16:57:12.150" v="59292" actId="948"/>
          <ac:spMkLst>
            <pc:docMk/>
            <pc:sldMk cId="889115042" sldId="2134804363"/>
            <ac:spMk id="96" creationId="{95FA4B86-4EF2-A6D5-E5F3-BD2D9157719D}"/>
          </ac:spMkLst>
        </pc:spChg>
        <pc:spChg chg="add del mod modVis">
          <ac:chgData name="Wenwen Zhang" userId="9dd81366-5d6f-445a-b031-6ea562624431" providerId="ADAL" clId="{3909E7CC-5EA5-469C-9AFF-9A201E30CD9D}" dt="2022-12-06T16:31:52.469" v="54987"/>
          <ac:spMkLst>
            <pc:docMk/>
            <pc:sldMk cId="889115042" sldId="2134804363"/>
            <ac:spMk id="97" creationId="{DA0DF55E-F7DF-1803-7424-B789D8416D0F}"/>
          </ac:spMkLst>
        </pc:spChg>
        <pc:spChg chg="add del mod modVis">
          <ac:chgData name="Wenwen Zhang" userId="9dd81366-5d6f-445a-b031-6ea562624431" providerId="ADAL" clId="{3909E7CC-5EA5-469C-9AFF-9A201E30CD9D}" dt="2022-12-06T16:32:03.632" v="55093"/>
          <ac:spMkLst>
            <pc:docMk/>
            <pc:sldMk cId="889115042" sldId="2134804363"/>
            <ac:spMk id="98" creationId="{135CEFC3-A4AD-0D4D-2959-8E5A851997DC}"/>
          </ac:spMkLst>
        </pc:spChg>
        <pc:spChg chg="add del mod modVis">
          <ac:chgData name="Wenwen Zhang" userId="9dd81366-5d6f-445a-b031-6ea562624431" providerId="ADAL" clId="{3909E7CC-5EA5-469C-9AFF-9A201E30CD9D}" dt="2022-12-06T16:32:04.360" v="55146"/>
          <ac:spMkLst>
            <pc:docMk/>
            <pc:sldMk cId="889115042" sldId="2134804363"/>
            <ac:spMk id="99" creationId="{E233CFB0-392E-B3C6-3FA9-8767A2FA4678}"/>
          </ac:spMkLst>
        </pc:spChg>
        <pc:spChg chg="add del mod modVis">
          <ac:chgData name="Wenwen Zhang" userId="9dd81366-5d6f-445a-b031-6ea562624431" providerId="ADAL" clId="{3909E7CC-5EA5-469C-9AFF-9A201E30CD9D}" dt="2022-12-06T16:32:05.950" v="55199"/>
          <ac:spMkLst>
            <pc:docMk/>
            <pc:sldMk cId="889115042" sldId="2134804363"/>
            <ac:spMk id="100" creationId="{BDFE284B-668B-2FE8-D0B1-10A7DF0E8111}"/>
          </ac:spMkLst>
        </pc:spChg>
        <pc:spChg chg="add del mod modVis">
          <ac:chgData name="Wenwen Zhang" userId="9dd81366-5d6f-445a-b031-6ea562624431" providerId="ADAL" clId="{3909E7CC-5EA5-469C-9AFF-9A201E30CD9D}" dt="2022-12-06T16:32:07.444" v="55258"/>
          <ac:spMkLst>
            <pc:docMk/>
            <pc:sldMk cId="889115042" sldId="2134804363"/>
            <ac:spMk id="101" creationId="{93D057F8-DD0D-0381-1686-D982A2F22346}"/>
          </ac:spMkLst>
        </pc:spChg>
        <pc:spChg chg="add del mod modVis">
          <ac:chgData name="Wenwen Zhang" userId="9dd81366-5d6f-445a-b031-6ea562624431" providerId="ADAL" clId="{3909E7CC-5EA5-469C-9AFF-9A201E30CD9D}" dt="2022-12-06T16:32:08.457" v="55312"/>
          <ac:spMkLst>
            <pc:docMk/>
            <pc:sldMk cId="889115042" sldId="2134804363"/>
            <ac:spMk id="102" creationId="{5BF4D824-5DB2-A87B-18B4-E57007D26C53}"/>
          </ac:spMkLst>
        </pc:spChg>
        <pc:spChg chg="add del mod modVis">
          <ac:chgData name="Wenwen Zhang" userId="9dd81366-5d6f-445a-b031-6ea562624431" providerId="ADAL" clId="{3909E7CC-5EA5-469C-9AFF-9A201E30CD9D}" dt="2022-12-06T16:32:10.550" v="55370"/>
          <ac:spMkLst>
            <pc:docMk/>
            <pc:sldMk cId="889115042" sldId="2134804363"/>
            <ac:spMk id="103" creationId="{37F6A651-A8F1-9E4B-B1BC-D586F4FB9B5F}"/>
          </ac:spMkLst>
        </pc:spChg>
        <pc:spChg chg="add del mod modVis">
          <ac:chgData name="Wenwen Zhang" userId="9dd81366-5d6f-445a-b031-6ea562624431" providerId="ADAL" clId="{3909E7CC-5EA5-469C-9AFF-9A201E30CD9D}" dt="2022-12-06T16:32:11.195" v="55421"/>
          <ac:spMkLst>
            <pc:docMk/>
            <pc:sldMk cId="889115042" sldId="2134804363"/>
            <ac:spMk id="104" creationId="{35EB2FFC-7510-0453-BDA3-3E44FEDEAB6C}"/>
          </ac:spMkLst>
        </pc:spChg>
        <pc:spChg chg="add del mod modVis">
          <ac:chgData name="Wenwen Zhang" userId="9dd81366-5d6f-445a-b031-6ea562624431" providerId="ADAL" clId="{3909E7CC-5EA5-469C-9AFF-9A201E30CD9D}" dt="2022-12-06T16:32:11.972" v="55472"/>
          <ac:spMkLst>
            <pc:docMk/>
            <pc:sldMk cId="889115042" sldId="2134804363"/>
            <ac:spMk id="105" creationId="{73D2C260-2D98-180E-8F11-1C1EB0258F02}"/>
          </ac:spMkLst>
        </pc:spChg>
        <pc:spChg chg="add del mod modVis">
          <ac:chgData name="Wenwen Zhang" userId="9dd81366-5d6f-445a-b031-6ea562624431" providerId="ADAL" clId="{3909E7CC-5EA5-469C-9AFF-9A201E30CD9D}" dt="2022-12-06T16:32:19.227" v="55560"/>
          <ac:spMkLst>
            <pc:docMk/>
            <pc:sldMk cId="889115042" sldId="2134804363"/>
            <ac:spMk id="106" creationId="{A73A67FA-C3FB-D50D-2774-FA34D4BF93D2}"/>
          </ac:spMkLst>
        </pc:spChg>
        <pc:spChg chg="add del mod modVis">
          <ac:chgData name="Wenwen Zhang" userId="9dd81366-5d6f-445a-b031-6ea562624431" providerId="ADAL" clId="{3909E7CC-5EA5-469C-9AFF-9A201E30CD9D}" dt="2022-12-06T16:32:20.061" v="55613"/>
          <ac:spMkLst>
            <pc:docMk/>
            <pc:sldMk cId="889115042" sldId="2134804363"/>
            <ac:spMk id="107" creationId="{F2D2ACAB-B006-823D-006E-68829D1D5E0E}"/>
          </ac:spMkLst>
        </pc:spChg>
        <pc:spChg chg="add del mod modVis">
          <ac:chgData name="Wenwen Zhang" userId="9dd81366-5d6f-445a-b031-6ea562624431" providerId="ADAL" clId="{3909E7CC-5EA5-469C-9AFF-9A201E30CD9D}" dt="2022-12-06T16:32:23.212" v="55712"/>
          <ac:spMkLst>
            <pc:docMk/>
            <pc:sldMk cId="889115042" sldId="2134804363"/>
            <ac:spMk id="108" creationId="{C9929F9B-497B-3B12-D7FC-C23DA0DE3DFC}"/>
          </ac:spMkLst>
        </pc:spChg>
        <pc:spChg chg="add del mod modVis">
          <ac:chgData name="Wenwen Zhang" userId="9dd81366-5d6f-445a-b031-6ea562624431" providerId="ADAL" clId="{3909E7CC-5EA5-469C-9AFF-9A201E30CD9D}" dt="2022-12-06T16:32:24.247" v="55763"/>
          <ac:spMkLst>
            <pc:docMk/>
            <pc:sldMk cId="889115042" sldId="2134804363"/>
            <ac:spMk id="109" creationId="{11F730A7-0855-3658-A9D8-187B40B9AD73}"/>
          </ac:spMkLst>
        </pc:spChg>
        <pc:spChg chg="add mod replST">
          <ac:chgData name="Wenwen Zhang" userId="9dd81366-5d6f-445a-b031-6ea562624431" providerId="ADAL" clId="{3909E7CC-5EA5-469C-9AFF-9A201E30CD9D}" dt="2022-12-06T16:57:12.150" v="59293" actId="948"/>
          <ac:spMkLst>
            <pc:docMk/>
            <pc:sldMk cId="889115042" sldId="2134804363"/>
            <ac:spMk id="110" creationId="{45DF7D5F-B2C6-409D-6F57-D55DA326CAE0}"/>
          </ac:spMkLst>
        </pc:spChg>
        <pc:spChg chg="add del mod modVis">
          <ac:chgData name="Wenwen Zhang" userId="9dd81366-5d6f-445a-b031-6ea562624431" providerId="ADAL" clId="{3909E7CC-5EA5-469C-9AFF-9A201E30CD9D}" dt="2022-12-06T16:32:30.519" v="55831"/>
          <ac:spMkLst>
            <pc:docMk/>
            <pc:sldMk cId="889115042" sldId="2134804363"/>
            <ac:spMk id="111" creationId="{009DB766-80A0-003D-4437-F1B6DDF5F8B4}"/>
          </ac:spMkLst>
        </pc:spChg>
        <pc:spChg chg="add del mod modVis">
          <ac:chgData name="Wenwen Zhang" userId="9dd81366-5d6f-445a-b031-6ea562624431" providerId="ADAL" clId="{3909E7CC-5EA5-469C-9AFF-9A201E30CD9D}" dt="2022-12-06T16:32:38.995" v="55934"/>
          <ac:spMkLst>
            <pc:docMk/>
            <pc:sldMk cId="889115042" sldId="2134804363"/>
            <ac:spMk id="112" creationId="{F9E740CE-DA3E-71E3-50F9-B9248F32AEC1}"/>
          </ac:spMkLst>
        </pc:spChg>
        <pc:spChg chg="add del mod modVis">
          <ac:chgData name="Wenwen Zhang" userId="9dd81366-5d6f-445a-b031-6ea562624431" providerId="ADAL" clId="{3909E7CC-5EA5-469C-9AFF-9A201E30CD9D}" dt="2022-12-06T16:32:40.222" v="55991"/>
          <ac:spMkLst>
            <pc:docMk/>
            <pc:sldMk cId="889115042" sldId="2134804363"/>
            <ac:spMk id="113" creationId="{A5C21E60-0056-9B03-8A69-79B10359D10C}"/>
          </ac:spMkLst>
        </pc:spChg>
        <pc:spChg chg="add del mod modVis">
          <ac:chgData name="Wenwen Zhang" userId="9dd81366-5d6f-445a-b031-6ea562624431" providerId="ADAL" clId="{3909E7CC-5EA5-469C-9AFF-9A201E30CD9D}" dt="2022-12-06T16:32:40.849" v="56043"/>
          <ac:spMkLst>
            <pc:docMk/>
            <pc:sldMk cId="889115042" sldId="2134804363"/>
            <ac:spMk id="114" creationId="{93170908-4FF2-F225-8DE6-4FB37D0B56DB}"/>
          </ac:spMkLst>
        </pc:spChg>
        <pc:spChg chg="add del mod modVis">
          <ac:chgData name="Wenwen Zhang" userId="9dd81366-5d6f-445a-b031-6ea562624431" providerId="ADAL" clId="{3909E7CC-5EA5-469C-9AFF-9A201E30CD9D}" dt="2022-12-06T16:32:42.472" v="56099"/>
          <ac:spMkLst>
            <pc:docMk/>
            <pc:sldMk cId="889115042" sldId="2134804363"/>
            <ac:spMk id="115" creationId="{EBCB5663-5576-E270-4C9A-EAD07E88FC57}"/>
          </ac:spMkLst>
        </pc:spChg>
        <pc:spChg chg="add del mod modVis">
          <ac:chgData name="Wenwen Zhang" userId="9dd81366-5d6f-445a-b031-6ea562624431" providerId="ADAL" clId="{3909E7CC-5EA5-469C-9AFF-9A201E30CD9D}" dt="2022-12-06T16:32:44.757" v="56157"/>
          <ac:spMkLst>
            <pc:docMk/>
            <pc:sldMk cId="889115042" sldId="2134804363"/>
            <ac:spMk id="116" creationId="{D86F6E0E-C1C8-BEC0-DACC-943595DDD453}"/>
          </ac:spMkLst>
        </pc:spChg>
        <pc:spChg chg="add del mod modVis">
          <ac:chgData name="Wenwen Zhang" userId="9dd81366-5d6f-445a-b031-6ea562624431" providerId="ADAL" clId="{3909E7CC-5EA5-469C-9AFF-9A201E30CD9D}" dt="2022-12-06T16:32:47.462" v="56227"/>
          <ac:spMkLst>
            <pc:docMk/>
            <pc:sldMk cId="889115042" sldId="2134804363"/>
            <ac:spMk id="117" creationId="{04606520-6792-2D95-E1B9-881B5C6170F2}"/>
          </ac:spMkLst>
        </pc:spChg>
        <pc:spChg chg="add del mod modVis">
          <ac:chgData name="Wenwen Zhang" userId="9dd81366-5d6f-445a-b031-6ea562624431" providerId="ADAL" clId="{3909E7CC-5EA5-469C-9AFF-9A201E30CD9D}" dt="2022-12-06T16:32:57.479" v="56301"/>
          <ac:spMkLst>
            <pc:docMk/>
            <pc:sldMk cId="889115042" sldId="2134804363"/>
            <ac:spMk id="118" creationId="{9581B0CE-1CDF-305C-4A5E-247F432F6088}"/>
          </ac:spMkLst>
        </pc:spChg>
        <pc:spChg chg="add del mod modVis">
          <ac:chgData name="Wenwen Zhang" userId="9dd81366-5d6f-445a-b031-6ea562624431" providerId="ADAL" clId="{3909E7CC-5EA5-469C-9AFF-9A201E30CD9D}" dt="2022-12-06T16:33:07.379" v="56359"/>
          <ac:spMkLst>
            <pc:docMk/>
            <pc:sldMk cId="889115042" sldId="2134804363"/>
            <ac:spMk id="119" creationId="{DF375375-DFB8-2CF1-0FCD-1DADAF46EC15}"/>
          </ac:spMkLst>
        </pc:spChg>
        <pc:spChg chg="add del mod modVis">
          <ac:chgData name="Wenwen Zhang" userId="9dd81366-5d6f-445a-b031-6ea562624431" providerId="ADAL" clId="{3909E7CC-5EA5-469C-9AFF-9A201E30CD9D}" dt="2022-12-06T16:33:08.134" v="56411"/>
          <ac:spMkLst>
            <pc:docMk/>
            <pc:sldMk cId="889115042" sldId="2134804363"/>
            <ac:spMk id="120" creationId="{692F6B34-126E-7B32-58AC-D835AE59B8F4}"/>
          </ac:spMkLst>
        </pc:spChg>
        <pc:spChg chg="add del mod modVis">
          <ac:chgData name="Wenwen Zhang" userId="9dd81366-5d6f-445a-b031-6ea562624431" providerId="ADAL" clId="{3909E7CC-5EA5-469C-9AFF-9A201E30CD9D}" dt="2022-12-06T16:33:13.855" v="56484"/>
          <ac:spMkLst>
            <pc:docMk/>
            <pc:sldMk cId="889115042" sldId="2134804363"/>
            <ac:spMk id="121" creationId="{96DB007D-404F-695D-E299-27E04069DFC4}"/>
          </ac:spMkLst>
        </pc:spChg>
        <pc:spChg chg="add del mod modVis">
          <ac:chgData name="Wenwen Zhang" userId="9dd81366-5d6f-445a-b031-6ea562624431" providerId="ADAL" clId="{3909E7CC-5EA5-469C-9AFF-9A201E30CD9D}" dt="2022-12-06T16:33:18.588" v="56543"/>
          <ac:spMkLst>
            <pc:docMk/>
            <pc:sldMk cId="889115042" sldId="2134804363"/>
            <ac:spMk id="122" creationId="{1CA5398D-16DF-686E-BFB4-EB52DAB3664D}"/>
          </ac:spMkLst>
        </pc:spChg>
        <pc:spChg chg="add del mod modVis">
          <ac:chgData name="Wenwen Zhang" userId="9dd81366-5d6f-445a-b031-6ea562624431" providerId="ADAL" clId="{3909E7CC-5EA5-469C-9AFF-9A201E30CD9D}" dt="2022-12-06T16:33:19.377" v="56597"/>
          <ac:spMkLst>
            <pc:docMk/>
            <pc:sldMk cId="889115042" sldId="2134804363"/>
            <ac:spMk id="123" creationId="{CBA310CA-3A5F-18CC-2D64-ED1DDA07D473}"/>
          </ac:spMkLst>
        </pc:spChg>
        <pc:spChg chg="add del mod modVis">
          <ac:chgData name="Wenwen Zhang" userId="9dd81366-5d6f-445a-b031-6ea562624431" providerId="ADAL" clId="{3909E7CC-5EA5-469C-9AFF-9A201E30CD9D}" dt="2022-12-06T16:33:21.086" v="56659"/>
          <ac:spMkLst>
            <pc:docMk/>
            <pc:sldMk cId="889115042" sldId="2134804363"/>
            <ac:spMk id="124" creationId="{ECE398EB-C3C1-0A19-AAA1-709193712A0B}"/>
          </ac:spMkLst>
        </pc:spChg>
        <pc:spChg chg="add del mod modVis">
          <ac:chgData name="Wenwen Zhang" userId="9dd81366-5d6f-445a-b031-6ea562624431" providerId="ADAL" clId="{3909E7CC-5EA5-469C-9AFF-9A201E30CD9D}" dt="2022-12-06T16:33:24.583" v="56720"/>
          <ac:spMkLst>
            <pc:docMk/>
            <pc:sldMk cId="889115042" sldId="2134804363"/>
            <ac:spMk id="125" creationId="{B7BC7B45-EE8C-62CB-621F-0C2525C5CF7D}"/>
          </ac:spMkLst>
        </pc:spChg>
        <pc:spChg chg="add del mod modVis">
          <ac:chgData name="Wenwen Zhang" userId="9dd81366-5d6f-445a-b031-6ea562624431" providerId="ADAL" clId="{3909E7CC-5EA5-469C-9AFF-9A201E30CD9D}" dt="2022-12-06T16:33:26.270" v="56784"/>
          <ac:spMkLst>
            <pc:docMk/>
            <pc:sldMk cId="889115042" sldId="2134804363"/>
            <ac:spMk id="126" creationId="{B91C5205-6CE8-1DDA-866E-A0E6992B37FE}"/>
          </ac:spMkLst>
        </pc:spChg>
        <pc:spChg chg="add del mod modVis">
          <ac:chgData name="Wenwen Zhang" userId="9dd81366-5d6f-445a-b031-6ea562624431" providerId="ADAL" clId="{3909E7CC-5EA5-469C-9AFF-9A201E30CD9D}" dt="2022-12-06T16:33:27.764" v="56842"/>
          <ac:spMkLst>
            <pc:docMk/>
            <pc:sldMk cId="889115042" sldId="2134804363"/>
            <ac:spMk id="127" creationId="{A40561C5-B73F-FEE7-CBDA-3954C84E8B5F}"/>
          </ac:spMkLst>
        </pc:spChg>
        <pc:spChg chg="add del mod modVis">
          <ac:chgData name="Wenwen Zhang" userId="9dd81366-5d6f-445a-b031-6ea562624431" providerId="ADAL" clId="{3909E7CC-5EA5-469C-9AFF-9A201E30CD9D}" dt="2022-12-06T16:33:30.371" v="56906"/>
          <ac:spMkLst>
            <pc:docMk/>
            <pc:sldMk cId="889115042" sldId="2134804363"/>
            <ac:spMk id="128" creationId="{74B9A9F0-F9F1-045B-6969-8AD036F86A4E}"/>
          </ac:spMkLst>
        </pc:spChg>
        <pc:spChg chg="add del mod modVis">
          <ac:chgData name="Wenwen Zhang" userId="9dd81366-5d6f-445a-b031-6ea562624431" providerId="ADAL" clId="{3909E7CC-5EA5-469C-9AFF-9A201E30CD9D}" dt="2022-12-06T16:33:31.589" v="56961"/>
          <ac:spMkLst>
            <pc:docMk/>
            <pc:sldMk cId="889115042" sldId="2134804363"/>
            <ac:spMk id="129" creationId="{0B7CFFE5-7AA3-9E15-E490-9051FBBBC642}"/>
          </ac:spMkLst>
        </pc:spChg>
        <pc:spChg chg="add del mod modVis">
          <ac:chgData name="Wenwen Zhang" userId="9dd81366-5d6f-445a-b031-6ea562624431" providerId="ADAL" clId="{3909E7CC-5EA5-469C-9AFF-9A201E30CD9D}" dt="2022-12-06T16:33:34.582" v="57015"/>
          <ac:spMkLst>
            <pc:docMk/>
            <pc:sldMk cId="889115042" sldId="2134804363"/>
            <ac:spMk id="130" creationId="{543DD529-517E-BC32-966C-FE73BC84E053}"/>
          </ac:spMkLst>
        </pc:spChg>
        <pc:spChg chg="add mod replST">
          <ac:chgData name="Wenwen Zhang" userId="9dd81366-5d6f-445a-b031-6ea562624431" providerId="ADAL" clId="{3909E7CC-5EA5-469C-9AFF-9A201E30CD9D}" dt="2022-12-06T16:57:12.151" v="59294" actId="948"/>
          <ac:spMkLst>
            <pc:docMk/>
            <pc:sldMk cId="889115042" sldId="2134804363"/>
            <ac:spMk id="131" creationId="{68D674CD-EFF6-97E2-1DAA-1A90ED2E1CCA}"/>
          </ac:spMkLst>
        </pc:spChg>
        <pc:spChg chg="add del mod modVis">
          <ac:chgData name="Wenwen Zhang" userId="9dd81366-5d6f-445a-b031-6ea562624431" providerId="ADAL" clId="{3909E7CC-5EA5-469C-9AFF-9A201E30CD9D}" dt="2022-12-06T16:52:03.813" v="57502"/>
          <ac:spMkLst>
            <pc:docMk/>
            <pc:sldMk cId="889115042" sldId="2134804363"/>
            <ac:spMk id="132" creationId="{7BCC6956-D775-6C07-D17E-E20B11881D6F}"/>
          </ac:spMkLst>
        </pc:spChg>
        <pc:spChg chg="add del mod modVis">
          <ac:chgData name="Wenwen Zhang" userId="9dd81366-5d6f-445a-b031-6ea562624431" providerId="ADAL" clId="{3909E7CC-5EA5-469C-9AFF-9A201E30CD9D}" dt="2022-12-06T16:52:11.099" v="57600"/>
          <ac:spMkLst>
            <pc:docMk/>
            <pc:sldMk cId="889115042" sldId="2134804363"/>
            <ac:spMk id="133" creationId="{B37936C2-AF56-FD7D-1AF6-688F8BA0E5BC}"/>
          </ac:spMkLst>
        </pc:spChg>
        <pc:spChg chg="add mod replST">
          <ac:chgData name="Wenwen Zhang" userId="9dd81366-5d6f-445a-b031-6ea562624431" providerId="ADAL" clId="{3909E7CC-5EA5-469C-9AFF-9A201E30CD9D}" dt="2022-12-06T16:57:12.151" v="59295" actId="948"/>
          <ac:spMkLst>
            <pc:docMk/>
            <pc:sldMk cId="889115042" sldId="2134804363"/>
            <ac:spMk id="134" creationId="{9681913E-3068-5B4F-0BD6-B77E57F5F186}"/>
          </ac:spMkLst>
        </pc:spChg>
        <pc:spChg chg="add del mod modVis">
          <ac:chgData name="Wenwen Zhang" userId="9dd81366-5d6f-445a-b031-6ea562624431" providerId="ADAL" clId="{3909E7CC-5EA5-469C-9AFF-9A201E30CD9D}" dt="2022-12-06T16:52:29.010" v="57664"/>
          <ac:spMkLst>
            <pc:docMk/>
            <pc:sldMk cId="889115042" sldId="2134804363"/>
            <ac:spMk id="135" creationId="{9061F6B1-D60A-7BC4-AB42-6654F983492F}"/>
          </ac:spMkLst>
        </pc:spChg>
        <pc:spChg chg="add del mod modVis">
          <ac:chgData name="Wenwen Zhang" userId="9dd81366-5d6f-445a-b031-6ea562624431" providerId="ADAL" clId="{3909E7CC-5EA5-469C-9AFF-9A201E30CD9D}" dt="2022-12-06T16:52:42.299" v="57734"/>
          <ac:spMkLst>
            <pc:docMk/>
            <pc:sldMk cId="889115042" sldId="2134804363"/>
            <ac:spMk id="136" creationId="{A41260AB-86E4-51D9-1FDC-07D36A1AC539}"/>
          </ac:spMkLst>
        </pc:spChg>
        <pc:spChg chg="add del mod modVis">
          <ac:chgData name="Wenwen Zhang" userId="9dd81366-5d6f-445a-b031-6ea562624431" providerId="ADAL" clId="{3909E7CC-5EA5-469C-9AFF-9A201E30CD9D}" dt="2022-12-06T16:52:43.260" v="57790"/>
          <ac:spMkLst>
            <pc:docMk/>
            <pc:sldMk cId="889115042" sldId="2134804363"/>
            <ac:spMk id="137" creationId="{C663715E-0FE5-48C6-19C8-1200D5BD0E49}"/>
          </ac:spMkLst>
        </pc:spChg>
        <pc:spChg chg="add del mod modVis">
          <ac:chgData name="Wenwen Zhang" userId="9dd81366-5d6f-445a-b031-6ea562624431" providerId="ADAL" clId="{3909E7CC-5EA5-469C-9AFF-9A201E30CD9D}" dt="2022-12-06T16:52:44.004" v="57845"/>
          <ac:spMkLst>
            <pc:docMk/>
            <pc:sldMk cId="889115042" sldId="2134804363"/>
            <ac:spMk id="138" creationId="{84614A15-A473-47CE-A72E-D57C3135D2C7}"/>
          </ac:spMkLst>
        </pc:spChg>
        <pc:spChg chg="add del mod modVis">
          <ac:chgData name="Wenwen Zhang" userId="9dd81366-5d6f-445a-b031-6ea562624431" providerId="ADAL" clId="{3909E7CC-5EA5-469C-9AFF-9A201E30CD9D}" dt="2022-12-06T16:52:46.897" v="57909"/>
          <ac:spMkLst>
            <pc:docMk/>
            <pc:sldMk cId="889115042" sldId="2134804363"/>
            <ac:spMk id="139" creationId="{8AC94F9B-D4FA-FE59-10BE-F34DB1567BAC}"/>
          </ac:spMkLst>
        </pc:spChg>
        <pc:spChg chg="add del mod modVis">
          <ac:chgData name="Wenwen Zhang" userId="9dd81366-5d6f-445a-b031-6ea562624431" providerId="ADAL" clId="{3909E7CC-5EA5-469C-9AFF-9A201E30CD9D}" dt="2022-12-06T16:52:49.429" v="57963"/>
          <ac:spMkLst>
            <pc:docMk/>
            <pc:sldMk cId="889115042" sldId="2134804363"/>
            <ac:spMk id="140" creationId="{617EB5E4-E750-F495-A2AC-8E72074BE439}"/>
          </ac:spMkLst>
        </pc:spChg>
        <pc:spChg chg="add del mod modVis">
          <ac:chgData name="Wenwen Zhang" userId="9dd81366-5d6f-445a-b031-6ea562624431" providerId="ADAL" clId="{3909E7CC-5EA5-469C-9AFF-9A201E30CD9D}" dt="2022-12-06T16:52:51.475" v="58017"/>
          <ac:spMkLst>
            <pc:docMk/>
            <pc:sldMk cId="889115042" sldId="2134804363"/>
            <ac:spMk id="141" creationId="{97D349E5-AB41-0408-E66C-DB93A20166F7}"/>
          </ac:spMkLst>
        </pc:spChg>
        <pc:spChg chg="add del mod modVis">
          <ac:chgData name="Wenwen Zhang" userId="9dd81366-5d6f-445a-b031-6ea562624431" providerId="ADAL" clId="{3909E7CC-5EA5-469C-9AFF-9A201E30CD9D}" dt="2022-12-06T16:52:59.998" v="58071"/>
          <ac:spMkLst>
            <pc:docMk/>
            <pc:sldMk cId="889115042" sldId="2134804363"/>
            <ac:spMk id="142" creationId="{ED895BF0-9466-2A02-E8CD-F4CCDBD424BD}"/>
          </ac:spMkLst>
        </pc:spChg>
        <pc:spChg chg="add del mod modVis">
          <ac:chgData name="Wenwen Zhang" userId="9dd81366-5d6f-445a-b031-6ea562624431" providerId="ADAL" clId="{3909E7CC-5EA5-469C-9AFF-9A201E30CD9D}" dt="2022-12-06T16:53:05.021" v="58141"/>
          <ac:spMkLst>
            <pc:docMk/>
            <pc:sldMk cId="889115042" sldId="2134804363"/>
            <ac:spMk id="143" creationId="{D1799A8E-3B9D-0B3D-9BEB-98396A8DD2FD}"/>
          </ac:spMkLst>
        </pc:spChg>
        <pc:spChg chg="add del mod modVis">
          <ac:chgData name="Wenwen Zhang" userId="9dd81366-5d6f-445a-b031-6ea562624431" providerId="ADAL" clId="{3909E7CC-5EA5-469C-9AFF-9A201E30CD9D}" dt="2022-12-06T16:53:05.862" v="58197"/>
          <ac:spMkLst>
            <pc:docMk/>
            <pc:sldMk cId="889115042" sldId="2134804363"/>
            <ac:spMk id="144" creationId="{F646C128-07B5-3822-3E5D-C5395517569C}"/>
          </ac:spMkLst>
        </pc:spChg>
        <pc:spChg chg="add mod replST">
          <ac:chgData name="Wenwen Zhang" userId="9dd81366-5d6f-445a-b031-6ea562624431" providerId="ADAL" clId="{3909E7CC-5EA5-469C-9AFF-9A201E30CD9D}" dt="2022-12-06T16:57:01.190" v="59161"/>
          <ac:spMkLst>
            <pc:docMk/>
            <pc:sldMk cId="889115042" sldId="2134804363"/>
            <ac:spMk id="145" creationId="{84BFA88E-0F0C-E062-37D3-47C8AFB9ABBD}"/>
          </ac:spMkLst>
        </pc:spChg>
        <pc:spChg chg="add del mod modVis">
          <ac:chgData name="Wenwen Zhang" userId="9dd81366-5d6f-445a-b031-6ea562624431" providerId="ADAL" clId="{3909E7CC-5EA5-469C-9AFF-9A201E30CD9D}" dt="2022-12-06T16:55:23.057" v="58262"/>
          <ac:spMkLst>
            <pc:docMk/>
            <pc:sldMk cId="889115042" sldId="2134804363"/>
            <ac:spMk id="146" creationId="{C809F843-582E-3BF5-7791-49E9FADF35E8}"/>
          </ac:spMkLst>
        </pc:spChg>
        <pc:spChg chg="add mod replST">
          <ac:chgData name="Wenwen Zhang" userId="9dd81366-5d6f-445a-b031-6ea562624431" providerId="ADAL" clId="{3909E7CC-5EA5-469C-9AFF-9A201E30CD9D}" dt="2022-12-06T16:57:12.093" v="59248" actId="948"/>
          <ac:spMkLst>
            <pc:docMk/>
            <pc:sldMk cId="889115042" sldId="2134804363"/>
            <ac:spMk id="147" creationId="{31695CEF-E190-A19F-7DEB-0FD4C55D9A5A}"/>
          </ac:spMkLst>
        </pc:spChg>
        <pc:spChg chg="add del mod modVis">
          <ac:chgData name="Wenwen Zhang" userId="9dd81366-5d6f-445a-b031-6ea562624431" providerId="ADAL" clId="{3909E7CC-5EA5-469C-9AFF-9A201E30CD9D}" dt="2022-12-06T16:56:05.662" v="58360"/>
          <ac:spMkLst>
            <pc:docMk/>
            <pc:sldMk cId="889115042" sldId="2134804363"/>
            <ac:spMk id="148" creationId="{AC209540-680C-C267-346C-799C97215544}"/>
          </ac:spMkLst>
        </pc:spChg>
        <pc:spChg chg="add del mod modVis">
          <ac:chgData name="Wenwen Zhang" userId="9dd81366-5d6f-445a-b031-6ea562624431" providerId="ADAL" clId="{3909E7CC-5EA5-469C-9AFF-9A201E30CD9D}" dt="2022-12-06T16:56:27.823" v="58491"/>
          <ac:spMkLst>
            <pc:docMk/>
            <pc:sldMk cId="889115042" sldId="2134804363"/>
            <ac:spMk id="149" creationId="{DF3FC6CC-F2EC-98E5-EABE-E6752F9BA0FA}"/>
          </ac:spMkLst>
        </pc:spChg>
        <pc:spChg chg="add del mod modVis">
          <ac:chgData name="Wenwen Zhang" userId="9dd81366-5d6f-445a-b031-6ea562624431" providerId="ADAL" clId="{3909E7CC-5EA5-469C-9AFF-9A201E30CD9D}" dt="2022-12-06T16:56:40.409" v="58585"/>
          <ac:spMkLst>
            <pc:docMk/>
            <pc:sldMk cId="889115042" sldId="2134804363"/>
            <ac:spMk id="150" creationId="{E4E642A9-ABFF-59C2-E23D-BA5A53FD87EF}"/>
          </ac:spMkLst>
        </pc:spChg>
        <pc:spChg chg="add del mod modVis">
          <ac:chgData name="Wenwen Zhang" userId="9dd81366-5d6f-445a-b031-6ea562624431" providerId="ADAL" clId="{3909E7CC-5EA5-469C-9AFF-9A201E30CD9D}" dt="2022-12-06T16:56:41.032" v="58640"/>
          <ac:spMkLst>
            <pc:docMk/>
            <pc:sldMk cId="889115042" sldId="2134804363"/>
            <ac:spMk id="151" creationId="{4AB296D4-7EE4-7EDF-760C-C1551948C16C}"/>
          </ac:spMkLst>
        </pc:spChg>
        <pc:spChg chg="add del mod modVis">
          <ac:chgData name="Wenwen Zhang" userId="9dd81366-5d6f-445a-b031-6ea562624431" providerId="ADAL" clId="{3909E7CC-5EA5-469C-9AFF-9A201E30CD9D}" dt="2022-12-06T16:56:42.774" v="58700"/>
          <ac:spMkLst>
            <pc:docMk/>
            <pc:sldMk cId="889115042" sldId="2134804363"/>
            <ac:spMk id="152" creationId="{B0D01B9E-39D2-2833-955F-4F967671246E}"/>
          </ac:spMkLst>
        </pc:spChg>
        <pc:spChg chg="add del mod modVis">
          <ac:chgData name="Wenwen Zhang" userId="9dd81366-5d6f-445a-b031-6ea562624431" providerId="ADAL" clId="{3909E7CC-5EA5-469C-9AFF-9A201E30CD9D}" dt="2022-12-06T16:56:45.104" v="58762"/>
          <ac:spMkLst>
            <pc:docMk/>
            <pc:sldMk cId="889115042" sldId="2134804363"/>
            <ac:spMk id="153" creationId="{23753ABE-3ED3-CDFC-8C10-2982A42A0D72}"/>
          </ac:spMkLst>
        </pc:spChg>
        <pc:spChg chg="add del mod modVis">
          <ac:chgData name="Wenwen Zhang" userId="9dd81366-5d6f-445a-b031-6ea562624431" providerId="ADAL" clId="{3909E7CC-5EA5-469C-9AFF-9A201E30CD9D}" dt="2022-12-06T16:56:47.292" v="58818"/>
          <ac:spMkLst>
            <pc:docMk/>
            <pc:sldMk cId="889115042" sldId="2134804363"/>
            <ac:spMk id="154" creationId="{791DA4F6-2FD8-8C36-0873-4F4357AB70F4}"/>
          </ac:spMkLst>
        </pc:spChg>
        <pc:spChg chg="add del mod modVis">
          <ac:chgData name="Wenwen Zhang" userId="9dd81366-5d6f-445a-b031-6ea562624431" providerId="ADAL" clId="{3909E7CC-5EA5-469C-9AFF-9A201E30CD9D}" dt="2022-12-06T16:56:48.362" v="58874"/>
          <ac:spMkLst>
            <pc:docMk/>
            <pc:sldMk cId="889115042" sldId="2134804363"/>
            <ac:spMk id="155" creationId="{0269A880-5009-0733-09FE-A3B4AC80A728}"/>
          </ac:spMkLst>
        </pc:spChg>
        <pc:spChg chg="add del mod modVis">
          <ac:chgData name="Wenwen Zhang" userId="9dd81366-5d6f-445a-b031-6ea562624431" providerId="ADAL" clId="{3909E7CC-5EA5-469C-9AFF-9A201E30CD9D}" dt="2022-12-06T16:56:49.933" v="58934"/>
          <ac:spMkLst>
            <pc:docMk/>
            <pc:sldMk cId="889115042" sldId="2134804363"/>
            <ac:spMk id="156" creationId="{B15D709D-1E1E-5E63-9F05-9B5288B26A80}"/>
          </ac:spMkLst>
        </pc:spChg>
        <pc:spChg chg="add del mod modVis">
          <ac:chgData name="Wenwen Zhang" userId="9dd81366-5d6f-445a-b031-6ea562624431" providerId="ADAL" clId="{3909E7CC-5EA5-469C-9AFF-9A201E30CD9D}" dt="2022-12-06T16:56:57.096" v="59051"/>
          <ac:spMkLst>
            <pc:docMk/>
            <pc:sldMk cId="889115042" sldId="2134804363"/>
            <ac:spMk id="157" creationId="{F190300F-243E-CB1F-288A-BC8FC5D6D034}"/>
          </ac:spMkLst>
        </pc:spChg>
        <pc:spChg chg="add del mod modVis">
          <ac:chgData name="Wenwen Zhang" userId="9dd81366-5d6f-445a-b031-6ea562624431" providerId="ADAL" clId="{3909E7CC-5EA5-469C-9AFF-9A201E30CD9D}" dt="2022-12-06T16:57:01.195" v="59175"/>
          <ac:spMkLst>
            <pc:docMk/>
            <pc:sldMk cId="889115042" sldId="2134804363"/>
            <ac:spMk id="158" creationId="{C4BAFFD4-7DD4-27F3-1588-C79A1A9272BA}"/>
          </ac:spMkLst>
        </pc:spChg>
        <pc:spChg chg="add del mod modVis">
          <ac:chgData name="Wenwen Zhang" userId="9dd81366-5d6f-445a-b031-6ea562624431" providerId="ADAL" clId="{3909E7CC-5EA5-469C-9AFF-9A201E30CD9D}" dt="2022-12-06T16:57:10.312" v="59238"/>
          <ac:spMkLst>
            <pc:docMk/>
            <pc:sldMk cId="889115042" sldId="2134804363"/>
            <ac:spMk id="159" creationId="{0122A8AC-26FB-2E80-9361-FEFF4BBF5629}"/>
          </ac:spMkLst>
        </pc:spChg>
        <pc:spChg chg="add del mod modVis">
          <ac:chgData name="Wenwen Zhang" userId="9dd81366-5d6f-445a-b031-6ea562624431" providerId="ADAL" clId="{3909E7CC-5EA5-469C-9AFF-9A201E30CD9D}" dt="2022-12-06T16:57:12.160" v="59299"/>
          <ac:spMkLst>
            <pc:docMk/>
            <pc:sldMk cId="889115042" sldId="2134804363"/>
            <ac:spMk id="160" creationId="{D4E20470-CA8A-2FCB-6C13-8D559CB7A763}"/>
          </ac:spMkLst>
        </pc:spChg>
        <pc:graphicFrameChg chg="mod">
          <ac:chgData name="Wenwen Zhang" userId="9dd81366-5d6f-445a-b031-6ea562624431" providerId="ADAL" clId="{3909E7CC-5EA5-469C-9AFF-9A201E30CD9D}" dt="2022-12-06T16:57:12.162" v="59301"/>
          <ac:graphicFrameMkLst>
            <pc:docMk/>
            <pc:sldMk cId="889115042" sldId="2134804363"/>
            <ac:graphicFrameMk id="28" creationId="{015DFAEE-F78A-C272-92CE-F25C3417CAD0}"/>
          </ac:graphicFrameMkLst>
        </pc:graphicFrameChg>
      </pc:sldChg>
      <pc:sldChg chg="addSp delSp modSp add mod ord modNotesTx">
        <pc:chgData name="Wenwen Zhang" userId="9dd81366-5d6f-445a-b031-6ea562624431" providerId="ADAL" clId="{3909E7CC-5EA5-469C-9AFF-9A201E30CD9D}" dt="2022-12-07T09:30:41.070" v="66304" actId="20577"/>
        <pc:sldMkLst>
          <pc:docMk/>
          <pc:sldMk cId="691933908" sldId="2134804364"/>
        </pc:sldMkLst>
        <pc:spChg chg="mod ord">
          <ac:chgData name="Wenwen Zhang" userId="9dd81366-5d6f-445a-b031-6ea562624431" providerId="ADAL" clId="{3909E7CC-5EA5-469C-9AFF-9A201E30CD9D}" dt="2022-12-06T16:19:09.649" v="49537" actId="20577"/>
          <ac:spMkLst>
            <pc:docMk/>
            <pc:sldMk cId="691933908" sldId="2134804364"/>
            <ac:spMk id="2" creationId="{B065B79C-C4D6-5961-7919-6BB68C420868}"/>
          </ac:spMkLst>
        </pc:spChg>
        <pc:spChg chg="add mod replST">
          <ac:chgData name="Wenwen Zhang" userId="9dd81366-5d6f-445a-b031-6ea562624431" providerId="ADAL" clId="{3909E7CC-5EA5-469C-9AFF-9A201E30CD9D}" dt="2022-12-06T16:13:39.137" v="49473"/>
          <ac:spMkLst>
            <pc:docMk/>
            <pc:sldMk cId="691933908" sldId="2134804364"/>
            <ac:spMk id="4" creationId="{9E9566FE-C981-23D9-6370-511BCCF513B4}"/>
          </ac:spMkLst>
        </pc:spChg>
        <pc:spChg chg="add mod replST">
          <ac:chgData name="Wenwen Zhang" userId="9dd81366-5d6f-445a-b031-6ea562624431" providerId="ADAL" clId="{3909E7CC-5EA5-469C-9AFF-9A201E30CD9D}" dt="2022-12-06T16:13:39.137" v="49474"/>
          <ac:spMkLst>
            <pc:docMk/>
            <pc:sldMk cId="691933908" sldId="2134804364"/>
            <ac:spMk id="5" creationId="{56A854BD-956A-B113-E1E4-E194C9C6B05A}"/>
          </ac:spMkLst>
        </pc:spChg>
        <pc:spChg chg="add mod replST">
          <ac:chgData name="Wenwen Zhang" userId="9dd81366-5d6f-445a-b031-6ea562624431" providerId="ADAL" clId="{3909E7CC-5EA5-469C-9AFF-9A201E30CD9D}" dt="2022-12-06T16:13:39.137" v="49472"/>
          <ac:spMkLst>
            <pc:docMk/>
            <pc:sldMk cId="691933908" sldId="2134804364"/>
            <ac:spMk id="6" creationId="{F78A58B1-13ED-ED60-5627-4D6AA6FA4CAA}"/>
          </ac:spMkLst>
        </pc:spChg>
        <pc:spChg chg="add mod ord replST">
          <ac:chgData name="Wenwen Zhang" userId="9dd81366-5d6f-445a-b031-6ea562624431" providerId="ADAL" clId="{3909E7CC-5EA5-469C-9AFF-9A201E30CD9D}" dt="2022-12-06T16:13:39.138" v="49476"/>
          <ac:spMkLst>
            <pc:docMk/>
            <pc:sldMk cId="691933908" sldId="2134804364"/>
            <ac:spMk id="7" creationId="{1F61149F-1E20-A8AC-4C9F-D790DEAB9469}"/>
          </ac:spMkLst>
        </pc:spChg>
        <pc:spChg chg="add mod ord replST">
          <ac:chgData name="Wenwen Zhang" userId="9dd81366-5d6f-445a-b031-6ea562624431" providerId="ADAL" clId="{3909E7CC-5EA5-469C-9AFF-9A201E30CD9D}" dt="2022-12-06T16:13:39.138" v="49478"/>
          <ac:spMkLst>
            <pc:docMk/>
            <pc:sldMk cId="691933908" sldId="2134804364"/>
            <ac:spMk id="8" creationId="{220E948E-6698-B7EC-831B-0DB92E8E2F61}"/>
          </ac:spMkLst>
        </pc:spChg>
        <pc:spChg chg="add mod replST">
          <ac:chgData name="Wenwen Zhang" userId="9dd81366-5d6f-445a-b031-6ea562624431" providerId="ADAL" clId="{3909E7CC-5EA5-469C-9AFF-9A201E30CD9D}" dt="2022-12-06T16:13:39.138" v="49479"/>
          <ac:spMkLst>
            <pc:docMk/>
            <pc:sldMk cId="691933908" sldId="2134804364"/>
            <ac:spMk id="9" creationId="{21C1DF04-62EE-BC84-D5AB-0D14B3B6C342}"/>
          </ac:spMkLst>
        </pc:spChg>
        <pc:spChg chg="add mod replST">
          <ac:chgData name="Wenwen Zhang" userId="9dd81366-5d6f-445a-b031-6ea562624431" providerId="ADAL" clId="{3909E7CC-5EA5-469C-9AFF-9A201E30CD9D}" dt="2022-12-06T16:13:39.138" v="49480"/>
          <ac:spMkLst>
            <pc:docMk/>
            <pc:sldMk cId="691933908" sldId="2134804364"/>
            <ac:spMk id="10" creationId="{A6414961-4924-D445-9CBB-7C44064EB260}"/>
          </ac:spMkLst>
        </pc:spChg>
        <pc:spChg chg="add del mod modVis">
          <ac:chgData name="Wenwen Zhang" userId="9dd81366-5d6f-445a-b031-6ea562624431" providerId="ADAL" clId="{3909E7CC-5EA5-469C-9AFF-9A201E30CD9D}" dt="2022-12-05T22:37:48.051" v="17021"/>
          <ac:spMkLst>
            <pc:docMk/>
            <pc:sldMk cId="691933908" sldId="2134804364"/>
            <ac:spMk id="11" creationId="{D2F167C3-27D7-5355-AEB7-1E71D75866F1}"/>
          </ac:spMkLst>
        </pc:spChg>
        <pc:spChg chg="add mod replST">
          <ac:chgData name="Wenwen Zhang" userId="9dd81366-5d6f-445a-b031-6ea562624431" providerId="ADAL" clId="{3909E7CC-5EA5-469C-9AFF-9A201E30CD9D}" dt="2022-12-06T16:13:39.139" v="49485"/>
          <ac:spMkLst>
            <pc:docMk/>
            <pc:sldMk cId="691933908" sldId="2134804364"/>
            <ac:spMk id="14" creationId="{9FDFD18D-84E8-24AE-42EF-436A9A098861}"/>
          </ac:spMkLst>
        </pc:spChg>
        <pc:spChg chg="add mod replST">
          <ac:chgData name="Wenwen Zhang" userId="9dd81366-5d6f-445a-b031-6ea562624431" providerId="ADAL" clId="{3909E7CC-5EA5-469C-9AFF-9A201E30CD9D}" dt="2022-12-06T16:13:39.139" v="49484"/>
          <ac:spMkLst>
            <pc:docMk/>
            <pc:sldMk cId="691933908" sldId="2134804364"/>
            <ac:spMk id="15" creationId="{A0F7AAAB-64E5-980E-F56C-B8293CF15A7C}"/>
          </ac:spMkLst>
        </pc:spChg>
        <pc:spChg chg="add mod replST">
          <ac:chgData name="Wenwen Zhang" userId="9dd81366-5d6f-445a-b031-6ea562624431" providerId="ADAL" clId="{3909E7CC-5EA5-469C-9AFF-9A201E30CD9D}" dt="2022-12-06T16:13:39.139" v="49483"/>
          <ac:spMkLst>
            <pc:docMk/>
            <pc:sldMk cId="691933908" sldId="2134804364"/>
            <ac:spMk id="16" creationId="{B66AB878-7EAC-027B-C99A-BEC0F63592FE}"/>
          </ac:spMkLst>
        </pc:spChg>
        <pc:spChg chg="add mod ord">
          <ac:chgData name="Wenwen Zhang" userId="9dd81366-5d6f-445a-b031-6ea562624431" providerId="ADAL" clId="{3909E7CC-5EA5-469C-9AFF-9A201E30CD9D}" dt="2022-12-06T16:19:15.693" v="49553" actId="20577"/>
          <ac:spMkLst>
            <pc:docMk/>
            <pc:sldMk cId="691933908" sldId="2134804364"/>
            <ac:spMk id="17" creationId="{9D1E6C58-4AF0-E4D6-5BC6-E8F603498246}"/>
          </ac:spMkLst>
        </pc:spChg>
        <pc:spChg chg="add del mod modVis">
          <ac:chgData name="Wenwen Zhang" userId="9dd81366-5d6f-445a-b031-6ea562624431" providerId="ADAL" clId="{3909E7CC-5EA5-469C-9AFF-9A201E30CD9D}" dt="2022-12-05T22:37:58.190" v="17362"/>
          <ac:spMkLst>
            <pc:docMk/>
            <pc:sldMk cId="691933908" sldId="2134804364"/>
            <ac:spMk id="18" creationId="{02B347B3-3BBA-BFA9-7F7A-21319C44B416}"/>
          </ac:spMkLst>
        </pc:spChg>
        <pc:spChg chg="add del mod modVis">
          <ac:chgData name="Wenwen Zhang" userId="9dd81366-5d6f-445a-b031-6ea562624431" providerId="ADAL" clId="{3909E7CC-5EA5-469C-9AFF-9A201E30CD9D}" dt="2022-12-05T22:38:27.264" v="17470"/>
          <ac:spMkLst>
            <pc:docMk/>
            <pc:sldMk cId="691933908" sldId="2134804364"/>
            <ac:spMk id="20" creationId="{EACE4296-C821-AE1D-A535-8C26B6CC681E}"/>
          </ac:spMkLst>
        </pc:spChg>
        <pc:spChg chg="add del mod modVis">
          <ac:chgData name="Wenwen Zhang" userId="9dd81366-5d6f-445a-b031-6ea562624431" providerId="ADAL" clId="{3909E7CC-5EA5-469C-9AFF-9A201E30CD9D}" dt="2022-12-05T22:38:38.602" v="17601"/>
          <ac:spMkLst>
            <pc:docMk/>
            <pc:sldMk cId="691933908" sldId="2134804364"/>
            <ac:spMk id="22" creationId="{7B39D4B5-8B5A-5F69-0060-39536F1A6379}"/>
          </ac:spMkLst>
        </pc:spChg>
        <pc:spChg chg="add del mod modVis">
          <ac:chgData name="Wenwen Zhang" userId="9dd81366-5d6f-445a-b031-6ea562624431" providerId="ADAL" clId="{3909E7CC-5EA5-469C-9AFF-9A201E30CD9D}" dt="2022-12-06T11:45:01.856" v="47441"/>
          <ac:spMkLst>
            <pc:docMk/>
            <pc:sldMk cId="691933908" sldId="2134804364"/>
            <ac:spMk id="24" creationId="{BBA41994-B6C7-FAA4-BA0E-24DE9094B35D}"/>
          </ac:spMkLst>
        </pc:spChg>
        <pc:spChg chg="add del mod modVis">
          <ac:chgData name="Wenwen Zhang" userId="9dd81366-5d6f-445a-b031-6ea562624431" providerId="ADAL" clId="{3909E7CC-5EA5-469C-9AFF-9A201E30CD9D}" dt="2022-12-06T11:45:09.136" v="47542"/>
          <ac:spMkLst>
            <pc:docMk/>
            <pc:sldMk cId="691933908" sldId="2134804364"/>
            <ac:spMk id="26" creationId="{D2CFF292-6548-81B4-6954-762C72127639}"/>
          </ac:spMkLst>
        </pc:spChg>
        <pc:spChg chg="mod ord">
          <ac:chgData name="Wenwen Zhang" userId="9dd81366-5d6f-445a-b031-6ea562624431" providerId="ADAL" clId="{3909E7CC-5EA5-469C-9AFF-9A201E30CD9D}" dt="2022-12-06T16:13:39.136" v="49467"/>
          <ac:spMkLst>
            <pc:docMk/>
            <pc:sldMk cId="691933908" sldId="2134804364"/>
            <ac:spMk id="29" creationId="{D50B6CAA-A666-5524-85F7-444C607F0970}"/>
          </ac:spMkLst>
        </pc:spChg>
        <pc:spChg chg="add del mod modVis">
          <ac:chgData name="Wenwen Zhang" userId="9dd81366-5d6f-445a-b031-6ea562624431" providerId="ADAL" clId="{3909E7CC-5EA5-469C-9AFF-9A201E30CD9D}" dt="2022-12-06T16:12:33.100" v="48513"/>
          <ac:spMkLst>
            <pc:docMk/>
            <pc:sldMk cId="691933908" sldId="2134804364"/>
            <ac:spMk id="30" creationId="{B51A5C01-BBD1-95EA-6DFB-DDDF97A043B2}"/>
          </ac:spMkLst>
        </pc:spChg>
        <pc:spChg chg="add del mod modVis">
          <ac:chgData name="Wenwen Zhang" userId="9dd81366-5d6f-445a-b031-6ea562624431" providerId="ADAL" clId="{3909E7CC-5EA5-469C-9AFF-9A201E30CD9D}" dt="2022-12-06T16:12:39.176" v="48620"/>
          <ac:spMkLst>
            <pc:docMk/>
            <pc:sldMk cId="691933908" sldId="2134804364"/>
            <ac:spMk id="32" creationId="{87EDF15A-F8F6-FE87-5015-FD0D3B43E9FB}"/>
          </ac:spMkLst>
        </pc:spChg>
        <pc:spChg chg="add del mod modVis">
          <ac:chgData name="Wenwen Zhang" userId="9dd81366-5d6f-445a-b031-6ea562624431" providerId="ADAL" clId="{3909E7CC-5EA5-469C-9AFF-9A201E30CD9D}" dt="2022-12-06T16:12:45.056" v="48736"/>
          <ac:spMkLst>
            <pc:docMk/>
            <pc:sldMk cId="691933908" sldId="2134804364"/>
            <ac:spMk id="34" creationId="{C0258D32-865A-FB78-6490-35ECAFF834E7}"/>
          </ac:spMkLst>
        </pc:spChg>
        <pc:spChg chg="add del mod modVis">
          <ac:chgData name="Wenwen Zhang" userId="9dd81366-5d6f-445a-b031-6ea562624431" providerId="ADAL" clId="{3909E7CC-5EA5-469C-9AFF-9A201E30CD9D}" dt="2022-12-06T16:12:48.692" v="48840"/>
          <ac:spMkLst>
            <pc:docMk/>
            <pc:sldMk cId="691933908" sldId="2134804364"/>
            <ac:spMk id="36" creationId="{8CB39963-2EEE-FDAD-0F08-4EEF8CC6B9AC}"/>
          </ac:spMkLst>
        </pc:spChg>
        <pc:spChg chg="add del mod modVis">
          <ac:chgData name="Wenwen Zhang" userId="9dd81366-5d6f-445a-b031-6ea562624431" providerId="ADAL" clId="{3909E7CC-5EA5-469C-9AFF-9A201E30CD9D}" dt="2022-12-06T16:12:51.641" v="48970"/>
          <ac:spMkLst>
            <pc:docMk/>
            <pc:sldMk cId="691933908" sldId="2134804364"/>
            <ac:spMk id="38" creationId="{36DDEB6C-19EF-BECC-7CFC-C3561920668C}"/>
          </ac:spMkLst>
        </pc:spChg>
        <pc:spChg chg="add del mod modVis">
          <ac:chgData name="Wenwen Zhang" userId="9dd81366-5d6f-445a-b031-6ea562624431" providerId="ADAL" clId="{3909E7CC-5EA5-469C-9AFF-9A201E30CD9D}" dt="2022-12-06T16:13:00.838" v="49074"/>
          <ac:spMkLst>
            <pc:docMk/>
            <pc:sldMk cId="691933908" sldId="2134804364"/>
            <ac:spMk id="41" creationId="{ECFA1E64-22FC-6EC2-A6E0-E3E5AC91E278}"/>
          </ac:spMkLst>
        </pc:spChg>
        <pc:spChg chg="mod ord">
          <ac:chgData name="Wenwen Zhang" userId="9dd81366-5d6f-445a-b031-6ea562624431" providerId="ADAL" clId="{3909E7CC-5EA5-469C-9AFF-9A201E30CD9D}" dt="2022-12-06T16:13:39.136" v="49469"/>
          <ac:spMkLst>
            <pc:docMk/>
            <pc:sldMk cId="691933908" sldId="2134804364"/>
            <ac:spMk id="43" creationId="{C58C7321-3BF7-61DC-5B1A-AD075E56AE05}"/>
          </ac:spMkLst>
        </pc:spChg>
        <pc:spChg chg="add del mod modVis">
          <ac:chgData name="Wenwen Zhang" userId="9dd81366-5d6f-445a-b031-6ea562624431" providerId="ADAL" clId="{3909E7CC-5EA5-469C-9AFF-9A201E30CD9D}" dt="2022-12-06T16:13:23.268" v="49201"/>
          <ac:spMkLst>
            <pc:docMk/>
            <pc:sldMk cId="691933908" sldId="2134804364"/>
            <ac:spMk id="44" creationId="{41EF0EBF-0A84-521F-D9FF-E253EEF8493D}"/>
          </ac:spMkLst>
        </pc:spChg>
        <pc:spChg chg="add del mod modVis">
          <ac:chgData name="Wenwen Zhang" userId="9dd81366-5d6f-445a-b031-6ea562624431" providerId="ADAL" clId="{3909E7CC-5EA5-469C-9AFF-9A201E30CD9D}" dt="2022-12-06T16:13:27.267" v="49299"/>
          <ac:spMkLst>
            <pc:docMk/>
            <pc:sldMk cId="691933908" sldId="2134804364"/>
            <ac:spMk id="46" creationId="{808F874F-3205-3E50-22CC-0065785FCE78}"/>
          </ac:spMkLst>
        </pc:spChg>
        <pc:spChg chg="add del mod modVis">
          <ac:chgData name="Wenwen Zhang" userId="9dd81366-5d6f-445a-b031-6ea562624431" providerId="ADAL" clId="{3909E7CC-5EA5-469C-9AFF-9A201E30CD9D}" dt="2022-12-06T16:13:31.079" v="49395"/>
          <ac:spMkLst>
            <pc:docMk/>
            <pc:sldMk cId="691933908" sldId="2134804364"/>
            <ac:spMk id="48" creationId="{11FEAA5A-4B8B-F1FC-2532-D8E9AEA9C0DA}"/>
          </ac:spMkLst>
        </pc:spChg>
        <pc:spChg chg="add del mod modVis">
          <ac:chgData name="Wenwen Zhang" userId="9dd81366-5d6f-445a-b031-6ea562624431" providerId="ADAL" clId="{3909E7CC-5EA5-469C-9AFF-9A201E30CD9D}" dt="2022-12-06T16:13:39.141" v="49491"/>
          <ac:spMkLst>
            <pc:docMk/>
            <pc:sldMk cId="691933908" sldId="2134804364"/>
            <ac:spMk id="66" creationId="{98CBD3B7-0E06-CABC-E0D9-B2812A4EBD25}"/>
          </ac:spMkLst>
        </pc:spChg>
        <pc:spChg chg="del">
          <ac:chgData name="Wenwen Zhang" userId="9dd81366-5d6f-445a-b031-6ea562624431" providerId="ADAL" clId="{3909E7CC-5EA5-469C-9AFF-9A201E30CD9D}" dt="2022-12-05T22:36:43.108" v="16563"/>
          <ac:spMkLst>
            <pc:docMk/>
            <pc:sldMk cId="691933908" sldId="2134804364"/>
            <ac:spMk id="67" creationId="{0DFA5FCA-CE29-25FC-AD60-F110A8E124D7}"/>
          </ac:spMkLst>
        </pc:spChg>
        <pc:spChg chg="del">
          <ac:chgData name="Wenwen Zhang" userId="9dd81366-5d6f-445a-b031-6ea562624431" providerId="ADAL" clId="{3909E7CC-5EA5-469C-9AFF-9A201E30CD9D}" dt="2022-12-05T22:36:43.109" v="16566"/>
          <ac:spMkLst>
            <pc:docMk/>
            <pc:sldMk cId="691933908" sldId="2134804364"/>
            <ac:spMk id="68" creationId="{B7AD710F-8B1D-0D2C-081A-1C77F9373C99}"/>
          </ac:spMkLst>
        </pc:spChg>
        <pc:spChg chg="del">
          <ac:chgData name="Wenwen Zhang" userId="9dd81366-5d6f-445a-b031-6ea562624431" providerId="ADAL" clId="{3909E7CC-5EA5-469C-9AFF-9A201E30CD9D}" dt="2022-12-05T22:36:43.103" v="16542"/>
          <ac:spMkLst>
            <pc:docMk/>
            <pc:sldMk cId="691933908" sldId="2134804364"/>
            <ac:spMk id="69" creationId="{251FB0C8-02D4-0E5C-1AF9-968E7D05F015}"/>
          </ac:spMkLst>
        </pc:spChg>
        <pc:spChg chg="del">
          <ac:chgData name="Wenwen Zhang" userId="9dd81366-5d6f-445a-b031-6ea562624431" providerId="ADAL" clId="{3909E7CC-5EA5-469C-9AFF-9A201E30CD9D}" dt="2022-12-05T22:36:43.106" v="16554"/>
          <ac:spMkLst>
            <pc:docMk/>
            <pc:sldMk cId="691933908" sldId="2134804364"/>
            <ac:spMk id="70" creationId="{B383C063-9FEF-2B11-C7BF-31E74F56B75C}"/>
          </ac:spMkLst>
        </pc:spChg>
        <pc:spChg chg="del">
          <ac:chgData name="Wenwen Zhang" userId="9dd81366-5d6f-445a-b031-6ea562624431" providerId="ADAL" clId="{3909E7CC-5EA5-469C-9AFF-9A201E30CD9D}" dt="2022-12-05T22:36:43.106" v="16557"/>
          <ac:spMkLst>
            <pc:docMk/>
            <pc:sldMk cId="691933908" sldId="2134804364"/>
            <ac:spMk id="71" creationId="{DFBD5611-746E-255C-0FE4-D9E3DFAA76F4}"/>
          </ac:spMkLst>
        </pc:spChg>
        <pc:spChg chg="del">
          <ac:chgData name="Wenwen Zhang" userId="9dd81366-5d6f-445a-b031-6ea562624431" providerId="ADAL" clId="{3909E7CC-5EA5-469C-9AFF-9A201E30CD9D}" dt="2022-12-05T22:36:43.105" v="16551"/>
          <ac:spMkLst>
            <pc:docMk/>
            <pc:sldMk cId="691933908" sldId="2134804364"/>
            <ac:spMk id="72" creationId="{964FDE70-253D-E797-15BE-5EE44BE3B1B8}"/>
          </ac:spMkLst>
        </pc:spChg>
        <pc:spChg chg="del">
          <ac:chgData name="Wenwen Zhang" userId="9dd81366-5d6f-445a-b031-6ea562624431" providerId="ADAL" clId="{3909E7CC-5EA5-469C-9AFF-9A201E30CD9D}" dt="2022-12-05T22:36:43.100" v="16527"/>
          <ac:spMkLst>
            <pc:docMk/>
            <pc:sldMk cId="691933908" sldId="2134804364"/>
            <ac:spMk id="73" creationId="{21399DA5-30BC-A50F-AA2A-9970F154535D}"/>
          </ac:spMkLst>
        </pc:spChg>
        <pc:spChg chg="del">
          <ac:chgData name="Wenwen Zhang" userId="9dd81366-5d6f-445a-b031-6ea562624431" providerId="ADAL" clId="{3909E7CC-5EA5-469C-9AFF-9A201E30CD9D}" dt="2022-12-05T22:36:43.105" v="16548"/>
          <ac:spMkLst>
            <pc:docMk/>
            <pc:sldMk cId="691933908" sldId="2134804364"/>
            <ac:spMk id="74" creationId="{2BA09A5F-E315-C1FE-2877-1717E7392860}"/>
          </ac:spMkLst>
        </pc:spChg>
        <pc:spChg chg="del">
          <ac:chgData name="Wenwen Zhang" userId="9dd81366-5d6f-445a-b031-6ea562624431" providerId="ADAL" clId="{3909E7CC-5EA5-469C-9AFF-9A201E30CD9D}" dt="2022-12-05T22:36:43.103" v="16539"/>
          <ac:spMkLst>
            <pc:docMk/>
            <pc:sldMk cId="691933908" sldId="2134804364"/>
            <ac:spMk id="75" creationId="{3EA7E0E3-55DA-3564-A374-28859016132F}"/>
          </ac:spMkLst>
        </pc:spChg>
        <pc:spChg chg="del">
          <ac:chgData name="Wenwen Zhang" userId="9dd81366-5d6f-445a-b031-6ea562624431" providerId="ADAL" clId="{3909E7CC-5EA5-469C-9AFF-9A201E30CD9D}" dt="2022-12-05T22:36:43.104" v="16545"/>
          <ac:spMkLst>
            <pc:docMk/>
            <pc:sldMk cId="691933908" sldId="2134804364"/>
            <ac:spMk id="76" creationId="{2F79BDF9-8F0B-F5F3-672B-196C4CD4D21B}"/>
          </ac:spMkLst>
        </pc:spChg>
        <pc:spChg chg="del">
          <ac:chgData name="Wenwen Zhang" userId="9dd81366-5d6f-445a-b031-6ea562624431" providerId="ADAL" clId="{3909E7CC-5EA5-469C-9AFF-9A201E30CD9D}" dt="2022-12-05T22:36:43.107" v="16560"/>
          <ac:spMkLst>
            <pc:docMk/>
            <pc:sldMk cId="691933908" sldId="2134804364"/>
            <ac:spMk id="77" creationId="{E0AB411B-E161-6495-D666-EBADCEB32853}"/>
          </ac:spMkLst>
        </pc:spChg>
        <pc:spChg chg="del">
          <ac:chgData name="Wenwen Zhang" userId="9dd81366-5d6f-445a-b031-6ea562624431" providerId="ADAL" clId="{3909E7CC-5EA5-469C-9AFF-9A201E30CD9D}" dt="2022-12-05T22:36:43.102" v="16536"/>
          <ac:spMkLst>
            <pc:docMk/>
            <pc:sldMk cId="691933908" sldId="2134804364"/>
            <ac:spMk id="78" creationId="{53D15780-6BED-32C9-3448-744706CD6AC8}"/>
          </ac:spMkLst>
        </pc:spChg>
        <pc:spChg chg="del">
          <ac:chgData name="Wenwen Zhang" userId="9dd81366-5d6f-445a-b031-6ea562624431" providerId="ADAL" clId="{3909E7CC-5EA5-469C-9AFF-9A201E30CD9D}" dt="2022-12-05T22:36:43.101" v="16533"/>
          <ac:spMkLst>
            <pc:docMk/>
            <pc:sldMk cId="691933908" sldId="2134804364"/>
            <ac:spMk id="79" creationId="{FAEAE316-43B6-712D-E8E0-08F73A220B0C}"/>
          </ac:spMkLst>
        </pc:spChg>
        <pc:spChg chg="del">
          <ac:chgData name="Wenwen Zhang" userId="9dd81366-5d6f-445a-b031-6ea562624431" providerId="ADAL" clId="{3909E7CC-5EA5-469C-9AFF-9A201E30CD9D}" dt="2022-12-05T22:36:43.109" v="16569"/>
          <ac:spMkLst>
            <pc:docMk/>
            <pc:sldMk cId="691933908" sldId="2134804364"/>
            <ac:spMk id="80" creationId="{7DC2DB60-3355-94A7-0ED1-D121EDF96E6F}"/>
          </ac:spMkLst>
        </pc:spChg>
        <pc:spChg chg="del">
          <ac:chgData name="Wenwen Zhang" userId="9dd81366-5d6f-445a-b031-6ea562624431" providerId="ADAL" clId="{3909E7CC-5EA5-469C-9AFF-9A201E30CD9D}" dt="2022-12-05T22:36:43.101" v="16530"/>
          <ac:spMkLst>
            <pc:docMk/>
            <pc:sldMk cId="691933908" sldId="2134804364"/>
            <ac:spMk id="81" creationId="{2D9C49E3-F962-15E6-D531-4923C3C0510F}"/>
          </ac:spMkLst>
        </pc:spChg>
        <pc:spChg chg="del">
          <ac:chgData name="Wenwen Zhang" userId="9dd81366-5d6f-445a-b031-6ea562624431" providerId="ADAL" clId="{3909E7CC-5EA5-469C-9AFF-9A201E30CD9D}" dt="2022-12-05T22:36:43.110" v="16572"/>
          <ac:spMkLst>
            <pc:docMk/>
            <pc:sldMk cId="691933908" sldId="2134804364"/>
            <ac:spMk id="82" creationId="{F7D4A8AC-C721-778B-48E1-D81FBA026F74}"/>
          </ac:spMkLst>
        </pc:spChg>
        <pc:spChg chg="del">
          <ac:chgData name="Wenwen Zhang" userId="9dd81366-5d6f-445a-b031-6ea562624431" providerId="ADAL" clId="{3909E7CC-5EA5-469C-9AFF-9A201E30CD9D}" dt="2022-12-05T22:36:43.100" v="16526"/>
          <ac:spMkLst>
            <pc:docMk/>
            <pc:sldMk cId="691933908" sldId="2134804364"/>
            <ac:spMk id="86" creationId="{E983946A-835B-E530-5456-E7F93215E6C4}"/>
          </ac:spMkLst>
        </pc:spChg>
        <pc:spChg chg="del">
          <ac:chgData name="Wenwen Zhang" userId="9dd81366-5d6f-445a-b031-6ea562624431" providerId="ADAL" clId="{3909E7CC-5EA5-469C-9AFF-9A201E30CD9D}" dt="2022-12-05T22:36:43.096" v="16523"/>
          <ac:spMkLst>
            <pc:docMk/>
            <pc:sldMk cId="691933908" sldId="2134804364"/>
            <ac:spMk id="87" creationId="{4D6A8C5C-3863-D288-721D-7AC8777B7481}"/>
          </ac:spMkLst>
        </pc:spChg>
        <pc:spChg chg="del">
          <ac:chgData name="Wenwen Zhang" userId="9dd81366-5d6f-445a-b031-6ea562624431" providerId="ADAL" clId="{3909E7CC-5EA5-469C-9AFF-9A201E30CD9D}" dt="2022-12-05T22:36:43.095" v="16517"/>
          <ac:spMkLst>
            <pc:docMk/>
            <pc:sldMk cId="691933908" sldId="2134804364"/>
            <ac:spMk id="90" creationId="{573CBC18-B0A5-0366-01A7-6F01F1D7CA93}"/>
          </ac:spMkLst>
        </pc:spChg>
        <pc:spChg chg="del">
          <ac:chgData name="Wenwen Zhang" userId="9dd81366-5d6f-445a-b031-6ea562624431" providerId="ADAL" clId="{3909E7CC-5EA5-469C-9AFF-9A201E30CD9D}" dt="2022-12-05T22:36:43.094" v="16514"/>
          <ac:spMkLst>
            <pc:docMk/>
            <pc:sldMk cId="691933908" sldId="2134804364"/>
            <ac:spMk id="91" creationId="{B41F8198-4056-C309-C0EF-3CA0DBFF5628}"/>
          </ac:spMkLst>
        </pc:spChg>
        <pc:spChg chg="del">
          <ac:chgData name="Wenwen Zhang" userId="9dd81366-5d6f-445a-b031-6ea562624431" providerId="ADAL" clId="{3909E7CC-5EA5-469C-9AFF-9A201E30CD9D}" dt="2022-12-05T22:36:43.092" v="16507"/>
          <ac:spMkLst>
            <pc:docMk/>
            <pc:sldMk cId="691933908" sldId="2134804364"/>
            <ac:spMk id="94" creationId="{571C8A10-7905-A76D-1E04-A8D148FE5A59}"/>
          </ac:spMkLst>
        </pc:spChg>
        <pc:spChg chg="del">
          <ac:chgData name="Wenwen Zhang" userId="9dd81366-5d6f-445a-b031-6ea562624431" providerId="ADAL" clId="{3909E7CC-5EA5-469C-9AFF-9A201E30CD9D}" dt="2022-12-05T22:36:43.087" v="16493"/>
          <ac:spMkLst>
            <pc:docMk/>
            <pc:sldMk cId="691933908" sldId="2134804364"/>
            <ac:spMk id="95" creationId="{9C7D4390-48A0-CD91-559E-CBC38D67A4DD}"/>
          </ac:spMkLst>
        </pc:spChg>
        <pc:spChg chg="del">
          <ac:chgData name="Wenwen Zhang" userId="9dd81366-5d6f-445a-b031-6ea562624431" providerId="ADAL" clId="{3909E7CC-5EA5-469C-9AFF-9A201E30CD9D}" dt="2022-12-05T22:36:43.094" v="16511"/>
          <ac:spMkLst>
            <pc:docMk/>
            <pc:sldMk cId="691933908" sldId="2134804364"/>
            <ac:spMk id="97" creationId="{CEFE9D52-24A2-1DBC-2576-8F4E702E5E6B}"/>
          </ac:spMkLst>
        </pc:spChg>
        <pc:spChg chg="del">
          <ac:chgData name="Wenwen Zhang" userId="9dd81366-5d6f-445a-b031-6ea562624431" providerId="ADAL" clId="{3909E7CC-5EA5-469C-9AFF-9A201E30CD9D}" dt="2022-12-05T22:36:43.088" v="16495"/>
          <ac:spMkLst>
            <pc:docMk/>
            <pc:sldMk cId="691933908" sldId="2134804364"/>
            <ac:spMk id="99" creationId="{50421E70-E141-C8F3-CDF5-D62E631F03B6}"/>
          </ac:spMkLst>
        </pc:spChg>
        <pc:spChg chg="del">
          <ac:chgData name="Wenwen Zhang" userId="9dd81366-5d6f-445a-b031-6ea562624431" providerId="ADAL" clId="{3909E7CC-5EA5-469C-9AFF-9A201E30CD9D}" dt="2022-12-05T22:36:43.089" v="16497"/>
          <ac:spMkLst>
            <pc:docMk/>
            <pc:sldMk cId="691933908" sldId="2134804364"/>
            <ac:spMk id="101" creationId="{6E5AC542-6B75-4185-0659-1E990B7D226C}"/>
          </ac:spMkLst>
        </pc:spChg>
        <pc:spChg chg="del">
          <ac:chgData name="Wenwen Zhang" userId="9dd81366-5d6f-445a-b031-6ea562624431" providerId="ADAL" clId="{3909E7CC-5EA5-469C-9AFF-9A201E30CD9D}" dt="2022-12-05T22:36:43.090" v="16503"/>
          <ac:spMkLst>
            <pc:docMk/>
            <pc:sldMk cId="691933908" sldId="2134804364"/>
            <ac:spMk id="103" creationId="{8DC9777F-6B87-731A-2DF6-29C3095C9C39}"/>
          </ac:spMkLst>
        </pc:spChg>
        <pc:graphicFrameChg chg="add del mod replST">
          <ac:chgData name="Wenwen Zhang" userId="9dd81366-5d6f-445a-b031-6ea562624431" providerId="ADAL" clId="{3909E7CC-5EA5-469C-9AFF-9A201E30CD9D}" dt="2022-12-05T22:37:48.016" v="16958"/>
          <ac:graphicFrameMkLst>
            <pc:docMk/>
            <pc:sldMk cId="691933908" sldId="2134804364"/>
            <ac:graphicFrameMk id="3" creationId="{4AE89294-EAC6-F159-FA58-100372009338}"/>
          </ac:graphicFrameMkLst>
        </pc:graphicFrameChg>
        <pc:graphicFrameChg chg="add del mod ord replST">
          <ac:chgData name="Wenwen Zhang" userId="9dd81366-5d6f-445a-b031-6ea562624431" providerId="ADAL" clId="{3909E7CC-5EA5-469C-9AFF-9A201E30CD9D}" dt="2022-12-05T22:38:38.577" v="17567"/>
          <ac:graphicFrameMkLst>
            <pc:docMk/>
            <pc:sldMk cId="691933908" sldId="2134804364"/>
            <ac:graphicFrameMk id="12" creationId="{9965CEE3-933C-92BF-3E19-3B7C635F2B2D}"/>
          </ac:graphicFrameMkLst>
        </pc:graphicFrameChg>
        <pc:graphicFrameChg chg="add del mod replST">
          <ac:chgData name="Wenwen Zhang" userId="9dd81366-5d6f-445a-b031-6ea562624431" providerId="ADAL" clId="{3909E7CC-5EA5-469C-9AFF-9A201E30CD9D}" dt="2022-12-05T22:37:58.157" v="17308"/>
          <ac:graphicFrameMkLst>
            <pc:docMk/>
            <pc:sldMk cId="691933908" sldId="2134804364"/>
            <ac:graphicFrameMk id="13" creationId="{41D3C08E-7996-6686-C613-E4E920F5132A}"/>
          </ac:graphicFrameMkLst>
        </pc:graphicFrameChg>
        <pc:graphicFrameChg chg="add del mod ord replST">
          <ac:chgData name="Wenwen Zhang" userId="9dd81366-5d6f-445a-b031-6ea562624431" providerId="ADAL" clId="{3909E7CC-5EA5-469C-9AFF-9A201E30CD9D}" dt="2022-12-05T22:38:27.238" v="17436"/>
          <ac:graphicFrameMkLst>
            <pc:docMk/>
            <pc:sldMk cId="691933908" sldId="2134804364"/>
            <ac:graphicFrameMk id="19" creationId="{5378C200-C4D2-6D2E-F9D8-F7962092A70F}"/>
          </ac:graphicFrameMkLst>
        </pc:graphicFrameChg>
        <pc:graphicFrameChg chg="add del mod ord replST">
          <ac:chgData name="Wenwen Zhang" userId="9dd81366-5d6f-445a-b031-6ea562624431" providerId="ADAL" clId="{3909E7CC-5EA5-469C-9AFF-9A201E30CD9D}" dt="2022-12-06T11:45:09.106" v="47508"/>
          <ac:graphicFrameMkLst>
            <pc:docMk/>
            <pc:sldMk cId="691933908" sldId="2134804364"/>
            <ac:graphicFrameMk id="21" creationId="{0ABB9700-86E5-10DE-75B2-723088DAC6BE}"/>
          </ac:graphicFrameMkLst>
        </pc:graphicFrameChg>
        <pc:graphicFrameChg chg="add del mod ord replST">
          <ac:chgData name="Wenwen Zhang" userId="9dd81366-5d6f-445a-b031-6ea562624431" providerId="ADAL" clId="{3909E7CC-5EA5-469C-9AFF-9A201E30CD9D}" dt="2022-12-06T11:45:01.824" v="47407"/>
          <ac:graphicFrameMkLst>
            <pc:docMk/>
            <pc:sldMk cId="691933908" sldId="2134804364"/>
            <ac:graphicFrameMk id="23" creationId="{CCAF1E54-8505-2238-9DE4-1B02FA5ECEAE}"/>
          </ac:graphicFrameMkLst>
        </pc:graphicFrameChg>
        <pc:graphicFrameChg chg="add del mod ord replST">
          <ac:chgData name="Wenwen Zhang" userId="9dd81366-5d6f-445a-b031-6ea562624431" providerId="ADAL" clId="{3909E7CC-5EA5-469C-9AFF-9A201E30CD9D}" dt="2022-12-06T16:12:33.068" v="48479"/>
          <ac:graphicFrameMkLst>
            <pc:docMk/>
            <pc:sldMk cId="691933908" sldId="2134804364"/>
            <ac:graphicFrameMk id="25" creationId="{3AC8FE02-669D-59EA-5BC0-DBE5F507F3E4}"/>
          </ac:graphicFrameMkLst>
        </pc:graphicFrameChg>
        <pc:graphicFrameChg chg="add del mod ord replST">
          <ac:chgData name="Wenwen Zhang" userId="9dd81366-5d6f-445a-b031-6ea562624431" providerId="ADAL" clId="{3909E7CC-5EA5-469C-9AFF-9A201E30CD9D}" dt="2022-12-06T16:12:39.144" v="48586"/>
          <ac:graphicFrameMkLst>
            <pc:docMk/>
            <pc:sldMk cId="691933908" sldId="2134804364"/>
            <ac:graphicFrameMk id="27" creationId="{3B55F949-B02A-7B01-3599-CAA7551DAC75}"/>
          </ac:graphicFrameMkLst>
        </pc:graphicFrameChg>
        <pc:graphicFrameChg chg="mod">
          <ac:chgData name="Wenwen Zhang" userId="9dd81366-5d6f-445a-b031-6ea562624431" providerId="ADAL" clId="{3909E7CC-5EA5-469C-9AFF-9A201E30CD9D}" dt="2022-12-06T16:13:39.147" v="49493"/>
          <ac:graphicFrameMkLst>
            <pc:docMk/>
            <pc:sldMk cId="691933908" sldId="2134804364"/>
            <ac:graphicFrameMk id="28" creationId="{015DFAEE-F78A-C272-92CE-F25C3417CAD0}"/>
          </ac:graphicFrameMkLst>
        </pc:graphicFrameChg>
        <pc:graphicFrameChg chg="add del mod ord replST">
          <ac:chgData name="Wenwen Zhang" userId="9dd81366-5d6f-445a-b031-6ea562624431" providerId="ADAL" clId="{3909E7CC-5EA5-469C-9AFF-9A201E30CD9D}" dt="2022-12-06T16:12:45.018" v="48690"/>
          <ac:graphicFrameMkLst>
            <pc:docMk/>
            <pc:sldMk cId="691933908" sldId="2134804364"/>
            <ac:graphicFrameMk id="31" creationId="{B3100E69-AED2-64BF-9ECF-1F5B05F6E8B4}"/>
          </ac:graphicFrameMkLst>
        </pc:graphicFrameChg>
        <pc:graphicFrameChg chg="add del mod ord replST">
          <ac:chgData name="Wenwen Zhang" userId="9dd81366-5d6f-445a-b031-6ea562624431" providerId="ADAL" clId="{3909E7CC-5EA5-469C-9AFF-9A201E30CD9D}" dt="2022-12-06T16:12:51.617" v="48936"/>
          <ac:graphicFrameMkLst>
            <pc:docMk/>
            <pc:sldMk cId="691933908" sldId="2134804364"/>
            <ac:graphicFrameMk id="33" creationId="{EA1E951C-ABD9-77D4-E8CD-82439F66498C}"/>
          </ac:graphicFrameMkLst>
        </pc:graphicFrameChg>
        <pc:graphicFrameChg chg="add del mod ord replST">
          <ac:chgData name="Wenwen Zhang" userId="9dd81366-5d6f-445a-b031-6ea562624431" providerId="ADAL" clId="{3909E7CC-5EA5-469C-9AFF-9A201E30CD9D}" dt="2022-12-06T16:12:48.663" v="48806"/>
          <ac:graphicFrameMkLst>
            <pc:docMk/>
            <pc:sldMk cId="691933908" sldId="2134804364"/>
            <ac:graphicFrameMk id="35" creationId="{5062305B-2733-3CC1-BB63-6B18DC610D9D}"/>
          </ac:graphicFrameMkLst>
        </pc:graphicFrameChg>
        <pc:graphicFrameChg chg="add del mod ord replST">
          <ac:chgData name="Wenwen Zhang" userId="9dd81366-5d6f-445a-b031-6ea562624431" providerId="ADAL" clId="{3909E7CC-5EA5-469C-9AFF-9A201E30CD9D}" dt="2022-12-06T16:12:51.582" v="48913"/>
          <ac:graphicFrameMkLst>
            <pc:docMk/>
            <pc:sldMk cId="691933908" sldId="2134804364"/>
            <ac:graphicFrameMk id="37" creationId="{FFB4E721-9EA3-BECD-AB17-684362B78F5A}"/>
          </ac:graphicFrameMkLst>
        </pc:graphicFrameChg>
        <pc:graphicFrameChg chg="add del mod ord replST">
          <ac:chgData name="Wenwen Zhang" userId="9dd81366-5d6f-445a-b031-6ea562624431" providerId="ADAL" clId="{3909E7CC-5EA5-469C-9AFF-9A201E30CD9D}" dt="2022-12-06T16:13:00.807" v="49040"/>
          <ac:graphicFrameMkLst>
            <pc:docMk/>
            <pc:sldMk cId="691933908" sldId="2134804364"/>
            <ac:graphicFrameMk id="39" creationId="{A06F2361-B958-1FF7-9957-163A4FE23404}"/>
          </ac:graphicFrameMkLst>
        </pc:graphicFrameChg>
        <pc:graphicFrameChg chg="add del mod ord replST">
          <ac:chgData name="Wenwen Zhang" userId="9dd81366-5d6f-445a-b031-6ea562624431" providerId="ADAL" clId="{3909E7CC-5EA5-469C-9AFF-9A201E30CD9D}" dt="2022-12-06T16:13:31.048" v="49361"/>
          <ac:graphicFrameMkLst>
            <pc:docMk/>
            <pc:sldMk cId="691933908" sldId="2134804364"/>
            <ac:graphicFrameMk id="40" creationId="{7343DDFA-EE03-C685-7DDC-7585C6B082E7}"/>
          </ac:graphicFrameMkLst>
        </pc:graphicFrameChg>
        <pc:graphicFrameChg chg="add del mod ord replST">
          <ac:chgData name="Wenwen Zhang" userId="9dd81366-5d6f-445a-b031-6ea562624431" providerId="ADAL" clId="{3909E7CC-5EA5-469C-9AFF-9A201E30CD9D}" dt="2022-12-06T16:13:23.233" v="49165"/>
          <ac:graphicFrameMkLst>
            <pc:docMk/>
            <pc:sldMk cId="691933908" sldId="2134804364"/>
            <ac:graphicFrameMk id="42" creationId="{D86822CC-1CEF-B5FA-7BAF-74F0BA2B2CCA}"/>
          </ac:graphicFrameMkLst>
        </pc:graphicFrameChg>
        <pc:graphicFrameChg chg="add del mod ord replST">
          <ac:chgData name="Wenwen Zhang" userId="9dd81366-5d6f-445a-b031-6ea562624431" providerId="ADAL" clId="{3909E7CC-5EA5-469C-9AFF-9A201E30CD9D}" dt="2022-12-06T16:13:27.231" v="49263"/>
          <ac:graphicFrameMkLst>
            <pc:docMk/>
            <pc:sldMk cId="691933908" sldId="2134804364"/>
            <ac:graphicFrameMk id="45" creationId="{CF2E092A-735B-8B1E-8B2E-8CA9554BF4BA}"/>
          </ac:graphicFrameMkLst>
        </pc:graphicFrameChg>
        <pc:graphicFrameChg chg="add mod ord replST">
          <ac:chgData name="Wenwen Zhang" userId="9dd81366-5d6f-445a-b031-6ea562624431" providerId="ADAL" clId="{3909E7CC-5EA5-469C-9AFF-9A201E30CD9D}" dt="2022-12-06T16:13:39.136" v="49471"/>
          <ac:graphicFrameMkLst>
            <pc:docMk/>
            <pc:sldMk cId="691933908" sldId="2134804364"/>
            <ac:graphicFrameMk id="47" creationId="{53C958CF-E7BA-301F-1A5B-96373F16DE58}"/>
          </ac:graphicFrameMkLst>
        </pc:graphicFrameChg>
        <pc:graphicFrameChg chg="add del mod ord replST">
          <ac:chgData name="Wenwen Zhang" userId="9dd81366-5d6f-445a-b031-6ea562624431" providerId="ADAL" clId="{3909E7CC-5EA5-469C-9AFF-9A201E30CD9D}" dt="2022-12-06T16:13:39.109" v="49457"/>
          <ac:graphicFrameMkLst>
            <pc:docMk/>
            <pc:sldMk cId="691933908" sldId="2134804364"/>
            <ac:graphicFrameMk id="49" creationId="{DB36DC77-8EC9-9448-0567-B70C7B0E0792}"/>
          </ac:graphicFrameMkLst>
        </pc:graphicFrameChg>
        <pc:graphicFrameChg chg="add mod ord replST">
          <ac:chgData name="Wenwen Zhang" userId="9dd81366-5d6f-445a-b031-6ea562624431" providerId="ADAL" clId="{3909E7CC-5EA5-469C-9AFF-9A201E30CD9D}" dt="2022-12-06T16:13:39.139" v="49482"/>
          <ac:graphicFrameMkLst>
            <pc:docMk/>
            <pc:sldMk cId="691933908" sldId="2134804364"/>
            <ac:graphicFrameMk id="92" creationId="{DEAFFAAA-2FC8-19B9-063F-9D70043AB69A}"/>
          </ac:graphicFrameMkLst>
        </pc:graphicFrameChg>
        <pc:graphicFrameChg chg="del">
          <ac:chgData name="Wenwen Zhang" userId="9dd81366-5d6f-445a-b031-6ea562624431" providerId="ADAL" clId="{3909E7CC-5EA5-469C-9AFF-9A201E30CD9D}" dt="2022-12-05T22:36:43.111" v="16576"/>
          <ac:graphicFrameMkLst>
            <pc:docMk/>
            <pc:sldMk cId="691933908" sldId="2134804364"/>
            <ac:graphicFrameMk id="93" creationId="{D0E1B62F-0099-0B06-7B21-83B20D88E501}"/>
          </ac:graphicFrameMkLst>
        </pc:graphicFrameChg>
        <pc:cxnChg chg="del">
          <ac:chgData name="Wenwen Zhang" userId="9dd81366-5d6f-445a-b031-6ea562624431" providerId="ADAL" clId="{3909E7CC-5EA5-469C-9AFF-9A201E30CD9D}" dt="2022-12-05T22:36:43.104" v="16547"/>
          <ac:cxnSpMkLst>
            <pc:docMk/>
            <pc:sldMk cId="691933908" sldId="2134804364"/>
            <ac:cxnSpMk id="50" creationId="{1EBA2EA8-8B2F-700A-3FD4-AEEAD52E9412}"/>
          </ac:cxnSpMkLst>
        </pc:cxnChg>
        <pc:cxnChg chg="del">
          <ac:chgData name="Wenwen Zhang" userId="9dd81366-5d6f-445a-b031-6ea562624431" providerId="ADAL" clId="{3909E7CC-5EA5-469C-9AFF-9A201E30CD9D}" dt="2022-12-05T22:36:43.106" v="16556"/>
          <ac:cxnSpMkLst>
            <pc:docMk/>
            <pc:sldMk cId="691933908" sldId="2134804364"/>
            <ac:cxnSpMk id="51" creationId="{613F19B9-CCD8-C0A7-29FB-34ECC2061A30}"/>
          </ac:cxnSpMkLst>
        </pc:cxnChg>
        <pc:cxnChg chg="del">
          <ac:chgData name="Wenwen Zhang" userId="9dd81366-5d6f-445a-b031-6ea562624431" providerId="ADAL" clId="{3909E7CC-5EA5-469C-9AFF-9A201E30CD9D}" dt="2022-12-05T22:36:43.109" v="16568"/>
          <ac:cxnSpMkLst>
            <pc:docMk/>
            <pc:sldMk cId="691933908" sldId="2134804364"/>
            <ac:cxnSpMk id="52" creationId="{457AA314-D4C7-275C-F2F1-00FB02E95728}"/>
          </ac:cxnSpMkLst>
        </pc:cxnChg>
        <pc:cxnChg chg="del">
          <ac:chgData name="Wenwen Zhang" userId="9dd81366-5d6f-445a-b031-6ea562624431" providerId="ADAL" clId="{3909E7CC-5EA5-469C-9AFF-9A201E30CD9D}" dt="2022-12-05T22:36:43.107" v="16562"/>
          <ac:cxnSpMkLst>
            <pc:docMk/>
            <pc:sldMk cId="691933908" sldId="2134804364"/>
            <ac:cxnSpMk id="53" creationId="{21D047F9-C089-5552-D21D-3D7AB20EBA26}"/>
          </ac:cxnSpMkLst>
        </pc:cxnChg>
        <pc:cxnChg chg="del">
          <ac:chgData name="Wenwen Zhang" userId="9dd81366-5d6f-445a-b031-6ea562624431" providerId="ADAL" clId="{3909E7CC-5EA5-469C-9AFF-9A201E30CD9D}" dt="2022-12-05T22:36:43.102" v="16538"/>
          <ac:cxnSpMkLst>
            <pc:docMk/>
            <pc:sldMk cId="691933908" sldId="2134804364"/>
            <ac:cxnSpMk id="54" creationId="{7126B783-6E4F-DFEE-01DA-E68C1C88318A}"/>
          </ac:cxnSpMkLst>
        </pc:cxnChg>
        <pc:cxnChg chg="del">
          <ac:chgData name="Wenwen Zhang" userId="9dd81366-5d6f-445a-b031-6ea562624431" providerId="ADAL" clId="{3909E7CC-5EA5-469C-9AFF-9A201E30CD9D}" dt="2022-12-05T22:36:43.107" v="16559"/>
          <ac:cxnSpMkLst>
            <pc:docMk/>
            <pc:sldMk cId="691933908" sldId="2134804364"/>
            <ac:cxnSpMk id="55" creationId="{6F41F7AC-D0AF-7480-86C4-6DD6A0D74CF5}"/>
          </ac:cxnSpMkLst>
        </pc:cxnChg>
        <pc:cxnChg chg="del">
          <ac:chgData name="Wenwen Zhang" userId="9dd81366-5d6f-445a-b031-6ea562624431" providerId="ADAL" clId="{3909E7CC-5EA5-469C-9AFF-9A201E30CD9D}" dt="2022-12-05T22:36:43.101" v="16529"/>
          <ac:cxnSpMkLst>
            <pc:docMk/>
            <pc:sldMk cId="691933908" sldId="2134804364"/>
            <ac:cxnSpMk id="56" creationId="{739CBEF2-6A81-5BC1-2FE4-A05652CC026A}"/>
          </ac:cxnSpMkLst>
        </pc:cxnChg>
        <pc:cxnChg chg="del">
          <ac:chgData name="Wenwen Zhang" userId="9dd81366-5d6f-445a-b031-6ea562624431" providerId="ADAL" clId="{3909E7CC-5EA5-469C-9AFF-9A201E30CD9D}" dt="2022-12-05T22:36:43.110" v="16574"/>
          <ac:cxnSpMkLst>
            <pc:docMk/>
            <pc:sldMk cId="691933908" sldId="2134804364"/>
            <ac:cxnSpMk id="57" creationId="{C42FF9E9-3F3F-209C-8DA4-192BB630DC18}"/>
          </ac:cxnSpMkLst>
        </pc:cxnChg>
        <pc:cxnChg chg="del">
          <ac:chgData name="Wenwen Zhang" userId="9dd81366-5d6f-445a-b031-6ea562624431" providerId="ADAL" clId="{3909E7CC-5EA5-469C-9AFF-9A201E30CD9D}" dt="2022-12-05T22:36:43.108" v="16565"/>
          <ac:cxnSpMkLst>
            <pc:docMk/>
            <pc:sldMk cId="691933908" sldId="2134804364"/>
            <ac:cxnSpMk id="58" creationId="{438BB540-F38D-E804-2491-FA03D8F59B9F}"/>
          </ac:cxnSpMkLst>
        </pc:cxnChg>
        <pc:cxnChg chg="del">
          <ac:chgData name="Wenwen Zhang" userId="9dd81366-5d6f-445a-b031-6ea562624431" providerId="ADAL" clId="{3909E7CC-5EA5-469C-9AFF-9A201E30CD9D}" dt="2022-12-05T22:36:43.105" v="16550"/>
          <ac:cxnSpMkLst>
            <pc:docMk/>
            <pc:sldMk cId="691933908" sldId="2134804364"/>
            <ac:cxnSpMk id="59" creationId="{6E0EA138-885B-8A97-EA30-0078361BBFF8}"/>
          </ac:cxnSpMkLst>
        </pc:cxnChg>
        <pc:cxnChg chg="del">
          <ac:chgData name="Wenwen Zhang" userId="9dd81366-5d6f-445a-b031-6ea562624431" providerId="ADAL" clId="{3909E7CC-5EA5-469C-9AFF-9A201E30CD9D}" dt="2022-12-05T22:36:43.102" v="16535"/>
          <ac:cxnSpMkLst>
            <pc:docMk/>
            <pc:sldMk cId="691933908" sldId="2134804364"/>
            <ac:cxnSpMk id="60" creationId="{E7B06BAB-DF9C-4F80-F237-99EABC8320BD}"/>
          </ac:cxnSpMkLst>
        </pc:cxnChg>
        <pc:cxnChg chg="del">
          <ac:chgData name="Wenwen Zhang" userId="9dd81366-5d6f-445a-b031-6ea562624431" providerId="ADAL" clId="{3909E7CC-5EA5-469C-9AFF-9A201E30CD9D}" dt="2022-12-05T22:36:43.110" v="16571"/>
          <ac:cxnSpMkLst>
            <pc:docMk/>
            <pc:sldMk cId="691933908" sldId="2134804364"/>
            <ac:cxnSpMk id="61" creationId="{FCBBA440-D02C-BFE3-0521-106CE6506280}"/>
          </ac:cxnSpMkLst>
        </pc:cxnChg>
        <pc:cxnChg chg="del">
          <ac:chgData name="Wenwen Zhang" userId="9dd81366-5d6f-445a-b031-6ea562624431" providerId="ADAL" clId="{3909E7CC-5EA5-469C-9AFF-9A201E30CD9D}" dt="2022-12-05T22:36:43.103" v="16541"/>
          <ac:cxnSpMkLst>
            <pc:docMk/>
            <pc:sldMk cId="691933908" sldId="2134804364"/>
            <ac:cxnSpMk id="62" creationId="{7765B1C3-96D6-54D1-8269-1CE06C596FB2}"/>
          </ac:cxnSpMkLst>
        </pc:cxnChg>
        <pc:cxnChg chg="del">
          <ac:chgData name="Wenwen Zhang" userId="9dd81366-5d6f-445a-b031-6ea562624431" providerId="ADAL" clId="{3909E7CC-5EA5-469C-9AFF-9A201E30CD9D}" dt="2022-12-05T22:36:43.104" v="16544"/>
          <ac:cxnSpMkLst>
            <pc:docMk/>
            <pc:sldMk cId="691933908" sldId="2134804364"/>
            <ac:cxnSpMk id="63" creationId="{B1FD4D10-0241-020B-6E17-1C1A01ABC871}"/>
          </ac:cxnSpMkLst>
        </pc:cxnChg>
        <pc:cxnChg chg="del">
          <ac:chgData name="Wenwen Zhang" userId="9dd81366-5d6f-445a-b031-6ea562624431" providerId="ADAL" clId="{3909E7CC-5EA5-469C-9AFF-9A201E30CD9D}" dt="2022-12-05T22:36:43.106" v="16553"/>
          <ac:cxnSpMkLst>
            <pc:docMk/>
            <pc:sldMk cId="691933908" sldId="2134804364"/>
            <ac:cxnSpMk id="64" creationId="{56341DC7-204D-70E3-335E-CDD5FD93D610}"/>
          </ac:cxnSpMkLst>
        </pc:cxnChg>
        <pc:cxnChg chg="del">
          <ac:chgData name="Wenwen Zhang" userId="9dd81366-5d6f-445a-b031-6ea562624431" providerId="ADAL" clId="{3909E7CC-5EA5-469C-9AFF-9A201E30CD9D}" dt="2022-12-05T22:36:43.101" v="16532"/>
          <ac:cxnSpMkLst>
            <pc:docMk/>
            <pc:sldMk cId="691933908" sldId="2134804364"/>
            <ac:cxnSpMk id="65" creationId="{C30863E9-C97F-FEB2-28E0-E765D7F0ED52}"/>
          </ac:cxnSpMkLst>
        </pc:cxnChg>
        <pc:cxnChg chg="del">
          <ac:chgData name="Wenwen Zhang" userId="9dd81366-5d6f-445a-b031-6ea562624431" providerId="ADAL" clId="{3909E7CC-5EA5-469C-9AFF-9A201E30CD9D}" dt="2022-12-05T22:36:43.096" v="16521"/>
          <ac:cxnSpMkLst>
            <pc:docMk/>
            <pc:sldMk cId="691933908" sldId="2134804364"/>
            <ac:cxnSpMk id="83" creationId="{B4E29599-9F13-6C66-B755-BCB38F036EBA}"/>
          </ac:cxnSpMkLst>
        </pc:cxnChg>
        <pc:cxnChg chg="del">
          <ac:chgData name="Wenwen Zhang" userId="9dd81366-5d6f-445a-b031-6ea562624431" providerId="ADAL" clId="{3909E7CC-5EA5-469C-9AFF-9A201E30CD9D}" dt="2022-12-05T22:36:43.095" v="16519"/>
          <ac:cxnSpMkLst>
            <pc:docMk/>
            <pc:sldMk cId="691933908" sldId="2134804364"/>
            <ac:cxnSpMk id="84" creationId="{42FD4A48-F455-61C1-1522-B3306DF1D5D8}"/>
          </ac:cxnSpMkLst>
        </pc:cxnChg>
        <pc:cxnChg chg="del">
          <ac:chgData name="Wenwen Zhang" userId="9dd81366-5d6f-445a-b031-6ea562624431" providerId="ADAL" clId="{3909E7CC-5EA5-469C-9AFF-9A201E30CD9D}" dt="2022-12-05T22:36:43.096" v="16525"/>
          <ac:cxnSpMkLst>
            <pc:docMk/>
            <pc:sldMk cId="691933908" sldId="2134804364"/>
            <ac:cxnSpMk id="85" creationId="{A81AA825-DAF9-1A0F-861E-FB9C75992094}"/>
          </ac:cxnSpMkLst>
        </pc:cxnChg>
        <pc:cxnChg chg="del">
          <ac:chgData name="Wenwen Zhang" userId="9dd81366-5d6f-445a-b031-6ea562624431" providerId="ADAL" clId="{3909E7CC-5EA5-469C-9AFF-9A201E30CD9D}" dt="2022-12-05T22:36:43.095" v="16516"/>
          <ac:cxnSpMkLst>
            <pc:docMk/>
            <pc:sldMk cId="691933908" sldId="2134804364"/>
            <ac:cxnSpMk id="88" creationId="{73881464-A6B9-9EFC-F648-87237F0F19B7}"/>
          </ac:cxnSpMkLst>
        </pc:cxnChg>
        <pc:cxnChg chg="del">
          <ac:chgData name="Wenwen Zhang" userId="9dd81366-5d6f-445a-b031-6ea562624431" providerId="ADAL" clId="{3909E7CC-5EA5-469C-9AFF-9A201E30CD9D}" dt="2022-12-05T22:36:43.094" v="16513"/>
          <ac:cxnSpMkLst>
            <pc:docMk/>
            <pc:sldMk cId="691933908" sldId="2134804364"/>
            <ac:cxnSpMk id="89" creationId="{BFD59649-B8D3-B3A5-031D-E7C270BD299A}"/>
          </ac:cxnSpMkLst>
        </pc:cxnChg>
        <pc:cxnChg chg="del">
          <ac:chgData name="Wenwen Zhang" userId="9dd81366-5d6f-445a-b031-6ea562624431" providerId="ADAL" clId="{3909E7CC-5EA5-469C-9AFF-9A201E30CD9D}" dt="2022-12-05T22:36:43.093" v="16509"/>
          <ac:cxnSpMkLst>
            <pc:docMk/>
            <pc:sldMk cId="691933908" sldId="2134804364"/>
            <ac:cxnSpMk id="96" creationId="{C77EAE65-DCBC-9B7D-8308-3BD87BA63679}"/>
          </ac:cxnSpMkLst>
        </pc:cxnChg>
        <pc:cxnChg chg="del">
          <ac:chgData name="Wenwen Zhang" userId="9dd81366-5d6f-445a-b031-6ea562624431" providerId="ADAL" clId="{3909E7CC-5EA5-469C-9AFF-9A201E30CD9D}" dt="2022-12-05T22:36:43.089" v="16499"/>
          <ac:cxnSpMkLst>
            <pc:docMk/>
            <pc:sldMk cId="691933908" sldId="2134804364"/>
            <ac:cxnSpMk id="98" creationId="{66FA8896-4BDD-445C-3B2F-AA8F962AEED5}"/>
          </ac:cxnSpMkLst>
        </pc:cxnChg>
        <pc:cxnChg chg="del">
          <ac:chgData name="Wenwen Zhang" userId="9dd81366-5d6f-445a-b031-6ea562624431" providerId="ADAL" clId="{3909E7CC-5EA5-469C-9AFF-9A201E30CD9D}" dt="2022-12-05T22:36:43.086" v="16491"/>
          <ac:cxnSpMkLst>
            <pc:docMk/>
            <pc:sldMk cId="691933908" sldId="2134804364"/>
            <ac:cxnSpMk id="100" creationId="{98DC5EAC-0376-1640-32DC-541D50A061EF}"/>
          </ac:cxnSpMkLst>
        </pc:cxnChg>
        <pc:cxnChg chg="del">
          <ac:chgData name="Wenwen Zhang" userId="9dd81366-5d6f-445a-b031-6ea562624431" providerId="ADAL" clId="{3909E7CC-5EA5-469C-9AFF-9A201E30CD9D}" dt="2022-12-05T22:36:43.090" v="16501"/>
          <ac:cxnSpMkLst>
            <pc:docMk/>
            <pc:sldMk cId="691933908" sldId="2134804364"/>
            <ac:cxnSpMk id="102" creationId="{D52FF959-F2BD-7A79-4A67-857B62F6D8C8}"/>
          </ac:cxnSpMkLst>
        </pc:cxnChg>
        <pc:cxnChg chg="del">
          <ac:chgData name="Wenwen Zhang" userId="9dd81366-5d6f-445a-b031-6ea562624431" providerId="ADAL" clId="{3909E7CC-5EA5-469C-9AFF-9A201E30CD9D}" dt="2022-12-05T22:36:43.091" v="16505"/>
          <ac:cxnSpMkLst>
            <pc:docMk/>
            <pc:sldMk cId="691933908" sldId="2134804364"/>
            <ac:cxnSpMk id="109" creationId="{7A3F9DA5-F17E-C493-4912-EBA35BCECB70}"/>
          </ac:cxnSpMkLst>
        </pc:cxnChg>
      </pc:sldChg>
      <pc:sldChg chg="addSp delSp modSp add del mod">
        <pc:chgData name="Wenwen Zhang" userId="9dd81366-5d6f-445a-b031-6ea562624431" providerId="ADAL" clId="{3909E7CC-5EA5-469C-9AFF-9A201E30CD9D}" dt="2022-12-06T09:48:02.007" v="43562" actId="47"/>
        <pc:sldMkLst>
          <pc:docMk/>
          <pc:sldMk cId="370966974" sldId="2134804365"/>
        </pc:sldMkLst>
        <pc:picChg chg="add mod modCrop">
          <ac:chgData name="Wenwen Zhang" userId="9dd81366-5d6f-445a-b031-6ea562624431" providerId="ADAL" clId="{3909E7CC-5EA5-469C-9AFF-9A201E30CD9D}" dt="2022-12-06T09:47:16.921" v="43561" actId="14100"/>
          <ac:picMkLst>
            <pc:docMk/>
            <pc:sldMk cId="370966974" sldId="2134804365"/>
            <ac:picMk id="3" creationId="{57EF2BF6-633C-A908-CF5D-71D2F7D11D6C}"/>
          </ac:picMkLst>
        </pc:picChg>
        <pc:picChg chg="del">
          <ac:chgData name="Wenwen Zhang" userId="9dd81366-5d6f-445a-b031-6ea562624431" providerId="ADAL" clId="{3909E7CC-5EA5-469C-9AFF-9A201E30CD9D}" dt="2022-12-06T09:46:42.940" v="43552" actId="478"/>
          <ac:picMkLst>
            <pc:docMk/>
            <pc:sldMk cId="370966974" sldId="2134804365"/>
            <ac:picMk id="4" creationId="{F627F301-54EB-4E3A-4A7C-121DB9C68080}"/>
          </ac:picMkLst>
        </pc:picChg>
      </pc:sldChg>
      <pc:sldChg chg="addSp delSp modSp add mod modNotesTx">
        <pc:chgData name="Wenwen Zhang" userId="9dd81366-5d6f-445a-b031-6ea562624431" providerId="ADAL" clId="{3909E7CC-5EA5-469C-9AFF-9A201E30CD9D}" dt="2022-12-06T16:47:18.107" v="57383" actId="478"/>
        <pc:sldMkLst>
          <pc:docMk/>
          <pc:sldMk cId="2987781684" sldId="2134804365"/>
        </pc:sldMkLst>
        <pc:spChg chg="add del mod">
          <ac:chgData name="Wenwen Zhang" userId="9dd81366-5d6f-445a-b031-6ea562624431" providerId="ADAL" clId="{3909E7CC-5EA5-469C-9AFF-9A201E30CD9D}" dt="2022-12-06T16:47:18.107" v="57383" actId="478"/>
          <ac:spMkLst>
            <pc:docMk/>
            <pc:sldMk cId="2987781684" sldId="2134804365"/>
            <ac:spMk id="4" creationId="{62D61DBD-F809-C049-1F20-3403D44D7DF1}"/>
          </ac:spMkLst>
        </pc:spChg>
        <pc:spChg chg="mod ord">
          <ac:chgData name="Wenwen Zhang" userId="9dd81366-5d6f-445a-b031-6ea562624431" providerId="ADAL" clId="{3909E7CC-5EA5-469C-9AFF-9A201E30CD9D}" dt="2022-12-06T09:49:04.881" v="43580"/>
          <ac:spMkLst>
            <pc:docMk/>
            <pc:sldMk cId="2987781684" sldId="2134804365"/>
            <ac:spMk id="7" creationId="{8890DF3E-BC77-6ED6-424D-CBE88FB93210}"/>
          </ac:spMkLst>
        </pc:spChg>
        <pc:grpChg chg="mod ord">
          <ac:chgData name="Wenwen Zhang" userId="9dd81366-5d6f-445a-b031-6ea562624431" providerId="ADAL" clId="{3909E7CC-5EA5-469C-9AFF-9A201E30CD9D}" dt="2022-12-06T09:49:04.880" v="43578"/>
          <ac:grpSpMkLst>
            <pc:docMk/>
            <pc:sldMk cId="2987781684" sldId="2134804365"/>
            <ac:grpSpMk id="11" creationId="{29671453-A171-DBA9-E86D-1725DD3EF2AC}"/>
          </ac:grpSpMkLst>
        </pc:grpChg>
        <pc:graphicFrameChg chg="mod">
          <ac:chgData name="Wenwen Zhang" userId="9dd81366-5d6f-445a-b031-6ea562624431" providerId="ADAL" clId="{3909E7CC-5EA5-469C-9AFF-9A201E30CD9D}" dt="2022-12-06T09:49:04.883" v="43584"/>
          <ac:graphicFrameMkLst>
            <pc:docMk/>
            <pc:sldMk cId="2987781684" sldId="2134804365"/>
            <ac:graphicFrameMk id="9" creationId="{9E623100-FD89-1DB8-6F4F-B410DD8D5A15}"/>
          </ac:graphicFrameMkLst>
        </pc:graphicFrameChg>
        <pc:picChg chg="add mod ord modCrop">
          <ac:chgData name="Wenwen Zhang" userId="9dd81366-5d6f-445a-b031-6ea562624431" providerId="ADAL" clId="{3909E7CC-5EA5-469C-9AFF-9A201E30CD9D}" dt="2022-12-06T09:49:04.879" v="43576"/>
          <ac:picMkLst>
            <pc:docMk/>
            <pc:sldMk cId="2987781684" sldId="2134804365"/>
            <ac:picMk id="3" creationId="{811A3F9B-4421-F188-772B-FF9D26F19FEA}"/>
          </ac:picMkLst>
        </pc:picChg>
        <pc:picChg chg="del">
          <ac:chgData name="Wenwen Zhang" userId="9dd81366-5d6f-445a-b031-6ea562624431" providerId="ADAL" clId="{3909E7CC-5EA5-469C-9AFF-9A201E30CD9D}" dt="2022-12-06T09:48:10.838" v="43564" actId="478"/>
          <ac:picMkLst>
            <pc:docMk/>
            <pc:sldMk cId="2987781684" sldId="2134804365"/>
            <ac:picMk id="15" creationId="{E0CE22B1-9107-89AD-FC74-79BCB19F8099}"/>
          </ac:picMkLst>
        </pc:picChg>
      </pc:sldChg>
      <pc:sldChg chg="addSp delSp modSp add mod modNotesTx">
        <pc:chgData name="Wenwen Zhang" userId="9dd81366-5d6f-445a-b031-6ea562624431" providerId="ADAL" clId="{3909E7CC-5EA5-469C-9AFF-9A201E30CD9D}" dt="2022-12-06T18:17:25.102" v="60566" actId="20577"/>
        <pc:sldMkLst>
          <pc:docMk/>
          <pc:sldMk cId="3474282986" sldId="2134804366"/>
        </pc:sldMkLst>
        <pc:spChg chg="mod ord">
          <ac:chgData name="Wenwen Zhang" userId="9dd81366-5d6f-445a-b031-6ea562624431" providerId="ADAL" clId="{3909E7CC-5EA5-469C-9AFF-9A201E30CD9D}" dt="2022-12-06T09:51:52.847" v="43625"/>
          <ac:spMkLst>
            <pc:docMk/>
            <pc:sldMk cId="3474282986" sldId="2134804366"/>
            <ac:spMk id="7" creationId="{8890DF3E-BC77-6ED6-424D-CBE88FB93210}"/>
          </ac:spMkLst>
        </pc:spChg>
        <pc:spChg chg="add del mod">
          <ac:chgData name="Wenwen Zhang" userId="9dd81366-5d6f-445a-b031-6ea562624431" providerId="ADAL" clId="{3909E7CC-5EA5-469C-9AFF-9A201E30CD9D}" dt="2022-12-06T16:47:15.198" v="57382" actId="478"/>
          <ac:spMkLst>
            <pc:docMk/>
            <pc:sldMk cId="3474282986" sldId="2134804366"/>
            <ac:spMk id="10" creationId="{FB324E12-267D-3F83-CF26-6630389A361C}"/>
          </ac:spMkLst>
        </pc:spChg>
        <pc:grpChg chg="mod ord">
          <ac:chgData name="Wenwen Zhang" userId="9dd81366-5d6f-445a-b031-6ea562624431" providerId="ADAL" clId="{3909E7CC-5EA5-469C-9AFF-9A201E30CD9D}" dt="2022-12-06T09:51:52.846" v="43623"/>
          <ac:grpSpMkLst>
            <pc:docMk/>
            <pc:sldMk cId="3474282986" sldId="2134804366"/>
            <ac:grpSpMk id="11" creationId="{29671453-A171-DBA9-E86D-1725DD3EF2AC}"/>
          </ac:grpSpMkLst>
        </pc:grpChg>
        <pc:graphicFrameChg chg="mod">
          <ac:chgData name="Wenwen Zhang" userId="9dd81366-5d6f-445a-b031-6ea562624431" providerId="ADAL" clId="{3909E7CC-5EA5-469C-9AFF-9A201E30CD9D}" dt="2022-12-06T09:51:52.848" v="43629"/>
          <ac:graphicFrameMkLst>
            <pc:docMk/>
            <pc:sldMk cId="3474282986" sldId="2134804366"/>
            <ac:graphicFrameMk id="9" creationId="{9E623100-FD89-1DB8-6F4F-B410DD8D5A15}"/>
          </ac:graphicFrameMkLst>
        </pc:graphicFrameChg>
        <pc:picChg chg="add del">
          <ac:chgData name="Wenwen Zhang" userId="9dd81366-5d6f-445a-b031-6ea562624431" providerId="ADAL" clId="{3909E7CC-5EA5-469C-9AFF-9A201E30CD9D}" dt="2022-12-06T09:51:00.650" v="43609" actId="478"/>
          <ac:picMkLst>
            <pc:docMk/>
            <pc:sldMk cId="3474282986" sldId="2134804366"/>
            <ac:picMk id="3" creationId="{09E6F3DD-C96A-9327-3ECE-7B7BE4F4F39D}"/>
          </ac:picMkLst>
        </pc:picChg>
        <pc:picChg chg="add mod ord modCrop">
          <ac:chgData name="Wenwen Zhang" userId="9dd81366-5d6f-445a-b031-6ea562624431" providerId="ADAL" clId="{3909E7CC-5EA5-469C-9AFF-9A201E30CD9D}" dt="2022-12-06T09:51:52.846" v="43621"/>
          <ac:picMkLst>
            <pc:docMk/>
            <pc:sldMk cId="3474282986" sldId="2134804366"/>
            <ac:picMk id="8" creationId="{95B30B32-4328-6BD6-A091-5DC8B89647F8}"/>
          </ac:picMkLst>
        </pc:picChg>
        <pc:picChg chg="del">
          <ac:chgData name="Wenwen Zhang" userId="9dd81366-5d6f-445a-b031-6ea562624431" providerId="ADAL" clId="{3909E7CC-5EA5-469C-9AFF-9A201E30CD9D}" dt="2022-12-06T09:50:58.717" v="43606" actId="478"/>
          <ac:picMkLst>
            <pc:docMk/>
            <pc:sldMk cId="3474282986" sldId="2134804366"/>
            <ac:picMk id="17" creationId="{FB5BCECA-CBAC-9427-CBC4-E57D7BF07932}"/>
          </ac:picMkLst>
        </pc:picChg>
      </pc:sldChg>
      <pc:sldChg chg="add del">
        <pc:chgData name="Wenwen Zhang" userId="9dd81366-5d6f-445a-b031-6ea562624431" providerId="ADAL" clId="{3909E7CC-5EA5-469C-9AFF-9A201E30CD9D}" dt="2022-12-06T10:44:55.165" v="46245" actId="47"/>
        <pc:sldMkLst>
          <pc:docMk/>
          <pc:sldMk cId="1177110527" sldId="2134804367"/>
        </pc:sldMkLst>
      </pc:sldChg>
      <pc:sldChg chg="add del">
        <pc:chgData name="Wenwen Zhang" userId="9dd81366-5d6f-445a-b031-6ea562624431" providerId="ADAL" clId="{3909E7CC-5EA5-469C-9AFF-9A201E30CD9D}" dt="2022-12-06T16:57:29.467" v="59302" actId="47"/>
        <pc:sldMkLst>
          <pc:docMk/>
          <pc:sldMk cId="1253003096" sldId="2134804367"/>
        </pc:sldMkLst>
      </pc:sldChg>
      <pc:sldChg chg="addSp delSp modSp add mod">
        <pc:chgData name="Wenwen Zhang" userId="9dd81366-5d6f-445a-b031-6ea562624431" providerId="ADAL" clId="{3909E7CC-5EA5-469C-9AFF-9A201E30CD9D}" dt="2022-12-07T10:07:44.657" v="66849" actId="20577"/>
        <pc:sldMkLst>
          <pc:docMk/>
          <pc:sldMk cId="3189853592" sldId="2134804367"/>
        </pc:sldMkLst>
        <pc:spChg chg="mod ord">
          <ac:chgData name="Wenwen Zhang" userId="9dd81366-5d6f-445a-b031-6ea562624431" providerId="ADAL" clId="{3909E7CC-5EA5-469C-9AFF-9A201E30CD9D}" dt="2022-12-07T09:47:31.570" v="66400"/>
          <ac:spMkLst>
            <pc:docMk/>
            <pc:sldMk cId="3189853592" sldId="2134804367"/>
            <ac:spMk id="2" creationId="{B065B79C-C4D6-5961-7919-6BB68C420868}"/>
          </ac:spMkLst>
        </pc:spChg>
        <pc:spChg chg="add mod ord">
          <ac:chgData name="Wenwen Zhang" userId="9dd81366-5d6f-445a-b031-6ea562624431" providerId="ADAL" clId="{3909E7CC-5EA5-469C-9AFF-9A201E30CD9D}" dt="2022-12-07T10:01:42.749" v="66760" actId="164"/>
          <ac:spMkLst>
            <pc:docMk/>
            <pc:sldMk cId="3189853592" sldId="2134804367"/>
            <ac:spMk id="3" creationId="{5C6A2BC9-B454-68C9-905C-EBD1FB9DD878}"/>
          </ac:spMkLst>
        </pc:spChg>
        <pc:spChg chg="del">
          <ac:chgData name="Wenwen Zhang" userId="9dd81366-5d6f-445a-b031-6ea562624431" providerId="ADAL" clId="{3909E7CC-5EA5-469C-9AFF-9A201E30CD9D}" dt="2022-12-06T17:02:59.007" v="59314"/>
          <ac:spMkLst>
            <pc:docMk/>
            <pc:sldMk cId="3189853592" sldId="2134804367"/>
            <ac:spMk id="3" creationId="{96DB64E7-7450-5BAA-7DCA-6F75AE12EF02}"/>
          </ac:spMkLst>
        </pc:spChg>
        <pc:spChg chg="add del mod modVis">
          <ac:chgData name="Wenwen Zhang" userId="9dd81366-5d6f-445a-b031-6ea562624431" providerId="ADAL" clId="{3909E7CC-5EA5-469C-9AFF-9A201E30CD9D}" dt="2022-12-06T17:02:59.070" v="59407"/>
          <ac:spMkLst>
            <pc:docMk/>
            <pc:sldMk cId="3189853592" sldId="2134804367"/>
            <ac:spMk id="4" creationId="{AB4F9725-C33D-F107-DD7A-C6AE7C36010F}"/>
          </ac:spMkLst>
        </pc:spChg>
        <pc:spChg chg="del mod">
          <ac:chgData name="Wenwen Zhang" userId="9dd81366-5d6f-445a-b031-6ea562624431" providerId="ADAL" clId="{3909E7CC-5EA5-469C-9AFF-9A201E30CD9D}" dt="2022-12-06T17:03:02.757" v="59419"/>
          <ac:spMkLst>
            <pc:docMk/>
            <pc:sldMk cId="3189853592" sldId="2134804367"/>
            <ac:spMk id="6" creationId="{74D7989D-F61F-08AA-F1DD-D123F6DE99B7}"/>
          </ac:spMkLst>
        </pc:spChg>
        <pc:spChg chg="del">
          <ac:chgData name="Wenwen Zhang" userId="9dd81366-5d6f-445a-b031-6ea562624431" providerId="ADAL" clId="{3909E7CC-5EA5-469C-9AFF-9A201E30CD9D}" dt="2022-12-06T17:02:59.008" v="59316"/>
          <ac:spMkLst>
            <pc:docMk/>
            <pc:sldMk cId="3189853592" sldId="2134804367"/>
            <ac:spMk id="13" creationId="{BD1157A2-BBCE-2A86-3D8A-E084224BBDC7}"/>
          </ac:spMkLst>
        </pc:spChg>
        <pc:spChg chg="del mod">
          <ac:chgData name="Wenwen Zhang" userId="9dd81366-5d6f-445a-b031-6ea562624431" providerId="ADAL" clId="{3909E7CC-5EA5-469C-9AFF-9A201E30CD9D}" dt="2022-12-06T17:03:02.758" v="59420"/>
          <ac:spMkLst>
            <pc:docMk/>
            <pc:sldMk cId="3189853592" sldId="2134804367"/>
            <ac:spMk id="14" creationId="{1E8D4857-4842-D6D3-534F-E0C4AAA507EC}"/>
          </ac:spMkLst>
        </pc:spChg>
        <pc:spChg chg="mod">
          <ac:chgData name="Wenwen Zhang" userId="9dd81366-5d6f-445a-b031-6ea562624431" providerId="ADAL" clId="{3909E7CC-5EA5-469C-9AFF-9A201E30CD9D}" dt="2022-12-07T10:01:46.333" v="66761"/>
          <ac:spMkLst>
            <pc:docMk/>
            <pc:sldMk cId="3189853592" sldId="2134804367"/>
            <ac:spMk id="17" creationId="{F975C164-F5C3-86DB-7B08-EAAABB546288}"/>
          </ac:spMkLst>
        </pc:spChg>
        <pc:spChg chg="mod">
          <ac:chgData name="Wenwen Zhang" userId="9dd81366-5d6f-445a-b031-6ea562624431" providerId="ADAL" clId="{3909E7CC-5EA5-469C-9AFF-9A201E30CD9D}" dt="2022-12-07T10:01:54.497" v="66764"/>
          <ac:spMkLst>
            <pc:docMk/>
            <pc:sldMk cId="3189853592" sldId="2134804367"/>
            <ac:spMk id="20" creationId="{E65CB961-469D-20B3-A0CF-6F244EFE809C}"/>
          </ac:spMkLst>
        </pc:spChg>
        <pc:spChg chg="mod">
          <ac:chgData name="Wenwen Zhang" userId="9dd81366-5d6f-445a-b031-6ea562624431" providerId="ADAL" clId="{3909E7CC-5EA5-469C-9AFF-9A201E30CD9D}" dt="2022-12-07T10:02:04.909" v="66769"/>
          <ac:spMkLst>
            <pc:docMk/>
            <pc:sldMk cId="3189853592" sldId="2134804367"/>
            <ac:spMk id="23" creationId="{291F9008-C0A9-C9F7-6EFD-98D39F6DDFB8}"/>
          </ac:spMkLst>
        </pc:spChg>
        <pc:spChg chg="del">
          <ac:chgData name="Wenwen Zhang" userId="9dd81366-5d6f-445a-b031-6ea562624431" providerId="ADAL" clId="{3909E7CC-5EA5-469C-9AFF-9A201E30CD9D}" dt="2022-12-06T17:02:59.006" v="59308"/>
          <ac:spMkLst>
            <pc:docMk/>
            <pc:sldMk cId="3189853592" sldId="2134804367"/>
            <ac:spMk id="26" creationId="{14CE96EE-B60C-A24E-22C2-D39D5571CEA7}"/>
          </ac:spMkLst>
        </pc:spChg>
        <pc:spChg chg="mod">
          <ac:chgData name="Wenwen Zhang" userId="9dd81366-5d6f-445a-b031-6ea562624431" providerId="ADAL" clId="{3909E7CC-5EA5-469C-9AFF-9A201E30CD9D}" dt="2022-12-07T10:02:08.218" v="66771"/>
          <ac:spMkLst>
            <pc:docMk/>
            <pc:sldMk cId="3189853592" sldId="2134804367"/>
            <ac:spMk id="26" creationId="{ED0208FC-B672-341C-EEC2-D7D55F187764}"/>
          </ac:spMkLst>
        </pc:spChg>
        <pc:spChg chg="mod">
          <ac:chgData name="Wenwen Zhang" userId="9dd81366-5d6f-445a-b031-6ea562624431" providerId="ADAL" clId="{3909E7CC-5EA5-469C-9AFF-9A201E30CD9D}" dt="2022-12-06T17:38:04.281" v="59949" actId="27803"/>
          <ac:spMkLst>
            <pc:docMk/>
            <pc:sldMk cId="3189853592" sldId="2134804367"/>
            <ac:spMk id="27" creationId="{D109A682-E2A2-E17F-B217-A1B69019B7B3}"/>
          </ac:spMkLst>
        </pc:spChg>
        <pc:spChg chg="mod ord">
          <ac:chgData name="Wenwen Zhang" userId="9dd81366-5d6f-445a-b031-6ea562624431" providerId="ADAL" clId="{3909E7CC-5EA5-469C-9AFF-9A201E30CD9D}" dt="2022-12-07T09:47:31.570" v="66402"/>
          <ac:spMkLst>
            <pc:docMk/>
            <pc:sldMk cId="3189853592" sldId="2134804367"/>
            <ac:spMk id="29" creationId="{D50B6CAA-A666-5524-85F7-444C607F0970}"/>
          </ac:spMkLst>
        </pc:spChg>
        <pc:spChg chg="mod">
          <ac:chgData name="Wenwen Zhang" userId="9dd81366-5d6f-445a-b031-6ea562624431" providerId="ADAL" clId="{3909E7CC-5EA5-469C-9AFF-9A201E30CD9D}" dt="2022-12-07T10:02:17.566" v="66774"/>
          <ac:spMkLst>
            <pc:docMk/>
            <pc:sldMk cId="3189853592" sldId="2134804367"/>
            <ac:spMk id="32" creationId="{44391A59-7E6C-8CCA-D6EC-5B2C6056FAAA}"/>
          </ac:spMkLst>
        </pc:spChg>
        <pc:spChg chg="add del mod">
          <ac:chgData name="Wenwen Zhang" userId="9dd81366-5d6f-445a-b031-6ea562624431" providerId="ADAL" clId="{3909E7CC-5EA5-469C-9AFF-9A201E30CD9D}" dt="2022-12-06T17:42:40.735" v="59979" actId="478"/>
          <ac:spMkLst>
            <pc:docMk/>
            <pc:sldMk cId="3189853592" sldId="2134804367"/>
            <ac:spMk id="32" creationId="{7A475211-6E24-6382-A6C0-435447453617}"/>
          </ac:spMkLst>
        </pc:spChg>
        <pc:spChg chg="mod">
          <ac:chgData name="Wenwen Zhang" userId="9dd81366-5d6f-445a-b031-6ea562624431" providerId="ADAL" clId="{3909E7CC-5EA5-469C-9AFF-9A201E30CD9D}" dt="2022-12-07T10:02:28.441" v="66777"/>
          <ac:spMkLst>
            <pc:docMk/>
            <pc:sldMk cId="3189853592" sldId="2134804367"/>
            <ac:spMk id="37" creationId="{5EA07CB9-DCB6-81E0-BC7B-60DA6C8BA86C}"/>
          </ac:spMkLst>
        </pc:spChg>
        <pc:spChg chg="mod">
          <ac:chgData name="Wenwen Zhang" userId="9dd81366-5d6f-445a-b031-6ea562624431" providerId="ADAL" clId="{3909E7CC-5EA5-469C-9AFF-9A201E30CD9D}" dt="2022-12-07T10:02:35.919" v="66780"/>
          <ac:spMkLst>
            <pc:docMk/>
            <pc:sldMk cId="3189853592" sldId="2134804367"/>
            <ac:spMk id="40" creationId="{DE7B730C-1370-1D9C-F8FD-FF073A2066CF}"/>
          </ac:spMkLst>
        </pc:spChg>
        <pc:spChg chg="add mod topLvl">
          <ac:chgData name="Wenwen Zhang" userId="9dd81366-5d6f-445a-b031-6ea562624431" providerId="ADAL" clId="{3909E7CC-5EA5-469C-9AFF-9A201E30CD9D}" dt="2022-12-07T10:06:30.965" v="66831" actId="164"/>
          <ac:spMkLst>
            <pc:docMk/>
            <pc:sldMk cId="3189853592" sldId="2134804367"/>
            <ac:spMk id="42" creationId="{AD45A7C0-2AC0-BDC7-C7D6-9457F5B1CA9C}"/>
          </ac:spMkLst>
        </pc:spChg>
        <pc:spChg chg="mod ord">
          <ac:chgData name="Wenwen Zhang" userId="9dd81366-5d6f-445a-b031-6ea562624431" providerId="ADAL" clId="{3909E7CC-5EA5-469C-9AFF-9A201E30CD9D}" dt="2022-12-07T09:47:31.570" v="66404"/>
          <ac:spMkLst>
            <pc:docMk/>
            <pc:sldMk cId="3189853592" sldId="2134804367"/>
            <ac:spMk id="43" creationId="{C58C7321-3BF7-61DC-5B1A-AD075E56AE05}"/>
          </ac:spMkLst>
        </pc:spChg>
        <pc:spChg chg="mod">
          <ac:chgData name="Wenwen Zhang" userId="9dd81366-5d6f-445a-b031-6ea562624431" providerId="ADAL" clId="{3909E7CC-5EA5-469C-9AFF-9A201E30CD9D}" dt="2022-12-07T10:06:33.371" v="66832"/>
          <ac:spMkLst>
            <pc:docMk/>
            <pc:sldMk cId="3189853592" sldId="2134804367"/>
            <ac:spMk id="53" creationId="{ECC83AEB-4618-CBA8-F386-95161693758C}"/>
          </ac:spMkLst>
        </pc:spChg>
        <pc:spChg chg="mod">
          <ac:chgData name="Wenwen Zhang" userId="9dd81366-5d6f-445a-b031-6ea562624431" providerId="ADAL" clId="{3909E7CC-5EA5-469C-9AFF-9A201E30CD9D}" dt="2022-12-07T10:06:40.412" v="66835"/>
          <ac:spMkLst>
            <pc:docMk/>
            <pc:sldMk cId="3189853592" sldId="2134804367"/>
            <ac:spMk id="56" creationId="{FBF02FB1-7F2C-F9F1-2F81-F74FD8574ADE}"/>
          </ac:spMkLst>
        </pc:spChg>
        <pc:spChg chg="mod">
          <ac:chgData name="Wenwen Zhang" userId="9dd81366-5d6f-445a-b031-6ea562624431" providerId="ADAL" clId="{3909E7CC-5EA5-469C-9AFF-9A201E30CD9D}" dt="2022-12-07T10:06:51.517" v="66838"/>
          <ac:spMkLst>
            <pc:docMk/>
            <pc:sldMk cId="3189853592" sldId="2134804367"/>
            <ac:spMk id="59" creationId="{CFD8FEC7-F33A-2FC7-83AF-479A99D0CE0A}"/>
          </ac:spMkLst>
        </pc:spChg>
        <pc:spChg chg="del">
          <ac:chgData name="Wenwen Zhang" userId="9dd81366-5d6f-445a-b031-6ea562624431" providerId="ADAL" clId="{3909E7CC-5EA5-469C-9AFF-9A201E30CD9D}" dt="2022-12-06T17:02:59.005" v="59306"/>
          <ac:spMkLst>
            <pc:docMk/>
            <pc:sldMk cId="3189853592" sldId="2134804367"/>
            <ac:spMk id="62" creationId="{6EBAC1CE-A6D5-46F5-BAEC-2A366E22CD0A}"/>
          </ac:spMkLst>
        </pc:spChg>
        <pc:spChg chg="mod">
          <ac:chgData name="Wenwen Zhang" userId="9dd81366-5d6f-445a-b031-6ea562624431" providerId="ADAL" clId="{3909E7CC-5EA5-469C-9AFF-9A201E30CD9D}" dt="2022-12-07T10:06:57.392" v="66840"/>
          <ac:spMkLst>
            <pc:docMk/>
            <pc:sldMk cId="3189853592" sldId="2134804367"/>
            <ac:spMk id="62" creationId="{99DC3B23-BE1A-2289-C6CE-35F46811680E}"/>
          </ac:spMkLst>
        </pc:spChg>
        <pc:spChg chg="del">
          <ac:chgData name="Wenwen Zhang" userId="9dd81366-5d6f-445a-b031-6ea562624431" providerId="ADAL" clId="{3909E7CC-5EA5-469C-9AFF-9A201E30CD9D}" dt="2022-12-06T17:02:59.007" v="59310"/>
          <ac:spMkLst>
            <pc:docMk/>
            <pc:sldMk cId="3189853592" sldId="2134804367"/>
            <ac:spMk id="96" creationId="{95FA4B86-4EF2-A6D5-E5F3-BD2D9157719D}"/>
          </ac:spMkLst>
        </pc:spChg>
        <pc:spChg chg="del mod">
          <ac:chgData name="Wenwen Zhang" userId="9dd81366-5d6f-445a-b031-6ea562624431" providerId="ADAL" clId="{3909E7CC-5EA5-469C-9AFF-9A201E30CD9D}" dt="2022-12-06T17:03:02.757" v="59417"/>
          <ac:spMkLst>
            <pc:docMk/>
            <pc:sldMk cId="3189853592" sldId="2134804367"/>
            <ac:spMk id="110" creationId="{45DF7D5F-B2C6-409D-6F57-D55DA326CAE0}"/>
          </ac:spMkLst>
        </pc:spChg>
        <pc:spChg chg="del">
          <ac:chgData name="Wenwen Zhang" userId="9dd81366-5d6f-445a-b031-6ea562624431" providerId="ADAL" clId="{3909E7CC-5EA5-469C-9AFF-9A201E30CD9D}" dt="2022-12-06T17:02:59.007" v="59312"/>
          <ac:spMkLst>
            <pc:docMk/>
            <pc:sldMk cId="3189853592" sldId="2134804367"/>
            <ac:spMk id="131" creationId="{68D674CD-EFF6-97E2-1DAA-1A90ED2E1CCA}"/>
          </ac:spMkLst>
        </pc:spChg>
        <pc:spChg chg="del mod">
          <ac:chgData name="Wenwen Zhang" userId="9dd81366-5d6f-445a-b031-6ea562624431" providerId="ADAL" clId="{3909E7CC-5EA5-469C-9AFF-9A201E30CD9D}" dt="2022-12-06T17:03:02.757" v="59415"/>
          <ac:spMkLst>
            <pc:docMk/>
            <pc:sldMk cId="3189853592" sldId="2134804367"/>
            <ac:spMk id="134" creationId="{9681913E-3068-5B4F-0BD6-B77E57F5F186}"/>
          </ac:spMkLst>
        </pc:spChg>
        <pc:spChg chg="del mod">
          <ac:chgData name="Wenwen Zhang" userId="9dd81366-5d6f-445a-b031-6ea562624431" providerId="ADAL" clId="{3909E7CC-5EA5-469C-9AFF-9A201E30CD9D}" dt="2022-12-06T17:03:02.756" v="59413"/>
          <ac:spMkLst>
            <pc:docMk/>
            <pc:sldMk cId="3189853592" sldId="2134804367"/>
            <ac:spMk id="145" creationId="{84BFA88E-0F0C-E062-37D3-47C8AFB9ABBD}"/>
          </ac:spMkLst>
        </pc:spChg>
        <pc:spChg chg="del mod">
          <ac:chgData name="Wenwen Zhang" userId="9dd81366-5d6f-445a-b031-6ea562624431" providerId="ADAL" clId="{3909E7CC-5EA5-469C-9AFF-9A201E30CD9D}" dt="2022-12-06T17:03:02.755" v="59411"/>
          <ac:spMkLst>
            <pc:docMk/>
            <pc:sldMk cId="3189853592" sldId="2134804367"/>
            <ac:spMk id="147" creationId="{31695CEF-E190-A19F-7DEB-0FD4C55D9A5A}"/>
          </ac:spMkLst>
        </pc:spChg>
        <pc:grpChg chg="add mod">
          <ac:chgData name="Wenwen Zhang" userId="9dd81366-5d6f-445a-b031-6ea562624431" providerId="ADAL" clId="{3909E7CC-5EA5-469C-9AFF-9A201E30CD9D}" dt="2022-12-07T10:01:42.749" v="66760" actId="164"/>
          <ac:grpSpMkLst>
            <pc:docMk/>
            <pc:sldMk cId="3189853592" sldId="2134804367"/>
            <ac:grpSpMk id="15" creationId="{B9C3DC60-DC15-7CC0-7A13-DEA15A09E548}"/>
          </ac:grpSpMkLst>
        </pc:grpChg>
        <pc:grpChg chg="add mod">
          <ac:chgData name="Wenwen Zhang" userId="9dd81366-5d6f-445a-b031-6ea562624431" providerId="ADAL" clId="{3909E7CC-5EA5-469C-9AFF-9A201E30CD9D}" dt="2022-12-07T10:01:50.139" v="66762" actId="1076"/>
          <ac:grpSpMkLst>
            <pc:docMk/>
            <pc:sldMk cId="3189853592" sldId="2134804367"/>
            <ac:grpSpMk id="16" creationId="{A06E0579-2D3E-3EE8-733F-185A5E78FD95}"/>
          </ac:grpSpMkLst>
        </pc:grpChg>
        <pc:grpChg chg="add mod">
          <ac:chgData name="Wenwen Zhang" userId="9dd81366-5d6f-445a-b031-6ea562624431" providerId="ADAL" clId="{3909E7CC-5EA5-469C-9AFF-9A201E30CD9D}" dt="2022-12-07T10:01:59.342" v="66765" actId="1076"/>
          <ac:grpSpMkLst>
            <pc:docMk/>
            <pc:sldMk cId="3189853592" sldId="2134804367"/>
            <ac:grpSpMk id="19" creationId="{457C8069-4EDF-F1C7-EFDB-1A21B5BE603E}"/>
          </ac:grpSpMkLst>
        </pc:grpChg>
        <pc:grpChg chg="add mod">
          <ac:chgData name="Wenwen Zhang" userId="9dd81366-5d6f-445a-b031-6ea562624431" providerId="ADAL" clId="{3909E7CC-5EA5-469C-9AFF-9A201E30CD9D}" dt="2022-12-07T10:02:07.290" v="66770" actId="1076"/>
          <ac:grpSpMkLst>
            <pc:docMk/>
            <pc:sldMk cId="3189853592" sldId="2134804367"/>
            <ac:grpSpMk id="22" creationId="{F510F99B-3554-8CF6-5439-F6C8D787682B}"/>
          </ac:grpSpMkLst>
        </pc:grpChg>
        <pc:grpChg chg="add mod">
          <ac:chgData name="Wenwen Zhang" userId="9dd81366-5d6f-445a-b031-6ea562624431" providerId="ADAL" clId="{3909E7CC-5EA5-469C-9AFF-9A201E30CD9D}" dt="2022-12-07T10:02:16.054" v="66773" actId="1076"/>
          <ac:grpSpMkLst>
            <pc:docMk/>
            <pc:sldMk cId="3189853592" sldId="2134804367"/>
            <ac:grpSpMk id="25" creationId="{E4BB47F2-CB4E-3898-25DD-FBFA27AFCEFE}"/>
          </ac:grpSpMkLst>
        </pc:grpChg>
        <pc:grpChg chg="add mod">
          <ac:chgData name="Wenwen Zhang" userId="9dd81366-5d6f-445a-b031-6ea562624431" providerId="ADAL" clId="{3909E7CC-5EA5-469C-9AFF-9A201E30CD9D}" dt="2022-12-07T10:07:16.033" v="66843" actId="1076"/>
          <ac:grpSpMkLst>
            <pc:docMk/>
            <pc:sldMk cId="3189853592" sldId="2134804367"/>
            <ac:grpSpMk id="30" creationId="{0C022132-2D00-1E72-9DD4-2BA7D2EDD6CF}"/>
          </ac:grpSpMkLst>
        </pc:grpChg>
        <pc:grpChg chg="add mod">
          <ac:chgData name="Wenwen Zhang" userId="9dd81366-5d6f-445a-b031-6ea562624431" providerId="ADAL" clId="{3909E7CC-5EA5-469C-9AFF-9A201E30CD9D}" dt="2022-12-07T10:02:31.536" v="66778" actId="1076"/>
          <ac:grpSpMkLst>
            <pc:docMk/>
            <pc:sldMk cId="3189853592" sldId="2134804367"/>
            <ac:grpSpMk id="35" creationId="{7BD1FE81-B2C1-2AF6-0584-843917A0E24B}"/>
          </ac:grpSpMkLst>
        </pc:grpChg>
        <pc:grpChg chg="add mod">
          <ac:chgData name="Wenwen Zhang" userId="9dd81366-5d6f-445a-b031-6ea562624431" providerId="ADAL" clId="{3909E7CC-5EA5-469C-9AFF-9A201E30CD9D}" dt="2022-12-07T10:02:40.588" v="66781" actId="1076"/>
          <ac:grpSpMkLst>
            <pc:docMk/>
            <pc:sldMk cId="3189853592" sldId="2134804367"/>
            <ac:grpSpMk id="39" creationId="{D7E7866E-C152-D382-3AAA-5DCC273EBFA4}"/>
          </ac:grpSpMkLst>
        </pc:grpChg>
        <pc:grpChg chg="add del mod">
          <ac:chgData name="Wenwen Zhang" userId="9dd81366-5d6f-445a-b031-6ea562624431" providerId="ADAL" clId="{3909E7CC-5EA5-469C-9AFF-9A201E30CD9D}" dt="2022-12-07T10:05:41.267" v="66821" actId="165"/>
          <ac:grpSpMkLst>
            <pc:docMk/>
            <pc:sldMk cId="3189853592" sldId="2134804367"/>
            <ac:grpSpMk id="50" creationId="{05378EEC-1AB4-7D69-0EF8-EE95568E2E9E}"/>
          </ac:grpSpMkLst>
        </pc:grpChg>
        <pc:grpChg chg="add mod">
          <ac:chgData name="Wenwen Zhang" userId="9dd81366-5d6f-445a-b031-6ea562624431" providerId="ADAL" clId="{3909E7CC-5EA5-469C-9AFF-9A201E30CD9D}" dt="2022-12-07T10:07:11.013" v="66842" actId="1076"/>
          <ac:grpSpMkLst>
            <pc:docMk/>
            <pc:sldMk cId="3189853592" sldId="2134804367"/>
            <ac:grpSpMk id="51" creationId="{643F7203-D1D3-C9CE-6651-CC6457AB406A}"/>
          </ac:grpSpMkLst>
        </pc:grpChg>
        <pc:grpChg chg="add mod">
          <ac:chgData name="Wenwen Zhang" userId="9dd81366-5d6f-445a-b031-6ea562624431" providerId="ADAL" clId="{3909E7CC-5EA5-469C-9AFF-9A201E30CD9D}" dt="2022-12-07T10:06:36.905" v="66833" actId="1076"/>
          <ac:grpSpMkLst>
            <pc:docMk/>
            <pc:sldMk cId="3189853592" sldId="2134804367"/>
            <ac:grpSpMk id="52" creationId="{02C3CC7A-43CE-0CEA-5B4B-CE937A851505}"/>
          </ac:grpSpMkLst>
        </pc:grpChg>
        <pc:grpChg chg="add mod">
          <ac:chgData name="Wenwen Zhang" userId="9dd81366-5d6f-445a-b031-6ea562624431" providerId="ADAL" clId="{3909E7CC-5EA5-469C-9AFF-9A201E30CD9D}" dt="2022-12-07T10:06:43.091" v="66836" actId="1076"/>
          <ac:grpSpMkLst>
            <pc:docMk/>
            <pc:sldMk cId="3189853592" sldId="2134804367"/>
            <ac:grpSpMk id="55" creationId="{076F7992-F041-061F-70D8-018B0DE75963}"/>
          </ac:grpSpMkLst>
        </pc:grpChg>
        <pc:grpChg chg="add mod">
          <ac:chgData name="Wenwen Zhang" userId="9dd81366-5d6f-445a-b031-6ea562624431" providerId="ADAL" clId="{3909E7CC-5EA5-469C-9AFF-9A201E30CD9D}" dt="2022-12-07T10:06:56.719" v="66839" actId="1076"/>
          <ac:grpSpMkLst>
            <pc:docMk/>
            <pc:sldMk cId="3189853592" sldId="2134804367"/>
            <ac:grpSpMk id="58" creationId="{5FA036F0-4B93-D037-0EB7-0A921395169A}"/>
          </ac:grpSpMkLst>
        </pc:grpChg>
        <pc:grpChg chg="add mod">
          <ac:chgData name="Wenwen Zhang" userId="9dd81366-5d6f-445a-b031-6ea562624431" providerId="ADAL" clId="{3909E7CC-5EA5-469C-9AFF-9A201E30CD9D}" dt="2022-12-07T10:07:00.058" v="66841" actId="1076"/>
          <ac:grpSpMkLst>
            <pc:docMk/>
            <pc:sldMk cId="3189853592" sldId="2134804367"/>
            <ac:grpSpMk id="61" creationId="{B61A263B-C144-AEF1-616A-C6439DE04832}"/>
          </ac:grpSpMkLst>
        </pc:grpChg>
        <pc:graphicFrameChg chg="add mod ord modGraphic">
          <ac:chgData name="Wenwen Zhang" userId="9dd81366-5d6f-445a-b031-6ea562624431" providerId="ADAL" clId="{3909E7CC-5EA5-469C-9AFF-9A201E30CD9D}" dt="2022-12-07T10:07:44.657" v="66849" actId="20577"/>
          <ac:graphicFrameMkLst>
            <pc:docMk/>
            <pc:sldMk cId="3189853592" sldId="2134804367"/>
            <ac:graphicFrameMk id="5" creationId="{2265E881-1A0F-632D-90B9-E8C0A1751FE4}"/>
          </ac:graphicFrameMkLst>
        </pc:graphicFrameChg>
        <pc:graphicFrameChg chg="add del mod">
          <ac:chgData name="Wenwen Zhang" userId="9dd81366-5d6f-445a-b031-6ea562624431" providerId="ADAL" clId="{3909E7CC-5EA5-469C-9AFF-9A201E30CD9D}" dt="2022-12-06T17:04:57.951" v="59450"/>
          <ac:graphicFrameMkLst>
            <pc:docMk/>
            <pc:sldMk cId="3189853592" sldId="2134804367"/>
            <ac:graphicFrameMk id="7" creationId="{6A96C19D-8412-1C7F-DE43-C18518B91419}"/>
          </ac:graphicFrameMkLst>
        </pc:graphicFrameChg>
        <pc:graphicFrameChg chg="mod">
          <ac:chgData name="Wenwen Zhang" userId="9dd81366-5d6f-445a-b031-6ea562624431" providerId="ADAL" clId="{3909E7CC-5EA5-469C-9AFF-9A201E30CD9D}" dt="2022-12-07T09:47:31.579" v="66432"/>
          <ac:graphicFrameMkLst>
            <pc:docMk/>
            <pc:sldMk cId="3189853592" sldId="2134804367"/>
            <ac:graphicFrameMk id="28" creationId="{015DFAEE-F78A-C272-92CE-F25C3417CAD0}"/>
          </ac:graphicFrameMkLst>
        </pc:graphicFrameChg>
        <pc:picChg chg="del mod ord">
          <ac:chgData name="Wenwen Zhang" userId="9dd81366-5d6f-445a-b031-6ea562624431" providerId="ADAL" clId="{3909E7CC-5EA5-469C-9AFF-9A201E30CD9D}" dt="2022-12-07T10:01:21.643" v="66757" actId="478"/>
          <ac:picMkLst>
            <pc:docMk/>
            <pc:sldMk cId="3189853592" sldId="2134804367"/>
            <ac:picMk id="4" creationId="{0AC404FC-235A-9D69-72DE-F99F5CB04B55}"/>
          </ac:picMkLst>
        </pc:picChg>
        <pc:picChg chg="del mod ord">
          <ac:chgData name="Wenwen Zhang" userId="9dd81366-5d6f-445a-b031-6ea562624431" providerId="ADAL" clId="{3909E7CC-5EA5-469C-9AFF-9A201E30CD9D}" dt="2022-12-07T09:56:00.870" v="66570" actId="478"/>
          <ac:picMkLst>
            <pc:docMk/>
            <pc:sldMk cId="3189853592" sldId="2134804367"/>
            <ac:picMk id="6" creationId="{DB73FCDF-D9D8-2973-DFA3-E04687E26D02}"/>
          </ac:picMkLst>
        </pc:picChg>
        <pc:picChg chg="del mod ord">
          <ac:chgData name="Wenwen Zhang" userId="9dd81366-5d6f-445a-b031-6ea562624431" providerId="ADAL" clId="{3909E7CC-5EA5-469C-9AFF-9A201E30CD9D}" dt="2022-12-07T10:01:52.976" v="66763" actId="478"/>
          <ac:picMkLst>
            <pc:docMk/>
            <pc:sldMk cId="3189853592" sldId="2134804367"/>
            <ac:picMk id="7" creationId="{3C5BF9E2-9FED-4F54-30A9-D4E196D38F90}"/>
          </ac:picMkLst>
        </pc:picChg>
        <pc:picChg chg="del mod ord">
          <ac:chgData name="Wenwen Zhang" userId="9dd81366-5d6f-445a-b031-6ea562624431" providerId="ADAL" clId="{3909E7CC-5EA5-469C-9AFF-9A201E30CD9D}" dt="2022-12-07T09:53:48.560" v="66463" actId="478"/>
          <ac:picMkLst>
            <pc:docMk/>
            <pc:sldMk cId="3189853592" sldId="2134804367"/>
            <ac:picMk id="8" creationId="{EFE1AC4E-4DDC-FC75-DC19-E744E05ACA25}"/>
          </ac:picMkLst>
        </pc:picChg>
        <pc:picChg chg="add del mod">
          <ac:chgData name="Wenwen Zhang" userId="9dd81366-5d6f-445a-b031-6ea562624431" providerId="ADAL" clId="{3909E7CC-5EA5-469C-9AFF-9A201E30CD9D}" dt="2022-12-07T09:53:43.456" v="66460" actId="478"/>
          <ac:picMkLst>
            <pc:docMk/>
            <pc:sldMk cId="3189853592" sldId="2134804367"/>
            <ac:picMk id="9" creationId="{9000F7C4-5F82-64BE-1F46-FD1C968F75D7}"/>
          </ac:picMkLst>
        </pc:picChg>
        <pc:picChg chg="add del mod">
          <ac:chgData name="Wenwen Zhang" userId="9dd81366-5d6f-445a-b031-6ea562624431" providerId="ADAL" clId="{3909E7CC-5EA5-469C-9AFF-9A201E30CD9D}" dt="2022-12-06T17:29:14.807" v="59884" actId="478"/>
          <ac:picMkLst>
            <pc:docMk/>
            <pc:sldMk cId="3189853592" sldId="2134804367"/>
            <ac:picMk id="9" creationId="{A5983539-983D-499E-E81D-39C9E6A7034B}"/>
          </ac:picMkLst>
        </pc:picChg>
        <pc:picChg chg="add del mod">
          <ac:chgData name="Wenwen Zhang" userId="9dd81366-5d6f-445a-b031-6ea562624431" providerId="ADAL" clId="{3909E7CC-5EA5-469C-9AFF-9A201E30CD9D}" dt="2022-12-07T10:06:45.970" v="66837" actId="478"/>
          <ac:picMkLst>
            <pc:docMk/>
            <pc:sldMk cId="3189853592" sldId="2134804367"/>
            <ac:picMk id="10" creationId="{60C143D9-A644-6571-3823-250D91622B6A}"/>
          </ac:picMkLst>
        </pc:picChg>
        <pc:picChg chg="del mod ord">
          <ac:chgData name="Wenwen Zhang" userId="9dd81366-5d6f-445a-b031-6ea562624431" providerId="ADAL" clId="{3909E7CC-5EA5-469C-9AFF-9A201E30CD9D}" dt="2022-12-07T10:05:23.925" v="66818" actId="478"/>
          <ac:picMkLst>
            <pc:docMk/>
            <pc:sldMk cId="3189853592" sldId="2134804367"/>
            <ac:picMk id="11" creationId="{B6B70C70-CC29-445A-A6B1-B435B3BD12B1}"/>
          </ac:picMkLst>
        </pc:picChg>
        <pc:picChg chg="add del mod">
          <ac:chgData name="Wenwen Zhang" userId="9dd81366-5d6f-445a-b031-6ea562624431" providerId="ADAL" clId="{3909E7CC-5EA5-469C-9AFF-9A201E30CD9D}" dt="2022-12-06T17:29:14.807" v="59884" actId="478"/>
          <ac:picMkLst>
            <pc:docMk/>
            <pc:sldMk cId="3189853592" sldId="2134804367"/>
            <ac:picMk id="11" creationId="{EC3FC1B0-260F-BDB3-EEDD-9C0C90BEE78B}"/>
          </ac:picMkLst>
        </pc:picChg>
        <pc:picChg chg="add del mod">
          <ac:chgData name="Wenwen Zhang" userId="9dd81366-5d6f-445a-b031-6ea562624431" providerId="ADAL" clId="{3909E7CC-5EA5-469C-9AFF-9A201E30CD9D}" dt="2022-12-07T10:00:02.023" v="66740" actId="478"/>
          <ac:picMkLst>
            <pc:docMk/>
            <pc:sldMk cId="3189853592" sldId="2134804367"/>
            <ac:picMk id="12" creationId="{613210F2-6735-32DE-2FE3-9A85B0C1CD93}"/>
          </ac:picMkLst>
        </pc:picChg>
        <pc:picChg chg="add del mod">
          <ac:chgData name="Wenwen Zhang" userId="9dd81366-5d6f-445a-b031-6ea562624431" providerId="ADAL" clId="{3909E7CC-5EA5-469C-9AFF-9A201E30CD9D}" dt="2022-12-07T10:02:34.308" v="66779" actId="478"/>
          <ac:picMkLst>
            <pc:docMk/>
            <pc:sldMk cId="3189853592" sldId="2134804367"/>
            <ac:picMk id="13" creationId="{4FA229A9-48C1-FCE0-1811-7DB830DF6F92}"/>
          </ac:picMkLst>
        </pc:picChg>
        <pc:picChg chg="add del mod">
          <ac:chgData name="Wenwen Zhang" userId="9dd81366-5d6f-445a-b031-6ea562624431" providerId="ADAL" clId="{3909E7CC-5EA5-469C-9AFF-9A201E30CD9D}" dt="2022-12-07T10:05:23.925" v="66818" actId="478"/>
          <ac:picMkLst>
            <pc:docMk/>
            <pc:sldMk cId="3189853592" sldId="2134804367"/>
            <ac:picMk id="14" creationId="{A405A17A-A859-D024-27A6-AD80FD31868B}"/>
          </ac:picMkLst>
        </pc:picChg>
        <pc:picChg chg="add del mod">
          <ac:chgData name="Wenwen Zhang" userId="9dd81366-5d6f-445a-b031-6ea562624431" providerId="ADAL" clId="{3909E7CC-5EA5-469C-9AFF-9A201E30CD9D}" dt="2022-12-06T17:41:55.604" v="59967" actId="478"/>
          <ac:picMkLst>
            <pc:docMk/>
            <pc:sldMk cId="3189853592" sldId="2134804367"/>
            <ac:picMk id="15" creationId="{F0B8D632-6738-2760-3647-6AD3B62E7725}"/>
          </ac:picMkLst>
        </pc:picChg>
        <pc:picChg chg="add del mod">
          <ac:chgData name="Wenwen Zhang" userId="9dd81366-5d6f-445a-b031-6ea562624431" providerId="ADAL" clId="{3909E7CC-5EA5-469C-9AFF-9A201E30CD9D}" dt="2022-12-06T17:41:58.974" v="59971" actId="478"/>
          <ac:picMkLst>
            <pc:docMk/>
            <pc:sldMk cId="3189853592" sldId="2134804367"/>
            <ac:picMk id="17" creationId="{A40C9386-373F-1FAA-49FB-9F287699EF40}"/>
          </ac:picMkLst>
        </pc:picChg>
        <pc:picChg chg="mod">
          <ac:chgData name="Wenwen Zhang" userId="9dd81366-5d6f-445a-b031-6ea562624431" providerId="ADAL" clId="{3909E7CC-5EA5-469C-9AFF-9A201E30CD9D}" dt="2022-12-07T10:01:46.333" v="66761"/>
          <ac:picMkLst>
            <pc:docMk/>
            <pc:sldMk cId="3189853592" sldId="2134804367"/>
            <ac:picMk id="18" creationId="{3FA3C11E-F1CE-6346-AA1F-955CDE3FEE88}"/>
          </ac:picMkLst>
        </pc:picChg>
        <pc:picChg chg="add del mod">
          <ac:chgData name="Wenwen Zhang" userId="9dd81366-5d6f-445a-b031-6ea562624431" providerId="ADAL" clId="{3909E7CC-5EA5-469C-9AFF-9A201E30CD9D}" dt="2022-12-06T17:34:50.380" v="59923" actId="478"/>
          <ac:picMkLst>
            <pc:docMk/>
            <pc:sldMk cId="3189853592" sldId="2134804367"/>
            <ac:picMk id="19" creationId="{E52F63A3-8ECE-2A34-40B1-9B3D324CA963}"/>
          </ac:picMkLst>
        </pc:picChg>
        <pc:picChg chg="add del mod">
          <ac:chgData name="Wenwen Zhang" userId="9dd81366-5d6f-445a-b031-6ea562624431" providerId="ADAL" clId="{3909E7CC-5EA5-469C-9AFF-9A201E30CD9D}" dt="2022-12-06T17:41:56.614" v="59968" actId="478"/>
          <ac:picMkLst>
            <pc:docMk/>
            <pc:sldMk cId="3189853592" sldId="2134804367"/>
            <ac:picMk id="20" creationId="{93DC5315-4EDF-9A4A-3528-20A447DEA1A0}"/>
          </ac:picMkLst>
        </pc:picChg>
        <pc:picChg chg="add del mod">
          <ac:chgData name="Wenwen Zhang" userId="9dd81366-5d6f-445a-b031-6ea562624431" providerId="ADAL" clId="{3909E7CC-5EA5-469C-9AFF-9A201E30CD9D}" dt="2022-12-06T17:40:11.785" v="59958" actId="478"/>
          <ac:picMkLst>
            <pc:docMk/>
            <pc:sldMk cId="3189853592" sldId="2134804367"/>
            <ac:picMk id="21" creationId="{302FAC3B-EB85-84F2-3A17-6EC4A7245AEB}"/>
          </ac:picMkLst>
        </pc:picChg>
        <pc:picChg chg="mod">
          <ac:chgData name="Wenwen Zhang" userId="9dd81366-5d6f-445a-b031-6ea562624431" providerId="ADAL" clId="{3909E7CC-5EA5-469C-9AFF-9A201E30CD9D}" dt="2022-12-07T10:01:54.497" v="66764"/>
          <ac:picMkLst>
            <pc:docMk/>
            <pc:sldMk cId="3189853592" sldId="2134804367"/>
            <ac:picMk id="21" creationId="{8BC323EA-EFEC-350E-146F-D7688055C835}"/>
          </ac:picMkLst>
        </pc:picChg>
        <pc:picChg chg="add del mod">
          <ac:chgData name="Wenwen Zhang" userId="9dd81366-5d6f-445a-b031-6ea562624431" providerId="ADAL" clId="{3909E7CC-5EA5-469C-9AFF-9A201E30CD9D}" dt="2022-12-06T17:41:57.504" v="59969" actId="478"/>
          <ac:picMkLst>
            <pc:docMk/>
            <pc:sldMk cId="3189853592" sldId="2134804367"/>
            <ac:picMk id="22" creationId="{1052BAEF-2629-C14C-4F44-99136687736C}"/>
          </ac:picMkLst>
        </pc:picChg>
        <pc:picChg chg="add del mod">
          <ac:chgData name="Wenwen Zhang" userId="9dd81366-5d6f-445a-b031-6ea562624431" providerId="ADAL" clId="{3909E7CC-5EA5-469C-9AFF-9A201E30CD9D}" dt="2022-12-06T17:41:58.170" v="59970" actId="478"/>
          <ac:picMkLst>
            <pc:docMk/>
            <pc:sldMk cId="3189853592" sldId="2134804367"/>
            <ac:picMk id="23" creationId="{1CE10A01-75E2-6071-61D6-E00C13F8651D}"/>
          </ac:picMkLst>
        </pc:picChg>
        <pc:picChg chg="mod">
          <ac:chgData name="Wenwen Zhang" userId="9dd81366-5d6f-445a-b031-6ea562624431" providerId="ADAL" clId="{3909E7CC-5EA5-469C-9AFF-9A201E30CD9D}" dt="2022-12-07T10:02:04.909" v="66769"/>
          <ac:picMkLst>
            <pc:docMk/>
            <pc:sldMk cId="3189853592" sldId="2134804367"/>
            <ac:picMk id="24" creationId="{5BEC1BF2-E195-5637-C750-CB1D9B1ED33F}"/>
          </ac:picMkLst>
        </pc:picChg>
        <pc:picChg chg="add del mod">
          <ac:chgData name="Wenwen Zhang" userId="9dd81366-5d6f-445a-b031-6ea562624431" providerId="ADAL" clId="{3909E7CC-5EA5-469C-9AFF-9A201E30CD9D}" dt="2022-12-06T17:39:34.944" v="59953" actId="478"/>
          <ac:picMkLst>
            <pc:docMk/>
            <pc:sldMk cId="3189853592" sldId="2134804367"/>
            <ac:picMk id="25" creationId="{D109A682-E2A2-E17F-B217-A1B69019B7B3}"/>
          </ac:picMkLst>
        </pc:picChg>
        <pc:picChg chg="mod">
          <ac:chgData name="Wenwen Zhang" userId="9dd81366-5d6f-445a-b031-6ea562624431" providerId="ADAL" clId="{3909E7CC-5EA5-469C-9AFF-9A201E30CD9D}" dt="2022-12-07T10:02:08.218" v="66771"/>
          <ac:picMkLst>
            <pc:docMk/>
            <pc:sldMk cId="3189853592" sldId="2134804367"/>
            <ac:picMk id="27" creationId="{E207CAD2-D3FA-B79A-6457-BBC198043DFD}"/>
          </ac:picMkLst>
        </pc:picChg>
        <pc:picChg chg="add mod ord">
          <ac:chgData name="Wenwen Zhang" userId="9dd81366-5d6f-445a-b031-6ea562624431" providerId="ADAL" clId="{3909E7CC-5EA5-469C-9AFF-9A201E30CD9D}" dt="2022-12-07T10:01:42.749" v="66760" actId="164"/>
          <ac:picMkLst>
            <pc:docMk/>
            <pc:sldMk cId="3189853592" sldId="2134804367"/>
            <ac:picMk id="31" creationId="{EB876192-AF97-0768-6C6B-08518388EB16}"/>
          </ac:picMkLst>
        </pc:picChg>
        <pc:picChg chg="mod">
          <ac:chgData name="Wenwen Zhang" userId="9dd81366-5d6f-445a-b031-6ea562624431" providerId="ADAL" clId="{3909E7CC-5EA5-469C-9AFF-9A201E30CD9D}" dt="2022-12-07T10:02:17.566" v="66774"/>
          <ac:picMkLst>
            <pc:docMk/>
            <pc:sldMk cId="3189853592" sldId="2134804367"/>
            <ac:picMk id="33" creationId="{AAC5D8AD-7F63-EF62-AE90-61CFDE9DBE19}"/>
          </ac:picMkLst>
        </pc:picChg>
        <pc:picChg chg="add del mod ord">
          <ac:chgData name="Wenwen Zhang" userId="9dd81366-5d6f-445a-b031-6ea562624431" providerId="ADAL" clId="{3909E7CC-5EA5-469C-9AFF-9A201E30CD9D}" dt="2022-12-07T10:06:38.993" v="66834" actId="478"/>
          <ac:picMkLst>
            <pc:docMk/>
            <pc:sldMk cId="3189853592" sldId="2134804367"/>
            <ac:picMk id="34" creationId="{00E6892D-41B8-12C2-A9EB-A80E6B63661F}"/>
          </ac:picMkLst>
        </pc:picChg>
        <pc:picChg chg="add mod">
          <ac:chgData name="Wenwen Zhang" userId="9dd81366-5d6f-445a-b031-6ea562624431" providerId="ADAL" clId="{3909E7CC-5EA5-469C-9AFF-9A201E30CD9D}" dt="2022-12-06T17:46:35.223" v="60046" actId="1076"/>
          <ac:picMkLst>
            <pc:docMk/>
            <pc:sldMk cId="3189853592" sldId="2134804367"/>
            <ac:picMk id="35" creationId="{6BA03B3A-323B-10FF-0240-0B05BB6625E0}"/>
          </ac:picMkLst>
        </pc:picChg>
        <pc:picChg chg="add del mod ord">
          <ac:chgData name="Wenwen Zhang" userId="9dd81366-5d6f-445a-b031-6ea562624431" providerId="ADAL" clId="{3909E7CC-5EA5-469C-9AFF-9A201E30CD9D}" dt="2022-12-07T10:02:44.445" v="66782" actId="478"/>
          <ac:picMkLst>
            <pc:docMk/>
            <pc:sldMk cId="3189853592" sldId="2134804367"/>
            <ac:picMk id="36" creationId="{C42111C1-0CDE-EF0F-F2ED-307D8A942F7E}"/>
          </ac:picMkLst>
        </pc:picChg>
        <pc:picChg chg="add del mod">
          <ac:chgData name="Wenwen Zhang" userId="9dd81366-5d6f-445a-b031-6ea562624431" providerId="ADAL" clId="{3909E7CC-5EA5-469C-9AFF-9A201E30CD9D}" dt="2022-12-06T17:48:28.072" v="60053" actId="478"/>
          <ac:picMkLst>
            <pc:docMk/>
            <pc:sldMk cId="3189853592" sldId="2134804367"/>
            <ac:picMk id="38" creationId="{69AEFE87-5FCF-4A26-7649-F8DDCD60B14C}"/>
          </ac:picMkLst>
        </pc:picChg>
        <pc:picChg chg="mod">
          <ac:chgData name="Wenwen Zhang" userId="9dd81366-5d6f-445a-b031-6ea562624431" providerId="ADAL" clId="{3909E7CC-5EA5-469C-9AFF-9A201E30CD9D}" dt="2022-12-07T10:02:28.441" v="66777"/>
          <ac:picMkLst>
            <pc:docMk/>
            <pc:sldMk cId="3189853592" sldId="2134804367"/>
            <ac:picMk id="38" creationId="{B4EE83A0-1378-8634-484B-7E5061B36DCC}"/>
          </ac:picMkLst>
        </pc:picChg>
        <pc:picChg chg="add del mod">
          <ac:chgData name="Wenwen Zhang" userId="9dd81366-5d6f-445a-b031-6ea562624431" providerId="ADAL" clId="{3909E7CC-5EA5-469C-9AFF-9A201E30CD9D}" dt="2022-12-06T17:48:28.072" v="60053" actId="478"/>
          <ac:picMkLst>
            <pc:docMk/>
            <pc:sldMk cId="3189853592" sldId="2134804367"/>
            <ac:picMk id="40" creationId="{21D152A6-C7B6-CF4E-75BA-4F1B42E42BCE}"/>
          </ac:picMkLst>
        </pc:picChg>
        <pc:picChg chg="mod">
          <ac:chgData name="Wenwen Zhang" userId="9dd81366-5d6f-445a-b031-6ea562624431" providerId="ADAL" clId="{3909E7CC-5EA5-469C-9AFF-9A201E30CD9D}" dt="2022-12-07T10:02:35.919" v="66780"/>
          <ac:picMkLst>
            <pc:docMk/>
            <pc:sldMk cId="3189853592" sldId="2134804367"/>
            <ac:picMk id="41" creationId="{9521733F-988E-C83D-0CF4-29AF7AD9819C}"/>
          </ac:picMkLst>
        </pc:picChg>
        <pc:picChg chg="add mod">
          <ac:chgData name="Wenwen Zhang" userId="9dd81366-5d6f-445a-b031-6ea562624431" providerId="ADAL" clId="{3909E7CC-5EA5-469C-9AFF-9A201E30CD9D}" dt="2022-12-06T18:08:27.658" v="60454" actId="1076"/>
          <ac:picMkLst>
            <pc:docMk/>
            <pc:sldMk cId="3189853592" sldId="2134804367"/>
            <ac:picMk id="42" creationId="{5639464A-D97C-5EAE-09ED-00193EE0D555}"/>
          </ac:picMkLst>
        </pc:picChg>
        <pc:picChg chg="add mod topLvl">
          <ac:chgData name="Wenwen Zhang" userId="9dd81366-5d6f-445a-b031-6ea562624431" providerId="ADAL" clId="{3909E7CC-5EA5-469C-9AFF-9A201E30CD9D}" dt="2022-12-07T10:06:30.965" v="66831" actId="164"/>
          <ac:picMkLst>
            <pc:docMk/>
            <pc:sldMk cId="3189853592" sldId="2134804367"/>
            <ac:picMk id="45" creationId="{10654DFB-417F-68F7-0BF4-83440A5FEEAB}"/>
          </ac:picMkLst>
        </pc:picChg>
        <pc:picChg chg="add mod">
          <ac:chgData name="Wenwen Zhang" userId="9dd81366-5d6f-445a-b031-6ea562624431" providerId="ADAL" clId="{3909E7CC-5EA5-469C-9AFF-9A201E30CD9D}" dt="2022-12-06T18:08:23.509" v="60453" actId="1076"/>
          <ac:picMkLst>
            <pc:docMk/>
            <pc:sldMk cId="3189853592" sldId="2134804367"/>
            <ac:picMk id="45" creationId="{B5BAA987-8E5D-4B4A-619C-65E7DD30BAFB}"/>
          </ac:picMkLst>
        </pc:picChg>
        <pc:picChg chg="add del mod ord">
          <ac:chgData name="Wenwen Zhang" userId="9dd81366-5d6f-445a-b031-6ea562624431" providerId="ADAL" clId="{3909E7CC-5EA5-469C-9AFF-9A201E30CD9D}" dt="2022-12-07T10:02:02.530" v="66768" actId="478"/>
          <ac:picMkLst>
            <pc:docMk/>
            <pc:sldMk cId="3189853592" sldId="2134804367"/>
            <ac:picMk id="46" creationId="{F867BCEA-75AB-47B1-2C49-DCD0C3D69620}"/>
          </ac:picMkLst>
        </pc:picChg>
        <pc:picChg chg="add del mod ord">
          <ac:chgData name="Wenwen Zhang" userId="9dd81366-5d6f-445a-b031-6ea562624431" providerId="ADAL" clId="{3909E7CC-5EA5-469C-9AFF-9A201E30CD9D}" dt="2022-12-07T10:02:01.310" v="66766" actId="478"/>
          <ac:picMkLst>
            <pc:docMk/>
            <pc:sldMk cId="3189853592" sldId="2134804367"/>
            <ac:picMk id="47" creationId="{5B173242-E187-33C4-59A6-C9267B51A948}"/>
          </ac:picMkLst>
        </pc:picChg>
        <pc:picChg chg="add del mod ord">
          <ac:chgData name="Wenwen Zhang" userId="9dd81366-5d6f-445a-b031-6ea562624431" providerId="ADAL" clId="{3909E7CC-5EA5-469C-9AFF-9A201E30CD9D}" dt="2022-12-07T10:02:02.005" v="66767" actId="478"/>
          <ac:picMkLst>
            <pc:docMk/>
            <pc:sldMk cId="3189853592" sldId="2134804367"/>
            <ac:picMk id="48" creationId="{447BD0C4-3EE4-0FF5-3ED3-C4FBD3A82966}"/>
          </ac:picMkLst>
        </pc:picChg>
        <pc:picChg chg="add del mod ord">
          <ac:chgData name="Wenwen Zhang" userId="9dd81366-5d6f-445a-b031-6ea562624431" providerId="ADAL" clId="{3909E7CC-5EA5-469C-9AFF-9A201E30CD9D}" dt="2022-12-07T10:02:25.888" v="66776" actId="478"/>
          <ac:picMkLst>
            <pc:docMk/>
            <pc:sldMk cId="3189853592" sldId="2134804367"/>
            <ac:picMk id="49" creationId="{2B76009F-98C3-B31E-A29E-76FD47E047D5}"/>
          </ac:picMkLst>
        </pc:picChg>
        <pc:picChg chg="add mod">
          <ac:chgData name="Wenwen Zhang" userId="9dd81366-5d6f-445a-b031-6ea562624431" providerId="ADAL" clId="{3909E7CC-5EA5-469C-9AFF-9A201E30CD9D}" dt="2022-12-06T17:53:47.680" v="60223" actId="1076"/>
          <ac:picMkLst>
            <pc:docMk/>
            <pc:sldMk cId="3189853592" sldId="2134804367"/>
            <ac:picMk id="50" creationId="{4E0AB93B-5E22-1035-1558-34B5AAFFA468}"/>
          </ac:picMkLst>
        </pc:picChg>
        <pc:picChg chg="add del mod">
          <ac:chgData name="Wenwen Zhang" userId="9dd81366-5d6f-445a-b031-6ea562624431" providerId="ADAL" clId="{3909E7CC-5EA5-469C-9AFF-9A201E30CD9D}" dt="2022-12-06T17:55:22.049" v="60230" actId="478"/>
          <ac:picMkLst>
            <pc:docMk/>
            <pc:sldMk cId="3189853592" sldId="2134804367"/>
            <ac:picMk id="52" creationId="{0452B14C-C2BA-B9EE-3EA1-8BA9BDC65ABA}"/>
          </ac:picMkLst>
        </pc:picChg>
        <pc:picChg chg="mod">
          <ac:chgData name="Wenwen Zhang" userId="9dd81366-5d6f-445a-b031-6ea562624431" providerId="ADAL" clId="{3909E7CC-5EA5-469C-9AFF-9A201E30CD9D}" dt="2022-12-07T10:06:33.371" v="66832"/>
          <ac:picMkLst>
            <pc:docMk/>
            <pc:sldMk cId="3189853592" sldId="2134804367"/>
            <ac:picMk id="54" creationId="{B7170185-0887-C77F-3588-C3DF8FFD881D}"/>
          </ac:picMkLst>
        </pc:picChg>
        <pc:picChg chg="add del mod">
          <ac:chgData name="Wenwen Zhang" userId="9dd81366-5d6f-445a-b031-6ea562624431" providerId="ADAL" clId="{3909E7CC-5EA5-469C-9AFF-9A201E30CD9D}" dt="2022-12-06T17:55:50.559" v="60235" actId="478"/>
          <ac:picMkLst>
            <pc:docMk/>
            <pc:sldMk cId="3189853592" sldId="2134804367"/>
            <ac:picMk id="54" creationId="{DB059F64-46E0-3F15-AB29-F4D702DF81D8}"/>
          </ac:picMkLst>
        </pc:picChg>
        <pc:picChg chg="mod">
          <ac:chgData name="Wenwen Zhang" userId="9dd81366-5d6f-445a-b031-6ea562624431" providerId="ADAL" clId="{3909E7CC-5EA5-469C-9AFF-9A201E30CD9D}" dt="2022-12-07T10:06:40.412" v="66835"/>
          <ac:picMkLst>
            <pc:docMk/>
            <pc:sldMk cId="3189853592" sldId="2134804367"/>
            <ac:picMk id="57" creationId="{45D59676-F5B0-91FF-D0A5-4F764468107F}"/>
          </ac:picMkLst>
        </pc:picChg>
        <pc:picChg chg="mod">
          <ac:chgData name="Wenwen Zhang" userId="9dd81366-5d6f-445a-b031-6ea562624431" providerId="ADAL" clId="{3909E7CC-5EA5-469C-9AFF-9A201E30CD9D}" dt="2022-12-07T10:06:51.517" v="66838"/>
          <ac:picMkLst>
            <pc:docMk/>
            <pc:sldMk cId="3189853592" sldId="2134804367"/>
            <ac:picMk id="60" creationId="{581E6767-8497-7C5D-B4A6-488DE15603F0}"/>
          </ac:picMkLst>
        </pc:picChg>
        <pc:picChg chg="mod">
          <ac:chgData name="Wenwen Zhang" userId="9dd81366-5d6f-445a-b031-6ea562624431" providerId="ADAL" clId="{3909E7CC-5EA5-469C-9AFF-9A201E30CD9D}" dt="2022-12-07T10:06:57.392" v="66840"/>
          <ac:picMkLst>
            <pc:docMk/>
            <pc:sldMk cId="3189853592" sldId="2134804367"/>
            <ac:picMk id="63" creationId="{AA9F137F-5D8D-2CE5-E997-DE7FAC2E0883}"/>
          </ac:picMkLst>
        </pc:picChg>
      </pc:sldChg>
      <pc:sldChg chg="addSp delSp modSp add mod modNotesTx">
        <pc:chgData name="Wenwen Zhang" userId="9dd81366-5d6f-445a-b031-6ea562624431" providerId="ADAL" clId="{3909E7CC-5EA5-469C-9AFF-9A201E30CD9D}" dt="2022-12-07T09:24:26.334" v="66300" actId="20577"/>
        <pc:sldMkLst>
          <pc:docMk/>
          <pc:sldMk cId="2678773163" sldId="2134804368"/>
        </pc:sldMkLst>
        <pc:spChg chg="mod ord">
          <ac:chgData name="Wenwen Zhang" userId="9dd81366-5d6f-445a-b031-6ea562624431" providerId="ADAL" clId="{3909E7CC-5EA5-469C-9AFF-9A201E30CD9D}" dt="2022-12-07T09:19:21.228" v="66260"/>
          <ac:spMkLst>
            <pc:docMk/>
            <pc:sldMk cId="2678773163" sldId="2134804368"/>
            <ac:spMk id="2" creationId="{B065B79C-C4D6-5961-7919-6BB68C420868}"/>
          </ac:spMkLst>
        </pc:spChg>
        <pc:spChg chg="add del mod modVis">
          <ac:chgData name="Wenwen Zhang" userId="9dd81366-5d6f-445a-b031-6ea562624431" providerId="ADAL" clId="{3909E7CC-5EA5-469C-9AFF-9A201E30CD9D}" dt="2022-12-07T09:18:44.494" v="65681"/>
          <ac:spMkLst>
            <pc:docMk/>
            <pc:sldMk cId="2678773163" sldId="2134804368"/>
            <ac:spMk id="3" creationId="{747F7AEB-5172-4AF9-241B-CE25C6B6F4B4}"/>
          </ac:spMkLst>
        </pc:spChg>
        <pc:spChg chg="mod">
          <ac:chgData name="Wenwen Zhang" userId="9dd81366-5d6f-445a-b031-6ea562624431" providerId="ADAL" clId="{3909E7CC-5EA5-469C-9AFF-9A201E30CD9D}" dt="2022-12-07T09:19:21.229" v="66268"/>
          <ac:spMkLst>
            <pc:docMk/>
            <pc:sldMk cId="2678773163" sldId="2134804368"/>
            <ac:spMk id="9" creationId="{930103B3-3CFE-D4B3-FFB6-B99BF869F93A}"/>
          </ac:spMkLst>
        </pc:spChg>
        <pc:spChg chg="add del mod modVis">
          <ac:chgData name="Wenwen Zhang" userId="9dd81366-5d6f-445a-b031-6ea562624431" providerId="ADAL" clId="{3909E7CC-5EA5-469C-9AFF-9A201E30CD9D}" dt="2022-12-07T09:18:54.452" v="65824"/>
          <ac:spMkLst>
            <pc:docMk/>
            <pc:sldMk cId="2678773163" sldId="2134804368"/>
            <ac:spMk id="13" creationId="{889E7E63-65A1-4CF8-9EEA-53D2FAAD6693}"/>
          </ac:spMkLst>
        </pc:spChg>
        <pc:spChg chg="add del mod modVis">
          <ac:chgData name="Wenwen Zhang" userId="9dd81366-5d6f-445a-b031-6ea562624431" providerId="ADAL" clId="{3909E7CC-5EA5-469C-9AFF-9A201E30CD9D}" dt="2022-12-07T09:18:58.265" v="65958"/>
          <ac:spMkLst>
            <pc:docMk/>
            <pc:sldMk cId="2678773163" sldId="2134804368"/>
            <ac:spMk id="18" creationId="{8A3F282A-1779-F42E-4F13-241512F9B792}"/>
          </ac:spMkLst>
        </pc:spChg>
        <pc:spChg chg="mod">
          <ac:chgData name="Wenwen Zhang" userId="9dd81366-5d6f-445a-b031-6ea562624431" providerId="ADAL" clId="{3909E7CC-5EA5-469C-9AFF-9A201E30CD9D}" dt="2022-12-07T09:19:21.229" v="66267"/>
          <ac:spMkLst>
            <pc:docMk/>
            <pc:sldMk cId="2678773163" sldId="2134804368"/>
            <ac:spMk id="19" creationId="{2BF0481C-3F0F-AB06-DE88-4997B47DBE83}"/>
          </ac:spMkLst>
        </pc:spChg>
        <pc:spChg chg="mod">
          <ac:chgData name="Wenwen Zhang" userId="9dd81366-5d6f-445a-b031-6ea562624431" providerId="ADAL" clId="{3909E7CC-5EA5-469C-9AFF-9A201E30CD9D}" dt="2022-12-07T09:19:21.230" v="66271"/>
          <ac:spMkLst>
            <pc:docMk/>
            <pc:sldMk cId="2678773163" sldId="2134804368"/>
            <ac:spMk id="25" creationId="{81DEA806-9E6B-0A47-9736-7CFE39552076}"/>
          </ac:spMkLst>
        </pc:spChg>
        <pc:spChg chg="mod">
          <ac:chgData name="Wenwen Zhang" userId="9dd81366-5d6f-445a-b031-6ea562624431" providerId="ADAL" clId="{3909E7CC-5EA5-469C-9AFF-9A201E30CD9D}" dt="2022-12-07T09:19:21.230" v="66272"/>
          <ac:spMkLst>
            <pc:docMk/>
            <pc:sldMk cId="2678773163" sldId="2134804368"/>
            <ac:spMk id="26" creationId="{F1241739-299F-8C30-FD50-BAEACE503D91}"/>
          </ac:spMkLst>
        </pc:spChg>
        <pc:spChg chg="mod ord">
          <ac:chgData name="Wenwen Zhang" userId="9dd81366-5d6f-445a-b031-6ea562624431" providerId="ADAL" clId="{3909E7CC-5EA5-469C-9AFF-9A201E30CD9D}" dt="2022-12-07T09:19:21.228" v="66262"/>
          <ac:spMkLst>
            <pc:docMk/>
            <pc:sldMk cId="2678773163" sldId="2134804368"/>
            <ac:spMk id="29" creationId="{D50B6CAA-A666-5524-85F7-444C607F0970}"/>
          </ac:spMkLst>
        </pc:spChg>
        <pc:spChg chg="mod">
          <ac:chgData name="Wenwen Zhang" userId="9dd81366-5d6f-445a-b031-6ea562624431" providerId="ADAL" clId="{3909E7CC-5EA5-469C-9AFF-9A201E30CD9D}" dt="2022-12-07T09:19:21.230" v="66276"/>
          <ac:spMkLst>
            <pc:docMk/>
            <pc:sldMk cId="2678773163" sldId="2134804368"/>
            <ac:spMk id="30" creationId="{A4D202E4-8433-3049-6ACC-57B344081520}"/>
          </ac:spMkLst>
        </pc:spChg>
        <pc:spChg chg="mod">
          <ac:chgData name="Wenwen Zhang" userId="9dd81366-5d6f-445a-b031-6ea562624431" providerId="ADAL" clId="{3909E7CC-5EA5-469C-9AFF-9A201E30CD9D}" dt="2022-12-07T09:19:21.230" v="66275"/>
          <ac:spMkLst>
            <pc:docMk/>
            <pc:sldMk cId="2678773163" sldId="2134804368"/>
            <ac:spMk id="31" creationId="{898AABC0-BF25-202B-F55F-97609925ECCF}"/>
          </ac:spMkLst>
        </pc:spChg>
        <pc:spChg chg="mod ord">
          <ac:chgData name="Wenwen Zhang" userId="9dd81366-5d6f-445a-b031-6ea562624431" providerId="ADAL" clId="{3909E7CC-5EA5-469C-9AFF-9A201E30CD9D}" dt="2022-12-07T09:19:21.231" v="66278"/>
          <ac:spMkLst>
            <pc:docMk/>
            <pc:sldMk cId="2678773163" sldId="2134804368"/>
            <ac:spMk id="32" creationId="{FAE8DA4D-635A-C53B-7E7C-92720081EEF5}"/>
          </ac:spMkLst>
        </pc:spChg>
        <pc:spChg chg="mod ord">
          <ac:chgData name="Wenwen Zhang" userId="9dd81366-5d6f-445a-b031-6ea562624431" providerId="ADAL" clId="{3909E7CC-5EA5-469C-9AFF-9A201E30CD9D}" dt="2022-12-07T09:19:21.231" v="66280"/>
          <ac:spMkLst>
            <pc:docMk/>
            <pc:sldMk cId="2678773163" sldId="2134804368"/>
            <ac:spMk id="33" creationId="{14B13B60-7C36-23CE-888B-2619DD01A202}"/>
          </ac:spMkLst>
        </pc:spChg>
        <pc:spChg chg="mod ord">
          <ac:chgData name="Wenwen Zhang" userId="9dd81366-5d6f-445a-b031-6ea562624431" providerId="ADAL" clId="{3909E7CC-5EA5-469C-9AFF-9A201E30CD9D}" dt="2022-12-07T09:19:21.231" v="66282"/>
          <ac:spMkLst>
            <pc:docMk/>
            <pc:sldMk cId="2678773163" sldId="2134804368"/>
            <ac:spMk id="34" creationId="{AA1D8FA9-B92C-815E-87A4-039CCDA0CBF6}"/>
          </ac:spMkLst>
        </pc:spChg>
        <pc:spChg chg="mod ord">
          <ac:chgData name="Wenwen Zhang" userId="9dd81366-5d6f-445a-b031-6ea562624431" providerId="ADAL" clId="{3909E7CC-5EA5-469C-9AFF-9A201E30CD9D}" dt="2022-12-07T09:19:21.232" v="66284"/>
          <ac:spMkLst>
            <pc:docMk/>
            <pc:sldMk cId="2678773163" sldId="2134804368"/>
            <ac:spMk id="36" creationId="{60C74DE7-D7C8-F669-6A4A-7252E5B8210A}"/>
          </ac:spMkLst>
        </pc:spChg>
        <pc:spChg chg="mod ord">
          <ac:chgData name="Wenwen Zhang" userId="9dd81366-5d6f-445a-b031-6ea562624431" providerId="ADAL" clId="{3909E7CC-5EA5-469C-9AFF-9A201E30CD9D}" dt="2022-12-07T09:19:21.232" v="66286"/>
          <ac:spMkLst>
            <pc:docMk/>
            <pc:sldMk cId="2678773163" sldId="2134804368"/>
            <ac:spMk id="38" creationId="{04A0BAFB-2E91-0DB5-3387-C1140F96484B}"/>
          </ac:spMkLst>
        </pc:spChg>
        <pc:spChg chg="mod">
          <ac:chgData name="Wenwen Zhang" userId="9dd81366-5d6f-445a-b031-6ea562624431" providerId="ADAL" clId="{3909E7CC-5EA5-469C-9AFF-9A201E30CD9D}" dt="2022-12-07T09:19:21.232" v="66288"/>
          <ac:spMkLst>
            <pc:docMk/>
            <pc:sldMk cId="2678773163" sldId="2134804368"/>
            <ac:spMk id="39" creationId="{BFC5A6D8-E32C-D751-0032-518AAC549602}"/>
          </ac:spMkLst>
        </pc:spChg>
        <pc:spChg chg="mod">
          <ac:chgData name="Wenwen Zhang" userId="9dd81366-5d6f-445a-b031-6ea562624431" providerId="ADAL" clId="{3909E7CC-5EA5-469C-9AFF-9A201E30CD9D}" dt="2022-12-07T09:19:21.232" v="66287"/>
          <ac:spMkLst>
            <pc:docMk/>
            <pc:sldMk cId="2678773163" sldId="2134804368"/>
            <ac:spMk id="40" creationId="{6801922F-4EAB-75E2-75CB-8F3684177F32}"/>
          </ac:spMkLst>
        </pc:spChg>
        <pc:spChg chg="mod ord">
          <ac:chgData name="Wenwen Zhang" userId="9dd81366-5d6f-445a-b031-6ea562624431" providerId="ADAL" clId="{3909E7CC-5EA5-469C-9AFF-9A201E30CD9D}" dt="2022-12-07T09:19:21.228" v="66264"/>
          <ac:spMkLst>
            <pc:docMk/>
            <pc:sldMk cId="2678773163" sldId="2134804368"/>
            <ac:spMk id="43" creationId="{C58C7321-3BF7-61DC-5B1A-AD075E56AE05}"/>
          </ac:spMkLst>
        </pc:spChg>
        <pc:spChg chg="mod">
          <ac:chgData name="Wenwen Zhang" userId="9dd81366-5d6f-445a-b031-6ea562624431" providerId="ADAL" clId="{3909E7CC-5EA5-469C-9AFF-9A201E30CD9D}" dt="2022-12-07T09:19:21.233" v="66292"/>
          <ac:spMkLst>
            <pc:docMk/>
            <pc:sldMk cId="2678773163" sldId="2134804368"/>
            <ac:spMk id="45" creationId="{FDA37D37-D76E-8C85-BB3A-3FB73D989191}"/>
          </ac:spMkLst>
        </pc:spChg>
        <pc:spChg chg="mod">
          <ac:chgData name="Wenwen Zhang" userId="9dd81366-5d6f-445a-b031-6ea562624431" providerId="ADAL" clId="{3909E7CC-5EA5-469C-9AFF-9A201E30CD9D}" dt="2022-12-07T09:19:21.233" v="66291"/>
          <ac:spMkLst>
            <pc:docMk/>
            <pc:sldMk cId="2678773163" sldId="2134804368"/>
            <ac:spMk id="46" creationId="{0E3BBB49-09AC-6936-C133-BF402756EEF9}"/>
          </ac:spMkLst>
        </pc:spChg>
        <pc:spChg chg="mod ord">
          <ac:chgData name="Wenwen Zhang" userId="9dd81366-5d6f-445a-b031-6ea562624431" providerId="ADAL" clId="{3909E7CC-5EA5-469C-9AFF-9A201E30CD9D}" dt="2022-12-07T09:19:21.234" v="66294"/>
          <ac:spMkLst>
            <pc:docMk/>
            <pc:sldMk cId="2678773163" sldId="2134804368"/>
            <ac:spMk id="47" creationId="{F2CEB1AF-1C81-1586-90F4-6576A6E97F24}"/>
          </ac:spMkLst>
        </pc:spChg>
        <pc:graphicFrameChg chg="add del mod ord replST">
          <ac:chgData name="Wenwen Zhang" userId="9dd81366-5d6f-445a-b031-6ea562624431" providerId="ADAL" clId="{3909E7CC-5EA5-469C-9AFF-9A201E30CD9D}" dt="2022-12-07T09:18:54.382" v="65709"/>
          <ac:graphicFrameMkLst>
            <pc:docMk/>
            <pc:sldMk cId="2678773163" sldId="2134804368"/>
            <ac:graphicFrameMk id="4" creationId="{EE332881-AD8F-C5CD-0BBA-A90805BAED60}"/>
          </ac:graphicFrameMkLst>
        </pc:graphicFrameChg>
        <pc:graphicFrameChg chg="add del mod ord replST">
          <ac:chgData name="Wenwen Zhang" userId="9dd81366-5d6f-445a-b031-6ea562624431" providerId="ADAL" clId="{3909E7CC-5EA5-469C-9AFF-9A201E30CD9D}" dt="2022-12-07T09:18:54.414" v="65758"/>
          <ac:graphicFrameMkLst>
            <pc:docMk/>
            <pc:sldMk cId="2678773163" sldId="2134804368"/>
            <ac:graphicFrameMk id="5" creationId="{42288D7B-14A9-F120-EDC9-01B0C3E3F338}"/>
          </ac:graphicFrameMkLst>
        </pc:graphicFrameChg>
        <pc:graphicFrameChg chg="add del mod ord replST">
          <ac:chgData name="Wenwen Zhang" userId="9dd81366-5d6f-445a-b031-6ea562624431" providerId="ADAL" clId="{3909E7CC-5EA5-469C-9AFF-9A201E30CD9D}" dt="2022-12-07T09:18:54.427" v="65768"/>
          <ac:graphicFrameMkLst>
            <pc:docMk/>
            <pc:sldMk cId="2678773163" sldId="2134804368"/>
            <ac:graphicFrameMk id="6" creationId="{A5A86AA7-B6BF-F1BC-6B58-28B9B5B8AD79}"/>
          </ac:graphicFrameMkLst>
        </pc:graphicFrameChg>
        <pc:graphicFrameChg chg="del">
          <ac:chgData name="Wenwen Zhang" userId="9dd81366-5d6f-445a-b031-6ea562624431" providerId="ADAL" clId="{3909E7CC-5EA5-469C-9AFF-9A201E30CD9D}" dt="2022-12-07T09:18:44.428" v="65593"/>
          <ac:graphicFrameMkLst>
            <pc:docMk/>
            <pc:sldMk cId="2678773163" sldId="2134804368"/>
            <ac:graphicFrameMk id="7" creationId="{1455BBBE-10F6-D81F-A5B2-E954F08E13E4}"/>
          </ac:graphicFrameMkLst>
        </pc:graphicFrameChg>
        <pc:graphicFrameChg chg="del">
          <ac:chgData name="Wenwen Zhang" userId="9dd81366-5d6f-445a-b031-6ea562624431" providerId="ADAL" clId="{3909E7CC-5EA5-469C-9AFF-9A201E30CD9D}" dt="2022-12-07T09:18:44.464" v="65621"/>
          <ac:graphicFrameMkLst>
            <pc:docMk/>
            <pc:sldMk cId="2678773163" sldId="2134804368"/>
            <ac:graphicFrameMk id="8" creationId="{7FFBE0F9-3FEA-DEC2-F20E-5146F872738A}"/>
          </ac:graphicFrameMkLst>
        </pc:graphicFrameChg>
        <pc:graphicFrameChg chg="del">
          <ac:chgData name="Wenwen Zhang" userId="9dd81366-5d6f-445a-b031-6ea562624431" providerId="ADAL" clId="{3909E7CC-5EA5-469C-9AFF-9A201E30CD9D}" dt="2022-12-07T09:18:44.480" v="65635"/>
          <ac:graphicFrameMkLst>
            <pc:docMk/>
            <pc:sldMk cId="2678773163" sldId="2134804368"/>
            <ac:graphicFrameMk id="10" creationId="{40226BD1-FED0-2191-141B-88B393A0A196}"/>
          </ac:graphicFrameMkLst>
        </pc:graphicFrameChg>
        <pc:graphicFrameChg chg="add del mod ord replST">
          <ac:chgData name="Wenwen Zhang" userId="9dd81366-5d6f-445a-b031-6ea562624431" providerId="ADAL" clId="{3909E7CC-5EA5-469C-9AFF-9A201E30CD9D}" dt="2022-12-07T09:18:54.437" v="65778"/>
          <ac:graphicFrameMkLst>
            <pc:docMk/>
            <pc:sldMk cId="2678773163" sldId="2134804368"/>
            <ac:graphicFrameMk id="11" creationId="{E14549DE-3A9B-B5F3-30B3-EC63B89D48FD}"/>
          </ac:graphicFrameMkLst>
        </pc:graphicFrameChg>
        <pc:graphicFrameChg chg="add del mod ord replST">
          <ac:chgData name="Wenwen Zhang" userId="9dd81366-5d6f-445a-b031-6ea562624431" providerId="ADAL" clId="{3909E7CC-5EA5-469C-9AFF-9A201E30CD9D}" dt="2022-12-07T09:18:58.194" v="65843"/>
          <ac:graphicFrameMkLst>
            <pc:docMk/>
            <pc:sldMk cId="2678773163" sldId="2134804368"/>
            <ac:graphicFrameMk id="12" creationId="{8009E098-5BF7-B8F0-253F-8609B74EA639}"/>
          </ac:graphicFrameMkLst>
        </pc:graphicFrameChg>
        <pc:graphicFrameChg chg="add del mod ord replST">
          <ac:chgData name="Wenwen Zhang" userId="9dd81366-5d6f-445a-b031-6ea562624431" providerId="ADAL" clId="{3909E7CC-5EA5-469C-9AFF-9A201E30CD9D}" dt="2022-12-07T09:18:58.226" v="65892"/>
          <ac:graphicFrameMkLst>
            <pc:docMk/>
            <pc:sldMk cId="2678773163" sldId="2134804368"/>
            <ac:graphicFrameMk id="14" creationId="{8F0D0BFA-81C3-2430-1A5A-20FE37ED49E9}"/>
          </ac:graphicFrameMkLst>
        </pc:graphicFrameChg>
        <pc:graphicFrameChg chg="add del mod ord replST">
          <ac:chgData name="Wenwen Zhang" userId="9dd81366-5d6f-445a-b031-6ea562624431" providerId="ADAL" clId="{3909E7CC-5EA5-469C-9AFF-9A201E30CD9D}" dt="2022-12-07T09:18:58.237" v="65902"/>
          <ac:graphicFrameMkLst>
            <pc:docMk/>
            <pc:sldMk cId="2678773163" sldId="2134804368"/>
            <ac:graphicFrameMk id="15" creationId="{6130DD49-0831-45ED-57FC-94102683D664}"/>
          </ac:graphicFrameMkLst>
        </pc:graphicFrameChg>
        <pc:graphicFrameChg chg="add del mod ord replST">
          <ac:chgData name="Wenwen Zhang" userId="9dd81366-5d6f-445a-b031-6ea562624431" providerId="ADAL" clId="{3909E7CC-5EA5-469C-9AFF-9A201E30CD9D}" dt="2022-12-07T09:18:58.248" v="65912"/>
          <ac:graphicFrameMkLst>
            <pc:docMk/>
            <pc:sldMk cId="2678773163" sldId="2134804368"/>
            <ac:graphicFrameMk id="16" creationId="{66B90C62-9CD3-E44E-472D-6E70E72B8445}"/>
          </ac:graphicFrameMkLst>
        </pc:graphicFrameChg>
        <pc:graphicFrameChg chg="add del mod ord replST">
          <ac:chgData name="Wenwen Zhang" userId="9dd81366-5d6f-445a-b031-6ea562624431" providerId="ADAL" clId="{3909E7CC-5EA5-469C-9AFF-9A201E30CD9D}" dt="2022-12-07T09:19:05.511" v="65966"/>
          <ac:graphicFrameMkLst>
            <pc:docMk/>
            <pc:sldMk cId="2678773163" sldId="2134804368"/>
            <ac:graphicFrameMk id="17" creationId="{0EBC258A-900F-288F-252B-40A5EF1EAEA3}"/>
          </ac:graphicFrameMkLst>
        </pc:graphicFrameChg>
        <pc:graphicFrameChg chg="add del mod ord replST">
          <ac:chgData name="Wenwen Zhang" userId="9dd81366-5d6f-445a-b031-6ea562624431" providerId="ADAL" clId="{3909E7CC-5EA5-469C-9AFF-9A201E30CD9D}" dt="2022-12-07T09:19:05.527" v="65976"/>
          <ac:graphicFrameMkLst>
            <pc:docMk/>
            <pc:sldMk cId="2678773163" sldId="2134804368"/>
            <ac:graphicFrameMk id="20" creationId="{15B10E94-A9BD-FD5C-FE4C-558937B00FA1}"/>
          </ac:graphicFrameMkLst>
        </pc:graphicFrameChg>
        <pc:graphicFrameChg chg="add del mod ord replST">
          <ac:chgData name="Wenwen Zhang" userId="9dd81366-5d6f-445a-b031-6ea562624431" providerId="ADAL" clId="{3909E7CC-5EA5-469C-9AFF-9A201E30CD9D}" dt="2022-12-07T09:19:05.539" v="65988"/>
          <ac:graphicFrameMkLst>
            <pc:docMk/>
            <pc:sldMk cId="2678773163" sldId="2134804368"/>
            <ac:graphicFrameMk id="21" creationId="{A563D539-3555-AD94-7E8B-DE5A9D19247C}"/>
          </ac:graphicFrameMkLst>
        </pc:graphicFrameChg>
        <pc:graphicFrameChg chg="add del mod ord replST">
          <ac:chgData name="Wenwen Zhang" userId="9dd81366-5d6f-445a-b031-6ea562624431" providerId="ADAL" clId="{3909E7CC-5EA5-469C-9AFF-9A201E30CD9D}" dt="2022-12-07T09:19:05.551" v="65998"/>
          <ac:graphicFrameMkLst>
            <pc:docMk/>
            <pc:sldMk cId="2678773163" sldId="2134804368"/>
            <ac:graphicFrameMk id="22" creationId="{9E7806EA-0F03-D6E7-D3C0-F3BC7FE3C87C}"/>
          </ac:graphicFrameMkLst>
        </pc:graphicFrameChg>
        <pc:graphicFrameChg chg="add del mod ord replST">
          <ac:chgData name="Wenwen Zhang" userId="9dd81366-5d6f-445a-b031-6ea562624431" providerId="ADAL" clId="{3909E7CC-5EA5-469C-9AFF-9A201E30CD9D}" dt="2022-12-07T09:19:10.640" v="66050"/>
          <ac:graphicFrameMkLst>
            <pc:docMk/>
            <pc:sldMk cId="2678773163" sldId="2134804368"/>
            <ac:graphicFrameMk id="23" creationId="{5EF7EA48-F465-E5CA-8FB0-5C735CE7AFF2}"/>
          </ac:graphicFrameMkLst>
        </pc:graphicFrameChg>
        <pc:graphicFrameChg chg="add del mod ord replST">
          <ac:chgData name="Wenwen Zhang" userId="9dd81366-5d6f-445a-b031-6ea562624431" providerId="ADAL" clId="{3909E7CC-5EA5-469C-9AFF-9A201E30CD9D}" dt="2022-12-07T09:19:10.655" v="66060"/>
          <ac:graphicFrameMkLst>
            <pc:docMk/>
            <pc:sldMk cId="2678773163" sldId="2134804368"/>
            <ac:graphicFrameMk id="24" creationId="{625AFC59-AC13-7A5B-FC07-B12D59CC3531}"/>
          </ac:graphicFrameMkLst>
        </pc:graphicFrameChg>
        <pc:graphicFrameChg chg="add del mod ord replST">
          <ac:chgData name="Wenwen Zhang" userId="9dd81366-5d6f-445a-b031-6ea562624431" providerId="ADAL" clId="{3909E7CC-5EA5-469C-9AFF-9A201E30CD9D}" dt="2022-12-07T09:19:10.665" v="66070"/>
          <ac:graphicFrameMkLst>
            <pc:docMk/>
            <pc:sldMk cId="2678773163" sldId="2134804368"/>
            <ac:graphicFrameMk id="27" creationId="{BC709540-8976-2780-2F1F-21C1882E8BA7}"/>
          </ac:graphicFrameMkLst>
        </pc:graphicFrameChg>
        <pc:graphicFrameChg chg="mod">
          <ac:chgData name="Wenwen Zhang" userId="9dd81366-5d6f-445a-b031-6ea562624431" providerId="ADAL" clId="{3909E7CC-5EA5-469C-9AFF-9A201E30CD9D}" dt="2022-12-07T09:19:21.239" v="66298"/>
          <ac:graphicFrameMkLst>
            <pc:docMk/>
            <pc:sldMk cId="2678773163" sldId="2134804368"/>
            <ac:graphicFrameMk id="28" creationId="{015DFAEE-F78A-C272-92CE-F25C3417CAD0}"/>
          </ac:graphicFrameMkLst>
        </pc:graphicFrameChg>
        <pc:graphicFrameChg chg="add del mod ord replST">
          <ac:chgData name="Wenwen Zhang" userId="9dd81366-5d6f-445a-b031-6ea562624431" providerId="ADAL" clId="{3909E7CC-5EA5-469C-9AFF-9A201E30CD9D}" dt="2022-12-07T09:19:10.677" v="66080"/>
          <ac:graphicFrameMkLst>
            <pc:docMk/>
            <pc:sldMk cId="2678773163" sldId="2134804368"/>
            <ac:graphicFrameMk id="35" creationId="{136DBB7F-66B8-1DFC-08EA-2F9E4CA6B335}"/>
          </ac:graphicFrameMkLst>
        </pc:graphicFrameChg>
        <pc:graphicFrameChg chg="add del mod ord replST">
          <ac:chgData name="Wenwen Zhang" userId="9dd81366-5d6f-445a-b031-6ea562624431" providerId="ADAL" clId="{3909E7CC-5EA5-469C-9AFF-9A201E30CD9D}" dt="2022-12-07T09:19:17.443" v="66132"/>
          <ac:graphicFrameMkLst>
            <pc:docMk/>
            <pc:sldMk cId="2678773163" sldId="2134804368"/>
            <ac:graphicFrameMk id="37" creationId="{3B77D351-8B6E-9908-673F-DA63146D44CB}"/>
          </ac:graphicFrameMkLst>
        </pc:graphicFrameChg>
        <pc:graphicFrameChg chg="add del mod ord replST">
          <ac:chgData name="Wenwen Zhang" userId="9dd81366-5d6f-445a-b031-6ea562624431" providerId="ADAL" clId="{3909E7CC-5EA5-469C-9AFF-9A201E30CD9D}" dt="2022-12-07T09:19:17.458" v="66144"/>
          <ac:graphicFrameMkLst>
            <pc:docMk/>
            <pc:sldMk cId="2678773163" sldId="2134804368"/>
            <ac:graphicFrameMk id="41" creationId="{3076553D-6CA2-8FD5-C16C-BF65CB17C370}"/>
          </ac:graphicFrameMkLst>
        </pc:graphicFrameChg>
        <pc:graphicFrameChg chg="add del mod ord replST">
          <ac:chgData name="Wenwen Zhang" userId="9dd81366-5d6f-445a-b031-6ea562624431" providerId="ADAL" clId="{3909E7CC-5EA5-469C-9AFF-9A201E30CD9D}" dt="2022-12-07T09:19:17.471" v="66154"/>
          <ac:graphicFrameMkLst>
            <pc:docMk/>
            <pc:sldMk cId="2678773163" sldId="2134804368"/>
            <ac:graphicFrameMk id="42" creationId="{B6A2C5F6-68D7-EAE5-178F-7D5EB918E65A}"/>
          </ac:graphicFrameMkLst>
        </pc:graphicFrameChg>
        <pc:graphicFrameChg chg="add del mod ord replST">
          <ac:chgData name="Wenwen Zhang" userId="9dd81366-5d6f-445a-b031-6ea562624431" providerId="ADAL" clId="{3909E7CC-5EA5-469C-9AFF-9A201E30CD9D}" dt="2022-12-07T09:19:17.482" v="66164"/>
          <ac:graphicFrameMkLst>
            <pc:docMk/>
            <pc:sldMk cId="2678773163" sldId="2134804368"/>
            <ac:graphicFrameMk id="44" creationId="{B1ABC3D8-8AA5-38CD-4F60-088ACF54566E}"/>
          </ac:graphicFrameMkLst>
        </pc:graphicFrameChg>
        <pc:graphicFrameChg chg="add del mod ord replST">
          <ac:chgData name="Wenwen Zhang" userId="9dd81366-5d6f-445a-b031-6ea562624431" providerId="ADAL" clId="{3909E7CC-5EA5-469C-9AFF-9A201E30CD9D}" dt="2022-12-07T09:19:21.162" v="66220"/>
          <ac:graphicFrameMkLst>
            <pc:docMk/>
            <pc:sldMk cId="2678773163" sldId="2134804368"/>
            <ac:graphicFrameMk id="48" creationId="{FE42CB7C-2617-4C37-79AB-11B0EE86926B}"/>
          </ac:graphicFrameMkLst>
        </pc:graphicFrameChg>
        <pc:graphicFrameChg chg="add del mod ord replST">
          <ac:chgData name="Wenwen Zhang" userId="9dd81366-5d6f-445a-b031-6ea562624431" providerId="ADAL" clId="{3909E7CC-5EA5-469C-9AFF-9A201E30CD9D}" dt="2022-12-07T09:19:21.182" v="66230"/>
          <ac:graphicFrameMkLst>
            <pc:docMk/>
            <pc:sldMk cId="2678773163" sldId="2134804368"/>
            <ac:graphicFrameMk id="49" creationId="{33ED7E16-307C-D10F-CDEC-FEE990B859FE}"/>
          </ac:graphicFrameMkLst>
        </pc:graphicFrameChg>
        <pc:graphicFrameChg chg="add del mod ord replST">
          <ac:chgData name="Wenwen Zhang" userId="9dd81366-5d6f-445a-b031-6ea562624431" providerId="ADAL" clId="{3909E7CC-5EA5-469C-9AFF-9A201E30CD9D}" dt="2022-12-07T09:19:21.199" v="66242"/>
          <ac:graphicFrameMkLst>
            <pc:docMk/>
            <pc:sldMk cId="2678773163" sldId="2134804368"/>
            <ac:graphicFrameMk id="50" creationId="{71914E56-72C5-3706-E48C-CCAE6CE4628F}"/>
          </ac:graphicFrameMkLst>
        </pc:graphicFrameChg>
        <pc:graphicFrameChg chg="add del mod ord replST">
          <ac:chgData name="Wenwen Zhang" userId="9dd81366-5d6f-445a-b031-6ea562624431" providerId="ADAL" clId="{3909E7CC-5EA5-469C-9AFF-9A201E30CD9D}" dt="2022-12-07T09:19:21.216" v="66252"/>
          <ac:graphicFrameMkLst>
            <pc:docMk/>
            <pc:sldMk cId="2678773163" sldId="2134804368"/>
            <ac:graphicFrameMk id="51" creationId="{71709F6E-2C4A-2CF5-B6EB-FE0017B01C9D}"/>
          </ac:graphicFrameMkLst>
        </pc:graphicFrameChg>
        <pc:graphicFrameChg chg="add mod ord replST">
          <ac:chgData name="Wenwen Zhang" userId="9dd81366-5d6f-445a-b031-6ea562624431" providerId="ADAL" clId="{3909E7CC-5EA5-469C-9AFF-9A201E30CD9D}" dt="2022-12-07T09:19:21.229" v="66266"/>
          <ac:graphicFrameMkLst>
            <pc:docMk/>
            <pc:sldMk cId="2678773163" sldId="2134804368"/>
            <ac:graphicFrameMk id="52" creationId="{31AD2034-0DCE-DA90-BD1E-6E0C20835D4C}"/>
          </ac:graphicFrameMkLst>
        </pc:graphicFrameChg>
        <pc:graphicFrameChg chg="add mod ord replST">
          <ac:chgData name="Wenwen Zhang" userId="9dd81366-5d6f-445a-b031-6ea562624431" providerId="ADAL" clId="{3909E7CC-5EA5-469C-9AFF-9A201E30CD9D}" dt="2022-12-07T09:19:21.229" v="66270"/>
          <ac:graphicFrameMkLst>
            <pc:docMk/>
            <pc:sldMk cId="2678773163" sldId="2134804368"/>
            <ac:graphicFrameMk id="53" creationId="{4D836C01-4E1B-4DB3-3ECC-5791C9462F06}"/>
          </ac:graphicFrameMkLst>
        </pc:graphicFrameChg>
        <pc:graphicFrameChg chg="add mod ord replST">
          <ac:chgData name="Wenwen Zhang" userId="9dd81366-5d6f-445a-b031-6ea562624431" providerId="ADAL" clId="{3909E7CC-5EA5-469C-9AFF-9A201E30CD9D}" dt="2022-12-07T09:19:21.230" v="66274"/>
          <ac:graphicFrameMkLst>
            <pc:docMk/>
            <pc:sldMk cId="2678773163" sldId="2134804368"/>
            <ac:graphicFrameMk id="54" creationId="{97E13067-8B74-C312-0304-7DB1ACA3EB2D}"/>
          </ac:graphicFrameMkLst>
        </pc:graphicFrameChg>
        <pc:graphicFrameChg chg="add mod ord replST">
          <ac:chgData name="Wenwen Zhang" userId="9dd81366-5d6f-445a-b031-6ea562624431" providerId="ADAL" clId="{3909E7CC-5EA5-469C-9AFF-9A201E30CD9D}" dt="2022-12-07T09:19:21.233" v="66290"/>
          <ac:graphicFrameMkLst>
            <pc:docMk/>
            <pc:sldMk cId="2678773163" sldId="2134804368"/>
            <ac:graphicFrameMk id="55" creationId="{DD8740A2-4105-209A-EB3C-EA664DB24BA2}"/>
          </ac:graphicFrameMkLst>
        </pc:graphicFrameChg>
        <pc:graphicFrameChg chg="del">
          <ac:chgData name="Wenwen Zhang" userId="9dd81366-5d6f-445a-b031-6ea562624431" providerId="ADAL" clId="{3909E7CC-5EA5-469C-9AFF-9A201E30CD9D}" dt="2022-12-07T09:18:44.447" v="65607"/>
          <ac:graphicFrameMkLst>
            <pc:docMk/>
            <pc:sldMk cId="2678773163" sldId="2134804368"/>
            <ac:graphicFrameMk id="61" creationId="{74E22699-35BD-9659-6CAC-2D2765866631}"/>
          </ac:graphicFrameMkLst>
        </pc:graphicFrameChg>
      </pc:sldChg>
    </pc:docChg>
  </pc:docChgLst>
  <pc:docChgLst>
    <pc:chgData name="Wenwen Zhang" userId="9dd81366-5d6f-445a-b031-6ea562624431" providerId="ADAL" clId="{52F8BFDE-A7FD-4CA8-B4A9-6934E170C0BB}"/>
    <pc:docChg chg="custSel addSld delSld modSld modSection">
      <pc:chgData name="Wenwen Zhang" userId="9dd81366-5d6f-445a-b031-6ea562624431" providerId="ADAL" clId="{52F8BFDE-A7FD-4CA8-B4A9-6934E170C0BB}" dt="2023-03-10T11:33:08.368" v="4" actId="207"/>
      <pc:docMkLst>
        <pc:docMk/>
      </pc:docMkLst>
      <pc:sldChg chg="addSp delSp modSp del mod">
        <pc:chgData name="Wenwen Zhang" userId="9dd81366-5d6f-445a-b031-6ea562624431" providerId="ADAL" clId="{52F8BFDE-A7FD-4CA8-B4A9-6934E170C0BB}" dt="2023-03-10T11:32:55.883" v="3" actId="2696"/>
        <pc:sldMkLst>
          <pc:docMk/>
          <pc:sldMk cId="200733304" sldId="2134804369"/>
        </pc:sldMkLst>
        <pc:graphicFrameChg chg="add del mod">
          <ac:chgData name="Wenwen Zhang" userId="9dd81366-5d6f-445a-b031-6ea562624431" providerId="ADAL" clId="{52F8BFDE-A7FD-4CA8-B4A9-6934E170C0BB}" dt="2023-03-10T11:32:39.408" v="1" actId="478"/>
          <ac:graphicFrameMkLst>
            <pc:docMk/>
            <pc:sldMk cId="200733304" sldId="2134804369"/>
            <ac:graphicFrameMk id="15" creationId="{4220DB8E-B88B-3EC8-88BF-98307688A446}"/>
          </ac:graphicFrameMkLst>
        </pc:graphicFrameChg>
      </pc:sldChg>
      <pc:sldChg chg="modSp add mod">
        <pc:chgData name="Wenwen Zhang" userId="9dd81366-5d6f-445a-b031-6ea562624431" providerId="ADAL" clId="{52F8BFDE-A7FD-4CA8-B4A9-6934E170C0BB}" dt="2023-03-10T11:33:08.368" v="4" actId="207"/>
        <pc:sldMkLst>
          <pc:docMk/>
          <pc:sldMk cId="3165475986" sldId="2134804383"/>
        </pc:sldMkLst>
        <pc:spChg chg="mod">
          <ac:chgData name="Wenwen Zhang" userId="9dd81366-5d6f-445a-b031-6ea562624431" providerId="ADAL" clId="{52F8BFDE-A7FD-4CA8-B4A9-6934E170C0BB}" dt="2023-03-10T11:33:08.368" v="4" actId="207"/>
          <ac:spMkLst>
            <pc:docMk/>
            <pc:sldMk cId="3165475986" sldId="2134804383"/>
            <ac:spMk id="9" creationId="{2F59B196-38DD-E22E-D48F-7EB233684355}"/>
          </ac:spMkLst>
        </pc:spChg>
        <pc:spChg chg="mod">
          <ac:chgData name="Wenwen Zhang" userId="9dd81366-5d6f-445a-b031-6ea562624431" providerId="ADAL" clId="{52F8BFDE-A7FD-4CA8-B4A9-6934E170C0BB}" dt="2023-03-10T11:33:08.368" v="4" actId="207"/>
          <ac:spMkLst>
            <pc:docMk/>
            <pc:sldMk cId="3165475986" sldId="2134804383"/>
            <ac:spMk id="11" creationId="{D9603778-3C5D-55BB-B68C-5A10922A4ADD}"/>
          </ac:spMkLst>
        </pc:spChg>
      </pc:sldChg>
    </pc:docChg>
  </pc:docChgLst>
  <pc:docChgLst>
    <pc:chgData name="Wenwen Zhang" userId="9dd81366-5d6f-445a-b031-6ea562624431" providerId="ADAL" clId="{9BAEB022-0045-48BE-B319-92B55C6088ED}"/>
    <pc:docChg chg="undo custSel addSld delSld modSld sldOrd modSection replTag">
      <pc:chgData name="Wenwen Zhang" userId="9dd81366-5d6f-445a-b031-6ea562624431" providerId="ADAL" clId="{9BAEB022-0045-48BE-B319-92B55C6088ED}" dt="2023-03-07T08:42:20.064" v="1898" actId="20577"/>
      <pc:docMkLst>
        <pc:docMk/>
      </pc:docMkLst>
      <pc:sldChg chg="modNotesTx">
        <pc:chgData name="Wenwen Zhang" userId="9dd81366-5d6f-445a-b031-6ea562624431" providerId="ADAL" clId="{9BAEB022-0045-48BE-B319-92B55C6088ED}" dt="2023-03-07T08:42:20.064" v="1898" actId="20577"/>
        <pc:sldMkLst>
          <pc:docMk/>
          <pc:sldMk cId="1412010782" sldId="289"/>
        </pc:sldMkLst>
      </pc:sldChg>
      <pc:sldChg chg="ord">
        <pc:chgData name="Wenwen Zhang" userId="9dd81366-5d6f-445a-b031-6ea562624431" providerId="ADAL" clId="{9BAEB022-0045-48BE-B319-92B55C6088ED}" dt="2023-03-06T22:40:44.654" v="1894"/>
        <pc:sldMkLst>
          <pc:docMk/>
          <pc:sldMk cId="1589772229" sldId="2134804370"/>
        </pc:sldMkLst>
      </pc:sldChg>
      <pc:sldChg chg="addSp delSp modSp mod modNotesTx">
        <pc:chgData name="Wenwen Zhang" userId="9dd81366-5d6f-445a-b031-6ea562624431" providerId="ADAL" clId="{9BAEB022-0045-48BE-B319-92B55C6088ED}" dt="2023-03-06T22:33:36.263" v="1885" actId="1076"/>
        <pc:sldMkLst>
          <pc:docMk/>
          <pc:sldMk cId="574567390" sldId="2134804376"/>
        </pc:sldMkLst>
        <pc:spChg chg="mod">
          <ac:chgData name="Wenwen Zhang" userId="9dd81366-5d6f-445a-b031-6ea562624431" providerId="ADAL" clId="{9BAEB022-0045-48BE-B319-92B55C6088ED}" dt="2023-03-06T22:32:59.559" v="1881" actId="255"/>
          <ac:spMkLst>
            <pc:docMk/>
            <pc:sldMk cId="574567390" sldId="2134804376"/>
            <ac:spMk id="29" creationId="{D50B6CAA-A666-5524-85F7-444C607F0970}"/>
          </ac:spMkLst>
        </pc:spChg>
        <pc:picChg chg="add del mod">
          <ac:chgData name="Wenwen Zhang" userId="9dd81366-5d6f-445a-b031-6ea562624431" providerId="ADAL" clId="{9BAEB022-0045-48BE-B319-92B55C6088ED}" dt="2023-03-06T21:43:28.082" v="1845" actId="478"/>
          <ac:picMkLst>
            <pc:docMk/>
            <pc:sldMk cId="574567390" sldId="2134804376"/>
            <ac:picMk id="3" creationId="{590E8CC1-2AEA-03EE-C919-5FAF4974023E}"/>
          </ac:picMkLst>
        </pc:picChg>
        <pc:picChg chg="del">
          <ac:chgData name="Wenwen Zhang" userId="9dd81366-5d6f-445a-b031-6ea562624431" providerId="ADAL" clId="{9BAEB022-0045-48BE-B319-92B55C6088ED}" dt="2023-03-06T21:43:12.708" v="1841" actId="478"/>
          <ac:picMkLst>
            <pc:docMk/>
            <pc:sldMk cId="574567390" sldId="2134804376"/>
            <ac:picMk id="5" creationId="{A7DE4E24-A853-D8C3-1DDC-C49AC563978C}"/>
          </ac:picMkLst>
        </pc:picChg>
        <pc:picChg chg="add del mod">
          <ac:chgData name="Wenwen Zhang" userId="9dd81366-5d6f-445a-b031-6ea562624431" providerId="ADAL" clId="{9BAEB022-0045-48BE-B319-92B55C6088ED}" dt="2023-03-06T22:33:32.934" v="1882" actId="478"/>
          <ac:picMkLst>
            <pc:docMk/>
            <pc:sldMk cId="574567390" sldId="2134804376"/>
            <ac:picMk id="6" creationId="{6CBDF9B7-1896-24DA-1440-A33EB49585A5}"/>
          </ac:picMkLst>
        </pc:picChg>
        <pc:picChg chg="add mod">
          <ac:chgData name="Wenwen Zhang" userId="9dd81366-5d6f-445a-b031-6ea562624431" providerId="ADAL" clId="{9BAEB022-0045-48BE-B319-92B55C6088ED}" dt="2023-03-06T22:33:36.263" v="1885" actId="1076"/>
          <ac:picMkLst>
            <pc:docMk/>
            <pc:sldMk cId="574567390" sldId="2134804376"/>
            <ac:picMk id="8" creationId="{7D24BF48-4DDA-C401-155B-FE2355B57AE1}"/>
          </ac:picMkLst>
        </pc:picChg>
      </pc:sldChg>
      <pc:sldChg chg="addSp delSp modSp mod ord modNotesTx">
        <pc:chgData name="Wenwen Zhang" userId="9dd81366-5d6f-445a-b031-6ea562624431" providerId="ADAL" clId="{9BAEB022-0045-48BE-B319-92B55C6088ED}" dt="2023-03-06T21:16:54.035" v="1683"/>
        <pc:sldMkLst>
          <pc:docMk/>
          <pc:sldMk cId="2379220786" sldId="2134804378"/>
        </pc:sldMkLst>
        <pc:spChg chg="mod ord">
          <ac:chgData name="Wenwen Zhang" userId="9dd81366-5d6f-445a-b031-6ea562624431" providerId="ADAL" clId="{9BAEB022-0045-48BE-B319-92B55C6088ED}" dt="2023-03-06T20:56:59.111" v="949"/>
          <ac:spMkLst>
            <pc:docMk/>
            <pc:sldMk cId="2379220786" sldId="2134804378"/>
            <ac:spMk id="2" creationId="{B065B79C-C4D6-5961-7919-6BB68C420868}"/>
          </ac:spMkLst>
        </pc:spChg>
        <pc:spChg chg="add del mod modVis">
          <ac:chgData name="Wenwen Zhang" userId="9dd81366-5d6f-445a-b031-6ea562624431" providerId="ADAL" clId="{9BAEB022-0045-48BE-B319-92B55C6088ED}" dt="2023-03-06T20:56:53.678" v="751"/>
          <ac:spMkLst>
            <pc:docMk/>
            <pc:sldMk cId="2379220786" sldId="2134804378"/>
            <ac:spMk id="3" creationId="{43FAA932-A23D-F74D-9F1E-51FE603E5FC5}"/>
          </ac:spMkLst>
        </pc:spChg>
        <pc:spChg chg="add del mod modVis">
          <ac:chgData name="Wenwen Zhang" userId="9dd81366-5d6f-445a-b031-6ea562624431" providerId="ADAL" clId="{9BAEB022-0045-48BE-B319-92B55C6088ED}" dt="2023-03-06T20:56:59.183" v="1067"/>
          <ac:spMkLst>
            <pc:docMk/>
            <pc:sldMk cId="2379220786" sldId="2134804378"/>
            <ac:spMk id="5" creationId="{53151ADD-D2B8-8E6A-59C0-F77BED7070E5}"/>
          </ac:spMkLst>
        </pc:spChg>
        <pc:spChg chg="mod ord">
          <ac:chgData name="Wenwen Zhang" userId="9dd81366-5d6f-445a-b031-6ea562624431" providerId="ADAL" clId="{9BAEB022-0045-48BE-B319-92B55C6088ED}" dt="2023-03-06T20:56:59.112" v="951"/>
          <ac:spMkLst>
            <pc:docMk/>
            <pc:sldMk cId="2379220786" sldId="2134804378"/>
            <ac:spMk id="29" creationId="{D50B6CAA-A666-5524-85F7-444C607F0970}"/>
          </ac:spMkLst>
        </pc:spChg>
        <pc:spChg chg="mod ord">
          <ac:chgData name="Wenwen Zhang" userId="9dd81366-5d6f-445a-b031-6ea562624431" providerId="ADAL" clId="{9BAEB022-0045-48BE-B319-92B55C6088ED}" dt="2023-03-06T20:56:59.113" v="953"/>
          <ac:spMkLst>
            <pc:docMk/>
            <pc:sldMk cId="2379220786" sldId="2134804378"/>
            <ac:spMk id="43" creationId="{C58C7321-3BF7-61DC-5B1A-AD075E56AE05}"/>
          </ac:spMkLst>
        </pc:spChg>
        <pc:spChg chg="mod">
          <ac:chgData name="Wenwen Zhang" userId="9dd81366-5d6f-445a-b031-6ea562624431" providerId="ADAL" clId="{9BAEB022-0045-48BE-B319-92B55C6088ED}" dt="2023-03-06T20:56:59.160" v="1034"/>
          <ac:spMkLst>
            <pc:docMk/>
            <pc:sldMk cId="2379220786" sldId="2134804378"/>
            <ac:spMk id="104" creationId="{A9566EFA-74F7-3DDA-F05E-93C53BB2AA97}"/>
          </ac:spMkLst>
        </pc:spChg>
        <pc:spChg chg="mod">
          <ac:chgData name="Wenwen Zhang" userId="9dd81366-5d6f-445a-b031-6ea562624431" providerId="ADAL" clId="{9BAEB022-0045-48BE-B319-92B55C6088ED}" dt="2023-03-06T20:56:59.159" v="1033"/>
          <ac:spMkLst>
            <pc:docMk/>
            <pc:sldMk cId="2379220786" sldId="2134804378"/>
            <ac:spMk id="105" creationId="{3A8DF813-9A1B-2779-792A-3FAED26079F9}"/>
          </ac:spMkLst>
        </pc:spChg>
        <pc:spChg chg="mod">
          <ac:chgData name="Wenwen Zhang" userId="9dd81366-5d6f-445a-b031-6ea562624431" providerId="ADAL" clId="{9BAEB022-0045-48BE-B319-92B55C6088ED}" dt="2023-03-06T20:56:59.168" v="1043"/>
          <ac:spMkLst>
            <pc:docMk/>
            <pc:sldMk cId="2379220786" sldId="2134804378"/>
            <ac:spMk id="106" creationId="{7D99CB6E-1D23-4F83-4BEB-CD18BD12C810}"/>
          </ac:spMkLst>
        </pc:spChg>
        <pc:spChg chg="mod">
          <ac:chgData name="Wenwen Zhang" userId="9dd81366-5d6f-445a-b031-6ea562624431" providerId="ADAL" clId="{9BAEB022-0045-48BE-B319-92B55C6088ED}" dt="2023-03-06T20:56:59.161" v="1036"/>
          <ac:spMkLst>
            <pc:docMk/>
            <pc:sldMk cId="2379220786" sldId="2134804378"/>
            <ac:spMk id="107" creationId="{D69C42B8-4C60-26CC-0D19-29FD30EB03D5}"/>
          </ac:spMkLst>
        </pc:spChg>
        <pc:spChg chg="mod">
          <ac:chgData name="Wenwen Zhang" userId="9dd81366-5d6f-445a-b031-6ea562624431" providerId="ADAL" clId="{9BAEB022-0045-48BE-B319-92B55C6088ED}" dt="2023-03-06T20:56:59.155" v="1029"/>
          <ac:spMkLst>
            <pc:docMk/>
            <pc:sldMk cId="2379220786" sldId="2134804378"/>
            <ac:spMk id="108" creationId="{1B3714F0-FB11-6CFF-B870-4A13F4771623}"/>
          </ac:spMkLst>
        </pc:spChg>
        <pc:spChg chg="mod">
          <ac:chgData name="Wenwen Zhang" userId="9dd81366-5d6f-445a-b031-6ea562624431" providerId="ADAL" clId="{9BAEB022-0045-48BE-B319-92B55C6088ED}" dt="2023-03-06T20:56:59.164" v="1038"/>
          <ac:spMkLst>
            <pc:docMk/>
            <pc:sldMk cId="2379220786" sldId="2134804378"/>
            <ac:spMk id="109" creationId="{B13C4469-198D-B852-22BB-6739427CE5F2}"/>
          </ac:spMkLst>
        </pc:spChg>
        <pc:spChg chg="mod">
          <ac:chgData name="Wenwen Zhang" userId="9dd81366-5d6f-445a-b031-6ea562624431" providerId="ADAL" clId="{9BAEB022-0045-48BE-B319-92B55C6088ED}" dt="2023-03-06T20:56:59.165" v="1039"/>
          <ac:spMkLst>
            <pc:docMk/>
            <pc:sldMk cId="2379220786" sldId="2134804378"/>
            <ac:spMk id="110" creationId="{DC8BACB4-7C89-08C3-CDB4-9F3F60A76FE4}"/>
          </ac:spMkLst>
        </pc:spChg>
        <pc:spChg chg="mod">
          <ac:chgData name="Wenwen Zhang" userId="9dd81366-5d6f-445a-b031-6ea562624431" providerId="ADAL" clId="{9BAEB022-0045-48BE-B319-92B55C6088ED}" dt="2023-03-06T20:56:59.155" v="1028"/>
          <ac:spMkLst>
            <pc:docMk/>
            <pc:sldMk cId="2379220786" sldId="2134804378"/>
            <ac:spMk id="111" creationId="{B0CDCDCF-3A08-7E90-1BAF-B8913112CDB9}"/>
          </ac:spMkLst>
        </pc:spChg>
        <pc:spChg chg="mod">
          <ac:chgData name="Wenwen Zhang" userId="9dd81366-5d6f-445a-b031-6ea562624431" providerId="ADAL" clId="{9BAEB022-0045-48BE-B319-92B55C6088ED}" dt="2023-03-06T20:56:59.165" v="1040"/>
          <ac:spMkLst>
            <pc:docMk/>
            <pc:sldMk cId="2379220786" sldId="2134804378"/>
            <ac:spMk id="112" creationId="{B653AB44-96C0-EEBA-9451-224DB7D70401}"/>
          </ac:spMkLst>
        </pc:spChg>
        <pc:spChg chg="mod">
          <ac:chgData name="Wenwen Zhang" userId="9dd81366-5d6f-445a-b031-6ea562624431" providerId="ADAL" clId="{9BAEB022-0045-48BE-B319-92B55C6088ED}" dt="2023-03-06T20:56:59.151" v="1024"/>
          <ac:spMkLst>
            <pc:docMk/>
            <pc:sldMk cId="2379220786" sldId="2134804378"/>
            <ac:spMk id="113" creationId="{057CDBA5-728A-FA1E-05B7-3BD89CF1BEE7}"/>
          </ac:spMkLst>
        </pc:spChg>
        <pc:spChg chg="mod">
          <ac:chgData name="Wenwen Zhang" userId="9dd81366-5d6f-445a-b031-6ea562624431" providerId="ADAL" clId="{9BAEB022-0045-48BE-B319-92B55C6088ED}" dt="2023-03-06T20:56:59.153" v="1026"/>
          <ac:spMkLst>
            <pc:docMk/>
            <pc:sldMk cId="2379220786" sldId="2134804378"/>
            <ac:spMk id="114" creationId="{E8635B72-F4D2-02CE-C7C7-9587809CECD5}"/>
          </ac:spMkLst>
        </pc:spChg>
        <pc:spChg chg="mod">
          <ac:chgData name="Wenwen Zhang" userId="9dd81366-5d6f-445a-b031-6ea562624431" providerId="ADAL" clId="{9BAEB022-0045-48BE-B319-92B55C6088ED}" dt="2023-03-06T20:56:59.154" v="1027"/>
          <ac:spMkLst>
            <pc:docMk/>
            <pc:sldMk cId="2379220786" sldId="2134804378"/>
            <ac:spMk id="115" creationId="{1CC87783-104E-D409-4C73-ED257A0808EC}"/>
          </ac:spMkLst>
        </pc:spChg>
        <pc:spChg chg="mod">
          <ac:chgData name="Wenwen Zhang" userId="9dd81366-5d6f-445a-b031-6ea562624431" providerId="ADAL" clId="{9BAEB022-0045-48BE-B319-92B55C6088ED}" dt="2023-03-06T20:56:59.169" v="1044"/>
          <ac:spMkLst>
            <pc:docMk/>
            <pc:sldMk cId="2379220786" sldId="2134804378"/>
            <ac:spMk id="116" creationId="{E5D67288-B5AD-F8FA-A2A2-F7DE4F29C023}"/>
          </ac:spMkLst>
        </pc:spChg>
        <pc:spChg chg="mod">
          <ac:chgData name="Wenwen Zhang" userId="9dd81366-5d6f-445a-b031-6ea562624431" providerId="ADAL" clId="{9BAEB022-0045-48BE-B319-92B55C6088ED}" dt="2023-03-06T20:56:59.169" v="1045"/>
          <ac:spMkLst>
            <pc:docMk/>
            <pc:sldMk cId="2379220786" sldId="2134804378"/>
            <ac:spMk id="117" creationId="{509F5596-1340-D291-3256-B99CFC2B346C}"/>
          </ac:spMkLst>
        </pc:spChg>
        <pc:spChg chg="mod">
          <ac:chgData name="Wenwen Zhang" userId="9dd81366-5d6f-445a-b031-6ea562624431" providerId="ADAL" clId="{9BAEB022-0045-48BE-B319-92B55C6088ED}" dt="2023-03-06T20:56:59.170" v="1046"/>
          <ac:spMkLst>
            <pc:docMk/>
            <pc:sldMk cId="2379220786" sldId="2134804378"/>
            <ac:spMk id="118" creationId="{08B8ABB9-04BA-07AF-BD6C-E7D71FFD0E2B}"/>
          </ac:spMkLst>
        </pc:spChg>
        <pc:spChg chg="mod">
          <ac:chgData name="Wenwen Zhang" userId="9dd81366-5d6f-445a-b031-6ea562624431" providerId="ADAL" clId="{9BAEB022-0045-48BE-B319-92B55C6088ED}" dt="2023-03-06T20:56:59.152" v="1025"/>
          <ac:spMkLst>
            <pc:docMk/>
            <pc:sldMk cId="2379220786" sldId="2134804378"/>
            <ac:spMk id="119" creationId="{D6A00346-BF8C-0977-FC79-E34711910C06}"/>
          </ac:spMkLst>
        </pc:spChg>
        <pc:spChg chg="mod">
          <ac:chgData name="Wenwen Zhang" userId="9dd81366-5d6f-445a-b031-6ea562624431" providerId="ADAL" clId="{9BAEB022-0045-48BE-B319-92B55C6088ED}" dt="2023-03-06T20:56:59.171" v="1048"/>
          <ac:spMkLst>
            <pc:docMk/>
            <pc:sldMk cId="2379220786" sldId="2134804378"/>
            <ac:spMk id="120" creationId="{227DD4AF-FBFF-94DA-B02A-6E7850C7E7D8}"/>
          </ac:spMkLst>
        </pc:spChg>
        <pc:spChg chg="mod">
          <ac:chgData name="Wenwen Zhang" userId="9dd81366-5d6f-445a-b031-6ea562624431" providerId="ADAL" clId="{9BAEB022-0045-48BE-B319-92B55C6088ED}" dt="2023-03-06T20:56:59.166" v="1041"/>
          <ac:spMkLst>
            <pc:docMk/>
            <pc:sldMk cId="2379220786" sldId="2134804378"/>
            <ac:spMk id="121" creationId="{432AC78C-8996-78EA-2C3C-C914CB0BA96C}"/>
          </ac:spMkLst>
        </pc:spChg>
        <pc:spChg chg="mod">
          <ac:chgData name="Wenwen Zhang" userId="9dd81366-5d6f-445a-b031-6ea562624431" providerId="ADAL" clId="{9BAEB022-0045-48BE-B319-92B55C6088ED}" dt="2023-03-06T20:56:59.158" v="1032"/>
          <ac:spMkLst>
            <pc:docMk/>
            <pc:sldMk cId="2379220786" sldId="2134804378"/>
            <ac:spMk id="122" creationId="{211D1667-71CF-DAE2-F8DB-8BA875197FF5}"/>
          </ac:spMkLst>
        </pc:spChg>
        <pc:spChg chg="mod">
          <ac:chgData name="Wenwen Zhang" userId="9dd81366-5d6f-445a-b031-6ea562624431" providerId="ADAL" clId="{9BAEB022-0045-48BE-B319-92B55C6088ED}" dt="2023-03-06T20:56:59.160" v="1035"/>
          <ac:spMkLst>
            <pc:docMk/>
            <pc:sldMk cId="2379220786" sldId="2134804378"/>
            <ac:spMk id="123" creationId="{4E8D93E6-7DB4-9D3D-D966-317FB4863F0A}"/>
          </ac:spMkLst>
        </pc:spChg>
        <pc:spChg chg="mod">
          <ac:chgData name="Wenwen Zhang" userId="9dd81366-5d6f-445a-b031-6ea562624431" providerId="ADAL" clId="{9BAEB022-0045-48BE-B319-92B55C6088ED}" dt="2023-03-06T20:56:59.156" v="1030"/>
          <ac:spMkLst>
            <pc:docMk/>
            <pc:sldMk cId="2379220786" sldId="2134804378"/>
            <ac:spMk id="124" creationId="{F5416F8A-DB55-9CAE-1F3D-9BBF3DB9D7E4}"/>
          </ac:spMkLst>
        </pc:spChg>
        <pc:spChg chg="mod">
          <ac:chgData name="Wenwen Zhang" userId="9dd81366-5d6f-445a-b031-6ea562624431" providerId="ADAL" clId="{9BAEB022-0045-48BE-B319-92B55C6088ED}" dt="2023-03-06T20:56:59.171" v="1047"/>
          <ac:spMkLst>
            <pc:docMk/>
            <pc:sldMk cId="2379220786" sldId="2134804378"/>
            <ac:spMk id="125" creationId="{2E1BE011-4D99-DC89-7007-EEEE1188A90E}"/>
          </ac:spMkLst>
        </pc:spChg>
        <pc:spChg chg="mod">
          <ac:chgData name="Wenwen Zhang" userId="9dd81366-5d6f-445a-b031-6ea562624431" providerId="ADAL" clId="{9BAEB022-0045-48BE-B319-92B55C6088ED}" dt="2023-03-06T20:56:59.163" v="1037"/>
          <ac:spMkLst>
            <pc:docMk/>
            <pc:sldMk cId="2379220786" sldId="2134804378"/>
            <ac:spMk id="126" creationId="{2BA4A63C-91D0-B25D-6E71-FBE09FF4C474}"/>
          </ac:spMkLst>
        </pc:spChg>
        <pc:spChg chg="mod">
          <ac:chgData name="Wenwen Zhang" userId="9dd81366-5d6f-445a-b031-6ea562624431" providerId="ADAL" clId="{9BAEB022-0045-48BE-B319-92B55C6088ED}" dt="2023-03-06T20:56:59.166" v="1042"/>
          <ac:spMkLst>
            <pc:docMk/>
            <pc:sldMk cId="2379220786" sldId="2134804378"/>
            <ac:spMk id="127" creationId="{8BF47315-055B-2430-AC40-B6919707E659}"/>
          </ac:spMkLst>
        </pc:spChg>
        <pc:spChg chg="mod">
          <ac:chgData name="Wenwen Zhang" userId="9dd81366-5d6f-445a-b031-6ea562624431" providerId="ADAL" clId="{9BAEB022-0045-48BE-B319-92B55C6088ED}" dt="2023-03-06T20:56:59.157" v="1031"/>
          <ac:spMkLst>
            <pc:docMk/>
            <pc:sldMk cId="2379220786" sldId="2134804378"/>
            <ac:spMk id="128" creationId="{82957DE4-02C5-962B-D2C2-993D7C2172E4}"/>
          </ac:spMkLst>
        </pc:spChg>
        <pc:spChg chg="mod">
          <ac:chgData name="Wenwen Zhang" userId="9dd81366-5d6f-445a-b031-6ea562624431" providerId="ADAL" clId="{9BAEB022-0045-48BE-B319-92B55C6088ED}" dt="2023-03-06T20:56:59.176" v="1056"/>
          <ac:spMkLst>
            <pc:docMk/>
            <pc:sldMk cId="2379220786" sldId="2134804378"/>
            <ac:spMk id="132" creationId="{A23A4658-6E59-77D4-37D9-17C9563BC8F5}"/>
          </ac:spMkLst>
        </pc:spChg>
        <pc:spChg chg="mod">
          <ac:chgData name="Wenwen Zhang" userId="9dd81366-5d6f-445a-b031-6ea562624431" providerId="ADAL" clId="{9BAEB022-0045-48BE-B319-92B55C6088ED}" dt="2023-03-06T20:56:59.175" v="1055"/>
          <ac:spMkLst>
            <pc:docMk/>
            <pc:sldMk cId="2379220786" sldId="2134804378"/>
            <ac:spMk id="133" creationId="{B208B45B-6E7F-879C-F7BD-53CF3859C404}"/>
          </ac:spMkLst>
        </pc:spChg>
        <pc:spChg chg="mod ord">
          <ac:chgData name="Wenwen Zhang" userId="9dd81366-5d6f-445a-b031-6ea562624431" providerId="ADAL" clId="{9BAEB022-0045-48BE-B319-92B55C6088ED}" dt="2023-03-06T20:56:59.177" v="1058"/>
          <ac:spMkLst>
            <pc:docMk/>
            <pc:sldMk cId="2379220786" sldId="2134804378"/>
            <ac:spMk id="135" creationId="{3B7515DF-22AD-A557-30E6-B8261A562FA2}"/>
          </ac:spMkLst>
        </pc:spChg>
        <pc:spChg chg="mod ord">
          <ac:chgData name="Wenwen Zhang" userId="9dd81366-5d6f-445a-b031-6ea562624431" providerId="ADAL" clId="{9BAEB022-0045-48BE-B319-92B55C6088ED}" dt="2023-03-06T20:56:59.179" v="1060"/>
          <ac:spMkLst>
            <pc:docMk/>
            <pc:sldMk cId="2379220786" sldId="2134804378"/>
            <ac:spMk id="136" creationId="{C6E8FB93-ECBB-BC92-DAF9-D87490248993}"/>
          </ac:spMkLst>
        </pc:spChg>
        <pc:spChg chg="mod ord">
          <ac:chgData name="Wenwen Zhang" userId="9dd81366-5d6f-445a-b031-6ea562624431" providerId="ADAL" clId="{9BAEB022-0045-48BE-B319-92B55C6088ED}" dt="2023-03-06T20:56:59.180" v="1062"/>
          <ac:spMkLst>
            <pc:docMk/>
            <pc:sldMk cId="2379220786" sldId="2134804378"/>
            <ac:spMk id="137" creationId="{1EBD1EBF-C7D5-8C7C-3271-B5E201E7016F}"/>
          </ac:spMkLst>
        </pc:spChg>
        <pc:spChg chg="mod ord">
          <ac:chgData name="Wenwen Zhang" userId="9dd81366-5d6f-445a-b031-6ea562624431" providerId="ADAL" clId="{9BAEB022-0045-48BE-B319-92B55C6088ED}" dt="2023-03-06T20:56:59.114" v="955"/>
          <ac:spMkLst>
            <pc:docMk/>
            <pc:sldMk cId="2379220786" sldId="2134804378"/>
            <ac:spMk id="181" creationId="{7CDC462B-DC01-E701-64AE-27E4845FB608}"/>
          </ac:spMkLst>
        </pc:spChg>
        <pc:spChg chg="mod">
          <ac:chgData name="Wenwen Zhang" userId="9dd81366-5d6f-445a-b031-6ea562624431" providerId="ADAL" clId="{9BAEB022-0045-48BE-B319-92B55C6088ED}" dt="2023-03-06T20:56:59.181" v="1063"/>
          <ac:spMkLst>
            <pc:docMk/>
            <pc:sldMk cId="2379220786" sldId="2134804378"/>
            <ac:spMk id="273" creationId="{A52F662B-8EA0-8C7F-49C9-EDAE3CCBB551}"/>
          </ac:spMkLst>
        </pc:spChg>
        <pc:graphicFrameChg chg="add del mod ord replST">
          <ac:chgData name="Wenwen Zhang" userId="9dd81366-5d6f-445a-b031-6ea562624431" providerId="ADAL" clId="{9BAEB022-0045-48BE-B319-92B55C6088ED}" dt="2023-03-06T20:56:59.034" v="923"/>
          <ac:graphicFrameMkLst>
            <pc:docMk/>
            <pc:sldMk cId="2379220786" sldId="2134804378"/>
            <ac:graphicFrameMk id="4" creationId="{3ADD70BB-92F0-4015-ED41-BA775269B40A}"/>
          </ac:graphicFrameMkLst>
        </pc:graphicFrameChg>
        <pc:graphicFrameChg chg="add mod ord replST">
          <ac:chgData name="Wenwen Zhang" userId="9dd81366-5d6f-445a-b031-6ea562624431" providerId="ADAL" clId="{9BAEB022-0045-48BE-B319-92B55C6088ED}" dt="2023-03-06T20:56:59.150" v="1023"/>
          <ac:graphicFrameMkLst>
            <pc:docMk/>
            <pc:sldMk cId="2379220786" sldId="2134804378"/>
            <ac:graphicFrameMk id="6" creationId="{51F3EFAA-BBE8-0517-7203-97BBF487AC22}"/>
          </ac:graphicFrameMkLst>
        </pc:graphicFrameChg>
        <pc:graphicFrameChg chg="mod">
          <ac:chgData name="Wenwen Zhang" userId="9dd81366-5d6f-445a-b031-6ea562624431" providerId="ADAL" clId="{9BAEB022-0045-48BE-B319-92B55C6088ED}" dt="2023-03-06T20:56:59.212" v="1069"/>
          <ac:graphicFrameMkLst>
            <pc:docMk/>
            <pc:sldMk cId="2379220786" sldId="2134804378"/>
            <ac:graphicFrameMk id="28" creationId="{015DFAEE-F78A-C272-92CE-F25C3417CAD0}"/>
          </ac:graphicFrameMkLst>
        </pc:graphicFrameChg>
        <pc:graphicFrameChg chg="del">
          <ac:chgData name="Wenwen Zhang" userId="9dd81366-5d6f-445a-b031-6ea562624431" providerId="ADAL" clId="{9BAEB022-0045-48BE-B319-92B55C6088ED}" dt="2023-03-06T20:56:53.385" v="607"/>
          <ac:graphicFrameMkLst>
            <pc:docMk/>
            <pc:sldMk cId="2379220786" sldId="2134804378"/>
            <ac:graphicFrameMk id="276" creationId="{8FA43A64-0C29-1AF9-600B-D709E3B62648}"/>
          </ac:graphicFrameMkLst>
        </pc:graphicFrameChg>
        <pc:cxnChg chg="mod ord">
          <ac:chgData name="Wenwen Zhang" userId="9dd81366-5d6f-445a-b031-6ea562624431" providerId="ADAL" clId="{9BAEB022-0045-48BE-B319-92B55C6088ED}" dt="2023-03-06T20:56:59.118" v="961"/>
          <ac:cxnSpMkLst>
            <pc:docMk/>
            <pc:sldMk cId="2379220786" sldId="2134804378"/>
            <ac:cxnSpMk id="11" creationId="{3AB2DAA1-3E59-94EE-DF74-BE1897C6F763}"/>
          </ac:cxnSpMkLst>
        </pc:cxnChg>
        <pc:cxnChg chg="mod ord">
          <ac:chgData name="Wenwen Zhang" userId="9dd81366-5d6f-445a-b031-6ea562624431" providerId="ADAL" clId="{9BAEB022-0045-48BE-B319-92B55C6088ED}" dt="2023-03-06T20:56:59.123" v="971"/>
          <ac:cxnSpMkLst>
            <pc:docMk/>
            <pc:sldMk cId="2379220786" sldId="2134804378"/>
            <ac:cxnSpMk id="25" creationId="{336FF9A9-5049-239A-520B-377D98FD8E31}"/>
          </ac:cxnSpMkLst>
        </pc:cxnChg>
        <pc:cxnChg chg="mod ord">
          <ac:chgData name="Wenwen Zhang" userId="9dd81366-5d6f-445a-b031-6ea562624431" providerId="ADAL" clId="{9BAEB022-0045-48BE-B319-92B55C6088ED}" dt="2023-03-06T20:56:59.119" v="963"/>
          <ac:cxnSpMkLst>
            <pc:docMk/>
            <pc:sldMk cId="2379220786" sldId="2134804378"/>
            <ac:cxnSpMk id="26" creationId="{265BE6CD-C1A3-4367-D284-626B6363AC49}"/>
          </ac:cxnSpMkLst>
        </pc:cxnChg>
        <pc:cxnChg chg="mod ord">
          <ac:chgData name="Wenwen Zhang" userId="9dd81366-5d6f-445a-b031-6ea562624431" providerId="ADAL" clId="{9BAEB022-0045-48BE-B319-92B55C6088ED}" dt="2023-03-06T20:56:59.121" v="967"/>
          <ac:cxnSpMkLst>
            <pc:docMk/>
            <pc:sldMk cId="2379220786" sldId="2134804378"/>
            <ac:cxnSpMk id="31" creationId="{9024785D-81D4-EF50-AF14-F6FED7108444}"/>
          </ac:cxnSpMkLst>
        </pc:cxnChg>
        <pc:cxnChg chg="mod ord">
          <ac:chgData name="Wenwen Zhang" userId="9dd81366-5d6f-445a-b031-6ea562624431" providerId="ADAL" clId="{9BAEB022-0045-48BE-B319-92B55C6088ED}" dt="2023-03-06T20:56:59.116" v="957"/>
          <ac:cxnSpMkLst>
            <pc:docMk/>
            <pc:sldMk cId="2379220786" sldId="2134804378"/>
            <ac:cxnSpMk id="34" creationId="{241A5E73-6688-AD0E-8452-8FBFDFD5988E}"/>
          </ac:cxnSpMkLst>
        </pc:cxnChg>
        <pc:cxnChg chg="mod ord">
          <ac:chgData name="Wenwen Zhang" userId="9dd81366-5d6f-445a-b031-6ea562624431" providerId="ADAL" clId="{9BAEB022-0045-48BE-B319-92B55C6088ED}" dt="2023-03-06T20:56:59.122" v="969"/>
          <ac:cxnSpMkLst>
            <pc:docMk/>
            <pc:sldMk cId="2379220786" sldId="2134804378"/>
            <ac:cxnSpMk id="39" creationId="{FDAD9809-E73C-88A3-2F69-212BFB70F321}"/>
          </ac:cxnSpMkLst>
        </pc:cxnChg>
        <pc:cxnChg chg="mod ord">
          <ac:chgData name="Wenwen Zhang" userId="9dd81366-5d6f-445a-b031-6ea562624431" providerId="ADAL" clId="{9BAEB022-0045-48BE-B319-92B55C6088ED}" dt="2023-03-06T20:56:59.117" v="959"/>
          <ac:cxnSpMkLst>
            <pc:docMk/>
            <pc:sldMk cId="2379220786" sldId="2134804378"/>
            <ac:cxnSpMk id="42" creationId="{4B91479E-077F-AAEA-4AFA-FDA68DF3B1B5}"/>
          </ac:cxnSpMkLst>
        </pc:cxnChg>
        <pc:cxnChg chg="mod ord">
          <ac:chgData name="Wenwen Zhang" userId="9dd81366-5d6f-445a-b031-6ea562624431" providerId="ADAL" clId="{9BAEB022-0045-48BE-B319-92B55C6088ED}" dt="2023-03-06T20:56:59.120" v="965"/>
          <ac:cxnSpMkLst>
            <pc:docMk/>
            <pc:sldMk cId="2379220786" sldId="2134804378"/>
            <ac:cxnSpMk id="45" creationId="{05F551DD-D5F1-2387-646F-4DC5D5684413}"/>
          </ac:cxnSpMkLst>
        </pc:cxnChg>
        <pc:cxnChg chg="mod ord">
          <ac:chgData name="Wenwen Zhang" userId="9dd81366-5d6f-445a-b031-6ea562624431" providerId="ADAL" clId="{9BAEB022-0045-48BE-B319-92B55C6088ED}" dt="2023-03-06T20:56:59.137" v="997"/>
          <ac:cxnSpMkLst>
            <pc:docMk/>
            <pc:sldMk cId="2379220786" sldId="2134804378"/>
            <ac:cxnSpMk id="46" creationId="{FE9E92A6-8B3E-6DA3-491C-5EF6729E1BDE}"/>
          </ac:cxnSpMkLst>
        </pc:cxnChg>
        <pc:cxnChg chg="mod ord">
          <ac:chgData name="Wenwen Zhang" userId="9dd81366-5d6f-445a-b031-6ea562624431" providerId="ADAL" clId="{9BAEB022-0045-48BE-B319-92B55C6088ED}" dt="2023-03-06T20:56:59.138" v="999"/>
          <ac:cxnSpMkLst>
            <pc:docMk/>
            <pc:sldMk cId="2379220786" sldId="2134804378"/>
            <ac:cxnSpMk id="49" creationId="{AD318768-8345-1CDC-87D8-4BA4A65E1CCA}"/>
          </ac:cxnSpMkLst>
        </pc:cxnChg>
        <pc:cxnChg chg="mod ord">
          <ac:chgData name="Wenwen Zhang" userId="9dd81366-5d6f-445a-b031-6ea562624431" providerId="ADAL" clId="{9BAEB022-0045-48BE-B319-92B55C6088ED}" dt="2023-03-06T20:56:59.129" v="983"/>
          <ac:cxnSpMkLst>
            <pc:docMk/>
            <pc:sldMk cId="2379220786" sldId="2134804378"/>
            <ac:cxnSpMk id="51" creationId="{E2DA5F7F-567F-77A6-E771-0893940250B1}"/>
          </ac:cxnSpMkLst>
        </pc:cxnChg>
        <pc:cxnChg chg="mod ord">
          <ac:chgData name="Wenwen Zhang" userId="9dd81366-5d6f-445a-b031-6ea562624431" providerId="ADAL" clId="{9BAEB022-0045-48BE-B319-92B55C6088ED}" dt="2023-03-06T20:56:59.128" v="981"/>
          <ac:cxnSpMkLst>
            <pc:docMk/>
            <pc:sldMk cId="2379220786" sldId="2134804378"/>
            <ac:cxnSpMk id="54" creationId="{78737749-53D7-3AA3-C2D2-737950D3F89C}"/>
          </ac:cxnSpMkLst>
        </pc:cxnChg>
        <pc:cxnChg chg="mod ord">
          <ac:chgData name="Wenwen Zhang" userId="9dd81366-5d6f-445a-b031-6ea562624431" providerId="ADAL" clId="{9BAEB022-0045-48BE-B319-92B55C6088ED}" dt="2023-03-06T20:56:59.132" v="987"/>
          <ac:cxnSpMkLst>
            <pc:docMk/>
            <pc:sldMk cId="2379220786" sldId="2134804378"/>
            <ac:cxnSpMk id="56" creationId="{04E527E6-2F99-F292-501A-00BC8F587AD8}"/>
          </ac:cxnSpMkLst>
        </pc:cxnChg>
        <pc:cxnChg chg="mod ord">
          <ac:chgData name="Wenwen Zhang" userId="9dd81366-5d6f-445a-b031-6ea562624431" providerId="ADAL" clId="{9BAEB022-0045-48BE-B319-92B55C6088ED}" dt="2023-03-06T20:56:59.148" v="1019"/>
          <ac:cxnSpMkLst>
            <pc:docMk/>
            <pc:sldMk cId="2379220786" sldId="2134804378"/>
            <ac:cxnSpMk id="58" creationId="{11368B81-35B2-DE32-8979-3AC61DE7CAD6}"/>
          </ac:cxnSpMkLst>
        </pc:cxnChg>
        <pc:cxnChg chg="mod ord">
          <ac:chgData name="Wenwen Zhang" userId="9dd81366-5d6f-445a-b031-6ea562624431" providerId="ADAL" clId="{9BAEB022-0045-48BE-B319-92B55C6088ED}" dt="2023-03-06T20:56:59.144" v="1011"/>
          <ac:cxnSpMkLst>
            <pc:docMk/>
            <pc:sldMk cId="2379220786" sldId="2134804378"/>
            <ac:cxnSpMk id="61" creationId="{8FD78D1F-2A8C-B1D9-581B-33AF7FDCCD5E}"/>
          </ac:cxnSpMkLst>
        </pc:cxnChg>
        <pc:cxnChg chg="mod ord">
          <ac:chgData name="Wenwen Zhang" userId="9dd81366-5d6f-445a-b031-6ea562624431" providerId="ADAL" clId="{9BAEB022-0045-48BE-B319-92B55C6088ED}" dt="2023-03-06T20:56:59.127" v="979"/>
          <ac:cxnSpMkLst>
            <pc:docMk/>
            <pc:sldMk cId="2379220786" sldId="2134804378"/>
            <ac:cxnSpMk id="64" creationId="{19D88002-1C93-A488-6209-18F5CBCA7BA6}"/>
          </ac:cxnSpMkLst>
        </pc:cxnChg>
        <pc:cxnChg chg="mod ord">
          <ac:chgData name="Wenwen Zhang" userId="9dd81366-5d6f-445a-b031-6ea562624431" providerId="ADAL" clId="{9BAEB022-0045-48BE-B319-92B55C6088ED}" dt="2023-03-06T20:56:59.124" v="973"/>
          <ac:cxnSpMkLst>
            <pc:docMk/>
            <pc:sldMk cId="2379220786" sldId="2134804378"/>
            <ac:cxnSpMk id="65" creationId="{50A6BC4E-F992-63ED-52A6-7ADAE7DD0EB8}"/>
          </ac:cxnSpMkLst>
        </pc:cxnChg>
        <pc:cxnChg chg="mod ord">
          <ac:chgData name="Wenwen Zhang" userId="9dd81366-5d6f-445a-b031-6ea562624431" providerId="ADAL" clId="{9BAEB022-0045-48BE-B319-92B55C6088ED}" dt="2023-03-06T20:56:59.126" v="977"/>
          <ac:cxnSpMkLst>
            <pc:docMk/>
            <pc:sldMk cId="2379220786" sldId="2134804378"/>
            <ac:cxnSpMk id="66" creationId="{3712CCA0-EF97-AB6C-EBEB-0E90B5D0ECB2}"/>
          </ac:cxnSpMkLst>
        </pc:cxnChg>
        <pc:cxnChg chg="mod ord">
          <ac:chgData name="Wenwen Zhang" userId="9dd81366-5d6f-445a-b031-6ea562624431" providerId="ADAL" clId="{9BAEB022-0045-48BE-B319-92B55C6088ED}" dt="2023-03-06T20:56:59.131" v="985"/>
          <ac:cxnSpMkLst>
            <pc:docMk/>
            <pc:sldMk cId="2379220786" sldId="2134804378"/>
            <ac:cxnSpMk id="67" creationId="{0830087B-8653-64E0-2D3D-AA89A3B2A703}"/>
          </ac:cxnSpMkLst>
        </pc:cxnChg>
        <pc:cxnChg chg="mod ord">
          <ac:chgData name="Wenwen Zhang" userId="9dd81366-5d6f-445a-b031-6ea562624431" providerId="ADAL" clId="{9BAEB022-0045-48BE-B319-92B55C6088ED}" dt="2023-03-06T20:56:59.141" v="1005"/>
          <ac:cxnSpMkLst>
            <pc:docMk/>
            <pc:sldMk cId="2379220786" sldId="2134804378"/>
            <ac:cxnSpMk id="68" creationId="{69931BFB-DF5A-06A4-07CB-1DC566B73B9A}"/>
          </ac:cxnSpMkLst>
        </pc:cxnChg>
        <pc:cxnChg chg="mod ord">
          <ac:chgData name="Wenwen Zhang" userId="9dd81366-5d6f-445a-b031-6ea562624431" providerId="ADAL" clId="{9BAEB022-0045-48BE-B319-92B55C6088ED}" dt="2023-03-06T20:56:59.142" v="1007"/>
          <ac:cxnSpMkLst>
            <pc:docMk/>
            <pc:sldMk cId="2379220786" sldId="2134804378"/>
            <ac:cxnSpMk id="69" creationId="{CEDBBC1E-E32B-B7DF-5BED-EECA97F0D05F}"/>
          </ac:cxnSpMkLst>
        </pc:cxnChg>
        <pc:cxnChg chg="mod ord">
          <ac:chgData name="Wenwen Zhang" userId="9dd81366-5d6f-445a-b031-6ea562624431" providerId="ADAL" clId="{9BAEB022-0045-48BE-B319-92B55C6088ED}" dt="2023-03-06T20:56:59.133" v="989"/>
          <ac:cxnSpMkLst>
            <pc:docMk/>
            <pc:sldMk cId="2379220786" sldId="2134804378"/>
            <ac:cxnSpMk id="91" creationId="{CE521B16-057A-63F8-D57A-FED52303F486}"/>
          </ac:cxnSpMkLst>
        </pc:cxnChg>
        <pc:cxnChg chg="mod ord">
          <ac:chgData name="Wenwen Zhang" userId="9dd81366-5d6f-445a-b031-6ea562624431" providerId="ADAL" clId="{9BAEB022-0045-48BE-B319-92B55C6088ED}" dt="2023-03-06T20:56:59.149" v="1021"/>
          <ac:cxnSpMkLst>
            <pc:docMk/>
            <pc:sldMk cId="2379220786" sldId="2134804378"/>
            <ac:cxnSpMk id="92" creationId="{6B0D399C-CF40-0849-B6DF-EC64EC5EB9BE}"/>
          </ac:cxnSpMkLst>
        </pc:cxnChg>
        <pc:cxnChg chg="mod ord">
          <ac:chgData name="Wenwen Zhang" userId="9dd81366-5d6f-445a-b031-6ea562624431" providerId="ADAL" clId="{9BAEB022-0045-48BE-B319-92B55C6088ED}" dt="2023-03-06T20:56:59.139" v="1001"/>
          <ac:cxnSpMkLst>
            <pc:docMk/>
            <pc:sldMk cId="2379220786" sldId="2134804378"/>
            <ac:cxnSpMk id="93" creationId="{4751189C-9E3E-9705-D713-805B2FC82A71}"/>
          </ac:cxnSpMkLst>
        </pc:cxnChg>
        <pc:cxnChg chg="mod ord">
          <ac:chgData name="Wenwen Zhang" userId="9dd81366-5d6f-445a-b031-6ea562624431" providerId="ADAL" clId="{9BAEB022-0045-48BE-B319-92B55C6088ED}" dt="2023-03-06T20:56:59.125" v="975"/>
          <ac:cxnSpMkLst>
            <pc:docMk/>
            <pc:sldMk cId="2379220786" sldId="2134804378"/>
            <ac:cxnSpMk id="94" creationId="{530CD842-ADC7-C3B6-BBB1-A39580CE39FE}"/>
          </ac:cxnSpMkLst>
        </pc:cxnChg>
        <pc:cxnChg chg="mod ord">
          <ac:chgData name="Wenwen Zhang" userId="9dd81366-5d6f-445a-b031-6ea562624431" providerId="ADAL" clId="{9BAEB022-0045-48BE-B319-92B55C6088ED}" dt="2023-03-06T20:56:59.140" v="1003"/>
          <ac:cxnSpMkLst>
            <pc:docMk/>
            <pc:sldMk cId="2379220786" sldId="2134804378"/>
            <ac:cxnSpMk id="95" creationId="{BF2C3B5B-1473-F918-C1C3-FD7C6C7336DA}"/>
          </ac:cxnSpMkLst>
        </pc:cxnChg>
        <pc:cxnChg chg="mod ord">
          <ac:chgData name="Wenwen Zhang" userId="9dd81366-5d6f-445a-b031-6ea562624431" providerId="ADAL" clId="{9BAEB022-0045-48BE-B319-92B55C6088ED}" dt="2023-03-06T20:56:59.147" v="1017"/>
          <ac:cxnSpMkLst>
            <pc:docMk/>
            <pc:sldMk cId="2379220786" sldId="2134804378"/>
            <ac:cxnSpMk id="96" creationId="{CACC21A9-A2CC-4090-0263-B5665C103D9A}"/>
          </ac:cxnSpMkLst>
        </pc:cxnChg>
        <pc:cxnChg chg="mod ord">
          <ac:chgData name="Wenwen Zhang" userId="9dd81366-5d6f-445a-b031-6ea562624431" providerId="ADAL" clId="{9BAEB022-0045-48BE-B319-92B55C6088ED}" dt="2023-03-06T20:56:59.145" v="1013"/>
          <ac:cxnSpMkLst>
            <pc:docMk/>
            <pc:sldMk cId="2379220786" sldId="2134804378"/>
            <ac:cxnSpMk id="97" creationId="{22B59B7C-C11D-305B-725E-309F5B27B27F}"/>
          </ac:cxnSpMkLst>
        </pc:cxnChg>
        <pc:cxnChg chg="mod ord">
          <ac:chgData name="Wenwen Zhang" userId="9dd81366-5d6f-445a-b031-6ea562624431" providerId="ADAL" clId="{9BAEB022-0045-48BE-B319-92B55C6088ED}" dt="2023-03-06T20:56:59.134" v="991"/>
          <ac:cxnSpMkLst>
            <pc:docMk/>
            <pc:sldMk cId="2379220786" sldId="2134804378"/>
            <ac:cxnSpMk id="98" creationId="{296A3914-4A37-1934-A016-EE0DE2E75970}"/>
          </ac:cxnSpMkLst>
        </pc:cxnChg>
        <pc:cxnChg chg="mod ord">
          <ac:chgData name="Wenwen Zhang" userId="9dd81366-5d6f-445a-b031-6ea562624431" providerId="ADAL" clId="{9BAEB022-0045-48BE-B319-92B55C6088ED}" dt="2023-03-06T20:56:59.136" v="995"/>
          <ac:cxnSpMkLst>
            <pc:docMk/>
            <pc:sldMk cId="2379220786" sldId="2134804378"/>
            <ac:cxnSpMk id="99" creationId="{217A9E90-E119-4F81-6907-D35FC3588CD8}"/>
          </ac:cxnSpMkLst>
        </pc:cxnChg>
        <pc:cxnChg chg="mod ord">
          <ac:chgData name="Wenwen Zhang" userId="9dd81366-5d6f-445a-b031-6ea562624431" providerId="ADAL" clId="{9BAEB022-0045-48BE-B319-92B55C6088ED}" dt="2023-03-06T20:56:59.146" v="1015"/>
          <ac:cxnSpMkLst>
            <pc:docMk/>
            <pc:sldMk cId="2379220786" sldId="2134804378"/>
            <ac:cxnSpMk id="100" creationId="{45BD88E9-D04C-25E9-C14E-F455A579436B}"/>
          </ac:cxnSpMkLst>
        </pc:cxnChg>
        <pc:cxnChg chg="mod ord">
          <ac:chgData name="Wenwen Zhang" userId="9dd81366-5d6f-445a-b031-6ea562624431" providerId="ADAL" clId="{9BAEB022-0045-48BE-B319-92B55C6088ED}" dt="2023-03-06T20:56:59.143" v="1009"/>
          <ac:cxnSpMkLst>
            <pc:docMk/>
            <pc:sldMk cId="2379220786" sldId="2134804378"/>
            <ac:cxnSpMk id="101" creationId="{BA497DDE-5F40-D3E5-7825-017206854254}"/>
          </ac:cxnSpMkLst>
        </pc:cxnChg>
        <pc:cxnChg chg="mod ord">
          <ac:chgData name="Wenwen Zhang" userId="9dd81366-5d6f-445a-b031-6ea562624431" providerId="ADAL" clId="{9BAEB022-0045-48BE-B319-92B55C6088ED}" dt="2023-03-06T20:56:59.135" v="993"/>
          <ac:cxnSpMkLst>
            <pc:docMk/>
            <pc:sldMk cId="2379220786" sldId="2134804378"/>
            <ac:cxnSpMk id="102" creationId="{43913C8B-95D3-BFDF-EF11-BA8D71F1DF1C}"/>
          </ac:cxnSpMkLst>
        </pc:cxnChg>
        <pc:cxnChg chg="mod ord">
          <ac:chgData name="Wenwen Zhang" userId="9dd81366-5d6f-445a-b031-6ea562624431" providerId="ADAL" clId="{9BAEB022-0045-48BE-B319-92B55C6088ED}" dt="2023-03-06T20:56:59.175" v="1054"/>
          <ac:cxnSpMkLst>
            <pc:docMk/>
            <pc:sldMk cId="2379220786" sldId="2134804378"/>
            <ac:cxnSpMk id="129" creationId="{B1B0B1E0-382D-B8C0-D476-03536818D2B6}"/>
          </ac:cxnSpMkLst>
        </pc:cxnChg>
        <pc:cxnChg chg="mod ord">
          <ac:chgData name="Wenwen Zhang" userId="9dd81366-5d6f-445a-b031-6ea562624431" providerId="ADAL" clId="{9BAEB022-0045-48BE-B319-92B55C6088ED}" dt="2023-03-06T20:56:59.174" v="1052"/>
          <ac:cxnSpMkLst>
            <pc:docMk/>
            <pc:sldMk cId="2379220786" sldId="2134804378"/>
            <ac:cxnSpMk id="130" creationId="{E957EBFD-0754-FE08-5D12-7C5700C13FE2}"/>
          </ac:cxnSpMkLst>
        </pc:cxnChg>
        <pc:cxnChg chg="mod ord">
          <ac:chgData name="Wenwen Zhang" userId="9dd81366-5d6f-445a-b031-6ea562624431" providerId="ADAL" clId="{9BAEB022-0045-48BE-B319-92B55C6088ED}" dt="2023-03-06T20:56:59.173" v="1050"/>
          <ac:cxnSpMkLst>
            <pc:docMk/>
            <pc:sldMk cId="2379220786" sldId="2134804378"/>
            <ac:cxnSpMk id="131" creationId="{C79F18F8-6519-347D-5E19-4C61613C4819}"/>
          </ac:cxnSpMkLst>
        </pc:cxnChg>
      </pc:sldChg>
      <pc:sldChg chg="addSp delSp modSp mod modNotesTx">
        <pc:chgData name="Wenwen Zhang" userId="9dd81366-5d6f-445a-b031-6ea562624431" providerId="ADAL" clId="{9BAEB022-0045-48BE-B319-92B55C6088ED}" dt="2023-03-06T21:35:09.827" v="1840" actId="20577"/>
        <pc:sldMkLst>
          <pc:docMk/>
          <pc:sldMk cId="229238195" sldId="2134804379"/>
        </pc:sldMkLst>
        <pc:spChg chg="mod ord">
          <ac:chgData name="Wenwen Zhang" userId="9dd81366-5d6f-445a-b031-6ea562624431" providerId="ADAL" clId="{9BAEB022-0045-48BE-B319-92B55C6088ED}" dt="2023-03-06T21:06:00.351" v="1622"/>
          <ac:spMkLst>
            <pc:docMk/>
            <pc:sldMk cId="229238195" sldId="2134804379"/>
            <ac:spMk id="2" creationId="{B065B79C-C4D6-5961-7919-6BB68C420868}"/>
          </ac:spMkLst>
        </pc:spChg>
        <pc:spChg chg="add del mod modVis">
          <ac:chgData name="Wenwen Zhang" userId="9dd81366-5d6f-445a-b031-6ea562624431" providerId="ADAL" clId="{9BAEB022-0045-48BE-B319-92B55C6088ED}" dt="2023-03-06T21:06:00.381" v="1673"/>
          <ac:spMkLst>
            <pc:docMk/>
            <pc:sldMk cId="229238195" sldId="2134804379"/>
            <ac:spMk id="3" creationId="{DC79B349-B753-B95A-CA13-346B3B8BC63B}"/>
          </ac:spMkLst>
        </pc:spChg>
        <pc:spChg chg="mod ord">
          <ac:chgData name="Wenwen Zhang" userId="9dd81366-5d6f-445a-b031-6ea562624431" providerId="ADAL" clId="{9BAEB022-0045-48BE-B319-92B55C6088ED}" dt="2023-03-06T21:35:09.827" v="1840" actId="20577"/>
          <ac:spMkLst>
            <pc:docMk/>
            <pc:sldMk cId="229238195" sldId="2134804379"/>
            <ac:spMk id="29" creationId="{D50B6CAA-A666-5524-85F7-444C607F0970}"/>
          </ac:spMkLst>
        </pc:spChg>
        <pc:spChg chg="mod ord">
          <ac:chgData name="Wenwen Zhang" userId="9dd81366-5d6f-445a-b031-6ea562624431" providerId="ADAL" clId="{9BAEB022-0045-48BE-B319-92B55C6088ED}" dt="2023-03-06T21:06:00.353" v="1626"/>
          <ac:spMkLst>
            <pc:docMk/>
            <pc:sldMk cId="229238195" sldId="2134804379"/>
            <ac:spMk id="43" creationId="{C58C7321-3BF7-61DC-5B1A-AD075E56AE05}"/>
          </ac:spMkLst>
        </pc:spChg>
        <pc:spChg chg="mod">
          <ac:chgData name="Wenwen Zhang" userId="9dd81366-5d6f-445a-b031-6ea562624431" providerId="ADAL" clId="{9BAEB022-0045-48BE-B319-92B55C6088ED}" dt="2023-03-06T21:06:00.362" v="1643"/>
          <ac:spMkLst>
            <pc:docMk/>
            <pc:sldMk cId="229238195" sldId="2134804379"/>
            <ac:spMk id="45" creationId="{0ABD2072-E852-E887-9816-6E05A1B50D27}"/>
          </ac:spMkLst>
        </pc:spChg>
        <pc:spChg chg="mod">
          <ac:chgData name="Wenwen Zhang" userId="9dd81366-5d6f-445a-b031-6ea562624431" providerId="ADAL" clId="{9BAEB022-0045-48BE-B319-92B55C6088ED}" dt="2023-03-06T21:06:00.369" v="1654"/>
          <ac:spMkLst>
            <pc:docMk/>
            <pc:sldMk cId="229238195" sldId="2134804379"/>
            <ac:spMk id="54" creationId="{707B4D60-51C7-0AF0-04C6-BAD0C1E8E91E}"/>
          </ac:spMkLst>
        </pc:spChg>
        <pc:spChg chg="mod">
          <ac:chgData name="Wenwen Zhang" userId="9dd81366-5d6f-445a-b031-6ea562624431" providerId="ADAL" clId="{9BAEB022-0045-48BE-B319-92B55C6088ED}" dt="2023-03-06T21:06:00.368" v="1651"/>
          <ac:spMkLst>
            <pc:docMk/>
            <pc:sldMk cId="229238195" sldId="2134804379"/>
            <ac:spMk id="56" creationId="{EB96B161-D8D5-E0FC-78BC-A904E9A4C9C2}"/>
          </ac:spMkLst>
        </pc:spChg>
        <pc:spChg chg="mod">
          <ac:chgData name="Wenwen Zhang" userId="9dd81366-5d6f-445a-b031-6ea562624431" providerId="ADAL" clId="{9BAEB022-0045-48BE-B319-92B55C6088ED}" dt="2023-03-06T21:06:00.368" v="1652"/>
          <ac:spMkLst>
            <pc:docMk/>
            <pc:sldMk cId="229238195" sldId="2134804379"/>
            <ac:spMk id="61" creationId="{501D4586-E55F-01BF-5AAE-601C31CAB984}"/>
          </ac:spMkLst>
        </pc:spChg>
        <pc:spChg chg="mod">
          <ac:chgData name="Wenwen Zhang" userId="9dd81366-5d6f-445a-b031-6ea562624431" providerId="ADAL" clId="{9BAEB022-0045-48BE-B319-92B55C6088ED}" dt="2023-03-06T21:06:00.366" v="1649"/>
          <ac:spMkLst>
            <pc:docMk/>
            <pc:sldMk cId="229238195" sldId="2134804379"/>
            <ac:spMk id="64" creationId="{6C13068D-0191-ABA0-2CDE-297D6EE1F0E4}"/>
          </ac:spMkLst>
        </pc:spChg>
        <pc:spChg chg="mod">
          <ac:chgData name="Wenwen Zhang" userId="9dd81366-5d6f-445a-b031-6ea562624431" providerId="ADAL" clId="{9BAEB022-0045-48BE-B319-92B55C6088ED}" dt="2023-03-06T21:06:00.367" v="1650"/>
          <ac:spMkLst>
            <pc:docMk/>
            <pc:sldMk cId="229238195" sldId="2134804379"/>
            <ac:spMk id="65" creationId="{38354BFB-BCCB-274E-4B35-BF146ED75CCA}"/>
          </ac:spMkLst>
        </pc:spChg>
        <pc:spChg chg="mod">
          <ac:chgData name="Wenwen Zhang" userId="9dd81366-5d6f-445a-b031-6ea562624431" providerId="ADAL" clId="{9BAEB022-0045-48BE-B319-92B55C6088ED}" dt="2023-03-06T21:06:00.369" v="1653"/>
          <ac:spMkLst>
            <pc:docMk/>
            <pc:sldMk cId="229238195" sldId="2134804379"/>
            <ac:spMk id="66" creationId="{78160A0E-E066-F3A0-5A8A-BCBA9B0855C5}"/>
          </ac:spMkLst>
        </pc:spChg>
        <pc:spChg chg="mod">
          <ac:chgData name="Wenwen Zhang" userId="9dd81366-5d6f-445a-b031-6ea562624431" providerId="ADAL" clId="{9BAEB022-0045-48BE-B319-92B55C6088ED}" dt="2023-03-06T21:06:00.365" v="1648"/>
          <ac:spMkLst>
            <pc:docMk/>
            <pc:sldMk cId="229238195" sldId="2134804379"/>
            <ac:spMk id="67" creationId="{8ED46171-FE10-7EDD-D77A-B5821F51D4C2}"/>
          </ac:spMkLst>
        </pc:spChg>
        <pc:spChg chg="mod">
          <ac:chgData name="Wenwen Zhang" userId="9dd81366-5d6f-445a-b031-6ea562624431" providerId="ADAL" clId="{9BAEB022-0045-48BE-B319-92B55C6088ED}" dt="2023-03-06T21:06:00.370" v="1655"/>
          <ac:spMkLst>
            <pc:docMk/>
            <pc:sldMk cId="229238195" sldId="2134804379"/>
            <ac:spMk id="68" creationId="{BDCBAD0F-6B29-3D00-24DE-2719E3E5644F}"/>
          </ac:spMkLst>
        </pc:spChg>
        <pc:spChg chg="mod">
          <ac:chgData name="Wenwen Zhang" userId="9dd81366-5d6f-445a-b031-6ea562624431" providerId="ADAL" clId="{9BAEB022-0045-48BE-B319-92B55C6088ED}" dt="2023-03-06T21:06:00.371" v="1656"/>
          <ac:spMkLst>
            <pc:docMk/>
            <pc:sldMk cId="229238195" sldId="2134804379"/>
            <ac:spMk id="69" creationId="{600DC356-2B08-37E2-00A7-0D71E622B682}"/>
          </ac:spMkLst>
        </pc:spChg>
        <pc:spChg chg="mod">
          <ac:chgData name="Wenwen Zhang" userId="9dd81366-5d6f-445a-b031-6ea562624431" providerId="ADAL" clId="{9BAEB022-0045-48BE-B319-92B55C6088ED}" dt="2023-03-06T21:06:00.371" v="1657"/>
          <ac:spMkLst>
            <pc:docMk/>
            <pc:sldMk cId="229238195" sldId="2134804379"/>
            <ac:spMk id="89" creationId="{C2E540BC-E123-D25A-87EC-7358306395BA}"/>
          </ac:spMkLst>
        </pc:spChg>
        <pc:spChg chg="mod ord">
          <ac:chgData name="Wenwen Zhang" userId="9dd81366-5d6f-445a-b031-6ea562624431" providerId="ADAL" clId="{9BAEB022-0045-48BE-B319-92B55C6088ED}" dt="2023-03-06T21:06:00.372" v="1659"/>
          <ac:spMkLst>
            <pc:docMk/>
            <pc:sldMk cId="229238195" sldId="2134804379"/>
            <ac:spMk id="91" creationId="{07FBEAE2-A474-C915-6F53-92F013B61173}"/>
          </ac:spMkLst>
        </pc:spChg>
        <pc:spChg chg="mod ord">
          <ac:chgData name="Wenwen Zhang" userId="9dd81366-5d6f-445a-b031-6ea562624431" providerId="ADAL" clId="{9BAEB022-0045-48BE-B319-92B55C6088ED}" dt="2023-03-06T21:06:00.373" v="1661"/>
          <ac:spMkLst>
            <pc:docMk/>
            <pc:sldMk cId="229238195" sldId="2134804379"/>
            <ac:spMk id="92" creationId="{1611B45B-1A54-E7E2-0293-2779D6A87517}"/>
          </ac:spMkLst>
        </pc:spChg>
        <pc:spChg chg="mod ord">
          <ac:chgData name="Wenwen Zhang" userId="9dd81366-5d6f-445a-b031-6ea562624431" providerId="ADAL" clId="{9BAEB022-0045-48BE-B319-92B55C6088ED}" dt="2023-03-06T21:06:00.374" v="1663"/>
          <ac:spMkLst>
            <pc:docMk/>
            <pc:sldMk cId="229238195" sldId="2134804379"/>
            <ac:spMk id="93" creationId="{DBE9A994-0836-B1C7-B036-FF1011C16D59}"/>
          </ac:spMkLst>
        </pc:spChg>
        <pc:spChg chg="mod ord">
          <ac:chgData name="Wenwen Zhang" userId="9dd81366-5d6f-445a-b031-6ea562624431" providerId="ADAL" clId="{9BAEB022-0045-48BE-B319-92B55C6088ED}" dt="2023-03-06T21:06:00.375" v="1665"/>
          <ac:spMkLst>
            <pc:docMk/>
            <pc:sldMk cId="229238195" sldId="2134804379"/>
            <ac:spMk id="94" creationId="{E8945E1F-98D9-C804-3D5B-273F67C4B32A}"/>
          </ac:spMkLst>
        </pc:spChg>
        <pc:spChg chg="mod">
          <ac:chgData name="Wenwen Zhang" userId="9dd81366-5d6f-445a-b031-6ea562624431" providerId="ADAL" clId="{9BAEB022-0045-48BE-B319-92B55C6088ED}" dt="2023-03-06T21:06:00.376" v="1666"/>
          <ac:spMkLst>
            <pc:docMk/>
            <pc:sldMk cId="229238195" sldId="2134804379"/>
            <ac:spMk id="95" creationId="{DE197F1D-0369-B38A-203B-A60FE9FEA215}"/>
          </ac:spMkLst>
        </pc:spChg>
        <pc:spChg chg="mod">
          <ac:chgData name="Wenwen Zhang" userId="9dd81366-5d6f-445a-b031-6ea562624431" providerId="ADAL" clId="{9BAEB022-0045-48BE-B319-92B55C6088ED}" dt="2023-03-06T21:06:00.376" v="1667"/>
          <ac:spMkLst>
            <pc:docMk/>
            <pc:sldMk cId="229238195" sldId="2134804379"/>
            <ac:spMk id="96" creationId="{57779CD8-5012-A3AC-9B51-F6498D5F813F}"/>
          </ac:spMkLst>
        </pc:spChg>
        <pc:spChg chg="mod ord">
          <ac:chgData name="Wenwen Zhang" userId="9dd81366-5d6f-445a-b031-6ea562624431" providerId="ADAL" clId="{9BAEB022-0045-48BE-B319-92B55C6088ED}" dt="2023-03-06T21:06:00.378" v="1669"/>
          <ac:spMkLst>
            <pc:docMk/>
            <pc:sldMk cId="229238195" sldId="2134804379"/>
            <ac:spMk id="104" creationId="{863F4845-5A80-8922-6F8D-CC5A636B3C7F}"/>
          </ac:spMkLst>
        </pc:spChg>
        <pc:spChg chg="del">
          <ac:chgData name="Wenwen Zhang" userId="9dd81366-5d6f-445a-b031-6ea562624431" providerId="ADAL" clId="{9BAEB022-0045-48BE-B319-92B55C6088ED}" dt="2023-03-06T21:04:42.822" v="1075" actId="478"/>
          <ac:spMkLst>
            <pc:docMk/>
            <pc:sldMk cId="229238195" sldId="2134804379"/>
            <ac:spMk id="181" creationId="{7CDC462B-DC01-E701-64AE-27E4845FB608}"/>
          </ac:spMkLst>
        </pc:spChg>
        <pc:graphicFrameChg chg="add mod ord replST">
          <ac:chgData name="Wenwen Zhang" userId="9dd81366-5d6f-445a-b031-6ea562624431" providerId="ADAL" clId="{9BAEB022-0045-48BE-B319-92B55C6088ED}" dt="2023-03-06T21:06:00.354" v="1628"/>
          <ac:graphicFrameMkLst>
            <pc:docMk/>
            <pc:sldMk cId="229238195" sldId="2134804379"/>
            <ac:graphicFrameMk id="4" creationId="{0D4B4D3C-A196-D6BF-B2AA-2A451BAEF372}"/>
          </ac:graphicFrameMkLst>
        </pc:graphicFrameChg>
        <pc:graphicFrameChg chg="mod">
          <ac:chgData name="Wenwen Zhang" userId="9dd81366-5d6f-445a-b031-6ea562624431" providerId="ADAL" clId="{9BAEB022-0045-48BE-B319-92B55C6088ED}" dt="2023-03-06T21:06:00.394" v="1675"/>
          <ac:graphicFrameMkLst>
            <pc:docMk/>
            <pc:sldMk cId="229238195" sldId="2134804379"/>
            <ac:graphicFrameMk id="28" creationId="{015DFAEE-F78A-C272-92CE-F25C3417CAD0}"/>
          </ac:graphicFrameMkLst>
        </pc:graphicFrameChg>
        <pc:graphicFrameChg chg="del">
          <ac:chgData name="Wenwen Zhang" userId="9dd81366-5d6f-445a-b031-6ea562624431" providerId="ADAL" clId="{9BAEB022-0045-48BE-B319-92B55C6088ED}" dt="2023-03-06T21:06:00.273" v="1594"/>
          <ac:graphicFrameMkLst>
            <pc:docMk/>
            <pc:sldMk cId="229238195" sldId="2134804379"/>
            <ac:graphicFrameMk id="106" creationId="{935B6E83-3FE4-1776-1C19-AB33AD02D761}"/>
          </ac:graphicFrameMkLst>
        </pc:graphicFrameChg>
        <pc:cxnChg chg="mod ord">
          <ac:chgData name="Wenwen Zhang" userId="9dd81366-5d6f-445a-b031-6ea562624431" providerId="ADAL" clId="{9BAEB022-0045-48BE-B319-92B55C6088ED}" dt="2023-03-06T21:06:00.357" v="1634"/>
          <ac:cxnSpMkLst>
            <pc:docMk/>
            <pc:sldMk cId="229238195" sldId="2134804379"/>
            <ac:cxnSpMk id="25" creationId="{3EFD6AED-9797-29AD-D16A-59B6AE1A2A92}"/>
          </ac:cxnSpMkLst>
        </pc:cxnChg>
        <pc:cxnChg chg="mod ord">
          <ac:chgData name="Wenwen Zhang" userId="9dd81366-5d6f-445a-b031-6ea562624431" providerId="ADAL" clId="{9BAEB022-0045-48BE-B319-92B55C6088ED}" dt="2023-03-06T21:06:00.356" v="1632"/>
          <ac:cxnSpMkLst>
            <pc:docMk/>
            <pc:sldMk cId="229238195" sldId="2134804379"/>
            <ac:cxnSpMk id="26" creationId="{0D25D1F4-D54F-A499-C9AC-608C2AB6656E}"/>
          </ac:cxnSpMkLst>
        </pc:cxnChg>
        <pc:cxnChg chg="mod ord">
          <ac:chgData name="Wenwen Zhang" userId="9dd81366-5d6f-445a-b031-6ea562624431" providerId="ADAL" clId="{9BAEB022-0045-48BE-B319-92B55C6088ED}" dt="2023-03-06T21:06:00.355" v="1630"/>
          <ac:cxnSpMkLst>
            <pc:docMk/>
            <pc:sldMk cId="229238195" sldId="2134804379"/>
            <ac:cxnSpMk id="31" creationId="{749D6DA3-3DED-E986-45A3-9AF9C4E5A74A}"/>
          </ac:cxnSpMkLst>
        </pc:cxnChg>
        <pc:cxnChg chg="mod ord">
          <ac:chgData name="Wenwen Zhang" userId="9dd81366-5d6f-445a-b031-6ea562624431" providerId="ADAL" clId="{9BAEB022-0045-48BE-B319-92B55C6088ED}" dt="2023-03-06T21:06:00.358" v="1636"/>
          <ac:cxnSpMkLst>
            <pc:docMk/>
            <pc:sldMk cId="229238195" sldId="2134804379"/>
            <ac:cxnSpMk id="34" creationId="{0398ED31-7E67-5895-3CDA-D88F43A18BDF}"/>
          </ac:cxnSpMkLst>
        </pc:cxnChg>
        <pc:cxnChg chg="mod ord">
          <ac:chgData name="Wenwen Zhang" userId="9dd81366-5d6f-445a-b031-6ea562624431" providerId="ADAL" clId="{9BAEB022-0045-48BE-B319-92B55C6088ED}" dt="2023-03-06T21:06:00.359" v="1638"/>
          <ac:cxnSpMkLst>
            <pc:docMk/>
            <pc:sldMk cId="229238195" sldId="2134804379"/>
            <ac:cxnSpMk id="39" creationId="{3CB0C1EF-4CEC-8D55-BAC7-7198C2DC42FA}"/>
          </ac:cxnSpMkLst>
        </pc:cxnChg>
        <pc:cxnChg chg="mod ord">
          <ac:chgData name="Wenwen Zhang" userId="9dd81366-5d6f-445a-b031-6ea562624431" providerId="ADAL" clId="{9BAEB022-0045-48BE-B319-92B55C6088ED}" dt="2023-03-06T21:06:00.360" v="1640"/>
          <ac:cxnSpMkLst>
            <pc:docMk/>
            <pc:sldMk cId="229238195" sldId="2134804379"/>
            <ac:cxnSpMk id="42" creationId="{3167218B-1460-7671-72D1-2C793F72B29F}"/>
          </ac:cxnSpMkLst>
        </pc:cxnChg>
        <pc:cxnChg chg="mod ord">
          <ac:chgData name="Wenwen Zhang" userId="9dd81366-5d6f-445a-b031-6ea562624431" providerId="ADAL" clId="{9BAEB022-0045-48BE-B319-92B55C6088ED}" dt="2023-03-06T21:06:00.362" v="1642"/>
          <ac:cxnSpMkLst>
            <pc:docMk/>
            <pc:sldMk cId="229238195" sldId="2134804379"/>
            <ac:cxnSpMk id="46" creationId="{7A09C8AC-EB4F-A6AF-3010-8D5068026D99}"/>
          </ac:cxnSpMkLst>
        </pc:cxnChg>
        <pc:cxnChg chg="mod ord">
          <ac:chgData name="Wenwen Zhang" userId="9dd81366-5d6f-445a-b031-6ea562624431" providerId="ADAL" clId="{9BAEB022-0045-48BE-B319-92B55C6088ED}" dt="2023-03-06T21:06:00.363" v="1645"/>
          <ac:cxnSpMkLst>
            <pc:docMk/>
            <pc:sldMk cId="229238195" sldId="2134804379"/>
            <ac:cxnSpMk id="49" creationId="{5C8BD742-EA78-1EF1-EA4D-856393FDC817}"/>
          </ac:cxnSpMkLst>
        </pc:cxnChg>
        <pc:cxnChg chg="mod ord">
          <ac:chgData name="Wenwen Zhang" userId="9dd81366-5d6f-445a-b031-6ea562624431" providerId="ADAL" clId="{9BAEB022-0045-48BE-B319-92B55C6088ED}" dt="2023-03-06T21:06:00.365" v="1647"/>
          <ac:cxnSpMkLst>
            <pc:docMk/>
            <pc:sldMk cId="229238195" sldId="2134804379"/>
            <ac:cxnSpMk id="51" creationId="{C58AB0B0-7434-B756-DD82-E1EDB0CA6B2E}"/>
          </ac:cxnSpMkLst>
        </pc:cxnChg>
      </pc:sldChg>
      <pc:sldChg chg="add ord">
        <pc:chgData name="Wenwen Zhang" userId="9dd81366-5d6f-445a-b031-6ea562624431" providerId="ADAL" clId="{9BAEB022-0045-48BE-B319-92B55C6088ED}" dt="2023-03-06T22:40:46.820" v="1896"/>
        <pc:sldMkLst>
          <pc:docMk/>
          <pc:sldMk cId="455276524" sldId="2134804380"/>
        </pc:sldMkLst>
      </pc:sldChg>
      <pc:sldChg chg="del">
        <pc:chgData name="Wenwen Zhang" userId="9dd81366-5d6f-445a-b031-6ea562624431" providerId="ADAL" clId="{9BAEB022-0045-48BE-B319-92B55C6088ED}" dt="2023-03-06T21:17:21.535" v="1705" actId="47"/>
        <pc:sldMkLst>
          <pc:docMk/>
          <pc:sldMk cId="3620572039" sldId="2134804380"/>
        </pc:sldMkLst>
      </pc:sldChg>
      <pc:sldChg chg="addSp delSp modSp add mod">
        <pc:chgData name="Wenwen Zhang" userId="9dd81366-5d6f-445a-b031-6ea562624431" providerId="ADAL" clId="{9BAEB022-0045-48BE-B319-92B55C6088ED}" dt="2023-03-06T22:34:12.533" v="1892" actId="1076"/>
        <pc:sldMkLst>
          <pc:docMk/>
          <pc:sldMk cId="1499735398" sldId="2134804381"/>
        </pc:sldMkLst>
        <pc:picChg chg="add mod">
          <ac:chgData name="Wenwen Zhang" userId="9dd81366-5d6f-445a-b031-6ea562624431" providerId="ADAL" clId="{9BAEB022-0045-48BE-B319-92B55C6088ED}" dt="2023-03-06T22:34:12.533" v="1892" actId="1076"/>
          <ac:picMkLst>
            <pc:docMk/>
            <pc:sldMk cId="1499735398" sldId="2134804381"/>
            <ac:picMk id="3" creationId="{EDB93C58-4F7C-B4BF-8ECC-9EE8325DFA6C}"/>
          </ac:picMkLst>
        </pc:picChg>
        <pc:picChg chg="del mod">
          <ac:chgData name="Wenwen Zhang" userId="9dd81366-5d6f-445a-b031-6ea562624431" providerId="ADAL" clId="{9BAEB022-0045-48BE-B319-92B55C6088ED}" dt="2023-03-06T22:34:08.328" v="1889" actId="478"/>
          <ac:picMkLst>
            <pc:docMk/>
            <pc:sldMk cId="1499735398" sldId="2134804381"/>
            <ac:picMk id="8" creationId="{7D24BF48-4DDA-C401-155B-FE2355B57AE1}"/>
          </ac:picMkLst>
        </pc:picChg>
      </pc:sldChg>
    </pc:docChg>
  </pc:docChgLst>
  <pc:docChgLst>
    <pc:chgData name="Wenwen Zhang" userId="9dd81366-5d6f-445a-b031-6ea562624431" providerId="ADAL" clId="{1012AE1A-29B0-4E90-8835-842C30BC7D2A}"/>
    <pc:docChg chg="undo redo custSel addSld delSld modSld sldOrd modSection replTag">
      <pc:chgData name="Wenwen Zhang" userId="9dd81366-5d6f-445a-b031-6ea562624431" providerId="ADAL" clId="{1012AE1A-29B0-4E90-8835-842C30BC7D2A}" dt="2023-01-05T15:35:48.700" v="94124" actId="6549"/>
      <pc:docMkLst>
        <pc:docMk/>
      </pc:docMkLst>
      <pc:sldChg chg="del">
        <pc:chgData name="Wenwen Zhang" userId="9dd81366-5d6f-445a-b031-6ea562624431" providerId="ADAL" clId="{1012AE1A-29B0-4E90-8835-842C30BC7D2A}" dt="2023-01-05T13:43:38.769" v="92250" actId="2696"/>
        <pc:sldMkLst>
          <pc:docMk/>
          <pc:sldMk cId="1688420569" sldId="259"/>
        </pc:sldMkLst>
      </pc:sldChg>
      <pc:sldChg chg="modNotesTx">
        <pc:chgData name="Wenwen Zhang" userId="9dd81366-5d6f-445a-b031-6ea562624431" providerId="ADAL" clId="{1012AE1A-29B0-4E90-8835-842C30BC7D2A}" dt="2023-01-05T10:29:19.709" v="85113" actId="20577"/>
        <pc:sldMkLst>
          <pc:docMk/>
          <pc:sldMk cId="1134228916" sldId="285"/>
        </pc:sldMkLst>
      </pc:sldChg>
      <pc:sldChg chg="modSp mod">
        <pc:chgData name="Wenwen Zhang" userId="9dd81366-5d6f-445a-b031-6ea562624431" providerId="ADAL" clId="{1012AE1A-29B0-4E90-8835-842C30BC7D2A}" dt="2023-01-05T15:02:42.157" v="94121" actId="20577"/>
        <pc:sldMkLst>
          <pc:docMk/>
          <pc:sldMk cId="1412010782" sldId="289"/>
        </pc:sldMkLst>
        <pc:spChg chg="mod">
          <ac:chgData name="Wenwen Zhang" userId="9dd81366-5d6f-445a-b031-6ea562624431" providerId="ADAL" clId="{1012AE1A-29B0-4E90-8835-842C30BC7D2A}" dt="2023-01-05T15:02:42.157" v="94121" actId="20577"/>
          <ac:spMkLst>
            <pc:docMk/>
            <pc:sldMk cId="1412010782" sldId="289"/>
            <ac:spMk id="2" creationId="{4651C5D7-EBA3-2D90-C751-2E83C27B5CBA}"/>
          </ac:spMkLst>
        </pc:spChg>
        <pc:spChg chg="mod">
          <ac:chgData name="Wenwen Zhang" userId="9dd81366-5d6f-445a-b031-6ea562624431" providerId="ADAL" clId="{1012AE1A-29B0-4E90-8835-842C30BC7D2A}" dt="2023-01-05T13:43:30.300" v="92249" actId="6549"/>
          <ac:spMkLst>
            <pc:docMk/>
            <pc:sldMk cId="1412010782" sldId="289"/>
            <ac:spMk id="7" creationId="{42CC6F60-7061-52F2-AADD-A44A534602DF}"/>
          </ac:spMkLst>
        </pc:spChg>
      </pc:sldChg>
      <pc:sldChg chg="addSp delSp modSp mod ord modNotesTx">
        <pc:chgData name="Wenwen Zhang" userId="9dd81366-5d6f-445a-b031-6ea562624431" providerId="ADAL" clId="{1012AE1A-29B0-4E90-8835-842C30BC7D2A}" dt="2023-01-05T01:19:40.883" v="84818" actId="6549"/>
        <pc:sldMkLst>
          <pc:docMk/>
          <pc:sldMk cId="95124222" sldId="326"/>
        </pc:sldMkLst>
        <pc:spChg chg="mod ord">
          <ac:chgData name="Wenwen Zhang" userId="9dd81366-5d6f-445a-b031-6ea562624431" providerId="ADAL" clId="{1012AE1A-29B0-4E90-8835-842C30BC7D2A}" dt="2023-01-04T12:20:03.862" v="20660"/>
          <ac:spMkLst>
            <pc:docMk/>
            <pc:sldMk cId="95124222" sldId="326"/>
            <ac:spMk id="2" creationId="{6A15B527-DF64-B80B-421E-C9A6463D1F44}"/>
          </ac:spMkLst>
        </pc:spChg>
        <pc:spChg chg="add del mod">
          <ac:chgData name="Wenwen Zhang" userId="9dd81366-5d6f-445a-b031-6ea562624431" providerId="ADAL" clId="{1012AE1A-29B0-4E90-8835-842C30BC7D2A}" dt="2023-01-04T12:19:43.849" v="20638" actId="478"/>
          <ac:spMkLst>
            <pc:docMk/>
            <pc:sldMk cId="95124222" sldId="326"/>
            <ac:spMk id="5" creationId="{57700187-E09E-64B6-4D0A-B280258E2E41}"/>
          </ac:spMkLst>
        </pc:spChg>
        <pc:spChg chg="add del mod">
          <ac:chgData name="Wenwen Zhang" userId="9dd81366-5d6f-445a-b031-6ea562624431" providerId="ADAL" clId="{1012AE1A-29B0-4E90-8835-842C30BC7D2A}" dt="2023-01-04T12:19:43.849" v="20638" actId="478"/>
          <ac:spMkLst>
            <pc:docMk/>
            <pc:sldMk cId="95124222" sldId="326"/>
            <ac:spMk id="7" creationId="{884F0948-93BD-34DC-AC5F-A14E4320B472}"/>
          </ac:spMkLst>
        </pc:spChg>
        <pc:spChg chg="add del mod">
          <ac:chgData name="Wenwen Zhang" userId="9dd81366-5d6f-445a-b031-6ea562624431" providerId="ADAL" clId="{1012AE1A-29B0-4E90-8835-842C30BC7D2A}" dt="2023-01-04T12:19:43.849" v="20638" actId="478"/>
          <ac:spMkLst>
            <pc:docMk/>
            <pc:sldMk cId="95124222" sldId="326"/>
            <ac:spMk id="9" creationId="{35530B29-B80D-2B83-CE31-614519386CD7}"/>
          </ac:spMkLst>
        </pc:spChg>
        <pc:spChg chg="add del mod">
          <ac:chgData name="Wenwen Zhang" userId="9dd81366-5d6f-445a-b031-6ea562624431" providerId="ADAL" clId="{1012AE1A-29B0-4E90-8835-842C30BC7D2A}" dt="2023-01-04T12:19:43.849" v="20638" actId="478"/>
          <ac:spMkLst>
            <pc:docMk/>
            <pc:sldMk cId="95124222" sldId="326"/>
            <ac:spMk id="11" creationId="{7E6E5225-A6DE-FD3B-9014-2520EC716ED6}"/>
          </ac:spMkLst>
        </pc:spChg>
        <pc:spChg chg="add del mod">
          <ac:chgData name="Wenwen Zhang" userId="9dd81366-5d6f-445a-b031-6ea562624431" providerId="ADAL" clId="{1012AE1A-29B0-4E90-8835-842C30BC7D2A}" dt="2023-01-04T12:19:43.849" v="20638" actId="478"/>
          <ac:spMkLst>
            <pc:docMk/>
            <pc:sldMk cId="95124222" sldId="326"/>
            <ac:spMk id="13" creationId="{1D864CA3-75E1-7DE7-1B86-C9F0A5F34316}"/>
          </ac:spMkLst>
        </pc:spChg>
        <pc:spChg chg="mod ord">
          <ac:chgData name="Wenwen Zhang" userId="9dd81366-5d6f-445a-b031-6ea562624431" providerId="ADAL" clId="{1012AE1A-29B0-4E90-8835-842C30BC7D2A}" dt="2023-01-04T12:20:15.960" v="20670" actId="1076"/>
          <ac:spMkLst>
            <pc:docMk/>
            <pc:sldMk cId="95124222" sldId="326"/>
            <ac:spMk id="24" creationId="{E78D2A77-9AAF-BD13-DB49-60CFDD94CA71}"/>
          </ac:spMkLst>
        </pc:spChg>
        <pc:spChg chg="mod ord">
          <ac:chgData name="Wenwen Zhang" userId="9dd81366-5d6f-445a-b031-6ea562624431" providerId="ADAL" clId="{1012AE1A-29B0-4E90-8835-842C30BC7D2A}" dt="2023-01-04T12:49:44.271" v="23141" actId="20577"/>
          <ac:spMkLst>
            <pc:docMk/>
            <pc:sldMk cId="95124222" sldId="326"/>
            <ac:spMk id="32" creationId="{72265772-1579-7BE0-41E3-501213E083D7}"/>
          </ac:spMkLst>
        </pc:spChg>
        <pc:spChg chg="mod ord">
          <ac:chgData name="Wenwen Zhang" userId="9dd81366-5d6f-445a-b031-6ea562624431" providerId="ADAL" clId="{1012AE1A-29B0-4E90-8835-842C30BC7D2A}" dt="2023-01-04T12:20:22.515" v="20671" actId="1076"/>
          <ac:spMkLst>
            <pc:docMk/>
            <pc:sldMk cId="95124222" sldId="326"/>
            <ac:spMk id="36" creationId="{F55868CD-D0D8-FB04-3717-1FF148201707}"/>
          </ac:spMkLst>
        </pc:spChg>
        <pc:spChg chg="mod ord">
          <ac:chgData name="Wenwen Zhang" userId="9dd81366-5d6f-445a-b031-6ea562624431" providerId="ADAL" clId="{1012AE1A-29B0-4E90-8835-842C30BC7D2A}" dt="2023-01-04T12:20:13.481" v="20669" actId="1076"/>
          <ac:spMkLst>
            <pc:docMk/>
            <pc:sldMk cId="95124222" sldId="326"/>
            <ac:spMk id="37" creationId="{04948244-AE20-07D3-7B68-9E3511F96494}"/>
          </ac:spMkLst>
        </pc:spChg>
        <pc:spChg chg="mod ord">
          <ac:chgData name="Wenwen Zhang" userId="9dd81366-5d6f-445a-b031-6ea562624431" providerId="ADAL" clId="{1012AE1A-29B0-4E90-8835-842C30BC7D2A}" dt="2023-01-05T01:19:40.883" v="84818" actId="6549"/>
          <ac:spMkLst>
            <pc:docMk/>
            <pc:sldMk cId="95124222" sldId="326"/>
            <ac:spMk id="38" creationId="{9AA87FE2-26FF-55F3-D2DF-AD7FF5DB9D6D}"/>
          </ac:spMkLst>
        </pc:spChg>
        <pc:graphicFrameChg chg="mod">
          <ac:chgData name="Wenwen Zhang" userId="9dd81366-5d6f-445a-b031-6ea562624431" providerId="ADAL" clId="{1012AE1A-29B0-4E90-8835-842C30BC7D2A}" dt="2023-01-04T12:20:03.864" v="20668"/>
          <ac:graphicFrameMkLst>
            <pc:docMk/>
            <pc:sldMk cId="95124222" sldId="326"/>
            <ac:graphicFrameMk id="4" creationId="{485A9725-724D-191E-3C79-D50A2378CEDC}"/>
          </ac:graphicFrameMkLst>
        </pc:graphicFrameChg>
        <pc:graphicFrameChg chg="del">
          <ac:chgData name="Wenwen Zhang" userId="9dd81366-5d6f-445a-b031-6ea562624431" providerId="ADAL" clId="{1012AE1A-29B0-4E90-8835-842C30BC7D2A}" dt="2023-01-04T12:19:39.458" v="20637" actId="478"/>
          <ac:graphicFrameMkLst>
            <pc:docMk/>
            <pc:sldMk cId="95124222" sldId="326"/>
            <ac:graphicFrameMk id="14" creationId="{58E8D189-6C71-96BE-67D5-F51C07249748}"/>
          </ac:graphicFrameMkLst>
        </pc:graphicFrameChg>
        <pc:graphicFrameChg chg="del">
          <ac:chgData name="Wenwen Zhang" userId="9dd81366-5d6f-445a-b031-6ea562624431" providerId="ADAL" clId="{1012AE1A-29B0-4E90-8835-842C30BC7D2A}" dt="2023-01-04T12:19:39.458" v="20637" actId="478"/>
          <ac:graphicFrameMkLst>
            <pc:docMk/>
            <pc:sldMk cId="95124222" sldId="326"/>
            <ac:graphicFrameMk id="15" creationId="{D28547F9-351C-9150-C555-5215EB417942}"/>
          </ac:graphicFrameMkLst>
        </pc:graphicFrameChg>
        <pc:graphicFrameChg chg="del">
          <ac:chgData name="Wenwen Zhang" userId="9dd81366-5d6f-445a-b031-6ea562624431" providerId="ADAL" clId="{1012AE1A-29B0-4E90-8835-842C30BC7D2A}" dt="2023-01-04T12:19:39.458" v="20637" actId="478"/>
          <ac:graphicFrameMkLst>
            <pc:docMk/>
            <pc:sldMk cId="95124222" sldId="326"/>
            <ac:graphicFrameMk id="16" creationId="{306EBAE8-9906-F2C4-E1B3-D7E2A71837A2}"/>
          </ac:graphicFrameMkLst>
        </pc:graphicFrameChg>
        <pc:graphicFrameChg chg="del">
          <ac:chgData name="Wenwen Zhang" userId="9dd81366-5d6f-445a-b031-6ea562624431" providerId="ADAL" clId="{1012AE1A-29B0-4E90-8835-842C30BC7D2A}" dt="2023-01-04T12:19:39.458" v="20637" actId="478"/>
          <ac:graphicFrameMkLst>
            <pc:docMk/>
            <pc:sldMk cId="95124222" sldId="326"/>
            <ac:graphicFrameMk id="17" creationId="{D3D15CA4-6D7A-9DC0-3D99-68412EECC0A2}"/>
          </ac:graphicFrameMkLst>
        </pc:graphicFrameChg>
        <pc:graphicFrameChg chg="del">
          <ac:chgData name="Wenwen Zhang" userId="9dd81366-5d6f-445a-b031-6ea562624431" providerId="ADAL" clId="{1012AE1A-29B0-4E90-8835-842C30BC7D2A}" dt="2023-01-04T12:19:39.458" v="20637" actId="478"/>
          <ac:graphicFrameMkLst>
            <pc:docMk/>
            <pc:sldMk cId="95124222" sldId="326"/>
            <ac:graphicFrameMk id="18" creationId="{943BF56E-59B3-43BA-85B9-50E3F9E5C83F}"/>
          </ac:graphicFrameMkLst>
        </pc:graphicFrameChg>
        <pc:graphicFrameChg chg="del">
          <ac:chgData name="Wenwen Zhang" userId="9dd81366-5d6f-445a-b031-6ea562624431" providerId="ADAL" clId="{1012AE1A-29B0-4E90-8835-842C30BC7D2A}" dt="2023-01-04T12:19:39.458" v="20637" actId="478"/>
          <ac:graphicFrameMkLst>
            <pc:docMk/>
            <pc:sldMk cId="95124222" sldId="326"/>
            <ac:graphicFrameMk id="19" creationId="{53741631-5B7A-A2F8-DE01-0D0166BF443C}"/>
          </ac:graphicFrameMkLst>
        </pc:graphicFrameChg>
        <pc:graphicFrameChg chg="add mod ord">
          <ac:chgData name="Wenwen Zhang" userId="9dd81366-5d6f-445a-b031-6ea562624431" providerId="ADAL" clId="{1012AE1A-29B0-4E90-8835-842C30BC7D2A}" dt="2023-01-04T12:20:03.860" v="20642"/>
          <ac:graphicFrameMkLst>
            <pc:docMk/>
            <pc:sldMk cId="95124222" sldId="326"/>
            <ac:graphicFrameMk id="20" creationId="{2745D5A6-0111-EC11-975E-7CD5E635D310}"/>
          </ac:graphicFrameMkLst>
        </pc:graphicFrameChg>
        <pc:graphicFrameChg chg="add mod ord">
          <ac:chgData name="Wenwen Zhang" userId="9dd81366-5d6f-445a-b031-6ea562624431" providerId="ADAL" clId="{1012AE1A-29B0-4E90-8835-842C30BC7D2A}" dt="2023-01-04T12:20:03.860" v="20644"/>
          <ac:graphicFrameMkLst>
            <pc:docMk/>
            <pc:sldMk cId="95124222" sldId="326"/>
            <ac:graphicFrameMk id="21" creationId="{A3F197C2-8869-8B37-CD76-B283DE170691}"/>
          </ac:graphicFrameMkLst>
        </pc:graphicFrameChg>
        <pc:graphicFrameChg chg="add mod ord">
          <ac:chgData name="Wenwen Zhang" userId="9dd81366-5d6f-445a-b031-6ea562624431" providerId="ADAL" clId="{1012AE1A-29B0-4E90-8835-842C30BC7D2A}" dt="2023-01-04T12:20:03.861" v="20646"/>
          <ac:graphicFrameMkLst>
            <pc:docMk/>
            <pc:sldMk cId="95124222" sldId="326"/>
            <ac:graphicFrameMk id="22" creationId="{35F718D1-EBCB-EBC9-996B-71AC3D2D8484}"/>
          </ac:graphicFrameMkLst>
        </pc:graphicFrameChg>
        <pc:graphicFrameChg chg="add mod ord">
          <ac:chgData name="Wenwen Zhang" userId="9dd81366-5d6f-445a-b031-6ea562624431" providerId="ADAL" clId="{1012AE1A-29B0-4E90-8835-842C30BC7D2A}" dt="2023-01-04T12:20:03.861" v="20648"/>
          <ac:graphicFrameMkLst>
            <pc:docMk/>
            <pc:sldMk cId="95124222" sldId="326"/>
            <ac:graphicFrameMk id="23" creationId="{E6B87F90-02B8-E5CC-601F-8E4D1C7DD04D}"/>
          </ac:graphicFrameMkLst>
        </pc:graphicFrameChg>
        <pc:graphicFrameChg chg="add mod ord">
          <ac:chgData name="Wenwen Zhang" userId="9dd81366-5d6f-445a-b031-6ea562624431" providerId="ADAL" clId="{1012AE1A-29B0-4E90-8835-842C30BC7D2A}" dt="2023-01-04T12:20:03.861" v="20650"/>
          <ac:graphicFrameMkLst>
            <pc:docMk/>
            <pc:sldMk cId="95124222" sldId="326"/>
            <ac:graphicFrameMk id="25" creationId="{FA27A8E8-439A-B546-8D8C-52D4004FE5E4}"/>
          </ac:graphicFrameMkLst>
        </pc:graphicFrameChg>
        <pc:graphicFrameChg chg="add mod ord">
          <ac:chgData name="Wenwen Zhang" userId="9dd81366-5d6f-445a-b031-6ea562624431" providerId="ADAL" clId="{1012AE1A-29B0-4E90-8835-842C30BC7D2A}" dt="2023-01-04T12:20:03.861" v="20652"/>
          <ac:graphicFrameMkLst>
            <pc:docMk/>
            <pc:sldMk cId="95124222" sldId="326"/>
            <ac:graphicFrameMk id="26" creationId="{26EC784F-167D-88A4-0877-1372CB708A67}"/>
          </ac:graphicFrameMkLst>
        </pc:graphicFrameChg>
      </pc:sldChg>
      <pc:sldChg chg="addSp delSp modSp mod modAnim modNotesTx">
        <pc:chgData name="Wenwen Zhang" userId="9dd81366-5d6f-445a-b031-6ea562624431" providerId="ADAL" clId="{1012AE1A-29B0-4E90-8835-842C30BC7D2A}" dt="2023-01-05T13:47:07.488" v="92254" actId="20577"/>
        <pc:sldMkLst>
          <pc:docMk/>
          <pc:sldMk cId="2884773076" sldId="2134804360"/>
        </pc:sldMkLst>
        <pc:spChg chg="mod">
          <ac:chgData name="Wenwen Zhang" userId="9dd81366-5d6f-445a-b031-6ea562624431" providerId="ADAL" clId="{1012AE1A-29B0-4E90-8835-842C30BC7D2A}" dt="2023-01-04T14:06:59.934" v="23288" actId="207"/>
          <ac:spMkLst>
            <pc:docMk/>
            <pc:sldMk cId="2884773076" sldId="2134804360"/>
            <ac:spMk id="5" creationId="{B1C7F52F-C566-AF5C-07F0-48C6788B0B96}"/>
          </ac:spMkLst>
        </pc:spChg>
        <pc:spChg chg="del">
          <ac:chgData name="Wenwen Zhang" userId="9dd81366-5d6f-445a-b031-6ea562624431" providerId="ADAL" clId="{1012AE1A-29B0-4E90-8835-842C30BC7D2A}" dt="2023-01-04T14:01:05.609" v="23204" actId="478"/>
          <ac:spMkLst>
            <pc:docMk/>
            <pc:sldMk cId="2884773076" sldId="2134804360"/>
            <ac:spMk id="7" creationId="{8890DF3E-BC77-6ED6-424D-CBE88FB93210}"/>
          </ac:spMkLst>
        </pc:spChg>
        <pc:spChg chg="add del mod">
          <ac:chgData name="Wenwen Zhang" userId="9dd81366-5d6f-445a-b031-6ea562624431" providerId="ADAL" clId="{1012AE1A-29B0-4E90-8835-842C30BC7D2A}" dt="2023-01-04T14:12:26.766" v="23297" actId="478"/>
          <ac:spMkLst>
            <pc:docMk/>
            <pc:sldMk cId="2884773076" sldId="2134804360"/>
            <ac:spMk id="13" creationId="{8C11865A-BF45-382B-B425-281CC37BCDDB}"/>
          </ac:spMkLst>
        </pc:spChg>
        <pc:spChg chg="add mod">
          <ac:chgData name="Wenwen Zhang" userId="9dd81366-5d6f-445a-b031-6ea562624431" providerId="ADAL" clId="{1012AE1A-29B0-4E90-8835-842C30BC7D2A}" dt="2023-01-04T15:15:04.295" v="24121" actId="20577"/>
          <ac:spMkLst>
            <pc:docMk/>
            <pc:sldMk cId="2884773076" sldId="2134804360"/>
            <ac:spMk id="19" creationId="{4E502307-998D-CC45-0767-C5405733E328}"/>
          </ac:spMkLst>
        </pc:spChg>
        <pc:grpChg chg="mod ord">
          <ac:chgData name="Wenwen Zhang" userId="9dd81366-5d6f-445a-b031-6ea562624431" providerId="ADAL" clId="{1012AE1A-29B0-4E90-8835-842C30BC7D2A}" dt="2023-01-04T14:05:44.586" v="23269"/>
          <ac:grpSpMkLst>
            <pc:docMk/>
            <pc:sldMk cId="2884773076" sldId="2134804360"/>
            <ac:grpSpMk id="11" creationId="{29671453-A171-DBA9-E86D-1725DD3EF2AC}"/>
          </ac:grpSpMkLst>
        </pc:grpChg>
        <pc:graphicFrameChg chg="mod">
          <ac:chgData name="Wenwen Zhang" userId="9dd81366-5d6f-445a-b031-6ea562624431" providerId="ADAL" clId="{1012AE1A-29B0-4E90-8835-842C30BC7D2A}" dt="2023-01-04T14:05:44.588" v="23273"/>
          <ac:graphicFrameMkLst>
            <pc:docMk/>
            <pc:sldMk cId="2884773076" sldId="2134804360"/>
            <ac:graphicFrameMk id="9" creationId="{9E623100-FD89-1DB8-6F4F-B410DD8D5A15}"/>
          </ac:graphicFrameMkLst>
        </pc:graphicFrameChg>
        <pc:picChg chg="add del mod modCrop">
          <ac:chgData name="Wenwen Zhang" userId="9dd81366-5d6f-445a-b031-6ea562624431" providerId="ADAL" clId="{1012AE1A-29B0-4E90-8835-842C30BC7D2A}" dt="2023-01-04T13:29:06.781" v="23186" actId="478"/>
          <ac:picMkLst>
            <pc:docMk/>
            <pc:sldMk cId="2884773076" sldId="2134804360"/>
            <ac:picMk id="3" creationId="{AF580197-1E03-266D-67ED-87D8F81FC3DA}"/>
          </ac:picMkLst>
        </pc:picChg>
        <pc:picChg chg="add del mod ord modCrop">
          <ac:chgData name="Wenwen Zhang" userId="9dd81366-5d6f-445a-b031-6ea562624431" providerId="ADAL" clId="{1012AE1A-29B0-4E90-8835-842C30BC7D2A}" dt="2023-01-04T14:05:12.791" v="23257" actId="478"/>
          <ac:picMkLst>
            <pc:docMk/>
            <pc:sldMk cId="2884773076" sldId="2134804360"/>
            <ac:picMk id="8" creationId="{B1F85FF1-A700-ACC3-56EB-1E54AA29A570}"/>
          </ac:picMkLst>
        </pc:picChg>
        <pc:picChg chg="add mod ord modCrop">
          <ac:chgData name="Wenwen Zhang" userId="9dd81366-5d6f-445a-b031-6ea562624431" providerId="ADAL" clId="{1012AE1A-29B0-4E90-8835-842C30BC7D2A}" dt="2023-01-04T14:05:44.586" v="23267"/>
          <ac:picMkLst>
            <pc:docMk/>
            <pc:sldMk cId="2884773076" sldId="2134804360"/>
            <ac:picMk id="12" creationId="{214B7397-073E-817E-2579-251A9655CEEB}"/>
          </ac:picMkLst>
        </pc:picChg>
        <pc:picChg chg="add del">
          <ac:chgData name="Wenwen Zhang" userId="9dd81366-5d6f-445a-b031-6ea562624431" providerId="ADAL" clId="{1012AE1A-29B0-4E90-8835-842C30BC7D2A}" dt="2023-01-04T14:13:51.923" v="23306" actId="478"/>
          <ac:picMkLst>
            <pc:docMk/>
            <pc:sldMk cId="2884773076" sldId="2134804360"/>
            <ac:picMk id="18" creationId="{D2DCD3AF-1839-F360-FBA7-B9A33998B538}"/>
          </ac:picMkLst>
        </pc:picChg>
        <pc:picChg chg="del">
          <ac:chgData name="Wenwen Zhang" userId="9dd81366-5d6f-445a-b031-6ea562624431" providerId="ADAL" clId="{1012AE1A-29B0-4E90-8835-842C30BC7D2A}" dt="2023-01-04T13:23:38.553" v="23147" actId="478"/>
          <ac:picMkLst>
            <pc:docMk/>
            <pc:sldMk cId="2884773076" sldId="2134804360"/>
            <ac:picMk id="23" creationId="{6DE7413D-4F6C-7D77-5CD9-F3A5B551E965}"/>
          </ac:picMkLst>
        </pc:picChg>
        <pc:cxnChg chg="add mod">
          <ac:chgData name="Wenwen Zhang" userId="9dd81366-5d6f-445a-b031-6ea562624431" providerId="ADAL" clId="{1012AE1A-29B0-4E90-8835-842C30BC7D2A}" dt="2023-01-04T15:42:33.614" v="25304" actId="14100"/>
          <ac:cxnSpMkLst>
            <pc:docMk/>
            <pc:sldMk cId="2884773076" sldId="2134804360"/>
            <ac:cxnSpMk id="15" creationId="{27CDE051-5074-DF89-0EB9-13DA0EC65EFB}"/>
          </ac:cxnSpMkLst>
        </pc:cxnChg>
      </pc:sldChg>
      <pc:sldChg chg="addSp delSp modSp mod modNotesTx">
        <pc:chgData name="Wenwen Zhang" userId="9dd81366-5d6f-445a-b031-6ea562624431" providerId="ADAL" clId="{1012AE1A-29B0-4E90-8835-842C30BC7D2A}" dt="2023-01-05T13:51:23.864" v="93200"/>
        <pc:sldMkLst>
          <pc:docMk/>
          <pc:sldMk cId="853588367" sldId="2134804361"/>
        </pc:sldMkLst>
        <pc:spChg chg="mod ord">
          <ac:chgData name="Wenwen Zhang" userId="9dd81366-5d6f-445a-b031-6ea562624431" providerId="ADAL" clId="{1012AE1A-29B0-4E90-8835-842C30BC7D2A}" dt="2023-01-05T13:51:23.822" v="93110"/>
          <ac:spMkLst>
            <pc:docMk/>
            <pc:sldMk cId="853588367" sldId="2134804361"/>
            <ac:spMk id="2" creationId="{B065B79C-C4D6-5961-7919-6BB68C420868}"/>
          </ac:spMkLst>
        </pc:spChg>
        <pc:spChg chg="add del mod modVis">
          <ac:chgData name="Wenwen Zhang" userId="9dd81366-5d6f-445a-b031-6ea562624431" providerId="ADAL" clId="{1012AE1A-29B0-4E90-8835-842C30BC7D2A}" dt="2023-01-04T15:16:33.600" v="24754"/>
          <ac:spMkLst>
            <pc:docMk/>
            <pc:sldMk cId="853588367" sldId="2134804361"/>
            <ac:spMk id="3" creationId="{8CF80ACC-B891-7B50-0B50-98F2B8EB2DB7}"/>
          </ac:spMkLst>
        </pc:spChg>
        <pc:spChg chg="add del mod ord">
          <ac:chgData name="Wenwen Zhang" userId="9dd81366-5d6f-445a-b031-6ea562624431" providerId="ADAL" clId="{1012AE1A-29B0-4E90-8835-842C30BC7D2A}" dt="2023-01-04T11:51:59.249" v="11315" actId="478"/>
          <ac:spMkLst>
            <pc:docMk/>
            <pc:sldMk cId="853588367" sldId="2134804361"/>
            <ac:spMk id="3" creationId="{DADE8D47-A591-4C2C-2FF4-A101EB0EEB30}"/>
          </ac:spMkLst>
        </pc:spChg>
        <pc:spChg chg="add del mod ord">
          <ac:chgData name="Wenwen Zhang" userId="9dd81366-5d6f-445a-b031-6ea562624431" providerId="ADAL" clId="{1012AE1A-29B0-4E90-8835-842C30BC7D2A}" dt="2023-01-04T11:51:59.249" v="11315" actId="478"/>
          <ac:spMkLst>
            <pc:docMk/>
            <pc:sldMk cId="853588367" sldId="2134804361"/>
            <ac:spMk id="4" creationId="{6C1AF25C-CBDD-1634-FF83-10B20807FEF7}"/>
          </ac:spMkLst>
        </pc:spChg>
        <pc:spChg chg="add del mod modVis">
          <ac:chgData name="Wenwen Zhang" userId="9dd81366-5d6f-445a-b031-6ea562624431" providerId="ADAL" clId="{1012AE1A-29B0-4E90-8835-842C30BC7D2A}" dt="2023-01-04T15:16:37.387" v="25093"/>
          <ac:spMkLst>
            <pc:docMk/>
            <pc:sldMk cId="853588367" sldId="2134804361"/>
            <ac:spMk id="5" creationId="{1761EFF3-4823-19DC-8C2B-A177F045F492}"/>
          </ac:spMkLst>
        </pc:spChg>
        <pc:spChg chg="add del mod ord">
          <ac:chgData name="Wenwen Zhang" userId="9dd81366-5d6f-445a-b031-6ea562624431" providerId="ADAL" clId="{1012AE1A-29B0-4E90-8835-842C30BC7D2A}" dt="2023-01-04T11:51:59.249" v="11315" actId="478"/>
          <ac:spMkLst>
            <pc:docMk/>
            <pc:sldMk cId="853588367" sldId="2134804361"/>
            <ac:spMk id="5" creationId="{59F39FFD-DC35-B6BE-F5F6-94BAB0AB25B6}"/>
          </ac:spMkLst>
        </pc:spChg>
        <pc:spChg chg="add del mod ord replST">
          <ac:chgData name="Wenwen Zhang" userId="9dd81366-5d6f-445a-b031-6ea562624431" providerId="ADAL" clId="{1012AE1A-29B0-4E90-8835-842C30BC7D2A}" dt="2023-01-04T15:16:40.234" v="25190"/>
          <ac:spMkLst>
            <pc:docMk/>
            <pc:sldMk cId="853588367" sldId="2134804361"/>
            <ac:spMk id="6" creationId="{96DB64E7-7450-5BAA-7DCA-6F75AE12EF02}"/>
          </ac:spMkLst>
        </pc:spChg>
        <pc:spChg chg="add del mod ord">
          <ac:chgData name="Wenwen Zhang" userId="9dd81366-5d6f-445a-b031-6ea562624431" providerId="ADAL" clId="{1012AE1A-29B0-4E90-8835-842C30BC7D2A}" dt="2023-01-04T11:51:59.249" v="11315" actId="478"/>
          <ac:spMkLst>
            <pc:docMk/>
            <pc:sldMk cId="853588367" sldId="2134804361"/>
            <ac:spMk id="7" creationId="{ED6232FB-379F-5213-DEFA-42017CB6DA88}"/>
          </ac:spMkLst>
        </pc:spChg>
        <pc:spChg chg="add del mod ord">
          <ac:chgData name="Wenwen Zhang" userId="9dd81366-5d6f-445a-b031-6ea562624431" providerId="ADAL" clId="{1012AE1A-29B0-4E90-8835-842C30BC7D2A}" dt="2023-01-04T11:51:59.249" v="11315" actId="478"/>
          <ac:spMkLst>
            <pc:docMk/>
            <pc:sldMk cId="853588367" sldId="2134804361"/>
            <ac:spMk id="8" creationId="{F7A18FCD-6836-DA2A-A02D-50FE7074D246}"/>
          </ac:spMkLst>
        </pc:spChg>
        <pc:spChg chg="add del mod ord">
          <ac:chgData name="Wenwen Zhang" userId="9dd81366-5d6f-445a-b031-6ea562624431" providerId="ADAL" clId="{1012AE1A-29B0-4E90-8835-842C30BC7D2A}" dt="2023-01-04T11:51:59.249" v="11315" actId="478"/>
          <ac:spMkLst>
            <pc:docMk/>
            <pc:sldMk cId="853588367" sldId="2134804361"/>
            <ac:spMk id="9" creationId="{B917D31A-3F94-6F3B-6DA1-2D5B5FF2F142}"/>
          </ac:spMkLst>
        </pc:spChg>
        <pc:spChg chg="add del mod modVis">
          <ac:chgData name="Wenwen Zhang" userId="9dd81366-5d6f-445a-b031-6ea562624431" providerId="ADAL" clId="{1012AE1A-29B0-4E90-8835-842C30BC7D2A}" dt="2023-01-04T15:16:40.307" v="25296"/>
          <ac:spMkLst>
            <pc:docMk/>
            <pc:sldMk cId="853588367" sldId="2134804361"/>
            <ac:spMk id="9" creationId="{C0540094-DA13-0DA7-5EC5-5871AF046642}"/>
          </ac:spMkLst>
        </pc:spChg>
        <pc:spChg chg="add del mod modVis">
          <ac:chgData name="Wenwen Zhang" userId="9dd81366-5d6f-445a-b031-6ea562624431" providerId="ADAL" clId="{1012AE1A-29B0-4E90-8835-842C30BC7D2A}" dt="2023-01-04T11:51:46.902" v="9836"/>
          <ac:spMkLst>
            <pc:docMk/>
            <pc:sldMk cId="853588367" sldId="2134804361"/>
            <ac:spMk id="11" creationId="{2FE70545-C82D-EBFE-44A8-5E6A0088BFFD}"/>
          </ac:spMkLst>
        </pc:spChg>
        <pc:spChg chg="add del mod modVis">
          <ac:chgData name="Wenwen Zhang" userId="9dd81366-5d6f-445a-b031-6ea562624431" providerId="ADAL" clId="{1012AE1A-29B0-4E90-8835-842C30BC7D2A}" dt="2023-01-05T13:50:47.801" v="93032"/>
          <ac:spMkLst>
            <pc:docMk/>
            <pc:sldMk cId="853588367" sldId="2134804361"/>
            <ac:spMk id="11" creationId="{6A06AC1D-4E5A-F5C5-1751-8734D4EBF3AC}"/>
          </ac:spMkLst>
        </pc:spChg>
        <pc:spChg chg="add del mod ord">
          <ac:chgData name="Wenwen Zhang" userId="9dd81366-5d6f-445a-b031-6ea562624431" providerId="ADAL" clId="{1012AE1A-29B0-4E90-8835-842C30BC7D2A}" dt="2023-01-04T11:51:46.263" v="9769"/>
          <ac:spMkLst>
            <pc:docMk/>
            <pc:sldMk cId="853588367" sldId="2134804361"/>
            <ac:spMk id="12" creationId="{CCCC168B-5C9A-DCD6-7DE7-CD0DACB4DB10}"/>
          </ac:spMkLst>
        </pc:spChg>
        <pc:spChg chg="add del mod ord">
          <ac:chgData name="Wenwen Zhang" userId="9dd81366-5d6f-445a-b031-6ea562624431" providerId="ADAL" clId="{1012AE1A-29B0-4E90-8835-842C30BC7D2A}" dt="2023-01-04T11:51:46.263" v="9769"/>
          <ac:spMkLst>
            <pc:docMk/>
            <pc:sldMk cId="853588367" sldId="2134804361"/>
            <ac:spMk id="13" creationId="{29B798AE-E243-6C4C-34F1-5F44C87FCCBE}"/>
          </ac:spMkLst>
        </pc:spChg>
        <pc:spChg chg="add del mod modVis">
          <ac:chgData name="Wenwen Zhang" userId="9dd81366-5d6f-445a-b031-6ea562624431" providerId="ADAL" clId="{1012AE1A-29B0-4E90-8835-842C30BC7D2A}" dt="2023-01-05T13:51:23.850" v="93198"/>
          <ac:spMkLst>
            <pc:docMk/>
            <pc:sldMk cId="853588367" sldId="2134804361"/>
            <ac:spMk id="13" creationId="{76551BF2-99C2-66EE-2078-E74F83F028A0}"/>
          </ac:spMkLst>
        </pc:spChg>
        <pc:spChg chg="add del mod ord">
          <ac:chgData name="Wenwen Zhang" userId="9dd81366-5d6f-445a-b031-6ea562624431" providerId="ADAL" clId="{1012AE1A-29B0-4E90-8835-842C30BC7D2A}" dt="2023-01-04T11:51:46.263" v="9769"/>
          <ac:spMkLst>
            <pc:docMk/>
            <pc:sldMk cId="853588367" sldId="2134804361"/>
            <ac:spMk id="15" creationId="{F8DC03FA-94A3-4E39-A871-2F89D37D67EA}"/>
          </ac:spMkLst>
        </pc:spChg>
        <pc:spChg chg="add del mod ord">
          <ac:chgData name="Wenwen Zhang" userId="9dd81366-5d6f-445a-b031-6ea562624431" providerId="ADAL" clId="{1012AE1A-29B0-4E90-8835-842C30BC7D2A}" dt="2023-01-04T11:51:46.263" v="9769"/>
          <ac:spMkLst>
            <pc:docMk/>
            <pc:sldMk cId="853588367" sldId="2134804361"/>
            <ac:spMk id="16" creationId="{1E5FD97A-B1AD-4E99-2C5F-EB0331279380}"/>
          </ac:spMkLst>
        </pc:spChg>
        <pc:spChg chg="add del mod replST">
          <ac:chgData name="Wenwen Zhang" userId="9dd81366-5d6f-445a-b031-6ea562624431" providerId="ADAL" clId="{1012AE1A-29B0-4E90-8835-842C30BC7D2A}" dt="2023-01-04T11:51:46.263" v="9769"/>
          <ac:spMkLst>
            <pc:docMk/>
            <pc:sldMk cId="853588367" sldId="2134804361"/>
            <ac:spMk id="20" creationId="{2A2102D6-F785-42BC-41E3-C04F637F8F75}"/>
          </ac:spMkLst>
        </pc:spChg>
        <pc:spChg chg="add del mod replST">
          <ac:chgData name="Wenwen Zhang" userId="9dd81366-5d6f-445a-b031-6ea562624431" providerId="ADAL" clId="{1012AE1A-29B0-4E90-8835-842C30BC7D2A}" dt="2023-01-04T11:51:46.263" v="9769"/>
          <ac:spMkLst>
            <pc:docMk/>
            <pc:sldMk cId="853588367" sldId="2134804361"/>
            <ac:spMk id="21" creationId="{CA9B228C-9F03-EFEE-5F79-694B73A25FCA}"/>
          </ac:spMkLst>
        </pc:spChg>
        <pc:spChg chg="add del mod replST">
          <ac:chgData name="Wenwen Zhang" userId="9dd81366-5d6f-445a-b031-6ea562624431" providerId="ADAL" clId="{1012AE1A-29B0-4E90-8835-842C30BC7D2A}" dt="2023-01-04T11:51:46.263" v="9769"/>
          <ac:spMkLst>
            <pc:docMk/>
            <pc:sldMk cId="853588367" sldId="2134804361"/>
            <ac:spMk id="22" creationId="{2B0A34B6-47C9-1B21-59D9-7DFB3B07E8A7}"/>
          </ac:spMkLst>
        </pc:spChg>
        <pc:spChg chg="add del mod replST">
          <ac:chgData name="Wenwen Zhang" userId="9dd81366-5d6f-445a-b031-6ea562624431" providerId="ADAL" clId="{1012AE1A-29B0-4E90-8835-842C30BC7D2A}" dt="2023-01-04T11:51:46.263" v="9769"/>
          <ac:spMkLst>
            <pc:docMk/>
            <pc:sldMk cId="853588367" sldId="2134804361"/>
            <ac:spMk id="23" creationId="{AE2C8654-B4C6-092D-64DE-CA26330DAF02}"/>
          </ac:spMkLst>
        </pc:spChg>
        <pc:spChg chg="add del mod replST">
          <ac:chgData name="Wenwen Zhang" userId="9dd81366-5d6f-445a-b031-6ea562624431" providerId="ADAL" clId="{1012AE1A-29B0-4E90-8835-842C30BC7D2A}" dt="2023-01-04T11:51:46.263" v="9769"/>
          <ac:spMkLst>
            <pc:docMk/>
            <pc:sldMk cId="853588367" sldId="2134804361"/>
            <ac:spMk id="24" creationId="{251228A2-0B96-ADDC-DAF0-A0DDDD160054}"/>
          </ac:spMkLst>
        </pc:spChg>
        <pc:spChg chg="add del mod replST">
          <ac:chgData name="Wenwen Zhang" userId="9dd81366-5d6f-445a-b031-6ea562624431" providerId="ADAL" clId="{1012AE1A-29B0-4E90-8835-842C30BC7D2A}" dt="2023-01-04T11:51:46.263" v="9769"/>
          <ac:spMkLst>
            <pc:docMk/>
            <pc:sldMk cId="853588367" sldId="2134804361"/>
            <ac:spMk id="25" creationId="{2D3D9A8B-9929-CD44-7CE1-0B58ABA65B4D}"/>
          </ac:spMkLst>
        </pc:spChg>
        <pc:spChg chg="add del mod replST">
          <ac:chgData name="Wenwen Zhang" userId="9dd81366-5d6f-445a-b031-6ea562624431" providerId="ADAL" clId="{1012AE1A-29B0-4E90-8835-842C30BC7D2A}" dt="2023-01-04T11:51:46.263" v="9769"/>
          <ac:spMkLst>
            <pc:docMk/>
            <pc:sldMk cId="853588367" sldId="2134804361"/>
            <ac:spMk id="26" creationId="{A4587322-2A52-0C9E-C410-069E11389206}"/>
          </ac:spMkLst>
        </pc:spChg>
        <pc:spChg chg="add del mod replST">
          <ac:chgData name="Wenwen Zhang" userId="9dd81366-5d6f-445a-b031-6ea562624431" providerId="ADAL" clId="{1012AE1A-29B0-4E90-8835-842C30BC7D2A}" dt="2023-01-04T11:51:46.263" v="9769"/>
          <ac:spMkLst>
            <pc:docMk/>
            <pc:sldMk cId="853588367" sldId="2134804361"/>
            <ac:spMk id="27" creationId="{6C541C98-94CA-E60C-60B0-5129AAAE7B58}"/>
          </ac:spMkLst>
        </pc:spChg>
        <pc:spChg chg="mod ord">
          <ac:chgData name="Wenwen Zhang" userId="9dd81366-5d6f-445a-b031-6ea562624431" providerId="ADAL" clId="{1012AE1A-29B0-4E90-8835-842C30BC7D2A}" dt="2023-01-05T13:51:23.823" v="93112"/>
          <ac:spMkLst>
            <pc:docMk/>
            <pc:sldMk cId="853588367" sldId="2134804361"/>
            <ac:spMk id="29" creationId="{D50B6CAA-A666-5524-85F7-444C607F0970}"/>
          </ac:spMkLst>
        </pc:spChg>
        <pc:spChg chg="add del mod replST">
          <ac:chgData name="Wenwen Zhang" userId="9dd81366-5d6f-445a-b031-6ea562624431" providerId="ADAL" clId="{1012AE1A-29B0-4E90-8835-842C30BC7D2A}" dt="2023-01-04T11:51:46.263" v="9769"/>
          <ac:spMkLst>
            <pc:docMk/>
            <pc:sldMk cId="853588367" sldId="2134804361"/>
            <ac:spMk id="30" creationId="{983EE5B1-D15B-6C23-9F5F-9EA632F630C4}"/>
          </ac:spMkLst>
        </pc:spChg>
        <pc:spChg chg="add del mod replST">
          <ac:chgData name="Wenwen Zhang" userId="9dd81366-5d6f-445a-b031-6ea562624431" providerId="ADAL" clId="{1012AE1A-29B0-4E90-8835-842C30BC7D2A}" dt="2023-01-04T11:51:46.263" v="9769"/>
          <ac:spMkLst>
            <pc:docMk/>
            <pc:sldMk cId="853588367" sldId="2134804361"/>
            <ac:spMk id="31" creationId="{D33CC200-5812-3E35-52D7-7069D86A3919}"/>
          </ac:spMkLst>
        </pc:spChg>
        <pc:spChg chg="add del mod replST">
          <ac:chgData name="Wenwen Zhang" userId="9dd81366-5d6f-445a-b031-6ea562624431" providerId="ADAL" clId="{1012AE1A-29B0-4E90-8835-842C30BC7D2A}" dt="2023-01-04T11:51:46.263" v="9769"/>
          <ac:spMkLst>
            <pc:docMk/>
            <pc:sldMk cId="853588367" sldId="2134804361"/>
            <ac:spMk id="32" creationId="{3748DA68-7D8E-0190-198E-F11CCC86EA3A}"/>
          </ac:spMkLst>
        </pc:spChg>
        <pc:spChg chg="add del mod replST">
          <ac:chgData name="Wenwen Zhang" userId="9dd81366-5d6f-445a-b031-6ea562624431" providerId="ADAL" clId="{1012AE1A-29B0-4E90-8835-842C30BC7D2A}" dt="2023-01-04T11:51:46.263" v="9769"/>
          <ac:spMkLst>
            <pc:docMk/>
            <pc:sldMk cId="853588367" sldId="2134804361"/>
            <ac:spMk id="33" creationId="{20880E8E-5ECC-7B9A-BA8E-402E25CC295A}"/>
          </ac:spMkLst>
        </pc:spChg>
        <pc:spChg chg="add del mod ord replST">
          <ac:chgData name="Wenwen Zhang" userId="9dd81366-5d6f-445a-b031-6ea562624431" providerId="ADAL" clId="{1012AE1A-29B0-4E90-8835-842C30BC7D2A}" dt="2023-01-04T11:51:46.263" v="9769"/>
          <ac:spMkLst>
            <pc:docMk/>
            <pc:sldMk cId="853588367" sldId="2134804361"/>
            <ac:spMk id="34" creationId="{624B2DCF-EDEE-9A99-EACC-A8F8D80B4DF9}"/>
          </ac:spMkLst>
        </pc:spChg>
        <pc:spChg chg="add del mod replST">
          <ac:chgData name="Wenwen Zhang" userId="9dd81366-5d6f-445a-b031-6ea562624431" providerId="ADAL" clId="{1012AE1A-29B0-4E90-8835-842C30BC7D2A}" dt="2023-01-04T11:51:46.263" v="9769"/>
          <ac:spMkLst>
            <pc:docMk/>
            <pc:sldMk cId="853588367" sldId="2134804361"/>
            <ac:spMk id="35" creationId="{E048F82C-132E-2ED2-12D6-45B3FB08A267}"/>
          </ac:spMkLst>
        </pc:spChg>
        <pc:spChg chg="add del mod ord replST">
          <ac:chgData name="Wenwen Zhang" userId="9dd81366-5d6f-445a-b031-6ea562624431" providerId="ADAL" clId="{1012AE1A-29B0-4E90-8835-842C30BC7D2A}" dt="2023-01-04T11:51:46.263" v="9769"/>
          <ac:spMkLst>
            <pc:docMk/>
            <pc:sldMk cId="853588367" sldId="2134804361"/>
            <ac:spMk id="37" creationId="{7EE7FCCA-E519-BF6A-4866-B6D31314A831}"/>
          </ac:spMkLst>
        </pc:spChg>
        <pc:spChg chg="add del mod replST">
          <ac:chgData name="Wenwen Zhang" userId="9dd81366-5d6f-445a-b031-6ea562624431" providerId="ADAL" clId="{1012AE1A-29B0-4E90-8835-842C30BC7D2A}" dt="2023-01-04T11:51:46.263" v="9769"/>
          <ac:spMkLst>
            <pc:docMk/>
            <pc:sldMk cId="853588367" sldId="2134804361"/>
            <ac:spMk id="38" creationId="{4A1A1FCE-98C2-B6BA-2109-7611C1941553}"/>
          </ac:spMkLst>
        </pc:spChg>
        <pc:spChg chg="add del mod replST">
          <ac:chgData name="Wenwen Zhang" userId="9dd81366-5d6f-445a-b031-6ea562624431" providerId="ADAL" clId="{1012AE1A-29B0-4E90-8835-842C30BC7D2A}" dt="2023-01-04T11:51:46.263" v="9769"/>
          <ac:spMkLst>
            <pc:docMk/>
            <pc:sldMk cId="853588367" sldId="2134804361"/>
            <ac:spMk id="39" creationId="{5571D4B3-54E6-1084-1356-84C66EF1D415}"/>
          </ac:spMkLst>
        </pc:spChg>
        <pc:spChg chg="add del mod replST">
          <ac:chgData name="Wenwen Zhang" userId="9dd81366-5d6f-445a-b031-6ea562624431" providerId="ADAL" clId="{1012AE1A-29B0-4E90-8835-842C30BC7D2A}" dt="2023-01-04T11:51:46.263" v="9769"/>
          <ac:spMkLst>
            <pc:docMk/>
            <pc:sldMk cId="853588367" sldId="2134804361"/>
            <ac:spMk id="42" creationId="{BAB20BA1-EACE-D5CB-20A6-B229DD24C064}"/>
          </ac:spMkLst>
        </pc:spChg>
        <pc:spChg chg="mod ord">
          <ac:chgData name="Wenwen Zhang" userId="9dd81366-5d6f-445a-b031-6ea562624431" providerId="ADAL" clId="{1012AE1A-29B0-4E90-8835-842C30BC7D2A}" dt="2023-01-05T13:51:23.823" v="93114"/>
          <ac:spMkLst>
            <pc:docMk/>
            <pc:sldMk cId="853588367" sldId="2134804361"/>
            <ac:spMk id="43" creationId="{C58C7321-3BF7-61DC-5B1A-AD075E56AE05}"/>
          </ac:spMkLst>
        </pc:spChg>
        <pc:spChg chg="add del mod replST">
          <ac:chgData name="Wenwen Zhang" userId="9dd81366-5d6f-445a-b031-6ea562624431" providerId="ADAL" clId="{1012AE1A-29B0-4E90-8835-842C30BC7D2A}" dt="2023-01-04T11:51:46.263" v="9769"/>
          <ac:spMkLst>
            <pc:docMk/>
            <pc:sldMk cId="853588367" sldId="2134804361"/>
            <ac:spMk id="44" creationId="{2A812B8E-E75E-DC51-8C84-CB9B980ECFB9}"/>
          </ac:spMkLst>
        </pc:spChg>
        <pc:spChg chg="add del mod replST">
          <ac:chgData name="Wenwen Zhang" userId="9dd81366-5d6f-445a-b031-6ea562624431" providerId="ADAL" clId="{1012AE1A-29B0-4E90-8835-842C30BC7D2A}" dt="2023-01-04T11:51:46.263" v="9769"/>
          <ac:spMkLst>
            <pc:docMk/>
            <pc:sldMk cId="853588367" sldId="2134804361"/>
            <ac:spMk id="45" creationId="{56BD5E35-3E37-94A9-2D71-D858ECB66098}"/>
          </ac:spMkLst>
        </pc:spChg>
        <pc:spChg chg="add del mod replST">
          <ac:chgData name="Wenwen Zhang" userId="9dd81366-5d6f-445a-b031-6ea562624431" providerId="ADAL" clId="{1012AE1A-29B0-4E90-8835-842C30BC7D2A}" dt="2023-01-04T11:51:46.263" v="9769"/>
          <ac:spMkLst>
            <pc:docMk/>
            <pc:sldMk cId="853588367" sldId="2134804361"/>
            <ac:spMk id="46" creationId="{E8375FC1-E28B-951E-25D4-A7FB1E360DBD}"/>
          </ac:spMkLst>
        </pc:spChg>
        <pc:spChg chg="add del mod replST">
          <ac:chgData name="Wenwen Zhang" userId="9dd81366-5d6f-445a-b031-6ea562624431" providerId="ADAL" clId="{1012AE1A-29B0-4E90-8835-842C30BC7D2A}" dt="2023-01-04T11:51:46.263" v="9769"/>
          <ac:spMkLst>
            <pc:docMk/>
            <pc:sldMk cId="853588367" sldId="2134804361"/>
            <ac:spMk id="47" creationId="{459F7CC9-C1B2-A1A8-413C-8DBA81C9B0B8}"/>
          </ac:spMkLst>
        </pc:spChg>
        <pc:spChg chg="add del mod replST">
          <ac:chgData name="Wenwen Zhang" userId="9dd81366-5d6f-445a-b031-6ea562624431" providerId="ADAL" clId="{1012AE1A-29B0-4E90-8835-842C30BC7D2A}" dt="2023-01-04T11:51:46.263" v="9769"/>
          <ac:spMkLst>
            <pc:docMk/>
            <pc:sldMk cId="853588367" sldId="2134804361"/>
            <ac:spMk id="48" creationId="{99089DD4-AAEE-334C-861B-BBE856FC0ED2}"/>
          </ac:spMkLst>
        </pc:spChg>
        <pc:spChg chg="add del mod replST">
          <ac:chgData name="Wenwen Zhang" userId="9dd81366-5d6f-445a-b031-6ea562624431" providerId="ADAL" clId="{1012AE1A-29B0-4E90-8835-842C30BC7D2A}" dt="2023-01-04T11:51:46.263" v="9769"/>
          <ac:spMkLst>
            <pc:docMk/>
            <pc:sldMk cId="853588367" sldId="2134804361"/>
            <ac:spMk id="49" creationId="{8D143C3F-EF3E-F9BA-901A-7B23033D7839}"/>
          </ac:spMkLst>
        </pc:spChg>
        <pc:spChg chg="add del mod replST">
          <ac:chgData name="Wenwen Zhang" userId="9dd81366-5d6f-445a-b031-6ea562624431" providerId="ADAL" clId="{1012AE1A-29B0-4E90-8835-842C30BC7D2A}" dt="2023-01-04T11:51:46.263" v="9769"/>
          <ac:spMkLst>
            <pc:docMk/>
            <pc:sldMk cId="853588367" sldId="2134804361"/>
            <ac:spMk id="50" creationId="{132046BC-FAAF-5C99-6921-056DD8E80623}"/>
          </ac:spMkLst>
        </pc:spChg>
        <pc:spChg chg="add del mod replST">
          <ac:chgData name="Wenwen Zhang" userId="9dd81366-5d6f-445a-b031-6ea562624431" providerId="ADAL" clId="{1012AE1A-29B0-4E90-8835-842C30BC7D2A}" dt="2023-01-04T11:51:46.263" v="9769"/>
          <ac:spMkLst>
            <pc:docMk/>
            <pc:sldMk cId="853588367" sldId="2134804361"/>
            <ac:spMk id="51" creationId="{4B37FBB0-6867-CDDB-364B-66344A9CADA1}"/>
          </ac:spMkLst>
        </pc:spChg>
        <pc:spChg chg="add del mod replST">
          <ac:chgData name="Wenwen Zhang" userId="9dd81366-5d6f-445a-b031-6ea562624431" providerId="ADAL" clId="{1012AE1A-29B0-4E90-8835-842C30BC7D2A}" dt="2023-01-04T11:51:46.263" v="9769"/>
          <ac:spMkLst>
            <pc:docMk/>
            <pc:sldMk cId="853588367" sldId="2134804361"/>
            <ac:spMk id="52" creationId="{6CB0C76A-1EF3-75E5-6AA2-2806964A85B7}"/>
          </ac:spMkLst>
        </pc:spChg>
        <pc:spChg chg="add del mod replST">
          <ac:chgData name="Wenwen Zhang" userId="9dd81366-5d6f-445a-b031-6ea562624431" providerId="ADAL" clId="{1012AE1A-29B0-4E90-8835-842C30BC7D2A}" dt="2023-01-04T11:51:46.263" v="9769"/>
          <ac:spMkLst>
            <pc:docMk/>
            <pc:sldMk cId="853588367" sldId="2134804361"/>
            <ac:spMk id="53" creationId="{7FA52B13-B2DC-C46C-7FDB-20B638354814}"/>
          </ac:spMkLst>
        </pc:spChg>
        <pc:spChg chg="add del mod replST">
          <ac:chgData name="Wenwen Zhang" userId="9dd81366-5d6f-445a-b031-6ea562624431" providerId="ADAL" clId="{1012AE1A-29B0-4E90-8835-842C30BC7D2A}" dt="2023-01-04T11:51:46.263" v="9769"/>
          <ac:spMkLst>
            <pc:docMk/>
            <pc:sldMk cId="853588367" sldId="2134804361"/>
            <ac:spMk id="54" creationId="{9A09B33A-0665-2FCB-66A5-F340CA517B90}"/>
          </ac:spMkLst>
        </pc:spChg>
        <pc:spChg chg="add del mod ord replST">
          <ac:chgData name="Wenwen Zhang" userId="9dd81366-5d6f-445a-b031-6ea562624431" providerId="ADAL" clId="{1012AE1A-29B0-4E90-8835-842C30BC7D2A}" dt="2023-01-04T11:51:46.263" v="9769"/>
          <ac:spMkLst>
            <pc:docMk/>
            <pc:sldMk cId="853588367" sldId="2134804361"/>
            <ac:spMk id="55" creationId="{2053252C-11B7-2293-05EE-CD9A7754E8ED}"/>
          </ac:spMkLst>
        </pc:spChg>
        <pc:spChg chg="add del mod replST">
          <ac:chgData name="Wenwen Zhang" userId="9dd81366-5d6f-445a-b031-6ea562624431" providerId="ADAL" clId="{1012AE1A-29B0-4E90-8835-842C30BC7D2A}" dt="2023-01-04T11:51:46.263" v="9769"/>
          <ac:spMkLst>
            <pc:docMk/>
            <pc:sldMk cId="853588367" sldId="2134804361"/>
            <ac:spMk id="56" creationId="{51EDBDFE-BD0D-28CE-4E6C-73A01F050FAF}"/>
          </ac:spMkLst>
        </pc:spChg>
        <pc:spChg chg="add del mod ord replST">
          <ac:chgData name="Wenwen Zhang" userId="9dd81366-5d6f-445a-b031-6ea562624431" providerId="ADAL" clId="{1012AE1A-29B0-4E90-8835-842C30BC7D2A}" dt="2023-01-04T11:51:46.263" v="9769"/>
          <ac:spMkLst>
            <pc:docMk/>
            <pc:sldMk cId="853588367" sldId="2134804361"/>
            <ac:spMk id="57" creationId="{8D9F4539-8E0E-3E13-F1D4-C436563732AA}"/>
          </ac:spMkLst>
        </pc:spChg>
        <pc:spChg chg="add del mod ord replST">
          <ac:chgData name="Wenwen Zhang" userId="9dd81366-5d6f-445a-b031-6ea562624431" providerId="ADAL" clId="{1012AE1A-29B0-4E90-8835-842C30BC7D2A}" dt="2023-01-04T11:51:46.263" v="9769"/>
          <ac:spMkLst>
            <pc:docMk/>
            <pc:sldMk cId="853588367" sldId="2134804361"/>
            <ac:spMk id="58" creationId="{4024FB05-9126-5DF3-9812-5B151F7681B0}"/>
          </ac:spMkLst>
        </pc:spChg>
        <pc:spChg chg="add del mod ord replST">
          <ac:chgData name="Wenwen Zhang" userId="9dd81366-5d6f-445a-b031-6ea562624431" providerId="ADAL" clId="{1012AE1A-29B0-4E90-8835-842C30BC7D2A}" dt="2023-01-04T11:51:46.263" v="9769"/>
          <ac:spMkLst>
            <pc:docMk/>
            <pc:sldMk cId="853588367" sldId="2134804361"/>
            <ac:spMk id="59" creationId="{BAC65940-BFD8-9450-DD3E-29CA2D42CAF9}"/>
          </ac:spMkLst>
        </pc:spChg>
        <pc:spChg chg="add del mod replST">
          <ac:chgData name="Wenwen Zhang" userId="9dd81366-5d6f-445a-b031-6ea562624431" providerId="ADAL" clId="{1012AE1A-29B0-4E90-8835-842C30BC7D2A}" dt="2023-01-04T11:51:46.263" v="9769"/>
          <ac:spMkLst>
            <pc:docMk/>
            <pc:sldMk cId="853588367" sldId="2134804361"/>
            <ac:spMk id="61" creationId="{3BF2ECAB-C6D8-C82E-43B5-CD8C84AAEE38}"/>
          </ac:spMkLst>
        </pc:spChg>
        <pc:spChg chg="add del mod replST">
          <ac:chgData name="Wenwen Zhang" userId="9dd81366-5d6f-445a-b031-6ea562624431" providerId="ADAL" clId="{1012AE1A-29B0-4E90-8835-842C30BC7D2A}" dt="2023-01-04T11:51:46.263" v="9769"/>
          <ac:spMkLst>
            <pc:docMk/>
            <pc:sldMk cId="853588367" sldId="2134804361"/>
            <ac:spMk id="62" creationId="{ABEA14B1-C030-0255-20E2-49CD4252DAE7}"/>
          </ac:spMkLst>
        </pc:spChg>
        <pc:spChg chg="add del mod replST">
          <ac:chgData name="Wenwen Zhang" userId="9dd81366-5d6f-445a-b031-6ea562624431" providerId="ADAL" clId="{1012AE1A-29B0-4E90-8835-842C30BC7D2A}" dt="2023-01-04T11:51:46.263" v="9769"/>
          <ac:spMkLst>
            <pc:docMk/>
            <pc:sldMk cId="853588367" sldId="2134804361"/>
            <ac:spMk id="63" creationId="{FCEB97EC-988B-5017-B9EB-E22D61BABCCD}"/>
          </ac:spMkLst>
        </pc:spChg>
        <pc:spChg chg="add del mod replST">
          <ac:chgData name="Wenwen Zhang" userId="9dd81366-5d6f-445a-b031-6ea562624431" providerId="ADAL" clId="{1012AE1A-29B0-4E90-8835-842C30BC7D2A}" dt="2023-01-04T11:51:46.263" v="9769"/>
          <ac:spMkLst>
            <pc:docMk/>
            <pc:sldMk cId="853588367" sldId="2134804361"/>
            <ac:spMk id="64" creationId="{1657FA1D-1734-A2F6-E76B-58D6CE100786}"/>
          </ac:spMkLst>
        </pc:spChg>
        <pc:spChg chg="add del mod replST">
          <ac:chgData name="Wenwen Zhang" userId="9dd81366-5d6f-445a-b031-6ea562624431" providerId="ADAL" clId="{1012AE1A-29B0-4E90-8835-842C30BC7D2A}" dt="2023-01-04T11:51:46.263" v="9769"/>
          <ac:spMkLst>
            <pc:docMk/>
            <pc:sldMk cId="853588367" sldId="2134804361"/>
            <ac:spMk id="65" creationId="{8941114F-13C6-D0C9-3E4E-166E8304CF4C}"/>
          </ac:spMkLst>
        </pc:spChg>
        <pc:spChg chg="add del mod replST">
          <ac:chgData name="Wenwen Zhang" userId="9dd81366-5d6f-445a-b031-6ea562624431" providerId="ADAL" clId="{1012AE1A-29B0-4E90-8835-842C30BC7D2A}" dt="2023-01-04T11:51:46.263" v="9769"/>
          <ac:spMkLst>
            <pc:docMk/>
            <pc:sldMk cId="853588367" sldId="2134804361"/>
            <ac:spMk id="66" creationId="{C8D7958B-166B-086A-6822-35F85D64A4F2}"/>
          </ac:spMkLst>
        </pc:spChg>
        <pc:spChg chg="add del mod replST">
          <ac:chgData name="Wenwen Zhang" userId="9dd81366-5d6f-445a-b031-6ea562624431" providerId="ADAL" clId="{1012AE1A-29B0-4E90-8835-842C30BC7D2A}" dt="2023-01-04T11:51:46.263" v="9769"/>
          <ac:spMkLst>
            <pc:docMk/>
            <pc:sldMk cId="853588367" sldId="2134804361"/>
            <ac:spMk id="67" creationId="{9695C6E1-BE7C-A291-0C0A-5B904A993B95}"/>
          </ac:spMkLst>
        </pc:spChg>
        <pc:spChg chg="add del mod replST">
          <ac:chgData name="Wenwen Zhang" userId="9dd81366-5d6f-445a-b031-6ea562624431" providerId="ADAL" clId="{1012AE1A-29B0-4E90-8835-842C30BC7D2A}" dt="2023-01-04T11:51:46.263" v="9769"/>
          <ac:spMkLst>
            <pc:docMk/>
            <pc:sldMk cId="853588367" sldId="2134804361"/>
            <ac:spMk id="68" creationId="{3E42654D-2726-E3A0-5C00-9C95E557E094}"/>
          </ac:spMkLst>
        </pc:spChg>
        <pc:spChg chg="add del mod replST">
          <ac:chgData name="Wenwen Zhang" userId="9dd81366-5d6f-445a-b031-6ea562624431" providerId="ADAL" clId="{1012AE1A-29B0-4E90-8835-842C30BC7D2A}" dt="2023-01-04T11:51:46.263" v="9769"/>
          <ac:spMkLst>
            <pc:docMk/>
            <pc:sldMk cId="853588367" sldId="2134804361"/>
            <ac:spMk id="69" creationId="{F4991B9F-ECDA-D0F8-E5B6-2D49F18527EC}"/>
          </ac:spMkLst>
        </pc:spChg>
        <pc:spChg chg="add del mod replST">
          <ac:chgData name="Wenwen Zhang" userId="9dd81366-5d6f-445a-b031-6ea562624431" providerId="ADAL" clId="{1012AE1A-29B0-4E90-8835-842C30BC7D2A}" dt="2023-01-04T11:51:46.263" v="9769"/>
          <ac:spMkLst>
            <pc:docMk/>
            <pc:sldMk cId="853588367" sldId="2134804361"/>
            <ac:spMk id="70" creationId="{FA6185F4-3112-8D62-F0F4-41C7425BC490}"/>
          </ac:spMkLst>
        </pc:spChg>
        <pc:spChg chg="add del mod replST">
          <ac:chgData name="Wenwen Zhang" userId="9dd81366-5d6f-445a-b031-6ea562624431" providerId="ADAL" clId="{1012AE1A-29B0-4E90-8835-842C30BC7D2A}" dt="2023-01-04T11:51:46.263" v="9769"/>
          <ac:spMkLst>
            <pc:docMk/>
            <pc:sldMk cId="853588367" sldId="2134804361"/>
            <ac:spMk id="71" creationId="{0E56876F-6CF6-1197-393C-98EFEEB336A2}"/>
          </ac:spMkLst>
        </pc:spChg>
        <pc:spChg chg="add del mod replST">
          <ac:chgData name="Wenwen Zhang" userId="9dd81366-5d6f-445a-b031-6ea562624431" providerId="ADAL" clId="{1012AE1A-29B0-4E90-8835-842C30BC7D2A}" dt="2023-01-04T11:51:46.263" v="9769"/>
          <ac:spMkLst>
            <pc:docMk/>
            <pc:sldMk cId="853588367" sldId="2134804361"/>
            <ac:spMk id="72" creationId="{B1219EC6-228C-7828-4BED-A0739546B45B}"/>
          </ac:spMkLst>
        </pc:spChg>
        <pc:spChg chg="add del mod replST">
          <ac:chgData name="Wenwen Zhang" userId="9dd81366-5d6f-445a-b031-6ea562624431" providerId="ADAL" clId="{1012AE1A-29B0-4E90-8835-842C30BC7D2A}" dt="2023-01-04T11:51:46.263" v="9769"/>
          <ac:spMkLst>
            <pc:docMk/>
            <pc:sldMk cId="853588367" sldId="2134804361"/>
            <ac:spMk id="73" creationId="{577E8C9D-F9CE-6FE0-604C-C7DE2DE6DAAB}"/>
          </ac:spMkLst>
        </pc:spChg>
        <pc:spChg chg="add del mod replST">
          <ac:chgData name="Wenwen Zhang" userId="9dd81366-5d6f-445a-b031-6ea562624431" providerId="ADAL" clId="{1012AE1A-29B0-4E90-8835-842C30BC7D2A}" dt="2023-01-04T11:51:46.263" v="9769"/>
          <ac:spMkLst>
            <pc:docMk/>
            <pc:sldMk cId="853588367" sldId="2134804361"/>
            <ac:spMk id="75" creationId="{A53CD836-E49D-1A15-3626-992CDBCA1AF4}"/>
          </ac:spMkLst>
        </pc:spChg>
        <pc:spChg chg="add del mod replST">
          <ac:chgData name="Wenwen Zhang" userId="9dd81366-5d6f-445a-b031-6ea562624431" providerId="ADAL" clId="{1012AE1A-29B0-4E90-8835-842C30BC7D2A}" dt="2023-01-04T11:51:46.263" v="9769"/>
          <ac:spMkLst>
            <pc:docMk/>
            <pc:sldMk cId="853588367" sldId="2134804361"/>
            <ac:spMk id="76" creationId="{66432CC5-7C54-4DC9-CF4E-5167ED4EFCCE}"/>
          </ac:spMkLst>
        </pc:spChg>
        <pc:spChg chg="add del mod replST">
          <ac:chgData name="Wenwen Zhang" userId="9dd81366-5d6f-445a-b031-6ea562624431" providerId="ADAL" clId="{1012AE1A-29B0-4E90-8835-842C30BC7D2A}" dt="2023-01-04T11:51:46.263" v="9769"/>
          <ac:spMkLst>
            <pc:docMk/>
            <pc:sldMk cId="853588367" sldId="2134804361"/>
            <ac:spMk id="77" creationId="{9CB4AF77-E9E4-A748-CC98-5F74AB6C731F}"/>
          </ac:spMkLst>
        </pc:spChg>
        <pc:spChg chg="add del mod replST">
          <ac:chgData name="Wenwen Zhang" userId="9dd81366-5d6f-445a-b031-6ea562624431" providerId="ADAL" clId="{1012AE1A-29B0-4E90-8835-842C30BC7D2A}" dt="2023-01-04T11:51:46.263" v="9769"/>
          <ac:spMkLst>
            <pc:docMk/>
            <pc:sldMk cId="853588367" sldId="2134804361"/>
            <ac:spMk id="78" creationId="{4F980F44-243E-E77C-3E8F-F2B7163C2206}"/>
          </ac:spMkLst>
        </pc:spChg>
        <pc:spChg chg="add del mod replST">
          <ac:chgData name="Wenwen Zhang" userId="9dd81366-5d6f-445a-b031-6ea562624431" providerId="ADAL" clId="{1012AE1A-29B0-4E90-8835-842C30BC7D2A}" dt="2023-01-04T11:51:46.263" v="9769"/>
          <ac:spMkLst>
            <pc:docMk/>
            <pc:sldMk cId="853588367" sldId="2134804361"/>
            <ac:spMk id="79" creationId="{736292FE-C6C9-A99F-9522-DBE3C5DFC16C}"/>
          </ac:spMkLst>
        </pc:spChg>
        <pc:spChg chg="add del mod replST">
          <ac:chgData name="Wenwen Zhang" userId="9dd81366-5d6f-445a-b031-6ea562624431" providerId="ADAL" clId="{1012AE1A-29B0-4E90-8835-842C30BC7D2A}" dt="2023-01-04T11:51:46.263" v="9769"/>
          <ac:spMkLst>
            <pc:docMk/>
            <pc:sldMk cId="853588367" sldId="2134804361"/>
            <ac:spMk id="80" creationId="{B5DCE0F7-26CA-E7B8-3F90-65305084A3CA}"/>
          </ac:spMkLst>
        </pc:spChg>
        <pc:spChg chg="add del mod replST">
          <ac:chgData name="Wenwen Zhang" userId="9dd81366-5d6f-445a-b031-6ea562624431" providerId="ADAL" clId="{1012AE1A-29B0-4E90-8835-842C30BC7D2A}" dt="2023-01-04T11:51:46.263" v="9769"/>
          <ac:spMkLst>
            <pc:docMk/>
            <pc:sldMk cId="853588367" sldId="2134804361"/>
            <ac:spMk id="81" creationId="{7DD91848-8DEC-4447-E8DA-1585B07111AB}"/>
          </ac:spMkLst>
        </pc:spChg>
        <pc:spChg chg="add del mod replST">
          <ac:chgData name="Wenwen Zhang" userId="9dd81366-5d6f-445a-b031-6ea562624431" providerId="ADAL" clId="{1012AE1A-29B0-4E90-8835-842C30BC7D2A}" dt="2023-01-04T11:51:46.263" v="9769"/>
          <ac:spMkLst>
            <pc:docMk/>
            <pc:sldMk cId="853588367" sldId="2134804361"/>
            <ac:spMk id="82" creationId="{9149F829-9B83-3364-EDC6-515B461E91E5}"/>
          </ac:spMkLst>
        </pc:spChg>
        <pc:spChg chg="add del mod replST">
          <ac:chgData name="Wenwen Zhang" userId="9dd81366-5d6f-445a-b031-6ea562624431" providerId="ADAL" clId="{1012AE1A-29B0-4E90-8835-842C30BC7D2A}" dt="2023-01-04T11:51:46.263" v="9769"/>
          <ac:spMkLst>
            <pc:docMk/>
            <pc:sldMk cId="853588367" sldId="2134804361"/>
            <ac:spMk id="83" creationId="{B456F926-ED68-931E-F524-CB138E206EE5}"/>
          </ac:spMkLst>
        </pc:spChg>
        <pc:spChg chg="add del mod replST">
          <ac:chgData name="Wenwen Zhang" userId="9dd81366-5d6f-445a-b031-6ea562624431" providerId="ADAL" clId="{1012AE1A-29B0-4E90-8835-842C30BC7D2A}" dt="2023-01-04T11:51:46.263" v="9769"/>
          <ac:spMkLst>
            <pc:docMk/>
            <pc:sldMk cId="853588367" sldId="2134804361"/>
            <ac:spMk id="84" creationId="{A925226D-A5AC-C0FA-DC0B-D411F113A9AD}"/>
          </ac:spMkLst>
        </pc:spChg>
        <pc:spChg chg="add del mod replST">
          <ac:chgData name="Wenwen Zhang" userId="9dd81366-5d6f-445a-b031-6ea562624431" providerId="ADAL" clId="{1012AE1A-29B0-4E90-8835-842C30BC7D2A}" dt="2023-01-04T11:51:46.263" v="9769"/>
          <ac:spMkLst>
            <pc:docMk/>
            <pc:sldMk cId="853588367" sldId="2134804361"/>
            <ac:spMk id="85" creationId="{84BA4D7A-CEA0-16AB-5FE0-A82AEC502533}"/>
          </ac:spMkLst>
        </pc:spChg>
        <pc:spChg chg="add del mod replST">
          <ac:chgData name="Wenwen Zhang" userId="9dd81366-5d6f-445a-b031-6ea562624431" providerId="ADAL" clId="{1012AE1A-29B0-4E90-8835-842C30BC7D2A}" dt="2023-01-04T11:51:46.263" v="9769"/>
          <ac:spMkLst>
            <pc:docMk/>
            <pc:sldMk cId="853588367" sldId="2134804361"/>
            <ac:spMk id="86" creationId="{7A2D0935-D94A-5AEF-D260-00CAC47CA65F}"/>
          </ac:spMkLst>
        </pc:spChg>
        <pc:spChg chg="add del mod replST">
          <ac:chgData name="Wenwen Zhang" userId="9dd81366-5d6f-445a-b031-6ea562624431" providerId="ADAL" clId="{1012AE1A-29B0-4E90-8835-842C30BC7D2A}" dt="2023-01-04T11:51:46.263" v="9769"/>
          <ac:spMkLst>
            <pc:docMk/>
            <pc:sldMk cId="853588367" sldId="2134804361"/>
            <ac:spMk id="87" creationId="{1CA016CE-9706-FCDD-B95D-5BF7EA147A1A}"/>
          </ac:spMkLst>
        </pc:spChg>
        <pc:spChg chg="add del mod ord replST">
          <ac:chgData name="Wenwen Zhang" userId="9dd81366-5d6f-445a-b031-6ea562624431" providerId="ADAL" clId="{1012AE1A-29B0-4E90-8835-842C30BC7D2A}" dt="2023-01-04T11:51:46.263" v="9769"/>
          <ac:spMkLst>
            <pc:docMk/>
            <pc:sldMk cId="853588367" sldId="2134804361"/>
            <ac:spMk id="88" creationId="{B45AAE15-C1CF-0234-C4C7-888B8120BB4F}"/>
          </ac:spMkLst>
        </pc:spChg>
        <pc:spChg chg="add del mod modVis">
          <ac:chgData name="Wenwen Zhang" userId="9dd81366-5d6f-445a-b031-6ea562624431" providerId="ADAL" clId="{1012AE1A-29B0-4E90-8835-842C30BC7D2A}" dt="2023-01-04T11:51:46.263" v="9769"/>
          <ac:spMkLst>
            <pc:docMk/>
            <pc:sldMk cId="853588367" sldId="2134804361"/>
            <ac:spMk id="89" creationId="{5BF2BC7A-07E2-EEA8-EB20-BF35B0038C1F}"/>
          </ac:spMkLst>
        </pc:spChg>
        <pc:spChg chg="add del mod modVis">
          <ac:chgData name="Wenwen Zhang" userId="9dd81366-5d6f-445a-b031-6ea562624431" providerId="ADAL" clId="{1012AE1A-29B0-4E90-8835-842C30BC7D2A}" dt="2023-01-04T11:51:26.515" v="4085"/>
          <ac:spMkLst>
            <pc:docMk/>
            <pc:sldMk cId="853588367" sldId="2134804361"/>
            <ac:spMk id="94" creationId="{52C19D62-67BE-9D75-13BC-5E888EFD94A8}"/>
          </ac:spMkLst>
        </pc:spChg>
        <pc:spChg chg="add del mod modVis">
          <ac:chgData name="Wenwen Zhang" userId="9dd81366-5d6f-445a-b031-6ea562624431" providerId="ADAL" clId="{1012AE1A-29B0-4E90-8835-842C30BC7D2A}" dt="2023-01-04T11:51:45.628" v="7280"/>
          <ac:spMkLst>
            <pc:docMk/>
            <pc:sldMk cId="853588367" sldId="2134804361"/>
            <ac:spMk id="96" creationId="{173F1DAA-4447-2506-39DB-D00EABD38A10}"/>
          </ac:spMkLst>
        </pc:spChg>
        <pc:spChg chg="add del mod modVis">
          <ac:chgData name="Wenwen Zhang" userId="9dd81366-5d6f-445a-b031-6ea562624431" providerId="ADAL" clId="{1012AE1A-29B0-4E90-8835-842C30BC7D2A}" dt="2023-01-04T11:51:45.116" v="6107"/>
          <ac:spMkLst>
            <pc:docMk/>
            <pc:sldMk cId="853588367" sldId="2134804361"/>
            <ac:spMk id="99" creationId="{C192BD26-8E13-AA9D-32D1-FA737AC37815}"/>
          </ac:spMkLst>
        </pc:spChg>
        <pc:spChg chg="add del mod modVis">
          <ac:chgData name="Wenwen Zhang" userId="9dd81366-5d6f-445a-b031-6ea562624431" providerId="ADAL" clId="{1012AE1A-29B0-4E90-8835-842C30BC7D2A}" dt="2023-01-04T11:51:44.739" v="6025"/>
          <ac:spMkLst>
            <pc:docMk/>
            <pc:sldMk cId="853588367" sldId="2134804361"/>
            <ac:spMk id="101" creationId="{455C0260-8BCE-0436-A6C6-9EB1FF06C2A3}"/>
          </ac:spMkLst>
        </pc:spChg>
        <pc:spChg chg="add del mod modVis">
          <ac:chgData name="Wenwen Zhang" userId="9dd81366-5d6f-445a-b031-6ea562624431" providerId="ADAL" clId="{1012AE1A-29B0-4E90-8835-842C30BC7D2A}" dt="2023-01-04T11:51:55.236" v="11113"/>
          <ac:spMkLst>
            <pc:docMk/>
            <pc:sldMk cId="853588367" sldId="2134804361"/>
            <ac:spMk id="103" creationId="{A28E4A61-D842-2708-DF99-EF671C98519F}"/>
          </ac:spMkLst>
        </pc:spChg>
        <pc:spChg chg="add del mod ord">
          <ac:chgData name="Wenwen Zhang" userId="9dd81366-5d6f-445a-b031-6ea562624431" providerId="ADAL" clId="{1012AE1A-29B0-4E90-8835-842C30BC7D2A}" dt="2023-01-05T13:51:23.823" v="93116"/>
          <ac:spMkLst>
            <pc:docMk/>
            <pc:sldMk cId="853588367" sldId="2134804361"/>
            <ac:spMk id="104" creationId="{FDBD28FE-864B-3639-481F-9B88362F82CC}"/>
          </ac:spMkLst>
        </pc:spChg>
        <pc:spChg chg="add del mod ord">
          <ac:chgData name="Wenwen Zhang" userId="9dd81366-5d6f-445a-b031-6ea562624431" providerId="ADAL" clId="{1012AE1A-29B0-4E90-8835-842C30BC7D2A}" dt="2023-01-05T13:51:23.823" v="93118"/>
          <ac:spMkLst>
            <pc:docMk/>
            <pc:sldMk cId="853588367" sldId="2134804361"/>
            <ac:spMk id="105" creationId="{1363392A-1BB3-B133-547E-68E043C4DA98}"/>
          </ac:spMkLst>
        </pc:spChg>
        <pc:spChg chg="add del mod ord">
          <ac:chgData name="Wenwen Zhang" userId="9dd81366-5d6f-445a-b031-6ea562624431" providerId="ADAL" clId="{1012AE1A-29B0-4E90-8835-842C30BC7D2A}" dt="2023-01-05T13:51:23.824" v="93120"/>
          <ac:spMkLst>
            <pc:docMk/>
            <pc:sldMk cId="853588367" sldId="2134804361"/>
            <ac:spMk id="106" creationId="{B6CECE3F-2DD3-9848-61CB-5D61B786F6D6}"/>
          </ac:spMkLst>
        </pc:spChg>
        <pc:spChg chg="add del mod ord">
          <ac:chgData name="Wenwen Zhang" userId="9dd81366-5d6f-445a-b031-6ea562624431" providerId="ADAL" clId="{1012AE1A-29B0-4E90-8835-842C30BC7D2A}" dt="2023-01-05T13:51:23.824" v="93122"/>
          <ac:spMkLst>
            <pc:docMk/>
            <pc:sldMk cId="853588367" sldId="2134804361"/>
            <ac:spMk id="107" creationId="{92A4A1AE-F0BD-E696-BBF1-927ADB68572C}"/>
          </ac:spMkLst>
        </pc:spChg>
        <pc:spChg chg="add del mod replST">
          <ac:chgData name="Wenwen Zhang" userId="9dd81366-5d6f-445a-b031-6ea562624431" providerId="ADAL" clId="{1012AE1A-29B0-4E90-8835-842C30BC7D2A}" dt="2023-01-04T11:51:56.769" v="11191"/>
          <ac:spMkLst>
            <pc:docMk/>
            <pc:sldMk cId="853588367" sldId="2134804361"/>
            <ac:spMk id="109" creationId="{96DB64E7-7450-5BAA-7DCA-6F75AE12EF02}"/>
          </ac:spMkLst>
        </pc:spChg>
        <pc:spChg chg="add del mod">
          <ac:chgData name="Wenwen Zhang" userId="9dd81366-5d6f-445a-b031-6ea562624431" providerId="ADAL" clId="{1012AE1A-29B0-4E90-8835-842C30BC7D2A}" dt="2023-01-04T11:52:45.449" v="13663"/>
          <ac:spMkLst>
            <pc:docMk/>
            <pc:sldMk cId="853588367" sldId="2134804361"/>
            <ac:spMk id="110" creationId="{EB466A29-BB15-299D-E58C-2DB1FF262484}"/>
          </ac:spMkLst>
        </pc:spChg>
        <pc:spChg chg="add del mod">
          <ac:chgData name="Wenwen Zhang" userId="9dd81366-5d6f-445a-b031-6ea562624431" providerId="ADAL" clId="{1012AE1A-29B0-4E90-8835-842C30BC7D2A}" dt="2023-01-04T11:52:45.449" v="13662"/>
          <ac:spMkLst>
            <pc:docMk/>
            <pc:sldMk cId="853588367" sldId="2134804361"/>
            <ac:spMk id="111" creationId="{B3F2D249-23C1-84A9-2AD6-B2662B3E3BCF}"/>
          </ac:spMkLst>
        </pc:spChg>
        <pc:spChg chg="add del mod">
          <ac:chgData name="Wenwen Zhang" userId="9dd81366-5d6f-445a-b031-6ea562624431" providerId="ADAL" clId="{1012AE1A-29B0-4E90-8835-842C30BC7D2A}" dt="2023-01-04T11:52:45.449" v="13661"/>
          <ac:spMkLst>
            <pc:docMk/>
            <pc:sldMk cId="853588367" sldId="2134804361"/>
            <ac:spMk id="112" creationId="{BA643405-2191-0382-388A-60D2AC577598}"/>
          </ac:spMkLst>
        </pc:spChg>
        <pc:spChg chg="add del mod">
          <ac:chgData name="Wenwen Zhang" userId="9dd81366-5d6f-445a-b031-6ea562624431" providerId="ADAL" clId="{1012AE1A-29B0-4E90-8835-842C30BC7D2A}" dt="2023-01-04T11:52:45.449" v="13660"/>
          <ac:spMkLst>
            <pc:docMk/>
            <pc:sldMk cId="853588367" sldId="2134804361"/>
            <ac:spMk id="113" creationId="{6EE89640-6F33-A36D-0F7A-14FB999796CC}"/>
          </ac:spMkLst>
        </pc:spChg>
        <pc:spChg chg="add del mod">
          <ac:chgData name="Wenwen Zhang" userId="9dd81366-5d6f-445a-b031-6ea562624431" providerId="ADAL" clId="{1012AE1A-29B0-4E90-8835-842C30BC7D2A}" dt="2023-01-04T11:52:45.448" v="13657"/>
          <ac:spMkLst>
            <pc:docMk/>
            <pc:sldMk cId="853588367" sldId="2134804361"/>
            <ac:spMk id="114" creationId="{7C1BBF76-B358-3AEA-7E4B-584C98EDF454}"/>
          </ac:spMkLst>
        </pc:spChg>
        <pc:spChg chg="add del mod">
          <ac:chgData name="Wenwen Zhang" userId="9dd81366-5d6f-445a-b031-6ea562624431" providerId="ADAL" clId="{1012AE1A-29B0-4E90-8835-842C30BC7D2A}" dt="2023-01-04T11:52:45.448" v="13659"/>
          <ac:spMkLst>
            <pc:docMk/>
            <pc:sldMk cId="853588367" sldId="2134804361"/>
            <ac:spMk id="115" creationId="{E84BFAFE-9E38-2C24-32B7-19AFB4E31D8A}"/>
          </ac:spMkLst>
        </pc:spChg>
        <pc:spChg chg="add del mod">
          <ac:chgData name="Wenwen Zhang" userId="9dd81366-5d6f-445a-b031-6ea562624431" providerId="ADAL" clId="{1012AE1A-29B0-4E90-8835-842C30BC7D2A}" dt="2023-01-04T11:52:45.448" v="13658"/>
          <ac:spMkLst>
            <pc:docMk/>
            <pc:sldMk cId="853588367" sldId="2134804361"/>
            <ac:spMk id="116" creationId="{2879393F-9951-4B42-0211-926F1CD614FD}"/>
          </ac:spMkLst>
        </pc:spChg>
        <pc:spChg chg="add del mod">
          <ac:chgData name="Wenwen Zhang" userId="9dd81366-5d6f-445a-b031-6ea562624431" providerId="ADAL" clId="{1012AE1A-29B0-4E90-8835-842C30BC7D2A}" dt="2023-01-04T11:52:45.448" v="13656"/>
          <ac:spMkLst>
            <pc:docMk/>
            <pc:sldMk cId="853588367" sldId="2134804361"/>
            <ac:spMk id="117" creationId="{7B4004B3-1B58-8EA3-810A-4541CE925F94}"/>
          </ac:spMkLst>
        </pc:spChg>
        <pc:spChg chg="add del mod">
          <ac:chgData name="Wenwen Zhang" userId="9dd81366-5d6f-445a-b031-6ea562624431" providerId="ADAL" clId="{1012AE1A-29B0-4E90-8835-842C30BC7D2A}" dt="2023-01-04T11:52:45.448" v="13655"/>
          <ac:spMkLst>
            <pc:docMk/>
            <pc:sldMk cId="853588367" sldId="2134804361"/>
            <ac:spMk id="118" creationId="{543C7A91-609B-233B-73A2-82934241561B}"/>
          </ac:spMkLst>
        </pc:spChg>
        <pc:spChg chg="add del mod">
          <ac:chgData name="Wenwen Zhang" userId="9dd81366-5d6f-445a-b031-6ea562624431" providerId="ADAL" clId="{1012AE1A-29B0-4E90-8835-842C30BC7D2A}" dt="2023-01-04T11:52:45.447" v="13654"/>
          <ac:spMkLst>
            <pc:docMk/>
            <pc:sldMk cId="853588367" sldId="2134804361"/>
            <ac:spMk id="119" creationId="{746F5A5F-7D37-A8B4-5646-8E66A9CF8143}"/>
          </ac:spMkLst>
        </pc:spChg>
        <pc:spChg chg="add del mod">
          <ac:chgData name="Wenwen Zhang" userId="9dd81366-5d6f-445a-b031-6ea562624431" providerId="ADAL" clId="{1012AE1A-29B0-4E90-8835-842C30BC7D2A}" dt="2023-01-04T11:52:45.447" v="13653"/>
          <ac:spMkLst>
            <pc:docMk/>
            <pc:sldMk cId="853588367" sldId="2134804361"/>
            <ac:spMk id="120" creationId="{09527C48-061F-94D5-9B29-17F8A70C9815}"/>
          </ac:spMkLst>
        </pc:spChg>
        <pc:spChg chg="add del mod">
          <ac:chgData name="Wenwen Zhang" userId="9dd81366-5d6f-445a-b031-6ea562624431" providerId="ADAL" clId="{1012AE1A-29B0-4E90-8835-842C30BC7D2A}" dt="2023-01-04T11:52:45.447" v="13652"/>
          <ac:spMkLst>
            <pc:docMk/>
            <pc:sldMk cId="853588367" sldId="2134804361"/>
            <ac:spMk id="121" creationId="{961758EE-8AC7-B339-5039-0BC4FDCAC9F8}"/>
          </ac:spMkLst>
        </pc:spChg>
        <pc:spChg chg="add del mod ord">
          <ac:chgData name="Wenwen Zhang" userId="9dd81366-5d6f-445a-b031-6ea562624431" providerId="ADAL" clId="{1012AE1A-29B0-4E90-8835-842C30BC7D2A}" dt="2023-01-04T11:52:45.446" v="13650"/>
          <ac:spMkLst>
            <pc:docMk/>
            <pc:sldMk cId="853588367" sldId="2134804361"/>
            <ac:spMk id="122" creationId="{7CF3F3AC-902C-3E44-1BE1-C9E99A5FEA7E}"/>
          </ac:spMkLst>
        </pc:spChg>
        <pc:spChg chg="add del mod">
          <ac:chgData name="Wenwen Zhang" userId="9dd81366-5d6f-445a-b031-6ea562624431" providerId="ADAL" clId="{1012AE1A-29B0-4E90-8835-842C30BC7D2A}" dt="2023-01-04T11:52:45.447" v="13651"/>
          <ac:spMkLst>
            <pc:docMk/>
            <pc:sldMk cId="853588367" sldId="2134804361"/>
            <ac:spMk id="123" creationId="{003DF909-5840-07E7-A971-F667BF2C4160}"/>
          </ac:spMkLst>
        </pc:spChg>
        <pc:spChg chg="add del mod ord">
          <ac:chgData name="Wenwen Zhang" userId="9dd81366-5d6f-445a-b031-6ea562624431" providerId="ADAL" clId="{1012AE1A-29B0-4E90-8835-842C30BC7D2A}" dt="2023-01-04T11:52:45.450" v="13665"/>
          <ac:spMkLst>
            <pc:docMk/>
            <pc:sldMk cId="853588367" sldId="2134804361"/>
            <ac:spMk id="125" creationId="{A97773B0-CC35-AA61-9F79-8B71A53E6F4F}"/>
          </ac:spMkLst>
        </pc:spChg>
        <pc:spChg chg="add del mod">
          <ac:chgData name="Wenwen Zhang" userId="9dd81366-5d6f-445a-b031-6ea562624431" providerId="ADAL" clId="{1012AE1A-29B0-4E90-8835-842C30BC7D2A}" dt="2023-01-04T11:52:45.450" v="13666"/>
          <ac:spMkLst>
            <pc:docMk/>
            <pc:sldMk cId="853588367" sldId="2134804361"/>
            <ac:spMk id="126" creationId="{D4841A68-3A7B-2D4C-2E10-5779DB290A18}"/>
          </ac:spMkLst>
        </pc:spChg>
        <pc:spChg chg="add del mod">
          <ac:chgData name="Wenwen Zhang" userId="9dd81366-5d6f-445a-b031-6ea562624431" providerId="ADAL" clId="{1012AE1A-29B0-4E90-8835-842C30BC7D2A}" dt="2023-01-04T11:52:45.450" v="13669"/>
          <ac:spMkLst>
            <pc:docMk/>
            <pc:sldMk cId="853588367" sldId="2134804361"/>
            <ac:spMk id="127" creationId="{B85FA783-FC5C-A335-9593-76EEE1795146}"/>
          </ac:spMkLst>
        </pc:spChg>
        <pc:spChg chg="add del mod replST">
          <ac:chgData name="Wenwen Zhang" userId="9dd81366-5d6f-445a-b031-6ea562624431" providerId="ADAL" clId="{1012AE1A-29B0-4E90-8835-842C30BC7D2A}" dt="2023-01-04T11:51:56.770" v="11192"/>
          <ac:spMkLst>
            <pc:docMk/>
            <pc:sldMk cId="853588367" sldId="2134804361"/>
            <ac:spMk id="128" creationId="{96DB64E7-7450-5BAA-7DCA-6F75AE12EF02}"/>
          </ac:spMkLst>
        </pc:spChg>
        <pc:spChg chg="add del mod">
          <ac:chgData name="Wenwen Zhang" userId="9dd81366-5d6f-445a-b031-6ea562624431" providerId="ADAL" clId="{1012AE1A-29B0-4E90-8835-842C30BC7D2A}" dt="2023-01-04T11:52:05.148" v="11321"/>
          <ac:spMkLst>
            <pc:docMk/>
            <pc:sldMk cId="853588367" sldId="2134804361"/>
            <ac:spMk id="129" creationId="{8C9596DF-CD4F-1987-E593-DA7D7F316E1D}"/>
          </ac:spMkLst>
        </pc:spChg>
        <pc:spChg chg="add del mod">
          <ac:chgData name="Wenwen Zhang" userId="9dd81366-5d6f-445a-b031-6ea562624431" providerId="ADAL" clId="{1012AE1A-29B0-4E90-8835-842C30BC7D2A}" dt="2023-01-04T11:52:05.150" v="11330"/>
          <ac:spMkLst>
            <pc:docMk/>
            <pc:sldMk cId="853588367" sldId="2134804361"/>
            <ac:spMk id="130" creationId="{11260D6E-D5A9-62C6-F621-AC934C6BF6EC}"/>
          </ac:spMkLst>
        </pc:spChg>
        <pc:spChg chg="add del mod">
          <ac:chgData name="Wenwen Zhang" userId="9dd81366-5d6f-445a-b031-6ea562624431" providerId="ADAL" clId="{1012AE1A-29B0-4E90-8835-842C30BC7D2A}" dt="2023-01-04T11:52:05.150" v="11329"/>
          <ac:spMkLst>
            <pc:docMk/>
            <pc:sldMk cId="853588367" sldId="2134804361"/>
            <ac:spMk id="131" creationId="{908498BF-C3B2-A3CD-8FFD-F11DEFAAE421}"/>
          </ac:spMkLst>
        </pc:spChg>
        <pc:spChg chg="add del mod">
          <ac:chgData name="Wenwen Zhang" userId="9dd81366-5d6f-445a-b031-6ea562624431" providerId="ADAL" clId="{1012AE1A-29B0-4E90-8835-842C30BC7D2A}" dt="2023-01-04T11:52:05.149" v="11327"/>
          <ac:spMkLst>
            <pc:docMk/>
            <pc:sldMk cId="853588367" sldId="2134804361"/>
            <ac:spMk id="132" creationId="{3AD96635-1453-C29E-DF57-ECEED7328AAF}"/>
          </ac:spMkLst>
        </pc:spChg>
        <pc:spChg chg="add del mod">
          <ac:chgData name="Wenwen Zhang" userId="9dd81366-5d6f-445a-b031-6ea562624431" providerId="ADAL" clId="{1012AE1A-29B0-4E90-8835-842C30BC7D2A}" dt="2023-01-04T11:52:05.149" v="11328"/>
          <ac:spMkLst>
            <pc:docMk/>
            <pc:sldMk cId="853588367" sldId="2134804361"/>
            <ac:spMk id="133" creationId="{783E8298-1BC6-5D4F-D8E4-28EB0B8CBC89}"/>
          </ac:spMkLst>
        </pc:spChg>
        <pc:spChg chg="add del mod">
          <ac:chgData name="Wenwen Zhang" userId="9dd81366-5d6f-445a-b031-6ea562624431" providerId="ADAL" clId="{1012AE1A-29B0-4E90-8835-842C30BC7D2A}" dt="2023-01-04T11:52:05.147" v="11318"/>
          <ac:spMkLst>
            <pc:docMk/>
            <pc:sldMk cId="853588367" sldId="2134804361"/>
            <ac:spMk id="134" creationId="{8DBBC1D2-0DBF-C170-21D5-901871DABD3F}"/>
          </ac:spMkLst>
        </pc:spChg>
        <pc:spChg chg="add del mod">
          <ac:chgData name="Wenwen Zhang" userId="9dd81366-5d6f-445a-b031-6ea562624431" providerId="ADAL" clId="{1012AE1A-29B0-4E90-8835-842C30BC7D2A}" dt="2023-01-04T11:52:05.149" v="11326"/>
          <ac:spMkLst>
            <pc:docMk/>
            <pc:sldMk cId="853588367" sldId="2134804361"/>
            <ac:spMk id="135" creationId="{AF6F9639-445C-F8DE-B0FE-43C4E32BC467}"/>
          </ac:spMkLst>
        </pc:spChg>
        <pc:spChg chg="add del mod">
          <ac:chgData name="Wenwen Zhang" userId="9dd81366-5d6f-445a-b031-6ea562624431" providerId="ADAL" clId="{1012AE1A-29B0-4E90-8835-842C30BC7D2A}" dt="2023-01-04T11:52:05.148" v="11323"/>
          <ac:spMkLst>
            <pc:docMk/>
            <pc:sldMk cId="853588367" sldId="2134804361"/>
            <ac:spMk id="136" creationId="{68EC1D8E-A0FE-08F2-7519-150C51098AA6}"/>
          </ac:spMkLst>
        </pc:spChg>
        <pc:spChg chg="add del mod">
          <ac:chgData name="Wenwen Zhang" userId="9dd81366-5d6f-445a-b031-6ea562624431" providerId="ADAL" clId="{1012AE1A-29B0-4E90-8835-842C30BC7D2A}" dt="2023-01-04T11:52:05.147" v="11319"/>
          <ac:spMkLst>
            <pc:docMk/>
            <pc:sldMk cId="853588367" sldId="2134804361"/>
            <ac:spMk id="137" creationId="{29F667CB-6569-0A6D-4C34-B7484C8C0906}"/>
          </ac:spMkLst>
        </pc:spChg>
        <pc:spChg chg="add del mod">
          <ac:chgData name="Wenwen Zhang" userId="9dd81366-5d6f-445a-b031-6ea562624431" providerId="ADAL" clId="{1012AE1A-29B0-4E90-8835-842C30BC7D2A}" dt="2023-01-04T11:52:05.148" v="11322"/>
          <ac:spMkLst>
            <pc:docMk/>
            <pc:sldMk cId="853588367" sldId="2134804361"/>
            <ac:spMk id="138" creationId="{D75DD1B6-7E2E-C6A2-851B-95A169844BFE}"/>
          </ac:spMkLst>
        </pc:spChg>
        <pc:spChg chg="add del mod">
          <ac:chgData name="Wenwen Zhang" userId="9dd81366-5d6f-445a-b031-6ea562624431" providerId="ADAL" clId="{1012AE1A-29B0-4E90-8835-842C30BC7D2A}" dt="2023-01-04T11:52:05.147" v="11320"/>
          <ac:spMkLst>
            <pc:docMk/>
            <pc:sldMk cId="853588367" sldId="2134804361"/>
            <ac:spMk id="139" creationId="{1ADD6669-24AA-81F3-652D-118CECD17A1F}"/>
          </ac:spMkLst>
        </pc:spChg>
        <pc:spChg chg="add del mod">
          <ac:chgData name="Wenwen Zhang" userId="9dd81366-5d6f-445a-b031-6ea562624431" providerId="ADAL" clId="{1012AE1A-29B0-4E90-8835-842C30BC7D2A}" dt="2023-01-04T11:52:05.147" v="11317"/>
          <ac:spMkLst>
            <pc:docMk/>
            <pc:sldMk cId="853588367" sldId="2134804361"/>
            <ac:spMk id="140" creationId="{C95E4FD9-537E-DB96-3D6D-49570A40F374}"/>
          </ac:spMkLst>
        </pc:spChg>
        <pc:spChg chg="add del mod">
          <ac:chgData name="Wenwen Zhang" userId="9dd81366-5d6f-445a-b031-6ea562624431" providerId="ADAL" clId="{1012AE1A-29B0-4E90-8835-842C30BC7D2A}" dt="2023-01-04T11:52:05.146" v="11316"/>
          <ac:spMkLst>
            <pc:docMk/>
            <pc:sldMk cId="853588367" sldId="2134804361"/>
            <ac:spMk id="141" creationId="{B13D8B3F-B0D7-3773-6573-3C3B9F8344D0}"/>
          </ac:spMkLst>
        </pc:spChg>
        <pc:spChg chg="add del mod ord">
          <ac:chgData name="Wenwen Zhang" userId="9dd81366-5d6f-445a-b031-6ea562624431" providerId="ADAL" clId="{1012AE1A-29B0-4E90-8835-842C30BC7D2A}" dt="2023-01-04T11:52:05.149" v="11325"/>
          <ac:spMkLst>
            <pc:docMk/>
            <pc:sldMk cId="853588367" sldId="2134804361"/>
            <ac:spMk id="142" creationId="{ABED452A-494B-CF2F-293D-BADD86D9ADE5}"/>
          </ac:spMkLst>
        </pc:spChg>
        <pc:spChg chg="add del mod replST">
          <ac:chgData name="Wenwen Zhang" userId="9dd81366-5d6f-445a-b031-6ea562624431" providerId="ADAL" clId="{1012AE1A-29B0-4E90-8835-842C30BC7D2A}" dt="2023-01-04T11:51:56.771" v="11193"/>
          <ac:spMkLst>
            <pc:docMk/>
            <pc:sldMk cId="853588367" sldId="2134804361"/>
            <ac:spMk id="143" creationId="{96DB64E7-7450-5BAA-7DCA-6F75AE12EF02}"/>
          </ac:spMkLst>
        </pc:spChg>
        <pc:spChg chg="add del mod">
          <ac:chgData name="Wenwen Zhang" userId="9dd81366-5d6f-445a-b031-6ea562624431" providerId="ADAL" clId="{1012AE1A-29B0-4E90-8835-842C30BC7D2A}" dt="2023-01-04T11:52:05.153" v="11340"/>
          <ac:spMkLst>
            <pc:docMk/>
            <pc:sldMk cId="853588367" sldId="2134804361"/>
            <ac:spMk id="144" creationId="{11C7A7E1-4336-A27E-C716-555F1F7E54EF}"/>
          </ac:spMkLst>
        </pc:spChg>
        <pc:spChg chg="add del mod">
          <ac:chgData name="Wenwen Zhang" userId="9dd81366-5d6f-445a-b031-6ea562624431" providerId="ADAL" clId="{1012AE1A-29B0-4E90-8835-842C30BC7D2A}" dt="2023-01-04T11:52:05.153" v="11343"/>
          <ac:spMkLst>
            <pc:docMk/>
            <pc:sldMk cId="853588367" sldId="2134804361"/>
            <ac:spMk id="145" creationId="{517E4A6C-341D-0BEA-11CE-5A26F760D0DE}"/>
          </ac:spMkLst>
        </pc:spChg>
        <pc:spChg chg="add del mod">
          <ac:chgData name="Wenwen Zhang" userId="9dd81366-5d6f-445a-b031-6ea562624431" providerId="ADAL" clId="{1012AE1A-29B0-4E90-8835-842C30BC7D2A}" dt="2023-01-04T11:52:05.154" v="11345"/>
          <ac:spMkLst>
            <pc:docMk/>
            <pc:sldMk cId="853588367" sldId="2134804361"/>
            <ac:spMk id="146" creationId="{758AEBAB-896C-46A7-630F-A419AC66B53F}"/>
          </ac:spMkLst>
        </pc:spChg>
        <pc:spChg chg="add del mod">
          <ac:chgData name="Wenwen Zhang" userId="9dd81366-5d6f-445a-b031-6ea562624431" providerId="ADAL" clId="{1012AE1A-29B0-4E90-8835-842C30BC7D2A}" dt="2023-01-04T11:52:05.152" v="11338"/>
          <ac:spMkLst>
            <pc:docMk/>
            <pc:sldMk cId="853588367" sldId="2134804361"/>
            <ac:spMk id="147" creationId="{0F7532C7-B78B-559E-4691-EC779437B4C7}"/>
          </ac:spMkLst>
        </pc:spChg>
        <pc:spChg chg="add del mod">
          <ac:chgData name="Wenwen Zhang" userId="9dd81366-5d6f-445a-b031-6ea562624431" providerId="ADAL" clId="{1012AE1A-29B0-4E90-8835-842C30BC7D2A}" dt="2023-01-04T11:52:05.154" v="11344"/>
          <ac:spMkLst>
            <pc:docMk/>
            <pc:sldMk cId="853588367" sldId="2134804361"/>
            <ac:spMk id="148" creationId="{50C656ED-8804-594C-2475-2154ACF7B5F2}"/>
          </ac:spMkLst>
        </pc:spChg>
        <pc:spChg chg="add del mod">
          <ac:chgData name="Wenwen Zhang" userId="9dd81366-5d6f-445a-b031-6ea562624431" providerId="ADAL" clId="{1012AE1A-29B0-4E90-8835-842C30BC7D2A}" dt="2023-01-04T11:52:05.153" v="11342"/>
          <ac:spMkLst>
            <pc:docMk/>
            <pc:sldMk cId="853588367" sldId="2134804361"/>
            <ac:spMk id="149" creationId="{3ACD07E6-0573-2916-9E89-67904E6E7511}"/>
          </ac:spMkLst>
        </pc:spChg>
        <pc:spChg chg="add del mod">
          <ac:chgData name="Wenwen Zhang" userId="9dd81366-5d6f-445a-b031-6ea562624431" providerId="ADAL" clId="{1012AE1A-29B0-4E90-8835-842C30BC7D2A}" dt="2023-01-04T11:52:05.153" v="11341"/>
          <ac:spMkLst>
            <pc:docMk/>
            <pc:sldMk cId="853588367" sldId="2134804361"/>
            <ac:spMk id="150" creationId="{762ED66D-115D-5EC3-1FEC-AA7BD1C36D0F}"/>
          </ac:spMkLst>
        </pc:spChg>
        <pc:spChg chg="add del mod">
          <ac:chgData name="Wenwen Zhang" userId="9dd81366-5d6f-445a-b031-6ea562624431" providerId="ADAL" clId="{1012AE1A-29B0-4E90-8835-842C30BC7D2A}" dt="2023-01-04T11:52:05.153" v="11339"/>
          <ac:spMkLst>
            <pc:docMk/>
            <pc:sldMk cId="853588367" sldId="2134804361"/>
            <ac:spMk id="151" creationId="{BF73D308-71D9-D49B-CE57-AFAD03C13725}"/>
          </ac:spMkLst>
        </pc:spChg>
        <pc:spChg chg="add del mod">
          <ac:chgData name="Wenwen Zhang" userId="9dd81366-5d6f-445a-b031-6ea562624431" providerId="ADAL" clId="{1012AE1A-29B0-4E90-8835-842C30BC7D2A}" dt="2023-01-04T11:52:05.152" v="11337"/>
          <ac:spMkLst>
            <pc:docMk/>
            <pc:sldMk cId="853588367" sldId="2134804361"/>
            <ac:spMk id="152" creationId="{5A28F48E-9F08-7DC0-DFC3-5E9305199018}"/>
          </ac:spMkLst>
        </pc:spChg>
        <pc:spChg chg="add del mod">
          <ac:chgData name="Wenwen Zhang" userId="9dd81366-5d6f-445a-b031-6ea562624431" providerId="ADAL" clId="{1012AE1A-29B0-4E90-8835-842C30BC7D2A}" dt="2023-01-04T11:52:05.152" v="11336"/>
          <ac:spMkLst>
            <pc:docMk/>
            <pc:sldMk cId="853588367" sldId="2134804361"/>
            <ac:spMk id="153" creationId="{9E42A9CD-02AA-1343-29EE-1A645CACE54B}"/>
          </ac:spMkLst>
        </pc:spChg>
        <pc:spChg chg="add del mod">
          <ac:chgData name="Wenwen Zhang" userId="9dd81366-5d6f-445a-b031-6ea562624431" providerId="ADAL" clId="{1012AE1A-29B0-4E90-8835-842C30BC7D2A}" dt="2023-01-04T11:52:05.152" v="11335"/>
          <ac:spMkLst>
            <pc:docMk/>
            <pc:sldMk cId="853588367" sldId="2134804361"/>
            <ac:spMk id="154" creationId="{3D323ECA-6509-1B33-A269-DD05152E8214}"/>
          </ac:spMkLst>
        </pc:spChg>
        <pc:spChg chg="add del mod">
          <ac:chgData name="Wenwen Zhang" userId="9dd81366-5d6f-445a-b031-6ea562624431" providerId="ADAL" clId="{1012AE1A-29B0-4E90-8835-842C30BC7D2A}" dt="2023-01-04T11:52:05.152" v="11334"/>
          <ac:spMkLst>
            <pc:docMk/>
            <pc:sldMk cId="853588367" sldId="2134804361"/>
            <ac:spMk id="155" creationId="{FC8D7B74-EEC6-9314-DCA2-E6887B718127}"/>
          </ac:spMkLst>
        </pc:spChg>
        <pc:spChg chg="add del mod">
          <ac:chgData name="Wenwen Zhang" userId="9dd81366-5d6f-445a-b031-6ea562624431" providerId="ADAL" clId="{1012AE1A-29B0-4E90-8835-842C30BC7D2A}" dt="2023-01-04T11:52:05.151" v="11333"/>
          <ac:spMkLst>
            <pc:docMk/>
            <pc:sldMk cId="853588367" sldId="2134804361"/>
            <ac:spMk id="156" creationId="{D3B03944-F181-5313-FDA9-9B3A3C3C1B83}"/>
          </ac:spMkLst>
        </pc:spChg>
        <pc:spChg chg="add del mod replST">
          <ac:chgData name="Wenwen Zhang" userId="9dd81366-5d6f-445a-b031-6ea562624431" providerId="ADAL" clId="{1012AE1A-29B0-4E90-8835-842C30BC7D2A}" dt="2023-01-04T11:51:56.772" v="11194"/>
          <ac:spMkLst>
            <pc:docMk/>
            <pc:sldMk cId="853588367" sldId="2134804361"/>
            <ac:spMk id="157" creationId="{96DB64E7-7450-5BAA-7DCA-6F75AE12EF02}"/>
          </ac:spMkLst>
        </pc:spChg>
        <pc:spChg chg="add del mod">
          <ac:chgData name="Wenwen Zhang" userId="9dd81366-5d6f-445a-b031-6ea562624431" providerId="ADAL" clId="{1012AE1A-29B0-4E90-8835-842C30BC7D2A}" dt="2023-01-04T11:52:45.444" v="13644"/>
          <ac:spMkLst>
            <pc:docMk/>
            <pc:sldMk cId="853588367" sldId="2134804361"/>
            <ac:spMk id="158" creationId="{CF502607-5D84-957A-642D-C103006F216B}"/>
          </ac:spMkLst>
        </pc:spChg>
        <pc:spChg chg="add del mod">
          <ac:chgData name="Wenwen Zhang" userId="9dd81366-5d6f-445a-b031-6ea562624431" providerId="ADAL" clId="{1012AE1A-29B0-4E90-8835-842C30BC7D2A}" dt="2023-01-04T11:52:45.445" v="13645"/>
          <ac:spMkLst>
            <pc:docMk/>
            <pc:sldMk cId="853588367" sldId="2134804361"/>
            <ac:spMk id="159" creationId="{9C7B7BA7-EB43-1B93-8ED0-3235B5D2EC39}"/>
          </ac:spMkLst>
        </pc:spChg>
        <pc:spChg chg="add del mod ord">
          <ac:chgData name="Wenwen Zhang" userId="9dd81366-5d6f-445a-b031-6ea562624431" providerId="ADAL" clId="{1012AE1A-29B0-4E90-8835-842C30BC7D2A}" dt="2023-01-04T11:52:45.442" v="13633"/>
          <ac:spMkLst>
            <pc:docMk/>
            <pc:sldMk cId="853588367" sldId="2134804361"/>
            <ac:spMk id="160" creationId="{02571662-D82A-E194-AAF6-29909EB629CC}"/>
          </ac:spMkLst>
        </pc:spChg>
        <pc:spChg chg="add del mod">
          <ac:chgData name="Wenwen Zhang" userId="9dd81366-5d6f-445a-b031-6ea562624431" providerId="ADAL" clId="{1012AE1A-29B0-4E90-8835-842C30BC7D2A}" dt="2023-01-04T11:52:45.445" v="13646"/>
          <ac:spMkLst>
            <pc:docMk/>
            <pc:sldMk cId="853588367" sldId="2134804361"/>
            <ac:spMk id="161" creationId="{266654B0-B5BC-EDF4-F208-AA7C4B400D9A}"/>
          </ac:spMkLst>
        </pc:spChg>
        <pc:spChg chg="add del mod">
          <ac:chgData name="Wenwen Zhang" userId="9dd81366-5d6f-445a-b031-6ea562624431" providerId="ADAL" clId="{1012AE1A-29B0-4E90-8835-842C30BC7D2A}" dt="2023-01-04T11:52:45.444" v="13643"/>
          <ac:spMkLst>
            <pc:docMk/>
            <pc:sldMk cId="853588367" sldId="2134804361"/>
            <ac:spMk id="162" creationId="{0F473F9B-03DD-3606-33CC-E91C7361642F}"/>
          </ac:spMkLst>
        </pc:spChg>
        <pc:spChg chg="add del mod">
          <ac:chgData name="Wenwen Zhang" userId="9dd81366-5d6f-445a-b031-6ea562624431" providerId="ADAL" clId="{1012AE1A-29B0-4E90-8835-842C30BC7D2A}" dt="2023-01-04T11:52:45.443" v="13639"/>
          <ac:spMkLst>
            <pc:docMk/>
            <pc:sldMk cId="853588367" sldId="2134804361"/>
            <ac:spMk id="163" creationId="{B8321BE6-85B8-0E43-59F3-C7E6211C2F36}"/>
          </ac:spMkLst>
        </pc:spChg>
        <pc:spChg chg="add del mod">
          <ac:chgData name="Wenwen Zhang" userId="9dd81366-5d6f-445a-b031-6ea562624431" providerId="ADAL" clId="{1012AE1A-29B0-4E90-8835-842C30BC7D2A}" dt="2023-01-04T11:52:45.444" v="13642"/>
          <ac:spMkLst>
            <pc:docMk/>
            <pc:sldMk cId="853588367" sldId="2134804361"/>
            <ac:spMk id="164" creationId="{6C47C923-C1C8-DAF4-14EC-B489FD775865}"/>
          </ac:spMkLst>
        </pc:spChg>
        <pc:spChg chg="add del mod">
          <ac:chgData name="Wenwen Zhang" userId="9dd81366-5d6f-445a-b031-6ea562624431" providerId="ADAL" clId="{1012AE1A-29B0-4E90-8835-842C30BC7D2A}" dt="2023-01-04T11:52:45.444" v="13641"/>
          <ac:spMkLst>
            <pc:docMk/>
            <pc:sldMk cId="853588367" sldId="2134804361"/>
            <ac:spMk id="165" creationId="{9B495C01-62DB-E83C-EF6B-BCA2190D72D3}"/>
          </ac:spMkLst>
        </pc:spChg>
        <pc:spChg chg="add del mod">
          <ac:chgData name="Wenwen Zhang" userId="9dd81366-5d6f-445a-b031-6ea562624431" providerId="ADAL" clId="{1012AE1A-29B0-4E90-8835-842C30BC7D2A}" dt="2023-01-04T11:52:45.444" v="13640"/>
          <ac:spMkLst>
            <pc:docMk/>
            <pc:sldMk cId="853588367" sldId="2134804361"/>
            <ac:spMk id="166" creationId="{4B1E994B-115E-AB36-2426-9FF61B61E69B}"/>
          </ac:spMkLst>
        </pc:spChg>
        <pc:spChg chg="add del mod">
          <ac:chgData name="Wenwen Zhang" userId="9dd81366-5d6f-445a-b031-6ea562624431" providerId="ADAL" clId="{1012AE1A-29B0-4E90-8835-842C30BC7D2A}" dt="2023-01-04T11:52:45.443" v="13638"/>
          <ac:spMkLst>
            <pc:docMk/>
            <pc:sldMk cId="853588367" sldId="2134804361"/>
            <ac:spMk id="167" creationId="{6DE5F6E4-B926-809C-D4DA-CC1A010E93DA}"/>
          </ac:spMkLst>
        </pc:spChg>
        <pc:spChg chg="add del mod">
          <ac:chgData name="Wenwen Zhang" userId="9dd81366-5d6f-445a-b031-6ea562624431" providerId="ADAL" clId="{1012AE1A-29B0-4E90-8835-842C30BC7D2A}" dt="2023-01-04T11:52:45.443" v="13637"/>
          <ac:spMkLst>
            <pc:docMk/>
            <pc:sldMk cId="853588367" sldId="2134804361"/>
            <ac:spMk id="168" creationId="{2F9707DC-BA63-86C7-AFB0-C49FBF6FDC9A}"/>
          </ac:spMkLst>
        </pc:spChg>
        <pc:spChg chg="add del mod">
          <ac:chgData name="Wenwen Zhang" userId="9dd81366-5d6f-445a-b031-6ea562624431" providerId="ADAL" clId="{1012AE1A-29B0-4E90-8835-842C30BC7D2A}" dt="2023-01-04T11:52:45.443" v="13636"/>
          <ac:spMkLst>
            <pc:docMk/>
            <pc:sldMk cId="853588367" sldId="2134804361"/>
            <ac:spMk id="169" creationId="{24B6AB77-6AB0-C1FD-9777-1063A8AE89B0}"/>
          </ac:spMkLst>
        </pc:spChg>
        <pc:spChg chg="add del mod">
          <ac:chgData name="Wenwen Zhang" userId="9dd81366-5d6f-445a-b031-6ea562624431" providerId="ADAL" clId="{1012AE1A-29B0-4E90-8835-842C30BC7D2A}" dt="2023-01-04T11:52:45.443" v="13635"/>
          <ac:spMkLst>
            <pc:docMk/>
            <pc:sldMk cId="853588367" sldId="2134804361"/>
            <ac:spMk id="170" creationId="{6996419F-1E61-57C4-09E8-896E03F16A10}"/>
          </ac:spMkLst>
        </pc:spChg>
        <pc:spChg chg="add del mod">
          <ac:chgData name="Wenwen Zhang" userId="9dd81366-5d6f-445a-b031-6ea562624431" providerId="ADAL" clId="{1012AE1A-29B0-4E90-8835-842C30BC7D2A}" dt="2023-01-04T11:52:45.442" v="13634"/>
          <ac:spMkLst>
            <pc:docMk/>
            <pc:sldMk cId="853588367" sldId="2134804361"/>
            <ac:spMk id="171" creationId="{B8BEE789-A054-B678-4B5B-587B7CF76E5C}"/>
          </ac:spMkLst>
        </pc:spChg>
        <pc:spChg chg="add del mod ord">
          <ac:chgData name="Wenwen Zhang" userId="9dd81366-5d6f-445a-b031-6ea562624431" providerId="ADAL" clId="{1012AE1A-29B0-4E90-8835-842C30BC7D2A}" dt="2023-01-04T11:52:52.515" v="13755"/>
          <ac:spMkLst>
            <pc:docMk/>
            <pc:sldMk cId="853588367" sldId="2134804361"/>
            <ac:spMk id="172" creationId="{D38D3EEC-0703-1018-0682-108B8879B6BE}"/>
          </ac:spMkLst>
        </pc:spChg>
        <pc:spChg chg="add del mod replST">
          <ac:chgData name="Wenwen Zhang" userId="9dd81366-5d6f-445a-b031-6ea562624431" providerId="ADAL" clId="{1012AE1A-29B0-4E90-8835-842C30BC7D2A}" dt="2023-01-04T11:51:56.773" v="11195"/>
          <ac:spMkLst>
            <pc:docMk/>
            <pc:sldMk cId="853588367" sldId="2134804361"/>
            <ac:spMk id="173" creationId="{96DB64E7-7450-5BAA-7DCA-6F75AE12EF02}"/>
          </ac:spMkLst>
        </pc:spChg>
        <pc:spChg chg="add del mod replST">
          <ac:chgData name="Wenwen Zhang" userId="9dd81366-5d6f-445a-b031-6ea562624431" providerId="ADAL" clId="{1012AE1A-29B0-4E90-8835-842C30BC7D2A}" dt="2023-01-04T11:51:56.774" v="11196"/>
          <ac:spMkLst>
            <pc:docMk/>
            <pc:sldMk cId="853588367" sldId="2134804361"/>
            <ac:spMk id="174" creationId="{96DB64E7-7450-5BAA-7DCA-6F75AE12EF02}"/>
          </ac:spMkLst>
        </pc:spChg>
        <pc:spChg chg="add del mod replST">
          <ac:chgData name="Wenwen Zhang" userId="9dd81366-5d6f-445a-b031-6ea562624431" providerId="ADAL" clId="{1012AE1A-29B0-4E90-8835-842C30BC7D2A}" dt="2023-01-04T11:51:56.775" v="11197"/>
          <ac:spMkLst>
            <pc:docMk/>
            <pc:sldMk cId="853588367" sldId="2134804361"/>
            <ac:spMk id="175" creationId="{96DB64E7-7450-5BAA-7DCA-6F75AE12EF02}"/>
          </ac:spMkLst>
        </pc:spChg>
        <pc:spChg chg="add del mod replST">
          <ac:chgData name="Wenwen Zhang" userId="9dd81366-5d6f-445a-b031-6ea562624431" providerId="ADAL" clId="{1012AE1A-29B0-4E90-8835-842C30BC7D2A}" dt="2023-01-04T11:51:56.776" v="11198"/>
          <ac:spMkLst>
            <pc:docMk/>
            <pc:sldMk cId="853588367" sldId="2134804361"/>
            <ac:spMk id="176" creationId="{96DB64E7-7450-5BAA-7DCA-6F75AE12EF02}"/>
          </ac:spMkLst>
        </pc:spChg>
        <pc:spChg chg="add del mod modVis">
          <ac:chgData name="Wenwen Zhang" userId="9dd81366-5d6f-445a-b031-6ea562624431" providerId="ADAL" clId="{1012AE1A-29B0-4E90-8835-842C30BC7D2A}" dt="2023-01-04T11:51:56.916" v="11312"/>
          <ac:spMkLst>
            <pc:docMk/>
            <pc:sldMk cId="853588367" sldId="2134804361"/>
            <ac:spMk id="178" creationId="{689500F5-8C82-1D1B-D5C3-7CDB4D163E41}"/>
          </ac:spMkLst>
        </pc:spChg>
        <pc:spChg chg="add mod replST">
          <ac:chgData name="Wenwen Zhang" userId="9dd81366-5d6f-445a-b031-6ea562624431" providerId="ADAL" clId="{1012AE1A-29B0-4E90-8835-842C30BC7D2A}" dt="2023-01-05T13:51:23.825" v="93126"/>
          <ac:spMkLst>
            <pc:docMk/>
            <pc:sldMk cId="853588367" sldId="2134804361"/>
            <ac:spMk id="182" creationId="{B3AEE46D-7FC3-DC00-382C-8F8CB930C29C}"/>
          </ac:spMkLst>
        </pc:spChg>
        <pc:spChg chg="add mod replST">
          <ac:chgData name="Wenwen Zhang" userId="9dd81366-5d6f-445a-b031-6ea562624431" providerId="ADAL" clId="{1012AE1A-29B0-4E90-8835-842C30BC7D2A}" dt="2023-01-05T13:51:23.825" v="93125"/>
          <ac:spMkLst>
            <pc:docMk/>
            <pc:sldMk cId="853588367" sldId="2134804361"/>
            <ac:spMk id="183" creationId="{7C80A0FA-5102-1B37-436D-7E21A5DF75FD}"/>
          </ac:spMkLst>
        </pc:spChg>
        <pc:spChg chg="add mod replST">
          <ac:chgData name="Wenwen Zhang" userId="9dd81366-5d6f-445a-b031-6ea562624431" providerId="ADAL" clId="{1012AE1A-29B0-4E90-8835-842C30BC7D2A}" dt="2023-01-05T13:51:23.825" v="93127"/>
          <ac:spMkLst>
            <pc:docMk/>
            <pc:sldMk cId="853588367" sldId="2134804361"/>
            <ac:spMk id="184" creationId="{466F2837-939E-12F1-3E52-0DDC3E542483}"/>
          </ac:spMkLst>
        </pc:spChg>
        <pc:spChg chg="add mod replST">
          <ac:chgData name="Wenwen Zhang" userId="9dd81366-5d6f-445a-b031-6ea562624431" providerId="ADAL" clId="{1012AE1A-29B0-4E90-8835-842C30BC7D2A}" dt="2023-01-05T13:51:23.826" v="93129"/>
          <ac:spMkLst>
            <pc:docMk/>
            <pc:sldMk cId="853588367" sldId="2134804361"/>
            <ac:spMk id="185" creationId="{4BF34A46-6D08-8467-E8FD-438F836232AB}"/>
          </ac:spMkLst>
        </pc:spChg>
        <pc:spChg chg="add mod replST">
          <ac:chgData name="Wenwen Zhang" userId="9dd81366-5d6f-445a-b031-6ea562624431" providerId="ADAL" clId="{1012AE1A-29B0-4E90-8835-842C30BC7D2A}" dt="2023-01-05T13:51:23.829" v="93134"/>
          <ac:spMkLst>
            <pc:docMk/>
            <pc:sldMk cId="853588367" sldId="2134804361"/>
            <ac:spMk id="186" creationId="{21A1A72D-C3C6-6F44-7C60-2B97B8EB0332}"/>
          </ac:spMkLst>
        </pc:spChg>
        <pc:spChg chg="add mod replST">
          <ac:chgData name="Wenwen Zhang" userId="9dd81366-5d6f-445a-b031-6ea562624431" providerId="ADAL" clId="{1012AE1A-29B0-4E90-8835-842C30BC7D2A}" dt="2023-01-05T13:51:23.826" v="93128"/>
          <ac:spMkLst>
            <pc:docMk/>
            <pc:sldMk cId="853588367" sldId="2134804361"/>
            <ac:spMk id="187" creationId="{478A4F0E-9B6C-7A7F-D3C1-32E256B74298}"/>
          </ac:spMkLst>
        </pc:spChg>
        <pc:spChg chg="add mod replST">
          <ac:chgData name="Wenwen Zhang" userId="9dd81366-5d6f-445a-b031-6ea562624431" providerId="ADAL" clId="{1012AE1A-29B0-4E90-8835-842C30BC7D2A}" dt="2023-01-05T13:51:23.827" v="93131"/>
          <ac:spMkLst>
            <pc:docMk/>
            <pc:sldMk cId="853588367" sldId="2134804361"/>
            <ac:spMk id="188" creationId="{9D9687CC-DB46-CC00-540E-4669B8F657EB}"/>
          </ac:spMkLst>
        </pc:spChg>
        <pc:spChg chg="add mod replST">
          <ac:chgData name="Wenwen Zhang" userId="9dd81366-5d6f-445a-b031-6ea562624431" providerId="ADAL" clId="{1012AE1A-29B0-4E90-8835-842C30BC7D2A}" dt="2023-01-05T13:51:23.829" v="93137"/>
          <ac:spMkLst>
            <pc:docMk/>
            <pc:sldMk cId="853588367" sldId="2134804361"/>
            <ac:spMk id="189" creationId="{C59FD56A-50EE-3BA6-D621-7FD10E5A2A27}"/>
          </ac:spMkLst>
        </pc:spChg>
        <pc:spChg chg="add mod replST">
          <ac:chgData name="Wenwen Zhang" userId="9dd81366-5d6f-445a-b031-6ea562624431" providerId="ADAL" clId="{1012AE1A-29B0-4E90-8835-842C30BC7D2A}" dt="2023-01-05T13:51:23.827" v="93132"/>
          <ac:spMkLst>
            <pc:docMk/>
            <pc:sldMk cId="853588367" sldId="2134804361"/>
            <ac:spMk id="190" creationId="{AC1FAA8A-949B-BD0C-207A-07B05B145E0D}"/>
          </ac:spMkLst>
        </pc:spChg>
        <pc:spChg chg="add mod replST">
          <ac:chgData name="Wenwen Zhang" userId="9dd81366-5d6f-445a-b031-6ea562624431" providerId="ADAL" clId="{1012AE1A-29B0-4E90-8835-842C30BC7D2A}" dt="2023-01-05T13:51:23.826" v="93130"/>
          <ac:spMkLst>
            <pc:docMk/>
            <pc:sldMk cId="853588367" sldId="2134804361"/>
            <ac:spMk id="191" creationId="{4643F17C-190F-98D7-7502-3B3CCE2572F2}"/>
          </ac:spMkLst>
        </pc:spChg>
        <pc:spChg chg="add mod replST">
          <ac:chgData name="Wenwen Zhang" userId="9dd81366-5d6f-445a-b031-6ea562624431" providerId="ADAL" clId="{1012AE1A-29B0-4E90-8835-842C30BC7D2A}" dt="2023-01-05T13:51:23.827" v="93133"/>
          <ac:spMkLst>
            <pc:docMk/>
            <pc:sldMk cId="853588367" sldId="2134804361"/>
            <ac:spMk id="192" creationId="{CE96726D-DA07-1CA7-4492-CA5167CE313E}"/>
          </ac:spMkLst>
        </pc:spChg>
        <pc:spChg chg="add mod replST">
          <ac:chgData name="Wenwen Zhang" userId="9dd81366-5d6f-445a-b031-6ea562624431" providerId="ADAL" clId="{1012AE1A-29B0-4E90-8835-842C30BC7D2A}" dt="2023-01-05T13:51:23.829" v="93135"/>
          <ac:spMkLst>
            <pc:docMk/>
            <pc:sldMk cId="853588367" sldId="2134804361"/>
            <ac:spMk id="193" creationId="{9A644342-E14C-788E-4626-0AB2D7DA728C}"/>
          </ac:spMkLst>
        </pc:spChg>
        <pc:spChg chg="add mod ord replST">
          <ac:chgData name="Wenwen Zhang" userId="9dd81366-5d6f-445a-b031-6ea562624431" providerId="ADAL" clId="{1012AE1A-29B0-4E90-8835-842C30BC7D2A}" dt="2023-01-05T13:51:23.830" v="93141"/>
          <ac:spMkLst>
            <pc:docMk/>
            <pc:sldMk cId="853588367" sldId="2134804361"/>
            <ac:spMk id="194" creationId="{EDEF8D30-39FB-7CF6-1C27-E53DF8B0676C}"/>
          </ac:spMkLst>
        </pc:spChg>
        <pc:spChg chg="add mod replST">
          <ac:chgData name="Wenwen Zhang" userId="9dd81366-5d6f-445a-b031-6ea562624431" providerId="ADAL" clId="{1012AE1A-29B0-4E90-8835-842C30BC7D2A}" dt="2023-01-05T13:51:23.829" v="93136"/>
          <ac:spMkLst>
            <pc:docMk/>
            <pc:sldMk cId="853588367" sldId="2134804361"/>
            <ac:spMk id="195" creationId="{536B64B2-8A96-9AA6-2EBC-61EA93E64843}"/>
          </ac:spMkLst>
        </pc:spChg>
        <pc:spChg chg="add del mod ord replST">
          <ac:chgData name="Wenwen Zhang" userId="9dd81366-5d6f-445a-b031-6ea562624431" providerId="ADAL" clId="{1012AE1A-29B0-4E90-8835-842C30BC7D2A}" dt="2023-01-04T11:52:27.186" v="13309"/>
          <ac:spMkLst>
            <pc:docMk/>
            <pc:sldMk cId="853588367" sldId="2134804361"/>
            <ac:spMk id="196" creationId="{1F81B07C-9750-2F07-3740-3B426A8CCDED}"/>
          </ac:spMkLst>
        </pc:spChg>
        <pc:spChg chg="add mod ord replST">
          <ac:chgData name="Wenwen Zhang" userId="9dd81366-5d6f-445a-b031-6ea562624431" providerId="ADAL" clId="{1012AE1A-29B0-4E90-8835-842C30BC7D2A}" dt="2023-01-05T13:51:23.829" v="93139"/>
          <ac:spMkLst>
            <pc:docMk/>
            <pc:sldMk cId="853588367" sldId="2134804361"/>
            <ac:spMk id="197" creationId="{A7DB2152-384A-C09A-A536-62AD203AC80E}"/>
          </ac:spMkLst>
        </pc:spChg>
        <pc:spChg chg="add del mod ord replST">
          <ac:chgData name="Wenwen Zhang" userId="9dd81366-5d6f-445a-b031-6ea562624431" providerId="ADAL" clId="{1012AE1A-29B0-4E90-8835-842C30BC7D2A}" dt="2023-01-04T15:16:37.297" v="24959"/>
          <ac:spMkLst>
            <pc:docMk/>
            <pc:sldMk cId="853588367" sldId="2134804361"/>
            <ac:spMk id="198" creationId="{1F3506F9-8D84-E7DC-DEA2-643D36EA4D57}"/>
          </ac:spMkLst>
        </pc:spChg>
        <pc:spChg chg="add mod replST">
          <ac:chgData name="Wenwen Zhang" userId="9dd81366-5d6f-445a-b031-6ea562624431" providerId="ADAL" clId="{1012AE1A-29B0-4E90-8835-842C30BC7D2A}" dt="2023-01-05T13:51:23.832" v="93146"/>
          <ac:spMkLst>
            <pc:docMk/>
            <pc:sldMk cId="853588367" sldId="2134804361"/>
            <ac:spMk id="200" creationId="{F85D49DF-C99E-BC99-7621-99708DE4BE65}"/>
          </ac:spMkLst>
        </pc:spChg>
        <pc:spChg chg="add mod replST">
          <ac:chgData name="Wenwen Zhang" userId="9dd81366-5d6f-445a-b031-6ea562624431" providerId="ADAL" clId="{1012AE1A-29B0-4E90-8835-842C30BC7D2A}" dt="2023-01-05T13:51:23.833" v="93152"/>
          <ac:spMkLst>
            <pc:docMk/>
            <pc:sldMk cId="853588367" sldId="2134804361"/>
            <ac:spMk id="201" creationId="{4CD16581-8625-DCD4-849D-03167426D997}"/>
          </ac:spMkLst>
        </pc:spChg>
        <pc:spChg chg="add mod replST">
          <ac:chgData name="Wenwen Zhang" userId="9dd81366-5d6f-445a-b031-6ea562624431" providerId="ADAL" clId="{1012AE1A-29B0-4E90-8835-842C30BC7D2A}" dt="2023-01-05T13:51:23.833" v="93149"/>
          <ac:spMkLst>
            <pc:docMk/>
            <pc:sldMk cId="853588367" sldId="2134804361"/>
            <ac:spMk id="202" creationId="{60B3A55A-8F80-7819-5787-9E47A71CEA93}"/>
          </ac:spMkLst>
        </pc:spChg>
        <pc:spChg chg="add mod replST">
          <ac:chgData name="Wenwen Zhang" userId="9dd81366-5d6f-445a-b031-6ea562624431" providerId="ADAL" clId="{1012AE1A-29B0-4E90-8835-842C30BC7D2A}" dt="2023-01-05T13:51:23.832" v="93147"/>
          <ac:spMkLst>
            <pc:docMk/>
            <pc:sldMk cId="853588367" sldId="2134804361"/>
            <ac:spMk id="203" creationId="{22B40922-59C5-C95D-9CD2-0D659FB17000}"/>
          </ac:spMkLst>
        </pc:spChg>
        <pc:spChg chg="add mod replST">
          <ac:chgData name="Wenwen Zhang" userId="9dd81366-5d6f-445a-b031-6ea562624431" providerId="ADAL" clId="{1012AE1A-29B0-4E90-8835-842C30BC7D2A}" dt="2023-01-05T13:51:23.832" v="93148"/>
          <ac:spMkLst>
            <pc:docMk/>
            <pc:sldMk cId="853588367" sldId="2134804361"/>
            <ac:spMk id="204" creationId="{FBBE7D84-59E9-72D1-BA65-945450F9D196}"/>
          </ac:spMkLst>
        </pc:spChg>
        <pc:spChg chg="add mod replST">
          <ac:chgData name="Wenwen Zhang" userId="9dd81366-5d6f-445a-b031-6ea562624431" providerId="ADAL" clId="{1012AE1A-29B0-4E90-8835-842C30BC7D2A}" dt="2023-01-05T13:51:23.831" v="93145"/>
          <ac:spMkLst>
            <pc:docMk/>
            <pc:sldMk cId="853588367" sldId="2134804361"/>
            <ac:spMk id="205" creationId="{10A7F65C-6640-20BE-537B-C840C779E89D}"/>
          </ac:spMkLst>
        </pc:spChg>
        <pc:spChg chg="add mod replST">
          <ac:chgData name="Wenwen Zhang" userId="9dd81366-5d6f-445a-b031-6ea562624431" providerId="ADAL" clId="{1012AE1A-29B0-4E90-8835-842C30BC7D2A}" dt="2023-01-05T13:51:23.833" v="93150"/>
          <ac:spMkLst>
            <pc:docMk/>
            <pc:sldMk cId="853588367" sldId="2134804361"/>
            <ac:spMk id="206" creationId="{B16C651D-C92F-F21D-30D1-E8B8980F9897}"/>
          </ac:spMkLst>
        </pc:spChg>
        <pc:spChg chg="add mod replST">
          <ac:chgData name="Wenwen Zhang" userId="9dd81366-5d6f-445a-b031-6ea562624431" providerId="ADAL" clId="{1012AE1A-29B0-4E90-8835-842C30BC7D2A}" dt="2023-01-05T13:51:23.833" v="93151"/>
          <ac:spMkLst>
            <pc:docMk/>
            <pc:sldMk cId="853588367" sldId="2134804361"/>
            <ac:spMk id="207" creationId="{6C2E7F76-E911-F79A-E65F-26D61CD6A7DD}"/>
          </ac:spMkLst>
        </pc:spChg>
        <pc:spChg chg="add mod replST">
          <ac:chgData name="Wenwen Zhang" userId="9dd81366-5d6f-445a-b031-6ea562624431" providerId="ADAL" clId="{1012AE1A-29B0-4E90-8835-842C30BC7D2A}" dt="2023-01-05T13:51:23.834" v="93153"/>
          <ac:spMkLst>
            <pc:docMk/>
            <pc:sldMk cId="853588367" sldId="2134804361"/>
            <ac:spMk id="208" creationId="{4DC5568B-B330-B67A-E340-D73EAD652E6C}"/>
          </ac:spMkLst>
        </pc:spChg>
        <pc:spChg chg="add mod replST">
          <ac:chgData name="Wenwen Zhang" userId="9dd81366-5d6f-445a-b031-6ea562624431" providerId="ADAL" clId="{1012AE1A-29B0-4E90-8835-842C30BC7D2A}" dt="2023-01-05T13:51:23.834" v="93154"/>
          <ac:spMkLst>
            <pc:docMk/>
            <pc:sldMk cId="853588367" sldId="2134804361"/>
            <ac:spMk id="209" creationId="{FE7824FE-A243-732E-E19C-828260E7BF4E}"/>
          </ac:spMkLst>
        </pc:spChg>
        <pc:spChg chg="add mod replST">
          <ac:chgData name="Wenwen Zhang" userId="9dd81366-5d6f-445a-b031-6ea562624431" providerId="ADAL" clId="{1012AE1A-29B0-4E90-8835-842C30BC7D2A}" dt="2023-01-05T13:51:23.831" v="93144"/>
          <ac:spMkLst>
            <pc:docMk/>
            <pc:sldMk cId="853588367" sldId="2134804361"/>
            <ac:spMk id="210" creationId="{00B41D97-BDB2-DFFB-B4D8-07505D7D11A3}"/>
          </ac:spMkLst>
        </pc:spChg>
        <pc:spChg chg="add mod replST">
          <ac:chgData name="Wenwen Zhang" userId="9dd81366-5d6f-445a-b031-6ea562624431" providerId="ADAL" clId="{1012AE1A-29B0-4E90-8835-842C30BC7D2A}" dt="2023-01-05T13:51:23.835" v="93155"/>
          <ac:spMkLst>
            <pc:docMk/>
            <pc:sldMk cId="853588367" sldId="2134804361"/>
            <ac:spMk id="211" creationId="{E6564AAB-1173-815E-B5BD-E205ADBA76CB}"/>
          </ac:spMkLst>
        </pc:spChg>
        <pc:spChg chg="add mod replST">
          <ac:chgData name="Wenwen Zhang" userId="9dd81366-5d6f-445a-b031-6ea562624431" providerId="ADAL" clId="{1012AE1A-29B0-4E90-8835-842C30BC7D2A}" dt="2023-01-05T13:51:23.835" v="93156"/>
          <ac:spMkLst>
            <pc:docMk/>
            <pc:sldMk cId="853588367" sldId="2134804361"/>
            <ac:spMk id="212" creationId="{21DBC94A-5A9E-44BD-CB01-1D3D6B995961}"/>
          </ac:spMkLst>
        </pc:spChg>
        <pc:spChg chg="add del mod modVis">
          <ac:chgData name="Wenwen Zhang" userId="9dd81366-5d6f-445a-b031-6ea562624431" providerId="ADAL" clId="{1012AE1A-29B0-4E90-8835-842C30BC7D2A}" dt="2023-01-04T11:52:14.272" v="12999"/>
          <ac:spMkLst>
            <pc:docMk/>
            <pc:sldMk cId="853588367" sldId="2134804361"/>
            <ac:spMk id="213" creationId="{13BFB02D-75E4-6F50-D70A-00E38A34E826}"/>
          </ac:spMkLst>
        </pc:spChg>
        <pc:spChg chg="add del mod modVis">
          <ac:chgData name="Wenwen Zhang" userId="9dd81366-5d6f-445a-b031-6ea562624431" providerId="ADAL" clId="{1012AE1A-29B0-4E90-8835-842C30BC7D2A}" dt="2023-01-04T11:52:19.331" v="13203"/>
          <ac:spMkLst>
            <pc:docMk/>
            <pc:sldMk cId="853588367" sldId="2134804361"/>
            <ac:spMk id="216" creationId="{3C354166-7065-4902-744D-6D6C5AA4ADD9}"/>
          </ac:spMkLst>
        </pc:spChg>
        <pc:spChg chg="add del mod modVis">
          <ac:chgData name="Wenwen Zhang" userId="9dd81366-5d6f-445a-b031-6ea562624431" providerId="ADAL" clId="{1012AE1A-29B0-4E90-8835-842C30BC7D2A}" dt="2023-01-04T11:52:27.241" v="13427"/>
          <ac:spMkLst>
            <pc:docMk/>
            <pc:sldMk cId="853588367" sldId="2134804361"/>
            <ac:spMk id="218" creationId="{43AE7369-DD70-B1C5-836E-E66B583A8130}"/>
          </ac:spMkLst>
        </pc:spChg>
        <pc:spChg chg="add del mod modVis">
          <ac:chgData name="Wenwen Zhang" userId="9dd81366-5d6f-445a-b031-6ea562624431" providerId="ADAL" clId="{1012AE1A-29B0-4E90-8835-842C30BC7D2A}" dt="2023-01-04T11:52:31.208" v="13629"/>
          <ac:spMkLst>
            <pc:docMk/>
            <pc:sldMk cId="853588367" sldId="2134804361"/>
            <ac:spMk id="220" creationId="{164A28C5-17C0-09CB-BDC7-DEBE791BA005}"/>
          </ac:spMkLst>
        </pc:spChg>
        <pc:spChg chg="add del mod modVis">
          <ac:chgData name="Wenwen Zhang" userId="9dd81366-5d6f-445a-b031-6ea562624431" providerId="ADAL" clId="{1012AE1A-29B0-4E90-8835-842C30BC7D2A}" dt="2023-01-04T11:52:49.785" v="13751"/>
          <ac:spMkLst>
            <pc:docMk/>
            <pc:sldMk cId="853588367" sldId="2134804361"/>
            <ac:spMk id="222" creationId="{0D71B592-1B57-8442-0C3C-95A2132DF1FA}"/>
          </ac:spMkLst>
        </pc:spChg>
        <pc:spChg chg="add mod replST">
          <ac:chgData name="Wenwen Zhang" userId="9dd81366-5d6f-445a-b031-6ea562624431" providerId="ADAL" clId="{1012AE1A-29B0-4E90-8835-842C30BC7D2A}" dt="2023-01-05T13:51:23.837" v="93163"/>
          <ac:spMkLst>
            <pc:docMk/>
            <pc:sldMk cId="853588367" sldId="2134804361"/>
            <ac:spMk id="225" creationId="{A44EB96E-6295-E39A-EA08-3DC00FF34690}"/>
          </ac:spMkLst>
        </pc:spChg>
        <pc:spChg chg="add mod replST">
          <ac:chgData name="Wenwen Zhang" userId="9dd81366-5d6f-445a-b031-6ea562624431" providerId="ADAL" clId="{1012AE1A-29B0-4E90-8835-842C30BC7D2A}" dt="2023-01-05T13:51:23.836" v="93159"/>
          <ac:spMkLst>
            <pc:docMk/>
            <pc:sldMk cId="853588367" sldId="2134804361"/>
            <ac:spMk id="226" creationId="{CFB5A497-53E0-EFDB-4052-90A38CE6DBE6}"/>
          </ac:spMkLst>
        </pc:spChg>
        <pc:spChg chg="add mod replST">
          <ac:chgData name="Wenwen Zhang" userId="9dd81366-5d6f-445a-b031-6ea562624431" providerId="ADAL" clId="{1012AE1A-29B0-4E90-8835-842C30BC7D2A}" dt="2023-01-05T13:51:23.838" v="93164"/>
          <ac:spMkLst>
            <pc:docMk/>
            <pc:sldMk cId="853588367" sldId="2134804361"/>
            <ac:spMk id="227" creationId="{F14DAB98-5845-AF7D-7617-B46DDC477C31}"/>
          </ac:spMkLst>
        </pc:spChg>
        <pc:spChg chg="add mod replST">
          <ac:chgData name="Wenwen Zhang" userId="9dd81366-5d6f-445a-b031-6ea562624431" providerId="ADAL" clId="{1012AE1A-29B0-4E90-8835-842C30BC7D2A}" dt="2023-01-05T13:51:23.839" v="93167"/>
          <ac:spMkLst>
            <pc:docMk/>
            <pc:sldMk cId="853588367" sldId="2134804361"/>
            <ac:spMk id="228" creationId="{147A806E-57E7-24E8-1A24-FE3B8139F034}"/>
          </ac:spMkLst>
        </pc:spChg>
        <pc:spChg chg="add mod replST">
          <ac:chgData name="Wenwen Zhang" userId="9dd81366-5d6f-445a-b031-6ea562624431" providerId="ADAL" clId="{1012AE1A-29B0-4E90-8835-842C30BC7D2A}" dt="2023-01-05T13:51:23.837" v="93161"/>
          <ac:spMkLst>
            <pc:docMk/>
            <pc:sldMk cId="853588367" sldId="2134804361"/>
            <ac:spMk id="229" creationId="{36859ED8-BDDA-8EDF-5F8A-7F3773F98A1D}"/>
          </ac:spMkLst>
        </pc:spChg>
        <pc:spChg chg="add mod replST">
          <ac:chgData name="Wenwen Zhang" userId="9dd81366-5d6f-445a-b031-6ea562624431" providerId="ADAL" clId="{1012AE1A-29B0-4E90-8835-842C30BC7D2A}" dt="2023-01-05T13:51:23.838" v="93165"/>
          <ac:spMkLst>
            <pc:docMk/>
            <pc:sldMk cId="853588367" sldId="2134804361"/>
            <ac:spMk id="230" creationId="{0B47B3B3-68D7-336D-2B9E-E787921A554A}"/>
          </ac:spMkLst>
        </pc:spChg>
        <pc:spChg chg="add mod replST">
          <ac:chgData name="Wenwen Zhang" userId="9dd81366-5d6f-445a-b031-6ea562624431" providerId="ADAL" clId="{1012AE1A-29B0-4E90-8835-842C30BC7D2A}" dt="2023-01-05T13:51:23.836" v="93160"/>
          <ac:spMkLst>
            <pc:docMk/>
            <pc:sldMk cId="853588367" sldId="2134804361"/>
            <ac:spMk id="231" creationId="{B69ACB20-68C5-2A07-F6CA-B0F0CB6086F7}"/>
          </ac:spMkLst>
        </pc:spChg>
        <pc:spChg chg="add mod replST">
          <ac:chgData name="Wenwen Zhang" userId="9dd81366-5d6f-445a-b031-6ea562624431" providerId="ADAL" clId="{1012AE1A-29B0-4E90-8835-842C30BC7D2A}" dt="2023-01-05T13:51:23.839" v="93168"/>
          <ac:spMkLst>
            <pc:docMk/>
            <pc:sldMk cId="853588367" sldId="2134804361"/>
            <ac:spMk id="232" creationId="{52F5FA8B-E32C-F283-5258-43E385076D4F}"/>
          </ac:spMkLst>
        </pc:spChg>
        <pc:spChg chg="add mod replST">
          <ac:chgData name="Wenwen Zhang" userId="9dd81366-5d6f-445a-b031-6ea562624431" providerId="ADAL" clId="{1012AE1A-29B0-4E90-8835-842C30BC7D2A}" dt="2023-01-05T13:51:23.839" v="93166"/>
          <ac:spMkLst>
            <pc:docMk/>
            <pc:sldMk cId="853588367" sldId="2134804361"/>
            <ac:spMk id="233" creationId="{715C685F-BC23-F8D8-4ACF-61C0FDDA18EC}"/>
          </ac:spMkLst>
        </pc:spChg>
        <pc:spChg chg="add mod replST">
          <ac:chgData name="Wenwen Zhang" userId="9dd81366-5d6f-445a-b031-6ea562624431" providerId="ADAL" clId="{1012AE1A-29B0-4E90-8835-842C30BC7D2A}" dt="2023-01-05T13:51:23.837" v="93162"/>
          <ac:spMkLst>
            <pc:docMk/>
            <pc:sldMk cId="853588367" sldId="2134804361"/>
            <ac:spMk id="234" creationId="{648E7460-B0FE-4C60-8447-B2114FAB2EC8}"/>
          </ac:spMkLst>
        </pc:spChg>
        <pc:spChg chg="add mod replST">
          <ac:chgData name="Wenwen Zhang" userId="9dd81366-5d6f-445a-b031-6ea562624431" providerId="ADAL" clId="{1012AE1A-29B0-4E90-8835-842C30BC7D2A}" dt="2023-01-05T13:51:23.840" v="93169"/>
          <ac:spMkLst>
            <pc:docMk/>
            <pc:sldMk cId="853588367" sldId="2134804361"/>
            <ac:spMk id="235" creationId="{04919520-DDB6-A4FF-8422-C51F6295FF6D}"/>
          </ac:spMkLst>
        </pc:spChg>
        <pc:spChg chg="add mod replST">
          <ac:chgData name="Wenwen Zhang" userId="9dd81366-5d6f-445a-b031-6ea562624431" providerId="ADAL" clId="{1012AE1A-29B0-4E90-8835-842C30BC7D2A}" dt="2023-01-05T13:51:23.840" v="93170"/>
          <ac:spMkLst>
            <pc:docMk/>
            <pc:sldMk cId="853588367" sldId="2134804361"/>
            <ac:spMk id="236" creationId="{FC3F9517-036A-3BDB-014D-0C0025A2813E}"/>
          </ac:spMkLst>
        </pc:spChg>
        <pc:spChg chg="add del mod ord replST">
          <ac:chgData name="Wenwen Zhang" userId="9dd81366-5d6f-445a-b031-6ea562624431" providerId="ADAL" clId="{1012AE1A-29B0-4E90-8835-842C30BC7D2A}" dt="2023-01-05T13:50:47.709" v="92926"/>
          <ac:spMkLst>
            <pc:docMk/>
            <pc:sldMk cId="853588367" sldId="2134804361"/>
            <ac:spMk id="237" creationId="{DFDD164E-19AB-B9D3-C16B-94995AD1310D}"/>
          </ac:spMkLst>
        </pc:spChg>
        <pc:spChg chg="add mod replST">
          <ac:chgData name="Wenwen Zhang" userId="9dd81366-5d6f-445a-b031-6ea562624431" providerId="ADAL" clId="{1012AE1A-29B0-4E90-8835-842C30BC7D2A}" dt="2023-01-05T13:51:23.840" v="93171"/>
          <ac:spMkLst>
            <pc:docMk/>
            <pc:sldMk cId="853588367" sldId="2134804361"/>
            <ac:spMk id="238" creationId="{E3963AB7-67B6-13E3-A842-F6DCD1B37E07}"/>
          </ac:spMkLst>
        </pc:spChg>
        <pc:spChg chg="add mod ord replST">
          <ac:chgData name="Wenwen Zhang" userId="9dd81366-5d6f-445a-b031-6ea562624431" providerId="ADAL" clId="{1012AE1A-29B0-4E90-8835-842C30BC7D2A}" dt="2023-01-05T13:51:23.841" v="93175"/>
          <ac:spMkLst>
            <pc:docMk/>
            <pc:sldMk cId="853588367" sldId="2134804361"/>
            <ac:spMk id="240" creationId="{177321B5-2152-DFC5-12B4-01511B7366CF}"/>
          </ac:spMkLst>
        </pc:spChg>
        <pc:spChg chg="add mod replST">
          <ac:chgData name="Wenwen Zhang" userId="9dd81366-5d6f-445a-b031-6ea562624431" providerId="ADAL" clId="{1012AE1A-29B0-4E90-8835-842C30BC7D2A}" dt="2023-01-05T13:51:23.842" v="93176"/>
          <ac:spMkLst>
            <pc:docMk/>
            <pc:sldMk cId="853588367" sldId="2134804361"/>
            <ac:spMk id="241" creationId="{1AF221D4-CC72-3909-6227-8BBE3508917B}"/>
          </ac:spMkLst>
        </pc:spChg>
        <pc:spChg chg="add mod replST">
          <ac:chgData name="Wenwen Zhang" userId="9dd81366-5d6f-445a-b031-6ea562624431" providerId="ADAL" clId="{1012AE1A-29B0-4E90-8835-842C30BC7D2A}" dt="2023-01-05T13:51:23.842" v="93177"/>
          <ac:spMkLst>
            <pc:docMk/>
            <pc:sldMk cId="853588367" sldId="2134804361"/>
            <ac:spMk id="242" creationId="{5AB53019-5439-3E56-AD42-D65C5D782EF3}"/>
          </ac:spMkLst>
        </pc:spChg>
        <pc:spChg chg="add mod replST">
          <ac:chgData name="Wenwen Zhang" userId="9dd81366-5d6f-445a-b031-6ea562624431" providerId="ADAL" clId="{1012AE1A-29B0-4E90-8835-842C30BC7D2A}" dt="2023-01-05T13:51:23.843" v="93180"/>
          <ac:spMkLst>
            <pc:docMk/>
            <pc:sldMk cId="853588367" sldId="2134804361"/>
            <ac:spMk id="244" creationId="{9789662B-8AF3-ECEC-8D92-8542CA5A5415}"/>
          </ac:spMkLst>
        </pc:spChg>
        <pc:spChg chg="add mod replST">
          <ac:chgData name="Wenwen Zhang" userId="9dd81366-5d6f-445a-b031-6ea562624431" providerId="ADAL" clId="{1012AE1A-29B0-4E90-8835-842C30BC7D2A}" dt="2023-01-05T13:51:23.848" v="93192"/>
          <ac:spMkLst>
            <pc:docMk/>
            <pc:sldMk cId="853588367" sldId="2134804361"/>
            <ac:spMk id="245" creationId="{AE636016-24A6-B580-91F8-8BEDF1449A18}"/>
          </ac:spMkLst>
        </pc:spChg>
        <pc:spChg chg="add mod replST">
          <ac:chgData name="Wenwen Zhang" userId="9dd81366-5d6f-445a-b031-6ea562624431" providerId="ADAL" clId="{1012AE1A-29B0-4E90-8835-842C30BC7D2A}" dt="2023-01-05T13:51:23.845" v="93188"/>
          <ac:spMkLst>
            <pc:docMk/>
            <pc:sldMk cId="853588367" sldId="2134804361"/>
            <ac:spMk id="246" creationId="{FEA8AF75-575A-538D-03E9-9DCC1AE5255B}"/>
          </ac:spMkLst>
        </pc:spChg>
        <pc:spChg chg="add mod replST">
          <ac:chgData name="Wenwen Zhang" userId="9dd81366-5d6f-445a-b031-6ea562624431" providerId="ADAL" clId="{1012AE1A-29B0-4E90-8835-842C30BC7D2A}" dt="2023-01-05T13:51:23.844" v="93183"/>
          <ac:spMkLst>
            <pc:docMk/>
            <pc:sldMk cId="853588367" sldId="2134804361"/>
            <ac:spMk id="247" creationId="{5AD77F35-6016-21E8-FC55-015EC259FC3B}"/>
          </ac:spMkLst>
        </pc:spChg>
        <pc:spChg chg="add mod replST">
          <ac:chgData name="Wenwen Zhang" userId="9dd81366-5d6f-445a-b031-6ea562624431" providerId="ADAL" clId="{1012AE1A-29B0-4E90-8835-842C30BC7D2A}" dt="2023-01-05T13:51:23.845" v="93187"/>
          <ac:spMkLst>
            <pc:docMk/>
            <pc:sldMk cId="853588367" sldId="2134804361"/>
            <ac:spMk id="248" creationId="{98361EF5-FDA7-6450-5D38-60826448E76D}"/>
          </ac:spMkLst>
        </pc:spChg>
        <pc:spChg chg="add mod replST">
          <ac:chgData name="Wenwen Zhang" userId="9dd81366-5d6f-445a-b031-6ea562624431" providerId="ADAL" clId="{1012AE1A-29B0-4E90-8835-842C30BC7D2A}" dt="2023-01-05T13:51:23.845" v="93185"/>
          <ac:spMkLst>
            <pc:docMk/>
            <pc:sldMk cId="853588367" sldId="2134804361"/>
            <ac:spMk id="249" creationId="{60F1E809-E828-79E0-15A6-EC9EC9A7FD5D}"/>
          </ac:spMkLst>
        </pc:spChg>
        <pc:spChg chg="add mod replST">
          <ac:chgData name="Wenwen Zhang" userId="9dd81366-5d6f-445a-b031-6ea562624431" providerId="ADAL" clId="{1012AE1A-29B0-4E90-8835-842C30BC7D2A}" dt="2023-01-05T13:51:23.844" v="93184"/>
          <ac:spMkLst>
            <pc:docMk/>
            <pc:sldMk cId="853588367" sldId="2134804361"/>
            <ac:spMk id="250" creationId="{7EF30611-060A-FE2E-8316-8CFD469678E5}"/>
          </ac:spMkLst>
        </pc:spChg>
        <pc:spChg chg="add mod replST">
          <ac:chgData name="Wenwen Zhang" userId="9dd81366-5d6f-445a-b031-6ea562624431" providerId="ADAL" clId="{1012AE1A-29B0-4E90-8835-842C30BC7D2A}" dt="2023-01-05T13:51:23.843" v="93181"/>
          <ac:spMkLst>
            <pc:docMk/>
            <pc:sldMk cId="853588367" sldId="2134804361"/>
            <ac:spMk id="251" creationId="{C9CF0188-2F15-9B81-C729-A33BAEF0C7AF}"/>
          </ac:spMkLst>
        </pc:spChg>
        <pc:spChg chg="add mod replST">
          <ac:chgData name="Wenwen Zhang" userId="9dd81366-5d6f-445a-b031-6ea562624431" providerId="ADAL" clId="{1012AE1A-29B0-4E90-8835-842C30BC7D2A}" dt="2023-01-05T13:51:23.844" v="93182"/>
          <ac:spMkLst>
            <pc:docMk/>
            <pc:sldMk cId="853588367" sldId="2134804361"/>
            <ac:spMk id="252" creationId="{51791C48-C4E9-7099-9496-37046B03DD13}"/>
          </ac:spMkLst>
        </pc:spChg>
        <pc:spChg chg="add mod replST">
          <ac:chgData name="Wenwen Zhang" userId="9dd81366-5d6f-445a-b031-6ea562624431" providerId="ADAL" clId="{1012AE1A-29B0-4E90-8835-842C30BC7D2A}" dt="2023-01-05T13:51:23.845" v="93186"/>
          <ac:spMkLst>
            <pc:docMk/>
            <pc:sldMk cId="853588367" sldId="2134804361"/>
            <ac:spMk id="253" creationId="{3FFF2848-F769-7F73-7528-B4E48771D47B}"/>
          </ac:spMkLst>
        </pc:spChg>
        <pc:spChg chg="add mod replST">
          <ac:chgData name="Wenwen Zhang" userId="9dd81366-5d6f-445a-b031-6ea562624431" providerId="ADAL" clId="{1012AE1A-29B0-4E90-8835-842C30BC7D2A}" dt="2023-01-05T13:51:23.847" v="93189"/>
          <ac:spMkLst>
            <pc:docMk/>
            <pc:sldMk cId="853588367" sldId="2134804361"/>
            <ac:spMk id="254" creationId="{6DA8F0AF-ACE3-B446-D6B0-A89278C59A5D}"/>
          </ac:spMkLst>
        </pc:spChg>
        <pc:spChg chg="add mod replST">
          <ac:chgData name="Wenwen Zhang" userId="9dd81366-5d6f-445a-b031-6ea562624431" providerId="ADAL" clId="{1012AE1A-29B0-4E90-8835-842C30BC7D2A}" dt="2023-01-05T13:51:23.847" v="93190"/>
          <ac:spMkLst>
            <pc:docMk/>
            <pc:sldMk cId="853588367" sldId="2134804361"/>
            <ac:spMk id="255" creationId="{7C4C10AB-DF6E-D883-04DC-C681581435D3}"/>
          </ac:spMkLst>
        </pc:spChg>
        <pc:spChg chg="add mod replST">
          <ac:chgData name="Wenwen Zhang" userId="9dd81366-5d6f-445a-b031-6ea562624431" providerId="ADAL" clId="{1012AE1A-29B0-4E90-8835-842C30BC7D2A}" dt="2023-01-05T13:51:23.847" v="93191"/>
          <ac:spMkLst>
            <pc:docMk/>
            <pc:sldMk cId="853588367" sldId="2134804361"/>
            <ac:spMk id="256" creationId="{8FFE36DF-40C8-5EF9-8EDC-3538D471D5F9}"/>
          </ac:spMkLst>
        </pc:spChg>
        <pc:spChg chg="add del mod modVis">
          <ac:chgData name="Wenwen Zhang" userId="9dd81366-5d6f-445a-b031-6ea562624431" providerId="ADAL" clId="{1012AE1A-29B0-4E90-8835-842C30BC7D2A}" dt="2023-01-04T11:53:00.580" v="15714"/>
          <ac:spMkLst>
            <pc:docMk/>
            <pc:sldMk cId="853588367" sldId="2134804361"/>
            <ac:spMk id="257" creationId="{8D54BA76-8B34-6D04-48E5-F607DC412895}"/>
          </ac:spMkLst>
        </pc:spChg>
        <pc:spChg chg="add del mod modVis">
          <ac:chgData name="Wenwen Zhang" userId="9dd81366-5d6f-445a-b031-6ea562624431" providerId="ADAL" clId="{1012AE1A-29B0-4E90-8835-842C30BC7D2A}" dt="2023-01-04T11:53:05.338" v="15932"/>
          <ac:spMkLst>
            <pc:docMk/>
            <pc:sldMk cId="853588367" sldId="2134804361"/>
            <ac:spMk id="260" creationId="{E62DC0AD-08D1-E876-67E0-13F2BE3A6988}"/>
          </ac:spMkLst>
        </pc:spChg>
        <pc:spChg chg="add del mod modVis">
          <ac:chgData name="Wenwen Zhang" userId="9dd81366-5d6f-445a-b031-6ea562624431" providerId="ADAL" clId="{1012AE1A-29B0-4E90-8835-842C30BC7D2A}" dt="2023-01-04T11:53:21.211" v="16129"/>
          <ac:spMkLst>
            <pc:docMk/>
            <pc:sldMk cId="853588367" sldId="2134804361"/>
            <ac:spMk id="262" creationId="{DD18D250-5A61-FCD8-2727-567F75DB9625}"/>
          </ac:spMkLst>
        </pc:spChg>
        <pc:spChg chg="add del mod modVis">
          <ac:chgData name="Wenwen Zhang" userId="9dd81366-5d6f-445a-b031-6ea562624431" providerId="ADAL" clId="{1012AE1A-29B0-4E90-8835-842C30BC7D2A}" dt="2023-01-04T11:53:24.206" v="16347"/>
          <ac:spMkLst>
            <pc:docMk/>
            <pc:sldMk cId="853588367" sldId="2134804361"/>
            <ac:spMk id="264" creationId="{9C5ED2B1-54AA-C5C3-F0C1-4F81CA0E5FF1}"/>
          </ac:spMkLst>
        </pc:spChg>
        <pc:spChg chg="add del mod modVis">
          <ac:chgData name="Wenwen Zhang" userId="9dd81366-5d6f-445a-b031-6ea562624431" providerId="ADAL" clId="{1012AE1A-29B0-4E90-8835-842C30BC7D2A}" dt="2023-01-04T11:53:32.864" v="16565"/>
          <ac:spMkLst>
            <pc:docMk/>
            <pc:sldMk cId="853588367" sldId="2134804361"/>
            <ac:spMk id="266" creationId="{6A3975C6-81C6-E8D4-9E10-04E403A3E689}"/>
          </ac:spMkLst>
        </pc:spChg>
        <pc:spChg chg="add del mod modVis">
          <ac:chgData name="Wenwen Zhang" userId="9dd81366-5d6f-445a-b031-6ea562624431" providerId="ADAL" clId="{1012AE1A-29B0-4E90-8835-842C30BC7D2A}" dt="2023-01-04T11:53:51.522" v="16904"/>
          <ac:spMkLst>
            <pc:docMk/>
            <pc:sldMk cId="853588367" sldId="2134804361"/>
            <ac:spMk id="268" creationId="{92BF7E0E-40E5-28E2-B88F-D0E81317C5BA}"/>
          </ac:spMkLst>
        </pc:spChg>
        <pc:spChg chg="add mod ord replST">
          <ac:chgData name="Wenwen Zhang" userId="9dd81366-5d6f-445a-b031-6ea562624431" providerId="ADAL" clId="{1012AE1A-29B0-4E90-8835-842C30BC7D2A}" dt="2023-01-05T13:51:23.848" v="93194"/>
          <ac:spMkLst>
            <pc:docMk/>
            <pc:sldMk cId="853588367" sldId="2134804361"/>
            <ac:spMk id="271" creationId="{61094CDF-3D01-5126-7969-6F62789EAC01}"/>
          </ac:spMkLst>
        </pc:spChg>
        <pc:spChg chg="add del mod modVis">
          <ac:chgData name="Wenwen Zhang" userId="9dd81366-5d6f-445a-b031-6ea562624431" providerId="ADAL" clId="{1012AE1A-29B0-4E90-8835-842C30BC7D2A}" dt="2023-01-04T11:54:21" v="17019"/>
          <ac:spMkLst>
            <pc:docMk/>
            <pc:sldMk cId="853588367" sldId="2134804361"/>
            <ac:spMk id="272" creationId="{EC73C9D7-2719-5710-D274-1225984818F9}"/>
          </ac:spMkLst>
        </pc:spChg>
        <pc:spChg chg="add del mod modVis">
          <ac:chgData name="Wenwen Zhang" userId="9dd81366-5d6f-445a-b031-6ea562624431" providerId="ADAL" clId="{1012AE1A-29B0-4E90-8835-842C30BC7D2A}" dt="2023-01-04T12:44:33.391" v="21160"/>
          <ac:spMkLst>
            <pc:docMk/>
            <pc:sldMk cId="853588367" sldId="2134804361"/>
            <ac:spMk id="273" creationId="{EEDD4F43-1E96-2916-BC0A-5B06DB07FB65}"/>
          </ac:spMkLst>
        </pc:spChg>
        <pc:spChg chg="add del mod modVis">
          <ac:chgData name="Wenwen Zhang" userId="9dd81366-5d6f-445a-b031-6ea562624431" providerId="ADAL" clId="{1012AE1A-29B0-4E90-8835-842C30BC7D2A}" dt="2023-01-04T12:44:35.397" v="21651"/>
          <ac:spMkLst>
            <pc:docMk/>
            <pc:sldMk cId="853588367" sldId="2134804361"/>
            <ac:spMk id="278" creationId="{56279545-A698-9C13-722A-C06C122EF6AA}"/>
          </ac:spMkLst>
        </pc:spChg>
        <pc:spChg chg="add del mod modVis">
          <ac:chgData name="Wenwen Zhang" userId="9dd81366-5d6f-445a-b031-6ea562624431" providerId="ADAL" clId="{1012AE1A-29B0-4E90-8835-842C30BC7D2A}" dt="2023-01-04T12:44:37.235" v="22142"/>
          <ac:spMkLst>
            <pc:docMk/>
            <pc:sldMk cId="853588367" sldId="2134804361"/>
            <ac:spMk id="283" creationId="{F378F147-1BF0-74B3-420B-BFF214706A96}"/>
          </ac:spMkLst>
        </pc:spChg>
        <pc:spChg chg="add del mod modVis">
          <ac:chgData name="Wenwen Zhang" userId="9dd81366-5d6f-445a-b031-6ea562624431" providerId="ADAL" clId="{1012AE1A-29B0-4E90-8835-842C30BC7D2A}" dt="2023-01-04T12:44:39.222" v="22633"/>
          <ac:spMkLst>
            <pc:docMk/>
            <pc:sldMk cId="853588367" sldId="2134804361"/>
            <ac:spMk id="288" creationId="{F85D09DF-EFDE-5167-0AC3-773EE83C4F27}"/>
          </ac:spMkLst>
        </pc:spChg>
        <pc:spChg chg="add del mod modVis">
          <ac:chgData name="Wenwen Zhang" userId="9dd81366-5d6f-445a-b031-6ea562624431" providerId="ADAL" clId="{1012AE1A-29B0-4E90-8835-842C30BC7D2A}" dt="2023-01-04T12:44:40.737" v="23124"/>
          <ac:spMkLst>
            <pc:docMk/>
            <pc:sldMk cId="853588367" sldId="2134804361"/>
            <ac:spMk id="293" creationId="{472FED12-D05A-CA4E-B9BE-195AB4BA855C}"/>
          </ac:spMkLst>
        </pc:spChg>
        <pc:graphicFrameChg chg="add del mod ord replST">
          <ac:chgData name="Wenwen Zhang" userId="9dd81366-5d6f-445a-b031-6ea562624431" providerId="ADAL" clId="{1012AE1A-29B0-4E90-8835-842C30BC7D2A}" dt="2023-01-04T15:16:37.300" v="24965"/>
          <ac:graphicFrameMkLst>
            <pc:docMk/>
            <pc:sldMk cId="853588367" sldId="2134804361"/>
            <ac:graphicFrameMk id="4" creationId="{60566423-F27E-2A6D-60D6-321AE6B146AC}"/>
          </ac:graphicFrameMkLst>
        </pc:graphicFrameChg>
        <pc:graphicFrameChg chg="add del">
          <ac:chgData name="Wenwen Zhang" userId="9dd81366-5d6f-445a-b031-6ea562624431" providerId="ADAL" clId="{1012AE1A-29B0-4E90-8835-842C30BC7D2A}" dt="2023-01-04T11:51:55.165" v="10980"/>
          <ac:graphicFrameMkLst>
            <pc:docMk/>
            <pc:sldMk cId="853588367" sldId="2134804361"/>
            <ac:graphicFrameMk id="6" creationId="{11DDE9BB-5BB2-835F-5190-180195F944DA}"/>
          </ac:graphicFrameMkLst>
        </pc:graphicFrameChg>
        <pc:graphicFrameChg chg="add del mod ord replST">
          <ac:chgData name="Wenwen Zhang" userId="9dd81366-5d6f-445a-b031-6ea562624431" providerId="ADAL" clId="{1012AE1A-29B0-4E90-8835-842C30BC7D2A}" dt="2023-01-04T15:16:40.238" v="25196"/>
          <ac:graphicFrameMkLst>
            <pc:docMk/>
            <pc:sldMk cId="853588367" sldId="2134804361"/>
            <ac:graphicFrameMk id="8" creationId="{5BEB0670-BA55-8C99-08AE-31E822DA2F65}"/>
          </ac:graphicFrameMkLst>
        </pc:graphicFrameChg>
        <pc:graphicFrameChg chg="add mod ord replST">
          <ac:chgData name="Wenwen Zhang" userId="9dd81366-5d6f-445a-b031-6ea562624431" providerId="ADAL" clId="{1012AE1A-29B0-4E90-8835-842C30BC7D2A}" dt="2023-01-05T13:51:23.824" v="93124"/>
          <ac:graphicFrameMkLst>
            <pc:docMk/>
            <pc:sldMk cId="853588367" sldId="2134804361"/>
            <ac:graphicFrameMk id="10" creationId="{7925454E-2909-D57B-FEFE-EECD06B33CEB}"/>
          </ac:graphicFrameMkLst>
        </pc:graphicFrameChg>
        <pc:graphicFrameChg chg="add del mod ord">
          <ac:chgData name="Wenwen Zhang" userId="9dd81366-5d6f-445a-b031-6ea562624431" providerId="ADAL" clId="{1012AE1A-29B0-4E90-8835-842C30BC7D2A}" dt="2023-01-04T11:52:05.155" v="11347"/>
          <ac:graphicFrameMkLst>
            <pc:docMk/>
            <pc:sldMk cId="853588367" sldId="2134804361"/>
            <ac:graphicFrameMk id="10" creationId="{947B0649-E9C4-771B-133E-505C8EFFFEB7}"/>
          </ac:graphicFrameMkLst>
        </pc:graphicFrameChg>
        <pc:graphicFrameChg chg="add del mod ord replST">
          <ac:chgData name="Wenwen Zhang" userId="9dd81366-5d6f-445a-b031-6ea562624431" providerId="ADAL" clId="{1012AE1A-29B0-4E90-8835-842C30BC7D2A}" dt="2023-01-05T13:51:23.770" v="93102"/>
          <ac:graphicFrameMkLst>
            <pc:docMk/>
            <pc:sldMk cId="853588367" sldId="2134804361"/>
            <ac:graphicFrameMk id="12" creationId="{A1FB0DCC-743C-7D50-8536-4A0B65E2476A}"/>
          </ac:graphicFrameMkLst>
        </pc:graphicFrameChg>
        <pc:graphicFrameChg chg="add mod ord replST">
          <ac:chgData name="Wenwen Zhang" userId="9dd81366-5d6f-445a-b031-6ea562624431" providerId="ADAL" clId="{1012AE1A-29B0-4E90-8835-842C30BC7D2A}" dt="2023-01-05T13:51:23.836" v="93158"/>
          <ac:graphicFrameMkLst>
            <pc:docMk/>
            <pc:sldMk cId="853588367" sldId="2134804361"/>
            <ac:graphicFrameMk id="14" creationId="{895EF841-22D9-1FAB-85F5-9F6FFF7CA150}"/>
          </ac:graphicFrameMkLst>
        </pc:graphicFrameChg>
        <pc:graphicFrameChg chg="add del mod ord">
          <ac:chgData name="Wenwen Zhang" userId="9dd81366-5d6f-445a-b031-6ea562624431" providerId="ADAL" clId="{1012AE1A-29B0-4E90-8835-842C30BC7D2A}" dt="2023-01-04T11:52:45.446" v="13648"/>
          <ac:graphicFrameMkLst>
            <pc:docMk/>
            <pc:sldMk cId="853588367" sldId="2134804361"/>
            <ac:graphicFrameMk id="14" creationId="{D7C386E5-AE55-6D41-E3F7-1D63967C76B2}"/>
          </ac:graphicFrameMkLst>
        </pc:graphicFrameChg>
        <pc:graphicFrameChg chg="add del mod ord">
          <ac:chgData name="Wenwen Zhang" userId="9dd81366-5d6f-445a-b031-6ea562624431" providerId="ADAL" clId="{1012AE1A-29B0-4E90-8835-842C30BC7D2A}" dt="2023-01-04T11:52:45.452" v="13673"/>
          <ac:graphicFrameMkLst>
            <pc:docMk/>
            <pc:sldMk cId="853588367" sldId="2134804361"/>
            <ac:graphicFrameMk id="18" creationId="{FC0DF97C-D737-F0FA-7509-0A5F68B29C08}"/>
          </ac:graphicFrameMkLst>
        </pc:graphicFrameChg>
        <pc:graphicFrameChg chg="add del mod replST">
          <ac:chgData name="Wenwen Zhang" userId="9dd81366-5d6f-445a-b031-6ea562624431" providerId="ADAL" clId="{1012AE1A-29B0-4E90-8835-842C30BC7D2A}" dt="2023-01-04T11:51:46.263" v="9769"/>
          <ac:graphicFrameMkLst>
            <pc:docMk/>
            <pc:sldMk cId="853588367" sldId="2134804361"/>
            <ac:graphicFrameMk id="19" creationId="{A85F1FAA-098C-43FE-FFDC-6D6A0CC8A77C}"/>
          </ac:graphicFrameMkLst>
        </pc:graphicFrameChg>
        <pc:graphicFrameChg chg="mod">
          <ac:chgData name="Wenwen Zhang" userId="9dd81366-5d6f-445a-b031-6ea562624431" providerId="ADAL" clId="{1012AE1A-29B0-4E90-8835-842C30BC7D2A}" dt="2023-01-05T13:51:23.864" v="93200"/>
          <ac:graphicFrameMkLst>
            <pc:docMk/>
            <pc:sldMk cId="853588367" sldId="2134804361"/>
            <ac:graphicFrameMk id="28" creationId="{015DFAEE-F78A-C272-92CE-F25C3417CAD0}"/>
          </ac:graphicFrameMkLst>
        </pc:graphicFrameChg>
        <pc:graphicFrameChg chg="add del mod replST">
          <ac:chgData name="Wenwen Zhang" userId="9dd81366-5d6f-445a-b031-6ea562624431" providerId="ADAL" clId="{1012AE1A-29B0-4E90-8835-842C30BC7D2A}" dt="2023-01-04T11:51:46.263" v="9769"/>
          <ac:graphicFrameMkLst>
            <pc:docMk/>
            <pc:sldMk cId="853588367" sldId="2134804361"/>
            <ac:graphicFrameMk id="40" creationId="{D41B90C6-9261-047D-30AC-643A9F976011}"/>
          </ac:graphicFrameMkLst>
        </pc:graphicFrameChg>
        <pc:graphicFrameChg chg="add del mod replST">
          <ac:chgData name="Wenwen Zhang" userId="9dd81366-5d6f-445a-b031-6ea562624431" providerId="ADAL" clId="{1012AE1A-29B0-4E90-8835-842C30BC7D2A}" dt="2023-01-04T11:51:46.263" v="9769"/>
          <ac:graphicFrameMkLst>
            <pc:docMk/>
            <pc:sldMk cId="853588367" sldId="2134804361"/>
            <ac:graphicFrameMk id="60" creationId="{B3CDD1B0-6D7D-F12D-6D0E-4EAAF83B6AE3}"/>
          </ac:graphicFrameMkLst>
        </pc:graphicFrameChg>
        <pc:graphicFrameChg chg="add del mod replST">
          <ac:chgData name="Wenwen Zhang" userId="9dd81366-5d6f-445a-b031-6ea562624431" providerId="ADAL" clId="{1012AE1A-29B0-4E90-8835-842C30BC7D2A}" dt="2023-01-04T11:51:46.263" v="9769"/>
          <ac:graphicFrameMkLst>
            <pc:docMk/>
            <pc:sldMk cId="853588367" sldId="2134804361"/>
            <ac:graphicFrameMk id="74" creationId="{A89C9498-96D9-9E6C-01C6-9961DDB46C20}"/>
          </ac:graphicFrameMkLst>
        </pc:graphicFrameChg>
        <pc:graphicFrameChg chg="add mod ord replST delST">
          <ac:chgData name="Wenwen Zhang" userId="9dd81366-5d6f-445a-b031-6ea562624431" providerId="ADAL" clId="{1012AE1A-29B0-4E90-8835-842C30BC7D2A}" dt="2023-01-04T11:51:46.263" v="9769"/>
          <ac:graphicFrameMkLst>
            <pc:docMk/>
            <pc:sldMk cId="853588367" sldId="2134804361"/>
            <ac:graphicFrameMk id="90" creationId="{8F3267C8-2BA1-E9CA-C751-FF8A9D3C0B0F}"/>
          </ac:graphicFrameMkLst>
        </pc:graphicFrameChg>
        <pc:graphicFrameChg chg="add del mod ord replST delST">
          <ac:chgData name="Wenwen Zhang" userId="9dd81366-5d6f-445a-b031-6ea562624431" providerId="ADAL" clId="{1012AE1A-29B0-4E90-8835-842C30BC7D2A}" dt="2023-01-04T11:51:46.263" v="9769"/>
          <ac:graphicFrameMkLst>
            <pc:docMk/>
            <pc:sldMk cId="853588367" sldId="2134804361"/>
            <ac:graphicFrameMk id="91" creationId="{986AA41C-44B1-C51D-F36E-603ACEEABB5A}"/>
          </ac:graphicFrameMkLst>
        </pc:graphicFrameChg>
        <pc:graphicFrameChg chg="add mod ord replST delST">
          <ac:chgData name="Wenwen Zhang" userId="9dd81366-5d6f-445a-b031-6ea562624431" providerId="ADAL" clId="{1012AE1A-29B0-4E90-8835-842C30BC7D2A}" dt="2023-01-04T11:51:46.263" v="9769"/>
          <ac:graphicFrameMkLst>
            <pc:docMk/>
            <pc:sldMk cId="853588367" sldId="2134804361"/>
            <ac:graphicFrameMk id="92" creationId="{88099ACF-C766-E780-CBCA-4576A48D9AE9}"/>
          </ac:graphicFrameMkLst>
        </pc:graphicFrameChg>
        <pc:graphicFrameChg chg="add del mod ord replST delST">
          <ac:chgData name="Wenwen Zhang" userId="9dd81366-5d6f-445a-b031-6ea562624431" providerId="ADAL" clId="{1012AE1A-29B0-4E90-8835-842C30BC7D2A}" dt="2023-01-04T11:51:46.263" v="9769"/>
          <ac:graphicFrameMkLst>
            <pc:docMk/>
            <pc:sldMk cId="853588367" sldId="2134804361"/>
            <ac:graphicFrameMk id="93" creationId="{E73F5546-7D49-E06A-4BC7-BA55FA1605AA}"/>
          </ac:graphicFrameMkLst>
        </pc:graphicFrameChg>
        <pc:graphicFrameChg chg="add mod ord replST delST">
          <ac:chgData name="Wenwen Zhang" userId="9dd81366-5d6f-445a-b031-6ea562624431" providerId="ADAL" clId="{1012AE1A-29B0-4E90-8835-842C30BC7D2A}" dt="2023-01-04T11:51:26.515" v="4085"/>
          <ac:graphicFrameMkLst>
            <pc:docMk/>
            <pc:sldMk cId="853588367" sldId="2134804361"/>
            <ac:graphicFrameMk id="95" creationId="{63E6F452-E807-34ED-7D85-B72C9D820883}"/>
          </ac:graphicFrameMkLst>
        </pc:graphicFrameChg>
        <pc:graphicFrameChg chg="add del mod ord replST delST">
          <ac:chgData name="Wenwen Zhang" userId="9dd81366-5d6f-445a-b031-6ea562624431" providerId="ADAL" clId="{1012AE1A-29B0-4E90-8835-842C30BC7D2A}" dt="2023-01-04T11:51:45.628" v="7280"/>
          <ac:graphicFrameMkLst>
            <pc:docMk/>
            <pc:sldMk cId="853588367" sldId="2134804361"/>
            <ac:graphicFrameMk id="97" creationId="{D4BE05C6-8D8B-8274-2B03-E22E6E01A114}"/>
          </ac:graphicFrameMkLst>
        </pc:graphicFrameChg>
        <pc:graphicFrameChg chg="add del mod ord replST delST">
          <ac:chgData name="Wenwen Zhang" userId="9dd81366-5d6f-445a-b031-6ea562624431" providerId="ADAL" clId="{1012AE1A-29B0-4E90-8835-842C30BC7D2A}" dt="2023-01-04T11:51:45.628" v="7280"/>
          <ac:graphicFrameMkLst>
            <pc:docMk/>
            <pc:sldMk cId="853588367" sldId="2134804361"/>
            <ac:graphicFrameMk id="98" creationId="{D9B85006-E4AA-C19C-06A0-5A3B4E775D2C}"/>
          </ac:graphicFrameMkLst>
        </pc:graphicFrameChg>
        <pc:graphicFrameChg chg="add mod ord replST delST">
          <ac:chgData name="Wenwen Zhang" userId="9dd81366-5d6f-445a-b031-6ea562624431" providerId="ADAL" clId="{1012AE1A-29B0-4E90-8835-842C30BC7D2A}" dt="2023-01-04T11:51:45.116" v="6107"/>
          <ac:graphicFrameMkLst>
            <pc:docMk/>
            <pc:sldMk cId="853588367" sldId="2134804361"/>
            <ac:graphicFrameMk id="100" creationId="{18CC3135-C1C5-91AD-4411-AF393F240478}"/>
          </ac:graphicFrameMkLst>
        </pc:graphicFrameChg>
        <pc:graphicFrameChg chg="add mod ord replST delST">
          <ac:chgData name="Wenwen Zhang" userId="9dd81366-5d6f-445a-b031-6ea562624431" providerId="ADAL" clId="{1012AE1A-29B0-4E90-8835-842C30BC7D2A}" dt="2023-01-04T11:51:44.739" v="6025"/>
          <ac:graphicFrameMkLst>
            <pc:docMk/>
            <pc:sldMk cId="853588367" sldId="2134804361"/>
            <ac:graphicFrameMk id="102" creationId="{EB8A7CC9-A327-0CDA-2A45-E3E2093DCAEC}"/>
          </ac:graphicFrameMkLst>
        </pc:graphicFrameChg>
        <pc:graphicFrameChg chg="add del mod ord replST">
          <ac:chgData name="Wenwen Zhang" userId="9dd81366-5d6f-445a-b031-6ea562624431" providerId="ADAL" clId="{1012AE1A-29B0-4E90-8835-842C30BC7D2A}" dt="2023-01-04T11:51:56.778" v="11200"/>
          <ac:graphicFrameMkLst>
            <pc:docMk/>
            <pc:sldMk cId="853588367" sldId="2134804361"/>
            <ac:graphicFrameMk id="177" creationId="{E3BD720D-EF2A-C2B5-E0CA-BE46032DAF72}"/>
          </ac:graphicFrameMkLst>
        </pc:graphicFrameChg>
        <pc:graphicFrameChg chg="add del mod ord replST">
          <ac:chgData name="Wenwen Zhang" userId="9dd81366-5d6f-445a-b031-6ea562624431" providerId="ADAL" clId="{1012AE1A-29B0-4E90-8835-842C30BC7D2A}" dt="2023-01-04T11:52:05.151" v="11332"/>
          <ac:graphicFrameMkLst>
            <pc:docMk/>
            <pc:sldMk cId="853588367" sldId="2134804361"/>
            <ac:graphicFrameMk id="179" creationId="{B4F76775-6062-9A0C-DFFB-CD05E50361D7}"/>
          </ac:graphicFrameMkLst>
        </pc:graphicFrameChg>
        <pc:graphicFrameChg chg="add del mod replST">
          <ac:chgData name="Wenwen Zhang" userId="9dd81366-5d6f-445a-b031-6ea562624431" providerId="ADAL" clId="{1012AE1A-29B0-4E90-8835-842C30BC7D2A}" dt="2023-01-04T11:52:13.867" v="12325"/>
          <ac:graphicFrameMkLst>
            <pc:docMk/>
            <pc:sldMk cId="853588367" sldId="2134804361"/>
            <ac:graphicFrameMk id="180" creationId="{4C17110D-D9F7-3E9A-ED3E-AC4E0B47A825}"/>
          </ac:graphicFrameMkLst>
        </pc:graphicFrameChg>
        <pc:graphicFrameChg chg="add del mod replST">
          <ac:chgData name="Wenwen Zhang" userId="9dd81366-5d6f-445a-b031-6ea562624431" providerId="ADAL" clId="{1012AE1A-29B0-4E90-8835-842C30BC7D2A}" dt="2023-01-04T11:52:14.211" v="12885"/>
          <ac:graphicFrameMkLst>
            <pc:docMk/>
            <pc:sldMk cId="853588367" sldId="2134804361"/>
            <ac:graphicFrameMk id="199" creationId="{FCFD1313-0566-51C4-9E9D-5A28ECE84088}"/>
          </ac:graphicFrameMkLst>
        </pc:graphicFrameChg>
        <pc:graphicFrameChg chg="add del mod ord replST">
          <ac:chgData name="Wenwen Zhang" userId="9dd81366-5d6f-445a-b031-6ea562624431" providerId="ADAL" clId="{1012AE1A-29B0-4E90-8835-842C30BC7D2A}" dt="2023-01-04T11:52:27.188" v="13321"/>
          <ac:graphicFrameMkLst>
            <pc:docMk/>
            <pc:sldMk cId="853588367" sldId="2134804361"/>
            <ac:graphicFrameMk id="214" creationId="{445C16BD-C3D9-A926-75D1-51E43B4D8F9A}"/>
          </ac:graphicFrameMkLst>
        </pc:graphicFrameChg>
        <pc:graphicFrameChg chg="add del mod ord replST">
          <ac:chgData name="Wenwen Zhang" userId="9dd81366-5d6f-445a-b031-6ea562624431" providerId="ADAL" clId="{1012AE1A-29B0-4E90-8835-842C30BC7D2A}" dt="2023-01-04T11:52:19.279" v="13095"/>
          <ac:graphicFrameMkLst>
            <pc:docMk/>
            <pc:sldMk cId="853588367" sldId="2134804361"/>
            <ac:graphicFrameMk id="215" creationId="{479462AD-84B5-20E1-4FD8-DB0CB004F81D}"/>
          </ac:graphicFrameMkLst>
        </pc:graphicFrameChg>
        <pc:graphicFrameChg chg="add del mod ord replST">
          <ac:chgData name="Wenwen Zhang" userId="9dd81366-5d6f-445a-b031-6ea562624431" providerId="ADAL" clId="{1012AE1A-29B0-4E90-8835-842C30BC7D2A}" dt="2023-01-04T11:52:31.155" v="13523"/>
          <ac:graphicFrameMkLst>
            <pc:docMk/>
            <pc:sldMk cId="853588367" sldId="2134804361"/>
            <ac:graphicFrameMk id="217" creationId="{EF764B2C-94A1-7C0F-070E-1B21379B73E6}"/>
          </ac:graphicFrameMkLst>
        </pc:graphicFrameChg>
        <pc:graphicFrameChg chg="add del mod ord replST">
          <ac:chgData name="Wenwen Zhang" userId="9dd81366-5d6f-445a-b031-6ea562624431" providerId="ADAL" clId="{1012AE1A-29B0-4E90-8835-842C30BC7D2A}" dt="2023-01-04T11:53:51.398" v="16707"/>
          <ac:graphicFrameMkLst>
            <pc:docMk/>
            <pc:sldMk cId="853588367" sldId="2134804361"/>
            <ac:graphicFrameMk id="219" creationId="{34956D38-0E6C-129C-006D-ECFDF191659F}"/>
          </ac:graphicFrameMkLst>
        </pc:graphicFrameChg>
        <pc:graphicFrameChg chg="add del mod ord replST">
          <ac:chgData name="Wenwen Zhang" userId="9dd81366-5d6f-445a-b031-6ea562624431" providerId="ADAL" clId="{1012AE1A-29B0-4E90-8835-842C30BC7D2A}" dt="2023-01-04T11:53:51.464" v="16778"/>
          <ac:graphicFrameMkLst>
            <pc:docMk/>
            <pc:sldMk cId="853588367" sldId="2134804361"/>
            <ac:graphicFrameMk id="221" creationId="{3463BFB4-92A8-BBF0-A823-5F67A713D935}"/>
          </ac:graphicFrameMkLst>
        </pc:graphicFrameChg>
        <pc:graphicFrameChg chg="add del mod replST">
          <ac:chgData name="Wenwen Zhang" userId="9dd81366-5d6f-445a-b031-6ea562624431" providerId="ADAL" clId="{1012AE1A-29B0-4E90-8835-842C30BC7D2A}" dt="2023-01-04T11:53:00.106" v="14883"/>
          <ac:graphicFrameMkLst>
            <pc:docMk/>
            <pc:sldMk cId="853588367" sldId="2134804361"/>
            <ac:graphicFrameMk id="224" creationId="{1FB8A8C4-95FE-E855-EBA2-19C436EE4CA0}"/>
          </ac:graphicFrameMkLst>
        </pc:graphicFrameChg>
        <pc:graphicFrameChg chg="add del mod replST">
          <ac:chgData name="Wenwen Zhang" userId="9dd81366-5d6f-445a-b031-6ea562624431" providerId="ADAL" clId="{1012AE1A-29B0-4E90-8835-842C30BC7D2A}" dt="2023-01-04T11:53:00.510" v="15588"/>
          <ac:graphicFrameMkLst>
            <pc:docMk/>
            <pc:sldMk cId="853588367" sldId="2134804361"/>
            <ac:graphicFrameMk id="243" creationId="{EA1FD2C8-2D2B-9DF4-7C09-AC0D8F7E47A5}"/>
          </ac:graphicFrameMkLst>
        </pc:graphicFrameChg>
        <pc:graphicFrameChg chg="add del mod ord replST">
          <ac:chgData name="Wenwen Zhang" userId="9dd81366-5d6f-445a-b031-6ea562624431" providerId="ADAL" clId="{1012AE1A-29B0-4E90-8835-842C30BC7D2A}" dt="2023-01-04T11:53:05.284" v="15818"/>
          <ac:graphicFrameMkLst>
            <pc:docMk/>
            <pc:sldMk cId="853588367" sldId="2134804361"/>
            <ac:graphicFrameMk id="258" creationId="{01FF2E75-3930-C7E6-DDE8-937E0675175A}"/>
          </ac:graphicFrameMkLst>
        </pc:graphicFrameChg>
        <pc:graphicFrameChg chg="add del mod ord replST">
          <ac:chgData name="Wenwen Zhang" userId="9dd81366-5d6f-445a-b031-6ea562624431" providerId="ADAL" clId="{1012AE1A-29B0-4E90-8835-842C30BC7D2A}" dt="2023-01-04T11:53:21.160" v="16027"/>
          <ac:graphicFrameMkLst>
            <pc:docMk/>
            <pc:sldMk cId="853588367" sldId="2134804361"/>
            <ac:graphicFrameMk id="259" creationId="{BA113E3F-8260-6DE9-4782-065BF8EF9A4F}"/>
          </ac:graphicFrameMkLst>
        </pc:graphicFrameChg>
        <pc:graphicFrameChg chg="add del mod ord replST">
          <ac:chgData name="Wenwen Zhang" userId="9dd81366-5d6f-445a-b031-6ea562624431" providerId="ADAL" clId="{1012AE1A-29B0-4E90-8835-842C30BC7D2A}" dt="2023-01-04T11:53:24.148" v="16233"/>
          <ac:graphicFrameMkLst>
            <pc:docMk/>
            <pc:sldMk cId="853588367" sldId="2134804361"/>
            <ac:graphicFrameMk id="261" creationId="{53DB7670-15F3-17CD-2F48-75433651AF21}"/>
          </ac:graphicFrameMkLst>
        </pc:graphicFrameChg>
        <pc:graphicFrameChg chg="add del mod ord replST">
          <ac:chgData name="Wenwen Zhang" userId="9dd81366-5d6f-445a-b031-6ea562624431" providerId="ADAL" clId="{1012AE1A-29B0-4E90-8835-842C30BC7D2A}" dt="2023-01-04T12:44:33.341" v="21050"/>
          <ac:graphicFrameMkLst>
            <pc:docMk/>
            <pc:sldMk cId="853588367" sldId="2134804361"/>
            <ac:graphicFrameMk id="263" creationId="{790F7B0C-971D-A378-E52C-026B79D89AC8}"/>
          </ac:graphicFrameMkLst>
        </pc:graphicFrameChg>
        <pc:graphicFrameChg chg="add del mod ord replST">
          <ac:chgData name="Wenwen Zhang" userId="9dd81366-5d6f-445a-b031-6ea562624431" providerId="ADAL" clId="{1012AE1A-29B0-4E90-8835-842C30BC7D2A}" dt="2023-01-04T11:53:32.805" v="16451"/>
          <ac:graphicFrameMkLst>
            <pc:docMk/>
            <pc:sldMk cId="853588367" sldId="2134804361"/>
            <ac:graphicFrameMk id="265" creationId="{61CE42AD-6115-93C4-653C-B98D32D99B9E}"/>
          </ac:graphicFrameMkLst>
        </pc:graphicFrameChg>
        <pc:graphicFrameChg chg="add del mod ord replST">
          <ac:chgData name="Wenwen Zhang" userId="9dd81366-5d6f-445a-b031-6ea562624431" providerId="ADAL" clId="{1012AE1A-29B0-4E90-8835-842C30BC7D2A}" dt="2023-01-04T12:44:33.270" v="20969"/>
          <ac:graphicFrameMkLst>
            <pc:docMk/>
            <pc:sldMk cId="853588367" sldId="2134804361"/>
            <ac:graphicFrameMk id="267" creationId="{5523090B-6B78-42DB-9820-5CFE28EB1ACA}"/>
          </ac:graphicFrameMkLst>
        </pc:graphicFrameChg>
        <pc:graphicFrameChg chg="add del mod ord replST">
          <ac:chgData name="Wenwen Zhang" userId="9dd81366-5d6f-445a-b031-6ea562624431" providerId="ADAL" clId="{1012AE1A-29B0-4E90-8835-842C30BC7D2A}" dt="2023-01-04T12:44:33.151" v="20842"/>
          <ac:graphicFrameMkLst>
            <pc:docMk/>
            <pc:sldMk cId="853588367" sldId="2134804361"/>
            <ac:graphicFrameMk id="269" creationId="{42401EE0-B028-442F-87E8-6928890EB278}"/>
          </ac:graphicFrameMkLst>
        </pc:graphicFrameChg>
        <pc:graphicFrameChg chg="add del mod ord replST">
          <ac:chgData name="Wenwen Zhang" userId="9dd81366-5d6f-445a-b031-6ea562624431" providerId="ADAL" clId="{1012AE1A-29B0-4E90-8835-842C30BC7D2A}" dt="2023-01-04T12:44:33.204" v="20889"/>
          <ac:graphicFrameMkLst>
            <pc:docMk/>
            <pc:sldMk cId="853588367" sldId="2134804361"/>
            <ac:graphicFrameMk id="270" creationId="{13BB3E89-9C9A-9B79-D5A0-5BA86896DFD8}"/>
          </ac:graphicFrameMkLst>
        </pc:graphicFrameChg>
        <pc:graphicFrameChg chg="add del mod ord replST">
          <ac:chgData name="Wenwen Zhang" userId="9dd81366-5d6f-445a-b031-6ea562624431" providerId="ADAL" clId="{1012AE1A-29B0-4E90-8835-842C30BC7D2A}" dt="2023-01-04T12:44:35.145" v="21333"/>
          <ac:graphicFrameMkLst>
            <pc:docMk/>
            <pc:sldMk cId="853588367" sldId="2134804361"/>
            <ac:graphicFrameMk id="274" creationId="{C3D11F69-8E43-7484-8FF7-4A810E353059}"/>
          </ac:graphicFrameMkLst>
        </pc:graphicFrameChg>
        <pc:graphicFrameChg chg="add del mod ord replST">
          <ac:chgData name="Wenwen Zhang" userId="9dd81366-5d6f-445a-b031-6ea562624431" providerId="ADAL" clId="{1012AE1A-29B0-4E90-8835-842C30BC7D2A}" dt="2023-01-04T12:44:35.202" v="21380"/>
          <ac:graphicFrameMkLst>
            <pc:docMk/>
            <pc:sldMk cId="853588367" sldId="2134804361"/>
            <ac:graphicFrameMk id="275" creationId="{7AAF634B-1FD6-0192-4C59-FDAE2CEA5D21}"/>
          </ac:graphicFrameMkLst>
        </pc:graphicFrameChg>
        <pc:graphicFrameChg chg="add del mod ord replST">
          <ac:chgData name="Wenwen Zhang" userId="9dd81366-5d6f-445a-b031-6ea562624431" providerId="ADAL" clId="{1012AE1A-29B0-4E90-8835-842C30BC7D2A}" dt="2023-01-04T12:44:35.269" v="21460"/>
          <ac:graphicFrameMkLst>
            <pc:docMk/>
            <pc:sldMk cId="853588367" sldId="2134804361"/>
            <ac:graphicFrameMk id="276" creationId="{A0F4667C-7D1F-C829-4114-292BFCFD3525}"/>
          </ac:graphicFrameMkLst>
        </pc:graphicFrameChg>
        <pc:graphicFrameChg chg="add del mod ord replST">
          <ac:chgData name="Wenwen Zhang" userId="9dd81366-5d6f-445a-b031-6ea562624431" providerId="ADAL" clId="{1012AE1A-29B0-4E90-8835-842C30BC7D2A}" dt="2023-01-04T12:44:35.342" v="21541"/>
          <ac:graphicFrameMkLst>
            <pc:docMk/>
            <pc:sldMk cId="853588367" sldId="2134804361"/>
            <ac:graphicFrameMk id="277" creationId="{A3DAAEAE-9A33-7BBF-BA1A-62C6924348D6}"/>
          </ac:graphicFrameMkLst>
        </pc:graphicFrameChg>
        <pc:graphicFrameChg chg="add del mod ord replST">
          <ac:chgData name="Wenwen Zhang" userId="9dd81366-5d6f-445a-b031-6ea562624431" providerId="ADAL" clId="{1012AE1A-29B0-4E90-8835-842C30BC7D2A}" dt="2023-01-04T12:44:37.001" v="21824"/>
          <ac:graphicFrameMkLst>
            <pc:docMk/>
            <pc:sldMk cId="853588367" sldId="2134804361"/>
            <ac:graphicFrameMk id="279" creationId="{571D95DE-ED5C-ED2D-9D45-85DE9CD06624}"/>
          </ac:graphicFrameMkLst>
        </pc:graphicFrameChg>
        <pc:graphicFrameChg chg="add del mod ord replST">
          <ac:chgData name="Wenwen Zhang" userId="9dd81366-5d6f-445a-b031-6ea562624431" providerId="ADAL" clId="{1012AE1A-29B0-4E90-8835-842C30BC7D2A}" dt="2023-01-04T12:44:37.058" v="21871"/>
          <ac:graphicFrameMkLst>
            <pc:docMk/>
            <pc:sldMk cId="853588367" sldId="2134804361"/>
            <ac:graphicFrameMk id="280" creationId="{966FC402-8CF7-FED9-5719-7944AC52CF58}"/>
          </ac:graphicFrameMkLst>
        </pc:graphicFrameChg>
        <pc:graphicFrameChg chg="add del mod ord replST">
          <ac:chgData name="Wenwen Zhang" userId="9dd81366-5d6f-445a-b031-6ea562624431" providerId="ADAL" clId="{1012AE1A-29B0-4E90-8835-842C30BC7D2A}" dt="2023-01-04T12:44:37.118" v="21951"/>
          <ac:graphicFrameMkLst>
            <pc:docMk/>
            <pc:sldMk cId="853588367" sldId="2134804361"/>
            <ac:graphicFrameMk id="281" creationId="{FF643D8F-1337-5731-CE7C-8BA6CA18097A}"/>
          </ac:graphicFrameMkLst>
        </pc:graphicFrameChg>
        <pc:graphicFrameChg chg="add del mod ord replST">
          <ac:chgData name="Wenwen Zhang" userId="9dd81366-5d6f-445a-b031-6ea562624431" providerId="ADAL" clId="{1012AE1A-29B0-4E90-8835-842C30BC7D2A}" dt="2023-01-04T12:44:37.186" v="22032"/>
          <ac:graphicFrameMkLst>
            <pc:docMk/>
            <pc:sldMk cId="853588367" sldId="2134804361"/>
            <ac:graphicFrameMk id="282" creationId="{5C1460EE-B1B8-575F-E0D7-0E433ACF7C15}"/>
          </ac:graphicFrameMkLst>
        </pc:graphicFrameChg>
        <pc:graphicFrameChg chg="add del mod ord replST">
          <ac:chgData name="Wenwen Zhang" userId="9dd81366-5d6f-445a-b031-6ea562624431" providerId="ADAL" clId="{1012AE1A-29B0-4E90-8835-842C30BC7D2A}" dt="2023-01-04T12:44:38.975" v="22315"/>
          <ac:graphicFrameMkLst>
            <pc:docMk/>
            <pc:sldMk cId="853588367" sldId="2134804361"/>
            <ac:graphicFrameMk id="284" creationId="{3FAABDBB-AB84-810C-97C4-2E1D1A05CC3F}"/>
          </ac:graphicFrameMkLst>
        </pc:graphicFrameChg>
        <pc:graphicFrameChg chg="add del mod ord replST">
          <ac:chgData name="Wenwen Zhang" userId="9dd81366-5d6f-445a-b031-6ea562624431" providerId="ADAL" clId="{1012AE1A-29B0-4E90-8835-842C30BC7D2A}" dt="2023-01-04T12:44:39.039" v="22362"/>
          <ac:graphicFrameMkLst>
            <pc:docMk/>
            <pc:sldMk cId="853588367" sldId="2134804361"/>
            <ac:graphicFrameMk id="285" creationId="{D433FBD1-2BBE-CB7E-61CE-DD5A10F10A1B}"/>
          </ac:graphicFrameMkLst>
        </pc:graphicFrameChg>
        <pc:graphicFrameChg chg="add del mod ord replST">
          <ac:chgData name="Wenwen Zhang" userId="9dd81366-5d6f-445a-b031-6ea562624431" providerId="ADAL" clId="{1012AE1A-29B0-4E90-8835-842C30BC7D2A}" dt="2023-01-04T12:44:39.102" v="22442"/>
          <ac:graphicFrameMkLst>
            <pc:docMk/>
            <pc:sldMk cId="853588367" sldId="2134804361"/>
            <ac:graphicFrameMk id="286" creationId="{A26536C8-A063-9DEF-5813-8A8FE2CD2185}"/>
          </ac:graphicFrameMkLst>
        </pc:graphicFrameChg>
        <pc:graphicFrameChg chg="add del mod ord replST">
          <ac:chgData name="Wenwen Zhang" userId="9dd81366-5d6f-445a-b031-6ea562624431" providerId="ADAL" clId="{1012AE1A-29B0-4E90-8835-842C30BC7D2A}" dt="2023-01-04T12:44:39.172" v="22523"/>
          <ac:graphicFrameMkLst>
            <pc:docMk/>
            <pc:sldMk cId="853588367" sldId="2134804361"/>
            <ac:graphicFrameMk id="287" creationId="{0084E137-FAEE-BBAA-F88E-B5C2BEB25F10}"/>
          </ac:graphicFrameMkLst>
        </pc:graphicFrameChg>
        <pc:graphicFrameChg chg="add del mod ord replST">
          <ac:chgData name="Wenwen Zhang" userId="9dd81366-5d6f-445a-b031-6ea562624431" providerId="ADAL" clId="{1012AE1A-29B0-4E90-8835-842C30BC7D2A}" dt="2023-01-04T12:44:40.499" v="22806"/>
          <ac:graphicFrameMkLst>
            <pc:docMk/>
            <pc:sldMk cId="853588367" sldId="2134804361"/>
            <ac:graphicFrameMk id="289" creationId="{190EF3C8-96B4-6BEC-3D6C-2F4901519A4B}"/>
          </ac:graphicFrameMkLst>
        </pc:graphicFrameChg>
        <pc:graphicFrameChg chg="add del mod ord replST">
          <ac:chgData name="Wenwen Zhang" userId="9dd81366-5d6f-445a-b031-6ea562624431" providerId="ADAL" clId="{1012AE1A-29B0-4E90-8835-842C30BC7D2A}" dt="2023-01-04T12:44:40.553" v="22853"/>
          <ac:graphicFrameMkLst>
            <pc:docMk/>
            <pc:sldMk cId="853588367" sldId="2134804361"/>
            <ac:graphicFrameMk id="290" creationId="{DF47AAAB-2C96-0810-9617-F517511D73D3}"/>
          </ac:graphicFrameMkLst>
        </pc:graphicFrameChg>
        <pc:graphicFrameChg chg="add del mod ord replST">
          <ac:chgData name="Wenwen Zhang" userId="9dd81366-5d6f-445a-b031-6ea562624431" providerId="ADAL" clId="{1012AE1A-29B0-4E90-8835-842C30BC7D2A}" dt="2023-01-04T12:44:40.617" v="22933"/>
          <ac:graphicFrameMkLst>
            <pc:docMk/>
            <pc:sldMk cId="853588367" sldId="2134804361"/>
            <ac:graphicFrameMk id="291" creationId="{28B849A9-D5FE-F7AA-57A0-D0C49BA7E44B}"/>
          </ac:graphicFrameMkLst>
        </pc:graphicFrameChg>
        <pc:graphicFrameChg chg="add del mod ord replST">
          <ac:chgData name="Wenwen Zhang" userId="9dd81366-5d6f-445a-b031-6ea562624431" providerId="ADAL" clId="{1012AE1A-29B0-4E90-8835-842C30BC7D2A}" dt="2023-01-04T12:44:40.687" v="23014"/>
          <ac:graphicFrameMkLst>
            <pc:docMk/>
            <pc:sldMk cId="853588367" sldId="2134804361"/>
            <ac:graphicFrameMk id="292" creationId="{D905854F-011E-72AD-BD5E-427F636C94F8}"/>
          </ac:graphicFrameMkLst>
        </pc:graphicFrameChg>
        <pc:graphicFrameChg chg="add del mod ord replST">
          <ac:chgData name="Wenwen Zhang" userId="9dd81366-5d6f-445a-b031-6ea562624431" providerId="ADAL" clId="{1012AE1A-29B0-4E90-8835-842C30BC7D2A}" dt="2023-01-04T15:16:33.506" v="24629"/>
          <ac:graphicFrameMkLst>
            <pc:docMk/>
            <pc:sldMk cId="853588367" sldId="2134804361"/>
            <ac:graphicFrameMk id="294" creationId="{DA8B9B2E-FF3D-26B0-D580-3CE03250207C}"/>
          </ac:graphicFrameMkLst>
        </pc:graphicFrameChg>
        <pc:graphicFrameChg chg="add mod ord replST">
          <ac:chgData name="Wenwen Zhang" userId="9dd81366-5d6f-445a-b031-6ea562624431" providerId="ADAL" clId="{1012AE1A-29B0-4E90-8835-842C30BC7D2A}" dt="2023-01-05T13:51:23.831" v="93143"/>
          <ac:graphicFrameMkLst>
            <pc:docMk/>
            <pc:sldMk cId="853588367" sldId="2134804361"/>
            <ac:graphicFrameMk id="295" creationId="{B7D78346-EC74-3257-D335-4CB5D45EB885}"/>
          </ac:graphicFrameMkLst>
        </pc:graphicFrameChg>
        <pc:graphicFrameChg chg="add del mod ord replST">
          <ac:chgData name="Wenwen Zhang" userId="9dd81366-5d6f-445a-b031-6ea562624431" providerId="ADAL" clId="{1012AE1A-29B0-4E90-8835-842C30BC7D2A}" dt="2023-01-05T13:50:47.711" v="92928"/>
          <ac:graphicFrameMkLst>
            <pc:docMk/>
            <pc:sldMk cId="853588367" sldId="2134804361"/>
            <ac:graphicFrameMk id="296" creationId="{D436E62B-0530-2DE1-A85E-D86534834B8D}"/>
          </ac:graphicFrameMkLst>
        </pc:graphicFrameChg>
        <pc:graphicFrameChg chg="add mod ord replST">
          <ac:chgData name="Wenwen Zhang" userId="9dd81366-5d6f-445a-b031-6ea562624431" providerId="ADAL" clId="{1012AE1A-29B0-4E90-8835-842C30BC7D2A}" dt="2023-01-05T13:51:23.842" v="93179"/>
          <ac:graphicFrameMkLst>
            <pc:docMk/>
            <pc:sldMk cId="853588367" sldId="2134804361"/>
            <ac:graphicFrameMk id="297" creationId="{278DE53A-411E-6562-8E4E-8B1EAB961DD1}"/>
          </ac:graphicFrameMkLst>
        </pc:graphicFrameChg>
        <pc:cxnChg chg="add del mod ord replST">
          <ac:chgData name="Wenwen Zhang" userId="9dd81366-5d6f-445a-b031-6ea562624431" providerId="ADAL" clId="{1012AE1A-29B0-4E90-8835-842C30BC7D2A}" dt="2023-01-04T15:16:40.235" v="25192"/>
          <ac:cxnSpMkLst>
            <pc:docMk/>
            <pc:sldMk cId="853588367" sldId="2134804361"/>
            <ac:cxnSpMk id="7" creationId="{D821DDF9-714E-ED0A-915C-A469D8DEC618}"/>
          </ac:cxnSpMkLst>
        </pc:cxnChg>
        <pc:cxnChg chg="add del mod ord replST">
          <ac:chgData name="Wenwen Zhang" userId="9dd81366-5d6f-445a-b031-6ea562624431" providerId="ADAL" clId="{1012AE1A-29B0-4E90-8835-842C30BC7D2A}" dt="2023-01-04T11:51:46.263" v="9769"/>
          <ac:cxnSpMkLst>
            <pc:docMk/>
            <pc:sldMk cId="853588367" sldId="2134804361"/>
            <ac:cxnSpMk id="17" creationId="{67A09192-331D-70D5-A2FD-D26C11499ACD}"/>
          </ac:cxnSpMkLst>
        </pc:cxnChg>
        <pc:cxnChg chg="add del mod ord replST">
          <ac:chgData name="Wenwen Zhang" userId="9dd81366-5d6f-445a-b031-6ea562624431" providerId="ADAL" clId="{1012AE1A-29B0-4E90-8835-842C30BC7D2A}" dt="2023-01-04T11:51:46.263" v="9769"/>
          <ac:cxnSpMkLst>
            <pc:docMk/>
            <pc:sldMk cId="853588367" sldId="2134804361"/>
            <ac:cxnSpMk id="36" creationId="{653B9FDA-4C1B-53DD-23B3-9267FF40E3DE}"/>
          </ac:cxnSpMkLst>
        </pc:cxnChg>
        <pc:cxnChg chg="add del mod ord replST">
          <ac:chgData name="Wenwen Zhang" userId="9dd81366-5d6f-445a-b031-6ea562624431" providerId="ADAL" clId="{1012AE1A-29B0-4E90-8835-842C30BC7D2A}" dt="2023-01-04T11:51:46.263" v="9769"/>
          <ac:cxnSpMkLst>
            <pc:docMk/>
            <pc:sldMk cId="853588367" sldId="2134804361"/>
            <ac:cxnSpMk id="41" creationId="{F065F7FB-2A9C-9638-6307-4C9637EE10C0}"/>
          </ac:cxnSpMkLst>
        </pc:cxnChg>
        <pc:cxnChg chg="add del mod ord">
          <ac:chgData name="Wenwen Zhang" userId="9dd81366-5d6f-445a-b031-6ea562624431" providerId="ADAL" clId="{1012AE1A-29B0-4E90-8835-842C30BC7D2A}" dt="2023-01-04T11:52:45.451" v="13671"/>
          <ac:cxnSpMkLst>
            <pc:docMk/>
            <pc:sldMk cId="853588367" sldId="2134804361"/>
            <ac:cxnSpMk id="108" creationId="{A0F13C74-0AD2-77A7-B9DD-9577B9C430C2}"/>
          </ac:cxnSpMkLst>
        </pc:cxnChg>
        <pc:cxnChg chg="add del mod ord">
          <ac:chgData name="Wenwen Zhang" userId="9dd81366-5d6f-445a-b031-6ea562624431" providerId="ADAL" clId="{1012AE1A-29B0-4E90-8835-842C30BC7D2A}" dt="2023-01-04T11:52:45.450" v="13668"/>
          <ac:cxnSpMkLst>
            <pc:docMk/>
            <pc:sldMk cId="853588367" sldId="2134804361"/>
            <ac:cxnSpMk id="124" creationId="{63582769-525A-4B3F-03CE-DCEC233A6CC4}"/>
          </ac:cxnSpMkLst>
        </pc:cxnChg>
        <pc:cxnChg chg="add del mod ord replST">
          <ac:chgData name="Wenwen Zhang" userId="9dd81366-5d6f-445a-b031-6ea562624431" providerId="ADAL" clId="{1012AE1A-29B0-4E90-8835-842C30BC7D2A}" dt="2023-01-04T15:16:37.298" v="24961"/>
          <ac:cxnSpMkLst>
            <pc:docMk/>
            <pc:sldMk cId="853588367" sldId="2134804361"/>
            <ac:cxnSpMk id="181" creationId="{3B1649F9-97DA-E489-2B07-2FB2D37AB452}"/>
          </ac:cxnSpMkLst>
        </pc:cxnChg>
        <pc:cxnChg chg="add del mod ord replST">
          <ac:chgData name="Wenwen Zhang" userId="9dd81366-5d6f-445a-b031-6ea562624431" providerId="ADAL" clId="{1012AE1A-29B0-4E90-8835-842C30BC7D2A}" dt="2023-01-05T13:50:46.876" v="92260"/>
          <ac:cxnSpMkLst>
            <pc:docMk/>
            <pc:sldMk cId="853588367" sldId="2134804361"/>
            <ac:cxnSpMk id="223" creationId="{2679AECC-3DFE-30F9-5EC2-2D630EF46F0A}"/>
          </ac:cxnSpMkLst>
        </pc:cxnChg>
        <pc:cxnChg chg="add mod ord replST">
          <ac:chgData name="Wenwen Zhang" userId="9dd81366-5d6f-445a-b031-6ea562624431" providerId="ADAL" clId="{1012AE1A-29B0-4E90-8835-842C30BC7D2A}" dt="2023-01-05T13:51:23.841" v="93173"/>
          <ac:cxnSpMkLst>
            <pc:docMk/>
            <pc:sldMk cId="853588367" sldId="2134804361"/>
            <ac:cxnSpMk id="239" creationId="{E14A5F61-E5FC-EFD3-20CE-AD6202D77B62}"/>
          </ac:cxnSpMkLst>
        </pc:cxnChg>
      </pc:sldChg>
      <pc:sldChg chg="del">
        <pc:chgData name="Wenwen Zhang" userId="9dd81366-5d6f-445a-b031-6ea562624431" providerId="ADAL" clId="{1012AE1A-29B0-4E90-8835-842C30BC7D2A}" dt="2023-01-04T11:55:20.711" v="17031" actId="47"/>
        <pc:sldMkLst>
          <pc:docMk/>
          <pc:sldMk cId="2564188142" sldId="2134804362"/>
        </pc:sldMkLst>
      </pc:sldChg>
      <pc:sldChg chg="del">
        <pc:chgData name="Wenwen Zhang" userId="9dd81366-5d6f-445a-b031-6ea562624431" providerId="ADAL" clId="{1012AE1A-29B0-4E90-8835-842C30BC7D2A}" dt="2023-01-03T14:59:59.141" v="58" actId="47"/>
        <pc:sldMkLst>
          <pc:docMk/>
          <pc:sldMk cId="691933908" sldId="2134804364"/>
        </pc:sldMkLst>
      </pc:sldChg>
      <pc:sldChg chg="del">
        <pc:chgData name="Wenwen Zhang" userId="9dd81366-5d6f-445a-b031-6ea562624431" providerId="ADAL" clId="{1012AE1A-29B0-4E90-8835-842C30BC7D2A}" dt="2023-01-04T14:07:50.551" v="23293" actId="47"/>
        <pc:sldMkLst>
          <pc:docMk/>
          <pc:sldMk cId="2987781684" sldId="2134804365"/>
        </pc:sldMkLst>
      </pc:sldChg>
      <pc:sldChg chg="addSp delSp modSp mod modAnim modNotesTx">
        <pc:chgData name="Wenwen Zhang" userId="9dd81366-5d6f-445a-b031-6ea562624431" providerId="ADAL" clId="{1012AE1A-29B0-4E90-8835-842C30BC7D2A}" dt="2023-01-05T15:35:44.205" v="94122" actId="20577"/>
        <pc:sldMkLst>
          <pc:docMk/>
          <pc:sldMk cId="3474282986" sldId="2134804366"/>
        </pc:sldMkLst>
        <pc:spChg chg="del topLvl">
          <ac:chgData name="Wenwen Zhang" userId="9dd81366-5d6f-445a-b031-6ea562624431" providerId="ADAL" clId="{1012AE1A-29B0-4E90-8835-842C30BC7D2A}" dt="2023-01-04T14:03:16.391" v="23256" actId="478"/>
          <ac:spMkLst>
            <pc:docMk/>
            <pc:sldMk cId="3474282986" sldId="2134804366"/>
            <ac:spMk id="5" creationId="{B1C7F52F-C566-AF5C-07F0-48C6788B0B96}"/>
          </ac:spMkLst>
        </pc:spChg>
        <pc:spChg chg="mod ord topLvl">
          <ac:chgData name="Wenwen Zhang" userId="9dd81366-5d6f-445a-b031-6ea562624431" providerId="ADAL" clId="{1012AE1A-29B0-4E90-8835-842C30BC7D2A}" dt="2023-01-04T14:22:14.045" v="23392" actId="14100"/>
          <ac:spMkLst>
            <pc:docMk/>
            <pc:sldMk cId="3474282986" sldId="2134804366"/>
            <ac:spMk id="6" creationId="{5CFC7B4E-BFD2-8098-69F3-D88FD95E1A72}"/>
          </ac:spMkLst>
        </pc:spChg>
        <pc:spChg chg="del mod ord">
          <ac:chgData name="Wenwen Zhang" userId="9dd81366-5d6f-445a-b031-6ea562624431" providerId="ADAL" clId="{1012AE1A-29B0-4E90-8835-842C30BC7D2A}" dt="2023-01-04T14:02:34.403" v="23243" actId="478"/>
          <ac:spMkLst>
            <pc:docMk/>
            <pc:sldMk cId="3474282986" sldId="2134804366"/>
            <ac:spMk id="7" creationId="{8890DF3E-BC77-6ED6-424D-CBE88FB93210}"/>
          </ac:spMkLst>
        </pc:spChg>
        <pc:spChg chg="add mod ord">
          <ac:chgData name="Wenwen Zhang" userId="9dd81366-5d6f-445a-b031-6ea562624431" providerId="ADAL" clId="{1012AE1A-29B0-4E90-8835-842C30BC7D2A}" dt="2023-01-04T15:42:19.004" v="25302" actId="1035"/>
          <ac:spMkLst>
            <pc:docMk/>
            <pc:sldMk cId="3474282986" sldId="2134804366"/>
            <ac:spMk id="12" creationId="{F49C5FC9-0A12-8FA9-B1DD-7B75CF8606DB}"/>
          </ac:spMkLst>
        </pc:spChg>
        <pc:spChg chg="add mod ord">
          <ac:chgData name="Wenwen Zhang" userId="9dd81366-5d6f-445a-b031-6ea562624431" providerId="ADAL" clId="{1012AE1A-29B0-4E90-8835-842C30BC7D2A}" dt="2023-01-04T14:21:54.609" v="23386"/>
          <ac:spMkLst>
            <pc:docMk/>
            <pc:sldMk cId="3474282986" sldId="2134804366"/>
            <ac:spMk id="14" creationId="{20D5CA4D-5E7C-9865-3837-5F6E564754A0}"/>
          </ac:spMkLst>
        </pc:spChg>
        <pc:spChg chg="add del mod">
          <ac:chgData name="Wenwen Zhang" userId="9dd81366-5d6f-445a-b031-6ea562624431" providerId="ADAL" clId="{1012AE1A-29B0-4E90-8835-842C30BC7D2A}" dt="2023-01-04T14:21:13.893" v="23367"/>
          <ac:spMkLst>
            <pc:docMk/>
            <pc:sldMk cId="3474282986" sldId="2134804366"/>
            <ac:spMk id="18" creationId="{C536120B-A147-B0D9-5057-0B7CDA61418D}"/>
          </ac:spMkLst>
        </pc:spChg>
        <pc:grpChg chg="del mod ord">
          <ac:chgData name="Wenwen Zhang" userId="9dd81366-5d6f-445a-b031-6ea562624431" providerId="ADAL" clId="{1012AE1A-29B0-4E90-8835-842C30BC7D2A}" dt="2023-01-04T14:03:16.391" v="23256" actId="478"/>
          <ac:grpSpMkLst>
            <pc:docMk/>
            <pc:sldMk cId="3474282986" sldId="2134804366"/>
            <ac:grpSpMk id="11" creationId="{29671453-A171-DBA9-E86D-1725DD3EF2AC}"/>
          </ac:grpSpMkLst>
        </pc:grpChg>
        <pc:graphicFrameChg chg="mod">
          <ac:chgData name="Wenwen Zhang" userId="9dd81366-5d6f-445a-b031-6ea562624431" providerId="ADAL" clId="{1012AE1A-29B0-4E90-8835-842C30BC7D2A}" dt="2023-01-04T14:21:54.611" v="23390"/>
          <ac:graphicFrameMkLst>
            <pc:docMk/>
            <pc:sldMk cId="3474282986" sldId="2134804366"/>
            <ac:graphicFrameMk id="9" creationId="{9E623100-FD89-1DB8-6F4F-B410DD8D5A15}"/>
          </ac:graphicFrameMkLst>
        </pc:graphicFrameChg>
        <pc:picChg chg="add del mod ord modCrop">
          <ac:chgData name="Wenwen Zhang" userId="9dd81366-5d6f-445a-b031-6ea562624431" providerId="ADAL" clId="{1012AE1A-29B0-4E90-8835-842C30BC7D2A}" dt="2023-01-04T14:05:54.981" v="23275" actId="478"/>
          <ac:picMkLst>
            <pc:docMk/>
            <pc:sldMk cId="3474282986" sldId="2134804366"/>
            <ac:picMk id="3" creationId="{62DCE963-3A07-9D1D-8C8E-908B309E41CC}"/>
          </ac:picMkLst>
        </pc:picChg>
        <pc:picChg chg="del">
          <ac:chgData name="Wenwen Zhang" userId="9dd81366-5d6f-445a-b031-6ea562624431" providerId="ADAL" clId="{1012AE1A-29B0-4E90-8835-842C30BC7D2A}" dt="2023-01-04T14:01:48.114" v="23215" actId="478"/>
          <ac:picMkLst>
            <pc:docMk/>
            <pc:sldMk cId="3474282986" sldId="2134804366"/>
            <ac:picMk id="8" creationId="{95B30B32-4328-6BD6-A091-5DC8B89647F8}"/>
          </ac:picMkLst>
        </pc:picChg>
        <pc:picChg chg="add del mod modCrop">
          <ac:chgData name="Wenwen Zhang" userId="9dd81366-5d6f-445a-b031-6ea562624431" providerId="ADAL" clId="{1012AE1A-29B0-4E90-8835-842C30BC7D2A}" dt="2023-01-04T14:21:12.353" v="23365" actId="478"/>
          <ac:picMkLst>
            <pc:docMk/>
            <pc:sldMk cId="3474282986" sldId="2134804366"/>
            <ac:picMk id="10" creationId="{76CEBC48-3FA6-51E3-A20F-99C26731E323}"/>
          </ac:picMkLst>
        </pc:picChg>
        <pc:picChg chg="add mod ord modCrop">
          <ac:chgData name="Wenwen Zhang" userId="9dd81366-5d6f-445a-b031-6ea562624431" providerId="ADAL" clId="{1012AE1A-29B0-4E90-8835-842C30BC7D2A}" dt="2023-01-04T14:21:54.608" v="23378"/>
          <ac:picMkLst>
            <pc:docMk/>
            <pc:sldMk cId="3474282986" sldId="2134804366"/>
            <ac:picMk id="20" creationId="{9DF0C02C-6F15-B32A-224D-1F40B11C3FFD}"/>
          </ac:picMkLst>
        </pc:picChg>
        <pc:picChg chg="add del mod">
          <ac:chgData name="Wenwen Zhang" userId="9dd81366-5d6f-445a-b031-6ea562624431" providerId="ADAL" clId="{1012AE1A-29B0-4E90-8835-842C30BC7D2A}" dt="2023-01-04T14:01:57.858" v="23236" actId="478"/>
          <ac:picMkLst>
            <pc:docMk/>
            <pc:sldMk cId="3474282986" sldId="2134804366"/>
            <ac:picMk id="1026" creationId="{650577B9-2DB8-A7F5-EFDC-6766AAE7EE83}"/>
          </ac:picMkLst>
        </pc:picChg>
        <pc:cxnChg chg="add mod ord">
          <ac:chgData name="Wenwen Zhang" userId="9dd81366-5d6f-445a-b031-6ea562624431" providerId="ADAL" clId="{1012AE1A-29B0-4E90-8835-842C30BC7D2A}" dt="2023-01-04T15:42:24.527" v="25303" actId="14100"/>
          <ac:cxnSpMkLst>
            <pc:docMk/>
            <pc:sldMk cId="3474282986" sldId="2134804366"/>
            <ac:cxnSpMk id="13" creationId="{557A6034-1ABB-1B3A-A149-9246CEEF5DC2}"/>
          </ac:cxnSpMkLst>
        </pc:cxnChg>
        <pc:cxnChg chg="add del mod">
          <ac:chgData name="Wenwen Zhang" userId="9dd81366-5d6f-445a-b031-6ea562624431" providerId="ADAL" clId="{1012AE1A-29B0-4E90-8835-842C30BC7D2A}" dt="2023-01-04T14:21:13.893" v="23367"/>
          <ac:cxnSpMkLst>
            <pc:docMk/>
            <pc:sldMk cId="3474282986" sldId="2134804366"/>
            <ac:cxnSpMk id="17" creationId="{C3FCA676-6478-2180-9B65-62785280485A}"/>
          </ac:cxnSpMkLst>
        </pc:cxnChg>
      </pc:sldChg>
      <pc:sldChg chg="del">
        <pc:chgData name="Wenwen Zhang" userId="9dd81366-5d6f-445a-b031-6ea562624431" providerId="ADAL" clId="{1012AE1A-29B0-4E90-8835-842C30BC7D2A}" dt="2023-01-04T14:10:11.315" v="23294" actId="47"/>
        <pc:sldMkLst>
          <pc:docMk/>
          <pc:sldMk cId="3189853592" sldId="2134804367"/>
        </pc:sldMkLst>
      </pc:sldChg>
      <pc:sldChg chg="del modNotesTx">
        <pc:chgData name="Wenwen Zhang" userId="9dd81366-5d6f-445a-b031-6ea562624431" providerId="ADAL" clId="{1012AE1A-29B0-4E90-8835-842C30BC7D2A}" dt="2023-01-04T12:54:15.995" v="23144" actId="47"/>
        <pc:sldMkLst>
          <pc:docMk/>
          <pc:sldMk cId="2678773163" sldId="2134804368"/>
        </pc:sldMkLst>
      </pc:sldChg>
      <pc:sldChg chg="addSp delSp modSp add mod modNotesTx">
        <pc:chgData name="Wenwen Zhang" userId="9dd81366-5d6f-445a-b031-6ea562624431" providerId="ADAL" clId="{1012AE1A-29B0-4E90-8835-842C30BC7D2A}" dt="2023-01-05T13:47:20.469" v="92256" actId="20577"/>
        <pc:sldMkLst>
          <pc:docMk/>
          <pc:sldMk cId="200733304" sldId="2134804369"/>
        </pc:sldMkLst>
        <pc:spChg chg="mod ord">
          <ac:chgData name="Wenwen Zhang" userId="9dd81366-5d6f-445a-b031-6ea562624431" providerId="ADAL" clId="{1012AE1A-29B0-4E90-8835-842C30BC7D2A}" dt="2023-01-05T12:06:49.981" v="89986"/>
          <ac:spMkLst>
            <pc:docMk/>
            <pc:sldMk cId="200733304" sldId="2134804369"/>
            <ac:spMk id="2" creationId="{B065B79C-C4D6-5961-7919-6BB68C420868}"/>
          </ac:spMkLst>
        </pc:spChg>
        <pc:spChg chg="add del mod modVis">
          <ac:chgData name="Wenwen Zhang" userId="9dd81366-5d6f-445a-b031-6ea562624431" providerId="ADAL" clId="{1012AE1A-29B0-4E90-8835-842C30BC7D2A}" dt="2023-01-04T11:55:58.151" v="17167"/>
          <ac:spMkLst>
            <pc:docMk/>
            <pc:sldMk cId="200733304" sldId="2134804369"/>
            <ac:spMk id="3" creationId="{973DFB18-1E19-1D4A-E0B0-36ED36B815B0}"/>
          </ac:spMkLst>
        </pc:spChg>
        <pc:spChg chg="add del mod modVis">
          <ac:chgData name="Wenwen Zhang" userId="9dd81366-5d6f-445a-b031-6ea562624431" providerId="ADAL" clId="{1012AE1A-29B0-4E90-8835-842C30BC7D2A}" dt="2023-01-04T22:34:01.106" v="31150"/>
          <ac:spMkLst>
            <pc:docMk/>
            <pc:sldMk cId="200733304" sldId="2134804369"/>
            <ac:spMk id="3" creationId="{C9DE2123-553C-AADE-267F-1F1EE8A5BA51}"/>
          </ac:spMkLst>
        </pc:spChg>
        <pc:spChg chg="add mod ord">
          <ac:chgData name="Wenwen Zhang" userId="9dd81366-5d6f-445a-b031-6ea562624431" providerId="ADAL" clId="{1012AE1A-29B0-4E90-8835-842C30BC7D2A}" dt="2023-01-05T12:06:49.981" v="89986"/>
          <ac:spMkLst>
            <pc:docMk/>
            <pc:sldMk cId="200733304" sldId="2134804369"/>
            <ac:spMk id="4" creationId="{AD0E97D5-5A4C-F8E8-8C92-74ED86E2BF79}"/>
          </ac:spMkLst>
        </pc:spChg>
        <pc:spChg chg="add mod ord">
          <ac:chgData name="Wenwen Zhang" userId="9dd81366-5d6f-445a-b031-6ea562624431" providerId="ADAL" clId="{1012AE1A-29B0-4E90-8835-842C30BC7D2A}" dt="2023-01-05T12:06:49.981" v="89986"/>
          <ac:spMkLst>
            <pc:docMk/>
            <pc:sldMk cId="200733304" sldId="2134804369"/>
            <ac:spMk id="5" creationId="{C3A93218-CE18-A4B3-81CE-9F30E61F8154}"/>
          </ac:spMkLst>
        </pc:spChg>
        <pc:spChg chg="add del mod replST">
          <ac:chgData name="Wenwen Zhang" userId="9dd81366-5d6f-445a-b031-6ea562624431" providerId="ADAL" clId="{1012AE1A-29B0-4E90-8835-842C30BC7D2A}" dt="2023-01-04T22:34:03.223" v="31157"/>
          <ac:spMkLst>
            <pc:docMk/>
            <pc:sldMk cId="200733304" sldId="2134804369"/>
            <ac:spMk id="6" creationId="{96DB64E7-7450-5BAA-7DCA-6F75AE12EF02}"/>
          </ac:spMkLst>
        </pc:spChg>
        <pc:spChg chg="add mod ord">
          <ac:chgData name="Wenwen Zhang" userId="9dd81366-5d6f-445a-b031-6ea562624431" providerId="ADAL" clId="{1012AE1A-29B0-4E90-8835-842C30BC7D2A}" dt="2023-01-05T12:06:49.981" v="89986"/>
          <ac:spMkLst>
            <pc:docMk/>
            <pc:sldMk cId="200733304" sldId="2134804369"/>
            <ac:spMk id="7" creationId="{1486C0F6-529B-18EC-CA86-12B8F894AF65}"/>
          </ac:spMkLst>
        </pc:spChg>
        <pc:spChg chg="add mod ord">
          <ac:chgData name="Wenwen Zhang" userId="9dd81366-5d6f-445a-b031-6ea562624431" providerId="ADAL" clId="{1012AE1A-29B0-4E90-8835-842C30BC7D2A}" dt="2023-01-05T12:06:49.981" v="89986"/>
          <ac:spMkLst>
            <pc:docMk/>
            <pc:sldMk cId="200733304" sldId="2134804369"/>
            <ac:spMk id="8" creationId="{75FC8E37-0852-66AB-4534-54657E443CA9}"/>
          </ac:spMkLst>
        </pc:spChg>
        <pc:spChg chg="add del mod modVis">
          <ac:chgData name="Wenwen Zhang" userId="9dd81366-5d6f-445a-b031-6ea562624431" providerId="ADAL" clId="{1012AE1A-29B0-4E90-8835-842C30BC7D2A}" dt="2023-01-04T23:56:12.343" v="57177"/>
          <ac:spMkLst>
            <pc:docMk/>
            <pc:sldMk cId="200733304" sldId="2134804369"/>
            <ac:spMk id="11" creationId="{52DF5B72-28D7-3C98-CCE8-EB197FA7BD47}"/>
          </ac:spMkLst>
        </pc:spChg>
        <pc:spChg chg="add mod ord replST">
          <ac:chgData name="Wenwen Zhang" userId="9dd81366-5d6f-445a-b031-6ea562624431" providerId="ADAL" clId="{1012AE1A-29B0-4E90-8835-842C30BC7D2A}" dt="2023-01-05T12:06:49.981" v="89986"/>
          <ac:spMkLst>
            <pc:docMk/>
            <pc:sldMk cId="200733304" sldId="2134804369"/>
            <ac:spMk id="13" creationId="{BA45B395-127A-7235-5ABC-DDC3D3FB3BEC}"/>
          </ac:spMkLst>
        </pc:spChg>
        <pc:spChg chg="add mod ord replST">
          <ac:chgData name="Wenwen Zhang" userId="9dd81366-5d6f-445a-b031-6ea562624431" providerId="ADAL" clId="{1012AE1A-29B0-4E90-8835-842C30BC7D2A}" dt="2023-01-05T12:06:49.981" v="89986"/>
          <ac:spMkLst>
            <pc:docMk/>
            <pc:sldMk cId="200733304" sldId="2134804369"/>
            <ac:spMk id="14" creationId="{F9C00B20-32C4-0CAA-ED50-43E4E1DCECD6}"/>
          </ac:spMkLst>
        </pc:spChg>
        <pc:spChg chg="add mod ord replST">
          <ac:chgData name="Wenwen Zhang" userId="9dd81366-5d6f-445a-b031-6ea562624431" providerId="ADAL" clId="{1012AE1A-29B0-4E90-8835-842C30BC7D2A}" dt="2023-01-05T12:06:49.981" v="89986"/>
          <ac:spMkLst>
            <pc:docMk/>
            <pc:sldMk cId="200733304" sldId="2134804369"/>
            <ac:spMk id="15" creationId="{D8E4A8D2-FBCC-03F4-23CE-047F4A6EB15F}"/>
          </ac:spMkLst>
        </pc:spChg>
        <pc:spChg chg="add mod replST">
          <ac:chgData name="Wenwen Zhang" userId="9dd81366-5d6f-445a-b031-6ea562624431" providerId="ADAL" clId="{1012AE1A-29B0-4E90-8835-842C30BC7D2A}" dt="2023-01-05T12:06:46.211" v="89897"/>
          <ac:spMkLst>
            <pc:docMk/>
            <pc:sldMk cId="200733304" sldId="2134804369"/>
            <ac:spMk id="16" creationId="{B02D853D-3B4C-EBD6-DC84-111BFDD5ADBA}"/>
          </ac:spMkLst>
        </pc:spChg>
        <pc:spChg chg="add mod replST">
          <ac:chgData name="Wenwen Zhang" userId="9dd81366-5d6f-445a-b031-6ea562624431" providerId="ADAL" clId="{1012AE1A-29B0-4E90-8835-842C30BC7D2A}" dt="2023-01-05T12:06:46.211" v="89898"/>
          <ac:spMkLst>
            <pc:docMk/>
            <pc:sldMk cId="200733304" sldId="2134804369"/>
            <ac:spMk id="17" creationId="{45F8CFBF-7CC3-7831-6317-BBF422525390}"/>
          </ac:spMkLst>
        </pc:spChg>
        <pc:spChg chg="add mod replST">
          <ac:chgData name="Wenwen Zhang" userId="9dd81366-5d6f-445a-b031-6ea562624431" providerId="ADAL" clId="{1012AE1A-29B0-4E90-8835-842C30BC7D2A}" dt="2023-01-05T12:06:46.212" v="89899"/>
          <ac:spMkLst>
            <pc:docMk/>
            <pc:sldMk cId="200733304" sldId="2134804369"/>
            <ac:spMk id="18" creationId="{9ECD677A-484C-F30C-75F3-7373B8521242}"/>
          </ac:spMkLst>
        </pc:spChg>
        <pc:spChg chg="add del mod modVis">
          <ac:chgData name="Wenwen Zhang" userId="9dd81366-5d6f-445a-b031-6ea562624431" providerId="ADAL" clId="{1012AE1A-29B0-4E90-8835-842C30BC7D2A}" dt="2023-01-04T11:59:01.490" v="17628"/>
          <ac:spMkLst>
            <pc:docMk/>
            <pc:sldMk cId="200733304" sldId="2134804369"/>
            <ac:spMk id="19" creationId="{0678C2BE-1D49-83D0-D41C-4097C608774C}"/>
          </ac:spMkLst>
        </pc:spChg>
        <pc:spChg chg="add del mod modVis">
          <ac:chgData name="Wenwen Zhang" userId="9dd81366-5d6f-445a-b031-6ea562624431" providerId="ADAL" clId="{1012AE1A-29B0-4E90-8835-842C30BC7D2A}" dt="2023-01-04T23:56:23.957" v="57497"/>
          <ac:spMkLst>
            <pc:docMk/>
            <pc:sldMk cId="200733304" sldId="2134804369"/>
            <ac:spMk id="22" creationId="{7CD28246-82CB-6A9E-0417-4A0B5333BCC7}"/>
          </ac:spMkLst>
        </pc:spChg>
        <pc:spChg chg="add del mod modVis">
          <ac:chgData name="Wenwen Zhang" userId="9dd81366-5d6f-445a-b031-6ea562624431" providerId="ADAL" clId="{1012AE1A-29B0-4E90-8835-842C30BC7D2A}" dt="2023-01-05T12:06:49.981" v="89986"/>
          <ac:spMkLst>
            <pc:docMk/>
            <pc:sldMk cId="200733304" sldId="2134804369"/>
            <ac:spMk id="25" creationId="{7F26E075-6189-1347-F1FF-FAC6834E3005}"/>
          </ac:spMkLst>
        </pc:spChg>
        <pc:spChg chg="add del mod modVis">
          <ac:chgData name="Wenwen Zhang" userId="9dd81366-5d6f-445a-b031-6ea562624431" providerId="ADAL" clId="{1012AE1A-29B0-4E90-8835-842C30BC7D2A}" dt="2023-01-04T11:59:13.344" v="17805"/>
          <ac:spMkLst>
            <pc:docMk/>
            <pc:sldMk cId="200733304" sldId="2134804369"/>
            <ac:spMk id="26" creationId="{F204754C-BECB-518B-99DB-B2F82FF41E0E}"/>
          </ac:spMkLst>
        </pc:spChg>
        <pc:spChg chg="mod ord">
          <ac:chgData name="Wenwen Zhang" userId="9dd81366-5d6f-445a-b031-6ea562624431" providerId="ADAL" clId="{1012AE1A-29B0-4E90-8835-842C30BC7D2A}" dt="2023-01-05T12:06:49.981" v="89986"/>
          <ac:spMkLst>
            <pc:docMk/>
            <pc:sldMk cId="200733304" sldId="2134804369"/>
            <ac:spMk id="29" creationId="{D50B6CAA-A666-5524-85F7-444C607F0970}"/>
          </ac:spMkLst>
        </pc:spChg>
        <pc:spChg chg="add del mod modVis">
          <ac:chgData name="Wenwen Zhang" userId="9dd81366-5d6f-445a-b031-6ea562624431" providerId="ADAL" clId="{1012AE1A-29B0-4E90-8835-842C30BC7D2A}" dt="2023-01-04T11:59:29.315" v="18010"/>
          <ac:spMkLst>
            <pc:docMk/>
            <pc:sldMk cId="200733304" sldId="2134804369"/>
            <ac:spMk id="30" creationId="{2AFCEE17-C9A1-7094-52E8-6985016A3F99}"/>
          </ac:spMkLst>
        </pc:spChg>
        <pc:spChg chg="add del mod modVis">
          <ac:chgData name="Wenwen Zhang" userId="9dd81366-5d6f-445a-b031-6ea562624431" providerId="ADAL" clId="{1012AE1A-29B0-4E90-8835-842C30BC7D2A}" dt="2023-01-04T11:59:33.171" v="18100"/>
          <ac:spMkLst>
            <pc:docMk/>
            <pc:sldMk cId="200733304" sldId="2134804369"/>
            <ac:spMk id="34" creationId="{BB3F66E5-77A2-39D7-A02B-8EABEA0D9EB3}"/>
          </ac:spMkLst>
        </pc:spChg>
        <pc:spChg chg="add del mod modVis">
          <ac:chgData name="Wenwen Zhang" userId="9dd81366-5d6f-445a-b031-6ea562624431" providerId="ADAL" clId="{1012AE1A-29B0-4E90-8835-842C30BC7D2A}" dt="2023-01-04T11:59:54.449" v="18433"/>
          <ac:spMkLst>
            <pc:docMk/>
            <pc:sldMk cId="200733304" sldId="2134804369"/>
            <ac:spMk id="35" creationId="{62AFA4AA-7C6F-0A25-6F9C-6D862E71EA54}"/>
          </ac:spMkLst>
        </pc:spChg>
        <pc:spChg chg="add del mod modVis">
          <ac:chgData name="Wenwen Zhang" userId="9dd81366-5d6f-445a-b031-6ea562624431" providerId="ADAL" clId="{1012AE1A-29B0-4E90-8835-842C30BC7D2A}" dt="2023-01-04T12:00:11.041" v="18560"/>
          <ac:spMkLst>
            <pc:docMk/>
            <pc:sldMk cId="200733304" sldId="2134804369"/>
            <ac:spMk id="39" creationId="{3EF4F376-B775-585C-50C2-74B31AF6454A}"/>
          </ac:spMkLst>
        </pc:spChg>
        <pc:spChg chg="mod ord">
          <ac:chgData name="Wenwen Zhang" userId="9dd81366-5d6f-445a-b031-6ea562624431" providerId="ADAL" clId="{1012AE1A-29B0-4E90-8835-842C30BC7D2A}" dt="2023-01-05T12:06:49.981" v="89986"/>
          <ac:spMkLst>
            <pc:docMk/>
            <pc:sldMk cId="200733304" sldId="2134804369"/>
            <ac:spMk id="43" creationId="{C58C7321-3BF7-61DC-5B1A-AD075E56AE05}"/>
          </ac:spMkLst>
        </pc:spChg>
        <pc:spChg chg="add del mod modVis">
          <ac:chgData name="Wenwen Zhang" userId="9dd81366-5d6f-445a-b031-6ea562624431" providerId="ADAL" clId="{1012AE1A-29B0-4E90-8835-842C30BC7D2A}" dt="2023-01-04T12:00:29.796" v="18762"/>
          <ac:spMkLst>
            <pc:docMk/>
            <pc:sldMk cId="200733304" sldId="2134804369"/>
            <ac:spMk id="47" creationId="{B76CFDC7-DD1B-EABE-1FBA-62BF88DA28B9}"/>
          </ac:spMkLst>
        </pc:spChg>
        <pc:spChg chg="add del mod modVis">
          <ac:chgData name="Wenwen Zhang" userId="9dd81366-5d6f-445a-b031-6ea562624431" providerId="ADAL" clId="{1012AE1A-29B0-4E90-8835-842C30BC7D2A}" dt="2023-01-04T12:00:31.391" v="18880"/>
          <ac:spMkLst>
            <pc:docMk/>
            <pc:sldMk cId="200733304" sldId="2134804369"/>
            <ac:spMk id="50" creationId="{10F42BD1-4B55-DD5C-239C-1B8F66C41F5C}"/>
          </ac:spMkLst>
        </pc:spChg>
        <pc:spChg chg="add del mod modVis">
          <ac:chgData name="Wenwen Zhang" userId="9dd81366-5d6f-445a-b031-6ea562624431" providerId="ADAL" clId="{1012AE1A-29B0-4E90-8835-842C30BC7D2A}" dt="2023-01-04T12:00:32.914" v="18998"/>
          <ac:spMkLst>
            <pc:docMk/>
            <pc:sldMk cId="200733304" sldId="2134804369"/>
            <ac:spMk id="53" creationId="{E94EB5E8-F309-4165-0586-152EB5C5F381}"/>
          </ac:spMkLst>
        </pc:spChg>
        <pc:spChg chg="add del mod modVis">
          <ac:chgData name="Wenwen Zhang" userId="9dd81366-5d6f-445a-b031-6ea562624431" providerId="ADAL" clId="{1012AE1A-29B0-4E90-8835-842C30BC7D2A}" dt="2023-01-04T12:00:44.229" v="19110"/>
          <ac:spMkLst>
            <pc:docMk/>
            <pc:sldMk cId="200733304" sldId="2134804369"/>
            <ac:spMk id="56" creationId="{5949B0B0-5402-AD3C-67F8-DF5832384D9D}"/>
          </ac:spMkLst>
        </pc:spChg>
        <pc:spChg chg="add del mod modVis">
          <ac:chgData name="Wenwen Zhang" userId="9dd81366-5d6f-445a-b031-6ea562624431" providerId="ADAL" clId="{1012AE1A-29B0-4E90-8835-842C30BC7D2A}" dt="2023-01-04T12:00:45.584" v="19222"/>
          <ac:spMkLst>
            <pc:docMk/>
            <pc:sldMk cId="200733304" sldId="2134804369"/>
            <ac:spMk id="59" creationId="{A88D2EA9-C5FE-F338-0948-942201BD0B99}"/>
          </ac:spMkLst>
        </pc:spChg>
        <pc:spChg chg="add del mod modVis">
          <ac:chgData name="Wenwen Zhang" userId="9dd81366-5d6f-445a-b031-6ea562624431" providerId="ADAL" clId="{1012AE1A-29B0-4E90-8835-842C30BC7D2A}" dt="2023-01-04T12:00:46.837" v="19334"/>
          <ac:spMkLst>
            <pc:docMk/>
            <pc:sldMk cId="200733304" sldId="2134804369"/>
            <ac:spMk id="62" creationId="{2C85FEBA-5B5C-1B25-6784-FD90EBCC7F85}"/>
          </ac:spMkLst>
        </pc:spChg>
        <pc:spChg chg="add del mod modVis">
          <ac:chgData name="Wenwen Zhang" userId="9dd81366-5d6f-445a-b031-6ea562624431" providerId="ADAL" clId="{1012AE1A-29B0-4E90-8835-842C30BC7D2A}" dt="2023-01-04T12:00:48.757" v="19446"/>
          <ac:spMkLst>
            <pc:docMk/>
            <pc:sldMk cId="200733304" sldId="2134804369"/>
            <ac:spMk id="65" creationId="{4DF7E98F-D600-E9A2-000A-C85352C7D2E2}"/>
          </ac:spMkLst>
        </pc:spChg>
        <pc:spChg chg="add del mod modVis">
          <ac:chgData name="Wenwen Zhang" userId="9dd81366-5d6f-445a-b031-6ea562624431" providerId="ADAL" clId="{1012AE1A-29B0-4E90-8835-842C30BC7D2A}" dt="2023-01-04T12:01:48.902" v="19769"/>
          <ac:spMkLst>
            <pc:docMk/>
            <pc:sldMk cId="200733304" sldId="2134804369"/>
            <ac:spMk id="72" creationId="{CD0B22AE-B34E-420F-800E-23C034640B4E}"/>
          </ac:spMkLst>
        </pc:spChg>
        <pc:spChg chg="add del mod modVis">
          <ac:chgData name="Wenwen Zhang" userId="9dd81366-5d6f-445a-b031-6ea562624431" providerId="ADAL" clId="{1012AE1A-29B0-4E90-8835-842C30BC7D2A}" dt="2023-01-04T12:01:50.341" v="19889"/>
          <ac:spMkLst>
            <pc:docMk/>
            <pc:sldMk cId="200733304" sldId="2134804369"/>
            <ac:spMk id="76" creationId="{381050C9-04CB-2B98-E3AE-CF6B86FF6D21}"/>
          </ac:spMkLst>
        </pc:spChg>
        <pc:spChg chg="add del mod modVis">
          <ac:chgData name="Wenwen Zhang" userId="9dd81366-5d6f-445a-b031-6ea562624431" providerId="ADAL" clId="{1012AE1A-29B0-4E90-8835-842C30BC7D2A}" dt="2023-01-04T12:01:51.755" v="20009"/>
          <ac:spMkLst>
            <pc:docMk/>
            <pc:sldMk cId="200733304" sldId="2134804369"/>
            <ac:spMk id="80" creationId="{F9034263-1358-9CE1-9A6A-64E954DD21A5}"/>
          </ac:spMkLst>
        </pc:spChg>
        <pc:spChg chg="add del mod modVis">
          <ac:chgData name="Wenwen Zhang" userId="9dd81366-5d6f-445a-b031-6ea562624431" providerId="ADAL" clId="{1012AE1A-29B0-4E90-8835-842C30BC7D2A}" dt="2023-01-04T12:01:53.523" v="20129"/>
          <ac:spMkLst>
            <pc:docMk/>
            <pc:sldMk cId="200733304" sldId="2134804369"/>
            <ac:spMk id="84" creationId="{6BBFD91B-02FD-9CC8-EE4C-61333C92C642}"/>
          </ac:spMkLst>
        </pc:spChg>
        <pc:spChg chg="add del mod modVis">
          <ac:chgData name="Wenwen Zhang" userId="9dd81366-5d6f-445a-b031-6ea562624431" providerId="ADAL" clId="{1012AE1A-29B0-4E90-8835-842C30BC7D2A}" dt="2023-01-04T12:01:55.910" v="20249"/>
          <ac:spMkLst>
            <pc:docMk/>
            <pc:sldMk cId="200733304" sldId="2134804369"/>
            <ac:spMk id="88" creationId="{F98A3FDE-F6CA-30A3-2707-DCE1C3CA0D40}"/>
          </ac:spMkLst>
        </pc:spChg>
        <pc:spChg chg="add del mod modVis">
          <ac:chgData name="Wenwen Zhang" userId="9dd81366-5d6f-445a-b031-6ea562624431" providerId="ADAL" clId="{1012AE1A-29B0-4E90-8835-842C30BC7D2A}" dt="2023-01-04T12:01:57.855" v="20369"/>
          <ac:spMkLst>
            <pc:docMk/>
            <pc:sldMk cId="200733304" sldId="2134804369"/>
            <ac:spMk id="92" creationId="{8D2ABCB2-F66A-8569-C0EC-ED28E50FF019}"/>
          </ac:spMkLst>
        </pc:spChg>
        <pc:spChg chg="add del mod modVis">
          <ac:chgData name="Wenwen Zhang" userId="9dd81366-5d6f-445a-b031-6ea562624431" providerId="ADAL" clId="{1012AE1A-29B0-4E90-8835-842C30BC7D2A}" dt="2023-01-04T12:02:06.323" v="20475"/>
          <ac:spMkLst>
            <pc:docMk/>
            <pc:sldMk cId="200733304" sldId="2134804369"/>
            <ac:spMk id="96" creationId="{EFC485A6-D05A-6CB1-D882-233EDC37F76A}"/>
          </ac:spMkLst>
        </pc:spChg>
        <pc:spChg chg="add del mod modVis">
          <ac:chgData name="Wenwen Zhang" userId="9dd81366-5d6f-445a-b031-6ea562624431" providerId="ADAL" clId="{1012AE1A-29B0-4E90-8835-842C30BC7D2A}" dt="2023-01-04T12:02:11.993" v="20588"/>
          <ac:spMkLst>
            <pc:docMk/>
            <pc:sldMk cId="200733304" sldId="2134804369"/>
            <ac:spMk id="98" creationId="{2EBF805C-B490-C6A3-A59C-5D4949690FB5}"/>
          </ac:spMkLst>
        </pc:spChg>
        <pc:spChg chg="del">
          <ac:chgData name="Wenwen Zhang" userId="9dd81366-5d6f-445a-b031-6ea562624431" providerId="ADAL" clId="{1012AE1A-29B0-4E90-8835-842C30BC7D2A}" dt="2023-01-04T11:58:40.061" v="17197" actId="478"/>
          <ac:spMkLst>
            <pc:docMk/>
            <pc:sldMk cId="200733304" sldId="2134804369"/>
            <ac:spMk id="104" creationId="{FDBD28FE-864B-3639-481F-9B88362F82CC}"/>
          </ac:spMkLst>
        </pc:spChg>
        <pc:spChg chg="del">
          <ac:chgData name="Wenwen Zhang" userId="9dd81366-5d6f-445a-b031-6ea562624431" providerId="ADAL" clId="{1012AE1A-29B0-4E90-8835-842C30BC7D2A}" dt="2023-01-04T11:58:26.804" v="17194" actId="478"/>
          <ac:spMkLst>
            <pc:docMk/>
            <pc:sldMk cId="200733304" sldId="2134804369"/>
            <ac:spMk id="105" creationId="{1363392A-1BB3-B133-547E-68E043C4DA98}"/>
          </ac:spMkLst>
        </pc:spChg>
        <pc:spChg chg="del">
          <ac:chgData name="Wenwen Zhang" userId="9dd81366-5d6f-445a-b031-6ea562624431" providerId="ADAL" clId="{1012AE1A-29B0-4E90-8835-842C30BC7D2A}" dt="2023-01-04T11:56:01.881" v="17175"/>
          <ac:spMkLst>
            <pc:docMk/>
            <pc:sldMk cId="200733304" sldId="2134804369"/>
            <ac:spMk id="106" creationId="{B6CECE3F-2DD3-9848-61CB-5D61B786F6D6}"/>
          </ac:spMkLst>
        </pc:spChg>
        <pc:spChg chg="del">
          <ac:chgData name="Wenwen Zhang" userId="9dd81366-5d6f-445a-b031-6ea562624431" providerId="ADAL" clId="{1012AE1A-29B0-4E90-8835-842C30BC7D2A}" dt="2023-01-04T11:56:01.881" v="17173"/>
          <ac:spMkLst>
            <pc:docMk/>
            <pc:sldMk cId="200733304" sldId="2134804369"/>
            <ac:spMk id="107" creationId="{92A4A1AE-F0BD-E696-BBF1-927ADB68572C}"/>
          </ac:spMkLst>
        </pc:spChg>
        <pc:spChg chg="del">
          <ac:chgData name="Wenwen Zhang" userId="9dd81366-5d6f-445a-b031-6ea562624431" providerId="ADAL" clId="{1012AE1A-29B0-4E90-8835-842C30BC7D2A}" dt="2023-01-04T11:55:58.102" v="17084"/>
          <ac:spMkLst>
            <pc:docMk/>
            <pc:sldMk cId="200733304" sldId="2134804369"/>
            <ac:spMk id="182" creationId="{B3AEE46D-7FC3-DC00-382C-8F8CB930C29C}"/>
          </ac:spMkLst>
        </pc:spChg>
        <pc:spChg chg="del">
          <ac:chgData name="Wenwen Zhang" userId="9dd81366-5d6f-445a-b031-6ea562624431" providerId="ADAL" clId="{1012AE1A-29B0-4E90-8835-842C30BC7D2A}" dt="2023-01-04T11:55:58.100" v="17075"/>
          <ac:spMkLst>
            <pc:docMk/>
            <pc:sldMk cId="200733304" sldId="2134804369"/>
            <ac:spMk id="183" creationId="{7C80A0FA-5102-1B37-436D-7E21A5DF75FD}"/>
          </ac:spMkLst>
        </pc:spChg>
        <pc:spChg chg="del">
          <ac:chgData name="Wenwen Zhang" userId="9dd81366-5d6f-445a-b031-6ea562624431" providerId="ADAL" clId="{1012AE1A-29B0-4E90-8835-842C30BC7D2A}" dt="2023-01-04T11:55:58.102" v="17083"/>
          <ac:spMkLst>
            <pc:docMk/>
            <pc:sldMk cId="200733304" sldId="2134804369"/>
            <ac:spMk id="184" creationId="{466F2837-939E-12F1-3E52-0DDC3E542483}"/>
          </ac:spMkLst>
        </pc:spChg>
        <pc:spChg chg="del">
          <ac:chgData name="Wenwen Zhang" userId="9dd81366-5d6f-445a-b031-6ea562624431" providerId="ADAL" clId="{1012AE1A-29B0-4E90-8835-842C30BC7D2A}" dt="2023-01-04T11:55:58.100" v="17076"/>
          <ac:spMkLst>
            <pc:docMk/>
            <pc:sldMk cId="200733304" sldId="2134804369"/>
            <ac:spMk id="185" creationId="{4BF34A46-6D08-8467-E8FD-438F836232AB}"/>
          </ac:spMkLst>
        </pc:spChg>
        <pc:spChg chg="del">
          <ac:chgData name="Wenwen Zhang" userId="9dd81366-5d6f-445a-b031-6ea562624431" providerId="ADAL" clId="{1012AE1A-29B0-4E90-8835-842C30BC7D2A}" dt="2023-01-04T11:55:58.100" v="17073"/>
          <ac:spMkLst>
            <pc:docMk/>
            <pc:sldMk cId="200733304" sldId="2134804369"/>
            <ac:spMk id="186" creationId="{21A1A72D-C3C6-6F44-7C60-2B97B8EB0332}"/>
          </ac:spMkLst>
        </pc:spChg>
        <pc:spChg chg="del">
          <ac:chgData name="Wenwen Zhang" userId="9dd81366-5d6f-445a-b031-6ea562624431" providerId="ADAL" clId="{1012AE1A-29B0-4E90-8835-842C30BC7D2A}" dt="2023-01-04T11:55:58.102" v="17082"/>
          <ac:spMkLst>
            <pc:docMk/>
            <pc:sldMk cId="200733304" sldId="2134804369"/>
            <ac:spMk id="187" creationId="{478A4F0E-9B6C-7A7F-D3C1-32E256B74298}"/>
          </ac:spMkLst>
        </pc:spChg>
        <pc:spChg chg="del">
          <ac:chgData name="Wenwen Zhang" userId="9dd81366-5d6f-445a-b031-6ea562624431" providerId="ADAL" clId="{1012AE1A-29B0-4E90-8835-842C30BC7D2A}" dt="2023-01-04T11:55:58.101" v="17081"/>
          <ac:spMkLst>
            <pc:docMk/>
            <pc:sldMk cId="200733304" sldId="2134804369"/>
            <ac:spMk id="188" creationId="{9D9687CC-DB46-CC00-540E-4669B8F657EB}"/>
          </ac:spMkLst>
        </pc:spChg>
        <pc:spChg chg="del">
          <ac:chgData name="Wenwen Zhang" userId="9dd81366-5d6f-445a-b031-6ea562624431" providerId="ADAL" clId="{1012AE1A-29B0-4E90-8835-842C30BC7D2A}" dt="2023-01-04T11:55:58.099" v="17068"/>
          <ac:spMkLst>
            <pc:docMk/>
            <pc:sldMk cId="200733304" sldId="2134804369"/>
            <ac:spMk id="189" creationId="{C59FD56A-50EE-3BA6-D621-7FD10E5A2A27}"/>
          </ac:spMkLst>
        </pc:spChg>
        <pc:spChg chg="del">
          <ac:chgData name="Wenwen Zhang" userId="9dd81366-5d6f-445a-b031-6ea562624431" providerId="ADAL" clId="{1012AE1A-29B0-4E90-8835-842C30BC7D2A}" dt="2023-01-04T11:55:58.101" v="17078"/>
          <ac:spMkLst>
            <pc:docMk/>
            <pc:sldMk cId="200733304" sldId="2134804369"/>
            <ac:spMk id="190" creationId="{AC1FAA8A-949B-BD0C-207A-07B05B145E0D}"/>
          </ac:spMkLst>
        </pc:spChg>
        <pc:spChg chg="del">
          <ac:chgData name="Wenwen Zhang" userId="9dd81366-5d6f-445a-b031-6ea562624431" providerId="ADAL" clId="{1012AE1A-29B0-4E90-8835-842C30BC7D2A}" dt="2023-01-04T11:55:58.101" v="17077"/>
          <ac:spMkLst>
            <pc:docMk/>
            <pc:sldMk cId="200733304" sldId="2134804369"/>
            <ac:spMk id="191" creationId="{4643F17C-190F-98D7-7502-3B3CCE2572F2}"/>
          </ac:spMkLst>
        </pc:spChg>
        <pc:spChg chg="del">
          <ac:chgData name="Wenwen Zhang" userId="9dd81366-5d6f-445a-b031-6ea562624431" providerId="ADAL" clId="{1012AE1A-29B0-4E90-8835-842C30BC7D2A}" dt="2023-01-04T11:55:58.100" v="17074"/>
          <ac:spMkLst>
            <pc:docMk/>
            <pc:sldMk cId="200733304" sldId="2134804369"/>
            <ac:spMk id="192" creationId="{CE96726D-DA07-1CA7-4492-CA5167CE313E}"/>
          </ac:spMkLst>
        </pc:spChg>
        <pc:spChg chg="del">
          <ac:chgData name="Wenwen Zhang" userId="9dd81366-5d6f-445a-b031-6ea562624431" providerId="ADAL" clId="{1012AE1A-29B0-4E90-8835-842C30BC7D2A}" dt="2023-01-04T11:55:58.099" v="17072"/>
          <ac:spMkLst>
            <pc:docMk/>
            <pc:sldMk cId="200733304" sldId="2134804369"/>
            <ac:spMk id="193" creationId="{9A644342-E14C-788E-4626-0AB2D7DA728C}"/>
          </ac:spMkLst>
        </pc:spChg>
        <pc:spChg chg="del">
          <ac:chgData name="Wenwen Zhang" userId="9dd81366-5d6f-445a-b031-6ea562624431" providerId="ADAL" clId="{1012AE1A-29B0-4E90-8835-842C30BC7D2A}" dt="2023-01-04T11:55:58.099" v="17070"/>
          <ac:spMkLst>
            <pc:docMk/>
            <pc:sldMk cId="200733304" sldId="2134804369"/>
            <ac:spMk id="194" creationId="{EDEF8D30-39FB-7CF6-1C27-E53DF8B0676C}"/>
          </ac:spMkLst>
        </pc:spChg>
        <pc:spChg chg="del">
          <ac:chgData name="Wenwen Zhang" userId="9dd81366-5d6f-445a-b031-6ea562624431" providerId="ADAL" clId="{1012AE1A-29B0-4E90-8835-842C30BC7D2A}" dt="2023-01-04T11:55:58.099" v="17071"/>
          <ac:spMkLst>
            <pc:docMk/>
            <pc:sldMk cId="200733304" sldId="2134804369"/>
            <ac:spMk id="195" creationId="{536B64B2-8A96-9AA6-2EBC-61EA93E64843}"/>
          </ac:spMkLst>
        </pc:spChg>
        <pc:spChg chg="del">
          <ac:chgData name="Wenwen Zhang" userId="9dd81366-5d6f-445a-b031-6ea562624431" providerId="ADAL" clId="{1012AE1A-29B0-4E90-8835-842C30BC7D2A}" dt="2023-01-04T11:55:58.101" v="17080"/>
          <ac:spMkLst>
            <pc:docMk/>
            <pc:sldMk cId="200733304" sldId="2134804369"/>
            <ac:spMk id="197" creationId="{A7DB2152-384A-C09A-A536-62AD203AC80E}"/>
          </ac:spMkLst>
        </pc:spChg>
        <pc:spChg chg="del">
          <ac:chgData name="Wenwen Zhang" userId="9dd81366-5d6f-445a-b031-6ea562624431" providerId="ADAL" clId="{1012AE1A-29B0-4E90-8835-842C30BC7D2A}" dt="2023-01-04T11:55:58.098" v="17067"/>
          <ac:spMkLst>
            <pc:docMk/>
            <pc:sldMk cId="200733304" sldId="2134804369"/>
            <ac:spMk id="198" creationId="{1F3506F9-8D84-E7DC-DEA2-643D36EA4D57}"/>
          </ac:spMkLst>
        </pc:spChg>
        <pc:spChg chg="del">
          <ac:chgData name="Wenwen Zhang" userId="9dd81366-5d6f-445a-b031-6ea562624431" providerId="ADAL" clId="{1012AE1A-29B0-4E90-8835-842C30BC7D2A}" dt="2023-01-04T11:55:58.096" v="17061"/>
          <ac:spMkLst>
            <pc:docMk/>
            <pc:sldMk cId="200733304" sldId="2134804369"/>
            <ac:spMk id="200" creationId="{F85D49DF-C99E-BC99-7621-99708DE4BE65}"/>
          </ac:spMkLst>
        </pc:spChg>
        <pc:spChg chg="del">
          <ac:chgData name="Wenwen Zhang" userId="9dd81366-5d6f-445a-b031-6ea562624431" providerId="ADAL" clId="{1012AE1A-29B0-4E90-8835-842C30BC7D2A}" dt="2023-01-04T11:55:58.095" v="17054"/>
          <ac:spMkLst>
            <pc:docMk/>
            <pc:sldMk cId="200733304" sldId="2134804369"/>
            <ac:spMk id="201" creationId="{4CD16581-8625-DCD4-849D-03167426D997}"/>
          </ac:spMkLst>
        </pc:spChg>
        <pc:spChg chg="del">
          <ac:chgData name="Wenwen Zhang" userId="9dd81366-5d6f-445a-b031-6ea562624431" providerId="ADAL" clId="{1012AE1A-29B0-4E90-8835-842C30BC7D2A}" dt="2023-01-04T11:55:58.096" v="17060"/>
          <ac:spMkLst>
            <pc:docMk/>
            <pc:sldMk cId="200733304" sldId="2134804369"/>
            <ac:spMk id="202" creationId="{60B3A55A-8F80-7819-5787-9E47A71CEA93}"/>
          </ac:spMkLst>
        </pc:spChg>
        <pc:spChg chg="del">
          <ac:chgData name="Wenwen Zhang" userId="9dd81366-5d6f-445a-b031-6ea562624431" providerId="ADAL" clId="{1012AE1A-29B0-4E90-8835-842C30BC7D2A}" dt="2023-01-04T11:55:58.095" v="17055"/>
          <ac:spMkLst>
            <pc:docMk/>
            <pc:sldMk cId="200733304" sldId="2134804369"/>
            <ac:spMk id="203" creationId="{22B40922-59C5-C95D-9CD2-0D659FB17000}"/>
          </ac:spMkLst>
        </pc:spChg>
        <pc:spChg chg="del">
          <ac:chgData name="Wenwen Zhang" userId="9dd81366-5d6f-445a-b031-6ea562624431" providerId="ADAL" clId="{1012AE1A-29B0-4E90-8835-842C30BC7D2A}" dt="2023-01-04T11:55:58.096" v="17059"/>
          <ac:spMkLst>
            <pc:docMk/>
            <pc:sldMk cId="200733304" sldId="2134804369"/>
            <ac:spMk id="204" creationId="{FBBE7D84-59E9-72D1-BA65-945450F9D196}"/>
          </ac:spMkLst>
        </pc:spChg>
        <pc:spChg chg="del">
          <ac:chgData name="Wenwen Zhang" userId="9dd81366-5d6f-445a-b031-6ea562624431" providerId="ADAL" clId="{1012AE1A-29B0-4E90-8835-842C30BC7D2A}" dt="2023-01-04T11:55:58.096" v="17058"/>
          <ac:spMkLst>
            <pc:docMk/>
            <pc:sldMk cId="200733304" sldId="2134804369"/>
            <ac:spMk id="205" creationId="{10A7F65C-6640-20BE-537B-C840C779E89D}"/>
          </ac:spMkLst>
        </pc:spChg>
        <pc:spChg chg="del">
          <ac:chgData name="Wenwen Zhang" userId="9dd81366-5d6f-445a-b031-6ea562624431" providerId="ADAL" clId="{1012AE1A-29B0-4E90-8835-842C30BC7D2A}" dt="2023-01-04T11:55:58.095" v="17056"/>
          <ac:spMkLst>
            <pc:docMk/>
            <pc:sldMk cId="200733304" sldId="2134804369"/>
            <ac:spMk id="206" creationId="{B16C651D-C92F-F21D-30D1-E8B8980F9897}"/>
          </ac:spMkLst>
        </pc:spChg>
        <pc:spChg chg="del">
          <ac:chgData name="Wenwen Zhang" userId="9dd81366-5d6f-445a-b031-6ea562624431" providerId="ADAL" clId="{1012AE1A-29B0-4E90-8835-842C30BC7D2A}" dt="2023-01-04T11:55:58.095" v="17057"/>
          <ac:spMkLst>
            <pc:docMk/>
            <pc:sldMk cId="200733304" sldId="2134804369"/>
            <ac:spMk id="207" creationId="{6C2E7F76-E911-F79A-E65F-26D61CD6A7DD}"/>
          </ac:spMkLst>
        </pc:spChg>
        <pc:spChg chg="del">
          <ac:chgData name="Wenwen Zhang" userId="9dd81366-5d6f-445a-b031-6ea562624431" providerId="ADAL" clId="{1012AE1A-29B0-4E90-8835-842C30BC7D2A}" dt="2023-01-04T11:55:58.095" v="17053"/>
          <ac:spMkLst>
            <pc:docMk/>
            <pc:sldMk cId="200733304" sldId="2134804369"/>
            <ac:spMk id="208" creationId="{4DC5568B-B330-B67A-E340-D73EAD652E6C}"/>
          </ac:spMkLst>
        </pc:spChg>
        <pc:spChg chg="del">
          <ac:chgData name="Wenwen Zhang" userId="9dd81366-5d6f-445a-b031-6ea562624431" providerId="ADAL" clId="{1012AE1A-29B0-4E90-8835-842C30BC7D2A}" dt="2023-01-04T11:55:58.094" v="17052"/>
          <ac:spMkLst>
            <pc:docMk/>
            <pc:sldMk cId="200733304" sldId="2134804369"/>
            <ac:spMk id="209" creationId="{FE7824FE-A243-732E-E19C-828260E7BF4E}"/>
          </ac:spMkLst>
        </pc:spChg>
        <pc:spChg chg="del">
          <ac:chgData name="Wenwen Zhang" userId="9dd81366-5d6f-445a-b031-6ea562624431" providerId="ADAL" clId="{1012AE1A-29B0-4E90-8835-842C30BC7D2A}" dt="2023-01-04T11:55:58.094" v="17051"/>
          <ac:spMkLst>
            <pc:docMk/>
            <pc:sldMk cId="200733304" sldId="2134804369"/>
            <ac:spMk id="210" creationId="{00B41D97-BDB2-DFFB-B4D8-07505D7D11A3}"/>
          </ac:spMkLst>
        </pc:spChg>
        <pc:spChg chg="del">
          <ac:chgData name="Wenwen Zhang" userId="9dd81366-5d6f-445a-b031-6ea562624431" providerId="ADAL" clId="{1012AE1A-29B0-4E90-8835-842C30BC7D2A}" dt="2023-01-04T11:55:58.094" v="17050"/>
          <ac:spMkLst>
            <pc:docMk/>
            <pc:sldMk cId="200733304" sldId="2134804369"/>
            <ac:spMk id="211" creationId="{E6564AAB-1173-815E-B5BD-E205ADBA76CB}"/>
          </ac:spMkLst>
        </pc:spChg>
        <pc:spChg chg="del">
          <ac:chgData name="Wenwen Zhang" userId="9dd81366-5d6f-445a-b031-6ea562624431" providerId="ADAL" clId="{1012AE1A-29B0-4E90-8835-842C30BC7D2A}" dt="2023-01-04T11:55:58.094" v="17049"/>
          <ac:spMkLst>
            <pc:docMk/>
            <pc:sldMk cId="200733304" sldId="2134804369"/>
            <ac:spMk id="212" creationId="{21DBC94A-5A9E-44BD-CB01-1D3D6B995961}"/>
          </ac:spMkLst>
        </pc:spChg>
        <pc:spChg chg="del">
          <ac:chgData name="Wenwen Zhang" userId="9dd81366-5d6f-445a-b031-6ea562624431" providerId="ADAL" clId="{1012AE1A-29B0-4E90-8835-842C30BC7D2A}" dt="2023-01-04T11:55:58.106" v="17095"/>
          <ac:spMkLst>
            <pc:docMk/>
            <pc:sldMk cId="200733304" sldId="2134804369"/>
            <ac:spMk id="225" creationId="{A44EB96E-6295-E39A-EA08-3DC00FF34690}"/>
          </ac:spMkLst>
        </pc:spChg>
        <pc:spChg chg="del">
          <ac:chgData name="Wenwen Zhang" userId="9dd81366-5d6f-445a-b031-6ea562624431" providerId="ADAL" clId="{1012AE1A-29B0-4E90-8835-842C30BC7D2A}" dt="2023-01-04T11:55:58.107" v="17098"/>
          <ac:spMkLst>
            <pc:docMk/>
            <pc:sldMk cId="200733304" sldId="2134804369"/>
            <ac:spMk id="226" creationId="{CFB5A497-53E0-EFDB-4052-90A38CE6DBE6}"/>
          </ac:spMkLst>
        </pc:spChg>
        <pc:spChg chg="del">
          <ac:chgData name="Wenwen Zhang" userId="9dd81366-5d6f-445a-b031-6ea562624431" providerId="ADAL" clId="{1012AE1A-29B0-4E90-8835-842C30BC7D2A}" dt="2023-01-04T11:55:58.107" v="17101"/>
          <ac:spMkLst>
            <pc:docMk/>
            <pc:sldMk cId="200733304" sldId="2134804369"/>
            <ac:spMk id="227" creationId="{F14DAB98-5845-AF7D-7617-B46DDC477C31}"/>
          </ac:spMkLst>
        </pc:spChg>
        <pc:spChg chg="del">
          <ac:chgData name="Wenwen Zhang" userId="9dd81366-5d6f-445a-b031-6ea562624431" providerId="ADAL" clId="{1012AE1A-29B0-4E90-8835-842C30BC7D2A}" dt="2023-01-04T11:55:58.107" v="17100"/>
          <ac:spMkLst>
            <pc:docMk/>
            <pc:sldMk cId="200733304" sldId="2134804369"/>
            <ac:spMk id="228" creationId="{147A806E-57E7-24E8-1A24-FE3B8139F034}"/>
          </ac:spMkLst>
        </pc:spChg>
        <pc:spChg chg="del">
          <ac:chgData name="Wenwen Zhang" userId="9dd81366-5d6f-445a-b031-6ea562624431" providerId="ADAL" clId="{1012AE1A-29B0-4E90-8835-842C30BC7D2A}" dt="2023-01-04T11:55:58.107" v="17099"/>
          <ac:spMkLst>
            <pc:docMk/>
            <pc:sldMk cId="200733304" sldId="2134804369"/>
            <ac:spMk id="229" creationId="{36859ED8-BDDA-8EDF-5F8A-7F3773F98A1D}"/>
          </ac:spMkLst>
        </pc:spChg>
        <pc:spChg chg="del">
          <ac:chgData name="Wenwen Zhang" userId="9dd81366-5d6f-445a-b031-6ea562624431" providerId="ADAL" clId="{1012AE1A-29B0-4E90-8835-842C30BC7D2A}" dt="2023-01-04T11:55:58.106" v="17097"/>
          <ac:spMkLst>
            <pc:docMk/>
            <pc:sldMk cId="200733304" sldId="2134804369"/>
            <ac:spMk id="230" creationId="{0B47B3B3-68D7-336D-2B9E-E787921A554A}"/>
          </ac:spMkLst>
        </pc:spChg>
        <pc:spChg chg="del">
          <ac:chgData name="Wenwen Zhang" userId="9dd81366-5d6f-445a-b031-6ea562624431" providerId="ADAL" clId="{1012AE1A-29B0-4E90-8835-842C30BC7D2A}" dt="2023-01-04T11:55:58.106" v="17096"/>
          <ac:spMkLst>
            <pc:docMk/>
            <pc:sldMk cId="200733304" sldId="2134804369"/>
            <ac:spMk id="231" creationId="{B69ACB20-68C5-2A07-F6CA-B0F0CB6086F7}"/>
          </ac:spMkLst>
        </pc:spChg>
        <pc:spChg chg="del">
          <ac:chgData name="Wenwen Zhang" userId="9dd81366-5d6f-445a-b031-6ea562624431" providerId="ADAL" clId="{1012AE1A-29B0-4E90-8835-842C30BC7D2A}" dt="2023-01-04T11:55:58.106" v="17094"/>
          <ac:spMkLst>
            <pc:docMk/>
            <pc:sldMk cId="200733304" sldId="2134804369"/>
            <ac:spMk id="232" creationId="{52F5FA8B-E32C-F283-5258-43E385076D4F}"/>
          </ac:spMkLst>
        </pc:spChg>
        <pc:spChg chg="del">
          <ac:chgData name="Wenwen Zhang" userId="9dd81366-5d6f-445a-b031-6ea562624431" providerId="ADAL" clId="{1012AE1A-29B0-4E90-8835-842C30BC7D2A}" dt="2023-01-04T11:55:58.105" v="17092"/>
          <ac:spMkLst>
            <pc:docMk/>
            <pc:sldMk cId="200733304" sldId="2134804369"/>
            <ac:spMk id="233" creationId="{715C685F-BC23-F8D8-4ACF-61C0FDDA18EC}"/>
          </ac:spMkLst>
        </pc:spChg>
        <pc:spChg chg="del">
          <ac:chgData name="Wenwen Zhang" userId="9dd81366-5d6f-445a-b031-6ea562624431" providerId="ADAL" clId="{1012AE1A-29B0-4E90-8835-842C30BC7D2A}" dt="2023-01-04T11:55:58.106" v="17093"/>
          <ac:spMkLst>
            <pc:docMk/>
            <pc:sldMk cId="200733304" sldId="2134804369"/>
            <ac:spMk id="234" creationId="{648E7460-B0FE-4C60-8447-B2114FAB2EC8}"/>
          </ac:spMkLst>
        </pc:spChg>
        <pc:spChg chg="del">
          <ac:chgData name="Wenwen Zhang" userId="9dd81366-5d6f-445a-b031-6ea562624431" providerId="ADAL" clId="{1012AE1A-29B0-4E90-8835-842C30BC7D2A}" dt="2023-01-04T11:55:58.105" v="17091"/>
          <ac:spMkLst>
            <pc:docMk/>
            <pc:sldMk cId="200733304" sldId="2134804369"/>
            <ac:spMk id="235" creationId="{04919520-DDB6-A4FF-8422-C51F6295FF6D}"/>
          </ac:spMkLst>
        </pc:spChg>
        <pc:spChg chg="del">
          <ac:chgData name="Wenwen Zhang" userId="9dd81366-5d6f-445a-b031-6ea562624431" providerId="ADAL" clId="{1012AE1A-29B0-4E90-8835-842C30BC7D2A}" dt="2023-01-04T11:55:58.105" v="17090"/>
          <ac:spMkLst>
            <pc:docMk/>
            <pc:sldMk cId="200733304" sldId="2134804369"/>
            <ac:spMk id="236" creationId="{FC3F9517-036A-3BDB-014D-0C0025A2813E}"/>
          </ac:spMkLst>
        </pc:spChg>
        <pc:spChg chg="del">
          <ac:chgData name="Wenwen Zhang" userId="9dd81366-5d6f-445a-b031-6ea562624431" providerId="ADAL" clId="{1012AE1A-29B0-4E90-8835-842C30BC7D2A}" dt="2023-01-04T11:55:58.104" v="17088"/>
          <ac:spMkLst>
            <pc:docMk/>
            <pc:sldMk cId="200733304" sldId="2134804369"/>
            <ac:spMk id="237" creationId="{DFDD164E-19AB-B9D3-C16B-94995AD1310D}"/>
          </ac:spMkLst>
        </pc:spChg>
        <pc:spChg chg="del">
          <ac:chgData name="Wenwen Zhang" userId="9dd81366-5d6f-445a-b031-6ea562624431" providerId="ADAL" clId="{1012AE1A-29B0-4E90-8835-842C30BC7D2A}" dt="2023-01-04T11:55:58.105" v="17089"/>
          <ac:spMkLst>
            <pc:docMk/>
            <pc:sldMk cId="200733304" sldId="2134804369"/>
            <ac:spMk id="238" creationId="{E3963AB7-67B6-13E3-A842-F6DCD1B37E07}"/>
          </ac:spMkLst>
        </pc:spChg>
        <pc:spChg chg="del">
          <ac:chgData name="Wenwen Zhang" userId="9dd81366-5d6f-445a-b031-6ea562624431" providerId="ADAL" clId="{1012AE1A-29B0-4E90-8835-842C30BC7D2A}" dt="2023-01-04T11:55:58.108" v="17103"/>
          <ac:spMkLst>
            <pc:docMk/>
            <pc:sldMk cId="200733304" sldId="2134804369"/>
            <ac:spMk id="240" creationId="{177321B5-2152-DFC5-12B4-01511B7366CF}"/>
          </ac:spMkLst>
        </pc:spChg>
        <pc:spChg chg="del">
          <ac:chgData name="Wenwen Zhang" userId="9dd81366-5d6f-445a-b031-6ea562624431" providerId="ADAL" clId="{1012AE1A-29B0-4E90-8835-842C30BC7D2A}" dt="2023-01-04T11:55:58.109" v="17107"/>
          <ac:spMkLst>
            <pc:docMk/>
            <pc:sldMk cId="200733304" sldId="2134804369"/>
            <ac:spMk id="241" creationId="{1AF221D4-CC72-3909-6227-8BBE3508917B}"/>
          </ac:spMkLst>
        </pc:spChg>
        <pc:spChg chg="del">
          <ac:chgData name="Wenwen Zhang" userId="9dd81366-5d6f-445a-b031-6ea562624431" providerId="ADAL" clId="{1012AE1A-29B0-4E90-8835-842C30BC7D2A}" dt="2023-01-04T11:55:58.108" v="17104"/>
          <ac:spMkLst>
            <pc:docMk/>
            <pc:sldMk cId="200733304" sldId="2134804369"/>
            <ac:spMk id="242" creationId="{5AB53019-5439-3E56-AD42-D65C5D782EF3}"/>
          </ac:spMkLst>
        </pc:spChg>
        <pc:spChg chg="del">
          <ac:chgData name="Wenwen Zhang" userId="9dd81366-5d6f-445a-b031-6ea562624431" providerId="ADAL" clId="{1012AE1A-29B0-4E90-8835-842C30BC7D2A}" dt="2023-01-04T11:55:58.090" v="17039"/>
          <ac:spMkLst>
            <pc:docMk/>
            <pc:sldMk cId="200733304" sldId="2134804369"/>
            <ac:spMk id="244" creationId="{9789662B-8AF3-ECEC-8D92-8542CA5A5415}"/>
          </ac:spMkLst>
        </pc:spChg>
        <pc:spChg chg="del">
          <ac:chgData name="Wenwen Zhang" userId="9dd81366-5d6f-445a-b031-6ea562624431" providerId="ADAL" clId="{1012AE1A-29B0-4E90-8835-842C30BC7D2A}" dt="2023-01-04T11:55:58.085" v="17034"/>
          <ac:spMkLst>
            <pc:docMk/>
            <pc:sldMk cId="200733304" sldId="2134804369"/>
            <ac:spMk id="245" creationId="{AE636016-24A6-B580-91F8-8BEDF1449A18}"/>
          </ac:spMkLst>
        </pc:spChg>
        <pc:spChg chg="del">
          <ac:chgData name="Wenwen Zhang" userId="9dd81366-5d6f-445a-b031-6ea562624431" providerId="ADAL" clId="{1012AE1A-29B0-4E90-8835-842C30BC7D2A}" dt="2023-01-04T11:55:58.090" v="17038"/>
          <ac:spMkLst>
            <pc:docMk/>
            <pc:sldMk cId="200733304" sldId="2134804369"/>
            <ac:spMk id="246" creationId="{FEA8AF75-575A-538D-03E9-9DCC1AE5255B}"/>
          </ac:spMkLst>
        </pc:spChg>
        <pc:spChg chg="del">
          <ac:chgData name="Wenwen Zhang" userId="9dd81366-5d6f-445a-b031-6ea562624431" providerId="ADAL" clId="{1012AE1A-29B0-4E90-8835-842C30BC7D2A}" dt="2023-01-04T11:55:58.092" v="17046"/>
          <ac:spMkLst>
            <pc:docMk/>
            <pc:sldMk cId="200733304" sldId="2134804369"/>
            <ac:spMk id="247" creationId="{5AD77F35-6016-21E8-FC55-015EC259FC3B}"/>
          </ac:spMkLst>
        </pc:spChg>
        <pc:spChg chg="del">
          <ac:chgData name="Wenwen Zhang" userId="9dd81366-5d6f-445a-b031-6ea562624431" providerId="ADAL" clId="{1012AE1A-29B0-4E90-8835-842C30BC7D2A}" dt="2023-01-04T11:55:58.090" v="17040"/>
          <ac:spMkLst>
            <pc:docMk/>
            <pc:sldMk cId="200733304" sldId="2134804369"/>
            <ac:spMk id="248" creationId="{98361EF5-FDA7-6450-5D38-60826448E76D}"/>
          </ac:spMkLst>
        </pc:spChg>
        <pc:spChg chg="del">
          <ac:chgData name="Wenwen Zhang" userId="9dd81366-5d6f-445a-b031-6ea562624431" providerId="ADAL" clId="{1012AE1A-29B0-4E90-8835-842C30BC7D2A}" dt="2023-01-04T11:55:58.090" v="17042"/>
          <ac:spMkLst>
            <pc:docMk/>
            <pc:sldMk cId="200733304" sldId="2134804369"/>
            <ac:spMk id="249" creationId="{60F1E809-E828-79E0-15A6-EC9EC9A7FD5D}"/>
          </ac:spMkLst>
        </pc:spChg>
        <pc:spChg chg="del">
          <ac:chgData name="Wenwen Zhang" userId="9dd81366-5d6f-445a-b031-6ea562624431" providerId="ADAL" clId="{1012AE1A-29B0-4E90-8835-842C30BC7D2A}" dt="2023-01-04T11:55:58.090" v="17043"/>
          <ac:spMkLst>
            <pc:docMk/>
            <pc:sldMk cId="200733304" sldId="2134804369"/>
            <ac:spMk id="250" creationId="{7EF30611-060A-FE2E-8316-8CFD469678E5}"/>
          </ac:spMkLst>
        </pc:spChg>
        <pc:spChg chg="del">
          <ac:chgData name="Wenwen Zhang" userId="9dd81366-5d6f-445a-b031-6ea562624431" providerId="ADAL" clId="{1012AE1A-29B0-4E90-8835-842C30BC7D2A}" dt="2023-01-04T11:55:58.092" v="17044"/>
          <ac:spMkLst>
            <pc:docMk/>
            <pc:sldMk cId="200733304" sldId="2134804369"/>
            <ac:spMk id="251" creationId="{C9CF0188-2F15-9B81-C729-A33BAEF0C7AF}"/>
          </ac:spMkLst>
        </pc:spChg>
        <pc:spChg chg="del">
          <ac:chgData name="Wenwen Zhang" userId="9dd81366-5d6f-445a-b031-6ea562624431" providerId="ADAL" clId="{1012AE1A-29B0-4E90-8835-842C30BC7D2A}" dt="2023-01-04T11:55:58.092" v="17045"/>
          <ac:spMkLst>
            <pc:docMk/>
            <pc:sldMk cId="200733304" sldId="2134804369"/>
            <ac:spMk id="252" creationId="{51791C48-C4E9-7099-9496-37046B03DD13}"/>
          </ac:spMkLst>
        </pc:spChg>
        <pc:spChg chg="del">
          <ac:chgData name="Wenwen Zhang" userId="9dd81366-5d6f-445a-b031-6ea562624431" providerId="ADAL" clId="{1012AE1A-29B0-4E90-8835-842C30BC7D2A}" dt="2023-01-04T11:55:58.090" v="17041"/>
          <ac:spMkLst>
            <pc:docMk/>
            <pc:sldMk cId="200733304" sldId="2134804369"/>
            <ac:spMk id="253" creationId="{3FFF2848-F769-7F73-7528-B4E48771D47B}"/>
          </ac:spMkLst>
        </pc:spChg>
        <pc:spChg chg="del">
          <ac:chgData name="Wenwen Zhang" userId="9dd81366-5d6f-445a-b031-6ea562624431" providerId="ADAL" clId="{1012AE1A-29B0-4E90-8835-842C30BC7D2A}" dt="2023-01-04T11:55:58.090" v="17037"/>
          <ac:spMkLst>
            <pc:docMk/>
            <pc:sldMk cId="200733304" sldId="2134804369"/>
            <ac:spMk id="254" creationId="{6DA8F0AF-ACE3-B446-D6B0-A89278C59A5D}"/>
          </ac:spMkLst>
        </pc:spChg>
        <pc:spChg chg="del">
          <ac:chgData name="Wenwen Zhang" userId="9dd81366-5d6f-445a-b031-6ea562624431" providerId="ADAL" clId="{1012AE1A-29B0-4E90-8835-842C30BC7D2A}" dt="2023-01-04T11:55:58.089" v="17036"/>
          <ac:spMkLst>
            <pc:docMk/>
            <pc:sldMk cId="200733304" sldId="2134804369"/>
            <ac:spMk id="255" creationId="{7C4C10AB-DF6E-D883-04DC-C681581435D3}"/>
          </ac:spMkLst>
        </pc:spChg>
        <pc:spChg chg="del">
          <ac:chgData name="Wenwen Zhang" userId="9dd81366-5d6f-445a-b031-6ea562624431" providerId="ADAL" clId="{1012AE1A-29B0-4E90-8835-842C30BC7D2A}" dt="2023-01-04T11:55:58.089" v="17035"/>
          <ac:spMkLst>
            <pc:docMk/>
            <pc:sldMk cId="200733304" sldId="2134804369"/>
            <ac:spMk id="256" creationId="{8FFE36DF-40C8-5EF9-8EDC-3538D471D5F9}"/>
          </ac:spMkLst>
        </pc:spChg>
        <pc:spChg chg="del mod">
          <ac:chgData name="Wenwen Zhang" userId="9dd81366-5d6f-445a-b031-6ea562624431" providerId="ADAL" clId="{1012AE1A-29B0-4E90-8835-842C30BC7D2A}" dt="2023-01-04T11:56:01.876" v="17171"/>
          <ac:spMkLst>
            <pc:docMk/>
            <pc:sldMk cId="200733304" sldId="2134804369"/>
            <ac:spMk id="271" creationId="{61094CDF-3D01-5126-7969-6F62789EAC01}"/>
          </ac:spMkLst>
        </pc:spChg>
        <pc:graphicFrameChg chg="add del mod replST">
          <ac:chgData name="Wenwen Zhang" userId="9dd81366-5d6f-445a-b031-6ea562624431" providerId="ADAL" clId="{1012AE1A-29B0-4E90-8835-842C30BC7D2A}" dt="2023-01-04T11:59:01.338" v="17398"/>
          <ac:graphicFrameMkLst>
            <pc:docMk/>
            <pc:sldMk cId="200733304" sldId="2134804369"/>
            <ac:graphicFrameMk id="6" creationId="{C4AFAE9F-24AB-1789-2E68-A37EE8F9D3BF}"/>
          </ac:graphicFrameMkLst>
        </pc:graphicFrameChg>
        <pc:graphicFrameChg chg="add del mod replST">
          <ac:chgData name="Wenwen Zhang" userId="9dd81366-5d6f-445a-b031-6ea562624431" providerId="ADAL" clId="{1012AE1A-29B0-4E90-8835-842C30BC7D2A}" dt="2023-01-04T11:59:01.400" v="17497"/>
          <ac:graphicFrameMkLst>
            <pc:docMk/>
            <pc:sldMk cId="200733304" sldId="2134804369"/>
            <ac:graphicFrameMk id="9" creationId="{DC5E6D3E-ABCB-D550-0657-88B21AACFB0E}"/>
          </ac:graphicFrameMkLst>
        </pc:graphicFrameChg>
        <pc:graphicFrameChg chg="add del mod ord replST">
          <ac:chgData name="Wenwen Zhang" userId="9dd81366-5d6f-445a-b031-6ea562624431" providerId="ADAL" clId="{1012AE1A-29B0-4E90-8835-842C30BC7D2A}" dt="2023-01-04T22:34:03.224" v="31159"/>
          <ac:graphicFrameMkLst>
            <pc:docMk/>
            <pc:sldMk cId="200733304" sldId="2134804369"/>
            <ac:graphicFrameMk id="9" creationId="{F27A0121-582C-E0E5-DAB2-6C8EFC53DF7C}"/>
          </ac:graphicFrameMkLst>
        </pc:graphicFrameChg>
        <pc:graphicFrameChg chg="add del mod replST">
          <ac:chgData name="Wenwen Zhang" userId="9dd81366-5d6f-445a-b031-6ea562624431" providerId="ADAL" clId="{1012AE1A-29B0-4E90-8835-842C30BC7D2A}" dt="2023-01-04T11:59:01.424" v="17526"/>
          <ac:graphicFrameMkLst>
            <pc:docMk/>
            <pc:sldMk cId="200733304" sldId="2134804369"/>
            <ac:graphicFrameMk id="10" creationId="{1A978D9B-BB1E-B89B-D539-65F9AE3C73D3}"/>
          </ac:graphicFrameMkLst>
        </pc:graphicFrameChg>
        <pc:graphicFrameChg chg="add del mod ord replST">
          <ac:chgData name="Wenwen Zhang" userId="9dd81366-5d6f-445a-b031-6ea562624431" providerId="ADAL" clId="{1012AE1A-29B0-4E90-8835-842C30BC7D2A}" dt="2023-01-04T23:56:12.273" v="57112"/>
          <ac:graphicFrameMkLst>
            <pc:docMk/>
            <pc:sldMk cId="200733304" sldId="2134804369"/>
            <ac:graphicFrameMk id="10" creationId="{9D9766C2-59EB-5AF9-68E9-50D83B66498A}"/>
          </ac:graphicFrameMkLst>
        </pc:graphicFrameChg>
        <pc:graphicFrameChg chg="add del mod replST">
          <ac:chgData name="Wenwen Zhang" userId="9dd81366-5d6f-445a-b031-6ea562624431" providerId="ADAL" clId="{1012AE1A-29B0-4E90-8835-842C30BC7D2A}" dt="2023-01-04T11:59:01.441" v="17536"/>
          <ac:graphicFrameMkLst>
            <pc:docMk/>
            <pc:sldMk cId="200733304" sldId="2134804369"/>
            <ac:graphicFrameMk id="11" creationId="{2759AC1A-2D1F-0D2E-787B-7D9D54FF7295}"/>
          </ac:graphicFrameMkLst>
        </pc:graphicFrameChg>
        <pc:graphicFrameChg chg="add del mod replST">
          <ac:chgData name="Wenwen Zhang" userId="9dd81366-5d6f-445a-b031-6ea562624431" providerId="ADAL" clId="{1012AE1A-29B0-4E90-8835-842C30BC7D2A}" dt="2023-01-04T11:59:01.463" v="17546"/>
          <ac:graphicFrameMkLst>
            <pc:docMk/>
            <pc:sldMk cId="200733304" sldId="2134804369"/>
            <ac:graphicFrameMk id="12" creationId="{B07409B7-B404-5EB6-C8AB-1382BBCCC03C}"/>
          </ac:graphicFrameMkLst>
        </pc:graphicFrameChg>
        <pc:graphicFrameChg chg="add mod ord replST">
          <ac:chgData name="Wenwen Zhang" userId="9dd81366-5d6f-445a-b031-6ea562624431" providerId="ADAL" clId="{1012AE1A-29B0-4E90-8835-842C30BC7D2A}" dt="2023-01-05T12:06:49.981" v="89986"/>
          <ac:graphicFrameMkLst>
            <pc:docMk/>
            <pc:sldMk cId="200733304" sldId="2134804369"/>
            <ac:graphicFrameMk id="12" creationId="{BAAF53CF-FA23-B2B8-1959-F67EFA392DE5}"/>
          </ac:graphicFrameMkLst>
        </pc:graphicFrameChg>
        <pc:graphicFrameChg chg="add mod ord replST">
          <ac:chgData name="Wenwen Zhang" userId="9dd81366-5d6f-445a-b031-6ea562624431" providerId="ADAL" clId="{1012AE1A-29B0-4E90-8835-842C30BC7D2A}" dt="2023-01-05T12:06:49.981" v="89986"/>
          <ac:graphicFrameMkLst>
            <pc:docMk/>
            <pc:sldMk cId="200733304" sldId="2134804369"/>
            <ac:graphicFrameMk id="19" creationId="{087BC764-3988-7661-FBBE-58FA16AADC69}"/>
          </ac:graphicFrameMkLst>
        </pc:graphicFrameChg>
        <pc:graphicFrameChg chg="add del mod ord replST">
          <ac:chgData name="Wenwen Zhang" userId="9dd81366-5d6f-445a-b031-6ea562624431" providerId="ADAL" clId="{1012AE1A-29B0-4E90-8835-842C30BC7D2A}" dt="2023-01-04T11:59:54.311" v="18224"/>
          <ac:graphicFrameMkLst>
            <pc:docMk/>
            <pc:sldMk cId="200733304" sldId="2134804369"/>
            <ac:graphicFrameMk id="20" creationId="{1CF29498-5C9E-0392-FFDC-503110C0153C}"/>
          </ac:graphicFrameMkLst>
        </pc:graphicFrameChg>
        <pc:graphicFrameChg chg="add mod ord replST">
          <ac:chgData name="Wenwen Zhang" userId="9dd81366-5d6f-445a-b031-6ea562624431" providerId="ADAL" clId="{1012AE1A-29B0-4E90-8835-842C30BC7D2A}" dt="2023-01-05T12:06:49.981" v="89986"/>
          <ac:graphicFrameMkLst>
            <pc:docMk/>
            <pc:sldMk cId="200733304" sldId="2134804369"/>
            <ac:graphicFrameMk id="20" creationId="{C6E63A52-96A8-D70F-73A5-A0A38D318E0E}"/>
          </ac:graphicFrameMkLst>
        </pc:graphicFrameChg>
        <pc:graphicFrameChg chg="add del mod ord replST">
          <ac:chgData name="Wenwen Zhang" userId="9dd81366-5d6f-445a-b031-6ea562624431" providerId="ADAL" clId="{1012AE1A-29B0-4E90-8835-842C30BC7D2A}" dt="2023-01-04T11:59:54.370" v="18303"/>
          <ac:graphicFrameMkLst>
            <pc:docMk/>
            <pc:sldMk cId="200733304" sldId="2134804369"/>
            <ac:graphicFrameMk id="21" creationId="{324C3BC6-F59E-F0D8-461D-FF4D670BE2AD}"/>
          </ac:graphicFrameMkLst>
        </pc:graphicFrameChg>
        <pc:graphicFrameChg chg="add mod ord replST">
          <ac:chgData name="Wenwen Zhang" userId="9dd81366-5d6f-445a-b031-6ea562624431" providerId="ADAL" clId="{1012AE1A-29B0-4E90-8835-842C30BC7D2A}" dt="2023-01-05T12:06:49.981" v="89986"/>
          <ac:graphicFrameMkLst>
            <pc:docMk/>
            <pc:sldMk cId="200733304" sldId="2134804369"/>
            <ac:graphicFrameMk id="21" creationId="{BF07BAFE-4AA1-F6D2-8994-EC721AB8BF09}"/>
          </ac:graphicFrameMkLst>
        </pc:graphicFrameChg>
        <pc:graphicFrameChg chg="add del mod ord replST">
          <ac:chgData name="Wenwen Zhang" userId="9dd81366-5d6f-445a-b031-6ea562624431" providerId="ADAL" clId="{1012AE1A-29B0-4E90-8835-842C30BC7D2A}" dt="2023-01-04T12:00:10.972" v="18495"/>
          <ac:graphicFrameMkLst>
            <pc:docMk/>
            <pc:sldMk cId="200733304" sldId="2134804369"/>
            <ac:graphicFrameMk id="22" creationId="{01E33B92-744C-B99A-0185-BCEE9488A97D}"/>
          </ac:graphicFrameMkLst>
        </pc:graphicFrameChg>
        <pc:graphicFrameChg chg="add del mod ord replST">
          <ac:chgData name="Wenwen Zhang" userId="9dd81366-5d6f-445a-b031-6ea562624431" providerId="ADAL" clId="{1012AE1A-29B0-4E90-8835-842C30BC7D2A}" dt="2023-01-05T12:06:49.981" v="89986"/>
          <ac:graphicFrameMkLst>
            <pc:docMk/>
            <pc:sldMk cId="200733304" sldId="2134804369"/>
            <ac:graphicFrameMk id="23" creationId="{A32F9EAC-A763-A4DB-DE4E-044D72701439}"/>
          </ac:graphicFrameMkLst>
        </pc:graphicFrameChg>
        <pc:graphicFrameChg chg="add del mod ord replST">
          <ac:chgData name="Wenwen Zhang" userId="9dd81366-5d6f-445a-b031-6ea562624431" providerId="ADAL" clId="{1012AE1A-29B0-4E90-8835-842C30BC7D2A}" dt="2023-01-04T12:00:10.999" v="18505"/>
          <ac:graphicFrameMkLst>
            <pc:docMk/>
            <pc:sldMk cId="200733304" sldId="2134804369"/>
            <ac:graphicFrameMk id="23" creationId="{FEE650E7-8130-A394-D69E-921BA0FB0447}"/>
          </ac:graphicFrameMkLst>
        </pc:graphicFrameChg>
        <pc:graphicFrameChg chg="add del mod ord replST">
          <ac:chgData name="Wenwen Zhang" userId="9dd81366-5d6f-445a-b031-6ea562624431" providerId="ADAL" clId="{1012AE1A-29B0-4E90-8835-842C30BC7D2A}" dt="2023-01-04T12:00:11.019" v="18515"/>
          <ac:graphicFrameMkLst>
            <pc:docMk/>
            <pc:sldMk cId="200733304" sldId="2134804369"/>
            <ac:graphicFrameMk id="24" creationId="{1D9902C9-82FB-20FB-7A62-2B9D142EB7DB}"/>
          </ac:graphicFrameMkLst>
        </pc:graphicFrameChg>
        <pc:graphicFrameChg chg="add mod ord replST">
          <ac:chgData name="Wenwen Zhang" userId="9dd81366-5d6f-445a-b031-6ea562624431" providerId="ADAL" clId="{1012AE1A-29B0-4E90-8835-842C30BC7D2A}" dt="2023-01-05T12:06:49.981" v="89986"/>
          <ac:graphicFrameMkLst>
            <pc:docMk/>
            <pc:sldMk cId="200733304" sldId="2134804369"/>
            <ac:graphicFrameMk id="24" creationId="{A9A44FF4-E647-DAD8-93DE-C18540F7CC49}"/>
          </ac:graphicFrameMkLst>
        </pc:graphicFrameChg>
        <pc:graphicFrameChg chg="add del mod replST">
          <ac:chgData name="Wenwen Zhang" userId="9dd81366-5d6f-445a-b031-6ea562624431" providerId="ADAL" clId="{1012AE1A-29B0-4E90-8835-842C30BC7D2A}" dt="2023-01-04T11:59:13.314" v="17754"/>
          <ac:graphicFrameMkLst>
            <pc:docMk/>
            <pc:sldMk cId="200733304" sldId="2134804369"/>
            <ac:graphicFrameMk id="25" creationId="{FD83CEA2-9566-FA8C-6408-87246DFC6554}"/>
          </ac:graphicFrameMkLst>
        </pc:graphicFrameChg>
        <pc:graphicFrameChg chg="add mod ord replST delST">
          <ac:chgData name="Wenwen Zhang" userId="9dd81366-5d6f-445a-b031-6ea562624431" providerId="ADAL" clId="{1012AE1A-29B0-4E90-8835-842C30BC7D2A}" dt="2023-01-05T12:06:49.981" v="89986"/>
          <ac:graphicFrameMkLst>
            <pc:docMk/>
            <pc:sldMk cId="200733304" sldId="2134804369"/>
            <ac:graphicFrameMk id="26" creationId="{9849348D-0B40-2D95-3762-4301C7DA4FC0}"/>
          </ac:graphicFrameMkLst>
        </pc:graphicFrameChg>
        <pc:graphicFrameChg chg="add del mod ord replST">
          <ac:chgData name="Wenwen Zhang" userId="9dd81366-5d6f-445a-b031-6ea562624431" providerId="ADAL" clId="{1012AE1A-29B0-4E90-8835-842C30BC7D2A}" dt="2023-01-04T11:59:54.421" v="18382"/>
          <ac:graphicFrameMkLst>
            <pc:docMk/>
            <pc:sldMk cId="200733304" sldId="2134804369"/>
            <ac:graphicFrameMk id="27" creationId="{05B609E1-0F4E-A398-1F1E-41B6625C41A1}"/>
          </ac:graphicFrameMkLst>
        </pc:graphicFrameChg>
        <pc:graphicFrameChg chg="mod">
          <ac:chgData name="Wenwen Zhang" userId="9dd81366-5d6f-445a-b031-6ea562624431" providerId="ADAL" clId="{1012AE1A-29B0-4E90-8835-842C30BC7D2A}" dt="2023-01-05T12:06:49.991" v="89988"/>
          <ac:graphicFrameMkLst>
            <pc:docMk/>
            <pc:sldMk cId="200733304" sldId="2134804369"/>
            <ac:graphicFrameMk id="28" creationId="{015DFAEE-F78A-C272-92CE-F25C3417CAD0}"/>
          </ac:graphicFrameMkLst>
        </pc:graphicFrameChg>
        <pc:graphicFrameChg chg="add mod ord replST delST">
          <ac:chgData name="Wenwen Zhang" userId="9dd81366-5d6f-445a-b031-6ea562624431" providerId="ADAL" clId="{1012AE1A-29B0-4E90-8835-842C30BC7D2A}" dt="2023-01-04T11:59:29.315" v="18010"/>
          <ac:graphicFrameMkLst>
            <pc:docMk/>
            <pc:sldMk cId="200733304" sldId="2134804369"/>
            <ac:graphicFrameMk id="31" creationId="{67DA2AE6-387E-EAB5-2E05-1D5539F97183}"/>
          </ac:graphicFrameMkLst>
        </pc:graphicFrameChg>
        <pc:graphicFrameChg chg="add mod ord replST delST">
          <ac:chgData name="Wenwen Zhang" userId="9dd81366-5d6f-445a-b031-6ea562624431" providerId="ADAL" clId="{1012AE1A-29B0-4E90-8835-842C30BC7D2A}" dt="2023-01-04T11:59:29.315" v="18010"/>
          <ac:graphicFrameMkLst>
            <pc:docMk/>
            <pc:sldMk cId="200733304" sldId="2134804369"/>
            <ac:graphicFrameMk id="32" creationId="{4DB7E68D-0FBA-0150-D8FB-246D08DAB67B}"/>
          </ac:graphicFrameMkLst>
        </pc:graphicFrameChg>
        <pc:graphicFrameChg chg="add mod ord replST delST">
          <ac:chgData name="Wenwen Zhang" userId="9dd81366-5d6f-445a-b031-6ea562624431" providerId="ADAL" clId="{1012AE1A-29B0-4E90-8835-842C30BC7D2A}" dt="2023-01-04T11:59:29.315" v="18010"/>
          <ac:graphicFrameMkLst>
            <pc:docMk/>
            <pc:sldMk cId="200733304" sldId="2134804369"/>
            <ac:graphicFrameMk id="33" creationId="{D0A67F1C-CFB3-1621-6054-3C702C78AD20}"/>
          </ac:graphicFrameMkLst>
        </pc:graphicFrameChg>
        <pc:graphicFrameChg chg="add del mod ord replST">
          <ac:chgData name="Wenwen Zhang" userId="9dd81366-5d6f-445a-b031-6ea562624431" providerId="ADAL" clId="{1012AE1A-29B0-4E90-8835-842C30BC7D2A}" dt="2023-01-04T12:00:29.747" v="18703"/>
          <ac:graphicFrameMkLst>
            <pc:docMk/>
            <pc:sldMk cId="200733304" sldId="2134804369"/>
            <ac:graphicFrameMk id="36" creationId="{52711771-E697-C6CB-7B19-FDEAF0F7968E}"/>
          </ac:graphicFrameMkLst>
        </pc:graphicFrameChg>
        <pc:graphicFrameChg chg="add del mod ord replST">
          <ac:chgData name="Wenwen Zhang" userId="9dd81366-5d6f-445a-b031-6ea562624431" providerId="ADAL" clId="{1012AE1A-29B0-4E90-8835-842C30BC7D2A}" dt="2023-01-04T12:00:44.179" v="19057"/>
          <ac:graphicFrameMkLst>
            <pc:docMk/>
            <pc:sldMk cId="200733304" sldId="2134804369"/>
            <ac:graphicFrameMk id="37" creationId="{DA071C5D-F3A7-0663-4502-37A26AA1BFA5}"/>
          </ac:graphicFrameMkLst>
        </pc:graphicFrameChg>
        <pc:graphicFrameChg chg="add del mod ord replST">
          <ac:chgData name="Wenwen Zhang" userId="9dd81366-5d6f-445a-b031-6ea562624431" providerId="ADAL" clId="{1012AE1A-29B0-4E90-8835-842C30BC7D2A}" dt="2023-01-04T12:01:48.880" v="19724"/>
          <ac:graphicFrameMkLst>
            <pc:docMk/>
            <pc:sldMk cId="200733304" sldId="2134804369"/>
            <ac:graphicFrameMk id="38" creationId="{A0B4AC89-C416-CFF3-57D6-E7B4BD86FD49}"/>
          </ac:graphicFrameMkLst>
        </pc:graphicFrameChg>
        <pc:graphicFrameChg chg="add del mod ord replST">
          <ac:chgData name="Wenwen Zhang" userId="9dd81366-5d6f-445a-b031-6ea562624431" providerId="ADAL" clId="{1012AE1A-29B0-4E90-8835-842C30BC7D2A}" dt="2023-01-04T12:00:12.219" v="18585"/>
          <ac:graphicFrameMkLst>
            <pc:docMk/>
            <pc:sldMk cId="200733304" sldId="2134804369"/>
            <ac:graphicFrameMk id="40" creationId="{7440CF8F-4E34-32F9-390F-84212BF64513}"/>
          </ac:graphicFrameMkLst>
        </pc:graphicFrameChg>
        <pc:graphicFrameChg chg="add del mod ord replST">
          <ac:chgData name="Wenwen Zhang" userId="9dd81366-5d6f-445a-b031-6ea562624431" providerId="ADAL" clId="{1012AE1A-29B0-4E90-8835-842C30BC7D2A}" dt="2023-01-04T12:00:12.243" v="18593"/>
          <ac:graphicFrameMkLst>
            <pc:docMk/>
            <pc:sldMk cId="200733304" sldId="2134804369"/>
            <ac:graphicFrameMk id="41" creationId="{44AB7A5A-B0A2-D121-7AB5-7F2DA5975C68}"/>
          </ac:graphicFrameMkLst>
        </pc:graphicFrameChg>
        <pc:graphicFrameChg chg="add del mod ord replST">
          <ac:chgData name="Wenwen Zhang" userId="9dd81366-5d6f-445a-b031-6ea562624431" providerId="ADAL" clId="{1012AE1A-29B0-4E90-8835-842C30BC7D2A}" dt="2023-01-04T12:00:12.262" v="18601"/>
          <ac:graphicFrameMkLst>
            <pc:docMk/>
            <pc:sldMk cId="200733304" sldId="2134804369"/>
            <ac:graphicFrameMk id="42" creationId="{9BDEFEBF-7FEB-201E-99CA-A48214A323D4}"/>
          </ac:graphicFrameMkLst>
        </pc:graphicFrameChg>
        <pc:graphicFrameChg chg="add del mod ord replST">
          <ac:chgData name="Wenwen Zhang" userId="9dd81366-5d6f-445a-b031-6ea562624431" providerId="ADAL" clId="{1012AE1A-29B0-4E90-8835-842C30BC7D2A}" dt="2023-01-04T12:00:44.204" v="19065"/>
          <ac:graphicFrameMkLst>
            <pc:docMk/>
            <pc:sldMk cId="200733304" sldId="2134804369"/>
            <ac:graphicFrameMk id="44" creationId="{F79532BD-74FA-5F98-76F9-52DD6411A387}"/>
          </ac:graphicFrameMkLst>
        </pc:graphicFrameChg>
        <pc:graphicFrameChg chg="add del mod ord replST">
          <ac:chgData name="Wenwen Zhang" userId="9dd81366-5d6f-445a-b031-6ea562624431" providerId="ADAL" clId="{1012AE1A-29B0-4E90-8835-842C30BC7D2A}" dt="2023-01-04T12:00:29.772" v="18717"/>
          <ac:graphicFrameMkLst>
            <pc:docMk/>
            <pc:sldMk cId="200733304" sldId="2134804369"/>
            <ac:graphicFrameMk id="45" creationId="{C2D0FAF1-A5ED-9FAC-671C-11157B52D620}"/>
          </ac:graphicFrameMkLst>
        </pc:graphicFrameChg>
        <pc:graphicFrameChg chg="add del mod ord replST">
          <ac:chgData name="Wenwen Zhang" userId="9dd81366-5d6f-445a-b031-6ea562624431" providerId="ADAL" clId="{1012AE1A-29B0-4E90-8835-842C30BC7D2A}" dt="2023-01-04T12:01:15.351" v="19456"/>
          <ac:graphicFrameMkLst>
            <pc:docMk/>
            <pc:sldMk cId="200733304" sldId="2134804369"/>
            <ac:graphicFrameMk id="46" creationId="{CCC560C6-110A-ED18-2971-05576FF39D52}"/>
          </ac:graphicFrameMkLst>
        </pc:graphicFrameChg>
        <pc:graphicFrameChg chg="add del mod ord replST">
          <ac:chgData name="Wenwen Zhang" userId="9dd81366-5d6f-445a-b031-6ea562624431" providerId="ADAL" clId="{1012AE1A-29B0-4E90-8835-842C30BC7D2A}" dt="2023-01-04T12:00:31.341" v="18821"/>
          <ac:graphicFrameMkLst>
            <pc:docMk/>
            <pc:sldMk cId="200733304" sldId="2134804369"/>
            <ac:graphicFrameMk id="48" creationId="{9880A87B-8F5A-BD39-9E68-8E014CE04549}"/>
          </ac:graphicFrameMkLst>
        </pc:graphicFrameChg>
        <pc:graphicFrameChg chg="add del mod ord replST">
          <ac:chgData name="Wenwen Zhang" userId="9dd81366-5d6f-445a-b031-6ea562624431" providerId="ADAL" clId="{1012AE1A-29B0-4E90-8835-842C30BC7D2A}" dt="2023-01-04T12:00:31.364" v="18835"/>
          <ac:graphicFrameMkLst>
            <pc:docMk/>
            <pc:sldMk cId="200733304" sldId="2134804369"/>
            <ac:graphicFrameMk id="49" creationId="{B034AC23-895C-9AA8-AC6E-BA09326825C8}"/>
          </ac:graphicFrameMkLst>
        </pc:graphicFrameChg>
        <pc:graphicFrameChg chg="add del mod ord replST">
          <ac:chgData name="Wenwen Zhang" userId="9dd81366-5d6f-445a-b031-6ea562624431" providerId="ADAL" clId="{1012AE1A-29B0-4E90-8835-842C30BC7D2A}" dt="2023-01-04T12:00:32.863" v="18939"/>
          <ac:graphicFrameMkLst>
            <pc:docMk/>
            <pc:sldMk cId="200733304" sldId="2134804369"/>
            <ac:graphicFrameMk id="51" creationId="{B1A233F6-57C2-3C01-B7FC-AE15F06122AB}"/>
          </ac:graphicFrameMkLst>
        </pc:graphicFrameChg>
        <pc:graphicFrameChg chg="add del mod ord replST">
          <ac:chgData name="Wenwen Zhang" userId="9dd81366-5d6f-445a-b031-6ea562624431" providerId="ADAL" clId="{1012AE1A-29B0-4E90-8835-842C30BC7D2A}" dt="2023-01-04T12:00:32.888" v="18953"/>
          <ac:graphicFrameMkLst>
            <pc:docMk/>
            <pc:sldMk cId="200733304" sldId="2134804369"/>
            <ac:graphicFrameMk id="52" creationId="{9F08599F-8B42-21C0-3C5C-F857AFBAD540}"/>
          </ac:graphicFrameMkLst>
        </pc:graphicFrameChg>
        <pc:graphicFrameChg chg="add del mod ord replST">
          <ac:chgData name="Wenwen Zhang" userId="9dd81366-5d6f-445a-b031-6ea562624431" providerId="ADAL" clId="{1012AE1A-29B0-4E90-8835-842C30BC7D2A}" dt="2023-01-04T12:01:48.833" v="19708"/>
          <ac:graphicFrameMkLst>
            <pc:docMk/>
            <pc:sldMk cId="200733304" sldId="2134804369"/>
            <ac:graphicFrameMk id="54" creationId="{99E2781D-CDB4-75A9-E8B8-7A6F264B2260}"/>
          </ac:graphicFrameMkLst>
        </pc:graphicFrameChg>
        <pc:graphicFrameChg chg="add del mod ord replST">
          <ac:chgData name="Wenwen Zhang" userId="9dd81366-5d6f-445a-b031-6ea562624431" providerId="ADAL" clId="{1012AE1A-29B0-4E90-8835-842C30BC7D2A}" dt="2023-01-04T12:01:30.726" v="19556"/>
          <ac:graphicFrameMkLst>
            <pc:docMk/>
            <pc:sldMk cId="200733304" sldId="2134804369"/>
            <ac:graphicFrameMk id="55" creationId="{6D971832-3A61-7F56-CE1B-F86165D3A5F1}"/>
          </ac:graphicFrameMkLst>
        </pc:graphicFrameChg>
        <pc:graphicFrameChg chg="add del mod ord replST">
          <ac:chgData name="Wenwen Zhang" userId="9dd81366-5d6f-445a-b031-6ea562624431" providerId="ADAL" clId="{1012AE1A-29B0-4E90-8835-842C30BC7D2A}" dt="2023-01-04T12:00:45.539" v="19169"/>
          <ac:graphicFrameMkLst>
            <pc:docMk/>
            <pc:sldMk cId="200733304" sldId="2134804369"/>
            <ac:graphicFrameMk id="57" creationId="{820FF07F-D614-38D4-D098-D94B2875CC82}"/>
          </ac:graphicFrameMkLst>
        </pc:graphicFrameChg>
        <pc:graphicFrameChg chg="add del mod ord replST">
          <ac:chgData name="Wenwen Zhang" userId="9dd81366-5d6f-445a-b031-6ea562624431" providerId="ADAL" clId="{1012AE1A-29B0-4E90-8835-842C30BC7D2A}" dt="2023-01-04T12:00:45.560" v="19177"/>
          <ac:graphicFrameMkLst>
            <pc:docMk/>
            <pc:sldMk cId="200733304" sldId="2134804369"/>
            <ac:graphicFrameMk id="58" creationId="{03E7F502-9BDB-47AB-E463-B3A91118F2C1}"/>
          </ac:graphicFrameMkLst>
        </pc:graphicFrameChg>
        <pc:graphicFrameChg chg="add del mod ord replST">
          <ac:chgData name="Wenwen Zhang" userId="9dd81366-5d6f-445a-b031-6ea562624431" providerId="ADAL" clId="{1012AE1A-29B0-4E90-8835-842C30BC7D2A}" dt="2023-01-04T12:00:46.790" v="19281"/>
          <ac:graphicFrameMkLst>
            <pc:docMk/>
            <pc:sldMk cId="200733304" sldId="2134804369"/>
            <ac:graphicFrameMk id="60" creationId="{C0172C83-82DF-B526-205A-65AFD2DE74D7}"/>
          </ac:graphicFrameMkLst>
        </pc:graphicFrameChg>
        <pc:graphicFrameChg chg="add del mod ord replST">
          <ac:chgData name="Wenwen Zhang" userId="9dd81366-5d6f-445a-b031-6ea562624431" providerId="ADAL" clId="{1012AE1A-29B0-4E90-8835-842C30BC7D2A}" dt="2023-01-04T12:00:46.812" v="19289"/>
          <ac:graphicFrameMkLst>
            <pc:docMk/>
            <pc:sldMk cId="200733304" sldId="2134804369"/>
            <ac:graphicFrameMk id="61" creationId="{8F926A8E-701A-6283-3BE6-DCD30AAE6216}"/>
          </ac:graphicFrameMkLst>
        </pc:graphicFrameChg>
        <pc:graphicFrameChg chg="add del mod ord replST">
          <ac:chgData name="Wenwen Zhang" userId="9dd81366-5d6f-445a-b031-6ea562624431" providerId="ADAL" clId="{1012AE1A-29B0-4E90-8835-842C30BC7D2A}" dt="2023-01-04T12:00:48.712" v="19393"/>
          <ac:graphicFrameMkLst>
            <pc:docMk/>
            <pc:sldMk cId="200733304" sldId="2134804369"/>
            <ac:graphicFrameMk id="63" creationId="{CD4236C1-5B44-7056-425B-3FE14928EAB6}"/>
          </ac:graphicFrameMkLst>
        </pc:graphicFrameChg>
        <pc:graphicFrameChg chg="add del mod ord replST">
          <ac:chgData name="Wenwen Zhang" userId="9dd81366-5d6f-445a-b031-6ea562624431" providerId="ADAL" clId="{1012AE1A-29B0-4E90-8835-842C30BC7D2A}" dt="2023-01-04T12:00:48.734" v="19401"/>
          <ac:graphicFrameMkLst>
            <pc:docMk/>
            <pc:sldMk cId="200733304" sldId="2134804369"/>
            <ac:graphicFrameMk id="64" creationId="{E0B06468-E0D8-3A0A-F909-EB79C1965F5B}"/>
          </ac:graphicFrameMkLst>
        </pc:graphicFrameChg>
        <pc:graphicFrameChg chg="add del mod ord replST">
          <ac:chgData name="Wenwen Zhang" userId="9dd81366-5d6f-445a-b031-6ea562624431" providerId="ADAL" clId="{1012AE1A-29B0-4E90-8835-842C30BC7D2A}" dt="2023-01-04T12:01:48.858" v="19716"/>
          <ac:graphicFrameMkLst>
            <pc:docMk/>
            <pc:sldMk cId="200733304" sldId="2134804369"/>
            <ac:graphicFrameMk id="66" creationId="{8C7DC76A-DCE6-DC6B-ED3B-046F8C970B4E}"/>
          </ac:graphicFrameMkLst>
        </pc:graphicFrameChg>
        <pc:graphicFrameChg chg="add del mod ord replST">
          <ac:chgData name="Wenwen Zhang" userId="9dd81366-5d6f-445a-b031-6ea562624431" providerId="ADAL" clId="{1012AE1A-29B0-4E90-8835-842C30BC7D2A}" dt="2023-01-04T12:01:24.218" v="19506"/>
          <ac:graphicFrameMkLst>
            <pc:docMk/>
            <pc:sldMk cId="200733304" sldId="2134804369"/>
            <ac:graphicFrameMk id="67" creationId="{53D6DF8E-24DA-2CD9-D434-98E5E538D1D5}"/>
          </ac:graphicFrameMkLst>
        </pc:graphicFrameChg>
        <pc:graphicFrameChg chg="add del mod ord replST">
          <ac:chgData name="Wenwen Zhang" userId="9dd81366-5d6f-445a-b031-6ea562624431" providerId="ADAL" clId="{1012AE1A-29B0-4E90-8835-842C30BC7D2A}" dt="2023-01-04T12:01:39.070" v="19606"/>
          <ac:graphicFrameMkLst>
            <pc:docMk/>
            <pc:sldMk cId="200733304" sldId="2134804369"/>
            <ac:graphicFrameMk id="68" creationId="{73ED51A2-CDB9-5D72-935F-EC03B55E048E}"/>
          </ac:graphicFrameMkLst>
        </pc:graphicFrameChg>
        <pc:graphicFrameChg chg="add del mod ord replST">
          <ac:chgData name="Wenwen Zhang" userId="9dd81366-5d6f-445a-b031-6ea562624431" providerId="ADAL" clId="{1012AE1A-29B0-4E90-8835-842C30BC7D2A}" dt="2023-01-04T22:34:01.079" v="31104"/>
          <ac:graphicFrameMkLst>
            <pc:docMk/>
            <pc:sldMk cId="200733304" sldId="2134804369"/>
            <ac:graphicFrameMk id="69" creationId="{65099009-1A3B-8CDC-E148-2A81E0F88B89}"/>
          </ac:graphicFrameMkLst>
        </pc:graphicFrameChg>
        <pc:graphicFrameChg chg="add del mod ord replST">
          <ac:chgData name="Wenwen Zhang" userId="9dd81366-5d6f-445a-b031-6ea562624431" providerId="ADAL" clId="{1012AE1A-29B0-4E90-8835-842C30BC7D2A}" dt="2023-01-04T23:56:12.295" v="57122"/>
          <ac:graphicFrameMkLst>
            <pc:docMk/>
            <pc:sldMk cId="200733304" sldId="2134804369"/>
            <ac:graphicFrameMk id="70" creationId="{6A87D28B-0434-4614-9E4C-1A1C4C83CBAB}"/>
          </ac:graphicFrameMkLst>
        </pc:graphicFrameChg>
        <pc:graphicFrameChg chg="add del mod ord replST">
          <ac:chgData name="Wenwen Zhang" userId="9dd81366-5d6f-445a-b031-6ea562624431" providerId="ADAL" clId="{1012AE1A-29B0-4E90-8835-842C30BC7D2A}" dt="2023-01-04T23:56:12.316" v="57132"/>
          <ac:graphicFrameMkLst>
            <pc:docMk/>
            <pc:sldMk cId="200733304" sldId="2134804369"/>
            <ac:graphicFrameMk id="71" creationId="{720AF502-4645-3A95-681D-64BB9DBDEF2F}"/>
          </ac:graphicFrameMkLst>
        </pc:graphicFrameChg>
        <pc:graphicFrameChg chg="add del mod ord replST">
          <ac:chgData name="Wenwen Zhang" userId="9dd81366-5d6f-445a-b031-6ea562624431" providerId="ADAL" clId="{1012AE1A-29B0-4E90-8835-842C30BC7D2A}" dt="2023-01-04T12:01:50.275" v="19828"/>
          <ac:graphicFrameMkLst>
            <pc:docMk/>
            <pc:sldMk cId="200733304" sldId="2134804369"/>
            <ac:graphicFrameMk id="73" creationId="{7B4DCA76-46D0-4150-1E16-38076651CEB7}"/>
          </ac:graphicFrameMkLst>
        </pc:graphicFrameChg>
        <pc:graphicFrameChg chg="add del mod ord replST">
          <ac:chgData name="Wenwen Zhang" userId="9dd81366-5d6f-445a-b031-6ea562624431" providerId="ADAL" clId="{1012AE1A-29B0-4E90-8835-842C30BC7D2A}" dt="2023-01-04T12:01:50.299" v="19836"/>
          <ac:graphicFrameMkLst>
            <pc:docMk/>
            <pc:sldMk cId="200733304" sldId="2134804369"/>
            <ac:graphicFrameMk id="74" creationId="{4B658729-EA5D-D438-A9C0-563BF96FD380}"/>
          </ac:graphicFrameMkLst>
        </pc:graphicFrameChg>
        <pc:graphicFrameChg chg="add del mod ord replST">
          <ac:chgData name="Wenwen Zhang" userId="9dd81366-5d6f-445a-b031-6ea562624431" providerId="ADAL" clId="{1012AE1A-29B0-4E90-8835-842C30BC7D2A}" dt="2023-01-04T12:01:50.319" v="19844"/>
          <ac:graphicFrameMkLst>
            <pc:docMk/>
            <pc:sldMk cId="200733304" sldId="2134804369"/>
            <ac:graphicFrameMk id="75" creationId="{E788EDA3-BFB0-9510-329C-D63890E3D5C3}"/>
          </ac:graphicFrameMkLst>
        </pc:graphicFrameChg>
        <pc:graphicFrameChg chg="add del mod ord replST">
          <ac:chgData name="Wenwen Zhang" userId="9dd81366-5d6f-445a-b031-6ea562624431" providerId="ADAL" clId="{1012AE1A-29B0-4E90-8835-842C30BC7D2A}" dt="2023-01-04T12:01:51.691" v="19948"/>
          <ac:graphicFrameMkLst>
            <pc:docMk/>
            <pc:sldMk cId="200733304" sldId="2134804369"/>
            <ac:graphicFrameMk id="77" creationId="{FABE25D5-862A-9BC7-A569-6FF1B4B55FA3}"/>
          </ac:graphicFrameMkLst>
        </pc:graphicFrameChg>
        <pc:graphicFrameChg chg="add del mod ord replST">
          <ac:chgData name="Wenwen Zhang" userId="9dd81366-5d6f-445a-b031-6ea562624431" providerId="ADAL" clId="{1012AE1A-29B0-4E90-8835-842C30BC7D2A}" dt="2023-01-04T12:01:51.714" v="19956"/>
          <ac:graphicFrameMkLst>
            <pc:docMk/>
            <pc:sldMk cId="200733304" sldId="2134804369"/>
            <ac:graphicFrameMk id="78" creationId="{5C0F9C4D-118B-052B-7148-611BB14E6AF2}"/>
          </ac:graphicFrameMkLst>
        </pc:graphicFrameChg>
        <pc:graphicFrameChg chg="add del mod ord replST">
          <ac:chgData name="Wenwen Zhang" userId="9dd81366-5d6f-445a-b031-6ea562624431" providerId="ADAL" clId="{1012AE1A-29B0-4E90-8835-842C30BC7D2A}" dt="2023-01-04T12:01:51.733" v="19964"/>
          <ac:graphicFrameMkLst>
            <pc:docMk/>
            <pc:sldMk cId="200733304" sldId="2134804369"/>
            <ac:graphicFrameMk id="79" creationId="{66A03025-0B38-400F-B117-1DFD63FAD022}"/>
          </ac:graphicFrameMkLst>
        </pc:graphicFrameChg>
        <pc:graphicFrameChg chg="add del mod ord replST">
          <ac:chgData name="Wenwen Zhang" userId="9dd81366-5d6f-445a-b031-6ea562624431" providerId="ADAL" clId="{1012AE1A-29B0-4E90-8835-842C30BC7D2A}" dt="2023-01-04T12:01:53.458" v="20068"/>
          <ac:graphicFrameMkLst>
            <pc:docMk/>
            <pc:sldMk cId="200733304" sldId="2134804369"/>
            <ac:graphicFrameMk id="81" creationId="{DD77AFE6-9939-FE8F-1759-1D71ED324CEA}"/>
          </ac:graphicFrameMkLst>
        </pc:graphicFrameChg>
        <pc:graphicFrameChg chg="add del mod ord replST">
          <ac:chgData name="Wenwen Zhang" userId="9dd81366-5d6f-445a-b031-6ea562624431" providerId="ADAL" clId="{1012AE1A-29B0-4E90-8835-842C30BC7D2A}" dt="2023-01-04T12:01:53.482" v="20076"/>
          <ac:graphicFrameMkLst>
            <pc:docMk/>
            <pc:sldMk cId="200733304" sldId="2134804369"/>
            <ac:graphicFrameMk id="82" creationId="{73562911-045A-4A88-B94C-14C211AD37C8}"/>
          </ac:graphicFrameMkLst>
        </pc:graphicFrameChg>
        <pc:graphicFrameChg chg="add del mod ord replST">
          <ac:chgData name="Wenwen Zhang" userId="9dd81366-5d6f-445a-b031-6ea562624431" providerId="ADAL" clId="{1012AE1A-29B0-4E90-8835-842C30BC7D2A}" dt="2023-01-04T12:01:53.502" v="20084"/>
          <ac:graphicFrameMkLst>
            <pc:docMk/>
            <pc:sldMk cId="200733304" sldId="2134804369"/>
            <ac:graphicFrameMk id="83" creationId="{0F96E77E-96A0-FD66-7A29-B96C64C8D8FD}"/>
          </ac:graphicFrameMkLst>
        </pc:graphicFrameChg>
        <pc:graphicFrameChg chg="add del mod ord replST">
          <ac:chgData name="Wenwen Zhang" userId="9dd81366-5d6f-445a-b031-6ea562624431" providerId="ADAL" clId="{1012AE1A-29B0-4E90-8835-842C30BC7D2A}" dt="2023-01-04T12:01:55.843" v="20188"/>
          <ac:graphicFrameMkLst>
            <pc:docMk/>
            <pc:sldMk cId="200733304" sldId="2134804369"/>
            <ac:graphicFrameMk id="85" creationId="{3D69E4DF-1B4E-AD7B-FBA3-8CB0CA6988B5}"/>
          </ac:graphicFrameMkLst>
        </pc:graphicFrameChg>
        <pc:graphicFrameChg chg="add del mod ord replST">
          <ac:chgData name="Wenwen Zhang" userId="9dd81366-5d6f-445a-b031-6ea562624431" providerId="ADAL" clId="{1012AE1A-29B0-4E90-8835-842C30BC7D2A}" dt="2023-01-04T12:01:55.868" v="20196"/>
          <ac:graphicFrameMkLst>
            <pc:docMk/>
            <pc:sldMk cId="200733304" sldId="2134804369"/>
            <ac:graphicFrameMk id="86" creationId="{F7625ABB-A7D2-E372-68C6-CCE892495CFC}"/>
          </ac:graphicFrameMkLst>
        </pc:graphicFrameChg>
        <pc:graphicFrameChg chg="add del mod ord replST">
          <ac:chgData name="Wenwen Zhang" userId="9dd81366-5d6f-445a-b031-6ea562624431" providerId="ADAL" clId="{1012AE1A-29B0-4E90-8835-842C30BC7D2A}" dt="2023-01-04T12:01:55.888" v="20204"/>
          <ac:graphicFrameMkLst>
            <pc:docMk/>
            <pc:sldMk cId="200733304" sldId="2134804369"/>
            <ac:graphicFrameMk id="87" creationId="{96BB1076-2BC0-059F-2B57-8FC35746A88E}"/>
          </ac:graphicFrameMkLst>
        </pc:graphicFrameChg>
        <pc:graphicFrameChg chg="add del mod ord replST">
          <ac:chgData name="Wenwen Zhang" userId="9dd81366-5d6f-445a-b031-6ea562624431" providerId="ADAL" clId="{1012AE1A-29B0-4E90-8835-842C30BC7D2A}" dt="2023-01-04T12:01:57.787" v="20308"/>
          <ac:graphicFrameMkLst>
            <pc:docMk/>
            <pc:sldMk cId="200733304" sldId="2134804369"/>
            <ac:graphicFrameMk id="89" creationId="{77C1BA0A-2403-C1E6-3C5B-221591C24478}"/>
          </ac:graphicFrameMkLst>
        </pc:graphicFrameChg>
        <pc:graphicFrameChg chg="add del mod ord replST">
          <ac:chgData name="Wenwen Zhang" userId="9dd81366-5d6f-445a-b031-6ea562624431" providerId="ADAL" clId="{1012AE1A-29B0-4E90-8835-842C30BC7D2A}" dt="2023-01-04T12:01:57.812" v="20316"/>
          <ac:graphicFrameMkLst>
            <pc:docMk/>
            <pc:sldMk cId="200733304" sldId="2134804369"/>
            <ac:graphicFrameMk id="90" creationId="{7B9C8E0C-9C2A-787D-5763-5347BA5A8FE1}"/>
          </ac:graphicFrameMkLst>
        </pc:graphicFrameChg>
        <pc:graphicFrameChg chg="add del mod ord replST">
          <ac:chgData name="Wenwen Zhang" userId="9dd81366-5d6f-445a-b031-6ea562624431" providerId="ADAL" clId="{1012AE1A-29B0-4E90-8835-842C30BC7D2A}" dt="2023-01-04T12:01:57.833" v="20324"/>
          <ac:graphicFrameMkLst>
            <pc:docMk/>
            <pc:sldMk cId="200733304" sldId="2134804369"/>
            <ac:graphicFrameMk id="91" creationId="{719413D2-A54C-66A5-7A4D-298F763FA554}"/>
          </ac:graphicFrameMkLst>
        </pc:graphicFrameChg>
        <pc:graphicFrameChg chg="add del mod ord replST">
          <ac:chgData name="Wenwen Zhang" userId="9dd81366-5d6f-445a-b031-6ea562624431" providerId="ADAL" clId="{1012AE1A-29B0-4E90-8835-842C30BC7D2A}" dt="2023-01-04T12:02:11.946" v="20535"/>
          <ac:graphicFrameMkLst>
            <pc:docMk/>
            <pc:sldMk cId="200733304" sldId="2134804369"/>
            <ac:graphicFrameMk id="93" creationId="{B8DEA415-79B7-E770-CEB5-EDB010EF7E8E}"/>
          </ac:graphicFrameMkLst>
        </pc:graphicFrameChg>
        <pc:graphicFrameChg chg="add del mod ord replST">
          <ac:chgData name="Wenwen Zhang" userId="9dd81366-5d6f-445a-b031-6ea562624431" providerId="ADAL" clId="{1012AE1A-29B0-4E90-8835-842C30BC7D2A}" dt="2023-01-04T12:02:06.295" v="20428"/>
          <ac:graphicFrameMkLst>
            <pc:docMk/>
            <pc:sldMk cId="200733304" sldId="2134804369"/>
            <ac:graphicFrameMk id="94" creationId="{9B411D89-509A-1932-577D-C50B64A9C900}"/>
          </ac:graphicFrameMkLst>
        </pc:graphicFrameChg>
        <pc:graphicFrameChg chg="add del mod ord replST">
          <ac:chgData name="Wenwen Zhang" userId="9dd81366-5d6f-445a-b031-6ea562624431" providerId="ADAL" clId="{1012AE1A-29B0-4E90-8835-842C30BC7D2A}" dt="2023-01-04T12:02:11.972" v="20543"/>
          <ac:graphicFrameMkLst>
            <pc:docMk/>
            <pc:sldMk cId="200733304" sldId="2134804369"/>
            <ac:graphicFrameMk id="95" creationId="{36573EBE-9A28-8469-501F-24BEAF5C7B95}"/>
          </ac:graphicFrameMkLst>
        </pc:graphicFrameChg>
        <pc:graphicFrameChg chg="add del mod ord replST">
          <ac:chgData name="Wenwen Zhang" userId="9dd81366-5d6f-445a-b031-6ea562624431" providerId="ADAL" clId="{1012AE1A-29B0-4E90-8835-842C30BC7D2A}" dt="2023-01-04T23:56:23.853" v="57331"/>
          <ac:graphicFrameMkLst>
            <pc:docMk/>
            <pc:sldMk cId="200733304" sldId="2134804369"/>
            <ac:graphicFrameMk id="97" creationId="{A87CB06C-F01E-133A-7061-9E37C84648AE}"/>
          </ac:graphicFrameMkLst>
        </pc:graphicFrameChg>
        <pc:graphicFrameChg chg="add del mod ord replST">
          <ac:chgData name="Wenwen Zhang" userId="9dd81366-5d6f-445a-b031-6ea562624431" providerId="ADAL" clId="{1012AE1A-29B0-4E90-8835-842C30BC7D2A}" dt="2023-01-04T23:56:12.236" v="57083"/>
          <ac:graphicFrameMkLst>
            <pc:docMk/>
            <pc:sldMk cId="200733304" sldId="2134804369"/>
            <ac:graphicFrameMk id="99" creationId="{A8D92C4E-45BF-0BC8-AAF0-A43F37CB1802}"/>
          </ac:graphicFrameMkLst>
        </pc:graphicFrameChg>
        <pc:graphicFrameChg chg="add del mod ord replST">
          <ac:chgData name="Wenwen Zhang" userId="9dd81366-5d6f-445a-b031-6ea562624431" providerId="ADAL" clId="{1012AE1A-29B0-4E90-8835-842C30BC7D2A}" dt="2023-01-04T23:56:23.926" v="57446"/>
          <ac:graphicFrameMkLst>
            <pc:docMk/>
            <pc:sldMk cId="200733304" sldId="2134804369"/>
            <ac:graphicFrameMk id="100" creationId="{C4851878-DB2B-09AD-0F77-51553EBED1E9}"/>
          </ac:graphicFrameMkLst>
        </pc:graphicFrameChg>
        <pc:graphicFrameChg chg="del">
          <ac:chgData name="Wenwen Zhang" userId="9dd81366-5d6f-445a-b031-6ea562624431" providerId="ADAL" clId="{1012AE1A-29B0-4E90-8835-842C30BC7D2A}" dt="2023-01-04T11:55:58.093" v="17048"/>
          <ac:graphicFrameMkLst>
            <pc:docMk/>
            <pc:sldMk cId="200733304" sldId="2134804369"/>
            <ac:graphicFrameMk id="263" creationId="{790F7B0C-971D-A378-E52C-026B79D89AC8}"/>
          </ac:graphicFrameMkLst>
        </pc:graphicFrameChg>
        <pc:graphicFrameChg chg="del">
          <ac:chgData name="Wenwen Zhang" userId="9dd81366-5d6f-445a-b031-6ea562624431" providerId="ADAL" clId="{1012AE1A-29B0-4E90-8835-842C30BC7D2A}" dt="2023-01-04T11:55:58.110" v="17111"/>
          <ac:graphicFrameMkLst>
            <pc:docMk/>
            <pc:sldMk cId="200733304" sldId="2134804369"/>
            <ac:graphicFrameMk id="267" creationId="{5523090B-6B78-42DB-9820-5CFE28EB1ACA}"/>
          </ac:graphicFrameMkLst>
        </pc:graphicFrameChg>
        <pc:graphicFrameChg chg="del">
          <ac:chgData name="Wenwen Zhang" userId="9dd81366-5d6f-445a-b031-6ea562624431" providerId="ADAL" clId="{1012AE1A-29B0-4E90-8835-842C30BC7D2A}" dt="2023-01-04T11:55:58.104" v="17086"/>
          <ac:graphicFrameMkLst>
            <pc:docMk/>
            <pc:sldMk cId="200733304" sldId="2134804369"/>
            <ac:graphicFrameMk id="269" creationId="{42401EE0-B028-442F-87E8-6928890EB278}"/>
          </ac:graphicFrameMkLst>
        </pc:graphicFrameChg>
        <pc:graphicFrameChg chg="del">
          <ac:chgData name="Wenwen Zhang" userId="9dd81366-5d6f-445a-b031-6ea562624431" providerId="ADAL" clId="{1012AE1A-29B0-4E90-8835-842C30BC7D2A}" dt="2023-01-04T11:55:58.097" v="17063"/>
          <ac:graphicFrameMkLst>
            <pc:docMk/>
            <pc:sldMk cId="200733304" sldId="2134804369"/>
            <ac:graphicFrameMk id="270" creationId="{13BB3E89-9C9A-9B79-D5A0-5BA86896DFD8}"/>
          </ac:graphicFrameMkLst>
        </pc:graphicFrameChg>
        <pc:cxnChg chg="del">
          <ac:chgData name="Wenwen Zhang" userId="9dd81366-5d6f-445a-b031-6ea562624431" providerId="ADAL" clId="{1012AE1A-29B0-4E90-8835-842C30BC7D2A}" dt="2023-01-04T11:55:58.098" v="17065"/>
          <ac:cxnSpMkLst>
            <pc:docMk/>
            <pc:sldMk cId="200733304" sldId="2134804369"/>
            <ac:cxnSpMk id="181" creationId="{3B1649F9-97DA-E489-2B07-2FB2D37AB452}"/>
          </ac:cxnSpMkLst>
        </pc:cxnChg>
        <pc:cxnChg chg="del">
          <ac:chgData name="Wenwen Zhang" userId="9dd81366-5d6f-445a-b031-6ea562624431" providerId="ADAL" clId="{1012AE1A-29B0-4E90-8835-842C30BC7D2A}" dt="2023-01-04T11:55:58.109" v="17109"/>
          <ac:cxnSpMkLst>
            <pc:docMk/>
            <pc:sldMk cId="200733304" sldId="2134804369"/>
            <ac:cxnSpMk id="223" creationId="{2679AECC-3DFE-30F9-5EC2-2D630EF46F0A}"/>
          </ac:cxnSpMkLst>
        </pc:cxnChg>
        <pc:cxnChg chg="del">
          <ac:chgData name="Wenwen Zhang" userId="9dd81366-5d6f-445a-b031-6ea562624431" providerId="ADAL" clId="{1012AE1A-29B0-4E90-8835-842C30BC7D2A}" dt="2023-01-04T11:55:58.108" v="17106"/>
          <ac:cxnSpMkLst>
            <pc:docMk/>
            <pc:sldMk cId="200733304" sldId="2134804369"/>
            <ac:cxnSpMk id="239" creationId="{E14A5F61-E5FC-EFD3-20CE-AD6202D77B62}"/>
          </ac:cxnSpMkLst>
        </pc:cxnChg>
      </pc:sldChg>
      <pc:sldChg chg="addSp delSp modSp add mod modNotesTx">
        <pc:chgData name="Wenwen Zhang" userId="9dd81366-5d6f-445a-b031-6ea562624431" providerId="ADAL" clId="{1012AE1A-29B0-4E90-8835-842C30BC7D2A}" dt="2023-01-05T15:35:48.700" v="94124" actId="6549"/>
        <pc:sldMkLst>
          <pc:docMk/>
          <pc:sldMk cId="1589772229" sldId="2134804370"/>
        </pc:sldMkLst>
        <pc:spChg chg="mod ord">
          <ac:chgData name="Wenwen Zhang" userId="9dd81366-5d6f-445a-b031-6ea562624431" providerId="ADAL" clId="{1012AE1A-29B0-4E90-8835-842C30BC7D2A}" dt="2023-01-05T15:00:39.498" v="94095"/>
          <ac:spMkLst>
            <pc:docMk/>
            <pc:sldMk cId="1589772229" sldId="2134804370"/>
            <ac:spMk id="2" creationId="{B065B79C-C4D6-5961-7919-6BB68C420868}"/>
          </ac:spMkLst>
        </pc:spChg>
        <pc:spChg chg="add del mod modVis">
          <ac:chgData name="Wenwen Zhang" userId="9dd81366-5d6f-445a-b031-6ea562624431" providerId="ADAL" clId="{1012AE1A-29B0-4E90-8835-842C30BC7D2A}" dt="2023-01-04T22:06:15.738" v="25446"/>
          <ac:spMkLst>
            <pc:docMk/>
            <pc:sldMk cId="1589772229" sldId="2134804370"/>
            <ac:spMk id="3" creationId="{30665C7D-295C-8D53-C94D-34EB7480AF52}"/>
          </ac:spMkLst>
        </pc:spChg>
        <pc:spChg chg="del mod ord">
          <ac:chgData name="Wenwen Zhang" userId="9dd81366-5d6f-445a-b031-6ea562624431" providerId="ADAL" clId="{1012AE1A-29B0-4E90-8835-842C30BC7D2A}" dt="2023-01-05T14:58:05.607" v="93610"/>
          <ac:spMkLst>
            <pc:docMk/>
            <pc:sldMk cId="1589772229" sldId="2134804370"/>
            <ac:spMk id="4" creationId="{AD0E97D5-5A4C-F8E8-8C92-74ED86E2BF79}"/>
          </ac:spMkLst>
        </pc:spChg>
        <pc:spChg chg="del">
          <ac:chgData name="Wenwen Zhang" userId="9dd81366-5d6f-445a-b031-6ea562624431" providerId="ADAL" clId="{1012AE1A-29B0-4E90-8835-842C30BC7D2A}" dt="2023-01-04T22:28:59.221" v="25468" actId="478"/>
          <ac:spMkLst>
            <pc:docMk/>
            <pc:sldMk cId="1589772229" sldId="2134804370"/>
            <ac:spMk id="5" creationId="{C3A93218-CE18-A4B3-81CE-9F30E61F8154}"/>
          </ac:spMkLst>
        </pc:spChg>
        <pc:spChg chg="add del mod replST">
          <ac:chgData name="Wenwen Zhang" userId="9dd81366-5d6f-445a-b031-6ea562624431" providerId="ADAL" clId="{1012AE1A-29B0-4E90-8835-842C30BC7D2A}" dt="2023-01-04T22:46:32.125" v="39587"/>
          <ac:spMkLst>
            <pc:docMk/>
            <pc:sldMk cId="1589772229" sldId="2134804370"/>
            <ac:spMk id="6" creationId="{96DB64E7-7450-5BAA-7DCA-6F75AE12EF02}"/>
          </ac:spMkLst>
        </pc:spChg>
        <pc:spChg chg="del">
          <ac:chgData name="Wenwen Zhang" userId="9dd81366-5d6f-445a-b031-6ea562624431" providerId="ADAL" clId="{1012AE1A-29B0-4E90-8835-842C30BC7D2A}" dt="2023-01-04T22:06:15.680" v="25388"/>
          <ac:spMkLst>
            <pc:docMk/>
            <pc:sldMk cId="1589772229" sldId="2134804370"/>
            <ac:spMk id="7" creationId="{1486C0F6-529B-18EC-CA86-12B8F894AF65}"/>
          </ac:spMkLst>
        </pc:spChg>
        <pc:spChg chg="del">
          <ac:chgData name="Wenwen Zhang" userId="9dd81366-5d6f-445a-b031-6ea562624431" providerId="ADAL" clId="{1012AE1A-29B0-4E90-8835-842C30BC7D2A}" dt="2023-01-04T22:06:15.681" v="25390"/>
          <ac:spMkLst>
            <pc:docMk/>
            <pc:sldMk cId="1589772229" sldId="2134804370"/>
            <ac:spMk id="8" creationId="{75FC8E37-0852-66AB-4534-54657E443CA9}"/>
          </ac:spMkLst>
        </pc:spChg>
        <pc:spChg chg="add del mod modVis">
          <ac:chgData name="Wenwen Zhang" userId="9dd81366-5d6f-445a-b031-6ea562624431" providerId="ADAL" clId="{1012AE1A-29B0-4E90-8835-842C30BC7D2A}" dt="2023-01-04T22:29:14.169" v="25925"/>
          <ac:spMkLst>
            <pc:docMk/>
            <pc:sldMk cId="1589772229" sldId="2134804370"/>
            <ac:spMk id="9" creationId="{F07DA790-8C97-0962-77BE-3120B25A28E6}"/>
          </ac:spMkLst>
        </pc:spChg>
        <pc:spChg chg="add del mod replST">
          <ac:chgData name="Wenwen Zhang" userId="9dd81366-5d6f-445a-b031-6ea562624431" providerId="ADAL" clId="{1012AE1A-29B0-4E90-8835-842C30BC7D2A}" dt="2023-01-04T22:30:59.458" v="26781"/>
          <ac:spMkLst>
            <pc:docMk/>
            <pc:sldMk cId="1589772229" sldId="2134804370"/>
            <ac:spMk id="10" creationId="{96DB64E7-7450-5BAA-7DCA-6F75AE12EF02}"/>
          </ac:spMkLst>
        </pc:spChg>
        <pc:spChg chg="add del mod replST">
          <ac:chgData name="Wenwen Zhang" userId="9dd81366-5d6f-445a-b031-6ea562624431" providerId="ADAL" clId="{1012AE1A-29B0-4E90-8835-842C30BC7D2A}" dt="2023-01-04T22:46:32.124" v="39585"/>
          <ac:spMkLst>
            <pc:docMk/>
            <pc:sldMk cId="1589772229" sldId="2134804370"/>
            <ac:spMk id="11" creationId="{96DB64E7-7450-5BAA-7DCA-6F75AE12EF02}"/>
          </ac:spMkLst>
        </pc:spChg>
        <pc:spChg chg="add del mod replST">
          <ac:chgData name="Wenwen Zhang" userId="9dd81366-5d6f-445a-b031-6ea562624431" providerId="ADAL" clId="{1012AE1A-29B0-4E90-8835-842C30BC7D2A}" dt="2023-01-04T22:34:14.868" v="32752"/>
          <ac:spMkLst>
            <pc:docMk/>
            <pc:sldMk cId="1589772229" sldId="2134804370"/>
            <ac:spMk id="12" creationId="{96DB64E7-7450-5BAA-7DCA-6F75AE12EF02}"/>
          </ac:spMkLst>
        </pc:spChg>
        <pc:spChg chg="del">
          <ac:chgData name="Wenwen Zhang" userId="9dd81366-5d6f-445a-b031-6ea562624431" providerId="ADAL" clId="{1012AE1A-29B0-4E90-8835-842C30BC7D2A}" dt="2023-01-04T22:28:55.855" v="25450"/>
          <ac:spMkLst>
            <pc:docMk/>
            <pc:sldMk cId="1589772229" sldId="2134804370"/>
            <ac:spMk id="13" creationId="{BA45B395-127A-7235-5ABC-DDC3D3FB3BEC}"/>
          </ac:spMkLst>
        </pc:spChg>
        <pc:spChg chg="del">
          <ac:chgData name="Wenwen Zhang" userId="9dd81366-5d6f-445a-b031-6ea562624431" providerId="ADAL" clId="{1012AE1A-29B0-4E90-8835-842C30BC7D2A}" dt="2023-01-04T22:28:55.857" v="25453"/>
          <ac:spMkLst>
            <pc:docMk/>
            <pc:sldMk cId="1589772229" sldId="2134804370"/>
            <ac:spMk id="14" creationId="{F9C00B20-32C4-0CAA-ED50-43E4E1DCECD6}"/>
          </ac:spMkLst>
        </pc:spChg>
        <pc:spChg chg="del">
          <ac:chgData name="Wenwen Zhang" userId="9dd81366-5d6f-445a-b031-6ea562624431" providerId="ADAL" clId="{1012AE1A-29B0-4E90-8835-842C30BC7D2A}" dt="2023-01-04T22:28:55.857" v="25456"/>
          <ac:spMkLst>
            <pc:docMk/>
            <pc:sldMk cId="1589772229" sldId="2134804370"/>
            <ac:spMk id="15" creationId="{D8E4A8D2-FBCC-03F4-23CE-047F4A6EB15F}"/>
          </ac:spMkLst>
        </pc:spChg>
        <pc:spChg chg="del mod">
          <ac:chgData name="Wenwen Zhang" userId="9dd81366-5d6f-445a-b031-6ea562624431" providerId="ADAL" clId="{1012AE1A-29B0-4E90-8835-842C30BC7D2A}" dt="2023-01-04T22:28:55.856" v="25451"/>
          <ac:spMkLst>
            <pc:docMk/>
            <pc:sldMk cId="1589772229" sldId="2134804370"/>
            <ac:spMk id="16" creationId="{B02D853D-3B4C-EBD6-DC84-111BFDD5ADBA}"/>
          </ac:spMkLst>
        </pc:spChg>
        <pc:spChg chg="del mod">
          <ac:chgData name="Wenwen Zhang" userId="9dd81366-5d6f-445a-b031-6ea562624431" providerId="ADAL" clId="{1012AE1A-29B0-4E90-8835-842C30BC7D2A}" dt="2023-01-04T22:28:55.858" v="25457"/>
          <ac:spMkLst>
            <pc:docMk/>
            <pc:sldMk cId="1589772229" sldId="2134804370"/>
            <ac:spMk id="17" creationId="{45F8CFBF-7CC3-7831-6317-BBF422525390}"/>
          </ac:spMkLst>
        </pc:spChg>
        <pc:spChg chg="del mod">
          <ac:chgData name="Wenwen Zhang" userId="9dd81366-5d6f-445a-b031-6ea562624431" providerId="ADAL" clId="{1012AE1A-29B0-4E90-8835-842C30BC7D2A}" dt="2023-01-04T22:28:55.857" v="25454"/>
          <ac:spMkLst>
            <pc:docMk/>
            <pc:sldMk cId="1589772229" sldId="2134804370"/>
            <ac:spMk id="18" creationId="{9ECD677A-484C-F30C-75F3-7373B8521242}"/>
          </ac:spMkLst>
        </pc:spChg>
        <pc:spChg chg="add del mod replST">
          <ac:chgData name="Wenwen Zhang" userId="9dd81366-5d6f-445a-b031-6ea562624431" providerId="ADAL" clId="{1012AE1A-29B0-4E90-8835-842C30BC7D2A}" dt="2023-01-04T22:34:17.011" v="32848"/>
          <ac:spMkLst>
            <pc:docMk/>
            <pc:sldMk cId="1589772229" sldId="2134804370"/>
            <ac:spMk id="19" creationId="{96DB64E7-7450-5BAA-7DCA-6F75AE12EF02}"/>
          </ac:spMkLst>
        </pc:spChg>
        <pc:spChg chg="add del mod replST">
          <ac:chgData name="Wenwen Zhang" userId="9dd81366-5d6f-445a-b031-6ea562624431" providerId="ADAL" clId="{1012AE1A-29B0-4E90-8835-842C30BC7D2A}" dt="2023-01-04T22:46:32.125" v="39586"/>
          <ac:spMkLst>
            <pc:docMk/>
            <pc:sldMk cId="1589772229" sldId="2134804370"/>
            <ac:spMk id="21" creationId="{521CE82B-9DCC-A6FD-09C4-E62A4B323221}"/>
          </ac:spMkLst>
        </pc:spChg>
        <pc:spChg chg="add del mod replST">
          <ac:chgData name="Wenwen Zhang" userId="9dd81366-5d6f-445a-b031-6ea562624431" providerId="ADAL" clId="{1012AE1A-29B0-4E90-8835-842C30BC7D2A}" dt="2023-01-04T22:30:59.457" v="26780"/>
          <ac:spMkLst>
            <pc:docMk/>
            <pc:sldMk cId="1589772229" sldId="2134804370"/>
            <ac:spMk id="22" creationId="{28DF3175-094D-423F-6ECD-9A8262CA00C4}"/>
          </ac:spMkLst>
        </pc:spChg>
        <pc:spChg chg="add del mod replST">
          <ac:chgData name="Wenwen Zhang" userId="9dd81366-5d6f-445a-b031-6ea562624431" providerId="ADAL" clId="{1012AE1A-29B0-4E90-8835-842C30BC7D2A}" dt="2023-01-04T22:34:20.042" v="32942"/>
          <ac:spMkLst>
            <pc:docMk/>
            <pc:sldMk cId="1589772229" sldId="2134804370"/>
            <ac:spMk id="24" creationId="{EC2D365E-B2DF-0AF4-0524-02375BB42721}"/>
          </ac:spMkLst>
        </pc:spChg>
        <pc:spChg chg="add del mod replST">
          <ac:chgData name="Wenwen Zhang" userId="9dd81366-5d6f-445a-b031-6ea562624431" providerId="ADAL" clId="{1012AE1A-29B0-4E90-8835-842C30BC7D2A}" dt="2023-01-04T22:34:22.751" v="33134"/>
          <ac:spMkLst>
            <pc:docMk/>
            <pc:sldMk cId="1589772229" sldId="2134804370"/>
            <ac:spMk id="25" creationId="{9AD5762E-FFA6-8E31-E351-358262A79DC9}"/>
          </ac:spMkLst>
        </pc:spChg>
        <pc:spChg chg="add del mod replST">
          <ac:chgData name="Wenwen Zhang" userId="9dd81366-5d6f-445a-b031-6ea562624431" providerId="ADAL" clId="{1012AE1A-29B0-4E90-8835-842C30BC7D2A}" dt="2023-01-04T22:34:37.134" v="33310"/>
          <ac:spMkLst>
            <pc:docMk/>
            <pc:sldMk cId="1589772229" sldId="2134804370"/>
            <ac:spMk id="26" creationId="{EAD62522-8EC3-F109-239F-66D925876992}"/>
          </ac:spMkLst>
        </pc:spChg>
        <pc:spChg chg="add del mod replST">
          <ac:chgData name="Wenwen Zhang" userId="9dd81366-5d6f-445a-b031-6ea562624431" providerId="ADAL" clId="{1012AE1A-29B0-4E90-8835-842C30BC7D2A}" dt="2023-01-04T22:46:32.124" v="39584"/>
          <ac:spMkLst>
            <pc:docMk/>
            <pc:sldMk cId="1589772229" sldId="2134804370"/>
            <ac:spMk id="27" creationId="{BE83E0F5-8033-2356-718A-0FDAF851A156}"/>
          </ac:spMkLst>
        </pc:spChg>
        <pc:spChg chg="mod ord">
          <ac:chgData name="Wenwen Zhang" userId="9dd81366-5d6f-445a-b031-6ea562624431" providerId="ADAL" clId="{1012AE1A-29B0-4E90-8835-842C30BC7D2A}" dt="2023-01-05T15:00:39.498" v="94097"/>
          <ac:spMkLst>
            <pc:docMk/>
            <pc:sldMk cId="1589772229" sldId="2134804370"/>
            <ac:spMk id="29" creationId="{D50B6CAA-A666-5524-85F7-444C607F0970}"/>
          </ac:spMkLst>
        </pc:spChg>
        <pc:spChg chg="add del mod replST">
          <ac:chgData name="Wenwen Zhang" userId="9dd81366-5d6f-445a-b031-6ea562624431" providerId="ADAL" clId="{1012AE1A-29B0-4E90-8835-842C30BC7D2A}" dt="2023-01-04T22:34:34.535" v="33222"/>
          <ac:spMkLst>
            <pc:docMk/>
            <pc:sldMk cId="1589772229" sldId="2134804370"/>
            <ac:spMk id="30" creationId="{D0E4E443-FEBB-2A76-518B-0277D988C6A8}"/>
          </ac:spMkLst>
        </pc:spChg>
        <pc:spChg chg="add del mod replST">
          <ac:chgData name="Wenwen Zhang" userId="9dd81366-5d6f-445a-b031-6ea562624431" providerId="ADAL" clId="{1012AE1A-29B0-4E90-8835-842C30BC7D2A}" dt="2023-01-04T22:34:38.900" v="33396"/>
          <ac:spMkLst>
            <pc:docMk/>
            <pc:sldMk cId="1589772229" sldId="2134804370"/>
            <ac:spMk id="31" creationId="{D1DFB085-8167-ECDC-5E72-12F4698977D6}"/>
          </ac:spMkLst>
        </pc:spChg>
        <pc:spChg chg="add del mod replST">
          <ac:chgData name="Wenwen Zhang" userId="9dd81366-5d6f-445a-b031-6ea562624431" providerId="ADAL" clId="{1012AE1A-29B0-4E90-8835-842C30BC7D2A}" dt="2023-01-04T22:34:40.547" v="33480"/>
          <ac:spMkLst>
            <pc:docMk/>
            <pc:sldMk cId="1589772229" sldId="2134804370"/>
            <ac:spMk id="32" creationId="{191FAEB6-C529-2196-970E-B9BD10EB1CD2}"/>
          </ac:spMkLst>
        </pc:spChg>
        <pc:spChg chg="add del mod replST">
          <ac:chgData name="Wenwen Zhang" userId="9dd81366-5d6f-445a-b031-6ea562624431" providerId="ADAL" clId="{1012AE1A-29B0-4E90-8835-842C30BC7D2A}" dt="2023-01-04T22:34:44.281" v="33653"/>
          <ac:spMkLst>
            <pc:docMk/>
            <pc:sldMk cId="1589772229" sldId="2134804370"/>
            <ac:spMk id="33" creationId="{94747145-FFAB-A229-F665-3D1A2B0AEACA}"/>
          </ac:spMkLst>
        </pc:spChg>
        <pc:spChg chg="add del mod replST">
          <ac:chgData name="Wenwen Zhang" userId="9dd81366-5d6f-445a-b031-6ea562624431" providerId="ADAL" clId="{1012AE1A-29B0-4E90-8835-842C30BC7D2A}" dt="2023-01-04T22:34:44.866" v="33730"/>
          <ac:spMkLst>
            <pc:docMk/>
            <pc:sldMk cId="1589772229" sldId="2134804370"/>
            <ac:spMk id="34" creationId="{A884D5B4-F567-AE22-DAE1-CBDC4A405048}"/>
          </ac:spMkLst>
        </pc:spChg>
        <pc:spChg chg="add del mod replST">
          <ac:chgData name="Wenwen Zhang" userId="9dd81366-5d6f-445a-b031-6ea562624431" providerId="ADAL" clId="{1012AE1A-29B0-4E90-8835-842C30BC7D2A}" dt="2023-01-04T22:46:32.124" v="39583"/>
          <ac:spMkLst>
            <pc:docMk/>
            <pc:sldMk cId="1589772229" sldId="2134804370"/>
            <ac:spMk id="35" creationId="{11CF5F9F-E461-D258-1CFC-B43B196003F4}"/>
          </ac:spMkLst>
        </pc:spChg>
        <pc:spChg chg="add del mod replST">
          <ac:chgData name="Wenwen Zhang" userId="9dd81366-5d6f-445a-b031-6ea562624431" providerId="ADAL" clId="{1012AE1A-29B0-4E90-8835-842C30BC7D2A}" dt="2023-01-04T22:34:50.509" v="33811"/>
          <ac:spMkLst>
            <pc:docMk/>
            <pc:sldMk cId="1589772229" sldId="2134804370"/>
            <ac:spMk id="36" creationId="{CD152EB4-9F84-AF19-CC63-818DA4DDAB92}"/>
          </ac:spMkLst>
        </pc:spChg>
        <pc:spChg chg="add del mod replST">
          <ac:chgData name="Wenwen Zhang" userId="9dd81366-5d6f-445a-b031-6ea562624431" providerId="ADAL" clId="{1012AE1A-29B0-4E90-8835-842C30BC7D2A}" dt="2023-01-04T22:34:50.508" v="33808"/>
          <ac:spMkLst>
            <pc:docMk/>
            <pc:sldMk cId="1589772229" sldId="2134804370"/>
            <ac:spMk id="37" creationId="{9066C409-2E5E-B18C-C71A-DC64600FD982}"/>
          </ac:spMkLst>
        </pc:spChg>
        <pc:spChg chg="add del mod replST">
          <ac:chgData name="Wenwen Zhang" userId="9dd81366-5d6f-445a-b031-6ea562624431" providerId="ADAL" clId="{1012AE1A-29B0-4E90-8835-842C30BC7D2A}" dt="2023-01-04T22:34:50.509" v="33809"/>
          <ac:spMkLst>
            <pc:docMk/>
            <pc:sldMk cId="1589772229" sldId="2134804370"/>
            <ac:spMk id="38" creationId="{411AB91E-6227-D856-C9B8-28C4102352AB}"/>
          </ac:spMkLst>
        </pc:spChg>
        <pc:spChg chg="add del mod replST">
          <ac:chgData name="Wenwen Zhang" userId="9dd81366-5d6f-445a-b031-6ea562624431" providerId="ADAL" clId="{1012AE1A-29B0-4E90-8835-842C30BC7D2A}" dt="2023-01-04T22:34:50.509" v="33810"/>
          <ac:spMkLst>
            <pc:docMk/>
            <pc:sldMk cId="1589772229" sldId="2134804370"/>
            <ac:spMk id="39" creationId="{54CB1EA3-6A76-255F-03AC-776F1FE36F9D}"/>
          </ac:spMkLst>
        </pc:spChg>
        <pc:spChg chg="add del mod replST">
          <ac:chgData name="Wenwen Zhang" userId="9dd81366-5d6f-445a-b031-6ea562624431" providerId="ADAL" clId="{1012AE1A-29B0-4E90-8835-842C30BC7D2A}" dt="2023-01-04T22:34:52.710" v="33881"/>
          <ac:spMkLst>
            <pc:docMk/>
            <pc:sldMk cId="1589772229" sldId="2134804370"/>
            <ac:spMk id="40" creationId="{FB1971DA-BF3B-68E2-7110-ED1BB14E34F7}"/>
          </ac:spMkLst>
        </pc:spChg>
        <pc:spChg chg="add del mod replST">
          <ac:chgData name="Wenwen Zhang" userId="9dd81366-5d6f-445a-b031-6ea562624431" providerId="ADAL" clId="{1012AE1A-29B0-4E90-8835-842C30BC7D2A}" dt="2023-01-04T22:46:32.124" v="39582"/>
          <ac:spMkLst>
            <pc:docMk/>
            <pc:sldMk cId="1589772229" sldId="2134804370"/>
            <ac:spMk id="41" creationId="{BB848D60-4E30-F38B-B90E-B16E27A5DD4F}"/>
          </ac:spMkLst>
        </pc:spChg>
        <pc:spChg chg="add del mod replST">
          <ac:chgData name="Wenwen Zhang" userId="9dd81366-5d6f-445a-b031-6ea562624431" providerId="ADAL" clId="{1012AE1A-29B0-4E90-8835-842C30BC7D2A}" dt="2023-01-04T22:34:56.956" v="33951"/>
          <ac:spMkLst>
            <pc:docMk/>
            <pc:sldMk cId="1589772229" sldId="2134804370"/>
            <ac:spMk id="42" creationId="{70D25646-EBA5-956B-C2B2-A16169D2BD19}"/>
          </ac:spMkLst>
        </pc:spChg>
        <pc:spChg chg="mod ord">
          <ac:chgData name="Wenwen Zhang" userId="9dd81366-5d6f-445a-b031-6ea562624431" providerId="ADAL" clId="{1012AE1A-29B0-4E90-8835-842C30BC7D2A}" dt="2023-01-05T15:00:39.499" v="94099"/>
          <ac:spMkLst>
            <pc:docMk/>
            <pc:sldMk cId="1589772229" sldId="2134804370"/>
            <ac:spMk id="43" creationId="{C58C7321-3BF7-61DC-5B1A-AD075E56AE05}"/>
          </ac:spMkLst>
        </pc:spChg>
        <pc:spChg chg="add del mod replST">
          <ac:chgData name="Wenwen Zhang" userId="9dd81366-5d6f-445a-b031-6ea562624431" providerId="ADAL" clId="{1012AE1A-29B0-4E90-8835-842C30BC7D2A}" dt="2023-01-04T22:34:56.956" v="33952"/>
          <ac:spMkLst>
            <pc:docMk/>
            <pc:sldMk cId="1589772229" sldId="2134804370"/>
            <ac:spMk id="44" creationId="{B72BE429-6EB1-2ABC-8208-B2DBD7E10127}"/>
          </ac:spMkLst>
        </pc:spChg>
        <pc:spChg chg="add del mod replST">
          <ac:chgData name="Wenwen Zhang" userId="9dd81366-5d6f-445a-b031-6ea562624431" providerId="ADAL" clId="{1012AE1A-29B0-4E90-8835-842C30BC7D2A}" dt="2023-01-04T22:34:56.956" v="33949"/>
          <ac:spMkLst>
            <pc:docMk/>
            <pc:sldMk cId="1589772229" sldId="2134804370"/>
            <ac:spMk id="45" creationId="{64C95E7D-C409-B998-A5BD-C7157DA04A15}"/>
          </ac:spMkLst>
        </pc:spChg>
        <pc:spChg chg="add del mod replST">
          <ac:chgData name="Wenwen Zhang" userId="9dd81366-5d6f-445a-b031-6ea562624431" providerId="ADAL" clId="{1012AE1A-29B0-4E90-8835-842C30BC7D2A}" dt="2023-01-04T22:34:56.956" v="33950"/>
          <ac:spMkLst>
            <pc:docMk/>
            <pc:sldMk cId="1589772229" sldId="2134804370"/>
            <ac:spMk id="46" creationId="{28930278-377B-FC5A-0575-D24D85F42916}"/>
          </ac:spMkLst>
        </pc:spChg>
        <pc:spChg chg="add del mod replST">
          <ac:chgData name="Wenwen Zhang" userId="9dd81366-5d6f-445a-b031-6ea562624431" providerId="ADAL" clId="{1012AE1A-29B0-4E90-8835-842C30BC7D2A}" dt="2023-01-04T22:34:56.957" v="33953"/>
          <ac:spMkLst>
            <pc:docMk/>
            <pc:sldMk cId="1589772229" sldId="2134804370"/>
            <ac:spMk id="47" creationId="{DA63F505-4870-9BEC-8B01-FB800AC58E35}"/>
          </ac:spMkLst>
        </pc:spChg>
        <pc:spChg chg="add del mod replST">
          <ac:chgData name="Wenwen Zhang" userId="9dd81366-5d6f-445a-b031-6ea562624431" providerId="ADAL" clId="{1012AE1A-29B0-4E90-8835-842C30BC7D2A}" dt="2023-01-04T22:46:32.123" v="39581"/>
          <ac:spMkLst>
            <pc:docMk/>
            <pc:sldMk cId="1589772229" sldId="2134804370"/>
            <ac:spMk id="48" creationId="{12A964BD-2615-17AB-7CE4-26AF59EA0561}"/>
          </ac:spMkLst>
        </pc:spChg>
        <pc:spChg chg="add del mod replST">
          <ac:chgData name="Wenwen Zhang" userId="9dd81366-5d6f-445a-b031-6ea562624431" providerId="ADAL" clId="{1012AE1A-29B0-4E90-8835-842C30BC7D2A}" dt="2023-01-04T22:35:04.050" v="34129"/>
          <ac:spMkLst>
            <pc:docMk/>
            <pc:sldMk cId="1589772229" sldId="2134804370"/>
            <ac:spMk id="49" creationId="{2D50EC50-34C8-6E49-CCCB-8CCDBF2476E1}"/>
          </ac:spMkLst>
        </pc:spChg>
        <pc:spChg chg="add del mod replST">
          <ac:chgData name="Wenwen Zhang" userId="9dd81366-5d6f-445a-b031-6ea562624431" providerId="ADAL" clId="{1012AE1A-29B0-4E90-8835-842C30BC7D2A}" dt="2023-01-04T22:35:00.682" v="34013"/>
          <ac:spMkLst>
            <pc:docMk/>
            <pc:sldMk cId="1589772229" sldId="2134804370"/>
            <ac:spMk id="50" creationId="{261A97DE-6D76-5DFF-52F8-B840679A36F7}"/>
          </ac:spMkLst>
        </pc:spChg>
        <pc:spChg chg="add del mod replST">
          <ac:chgData name="Wenwen Zhang" userId="9dd81366-5d6f-445a-b031-6ea562624431" providerId="ADAL" clId="{1012AE1A-29B0-4E90-8835-842C30BC7D2A}" dt="2023-01-04T22:35:00.681" v="34011"/>
          <ac:spMkLst>
            <pc:docMk/>
            <pc:sldMk cId="1589772229" sldId="2134804370"/>
            <ac:spMk id="51" creationId="{7479252F-D09E-7BBC-B6EF-BC419A2A6DD6}"/>
          </ac:spMkLst>
        </pc:spChg>
        <pc:spChg chg="add del mod replST">
          <ac:chgData name="Wenwen Zhang" userId="9dd81366-5d6f-445a-b031-6ea562624431" providerId="ADAL" clId="{1012AE1A-29B0-4E90-8835-842C30BC7D2A}" dt="2023-01-04T22:35:00.682" v="34012"/>
          <ac:spMkLst>
            <pc:docMk/>
            <pc:sldMk cId="1589772229" sldId="2134804370"/>
            <ac:spMk id="52" creationId="{9D20EE66-D46A-B37D-3621-116D8F9192DA}"/>
          </ac:spMkLst>
        </pc:spChg>
        <pc:spChg chg="add del mod replST">
          <ac:chgData name="Wenwen Zhang" userId="9dd81366-5d6f-445a-b031-6ea562624431" providerId="ADAL" clId="{1012AE1A-29B0-4E90-8835-842C30BC7D2A}" dt="2023-01-04T22:35:06.354" v="34235"/>
          <ac:spMkLst>
            <pc:docMk/>
            <pc:sldMk cId="1589772229" sldId="2134804370"/>
            <ac:spMk id="53" creationId="{1C7144A3-9F06-52AE-22A8-848F19FA75D2}"/>
          </ac:spMkLst>
        </pc:spChg>
        <pc:spChg chg="add del mod replST">
          <ac:chgData name="Wenwen Zhang" userId="9dd81366-5d6f-445a-b031-6ea562624431" providerId="ADAL" clId="{1012AE1A-29B0-4E90-8835-842C30BC7D2A}" dt="2023-01-04T22:46:32.123" v="39580"/>
          <ac:spMkLst>
            <pc:docMk/>
            <pc:sldMk cId="1589772229" sldId="2134804370"/>
            <ac:spMk id="54" creationId="{27A09886-2165-2E34-C004-8C107298657D}"/>
          </ac:spMkLst>
        </pc:spChg>
        <pc:spChg chg="add del mod replST">
          <ac:chgData name="Wenwen Zhang" userId="9dd81366-5d6f-445a-b031-6ea562624431" providerId="ADAL" clId="{1012AE1A-29B0-4E90-8835-842C30BC7D2A}" dt="2023-01-04T22:35:17.642" v="34321"/>
          <ac:spMkLst>
            <pc:docMk/>
            <pc:sldMk cId="1589772229" sldId="2134804370"/>
            <ac:spMk id="55" creationId="{CD74EEB8-CEFE-C19A-E708-E74E9F6B1EF9}"/>
          </ac:spMkLst>
        </pc:spChg>
        <pc:spChg chg="add del mod replST">
          <ac:chgData name="Wenwen Zhang" userId="9dd81366-5d6f-445a-b031-6ea562624431" providerId="ADAL" clId="{1012AE1A-29B0-4E90-8835-842C30BC7D2A}" dt="2023-01-04T22:35:15.432" v="34279"/>
          <ac:spMkLst>
            <pc:docMk/>
            <pc:sldMk cId="1589772229" sldId="2134804370"/>
            <ac:spMk id="56" creationId="{F671B3BB-1482-8EE0-B12F-E1C9E7010744}"/>
          </ac:spMkLst>
        </pc:spChg>
        <pc:spChg chg="add del mod replST">
          <ac:chgData name="Wenwen Zhang" userId="9dd81366-5d6f-445a-b031-6ea562624431" providerId="ADAL" clId="{1012AE1A-29B0-4E90-8835-842C30BC7D2A}" dt="2023-01-04T22:35:15.428" v="34277"/>
          <ac:spMkLst>
            <pc:docMk/>
            <pc:sldMk cId="1589772229" sldId="2134804370"/>
            <ac:spMk id="57" creationId="{214FE97A-8810-ACE6-4CA3-08CF49735542}"/>
          </ac:spMkLst>
        </pc:spChg>
        <pc:spChg chg="add del mod replST">
          <ac:chgData name="Wenwen Zhang" userId="9dd81366-5d6f-445a-b031-6ea562624431" providerId="ADAL" clId="{1012AE1A-29B0-4E90-8835-842C30BC7D2A}" dt="2023-01-04T22:35:15.431" v="34278"/>
          <ac:spMkLst>
            <pc:docMk/>
            <pc:sldMk cId="1589772229" sldId="2134804370"/>
            <ac:spMk id="58" creationId="{EC34C8C1-9407-6B4F-EB6A-AE9522AED928}"/>
          </ac:spMkLst>
        </pc:spChg>
        <pc:spChg chg="add del mod replST">
          <ac:chgData name="Wenwen Zhang" userId="9dd81366-5d6f-445a-b031-6ea562624431" providerId="ADAL" clId="{1012AE1A-29B0-4E90-8835-842C30BC7D2A}" dt="2023-01-04T22:46:32.121" v="39579"/>
          <ac:spMkLst>
            <pc:docMk/>
            <pc:sldMk cId="1589772229" sldId="2134804370"/>
            <ac:spMk id="59" creationId="{519AA09B-A650-8506-9C71-19735164D898}"/>
          </ac:spMkLst>
        </pc:spChg>
        <pc:spChg chg="add del mod modVis">
          <ac:chgData name="Wenwen Zhang" userId="9dd81366-5d6f-445a-b031-6ea562624431" providerId="ADAL" clId="{1012AE1A-29B0-4E90-8835-842C30BC7D2A}" dt="2023-01-04T22:30:59.440" v="26777"/>
          <ac:spMkLst>
            <pc:docMk/>
            <pc:sldMk cId="1589772229" sldId="2134804370"/>
            <ac:spMk id="60" creationId="{8313C5F6-3C0F-0E19-4388-24484277E999}"/>
          </ac:spMkLst>
        </pc:spChg>
        <pc:spChg chg="add del mod modVis">
          <ac:chgData name="Wenwen Zhang" userId="9dd81366-5d6f-445a-b031-6ea562624431" providerId="ADAL" clId="{1012AE1A-29B0-4E90-8835-842C30BC7D2A}" dt="2023-01-04T22:30:59.994" v="27391"/>
          <ac:spMkLst>
            <pc:docMk/>
            <pc:sldMk cId="1589772229" sldId="2134804370"/>
            <ac:spMk id="62" creationId="{D804A833-B813-EFB1-7874-B1225B395095}"/>
          </ac:spMkLst>
        </pc:spChg>
        <pc:spChg chg="add del mod modVis">
          <ac:chgData name="Wenwen Zhang" userId="9dd81366-5d6f-445a-b031-6ea562624431" providerId="ADAL" clId="{1012AE1A-29B0-4E90-8835-842C30BC7D2A}" dt="2023-01-04T22:31:02.084" v="28142"/>
          <ac:spMkLst>
            <pc:docMk/>
            <pc:sldMk cId="1589772229" sldId="2134804370"/>
            <ac:spMk id="64" creationId="{D08749CE-FFC2-F126-85A4-1040DA5FF9E1}"/>
          </ac:spMkLst>
        </pc:spChg>
        <pc:spChg chg="add del mod ord replST">
          <ac:chgData name="Wenwen Zhang" userId="9dd81366-5d6f-445a-b031-6ea562624431" providerId="ADAL" clId="{1012AE1A-29B0-4E90-8835-842C30BC7D2A}" dt="2023-01-04T22:34:07.101" v="32573"/>
          <ac:spMkLst>
            <pc:docMk/>
            <pc:sldMk cId="1589772229" sldId="2134804370"/>
            <ac:spMk id="68" creationId="{96DB64E7-7450-5BAA-7DCA-6F75AE12EF02}"/>
          </ac:spMkLst>
        </pc:spChg>
        <pc:spChg chg="add del mod modVis">
          <ac:chgData name="Wenwen Zhang" userId="9dd81366-5d6f-445a-b031-6ea562624431" providerId="ADAL" clId="{1012AE1A-29B0-4E90-8835-842C30BC7D2A}" dt="2023-01-04T22:33:22.126" v="28856"/>
          <ac:spMkLst>
            <pc:docMk/>
            <pc:sldMk cId="1589772229" sldId="2134804370"/>
            <ac:spMk id="72" creationId="{BEC7DD16-2E05-926F-6C6C-C14D173A74F1}"/>
          </ac:spMkLst>
        </pc:spChg>
        <pc:spChg chg="add del mod modVis">
          <ac:chgData name="Wenwen Zhang" userId="9dd81366-5d6f-445a-b031-6ea562624431" providerId="ADAL" clId="{1012AE1A-29B0-4E90-8835-842C30BC7D2A}" dt="2023-01-04T22:33:29.700" v="30295"/>
          <ac:spMkLst>
            <pc:docMk/>
            <pc:sldMk cId="1589772229" sldId="2134804370"/>
            <ac:spMk id="74" creationId="{8F063FE4-8080-2C0E-BB40-A106111B4BD2}"/>
          </ac:spMkLst>
        </pc:spChg>
        <pc:spChg chg="add del mod modVis">
          <ac:chgData name="Wenwen Zhang" userId="9dd81366-5d6f-445a-b031-6ea562624431" providerId="ADAL" clId="{1012AE1A-29B0-4E90-8835-842C30BC7D2A}" dt="2023-01-04T22:33:46.487" v="30974"/>
          <ac:spMkLst>
            <pc:docMk/>
            <pc:sldMk cId="1589772229" sldId="2134804370"/>
            <ac:spMk id="76" creationId="{12392F9C-8AB9-969B-8AB2-AC80D37046B0}"/>
          </ac:spMkLst>
        </pc:spChg>
        <pc:spChg chg="add del mod modVis">
          <ac:chgData name="Wenwen Zhang" userId="9dd81366-5d6f-445a-b031-6ea562624431" providerId="ADAL" clId="{1012AE1A-29B0-4E90-8835-842C30BC7D2A}" dt="2023-01-04T22:34:07.168" v="32749"/>
          <ac:spMkLst>
            <pc:docMk/>
            <pc:sldMk cId="1589772229" sldId="2134804370"/>
            <ac:spMk id="78" creationId="{0B676D33-BFB4-4C1D-FF6E-26ADE6409D04}"/>
          </ac:spMkLst>
        </pc:spChg>
        <pc:spChg chg="add del mod modVis">
          <ac:chgData name="Wenwen Zhang" userId="9dd81366-5d6f-445a-b031-6ea562624431" providerId="ADAL" clId="{1012AE1A-29B0-4E90-8835-842C30BC7D2A}" dt="2023-01-04T22:42:06.377" v="35203"/>
          <ac:spMkLst>
            <pc:docMk/>
            <pc:sldMk cId="1589772229" sldId="2134804370"/>
            <ac:spMk id="105" creationId="{0F2BBAA5-D124-F197-9A63-A9D3EC4BDB7E}"/>
          </ac:spMkLst>
        </pc:spChg>
        <pc:spChg chg="add del mod replST">
          <ac:chgData name="Wenwen Zhang" userId="9dd81366-5d6f-445a-b031-6ea562624431" providerId="ADAL" clId="{1012AE1A-29B0-4E90-8835-842C30BC7D2A}" dt="2023-01-04T22:53:30.747" v="52837"/>
          <ac:spMkLst>
            <pc:docMk/>
            <pc:sldMk cId="1589772229" sldId="2134804370"/>
            <ac:spMk id="106" creationId="{96DB64E7-7450-5BAA-7DCA-6F75AE12EF02}"/>
          </ac:spMkLst>
        </pc:spChg>
        <pc:spChg chg="add del mod replST">
          <ac:chgData name="Wenwen Zhang" userId="9dd81366-5d6f-445a-b031-6ea562624431" providerId="ADAL" clId="{1012AE1A-29B0-4E90-8835-842C30BC7D2A}" dt="2023-01-04T22:42:14.093" v="35328"/>
          <ac:spMkLst>
            <pc:docMk/>
            <pc:sldMk cId="1589772229" sldId="2134804370"/>
            <ac:spMk id="107" creationId="{96DB64E7-7450-5BAA-7DCA-6F75AE12EF02}"/>
          </ac:spMkLst>
        </pc:spChg>
        <pc:spChg chg="add del mod replST">
          <ac:chgData name="Wenwen Zhang" userId="9dd81366-5d6f-445a-b031-6ea562624431" providerId="ADAL" clId="{1012AE1A-29B0-4E90-8835-842C30BC7D2A}" dt="2023-01-04T22:53:30.748" v="52840"/>
          <ac:spMkLst>
            <pc:docMk/>
            <pc:sldMk cId="1589772229" sldId="2134804370"/>
            <ac:spMk id="108" creationId="{96DB64E7-7450-5BAA-7DCA-6F75AE12EF02}"/>
          </ac:spMkLst>
        </pc:spChg>
        <pc:spChg chg="add del mod replST">
          <ac:chgData name="Wenwen Zhang" userId="9dd81366-5d6f-445a-b031-6ea562624431" providerId="ADAL" clId="{1012AE1A-29B0-4E90-8835-842C30BC7D2A}" dt="2023-01-05T15:00:39.500" v="94104"/>
          <ac:spMkLst>
            <pc:docMk/>
            <pc:sldMk cId="1589772229" sldId="2134804370"/>
            <ac:spMk id="109" creationId="{96DB64E7-7450-5BAA-7DCA-6F75AE12EF02}"/>
          </ac:spMkLst>
        </pc:spChg>
        <pc:spChg chg="add del mod replST">
          <ac:chgData name="Wenwen Zhang" userId="9dd81366-5d6f-445a-b031-6ea562624431" providerId="ADAL" clId="{1012AE1A-29B0-4E90-8835-842C30BC7D2A}" dt="2023-01-04T22:46:56.508" v="42623"/>
          <ac:spMkLst>
            <pc:docMk/>
            <pc:sldMk cId="1589772229" sldId="2134804370"/>
            <ac:spMk id="110" creationId="{96DB64E7-7450-5BAA-7DCA-6F75AE12EF02}"/>
          </ac:spMkLst>
        </pc:spChg>
        <pc:spChg chg="add del mod replST">
          <ac:chgData name="Wenwen Zhang" userId="9dd81366-5d6f-445a-b031-6ea562624431" providerId="ADAL" clId="{1012AE1A-29B0-4E90-8835-842C30BC7D2A}" dt="2023-01-04T22:46:56.504" v="42621"/>
          <ac:spMkLst>
            <pc:docMk/>
            <pc:sldMk cId="1589772229" sldId="2134804370"/>
            <ac:spMk id="111" creationId="{96DB64E7-7450-5BAA-7DCA-6F75AE12EF02}"/>
          </ac:spMkLst>
        </pc:spChg>
        <pc:spChg chg="add del mod replST">
          <ac:chgData name="Wenwen Zhang" userId="9dd81366-5d6f-445a-b031-6ea562624431" providerId="ADAL" clId="{1012AE1A-29B0-4E90-8835-842C30BC7D2A}" dt="2023-01-04T22:42:14.199" v="35422"/>
          <ac:spMkLst>
            <pc:docMk/>
            <pc:sldMk cId="1589772229" sldId="2134804370"/>
            <ac:spMk id="112" creationId="{96DB64E7-7450-5BAA-7DCA-6F75AE12EF02}"/>
          </ac:spMkLst>
        </pc:spChg>
        <pc:spChg chg="add del mod replST">
          <ac:chgData name="Wenwen Zhang" userId="9dd81366-5d6f-445a-b031-6ea562624431" providerId="ADAL" clId="{1012AE1A-29B0-4E90-8835-842C30BC7D2A}" dt="2023-01-04T22:42:14.199" v="35423"/>
          <ac:spMkLst>
            <pc:docMk/>
            <pc:sldMk cId="1589772229" sldId="2134804370"/>
            <ac:spMk id="113" creationId="{96DB64E7-7450-5BAA-7DCA-6F75AE12EF02}"/>
          </ac:spMkLst>
        </pc:spChg>
        <pc:spChg chg="add del mod replST">
          <ac:chgData name="Wenwen Zhang" userId="9dd81366-5d6f-445a-b031-6ea562624431" providerId="ADAL" clId="{1012AE1A-29B0-4E90-8835-842C30BC7D2A}" dt="2023-01-04T22:42:14.199" v="35424"/>
          <ac:spMkLst>
            <pc:docMk/>
            <pc:sldMk cId="1589772229" sldId="2134804370"/>
            <ac:spMk id="114" creationId="{96DB64E7-7450-5BAA-7DCA-6F75AE12EF02}"/>
          </ac:spMkLst>
        </pc:spChg>
        <pc:spChg chg="add del mod replST">
          <ac:chgData name="Wenwen Zhang" userId="9dd81366-5d6f-445a-b031-6ea562624431" providerId="ADAL" clId="{1012AE1A-29B0-4E90-8835-842C30BC7D2A}" dt="2023-01-04T22:42:14.090" v="35327"/>
          <ac:spMkLst>
            <pc:docMk/>
            <pc:sldMk cId="1589772229" sldId="2134804370"/>
            <ac:spMk id="117" creationId="{072AD164-2714-BC4E-4C59-CBA9D3DBA2CC}"/>
          </ac:spMkLst>
        </pc:spChg>
        <pc:spChg chg="add del mod ord replST">
          <ac:chgData name="Wenwen Zhang" userId="9dd81366-5d6f-445a-b031-6ea562624431" providerId="ADAL" clId="{1012AE1A-29B0-4E90-8835-842C30BC7D2A}" dt="2023-01-04T22:53:30.748" v="52839"/>
          <ac:spMkLst>
            <pc:docMk/>
            <pc:sldMk cId="1589772229" sldId="2134804370"/>
            <ac:spMk id="118" creationId="{883B66AF-281D-33DD-1EA4-2C82EF4650A6}"/>
          </ac:spMkLst>
        </pc:spChg>
        <pc:spChg chg="add del mod modVis">
          <ac:chgData name="Wenwen Zhang" userId="9dd81366-5d6f-445a-b031-6ea562624431" providerId="ADAL" clId="{1012AE1A-29B0-4E90-8835-842C30BC7D2A}" dt="2023-01-04T22:42:11.366" v="35324"/>
          <ac:spMkLst>
            <pc:docMk/>
            <pc:sldMk cId="1589772229" sldId="2134804370"/>
            <ac:spMk id="119" creationId="{A303D535-AFC7-C1BF-3142-2A2B7D95865D}"/>
          </ac:spMkLst>
        </pc:spChg>
        <pc:spChg chg="add del mod modVis">
          <ac:chgData name="Wenwen Zhang" userId="9dd81366-5d6f-445a-b031-6ea562624431" providerId="ADAL" clId="{1012AE1A-29B0-4E90-8835-842C30BC7D2A}" dt="2023-01-04T22:42:14.249" v="35484"/>
          <ac:spMkLst>
            <pc:docMk/>
            <pc:sldMk cId="1589772229" sldId="2134804370"/>
            <ac:spMk id="121" creationId="{EE35014B-1307-BC80-8696-ED3C478E4B5C}"/>
          </ac:spMkLst>
        </pc:spChg>
        <pc:spChg chg="add del mod replST">
          <ac:chgData name="Wenwen Zhang" userId="9dd81366-5d6f-445a-b031-6ea562624431" providerId="ADAL" clId="{1012AE1A-29B0-4E90-8835-842C30BC7D2A}" dt="2023-01-04T22:46:56.508" v="42622"/>
          <ac:spMkLst>
            <pc:docMk/>
            <pc:sldMk cId="1589772229" sldId="2134804370"/>
            <ac:spMk id="123" creationId="{D669E9F7-17BE-DDA5-54E8-4F83DA438A69}"/>
          </ac:spMkLst>
        </pc:spChg>
        <pc:spChg chg="add del mod replST">
          <ac:chgData name="Wenwen Zhang" userId="9dd81366-5d6f-445a-b031-6ea562624431" providerId="ADAL" clId="{1012AE1A-29B0-4E90-8835-842C30BC7D2A}" dt="2023-01-04T22:47:00.180" v="43084"/>
          <ac:spMkLst>
            <pc:docMk/>
            <pc:sldMk cId="1589772229" sldId="2134804370"/>
            <ac:spMk id="124" creationId="{29C42530-0636-828A-9977-AD21F183E971}"/>
          </ac:spMkLst>
        </pc:spChg>
        <pc:spChg chg="add del mod replST">
          <ac:chgData name="Wenwen Zhang" userId="9dd81366-5d6f-445a-b031-6ea562624431" providerId="ADAL" clId="{1012AE1A-29B0-4E90-8835-842C30BC7D2A}" dt="2023-01-04T22:47:01.469" v="43215"/>
          <ac:spMkLst>
            <pc:docMk/>
            <pc:sldMk cId="1589772229" sldId="2134804370"/>
            <ac:spMk id="125" creationId="{79A392E4-4519-E144-D29C-81137AFEF76E}"/>
          </ac:spMkLst>
        </pc:spChg>
        <pc:spChg chg="add del mod replST">
          <ac:chgData name="Wenwen Zhang" userId="9dd81366-5d6f-445a-b031-6ea562624431" providerId="ADAL" clId="{1012AE1A-29B0-4E90-8835-842C30BC7D2A}" dt="2023-01-05T15:00:39.501" v="94105"/>
          <ac:spMkLst>
            <pc:docMk/>
            <pc:sldMk cId="1589772229" sldId="2134804370"/>
            <ac:spMk id="126" creationId="{C126D0D0-FFF0-E389-E192-C5475796221F}"/>
          </ac:spMkLst>
        </pc:spChg>
        <pc:spChg chg="add del mod replST">
          <ac:chgData name="Wenwen Zhang" userId="9dd81366-5d6f-445a-b031-6ea562624431" providerId="ADAL" clId="{1012AE1A-29B0-4E90-8835-842C30BC7D2A}" dt="2023-01-04T22:47:05.898" v="43409"/>
          <ac:spMkLst>
            <pc:docMk/>
            <pc:sldMk cId="1589772229" sldId="2134804370"/>
            <ac:spMk id="127" creationId="{9A939FC5-9764-B8C8-2080-F24D672188F5}"/>
          </ac:spMkLst>
        </pc:spChg>
        <pc:spChg chg="add del mod replST">
          <ac:chgData name="Wenwen Zhang" userId="9dd81366-5d6f-445a-b031-6ea562624431" providerId="ADAL" clId="{1012AE1A-29B0-4E90-8835-842C30BC7D2A}" dt="2023-01-04T22:47:05.895" v="43407"/>
          <ac:spMkLst>
            <pc:docMk/>
            <pc:sldMk cId="1589772229" sldId="2134804370"/>
            <ac:spMk id="128" creationId="{D840611F-6A2D-B033-1DA8-C64E5A0F6123}"/>
          </ac:spMkLst>
        </pc:spChg>
        <pc:spChg chg="add del mod replST">
          <ac:chgData name="Wenwen Zhang" userId="9dd81366-5d6f-445a-b031-6ea562624431" providerId="ADAL" clId="{1012AE1A-29B0-4E90-8835-842C30BC7D2A}" dt="2023-01-04T22:47:05.897" v="43408"/>
          <ac:spMkLst>
            <pc:docMk/>
            <pc:sldMk cId="1589772229" sldId="2134804370"/>
            <ac:spMk id="129" creationId="{DD032FAB-1E1D-3089-D8BD-118A514AC390}"/>
          </ac:spMkLst>
        </pc:spChg>
        <pc:spChg chg="add del mod replST">
          <ac:chgData name="Wenwen Zhang" userId="9dd81366-5d6f-445a-b031-6ea562624431" providerId="ADAL" clId="{1012AE1A-29B0-4E90-8835-842C30BC7D2A}" dt="2023-01-04T22:47:08.414" v="43595"/>
          <ac:spMkLst>
            <pc:docMk/>
            <pc:sldMk cId="1589772229" sldId="2134804370"/>
            <ac:spMk id="130" creationId="{B9266ABF-DBBB-ADB7-5E62-A20B444DE663}"/>
          </ac:spMkLst>
        </pc:spChg>
        <pc:spChg chg="add del mod replST">
          <ac:chgData name="Wenwen Zhang" userId="9dd81366-5d6f-445a-b031-6ea562624431" providerId="ADAL" clId="{1012AE1A-29B0-4E90-8835-842C30BC7D2A}" dt="2023-01-04T22:47:10.057" v="43779"/>
          <ac:spMkLst>
            <pc:docMk/>
            <pc:sldMk cId="1589772229" sldId="2134804370"/>
            <ac:spMk id="131" creationId="{90B27B73-779B-2691-9F8C-0C7C52A4C327}"/>
          </ac:spMkLst>
        </pc:spChg>
        <pc:spChg chg="add del mod replST">
          <ac:chgData name="Wenwen Zhang" userId="9dd81366-5d6f-445a-b031-6ea562624431" providerId="ADAL" clId="{1012AE1A-29B0-4E90-8835-842C30BC7D2A}" dt="2023-01-05T15:00:39.501" v="94106"/>
          <ac:spMkLst>
            <pc:docMk/>
            <pc:sldMk cId="1589772229" sldId="2134804370"/>
            <ac:spMk id="132" creationId="{A337B2FA-3723-3690-C7A6-600497D3697A}"/>
          </ac:spMkLst>
        </pc:spChg>
        <pc:spChg chg="add del mod replST">
          <ac:chgData name="Wenwen Zhang" userId="9dd81366-5d6f-445a-b031-6ea562624431" providerId="ADAL" clId="{1012AE1A-29B0-4E90-8835-842C30BC7D2A}" dt="2023-01-04T22:47:15.429" v="43963"/>
          <ac:spMkLst>
            <pc:docMk/>
            <pc:sldMk cId="1589772229" sldId="2134804370"/>
            <ac:spMk id="133" creationId="{89D991FE-B341-2B67-8CF1-A0E22898417D}"/>
          </ac:spMkLst>
        </pc:spChg>
        <pc:spChg chg="add del mod replST">
          <ac:chgData name="Wenwen Zhang" userId="9dd81366-5d6f-445a-b031-6ea562624431" providerId="ADAL" clId="{1012AE1A-29B0-4E90-8835-842C30BC7D2A}" dt="2023-01-04T22:47:15.425" v="43961"/>
          <ac:spMkLst>
            <pc:docMk/>
            <pc:sldMk cId="1589772229" sldId="2134804370"/>
            <ac:spMk id="134" creationId="{0BC91C50-4D43-9DAF-C8AF-92D095CA0690}"/>
          </ac:spMkLst>
        </pc:spChg>
        <pc:spChg chg="add del mod replST">
          <ac:chgData name="Wenwen Zhang" userId="9dd81366-5d6f-445a-b031-6ea562624431" providerId="ADAL" clId="{1012AE1A-29B0-4E90-8835-842C30BC7D2A}" dt="2023-01-04T22:47:15.429" v="43962"/>
          <ac:spMkLst>
            <pc:docMk/>
            <pc:sldMk cId="1589772229" sldId="2134804370"/>
            <ac:spMk id="135" creationId="{F50D6EBA-EC03-F39D-7CD4-468798285BCA}"/>
          </ac:spMkLst>
        </pc:spChg>
        <pc:spChg chg="add del mod replST">
          <ac:chgData name="Wenwen Zhang" userId="9dd81366-5d6f-445a-b031-6ea562624431" providerId="ADAL" clId="{1012AE1A-29B0-4E90-8835-842C30BC7D2A}" dt="2023-01-04T22:47:25.565" v="44390"/>
          <ac:spMkLst>
            <pc:docMk/>
            <pc:sldMk cId="1589772229" sldId="2134804370"/>
            <ac:spMk id="136" creationId="{ECE13A74-F1B1-8E96-B584-8C31FE13EE4B}"/>
          </ac:spMkLst>
        </pc:spChg>
        <pc:spChg chg="add del mod replST">
          <ac:chgData name="Wenwen Zhang" userId="9dd81366-5d6f-445a-b031-6ea562624431" providerId="ADAL" clId="{1012AE1A-29B0-4E90-8835-842C30BC7D2A}" dt="2023-01-04T22:47:27.288" v="44495"/>
          <ac:spMkLst>
            <pc:docMk/>
            <pc:sldMk cId="1589772229" sldId="2134804370"/>
            <ac:spMk id="137" creationId="{F1817D24-87E3-922A-976F-891DD04FC269}"/>
          </ac:spMkLst>
        </pc:spChg>
        <pc:spChg chg="add del mod replST">
          <ac:chgData name="Wenwen Zhang" userId="9dd81366-5d6f-445a-b031-6ea562624431" providerId="ADAL" clId="{1012AE1A-29B0-4E90-8835-842C30BC7D2A}" dt="2023-01-05T15:00:39.500" v="94103"/>
          <ac:spMkLst>
            <pc:docMk/>
            <pc:sldMk cId="1589772229" sldId="2134804370"/>
            <ac:spMk id="138" creationId="{B3F1EBFC-BB6B-ACC4-0051-F32564C61AA5}"/>
          </ac:spMkLst>
        </pc:spChg>
        <pc:spChg chg="add del mod replST">
          <ac:chgData name="Wenwen Zhang" userId="9dd81366-5d6f-445a-b031-6ea562624431" providerId="ADAL" clId="{1012AE1A-29B0-4E90-8835-842C30BC7D2A}" dt="2023-01-04T22:47:41.920" v="44835"/>
          <ac:spMkLst>
            <pc:docMk/>
            <pc:sldMk cId="1589772229" sldId="2134804370"/>
            <ac:spMk id="139" creationId="{220B693D-78F2-E57E-6CD4-4E967CFE8E8C}"/>
          </ac:spMkLst>
        </pc:spChg>
        <pc:spChg chg="add del mod replST">
          <ac:chgData name="Wenwen Zhang" userId="9dd81366-5d6f-445a-b031-6ea562624431" providerId="ADAL" clId="{1012AE1A-29B0-4E90-8835-842C30BC7D2A}" dt="2023-01-04T22:47:33.244" v="44668"/>
          <ac:spMkLst>
            <pc:docMk/>
            <pc:sldMk cId="1589772229" sldId="2134804370"/>
            <ac:spMk id="140" creationId="{540F89B3-8DC6-CC15-C83A-42EF88B8A0ED}"/>
          </ac:spMkLst>
        </pc:spChg>
        <pc:spChg chg="add del mod replST">
          <ac:chgData name="Wenwen Zhang" userId="9dd81366-5d6f-445a-b031-6ea562624431" providerId="ADAL" clId="{1012AE1A-29B0-4E90-8835-842C30BC7D2A}" dt="2023-01-04T22:47:33.245" v="44669"/>
          <ac:spMkLst>
            <pc:docMk/>
            <pc:sldMk cId="1589772229" sldId="2134804370"/>
            <ac:spMk id="141" creationId="{A3F8EC16-536B-ACE6-1C3C-378CBA40FAB5}"/>
          </ac:spMkLst>
        </pc:spChg>
        <pc:spChg chg="add del mod replST">
          <ac:chgData name="Wenwen Zhang" userId="9dd81366-5d6f-445a-b031-6ea562624431" providerId="ADAL" clId="{1012AE1A-29B0-4E90-8835-842C30BC7D2A}" dt="2023-01-04T22:47:33.242" v="44667"/>
          <ac:spMkLst>
            <pc:docMk/>
            <pc:sldMk cId="1589772229" sldId="2134804370"/>
            <ac:spMk id="142" creationId="{D7C39B22-5BF1-106F-48D3-486696E7B329}"/>
          </ac:spMkLst>
        </pc:spChg>
        <pc:spChg chg="add del mod replST">
          <ac:chgData name="Wenwen Zhang" userId="9dd81366-5d6f-445a-b031-6ea562624431" providerId="ADAL" clId="{1012AE1A-29B0-4E90-8835-842C30BC7D2A}" dt="2023-01-04T22:47:47.383" v="45242"/>
          <ac:spMkLst>
            <pc:docMk/>
            <pc:sldMk cId="1589772229" sldId="2134804370"/>
            <ac:spMk id="143" creationId="{37E414A3-F86D-66E1-DECD-6A7D5CE378D5}"/>
          </ac:spMkLst>
        </pc:spChg>
        <pc:spChg chg="add del mod replST">
          <ac:chgData name="Wenwen Zhang" userId="9dd81366-5d6f-445a-b031-6ea562624431" providerId="ADAL" clId="{1012AE1A-29B0-4E90-8835-842C30BC7D2A}" dt="2023-01-05T15:00:39.501" v="94107"/>
          <ac:spMkLst>
            <pc:docMk/>
            <pc:sldMk cId="1589772229" sldId="2134804370"/>
            <ac:spMk id="144" creationId="{38317881-E68D-739C-28AF-C828F889FF42}"/>
          </ac:spMkLst>
        </pc:spChg>
        <pc:spChg chg="add del mod replST">
          <ac:chgData name="Wenwen Zhang" userId="9dd81366-5d6f-445a-b031-6ea562624431" providerId="ADAL" clId="{1012AE1A-29B0-4E90-8835-842C30BC7D2A}" dt="2023-01-04T22:47:50.972" v="45659"/>
          <ac:spMkLst>
            <pc:docMk/>
            <pc:sldMk cId="1589772229" sldId="2134804370"/>
            <ac:spMk id="145" creationId="{F4A4030B-6B65-9F74-FAC5-74A1AD858C7D}"/>
          </ac:spMkLst>
        </pc:spChg>
        <pc:spChg chg="add del mod replST">
          <ac:chgData name="Wenwen Zhang" userId="9dd81366-5d6f-445a-b031-6ea562624431" providerId="ADAL" clId="{1012AE1A-29B0-4E90-8835-842C30BC7D2A}" dt="2023-01-04T22:47:50.777" v="45575"/>
          <ac:spMkLst>
            <pc:docMk/>
            <pc:sldMk cId="1589772229" sldId="2134804370"/>
            <ac:spMk id="146" creationId="{032FA17F-9EBA-DDB6-B2D9-BD5CAFA074C7}"/>
          </ac:spMkLst>
        </pc:spChg>
        <pc:spChg chg="add del mod replST">
          <ac:chgData name="Wenwen Zhang" userId="9dd81366-5d6f-445a-b031-6ea562624431" providerId="ADAL" clId="{1012AE1A-29B0-4E90-8835-842C30BC7D2A}" dt="2023-01-04T22:47:57.024" v="46374"/>
          <ac:spMkLst>
            <pc:docMk/>
            <pc:sldMk cId="1589772229" sldId="2134804370"/>
            <ac:spMk id="147" creationId="{FE0E7E55-6920-139C-DB18-D01A6051E0F6}"/>
          </ac:spMkLst>
        </pc:spChg>
        <pc:spChg chg="add del mod replST">
          <ac:chgData name="Wenwen Zhang" userId="9dd81366-5d6f-445a-b031-6ea562624431" providerId="ADAL" clId="{1012AE1A-29B0-4E90-8835-842C30BC7D2A}" dt="2023-01-04T22:47:55.052" v="46057"/>
          <ac:spMkLst>
            <pc:docMk/>
            <pc:sldMk cId="1589772229" sldId="2134804370"/>
            <ac:spMk id="148" creationId="{9502ADCC-41F6-8097-D915-5E4F227CAB80}"/>
          </ac:spMkLst>
        </pc:spChg>
        <pc:spChg chg="add del mod replST">
          <ac:chgData name="Wenwen Zhang" userId="9dd81366-5d6f-445a-b031-6ea562624431" providerId="ADAL" clId="{1012AE1A-29B0-4E90-8835-842C30BC7D2A}" dt="2023-01-04T22:47:59.377" v="46689"/>
          <ac:spMkLst>
            <pc:docMk/>
            <pc:sldMk cId="1589772229" sldId="2134804370"/>
            <ac:spMk id="149" creationId="{6550208D-FBC3-9EF6-2D97-BE84EAA675E5}"/>
          </ac:spMkLst>
        </pc:spChg>
        <pc:spChg chg="add del mod replST">
          <ac:chgData name="Wenwen Zhang" userId="9dd81366-5d6f-445a-b031-6ea562624431" providerId="ADAL" clId="{1012AE1A-29B0-4E90-8835-842C30BC7D2A}" dt="2023-01-05T15:00:39.502" v="94108"/>
          <ac:spMkLst>
            <pc:docMk/>
            <pc:sldMk cId="1589772229" sldId="2134804370"/>
            <ac:spMk id="150" creationId="{6931CC15-24F8-DA50-2B45-E1ECF1225A9C}"/>
          </ac:spMkLst>
        </pc:spChg>
        <pc:spChg chg="add del mod replST">
          <ac:chgData name="Wenwen Zhang" userId="9dd81366-5d6f-445a-b031-6ea562624431" providerId="ADAL" clId="{1012AE1A-29B0-4E90-8835-842C30BC7D2A}" dt="2023-01-04T22:48:02.921" v="46767"/>
          <ac:spMkLst>
            <pc:docMk/>
            <pc:sldMk cId="1589772229" sldId="2134804370"/>
            <ac:spMk id="151" creationId="{3CB5095D-4AD7-C64E-90B5-FA6D64D76B17}"/>
          </ac:spMkLst>
        </pc:spChg>
        <pc:spChg chg="add del mod replST">
          <ac:chgData name="Wenwen Zhang" userId="9dd81366-5d6f-445a-b031-6ea562624431" providerId="ADAL" clId="{1012AE1A-29B0-4E90-8835-842C30BC7D2A}" dt="2023-01-04T22:48:02.915" v="46765"/>
          <ac:spMkLst>
            <pc:docMk/>
            <pc:sldMk cId="1589772229" sldId="2134804370"/>
            <ac:spMk id="152" creationId="{F236D33B-3BFE-8E7C-034E-9B9BE7AD8F3A}"/>
          </ac:spMkLst>
        </pc:spChg>
        <pc:spChg chg="add del mod replST">
          <ac:chgData name="Wenwen Zhang" userId="9dd81366-5d6f-445a-b031-6ea562624431" providerId="ADAL" clId="{1012AE1A-29B0-4E90-8835-842C30BC7D2A}" dt="2023-01-04T22:48:02.921" v="46766"/>
          <ac:spMkLst>
            <pc:docMk/>
            <pc:sldMk cId="1589772229" sldId="2134804370"/>
            <ac:spMk id="153" creationId="{E6DD75B1-4BBF-77E8-4576-C06D8501737E}"/>
          </ac:spMkLst>
        </pc:spChg>
        <pc:spChg chg="add del mod replST">
          <ac:chgData name="Wenwen Zhang" userId="9dd81366-5d6f-445a-b031-6ea562624431" providerId="ADAL" clId="{1012AE1A-29B0-4E90-8835-842C30BC7D2A}" dt="2023-01-04T22:48:05.260" v="46913"/>
          <ac:spMkLst>
            <pc:docMk/>
            <pc:sldMk cId="1589772229" sldId="2134804370"/>
            <ac:spMk id="154" creationId="{34B50216-1F11-FA06-435B-9CD64C69F215}"/>
          </ac:spMkLst>
        </pc:spChg>
        <pc:spChg chg="add del mod replST">
          <ac:chgData name="Wenwen Zhang" userId="9dd81366-5d6f-445a-b031-6ea562624431" providerId="ADAL" clId="{1012AE1A-29B0-4E90-8835-842C30BC7D2A}" dt="2023-01-05T00:37:44.837" v="66389"/>
          <ac:spMkLst>
            <pc:docMk/>
            <pc:sldMk cId="1589772229" sldId="2134804370"/>
            <ac:spMk id="155" creationId="{BF7A6F09-55FF-29D0-D098-AD0C8D8AE4FF}"/>
          </ac:spMkLst>
        </pc:spChg>
        <pc:spChg chg="add del mod modVis">
          <ac:chgData name="Wenwen Zhang" userId="9dd81366-5d6f-445a-b031-6ea562624431" providerId="ADAL" clId="{1012AE1A-29B0-4E90-8835-842C30BC7D2A}" dt="2023-01-04T22:42:29.627" v="36518"/>
          <ac:spMkLst>
            <pc:docMk/>
            <pc:sldMk cId="1589772229" sldId="2134804370"/>
            <ac:spMk id="156" creationId="{2D4DD532-BDA9-B1E3-F75F-C1B5CD2281C4}"/>
          </ac:spMkLst>
        </pc:spChg>
        <pc:spChg chg="add del mod ord replST">
          <ac:chgData name="Wenwen Zhang" userId="9dd81366-5d6f-445a-b031-6ea562624431" providerId="ADAL" clId="{1012AE1A-29B0-4E90-8835-842C30BC7D2A}" dt="2023-01-04T22:42:44.353" v="37164"/>
          <ac:spMkLst>
            <pc:docMk/>
            <pc:sldMk cId="1589772229" sldId="2134804370"/>
            <ac:spMk id="157" creationId="{96DB64E7-7450-5BAA-7DCA-6F75AE12EF02}"/>
          </ac:spMkLst>
        </pc:spChg>
        <pc:spChg chg="add del mod modVis">
          <ac:chgData name="Wenwen Zhang" userId="9dd81366-5d6f-445a-b031-6ea562624431" providerId="ADAL" clId="{1012AE1A-29B0-4E90-8835-842C30BC7D2A}" dt="2023-01-04T22:42:44.628" v="37630"/>
          <ac:spMkLst>
            <pc:docMk/>
            <pc:sldMk cId="1589772229" sldId="2134804370"/>
            <ac:spMk id="159" creationId="{8C1FF495-FAF1-59B4-8A93-F4DCF7877B5C}"/>
          </ac:spMkLst>
        </pc:spChg>
        <pc:spChg chg="add del mod ord replST">
          <ac:chgData name="Wenwen Zhang" userId="9dd81366-5d6f-445a-b031-6ea562624431" providerId="ADAL" clId="{1012AE1A-29B0-4E90-8835-842C30BC7D2A}" dt="2023-01-04T22:45:23.285" v="39100"/>
          <ac:spMkLst>
            <pc:docMk/>
            <pc:sldMk cId="1589772229" sldId="2134804370"/>
            <ac:spMk id="160" creationId="{96DB64E7-7450-5BAA-7DCA-6F75AE12EF02}"/>
          </ac:spMkLst>
        </pc:spChg>
        <pc:spChg chg="add del mod ord replST">
          <ac:chgData name="Wenwen Zhang" userId="9dd81366-5d6f-445a-b031-6ea562624431" providerId="ADAL" clId="{1012AE1A-29B0-4E90-8835-842C30BC7D2A}" dt="2023-01-04T22:52:24.738" v="48756"/>
          <ac:spMkLst>
            <pc:docMk/>
            <pc:sldMk cId="1589772229" sldId="2134804370"/>
            <ac:spMk id="161" creationId="{96DB64E7-7450-5BAA-7DCA-6F75AE12EF02}"/>
          </ac:spMkLst>
        </pc:spChg>
        <pc:spChg chg="add del mod ord replST">
          <ac:chgData name="Wenwen Zhang" userId="9dd81366-5d6f-445a-b031-6ea562624431" providerId="ADAL" clId="{1012AE1A-29B0-4E90-8835-842C30BC7D2A}" dt="2023-01-04T22:42:51.815" v="37821"/>
          <ac:spMkLst>
            <pc:docMk/>
            <pc:sldMk cId="1589772229" sldId="2134804370"/>
            <ac:spMk id="162" creationId="{96DB64E7-7450-5BAA-7DCA-6F75AE12EF02}"/>
          </ac:spMkLst>
        </pc:spChg>
        <pc:spChg chg="add del mod ord replST">
          <ac:chgData name="Wenwen Zhang" userId="9dd81366-5d6f-445a-b031-6ea562624431" providerId="ADAL" clId="{1012AE1A-29B0-4E90-8835-842C30BC7D2A}" dt="2023-01-04T22:42:51.823" v="37849"/>
          <ac:spMkLst>
            <pc:docMk/>
            <pc:sldMk cId="1589772229" sldId="2134804370"/>
            <ac:spMk id="163" creationId="{96DB64E7-7450-5BAA-7DCA-6F75AE12EF02}"/>
          </ac:spMkLst>
        </pc:spChg>
        <pc:spChg chg="add del mod ord replST">
          <ac:chgData name="Wenwen Zhang" userId="9dd81366-5d6f-445a-b031-6ea562624431" providerId="ADAL" clId="{1012AE1A-29B0-4E90-8835-842C30BC7D2A}" dt="2023-01-04T22:45:23.323" v="39200"/>
          <ac:spMkLst>
            <pc:docMk/>
            <pc:sldMk cId="1589772229" sldId="2134804370"/>
            <ac:spMk id="164" creationId="{96DB64E7-7450-5BAA-7DCA-6F75AE12EF02}"/>
          </ac:spMkLst>
        </pc:spChg>
        <pc:spChg chg="add del mod ord replST">
          <ac:chgData name="Wenwen Zhang" userId="9dd81366-5d6f-445a-b031-6ea562624431" providerId="ADAL" clId="{1012AE1A-29B0-4E90-8835-842C30BC7D2A}" dt="2023-01-04T22:45:23.326" v="39204"/>
          <ac:spMkLst>
            <pc:docMk/>
            <pc:sldMk cId="1589772229" sldId="2134804370"/>
            <ac:spMk id="165" creationId="{96DB64E7-7450-5BAA-7DCA-6F75AE12EF02}"/>
          </ac:spMkLst>
        </pc:spChg>
        <pc:spChg chg="add del mod ord replST">
          <ac:chgData name="Wenwen Zhang" userId="9dd81366-5d6f-445a-b031-6ea562624431" providerId="ADAL" clId="{1012AE1A-29B0-4E90-8835-842C30BC7D2A}" dt="2023-01-04T22:45:23.327" v="39208"/>
          <ac:spMkLst>
            <pc:docMk/>
            <pc:sldMk cId="1589772229" sldId="2134804370"/>
            <ac:spMk id="166" creationId="{96DB64E7-7450-5BAA-7DCA-6F75AE12EF02}"/>
          </ac:spMkLst>
        </pc:spChg>
        <pc:spChg chg="add del mod modVis">
          <ac:chgData name="Wenwen Zhang" userId="9dd81366-5d6f-445a-b031-6ea562624431" providerId="ADAL" clId="{1012AE1A-29B0-4E90-8835-842C30BC7D2A}" dt="2023-01-04T22:42:51.919" v="38072"/>
          <ac:spMkLst>
            <pc:docMk/>
            <pc:sldMk cId="1589772229" sldId="2134804370"/>
            <ac:spMk id="181" creationId="{8FDD61B3-BC3E-D40F-6F36-8E3A801F4DD3}"/>
          </ac:spMkLst>
        </pc:spChg>
        <pc:spChg chg="add del mod ord replST">
          <ac:chgData name="Wenwen Zhang" userId="9dd81366-5d6f-445a-b031-6ea562624431" providerId="ADAL" clId="{1012AE1A-29B0-4E90-8835-842C30BC7D2A}" dt="2023-01-04T22:45:23.374" v="39307"/>
          <ac:spMkLst>
            <pc:docMk/>
            <pc:sldMk cId="1589772229" sldId="2134804370"/>
            <ac:spMk id="182" creationId="{96DB64E7-7450-5BAA-7DCA-6F75AE12EF02}"/>
          </ac:spMkLst>
        </pc:spChg>
        <pc:spChg chg="add del mod modVis">
          <ac:chgData name="Wenwen Zhang" userId="9dd81366-5d6f-445a-b031-6ea562624431" providerId="ADAL" clId="{1012AE1A-29B0-4E90-8835-842C30BC7D2A}" dt="2023-01-04T22:45:23.476" v="39476"/>
          <ac:spMkLst>
            <pc:docMk/>
            <pc:sldMk cId="1589772229" sldId="2134804370"/>
            <ac:spMk id="184" creationId="{1A650F75-45B8-BF0B-36FC-CF149ABAF7ED}"/>
          </ac:spMkLst>
        </pc:spChg>
        <pc:spChg chg="add del mod ord replST">
          <ac:chgData name="Wenwen Zhang" userId="9dd81366-5d6f-445a-b031-6ea562624431" providerId="ADAL" clId="{1012AE1A-29B0-4E90-8835-842C30BC7D2A}" dt="2023-01-04T22:52:24.739" v="48760"/>
          <ac:spMkLst>
            <pc:docMk/>
            <pc:sldMk cId="1589772229" sldId="2134804370"/>
            <ac:spMk id="185" creationId="{96DB64E7-7450-5BAA-7DCA-6F75AE12EF02}"/>
          </ac:spMkLst>
        </pc:spChg>
        <pc:spChg chg="add del mod ord replST">
          <ac:chgData name="Wenwen Zhang" userId="9dd81366-5d6f-445a-b031-6ea562624431" providerId="ADAL" clId="{1012AE1A-29B0-4E90-8835-842C30BC7D2A}" dt="2023-01-04T22:52:24.741" v="48766"/>
          <ac:spMkLst>
            <pc:docMk/>
            <pc:sldMk cId="1589772229" sldId="2134804370"/>
            <ac:spMk id="186" creationId="{96DB64E7-7450-5BAA-7DCA-6F75AE12EF02}"/>
          </ac:spMkLst>
        </pc:spChg>
        <pc:spChg chg="add del mod ord replST">
          <ac:chgData name="Wenwen Zhang" userId="9dd81366-5d6f-445a-b031-6ea562624431" providerId="ADAL" clId="{1012AE1A-29B0-4E90-8835-842C30BC7D2A}" dt="2023-01-04T22:52:24.739" v="48758"/>
          <ac:spMkLst>
            <pc:docMk/>
            <pc:sldMk cId="1589772229" sldId="2134804370"/>
            <ac:spMk id="187" creationId="{96DB64E7-7450-5BAA-7DCA-6F75AE12EF02}"/>
          </ac:spMkLst>
        </pc:spChg>
        <pc:spChg chg="add del mod ord replST">
          <ac:chgData name="Wenwen Zhang" userId="9dd81366-5d6f-445a-b031-6ea562624431" providerId="ADAL" clId="{1012AE1A-29B0-4E90-8835-842C30BC7D2A}" dt="2023-01-04T22:52:24.742" v="48768"/>
          <ac:spMkLst>
            <pc:docMk/>
            <pc:sldMk cId="1589772229" sldId="2134804370"/>
            <ac:spMk id="188" creationId="{96DB64E7-7450-5BAA-7DCA-6F75AE12EF02}"/>
          </ac:spMkLst>
        </pc:spChg>
        <pc:spChg chg="add del mod ord replST">
          <ac:chgData name="Wenwen Zhang" userId="9dd81366-5d6f-445a-b031-6ea562624431" providerId="ADAL" clId="{1012AE1A-29B0-4E90-8835-842C30BC7D2A}" dt="2023-01-04T22:46:40.355" v="42322"/>
          <ac:spMkLst>
            <pc:docMk/>
            <pc:sldMk cId="1589772229" sldId="2134804370"/>
            <ac:spMk id="189" creationId="{96DB64E7-7450-5BAA-7DCA-6F75AE12EF02}"/>
          </ac:spMkLst>
        </pc:spChg>
        <pc:spChg chg="add del mod ord replST">
          <ac:chgData name="Wenwen Zhang" userId="9dd81366-5d6f-445a-b031-6ea562624431" providerId="ADAL" clId="{1012AE1A-29B0-4E90-8835-842C30BC7D2A}" dt="2023-01-04T22:52:24.743" v="48770"/>
          <ac:spMkLst>
            <pc:docMk/>
            <pc:sldMk cId="1589772229" sldId="2134804370"/>
            <ac:spMk id="190" creationId="{96DB64E7-7450-5BAA-7DCA-6F75AE12EF02}"/>
          </ac:spMkLst>
        </pc:spChg>
        <pc:spChg chg="add del mod ord replST">
          <ac:chgData name="Wenwen Zhang" userId="9dd81366-5d6f-445a-b031-6ea562624431" providerId="ADAL" clId="{1012AE1A-29B0-4E90-8835-842C30BC7D2A}" dt="2023-01-04T22:46:40.364" v="42350"/>
          <ac:spMkLst>
            <pc:docMk/>
            <pc:sldMk cId="1589772229" sldId="2134804370"/>
            <ac:spMk id="191" creationId="{96DB64E7-7450-5BAA-7DCA-6F75AE12EF02}"/>
          </ac:spMkLst>
        </pc:spChg>
        <pc:spChg chg="add del mod ord replST">
          <ac:chgData name="Wenwen Zhang" userId="9dd81366-5d6f-445a-b031-6ea562624431" providerId="ADAL" clId="{1012AE1A-29B0-4E90-8835-842C30BC7D2A}" dt="2023-01-04T22:52:24.740" v="48762"/>
          <ac:spMkLst>
            <pc:docMk/>
            <pc:sldMk cId="1589772229" sldId="2134804370"/>
            <ac:spMk id="192" creationId="{96DB64E7-7450-5BAA-7DCA-6F75AE12EF02}"/>
          </ac:spMkLst>
        </pc:spChg>
        <pc:spChg chg="add del mod ord replST">
          <ac:chgData name="Wenwen Zhang" userId="9dd81366-5d6f-445a-b031-6ea562624431" providerId="ADAL" clId="{1012AE1A-29B0-4E90-8835-842C30BC7D2A}" dt="2023-01-04T22:52:24.743" v="48772"/>
          <ac:spMkLst>
            <pc:docMk/>
            <pc:sldMk cId="1589772229" sldId="2134804370"/>
            <ac:spMk id="193" creationId="{96DB64E7-7450-5BAA-7DCA-6F75AE12EF02}"/>
          </ac:spMkLst>
        </pc:spChg>
        <pc:spChg chg="add del mod ord replST">
          <ac:chgData name="Wenwen Zhang" userId="9dd81366-5d6f-445a-b031-6ea562624431" providerId="ADAL" clId="{1012AE1A-29B0-4E90-8835-842C30BC7D2A}" dt="2023-01-04T22:52:24.744" v="48774"/>
          <ac:spMkLst>
            <pc:docMk/>
            <pc:sldMk cId="1589772229" sldId="2134804370"/>
            <ac:spMk id="194" creationId="{96DB64E7-7450-5BAA-7DCA-6F75AE12EF02}"/>
          </ac:spMkLst>
        </pc:spChg>
        <pc:spChg chg="add del mod ord replST">
          <ac:chgData name="Wenwen Zhang" userId="9dd81366-5d6f-445a-b031-6ea562624431" providerId="ADAL" clId="{1012AE1A-29B0-4E90-8835-842C30BC7D2A}" dt="2023-01-04T22:52:24.735" v="48754"/>
          <ac:spMkLst>
            <pc:docMk/>
            <pc:sldMk cId="1589772229" sldId="2134804370"/>
            <ac:spMk id="195" creationId="{96DB64E7-7450-5BAA-7DCA-6F75AE12EF02}"/>
          </ac:spMkLst>
        </pc:spChg>
        <pc:spChg chg="add del mod ord replST">
          <ac:chgData name="Wenwen Zhang" userId="9dd81366-5d6f-445a-b031-6ea562624431" providerId="ADAL" clId="{1012AE1A-29B0-4E90-8835-842C30BC7D2A}" dt="2023-01-04T22:52:24.745" v="48778"/>
          <ac:spMkLst>
            <pc:docMk/>
            <pc:sldMk cId="1589772229" sldId="2134804370"/>
            <ac:spMk id="196" creationId="{96DB64E7-7450-5BAA-7DCA-6F75AE12EF02}"/>
          </ac:spMkLst>
        </pc:spChg>
        <pc:spChg chg="add del mod modVis">
          <ac:chgData name="Wenwen Zhang" userId="9dd81366-5d6f-445a-b031-6ea562624431" providerId="ADAL" clId="{1012AE1A-29B0-4E90-8835-842C30BC7D2A}" dt="2023-01-04T22:46:32.169" v="39646"/>
          <ac:spMkLst>
            <pc:docMk/>
            <pc:sldMk cId="1589772229" sldId="2134804370"/>
            <ac:spMk id="199" creationId="{C167A29B-24F3-0FDB-CB0D-A9B5414FE43F}"/>
          </ac:spMkLst>
        </pc:spChg>
        <pc:spChg chg="add del mod modVis">
          <ac:chgData name="Wenwen Zhang" userId="9dd81366-5d6f-445a-b031-6ea562624431" providerId="ADAL" clId="{1012AE1A-29B0-4E90-8835-842C30BC7D2A}" dt="2023-01-04T22:46:37.303" v="40977"/>
          <ac:spMkLst>
            <pc:docMk/>
            <pc:sldMk cId="1589772229" sldId="2134804370"/>
            <ac:spMk id="200" creationId="{4B66275A-E50B-3760-389A-09F116A0FACB}"/>
          </ac:spMkLst>
        </pc:spChg>
        <pc:spChg chg="add del mod modVis">
          <ac:chgData name="Wenwen Zhang" userId="9dd81366-5d6f-445a-b031-6ea562624431" providerId="ADAL" clId="{1012AE1A-29B0-4E90-8835-842C30BC7D2A}" dt="2023-01-04T22:46:40.460" v="42618"/>
          <ac:spMkLst>
            <pc:docMk/>
            <pc:sldMk cId="1589772229" sldId="2134804370"/>
            <ac:spMk id="202" creationId="{79726010-2785-F72B-EACB-F38DAD356916}"/>
          </ac:spMkLst>
        </pc:spChg>
        <pc:spChg chg="add del mod ord replST">
          <ac:chgData name="Wenwen Zhang" userId="9dd81366-5d6f-445a-b031-6ea562624431" providerId="ADAL" clId="{1012AE1A-29B0-4E90-8835-842C30BC7D2A}" dt="2023-01-04T22:52:24.741" v="48764"/>
          <ac:spMkLst>
            <pc:docMk/>
            <pc:sldMk cId="1589772229" sldId="2134804370"/>
            <ac:spMk id="203" creationId="{96DB64E7-7450-5BAA-7DCA-6F75AE12EF02}"/>
          </ac:spMkLst>
        </pc:spChg>
        <pc:spChg chg="add del mod ord replST">
          <ac:chgData name="Wenwen Zhang" userId="9dd81366-5d6f-445a-b031-6ea562624431" providerId="ADAL" clId="{1012AE1A-29B0-4E90-8835-842C30BC7D2A}" dt="2023-01-04T22:52:24.744" v="48776"/>
          <ac:spMkLst>
            <pc:docMk/>
            <pc:sldMk cId="1589772229" sldId="2134804370"/>
            <ac:spMk id="204" creationId="{96DB64E7-7450-5BAA-7DCA-6F75AE12EF02}"/>
          </ac:spMkLst>
        </pc:spChg>
        <pc:spChg chg="add del mod modVis">
          <ac:chgData name="Wenwen Zhang" userId="9dd81366-5d6f-445a-b031-6ea562624431" providerId="ADAL" clId="{1012AE1A-29B0-4E90-8835-842C30BC7D2A}" dt="2023-01-04T22:46:56.644" v="42816"/>
          <ac:spMkLst>
            <pc:docMk/>
            <pc:sldMk cId="1589772229" sldId="2134804370"/>
            <ac:spMk id="206" creationId="{2D983721-3BFE-9421-33F9-08C3F9A15EC2}"/>
          </ac:spMkLst>
        </pc:spChg>
        <pc:spChg chg="add del mod modVis">
          <ac:chgData name="Wenwen Zhang" userId="9dd81366-5d6f-445a-b031-6ea562624431" providerId="ADAL" clId="{1012AE1A-29B0-4E90-8835-842C30BC7D2A}" dt="2023-01-04T22:46:59.521" v="43017"/>
          <ac:spMkLst>
            <pc:docMk/>
            <pc:sldMk cId="1589772229" sldId="2134804370"/>
            <ac:spMk id="208" creationId="{6C76EB93-D7BA-7158-8EEF-79347220538E}"/>
          </ac:spMkLst>
        </pc:spChg>
        <pc:spChg chg="add del mod modVis">
          <ac:chgData name="Wenwen Zhang" userId="9dd81366-5d6f-445a-b031-6ea562624431" providerId="ADAL" clId="{1012AE1A-29B0-4E90-8835-842C30BC7D2A}" dt="2023-01-04T22:47:00.270" v="43212"/>
          <ac:spMkLst>
            <pc:docMk/>
            <pc:sldMk cId="1589772229" sldId="2134804370"/>
            <ac:spMk id="210" creationId="{77322D6E-B4CD-E122-40F5-FD111706456B}"/>
          </ac:spMkLst>
        </pc:spChg>
        <pc:spChg chg="add del mod modVis">
          <ac:chgData name="Wenwen Zhang" userId="9dd81366-5d6f-445a-b031-6ea562624431" providerId="ADAL" clId="{1012AE1A-29B0-4E90-8835-842C30BC7D2A}" dt="2023-01-04T22:47:01.605" v="43404"/>
          <ac:spMkLst>
            <pc:docMk/>
            <pc:sldMk cId="1589772229" sldId="2134804370"/>
            <ac:spMk id="212" creationId="{1E64B345-21AA-96BB-AAA9-BC50E52DD33E}"/>
          </ac:spMkLst>
        </pc:spChg>
        <pc:spChg chg="add del mod modVis">
          <ac:chgData name="Wenwen Zhang" userId="9dd81366-5d6f-445a-b031-6ea562624431" providerId="ADAL" clId="{1012AE1A-29B0-4E90-8835-842C30BC7D2A}" dt="2023-01-04T22:47:06.027" v="43592"/>
          <ac:spMkLst>
            <pc:docMk/>
            <pc:sldMk cId="1589772229" sldId="2134804370"/>
            <ac:spMk id="214" creationId="{BF3F9189-2FAB-7901-0D04-2631E99DF882}"/>
          </ac:spMkLst>
        </pc:spChg>
        <pc:spChg chg="add del mod modVis">
          <ac:chgData name="Wenwen Zhang" userId="9dd81366-5d6f-445a-b031-6ea562624431" providerId="ADAL" clId="{1012AE1A-29B0-4E90-8835-842C30BC7D2A}" dt="2023-01-04T22:47:08.547" v="43776"/>
          <ac:spMkLst>
            <pc:docMk/>
            <pc:sldMk cId="1589772229" sldId="2134804370"/>
            <ac:spMk id="216" creationId="{17CB4040-0C01-BB56-B7C9-5333F6CDA617}"/>
          </ac:spMkLst>
        </pc:spChg>
        <pc:spChg chg="add del mod modVis">
          <ac:chgData name="Wenwen Zhang" userId="9dd81366-5d6f-445a-b031-6ea562624431" providerId="ADAL" clId="{1012AE1A-29B0-4E90-8835-842C30BC7D2A}" dt="2023-01-04T22:47:10.198" v="43958"/>
          <ac:spMkLst>
            <pc:docMk/>
            <pc:sldMk cId="1589772229" sldId="2134804370"/>
            <ac:spMk id="218" creationId="{775A0A23-4379-C800-43B4-EA991BEE0909}"/>
          </ac:spMkLst>
        </pc:spChg>
        <pc:spChg chg="add del mod modVis">
          <ac:chgData name="Wenwen Zhang" userId="9dd81366-5d6f-445a-b031-6ea562624431" providerId="ADAL" clId="{1012AE1A-29B0-4E90-8835-842C30BC7D2A}" dt="2023-01-04T22:47:15.551" v="44136"/>
          <ac:spMkLst>
            <pc:docMk/>
            <pc:sldMk cId="1589772229" sldId="2134804370"/>
            <ac:spMk id="220" creationId="{87254F17-714D-6035-A21A-539421D9609E}"/>
          </ac:spMkLst>
        </pc:spChg>
        <pc:spChg chg="add del mod modVis">
          <ac:chgData name="Wenwen Zhang" userId="9dd81366-5d6f-445a-b031-6ea562624431" providerId="ADAL" clId="{1012AE1A-29B0-4E90-8835-842C30BC7D2A}" dt="2023-01-04T22:47:22.651" v="44317"/>
          <ac:spMkLst>
            <pc:docMk/>
            <pc:sldMk cId="1589772229" sldId="2134804370"/>
            <ac:spMk id="222" creationId="{A657FF7D-7FFE-5ABB-3FB6-CC772810CE9B}"/>
          </ac:spMkLst>
        </pc:spChg>
        <pc:spChg chg="add del mod modVis">
          <ac:chgData name="Wenwen Zhang" userId="9dd81366-5d6f-445a-b031-6ea562624431" providerId="ADAL" clId="{1012AE1A-29B0-4E90-8835-842C30BC7D2A}" dt="2023-01-04T22:47:25.636" v="44492"/>
          <ac:spMkLst>
            <pc:docMk/>
            <pc:sldMk cId="1589772229" sldId="2134804370"/>
            <ac:spMk id="224" creationId="{D511A564-90AA-70E1-4132-8601AB9F79E9}"/>
          </ac:spMkLst>
        </pc:spChg>
        <pc:spChg chg="add del mod modVis">
          <ac:chgData name="Wenwen Zhang" userId="9dd81366-5d6f-445a-b031-6ea562624431" providerId="ADAL" clId="{1012AE1A-29B0-4E90-8835-842C30BC7D2A}" dt="2023-01-04T22:47:27.421" v="44664"/>
          <ac:spMkLst>
            <pc:docMk/>
            <pc:sldMk cId="1589772229" sldId="2134804370"/>
            <ac:spMk id="226" creationId="{618D2F57-6D30-FAC6-CD63-DB746B822BE4}"/>
          </ac:spMkLst>
        </pc:spChg>
        <pc:spChg chg="add del mod modVis">
          <ac:chgData name="Wenwen Zhang" userId="9dd81366-5d6f-445a-b031-6ea562624431" providerId="ADAL" clId="{1012AE1A-29B0-4E90-8835-842C30BC7D2A}" dt="2023-01-04T22:47:33.367" v="44832"/>
          <ac:spMkLst>
            <pc:docMk/>
            <pc:sldMk cId="1589772229" sldId="2134804370"/>
            <ac:spMk id="228" creationId="{7A5C1F29-FFE2-1479-FE56-907CF3D83D8C}"/>
          </ac:spMkLst>
        </pc:spChg>
        <pc:spChg chg="add del mod modVis">
          <ac:chgData name="Wenwen Zhang" userId="9dd81366-5d6f-445a-b031-6ea562624431" providerId="ADAL" clId="{1012AE1A-29B0-4E90-8835-842C30BC7D2A}" dt="2023-01-04T22:47:42.045" v="44996"/>
          <ac:spMkLst>
            <pc:docMk/>
            <pc:sldMk cId="1589772229" sldId="2134804370"/>
            <ac:spMk id="230" creationId="{C8600378-D267-EEB4-0366-A9E5963C91EE}"/>
          </ac:spMkLst>
        </pc:spChg>
        <pc:spChg chg="add del mod modVis">
          <ac:chgData name="Wenwen Zhang" userId="9dd81366-5d6f-445a-b031-6ea562624431" providerId="ADAL" clId="{1012AE1A-29B0-4E90-8835-842C30BC7D2A}" dt="2023-01-04T22:47:46.751" v="45165"/>
          <ac:spMkLst>
            <pc:docMk/>
            <pc:sldMk cId="1589772229" sldId="2134804370"/>
            <ac:spMk id="232" creationId="{F51A1EFC-8688-4796-4637-20CF53EAF5F7}"/>
          </ac:spMkLst>
        </pc:spChg>
        <pc:spChg chg="add del mod modVis">
          <ac:chgData name="Wenwen Zhang" userId="9dd81366-5d6f-445a-b031-6ea562624431" providerId="ADAL" clId="{1012AE1A-29B0-4E90-8835-842C30BC7D2A}" dt="2023-01-04T22:47:47.444" v="45328"/>
          <ac:spMkLst>
            <pc:docMk/>
            <pc:sldMk cId="1589772229" sldId="2134804370"/>
            <ac:spMk id="234" creationId="{01648405-9975-CC46-F2E9-2B38D5F58511}"/>
          </ac:spMkLst>
        </pc:spChg>
        <pc:spChg chg="add del mod modVis">
          <ac:chgData name="Wenwen Zhang" userId="9dd81366-5d6f-445a-b031-6ea562624431" providerId="ADAL" clId="{1012AE1A-29B0-4E90-8835-842C30BC7D2A}" dt="2023-01-04T22:47:49.316" v="45495"/>
          <ac:spMkLst>
            <pc:docMk/>
            <pc:sldMk cId="1589772229" sldId="2134804370"/>
            <ac:spMk id="236" creationId="{C64A9906-7677-758B-C414-73A6D5F6B8C1}"/>
          </ac:spMkLst>
        </pc:spChg>
        <pc:spChg chg="add del mod modVis">
          <ac:chgData name="Wenwen Zhang" userId="9dd81366-5d6f-445a-b031-6ea562624431" providerId="ADAL" clId="{1012AE1A-29B0-4E90-8835-842C30BC7D2A}" dt="2023-01-04T22:47:50.835" v="45656"/>
          <ac:spMkLst>
            <pc:docMk/>
            <pc:sldMk cId="1589772229" sldId="2134804370"/>
            <ac:spMk id="238" creationId="{3019055D-5C03-9168-F0BF-F3D66DDAF49D}"/>
          </ac:spMkLst>
        </pc:spChg>
        <pc:spChg chg="add del mod modVis">
          <ac:chgData name="Wenwen Zhang" userId="9dd81366-5d6f-445a-b031-6ea562624431" providerId="ADAL" clId="{1012AE1A-29B0-4E90-8835-842C30BC7D2A}" dt="2023-01-04T22:47:51.094" v="45814"/>
          <ac:spMkLst>
            <pc:docMk/>
            <pc:sldMk cId="1589772229" sldId="2134804370"/>
            <ac:spMk id="240" creationId="{8D649CC0-4708-78E8-1C88-6A7E55B47755}"/>
          </ac:spMkLst>
        </pc:spChg>
        <pc:spChg chg="add del mod modVis">
          <ac:chgData name="Wenwen Zhang" userId="9dd81366-5d6f-445a-b031-6ea562624431" providerId="ADAL" clId="{1012AE1A-29B0-4E90-8835-842C30BC7D2A}" dt="2023-01-04T22:47:54.355" v="45977"/>
          <ac:spMkLst>
            <pc:docMk/>
            <pc:sldMk cId="1589772229" sldId="2134804370"/>
            <ac:spMk id="242" creationId="{D155CE80-4CCC-DFFC-0995-A880E3E2D7E2}"/>
          </ac:spMkLst>
        </pc:spChg>
        <pc:spChg chg="add del mod modVis">
          <ac:chgData name="Wenwen Zhang" userId="9dd81366-5d6f-445a-b031-6ea562624431" providerId="ADAL" clId="{1012AE1A-29B0-4E90-8835-842C30BC7D2A}" dt="2023-01-04T22:47:55.109" v="46134"/>
          <ac:spMkLst>
            <pc:docMk/>
            <pc:sldMk cId="1589772229" sldId="2134804370"/>
            <ac:spMk id="244" creationId="{7C186FA6-4AC4-156B-9138-BBFB02CCD722}"/>
          </ac:spMkLst>
        </pc:spChg>
        <pc:spChg chg="add del mod modVis">
          <ac:chgData name="Wenwen Zhang" userId="9dd81366-5d6f-445a-b031-6ea562624431" providerId="ADAL" clId="{1012AE1A-29B0-4E90-8835-842C30BC7D2A}" dt="2023-01-04T22:47:56.400" v="46295"/>
          <ac:spMkLst>
            <pc:docMk/>
            <pc:sldMk cId="1589772229" sldId="2134804370"/>
            <ac:spMk id="246" creationId="{824E73E1-9600-4EB7-DE84-DD0D48AE6E36}"/>
          </ac:spMkLst>
        </pc:spChg>
        <pc:spChg chg="add del mod modVis">
          <ac:chgData name="Wenwen Zhang" userId="9dd81366-5d6f-445a-b031-6ea562624431" providerId="ADAL" clId="{1012AE1A-29B0-4E90-8835-842C30BC7D2A}" dt="2023-01-04T22:47:57.081" v="46450"/>
          <ac:spMkLst>
            <pc:docMk/>
            <pc:sldMk cId="1589772229" sldId="2134804370"/>
            <ac:spMk id="248" creationId="{0D7B7686-F916-D10B-7C9D-9877CA7EBE66}"/>
          </ac:spMkLst>
        </pc:spChg>
        <pc:spChg chg="add del mod modVis">
          <ac:chgData name="Wenwen Zhang" userId="9dd81366-5d6f-445a-b031-6ea562624431" providerId="ADAL" clId="{1012AE1A-29B0-4E90-8835-842C30BC7D2A}" dt="2023-01-04T22:47:58.764" v="46609"/>
          <ac:spMkLst>
            <pc:docMk/>
            <pc:sldMk cId="1589772229" sldId="2134804370"/>
            <ac:spMk id="250" creationId="{A27F66EB-416A-A3AE-C725-55936D237351}"/>
          </ac:spMkLst>
        </pc:spChg>
        <pc:spChg chg="add del mod modVis">
          <ac:chgData name="Wenwen Zhang" userId="9dd81366-5d6f-445a-b031-6ea562624431" providerId="ADAL" clId="{1012AE1A-29B0-4E90-8835-842C30BC7D2A}" dt="2023-01-04T22:47:59.431" v="46762"/>
          <ac:spMkLst>
            <pc:docMk/>
            <pc:sldMk cId="1589772229" sldId="2134804370"/>
            <ac:spMk id="252" creationId="{B56A2C17-36FC-79E6-CDA9-340B2C3D5C8C}"/>
          </ac:spMkLst>
        </pc:spChg>
        <pc:spChg chg="add del mod modVis">
          <ac:chgData name="Wenwen Zhang" userId="9dd81366-5d6f-445a-b031-6ea562624431" providerId="ADAL" clId="{1012AE1A-29B0-4E90-8835-842C30BC7D2A}" dt="2023-01-04T22:48:03.034" v="46910"/>
          <ac:spMkLst>
            <pc:docMk/>
            <pc:sldMk cId="1589772229" sldId="2134804370"/>
            <ac:spMk id="254" creationId="{2277A980-683E-8293-264E-88CF9549B66E}"/>
          </ac:spMkLst>
        </pc:spChg>
        <pc:spChg chg="add del mod modVis">
          <ac:chgData name="Wenwen Zhang" userId="9dd81366-5d6f-445a-b031-6ea562624431" providerId="ADAL" clId="{1012AE1A-29B0-4E90-8835-842C30BC7D2A}" dt="2023-01-04T22:48:05.377" v="47054"/>
          <ac:spMkLst>
            <pc:docMk/>
            <pc:sldMk cId="1589772229" sldId="2134804370"/>
            <ac:spMk id="256" creationId="{37C92FB3-E155-0CFC-E388-1408AEFF5B2E}"/>
          </ac:spMkLst>
        </pc:spChg>
        <pc:spChg chg="add del mod modVis">
          <ac:chgData name="Wenwen Zhang" userId="9dd81366-5d6f-445a-b031-6ea562624431" providerId="ADAL" clId="{1012AE1A-29B0-4E90-8835-842C30BC7D2A}" dt="2023-01-04T22:48:15.358" v="47329"/>
          <ac:spMkLst>
            <pc:docMk/>
            <pc:sldMk cId="1589772229" sldId="2134804370"/>
            <ac:spMk id="258" creationId="{33F50601-0EFA-3003-766D-D33641A03FD3}"/>
          </ac:spMkLst>
        </pc:spChg>
        <pc:spChg chg="add del mod modVis">
          <ac:chgData name="Wenwen Zhang" userId="9dd81366-5d6f-445a-b031-6ea562624431" providerId="ADAL" clId="{1012AE1A-29B0-4E90-8835-842C30BC7D2A}" dt="2023-01-04T22:51:51.017" v="47834"/>
          <ac:spMkLst>
            <pc:docMk/>
            <pc:sldMk cId="1589772229" sldId="2134804370"/>
            <ac:spMk id="260" creationId="{D7083EBB-43A6-8153-FF08-28537F20168A}"/>
          </ac:spMkLst>
        </pc:spChg>
        <pc:spChg chg="add del mod modVis">
          <ac:chgData name="Wenwen Zhang" userId="9dd81366-5d6f-445a-b031-6ea562624431" providerId="ADAL" clId="{1012AE1A-29B0-4E90-8835-842C30BC7D2A}" dt="2023-01-04T22:52:21.193" v="48605"/>
          <ac:spMkLst>
            <pc:docMk/>
            <pc:sldMk cId="1589772229" sldId="2134804370"/>
            <ac:spMk id="262" creationId="{AE742FBB-8252-9A08-EDD7-C6C6C723E224}"/>
          </ac:spMkLst>
        </pc:spChg>
        <pc:spChg chg="add del mod replST">
          <ac:chgData name="Wenwen Zhang" userId="9dd81366-5d6f-445a-b031-6ea562624431" providerId="ADAL" clId="{1012AE1A-29B0-4E90-8835-842C30BC7D2A}" dt="2023-01-04T22:52:22.865" v="48689"/>
          <ac:spMkLst>
            <pc:docMk/>
            <pc:sldMk cId="1589772229" sldId="2134804370"/>
            <ac:spMk id="263" creationId="{96DB64E7-7450-5BAA-7DCA-6F75AE12EF02}"/>
          </ac:spMkLst>
        </pc:spChg>
        <pc:spChg chg="add del mod modVis">
          <ac:chgData name="Wenwen Zhang" userId="9dd81366-5d6f-445a-b031-6ea562624431" providerId="ADAL" clId="{1012AE1A-29B0-4E90-8835-842C30BC7D2A}" dt="2023-01-04T22:52:22.921" v="48750"/>
          <ac:spMkLst>
            <pc:docMk/>
            <pc:sldMk cId="1589772229" sldId="2134804370"/>
            <ac:spMk id="265" creationId="{D7BF1454-66FF-3E58-74D0-F80B78B6C89C}"/>
          </ac:spMkLst>
        </pc:spChg>
        <pc:spChg chg="add del mod modVis">
          <ac:chgData name="Wenwen Zhang" userId="9dd81366-5d6f-445a-b031-6ea562624431" providerId="ADAL" clId="{1012AE1A-29B0-4E90-8835-842C30BC7D2A}" dt="2023-01-04T22:52:25.023" v="48880"/>
          <ac:spMkLst>
            <pc:docMk/>
            <pc:sldMk cId="1589772229" sldId="2134804370"/>
            <ac:spMk id="267" creationId="{572B5B2D-4DBB-AB83-04DB-157C6BF49EC7}"/>
          </ac:spMkLst>
        </pc:spChg>
        <pc:spChg chg="add del mod modVis">
          <ac:chgData name="Wenwen Zhang" userId="9dd81366-5d6f-445a-b031-6ea562624431" providerId="ADAL" clId="{1012AE1A-29B0-4E90-8835-842C30BC7D2A}" dt="2023-01-04T22:52:28.575" v="49102"/>
          <ac:spMkLst>
            <pc:docMk/>
            <pc:sldMk cId="1589772229" sldId="2134804370"/>
            <ac:spMk id="269" creationId="{4D0BEBBD-1224-5655-7BD0-8F4F1085E3FD}"/>
          </ac:spMkLst>
        </pc:spChg>
        <pc:spChg chg="add del mod replST">
          <ac:chgData name="Wenwen Zhang" userId="9dd81366-5d6f-445a-b031-6ea562624431" providerId="ADAL" clId="{1012AE1A-29B0-4E90-8835-842C30BC7D2A}" dt="2023-01-04T22:52:30.770" v="49282"/>
          <ac:spMkLst>
            <pc:docMk/>
            <pc:sldMk cId="1589772229" sldId="2134804370"/>
            <ac:spMk id="270" creationId="{96DB64E7-7450-5BAA-7DCA-6F75AE12EF02}"/>
          </ac:spMkLst>
        </pc:spChg>
        <pc:spChg chg="add del mod modVis">
          <ac:chgData name="Wenwen Zhang" userId="9dd81366-5d6f-445a-b031-6ea562624431" providerId="ADAL" clId="{1012AE1A-29B0-4E90-8835-842C30BC7D2A}" dt="2023-01-04T22:52:29.907" v="49211"/>
          <ac:spMkLst>
            <pc:docMk/>
            <pc:sldMk cId="1589772229" sldId="2134804370"/>
            <ac:spMk id="272" creationId="{C77ED38C-D2C1-4CA9-33FF-1312E885EA83}"/>
          </ac:spMkLst>
        </pc:spChg>
        <pc:spChg chg="add del mod modVis">
          <ac:chgData name="Wenwen Zhang" userId="9dd81366-5d6f-445a-b031-6ea562624431" providerId="ADAL" clId="{1012AE1A-29B0-4E90-8835-842C30BC7D2A}" dt="2023-01-04T22:52:30.814" v="49331"/>
          <ac:spMkLst>
            <pc:docMk/>
            <pc:sldMk cId="1589772229" sldId="2134804370"/>
            <ac:spMk id="274" creationId="{8EC79D9A-76EA-0C91-82D2-5CF9C5C34981}"/>
          </ac:spMkLst>
        </pc:spChg>
        <pc:spChg chg="add del mod modVis">
          <ac:chgData name="Wenwen Zhang" userId="9dd81366-5d6f-445a-b031-6ea562624431" providerId="ADAL" clId="{1012AE1A-29B0-4E90-8835-842C30BC7D2A}" dt="2023-01-04T22:52:38.232" v="49433"/>
          <ac:spMkLst>
            <pc:docMk/>
            <pc:sldMk cId="1589772229" sldId="2134804370"/>
            <ac:spMk id="276" creationId="{6A408935-3EFE-9AD6-A389-F32D188CE8D3}"/>
          </ac:spMkLst>
        </pc:spChg>
        <pc:spChg chg="add del mod modVis">
          <ac:chgData name="Wenwen Zhang" userId="9dd81366-5d6f-445a-b031-6ea562624431" providerId="ADAL" clId="{1012AE1A-29B0-4E90-8835-842C30BC7D2A}" dt="2023-01-04T22:52:43.101" v="49531"/>
          <ac:spMkLst>
            <pc:docMk/>
            <pc:sldMk cId="1589772229" sldId="2134804370"/>
            <ac:spMk id="278" creationId="{C1492839-F0D8-D21D-F23A-2ACE4D439A25}"/>
          </ac:spMkLst>
        </pc:spChg>
        <pc:spChg chg="add del mod modVis">
          <ac:chgData name="Wenwen Zhang" userId="9dd81366-5d6f-445a-b031-6ea562624431" providerId="ADAL" clId="{1012AE1A-29B0-4E90-8835-842C30BC7D2A}" dt="2023-01-04T22:52:47.828" v="50194"/>
          <ac:spMkLst>
            <pc:docMk/>
            <pc:sldMk cId="1589772229" sldId="2134804370"/>
            <ac:spMk id="280" creationId="{6818DB21-6DE0-463F-D646-EFC1959CA432}"/>
          </ac:spMkLst>
        </pc:spChg>
        <pc:spChg chg="add del mod replST">
          <ac:chgData name="Wenwen Zhang" userId="9dd81366-5d6f-445a-b031-6ea562624431" providerId="ADAL" clId="{1012AE1A-29B0-4E90-8835-842C30BC7D2A}" dt="2023-01-04T22:52:54.689" v="50571"/>
          <ac:spMkLst>
            <pc:docMk/>
            <pc:sldMk cId="1589772229" sldId="2134804370"/>
            <ac:spMk id="281" creationId="{96DB64E7-7450-5BAA-7DCA-6F75AE12EF02}"/>
          </ac:spMkLst>
        </pc:spChg>
        <pc:spChg chg="add del mod replST">
          <ac:chgData name="Wenwen Zhang" userId="9dd81366-5d6f-445a-b031-6ea562624431" providerId="ADAL" clId="{1012AE1A-29B0-4E90-8835-842C30BC7D2A}" dt="2023-01-04T22:52:54.690" v="50572"/>
          <ac:spMkLst>
            <pc:docMk/>
            <pc:sldMk cId="1589772229" sldId="2134804370"/>
            <ac:spMk id="282" creationId="{96DB64E7-7450-5BAA-7DCA-6F75AE12EF02}"/>
          </ac:spMkLst>
        </pc:spChg>
        <pc:spChg chg="add del mod replST">
          <ac:chgData name="Wenwen Zhang" userId="9dd81366-5d6f-445a-b031-6ea562624431" providerId="ADAL" clId="{1012AE1A-29B0-4E90-8835-842C30BC7D2A}" dt="2023-01-04T22:52:54.690" v="50573"/>
          <ac:spMkLst>
            <pc:docMk/>
            <pc:sldMk cId="1589772229" sldId="2134804370"/>
            <ac:spMk id="283" creationId="{96DB64E7-7450-5BAA-7DCA-6F75AE12EF02}"/>
          </ac:spMkLst>
        </pc:spChg>
        <pc:spChg chg="add del mod replST">
          <ac:chgData name="Wenwen Zhang" userId="9dd81366-5d6f-445a-b031-6ea562624431" providerId="ADAL" clId="{1012AE1A-29B0-4E90-8835-842C30BC7D2A}" dt="2023-01-04T22:52:54.690" v="50574"/>
          <ac:spMkLst>
            <pc:docMk/>
            <pc:sldMk cId="1589772229" sldId="2134804370"/>
            <ac:spMk id="284" creationId="{96DB64E7-7450-5BAA-7DCA-6F75AE12EF02}"/>
          </ac:spMkLst>
        </pc:spChg>
        <pc:spChg chg="add del mod replST">
          <ac:chgData name="Wenwen Zhang" userId="9dd81366-5d6f-445a-b031-6ea562624431" providerId="ADAL" clId="{1012AE1A-29B0-4E90-8835-842C30BC7D2A}" dt="2023-01-04T22:52:54.691" v="50575"/>
          <ac:spMkLst>
            <pc:docMk/>
            <pc:sldMk cId="1589772229" sldId="2134804370"/>
            <ac:spMk id="285" creationId="{96DB64E7-7450-5BAA-7DCA-6F75AE12EF02}"/>
          </ac:spMkLst>
        </pc:spChg>
        <pc:spChg chg="add del mod replST">
          <ac:chgData name="Wenwen Zhang" userId="9dd81366-5d6f-445a-b031-6ea562624431" providerId="ADAL" clId="{1012AE1A-29B0-4E90-8835-842C30BC7D2A}" dt="2023-01-04T22:52:54.691" v="50576"/>
          <ac:spMkLst>
            <pc:docMk/>
            <pc:sldMk cId="1589772229" sldId="2134804370"/>
            <ac:spMk id="286" creationId="{96DB64E7-7450-5BAA-7DCA-6F75AE12EF02}"/>
          </ac:spMkLst>
        </pc:spChg>
        <pc:spChg chg="add del mod replST">
          <ac:chgData name="Wenwen Zhang" userId="9dd81366-5d6f-445a-b031-6ea562624431" providerId="ADAL" clId="{1012AE1A-29B0-4E90-8835-842C30BC7D2A}" dt="2023-01-04T22:52:54.692" v="50577"/>
          <ac:spMkLst>
            <pc:docMk/>
            <pc:sldMk cId="1589772229" sldId="2134804370"/>
            <ac:spMk id="287" creationId="{96DB64E7-7450-5BAA-7DCA-6F75AE12EF02}"/>
          </ac:spMkLst>
        </pc:spChg>
        <pc:spChg chg="add del mod modVis">
          <ac:chgData name="Wenwen Zhang" userId="9dd81366-5d6f-445a-b031-6ea562624431" providerId="ADAL" clId="{1012AE1A-29B0-4E90-8835-842C30BC7D2A}" dt="2023-01-04T22:52:53.883" v="50472"/>
          <ac:spMkLst>
            <pc:docMk/>
            <pc:sldMk cId="1589772229" sldId="2134804370"/>
            <ac:spMk id="289" creationId="{26ABD042-2B6B-CCBA-DEAD-771CF7977F2D}"/>
          </ac:spMkLst>
        </pc:spChg>
        <pc:spChg chg="add del mod modVis">
          <ac:chgData name="Wenwen Zhang" userId="9dd81366-5d6f-445a-b031-6ea562624431" providerId="ADAL" clId="{1012AE1A-29B0-4E90-8835-842C30BC7D2A}" dt="2023-01-04T22:52:54.769" v="50658"/>
          <ac:spMkLst>
            <pc:docMk/>
            <pc:sldMk cId="1589772229" sldId="2134804370"/>
            <ac:spMk id="291" creationId="{9CAD1BC4-0D88-523F-B979-E45704BE0AE9}"/>
          </ac:spMkLst>
        </pc:spChg>
        <pc:spChg chg="add del mod modVis">
          <ac:chgData name="Wenwen Zhang" userId="9dd81366-5d6f-445a-b031-6ea562624431" providerId="ADAL" clId="{1012AE1A-29B0-4E90-8835-842C30BC7D2A}" dt="2023-01-04T22:52:59.981" v="51353"/>
          <ac:spMkLst>
            <pc:docMk/>
            <pc:sldMk cId="1589772229" sldId="2134804370"/>
            <ac:spMk id="293" creationId="{EACA3184-2B0E-B133-9516-F6E54E0B6C53}"/>
          </ac:spMkLst>
        </pc:spChg>
        <pc:spChg chg="add del mod replST">
          <ac:chgData name="Wenwen Zhang" userId="9dd81366-5d6f-445a-b031-6ea562624431" providerId="ADAL" clId="{1012AE1A-29B0-4E90-8835-842C30BC7D2A}" dt="2023-01-04T22:53:05.390" v="51676"/>
          <ac:spMkLst>
            <pc:docMk/>
            <pc:sldMk cId="1589772229" sldId="2134804370"/>
            <ac:spMk id="294" creationId="{96DB64E7-7450-5BAA-7DCA-6F75AE12EF02}"/>
          </ac:spMkLst>
        </pc:spChg>
        <pc:spChg chg="add del mod replST">
          <ac:chgData name="Wenwen Zhang" userId="9dd81366-5d6f-445a-b031-6ea562624431" providerId="ADAL" clId="{1012AE1A-29B0-4E90-8835-842C30BC7D2A}" dt="2023-01-04T22:53:05.391" v="51677"/>
          <ac:spMkLst>
            <pc:docMk/>
            <pc:sldMk cId="1589772229" sldId="2134804370"/>
            <ac:spMk id="295" creationId="{96DB64E7-7450-5BAA-7DCA-6F75AE12EF02}"/>
          </ac:spMkLst>
        </pc:spChg>
        <pc:spChg chg="add del mod replST">
          <ac:chgData name="Wenwen Zhang" userId="9dd81366-5d6f-445a-b031-6ea562624431" providerId="ADAL" clId="{1012AE1A-29B0-4E90-8835-842C30BC7D2A}" dt="2023-01-04T22:53:05.391" v="51678"/>
          <ac:spMkLst>
            <pc:docMk/>
            <pc:sldMk cId="1589772229" sldId="2134804370"/>
            <ac:spMk id="296" creationId="{96DB64E7-7450-5BAA-7DCA-6F75AE12EF02}"/>
          </ac:spMkLst>
        </pc:spChg>
        <pc:spChg chg="add del mod replST">
          <ac:chgData name="Wenwen Zhang" userId="9dd81366-5d6f-445a-b031-6ea562624431" providerId="ADAL" clId="{1012AE1A-29B0-4E90-8835-842C30BC7D2A}" dt="2023-01-04T22:53:05.392" v="51679"/>
          <ac:spMkLst>
            <pc:docMk/>
            <pc:sldMk cId="1589772229" sldId="2134804370"/>
            <ac:spMk id="297" creationId="{96DB64E7-7450-5BAA-7DCA-6F75AE12EF02}"/>
          </ac:spMkLst>
        </pc:spChg>
        <pc:spChg chg="add del mod replST">
          <ac:chgData name="Wenwen Zhang" userId="9dd81366-5d6f-445a-b031-6ea562624431" providerId="ADAL" clId="{1012AE1A-29B0-4E90-8835-842C30BC7D2A}" dt="2023-01-04T22:53:05.392" v="51680"/>
          <ac:spMkLst>
            <pc:docMk/>
            <pc:sldMk cId="1589772229" sldId="2134804370"/>
            <ac:spMk id="298" creationId="{96DB64E7-7450-5BAA-7DCA-6F75AE12EF02}"/>
          </ac:spMkLst>
        </pc:spChg>
        <pc:spChg chg="add del mod replST">
          <ac:chgData name="Wenwen Zhang" userId="9dd81366-5d6f-445a-b031-6ea562624431" providerId="ADAL" clId="{1012AE1A-29B0-4E90-8835-842C30BC7D2A}" dt="2023-01-04T22:53:05.393" v="51681"/>
          <ac:spMkLst>
            <pc:docMk/>
            <pc:sldMk cId="1589772229" sldId="2134804370"/>
            <ac:spMk id="299" creationId="{96DB64E7-7450-5BAA-7DCA-6F75AE12EF02}"/>
          </ac:spMkLst>
        </pc:spChg>
        <pc:spChg chg="add del mod replST">
          <ac:chgData name="Wenwen Zhang" userId="9dd81366-5d6f-445a-b031-6ea562624431" providerId="ADAL" clId="{1012AE1A-29B0-4E90-8835-842C30BC7D2A}" dt="2023-01-04T22:53:05.393" v="51682"/>
          <ac:spMkLst>
            <pc:docMk/>
            <pc:sldMk cId="1589772229" sldId="2134804370"/>
            <ac:spMk id="300" creationId="{96DB64E7-7450-5BAA-7DCA-6F75AE12EF02}"/>
          </ac:spMkLst>
        </pc:spChg>
        <pc:spChg chg="add del mod modVis">
          <ac:chgData name="Wenwen Zhang" userId="9dd81366-5d6f-445a-b031-6ea562624431" providerId="ADAL" clId="{1012AE1A-29B0-4E90-8835-842C30BC7D2A}" dt="2023-01-04T22:53:04.807" v="51605"/>
          <ac:spMkLst>
            <pc:docMk/>
            <pc:sldMk cId="1589772229" sldId="2134804370"/>
            <ac:spMk id="302" creationId="{6AB3FC10-9252-C323-646E-CC9AD6F5EC28}"/>
          </ac:spMkLst>
        </pc:spChg>
        <pc:spChg chg="add del mod modVis">
          <ac:chgData name="Wenwen Zhang" userId="9dd81366-5d6f-445a-b031-6ea562624431" providerId="ADAL" clId="{1012AE1A-29B0-4E90-8835-842C30BC7D2A}" dt="2023-01-04T22:53:05.433" v="51717"/>
          <ac:spMkLst>
            <pc:docMk/>
            <pc:sldMk cId="1589772229" sldId="2134804370"/>
            <ac:spMk id="304" creationId="{0D468C7A-CE79-03E2-B4A7-AD6FD488ED7E}"/>
          </ac:spMkLst>
        </pc:spChg>
        <pc:spChg chg="add del mod modVis">
          <ac:chgData name="Wenwen Zhang" userId="9dd81366-5d6f-445a-b031-6ea562624431" providerId="ADAL" clId="{1012AE1A-29B0-4E90-8835-842C30BC7D2A}" dt="2023-01-04T22:53:07.765" v="52384"/>
          <ac:spMkLst>
            <pc:docMk/>
            <pc:sldMk cId="1589772229" sldId="2134804370"/>
            <ac:spMk id="306" creationId="{7B4F02F9-C984-481B-D042-FE9F0C5FB0C7}"/>
          </ac:spMkLst>
        </pc:spChg>
        <pc:spChg chg="add del mod replST">
          <ac:chgData name="Wenwen Zhang" userId="9dd81366-5d6f-445a-b031-6ea562624431" providerId="ADAL" clId="{1012AE1A-29B0-4E90-8835-842C30BC7D2A}" dt="2023-01-04T22:53:08.649" v="52455"/>
          <ac:spMkLst>
            <pc:docMk/>
            <pc:sldMk cId="1589772229" sldId="2134804370"/>
            <ac:spMk id="307" creationId="{96DB64E7-7450-5BAA-7DCA-6F75AE12EF02}"/>
          </ac:spMkLst>
        </pc:spChg>
        <pc:spChg chg="add del mod replST">
          <ac:chgData name="Wenwen Zhang" userId="9dd81366-5d6f-445a-b031-6ea562624431" providerId="ADAL" clId="{1012AE1A-29B0-4E90-8835-842C30BC7D2A}" dt="2023-01-04T22:53:08.649" v="52456"/>
          <ac:spMkLst>
            <pc:docMk/>
            <pc:sldMk cId="1589772229" sldId="2134804370"/>
            <ac:spMk id="308" creationId="{96DB64E7-7450-5BAA-7DCA-6F75AE12EF02}"/>
          </ac:spMkLst>
        </pc:spChg>
        <pc:spChg chg="add del mod replST">
          <ac:chgData name="Wenwen Zhang" userId="9dd81366-5d6f-445a-b031-6ea562624431" providerId="ADAL" clId="{1012AE1A-29B0-4E90-8835-842C30BC7D2A}" dt="2023-01-04T22:53:08.650" v="52457"/>
          <ac:spMkLst>
            <pc:docMk/>
            <pc:sldMk cId="1589772229" sldId="2134804370"/>
            <ac:spMk id="309" creationId="{96DB64E7-7450-5BAA-7DCA-6F75AE12EF02}"/>
          </ac:spMkLst>
        </pc:spChg>
        <pc:spChg chg="add del mod replST">
          <ac:chgData name="Wenwen Zhang" userId="9dd81366-5d6f-445a-b031-6ea562624431" providerId="ADAL" clId="{1012AE1A-29B0-4E90-8835-842C30BC7D2A}" dt="2023-01-04T22:53:08.650" v="52458"/>
          <ac:spMkLst>
            <pc:docMk/>
            <pc:sldMk cId="1589772229" sldId="2134804370"/>
            <ac:spMk id="310" creationId="{96DB64E7-7450-5BAA-7DCA-6F75AE12EF02}"/>
          </ac:spMkLst>
        </pc:spChg>
        <pc:spChg chg="add del mod replST">
          <ac:chgData name="Wenwen Zhang" userId="9dd81366-5d6f-445a-b031-6ea562624431" providerId="ADAL" clId="{1012AE1A-29B0-4E90-8835-842C30BC7D2A}" dt="2023-01-04T22:53:08.651" v="52459"/>
          <ac:spMkLst>
            <pc:docMk/>
            <pc:sldMk cId="1589772229" sldId="2134804370"/>
            <ac:spMk id="311" creationId="{96DB64E7-7450-5BAA-7DCA-6F75AE12EF02}"/>
          </ac:spMkLst>
        </pc:spChg>
        <pc:spChg chg="add del mod replST">
          <ac:chgData name="Wenwen Zhang" userId="9dd81366-5d6f-445a-b031-6ea562624431" providerId="ADAL" clId="{1012AE1A-29B0-4E90-8835-842C30BC7D2A}" dt="2023-01-04T22:53:08.651" v="52460"/>
          <ac:spMkLst>
            <pc:docMk/>
            <pc:sldMk cId="1589772229" sldId="2134804370"/>
            <ac:spMk id="312" creationId="{96DB64E7-7450-5BAA-7DCA-6F75AE12EF02}"/>
          </ac:spMkLst>
        </pc:spChg>
        <pc:spChg chg="add del mod replST">
          <ac:chgData name="Wenwen Zhang" userId="9dd81366-5d6f-445a-b031-6ea562624431" providerId="ADAL" clId="{1012AE1A-29B0-4E90-8835-842C30BC7D2A}" dt="2023-01-04T22:53:08.652" v="52461"/>
          <ac:spMkLst>
            <pc:docMk/>
            <pc:sldMk cId="1589772229" sldId="2134804370"/>
            <ac:spMk id="313" creationId="{96DB64E7-7450-5BAA-7DCA-6F75AE12EF02}"/>
          </ac:spMkLst>
        </pc:spChg>
        <pc:spChg chg="add del mod modVis">
          <ac:chgData name="Wenwen Zhang" userId="9dd81366-5d6f-445a-b031-6ea562624431" providerId="ADAL" clId="{1012AE1A-29B0-4E90-8835-842C30BC7D2A}" dt="2023-01-04T22:53:08.696" v="52496"/>
          <ac:spMkLst>
            <pc:docMk/>
            <pc:sldMk cId="1589772229" sldId="2134804370"/>
            <ac:spMk id="315" creationId="{428B042E-B818-727A-C08F-FAE35B3F50D7}"/>
          </ac:spMkLst>
        </pc:spChg>
        <pc:spChg chg="add del mod modVis">
          <ac:chgData name="Wenwen Zhang" userId="9dd81366-5d6f-445a-b031-6ea562624431" providerId="ADAL" clId="{1012AE1A-29B0-4E90-8835-842C30BC7D2A}" dt="2023-01-04T22:53:12.233" v="52608"/>
          <ac:spMkLst>
            <pc:docMk/>
            <pc:sldMk cId="1589772229" sldId="2134804370"/>
            <ac:spMk id="317" creationId="{109F2017-AA47-6BD1-A49B-8812858BCB75}"/>
          </ac:spMkLst>
        </pc:spChg>
        <pc:spChg chg="add del mod modVis">
          <ac:chgData name="Wenwen Zhang" userId="9dd81366-5d6f-445a-b031-6ea562624431" providerId="ADAL" clId="{1012AE1A-29B0-4E90-8835-842C30BC7D2A}" dt="2023-01-04T22:53:14.241" v="52720"/>
          <ac:spMkLst>
            <pc:docMk/>
            <pc:sldMk cId="1589772229" sldId="2134804370"/>
            <ac:spMk id="319" creationId="{8E1A472A-3205-0B9C-AE20-67326CE01DCF}"/>
          </ac:spMkLst>
        </pc:spChg>
        <pc:spChg chg="add del mod modVis">
          <ac:chgData name="Wenwen Zhang" userId="9dd81366-5d6f-445a-b031-6ea562624431" providerId="ADAL" clId="{1012AE1A-29B0-4E90-8835-842C30BC7D2A}" dt="2023-01-04T22:53:18.520" v="52832"/>
          <ac:spMkLst>
            <pc:docMk/>
            <pc:sldMk cId="1589772229" sldId="2134804370"/>
            <ac:spMk id="321" creationId="{137DD0C7-9B83-8EE7-E1E0-E4014F2A34DC}"/>
          </ac:spMkLst>
        </pc:spChg>
        <pc:spChg chg="add del mod replST">
          <ac:chgData name="Wenwen Zhang" userId="9dd81366-5d6f-445a-b031-6ea562624431" providerId="ADAL" clId="{1012AE1A-29B0-4E90-8835-842C30BC7D2A}" dt="2023-01-04T22:55:51.763" v="53976"/>
          <ac:spMkLst>
            <pc:docMk/>
            <pc:sldMk cId="1589772229" sldId="2134804370"/>
            <ac:spMk id="323" creationId="{96DB64E7-7450-5BAA-7DCA-6F75AE12EF02}"/>
          </ac:spMkLst>
        </pc:spChg>
        <pc:spChg chg="add del mod modVis">
          <ac:chgData name="Wenwen Zhang" userId="9dd81366-5d6f-445a-b031-6ea562624431" providerId="ADAL" clId="{1012AE1A-29B0-4E90-8835-842C30BC7D2A}" dt="2023-01-04T22:53:32.843" v="53127"/>
          <ac:spMkLst>
            <pc:docMk/>
            <pc:sldMk cId="1589772229" sldId="2134804370"/>
            <ac:spMk id="324" creationId="{78D67C72-22A9-D18E-2919-2D9907C5B850}"/>
          </ac:spMkLst>
        </pc:spChg>
        <pc:spChg chg="add del mod replST">
          <ac:chgData name="Wenwen Zhang" userId="9dd81366-5d6f-445a-b031-6ea562624431" providerId="ADAL" clId="{1012AE1A-29B0-4E90-8835-842C30BC7D2A}" dt="2023-01-04T22:55:50.185" v="53853"/>
          <ac:spMkLst>
            <pc:docMk/>
            <pc:sldMk cId="1589772229" sldId="2134804370"/>
            <ac:spMk id="325" creationId="{96DB64E7-7450-5BAA-7DCA-6F75AE12EF02}"/>
          </ac:spMkLst>
        </pc:spChg>
        <pc:spChg chg="add del mod ord replST">
          <ac:chgData name="Wenwen Zhang" userId="9dd81366-5d6f-445a-b031-6ea562624431" providerId="ADAL" clId="{1012AE1A-29B0-4E90-8835-842C30BC7D2A}" dt="2023-01-04T22:55:50.184" v="53852"/>
          <ac:spMkLst>
            <pc:docMk/>
            <pc:sldMk cId="1589772229" sldId="2134804370"/>
            <ac:spMk id="328" creationId="{D62DEE7B-1E16-98C6-7242-1E003C473716}"/>
          </ac:spMkLst>
        </pc:spChg>
        <pc:spChg chg="add del mod modVis">
          <ac:chgData name="Wenwen Zhang" userId="9dd81366-5d6f-445a-b031-6ea562624431" providerId="ADAL" clId="{1012AE1A-29B0-4E90-8835-842C30BC7D2A}" dt="2023-01-04T22:53:49.123" v="53300"/>
          <ac:spMkLst>
            <pc:docMk/>
            <pc:sldMk cId="1589772229" sldId="2134804370"/>
            <ac:spMk id="329" creationId="{1D24C3CB-B5F1-4B59-B022-9B3DCE1E63CC}"/>
          </ac:spMkLst>
        </pc:spChg>
        <pc:spChg chg="add del mod modVis">
          <ac:chgData name="Wenwen Zhang" userId="9dd81366-5d6f-445a-b031-6ea562624431" providerId="ADAL" clId="{1012AE1A-29B0-4E90-8835-842C30BC7D2A}" dt="2023-01-04T22:53:53.022" v="53435"/>
          <ac:spMkLst>
            <pc:docMk/>
            <pc:sldMk cId="1589772229" sldId="2134804370"/>
            <ac:spMk id="331" creationId="{EEB72FC8-9471-9CDD-9450-72E698123C81}"/>
          </ac:spMkLst>
        </pc:spChg>
        <pc:spChg chg="add del mod modVis">
          <ac:chgData name="Wenwen Zhang" userId="9dd81366-5d6f-445a-b031-6ea562624431" providerId="ADAL" clId="{1012AE1A-29B0-4E90-8835-842C30BC7D2A}" dt="2023-01-04T22:54:22.550" v="53622"/>
          <ac:spMkLst>
            <pc:docMk/>
            <pc:sldMk cId="1589772229" sldId="2134804370"/>
            <ac:spMk id="333" creationId="{6157F0A9-F396-9EF0-530C-AC30F408DAEA}"/>
          </ac:spMkLst>
        </pc:spChg>
        <pc:spChg chg="add del mod modVis">
          <ac:chgData name="Wenwen Zhang" userId="9dd81366-5d6f-445a-b031-6ea562624431" providerId="ADAL" clId="{1012AE1A-29B0-4E90-8835-842C30BC7D2A}" dt="2023-01-04T22:54:35.171" v="53731"/>
          <ac:spMkLst>
            <pc:docMk/>
            <pc:sldMk cId="1589772229" sldId="2134804370"/>
            <ac:spMk id="335" creationId="{A0E4BEBB-3445-2D47-5EA1-CD2D2AB43DAE}"/>
          </ac:spMkLst>
        </pc:spChg>
        <pc:spChg chg="add del mod modVis">
          <ac:chgData name="Wenwen Zhang" userId="9dd81366-5d6f-445a-b031-6ea562624431" providerId="ADAL" clId="{1012AE1A-29B0-4E90-8835-842C30BC7D2A}" dt="2023-01-04T22:54:39.039" v="53844"/>
          <ac:spMkLst>
            <pc:docMk/>
            <pc:sldMk cId="1589772229" sldId="2134804370"/>
            <ac:spMk id="337" creationId="{A9BA9562-43F8-9BCD-01C8-7AED09B0ED74}"/>
          </ac:spMkLst>
        </pc:spChg>
        <pc:spChg chg="add del mod modVis">
          <ac:chgData name="Wenwen Zhang" userId="9dd81366-5d6f-445a-b031-6ea562624431" providerId="ADAL" clId="{1012AE1A-29B0-4E90-8835-842C30BC7D2A}" dt="2023-01-04T22:55:50.307" v="53956"/>
          <ac:spMkLst>
            <pc:docMk/>
            <pc:sldMk cId="1589772229" sldId="2134804370"/>
            <ac:spMk id="339" creationId="{8D125662-EB83-8000-6EF3-A3E5A017BB47}"/>
          </ac:spMkLst>
        </pc:spChg>
        <pc:spChg chg="add mod replST">
          <ac:chgData name="Wenwen Zhang" userId="9dd81366-5d6f-445a-b031-6ea562624431" providerId="ADAL" clId="{1012AE1A-29B0-4E90-8835-842C30BC7D2A}" dt="2023-01-05T15:00:39.503" v="94112"/>
          <ac:spMkLst>
            <pc:docMk/>
            <pc:sldMk cId="1589772229" sldId="2134804370"/>
            <ac:spMk id="341" creationId="{684A672A-79D1-5720-64EE-C0A5AEEF8BD4}"/>
          </ac:spMkLst>
        </pc:spChg>
        <pc:spChg chg="add del mod modVis">
          <ac:chgData name="Wenwen Zhang" userId="9dd81366-5d6f-445a-b031-6ea562624431" providerId="ADAL" clId="{1012AE1A-29B0-4E90-8835-842C30BC7D2A}" dt="2023-01-04T22:55:51.855" v="54097"/>
          <ac:spMkLst>
            <pc:docMk/>
            <pc:sldMk cId="1589772229" sldId="2134804370"/>
            <ac:spMk id="342" creationId="{34C8ED33-28C3-9BC5-2891-6CC4ECD0DFB1}"/>
          </ac:spMkLst>
        </pc:spChg>
        <pc:spChg chg="add mod replST">
          <ac:chgData name="Wenwen Zhang" userId="9dd81366-5d6f-445a-b031-6ea562624431" providerId="ADAL" clId="{1012AE1A-29B0-4E90-8835-842C30BC7D2A}" dt="2023-01-05T15:00:39.503" v="94111"/>
          <ac:spMkLst>
            <pc:docMk/>
            <pc:sldMk cId="1589772229" sldId="2134804370"/>
            <ac:spMk id="344" creationId="{7967F8CC-7EAC-A5CB-4FFF-5706400DF166}"/>
          </ac:spMkLst>
        </pc:spChg>
        <pc:spChg chg="add mod replST">
          <ac:chgData name="Wenwen Zhang" userId="9dd81366-5d6f-445a-b031-6ea562624431" providerId="ADAL" clId="{1012AE1A-29B0-4E90-8835-842C30BC7D2A}" dt="2023-01-05T15:00:39.504" v="94113"/>
          <ac:spMkLst>
            <pc:docMk/>
            <pc:sldMk cId="1589772229" sldId="2134804370"/>
            <ac:spMk id="345" creationId="{4CC8D3A3-A11D-8678-C40C-818AF04B1BDA}"/>
          </ac:spMkLst>
        </pc:spChg>
        <pc:spChg chg="add del mod modVis">
          <ac:chgData name="Wenwen Zhang" userId="9dd81366-5d6f-445a-b031-6ea562624431" providerId="ADAL" clId="{1012AE1A-29B0-4E90-8835-842C30BC7D2A}" dt="2023-01-04T22:55:52.766" v="54250"/>
          <ac:spMkLst>
            <pc:docMk/>
            <pc:sldMk cId="1589772229" sldId="2134804370"/>
            <ac:spMk id="346" creationId="{4826C5C2-CEDA-7295-267F-81528465CD36}"/>
          </ac:spMkLst>
        </pc:spChg>
        <pc:spChg chg="add del mod modVis">
          <ac:chgData name="Wenwen Zhang" userId="9dd81366-5d6f-445a-b031-6ea562624431" providerId="ADAL" clId="{1012AE1A-29B0-4E90-8835-842C30BC7D2A}" dt="2023-01-04T22:58:56.983" v="54423"/>
          <ac:spMkLst>
            <pc:docMk/>
            <pc:sldMk cId="1589772229" sldId="2134804370"/>
            <ac:spMk id="349" creationId="{1B4D640E-52AF-8674-659D-A5E5B6C8D8E1}"/>
          </ac:spMkLst>
        </pc:spChg>
        <pc:spChg chg="add del mod replST">
          <ac:chgData name="Wenwen Zhang" userId="9dd81366-5d6f-445a-b031-6ea562624431" providerId="ADAL" clId="{1012AE1A-29B0-4E90-8835-842C30BC7D2A}" dt="2023-01-04T23:52:09.652" v="55678"/>
          <ac:spMkLst>
            <pc:docMk/>
            <pc:sldMk cId="1589772229" sldId="2134804370"/>
            <ac:spMk id="352" creationId="{C03AE90E-C0B9-A84A-ED95-D70B6399BC93}"/>
          </ac:spMkLst>
        </pc:spChg>
        <pc:spChg chg="add del mod replST">
          <ac:chgData name="Wenwen Zhang" userId="9dd81366-5d6f-445a-b031-6ea562624431" providerId="ADAL" clId="{1012AE1A-29B0-4E90-8835-842C30BC7D2A}" dt="2023-01-04T23:52:09.656" v="55684"/>
          <ac:spMkLst>
            <pc:docMk/>
            <pc:sldMk cId="1589772229" sldId="2134804370"/>
            <ac:spMk id="353" creationId="{77AFD3EC-7910-9E64-7FBE-5215ED21CA04}"/>
          </ac:spMkLst>
        </pc:spChg>
        <pc:spChg chg="add del mod replST">
          <ac:chgData name="Wenwen Zhang" userId="9dd81366-5d6f-445a-b031-6ea562624431" providerId="ADAL" clId="{1012AE1A-29B0-4E90-8835-842C30BC7D2A}" dt="2023-01-04T23:52:09.656" v="55683"/>
          <ac:spMkLst>
            <pc:docMk/>
            <pc:sldMk cId="1589772229" sldId="2134804370"/>
            <ac:spMk id="354" creationId="{5FA69AD2-F52D-84F8-96D5-633E9D9ECFDB}"/>
          </ac:spMkLst>
        </pc:spChg>
        <pc:spChg chg="add del mod replST">
          <ac:chgData name="Wenwen Zhang" userId="9dd81366-5d6f-445a-b031-6ea562624431" providerId="ADAL" clId="{1012AE1A-29B0-4E90-8835-842C30BC7D2A}" dt="2023-01-04T23:52:09.655" v="55681"/>
          <ac:spMkLst>
            <pc:docMk/>
            <pc:sldMk cId="1589772229" sldId="2134804370"/>
            <ac:spMk id="355" creationId="{E0F8DED9-86FA-7745-D7F0-276D40183CFF}"/>
          </ac:spMkLst>
        </pc:spChg>
        <pc:spChg chg="add del mod replST">
          <ac:chgData name="Wenwen Zhang" userId="9dd81366-5d6f-445a-b031-6ea562624431" providerId="ADAL" clId="{1012AE1A-29B0-4E90-8835-842C30BC7D2A}" dt="2023-01-04T23:52:09.655" v="55682"/>
          <ac:spMkLst>
            <pc:docMk/>
            <pc:sldMk cId="1589772229" sldId="2134804370"/>
            <ac:spMk id="356" creationId="{FD39BEDF-AA1F-1D40-A1CE-F87839651C7C}"/>
          </ac:spMkLst>
        </pc:spChg>
        <pc:spChg chg="add del mod replST">
          <ac:chgData name="Wenwen Zhang" userId="9dd81366-5d6f-445a-b031-6ea562624431" providerId="ADAL" clId="{1012AE1A-29B0-4E90-8835-842C30BC7D2A}" dt="2023-01-04T23:52:09.654" v="55679"/>
          <ac:spMkLst>
            <pc:docMk/>
            <pc:sldMk cId="1589772229" sldId="2134804370"/>
            <ac:spMk id="357" creationId="{B851480F-3018-AC34-E7ED-B4EC5585E8E6}"/>
          </ac:spMkLst>
        </pc:spChg>
        <pc:spChg chg="add del mod replST">
          <ac:chgData name="Wenwen Zhang" userId="9dd81366-5d6f-445a-b031-6ea562624431" providerId="ADAL" clId="{1012AE1A-29B0-4E90-8835-842C30BC7D2A}" dt="2023-01-04T23:52:09.655" v="55680"/>
          <ac:spMkLst>
            <pc:docMk/>
            <pc:sldMk cId="1589772229" sldId="2134804370"/>
            <ac:spMk id="358" creationId="{15A8E8DA-CF46-4CEA-095A-CE554B52A2F9}"/>
          </ac:spMkLst>
        </pc:spChg>
        <pc:spChg chg="add del mod replST">
          <ac:chgData name="Wenwen Zhang" userId="9dd81366-5d6f-445a-b031-6ea562624431" providerId="ADAL" clId="{1012AE1A-29B0-4E90-8835-842C30BC7D2A}" dt="2023-01-04T23:52:09.656" v="55685"/>
          <ac:spMkLst>
            <pc:docMk/>
            <pc:sldMk cId="1589772229" sldId="2134804370"/>
            <ac:spMk id="359" creationId="{9A664172-DEEC-6C10-6DDC-FAAAA8C63B1B}"/>
          </ac:spMkLst>
        </pc:spChg>
        <pc:spChg chg="add del mod replST">
          <ac:chgData name="Wenwen Zhang" userId="9dd81366-5d6f-445a-b031-6ea562624431" providerId="ADAL" clId="{1012AE1A-29B0-4E90-8835-842C30BC7D2A}" dt="2023-01-04T23:52:09.657" v="55689"/>
          <ac:spMkLst>
            <pc:docMk/>
            <pc:sldMk cId="1589772229" sldId="2134804370"/>
            <ac:spMk id="361" creationId="{B7289C12-F3E0-8026-DF73-FCEC592484C3}"/>
          </ac:spMkLst>
        </pc:spChg>
        <pc:spChg chg="add del mod replST">
          <ac:chgData name="Wenwen Zhang" userId="9dd81366-5d6f-445a-b031-6ea562624431" providerId="ADAL" clId="{1012AE1A-29B0-4E90-8835-842C30BC7D2A}" dt="2023-01-04T23:52:09.656" v="55686"/>
          <ac:spMkLst>
            <pc:docMk/>
            <pc:sldMk cId="1589772229" sldId="2134804370"/>
            <ac:spMk id="362" creationId="{EACCE4A3-9A4B-E0F6-B82D-123E66FD16A4}"/>
          </ac:spMkLst>
        </pc:spChg>
        <pc:spChg chg="add del mod modVis">
          <ac:chgData name="Wenwen Zhang" userId="9dd81366-5d6f-445a-b031-6ea562624431" providerId="ADAL" clId="{1012AE1A-29B0-4E90-8835-842C30BC7D2A}" dt="2023-01-04T23:47:52.108" v="54803"/>
          <ac:spMkLst>
            <pc:docMk/>
            <pc:sldMk cId="1589772229" sldId="2134804370"/>
            <ac:spMk id="363" creationId="{20EB2A31-6003-C5FD-0CC3-9F5DF912B6F1}"/>
          </ac:spMkLst>
        </pc:spChg>
        <pc:spChg chg="add del mod replST">
          <ac:chgData name="Wenwen Zhang" userId="9dd81366-5d6f-445a-b031-6ea562624431" providerId="ADAL" clId="{1012AE1A-29B0-4E90-8835-842C30BC7D2A}" dt="2023-01-04T23:49:12.382" v="55146"/>
          <ac:spMkLst>
            <pc:docMk/>
            <pc:sldMk cId="1589772229" sldId="2134804370"/>
            <ac:spMk id="365" creationId="{18CFCBAF-DF62-B582-7164-F3713F55370F}"/>
          </ac:spMkLst>
        </pc:spChg>
        <pc:spChg chg="add del mod replST">
          <ac:chgData name="Wenwen Zhang" userId="9dd81366-5d6f-445a-b031-6ea562624431" providerId="ADAL" clId="{1012AE1A-29B0-4E90-8835-842C30BC7D2A}" dt="2023-01-04T23:49:12.386" v="55147"/>
          <ac:spMkLst>
            <pc:docMk/>
            <pc:sldMk cId="1589772229" sldId="2134804370"/>
            <ac:spMk id="366" creationId="{51E597DB-76A8-A8C6-3397-314C0F6551B9}"/>
          </ac:spMkLst>
        </pc:spChg>
        <pc:spChg chg="add del mod replST">
          <ac:chgData name="Wenwen Zhang" userId="9dd81366-5d6f-445a-b031-6ea562624431" providerId="ADAL" clId="{1012AE1A-29B0-4E90-8835-842C30BC7D2A}" dt="2023-01-04T23:49:12.387" v="55148"/>
          <ac:spMkLst>
            <pc:docMk/>
            <pc:sldMk cId="1589772229" sldId="2134804370"/>
            <ac:spMk id="367" creationId="{A65D98B9-346B-E4E6-29DD-AA1277952D97}"/>
          </ac:spMkLst>
        </pc:spChg>
        <pc:spChg chg="add del mod replST">
          <ac:chgData name="Wenwen Zhang" userId="9dd81366-5d6f-445a-b031-6ea562624431" providerId="ADAL" clId="{1012AE1A-29B0-4E90-8835-842C30BC7D2A}" dt="2023-01-04T23:49:12.387" v="55149"/>
          <ac:spMkLst>
            <pc:docMk/>
            <pc:sldMk cId="1589772229" sldId="2134804370"/>
            <ac:spMk id="368" creationId="{AF472AED-844C-AA8A-635A-EEEC678E36AB}"/>
          </ac:spMkLst>
        </pc:spChg>
        <pc:spChg chg="add del mod replST">
          <ac:chgData name="Wenwen Zhang" userId="9dd81366-5d6f-445a-b031-6ea562624431" providerId="ADAL" clId="{1012AE1A-29B0-4E90-8835-842C30BC7D2A}" dt="2023-01-04T23:49:12.388" v="55150"/>
          <ac:spMkLst>
            <pc:docMk/>
            <pc:sldMk cId="1589772229" sldId="2134804370"/>
            <ac:spMk id="369" creationId="{11CE74F9-1311-A703-BB7D-368EC1951FA3}"/>
          </ac:spMkLst>
        </pc:spChg>
        <pc:spChg chg="add del mod replST">
          <ac:chgData name="Wenwen Zhang" userId="9dd81366-5d6f-445a-b031-6ea562624431" providerId="ADAL" clId="{1012AE1A-29B0-4E90-8835-842C30BC7D2A}" dt="2023-01-04T23:49:12.388" v="55151"/>
          <ac:spMkLst>
            <pc:docMk/>
            <pc:sldMk cId="1589772229" sldId="2134804370"/>
            <ac:spMk id="370" creationId="{4E77E259-C637-E79B-1CC9-C6D3A7054BCA}"/>
          </ac:spMkLst>
        </pc:spChg>
        <pc:spChg chg="add del mod replST">
          <ac:chgData name="Wenwen Zhang" userId="9dd81366-5d6f-445a-b031-6ea562624431" providerId="ADAL" clId="{1012AE1A-29B0-4E90-8835-842C30BC7D2A}" dt="2023-01-04T23:49:12.388" v="55152"/>
          <ac:spMkLst>
            <pc:docMk/>
            <pc:sldMk cId="1589772229" sldId="2134804370"/>
            <ac:spMk id="371" creationId="{FAFDB863-9CBA-839F-5B65-AA3735EDD247}"/>
          </ac:spMkLst>
        </pc:spChg>
        <pc:spChg chg="add del mod replST">
          <ac:chgData name="Wenwen Zhang" userId="9dd81366-5d6f-445a-b031-6ea562624431" providerId="ADAL" clId="{1012AE1A-29B0-4E90-8835-842C30BC7D2A}" dt="2023-01-04T23:49:12.389" v="55153"/>
          <ac:spMkLst>
            <pc:docMk/>
            <pc:sldMk cId="1589772229" sldId="2134804370"/>
            <ac:spMk id="372" creationId="{5D354243-C9E2-0297-18D4-E79E5ECBAB1E}"/>
          </ac:spMkLst>
        </pc:spChg>
        <pc:spChg chg="add del mod modVis">
          <ac:chgData name="Wenwen Zhang" userId="9dd81366-5d6f-445a-b031-6ea562624431" providerId="ADAL" clId="{1012AE1A-29B0-4E90-8835-842C30BC7D2A}" dt="2023-01-04T23:49:08.064" v="55143"/>
          <ac:spMkLst>
            <pc:docMk/>
            <pc:sldMk cId="1589772229" sldId="2134804370"/>
            <ac:spMk id="373" creationId="{9CC3C141-A3D8-4488-C365-659634B7323C}"/>
          </ac:spMkLst>
        </pc:spChg>
        <pc:spChg chg="add del mod modVis">
          <ac:chgData name="Wenwen Zhang" userId="9dd81366-5d6f-445a-b031-6ea562624431" providerId="ADAL" clId="{1012AE1A-29B0-4E90-8835-842C30BC7D2A}" dt="2023-01-04T23:49:12.502" v="55288"/>
          <ac:spMkLst>
            <pc:docMk/>
            <pc:sldMk cId="1589772229" sldId="2134804370"/>
            <ac:spMk id="375" creationId="{C1A49A09-C9D0-4857-F941-A15B6E5E93D4}"/>
          </ac:spMkLst>
        </pc:spChg>
        <pc:spChg chg="add del mod modVis">
          <ac:chgData name="Wenwen Zhang" userId="9dd81366-5d6f-445a-b031-6ea562624431" providerId="ADAL" clId="{1012AE1A-29B0-4E90-8835-842C30BC7D2A}" dt="2023-01-04T23:49:36.596" v="55425"/>
          <ac:spMkLst>
            <pc:docMk/>
            <pc:sldMk cId="1589772229" sldId="2134804370"/>
            <ac:spMk id="377" creationId="{893A937B-734B-B9A1-AD76-BD9FFA4AF245}"/>
          </ac:spMkLst>
        </pc:spChg>
        <pc:spChg chg="add del mod modVis">
          <ac:chgData name="Wenwen Zhang" userId="9dd81366-5d6f-445a-b031-6ea562624431" providerId="ADAL" clId="{1012AE1A-29B0-4E90-8835-842C30BC7D2A}" dt="2023-01-04T23:49:57.545" v="55550"/>
          <ac:spMkLst>
            <pc:docMk/>
            <pc:sldMk cId="1589772229" sldId="2134804370"/>
            <ac:spMk id="379" creationId="{B98D2258-836C-A233-427A-76FDEA8276B7}"/>
          </ac:spMkLst>
        </pc:spChg>
        <pc:spChg chg="add del mod modVis">
          <ac:chgData name="Wenwen Zhang" userId="9dd81366-5d6f-445a-b031-6ea562624431" providerId="ADAL" clId="{1012AE1A-29B0-4E90-8835-842C30BC7D2A}" dt="2023-01-04T23:50:56.690" v="55675"/>
          <ac:spMkLst>
            <pc:docMk/>
            <pc:sldMk cId="1589772229" sldId="2134804370"/>
            <ac:spMk id="381" creationId="{74251877-4627-78F8-D7A2-F27E5D2D06B6}"/>
          </ac:spMkLst>
        </pc:spChg>
        <pc:spChg chg="add del mod modVis">
          <ac:chgData name="Wenwen Zhang" userId="9dd81366-5d6f-445a-b031-6ea562624431" providerId="ADAL" clId="{1012AE1A-29B0-4E90-8835-842C30BC7D2A}" dt="2023-01-04T23:52:51.503" v="55755"/>
          <ac:spMkLst>
            <pc:docMk/>
            <pc:sldMk cId="1589772229" sldId="2134804370"/>
            <ac:spMk id="383" creationId="{9BAA098A-6450-0087-D490-8AD107F63A41}"/>
          </ac:spMkLst>
        </pc:spChg>
        <pc:spChg chg="add del mod modVis">
          <ac:chgData name="Wenwen Zhang" userId="9dd81366-5d6f-445a-b031-6ea562624431" providerId="ADAL" clId="{1012AE1A-29B0-4E90-8835-842C30BC7D2A}" dt="2023-01-04T23:52:53.124" v="55819"/>
          <ac:spMkLst>
            <pc:docMk/>
            <pc:sldMk cId="1589772229" sldId="2134804370"/>
            <ac:spMk id="384" creationId="{EE3ADB42-9F25-A9D9-1C37-7E9430B08D63}"/>
          </ac:spMkLst>
        </pc:spChg>
        <pc:spChg chg="add del mod modVis">
          <ac:chgData name="Wenwen Zhang" userId="9dd81366-5d6f-445a-b031-6ea562624431" providerId="ADAL" clId="{1012AE1A-29B0-4E90-8835-842C30BC7D2A}" dt="2023-01-04T23:53:07.805" v="55955"/>
          <ac:spMkLst>
            <pc:docMk/>
            <pc:sldMk cId="1589772229" sldId="2134804370"/>
            <ac:spMk id="385" creationId="{333CFAFE-E8B1-EFF4-B183-3E8ED1B5ABA6}"/>
          </ac:spMkLst>
        </pc:spChg>
        <pc:spChg chg="add del mod modVis">
          <ac:chgData name="Wenwen Zhang" userId="9dd81366-5d6f-445a-b031-6ea562624431" providerId="ADAL" clId="{1012AE1A-29B0-4E90-8835-842C30BC7D2A}" dt="2023-01-04T23:53:08.409" v="56015"/>
          <ac:spMkLst>
            <pc:docMk/>
            <pc:sldMk cId="1589772229" sldId="2134804370"/>
            <ac:spMk id="386" creationId="{BFE0297D-90FB-004A-447A-937CA30ABF73}"/>
          </ac:spMkLst>
        </pc:spChg>
        <pc:spChg chg="add del mod modVis">
          <ac:chgData name="Wenwen Zhang" userId="9dd81366-5d6f-445a-b031-6ea562624431" providerId="ADAL" clId="{1012AE1A-29B0-4E90-8835-842C30BC7D2A}" dt="2023-01-04T23:53:09.722" v="56078"/>
          <ac:spMkLst>
            <pc:docMk/>
            <pc:sldMk cId="1589772229" sldId="2134804370"/>
            <ac:spMk id="387" creationId="{0A0F616E-1BBF-FC16-8FDC-09E0CEA72823}"/>
          </ac:spMkLst>
        </pc:spChg>
        <pc:spChg chg="add del mod modVis">
          <ac:chgData name="Wenwen Zhang" userId="9dd81366-5d6f-445a-b031-6ea562624431" providerId="ADAL" clId="{1012AE1A-29B0-4E90-8835-842C30BC7D2A}" dt="2023-01-04T23:53:46.727" v="56203"/>
          <ac:spMkLst>
            <pc:docMk/>
            <pc:sldMk cId="1589772229" sldId="2134804370"/>
            <ac:spMk id="388" creationId="{7024669D-915B-47EB-3431-2DB96E4DEBFF}"/>
          </ac:spMkLst>
        </pc:spChg>
        <pc:spChg chg="add del mod modVis">
          <ac:chgData name="Wenwen Zhang" userId="9dd81366-5d6f-445a-b031-6ea562624431" providerId="ADAL" clId="{1012AE1A-29B0-4E90-8835-842C30BC7D2A}" dt="2023-01-04T23:54:07.352" v="56300"/>
          <ac:spMkLst>
            <pc:docMk/>
            <pc:sldMk cId="1589772229" sldId="2134804370"/>
            <ac:spMk id="390" creationId="{575A4F45-4FE2-C268-5CE1-D9B77F2E3A51}"/>
          </ac:spMkLst>
        </pc:spChg>
        <pc:spChg chg="add del mod modVis">
          <ac:chgData name="Wenwen Zhang" userId="9dd81366-5d6f-445a-b031-6ea562624431" providerId="ADAL" clId="{1012AE1A-29B0-4E90-8835-842C30BC7D2A}" dt="2023-01-04T23:54:17.244" v="56397"/>
          <ac:spMkLst>
            <pc:docMk/>
            <pc:sldMk cId="1589772229" sldId="2134804370"/>
            <ac:spMk id="392" creationId="{F09D4530-C441-7CEF-78DD-70E0987A403C}"/>
          </ac:spMkLst>
        </pc:spChg>
        <pc:spChg chg="add del mod modVis">
          <ac:chgData name="Wenwen Zhang" userId="9dd81366-5d6f-445a-b031-6ea562624431" providerId="ADAL" clId="{1012AE1A-29B0-4E90-8835-842C30BC7D2A}" dt="2023-01-04T23:55:40.600" v="56678"/>
          <ac:spMkLst>
            <pc:docMk/>
            <pc:sldMk cId="1589772229" sldId="2134804370"/>
            <ac:spMk id="394" creationId="{BBA0F0A2-0F6E-833A-B6B1-BDE873A30C5F}"/>
          </ac:spMkLst>
        </pc:spChg>
        <pc:spChg chg="add del mod modVis">
          <ac:chgData name="Wenwen Zhang" userId="9dd81366-5d6f-445a-b031-6ea562624431" providerId="ADAL" clId="{1012AE1A-29B0-4E90-8835-842C30BC7D2A}" dt="2023-01-04T23:55:45.222" v="56959"/>
          <ac:spMkLst>
            <pc:docMk/>
            <pc:sldMk cId="1589772229" sldId="2134804370"/>
            <ac:spMk id="396" creationId="{18C41369-DF78-B400-CC9A-FFAB060707F4}"/>
          </ac:spMkLst>
        </pc:spChg>
        <pc:spChg chg="add del mod modVis">
          <ac:chgData name="Wenwen Zhang" userId="9dd81366-5d6f-445a-b031-6ea562624431" providerId="ADAL" clId="{1012AE1A-29B0-4E90-8835-842C30BC7D2A}" dt="2023-01-04T23:56:46.637" v="57699"/>
          <ac:spMkLst>
            <pc:docMk/>
            <pc:sldMk cId="1589772229" sldId="2134804370"/>
            <ac:spMk id="398" creationId="{70BA966C-127E-6064-5D9A-0908D42D89EE}"/>
          </ac:spMkLst>
        </pc:spChg>
        <pc:spChg chg="add del mod ord replST">
          <ac:chgData name="Wenwen Zhang" userId="9dd81366-5d6f-445a-b031-6ea562624431" providerId="ADAL" clId="{1012AE1A-29B0-4E90-8835-842C30BC7D2A}" dt="2023-01-05T00:31:13.854" v="60772"/>
          <ac:spMkLst>
            <pc:docMk/>
            <pc:sldMk cId="1589772229" sldId="2134804370"/>
            <ac:spMk id="401" creationId="{DA232A69-C02E-D01A-4CA4-689AA861B46E}"/>
          </ac:spMkLst>
        </pc:spChg>
        <pc:spChg chg="add del mod ord replST">
          <ac:chgData name="Wenwen Zhang" userId="9dd81366-5d6f-445a-b031-6ea562624431" providerId="ADAL" clId="{1012AE1A-29B0-4E90-8835-842C30BC7D2A}" dt="2023-01-04T23:59:22.676" v="58678"/>
          <ac:spMkLst>
            <pc:docMk/>
            <pc:sldMk cId="1589772229" sldId="2134804370"/>
            <ac:spMk id="402" creationId="{41A6BD09-8A65-E0C8-934D-39B6BD3550AC}"/>
          </ac:spMkLst>
        </pc:spChg>
        <pc:spChg chg="add del mod ord replST">
          <ac:chgData name="Wenwen Zhang" userId="9dd81366-5d6f-445a-b031-6ea562624431" providerId="ADAL" clId="{1012AE1A-29B0-4E90-8835-842C30BC7D2A}" dt="2023-01-05T00:31:13.857" v="60775"/>
          <ac:spMkLst>
            <pc:docMk/>
            <pc:sldMk cId="1589772229" sldId="2134804370"/>
            <ac:spMk id="403" creationId="{5F3FAE8C-BECD-7097-1FDB-D9EFD21DCFA8}"/>
          </ac:spMkLst>
        </pc:spChg>
        <pc:spChg chg="add del mod replST">
          <ac:chgData name="Wenwen Zhang" userId="9dd81366-5d6f-445a-b031-6ea562624431" providerId="ADAL" clId="{1012AE1A-29B0-4E90-8835-842C30BC7D2A}" dt="2023-01-05T00:31:13.855" v="60773"/>
          <ac:spMkLst>
            <pc:docMk/>
            <pc:sldMk cId="1589772229" sldId="2134804370"/>
            <ac:spMk id="404" creationId="{4F0C230C-3033-3D9A-9BF7-2DEEF2A51044}"/>
          </ac:spMkLst>
        </pc:spChg>
        <pc:spChg chg="add del mod replST">
          <ac:chgData name="Wenwen Zhang" userId="9dd81366-5d6f-445a-b031-6ea562624431" providerId="ADAL" clId="{1012AE1A-29B0-4E90-8835-842C30BC7D2A}" dt="2023-01-04T23:59:22.678" v="58679"/>
          <ac:spMkLst>
            <pc:docMk/>
            <pc:sldMk cId="1589772229" sldId="2134804370"/>
            <ac:spMk id="405" creationId="{ED64C8FB-5565-AE8E-26CA-AD761372453F}"/>
          </ac:spMkLst>
        </pc:spChg>
        <pc:spChg chg="add del mod replST">
          <ac:chgData name="Wenwen Zhang" userId="9dd81366-5d6f-445a-b031-6ea562624431" providerId="ADAL" clId="{1012AE1A-29B0-4E90-8835-842C30BC7D2A}" dt="2023-01-05T00:31:13.858" v="60776"/>
          <ac:spMkLst>
            <pc:docMk/>
            <pc:sldMk cId="1589772229" sldId="2134804370"/>
            <ac:spMk id="406" creationId="{A97D0795-88D8-3F9C-68FF-5E49D4D62E63}"/>
          </ac:spMkLst>
        </pc:spChg>
        <pc:spChg chg="add del mod modVis">
          <ac:chgData name="Wenwen Zhang" userId="9dd81366-5d6f-445a-b031-6ea562624431" providerId="ADAL" clId="{1012AE1A-29B0-4E90-8835-842C30BC7D2A}" dt="2023-01-04T23:58:51.672" v="58012"/>
          <ac:spMkLst>
            <pc:docMk/>
            <pc:sldMk cId="1589772229" sldId="2134804370"/>
            <ac:spMk id="407" creationId="{B23E6948-C215-3826-1EFA-B04BAE24CA87}"/>
          </ac:spMkLst>
        </pc:spChg>
        <pc:spChg chg="add del mod modVis">
          <ac:chgData name="Wenwen Zhang" userId="9dd81366-5d6f-445a-b031-6ea562624431" providerId="ADAL" clId="{1012AE1A-29B0-4E90-8835-842C30BC7D2A}" dt="2023-01-04T23:59:03.291" v="58148"/>
          <ac:spMkLst>
            <pc:docMk/>
            <pc:sldMk cId="1589772229" sldId="2134804370"/>
            <ac:spMk id="409" creationId="{BFFF0340-10E9-9FC8-5DD0-17BE96BD03F3}"/>
          </ac:spMkLst>
        </pc:spChg>
        <pc:spChg chg="add del mod modVis">
          <ac:chgData name="Wenwen Zhang" userId="9dd81366-5d6f-445a-b031-6ea562624431" providerId="ADAL" clId="{1012AE1A-29B0-4E90-8835-842C30BC7D2A}" dt="2023-01-04T23:59:08.418" v="58289"/>
          <ac:spMkLst>
            <pc:docMk/>
            <pc:sldMk cId="1589772229" sldId="2134804370"/>
            <ac:spMk id="411" creationId="{6621943E-BEA8-011C-7B64-134FB2DB871F}"/>
          </ac:spMkLst>
        </pc:spChg>
        <pc:spChg chg="add del mod modVis">
          <ac:chgData name="Wenwen Zhang" userId="9dd81366-5d6f-445a-b031-6ea562624431" providerId="ADAL" clId="{1012AE1A-29B0-4E90-8835-842C30BC7D2A}" dt="2023-01-04T23:59:11.636" v="58393"/>
          <ac:spMkLst>
            <pc:docMk/>
            <pc:sldMk cId="1589772229" sldId="2134804370"/>
            <ac:spMk id="413" creationId="{EB2DCCDF-41BC-CD24-343F-0C20B5D1E7CC}"/>
          </ac:spMkLst>
        </pc:spChg>
        <pc:spChg chg="add del mod modVis">
          <ac:chgData name="Wenwen Zhang" userId="9dd81366-5d6f-445a-b031-6ea562624431" providerId="ADAL" clId="{1012AE1A-29B0-4E90-8835-842C30BC7D2A}" dt="2023-01-04T23:59:15.834" v="58529"/>
          <ac:spMkLst>
            <pc:docMk/>
            <pc:sldMk cId="1589772229" sldId="2134804370"/>
            <ac:spMk id="415" creationId="{4C634999-798E-CE85-C6D1-74DDB341DC2A}"/>
          </ac:spMkLst>
        </pc:spChg>
        <pc:spChg chg="add del mod modVis">
          <ac:chgData name="Wenwen Zhang" userId="9dd81366-5d6f-445a-b031-6ea562624431" providerId="ADAL" clId="{1012AE1A-29B0-4E90-8835-842C30BC7D2A}" dt="2023-01-04T23:59:20.365" v="58665"/>
          <ac:spMkLst>
            <pc:docMk/>
            <pc:sldMk cId="1589772229" sldId="2134804370"/>
            <ac:spMk id="417" creationId="{2CBDA97A-A8C0-4EF9-CE01-5424F19EB874}"/>
          </ac:spMkLst>
        </pc:spChg>
        <pc:spChg chg="add del mod modVis">
          <ac:chgData name="Wenwen Zhang" userId="9dd81366-5d6f-445a-b031-6ea562624431" providerId="ADAL" clId="{1012AE1A-29B0-4E90-8835-842C30BC7D2A}" dt="2023-01-04T23:59:22.764" v="58777"/>
          <ac:spMkLst>
            <pc:docMk/>
            <pc:sldMk cId="1589772229" sldId="2134804370"/>
            <ac:spMk id="419" creationId="{E67F6580-7020-0A7F-1766-2223706BA254}"/>
          </ac:spMkLst>
        </pc:spChg>
        <pc:spChg chg="add del mod modVis">
          <ac:chgData name="Wenwen Zhang" userId="9dd81366-5d6f-445a-b031-6ea562624431" providerId="ADAL" clId="{1012AE1A-29B0-4E90-8835-842C30BC7D2A}" dt="2023-01-04T23:59:26.730" v="58917"/>
          <ac:spMkLst>
            <pc:docMk/>
            <pc:sldMk cId="1589772229" sldId="2134804370"/>
            <ac:spMk id="421" creationId="{5C66D447-8DD7-EC22-4A2C-654B76B23CDB}"/>
          </ac:spMkLst>
        </pc:spChg>
        <pc:spChg chg="add del mod modVis">
          <ac:chgData name="Wenwen Zhang" userId="9dd81366-5d6f-445a-b031-6ea562624431" providerId="ADAL" clId="{1012AE1A-29B0-4E90-8835-842C30BC7D2A}" dt="2023-01-04T23:59:28.453" v="59019"/>
          <ac:spMkLst>
            <pc:docMk/>
            <pc:sldMk cId="1589772229" sldId="2134804370"/>
            <ac:spMk id="423" creationId="{8CC1D39F-C95B-65A8-3709-80011F7EB488}"/>
          </ac:spMkLst>
        </pc:spChg>
        <pc:spChg chg="add del mod ord replST">
          <ac:chgData name="Wenwen Zhang" userId="9dd81366-5d6f-445a-b031-6ea562624431" providerId="ADAL" clId="{1012AE1A-29B0-4E90-8835-842C30BC7D2A}" dt="2023-01-05T00:04:03.233" v="59726"/>
          <ac:spMkLst>
            <pc:docMk/>
            <pc:sldMk cId="1589772229" sldId="2134804370"/>
            <ac:spMk id="426" creationId="{AEF7C6BC-F0C4-DA26-C2F6-9F52AB0E3912}"/>
          </ac:spMkLst>
        </pc:spChg>
        <pc:spChg chg="add del mod ord replST">
          <ac:chgData name="Wenwen Zhang" userId="9dd81366-5d6f-445a-b031-6ea562624431" providerId="ADAL" clId="{1012AE1A-29B0-4E90-8835-842C30BC7D2A}" dt="2023-01-05T00:20:37.878" v="60759"/>
          <ac:spMkLst>
            <pc:docMk/>
            <pc:sldMk cId="1589772229" sldId="2134804370"/>
            <ac:spMk id="427" creationId="{BAA531CB-4A08-D700-DDBA-FFC679B9FFB5}"/>
          </ac:spMkLst>
        </pc:spChg>
        <pc:spChg chg="add del mod replST">
          <ac:chgData name="Wenwen Zhang" userId="9dd81366-5d6f-445a-b031-6ea562624431" providerId="ADAL" clId="{1012AE1A-29B0-4E90-8835-842C30BC7D2A}" dt="2023-01-05T00:04:03.233" v="59727"/>
          <ac:spMkLst>
            <pc:docMk/>
            <pc:sldMk cId="1589772229" sldId="2134804370"/>
            <ac:spMk id="428" creationId="{2F2D6393-0C88-D22D-D392-D6B722508231}"/>
          </ac:spMkLst>
        </pc:spChg>
        <pc:spChg chg="add del mod replST">
          <ac:chgData name="Wenwen Zhang" userId="9dd81366-5d6f-445a-b031-6ea562624431" providerId="ADAL" clId="{1012AE1A-29B0-4E90-8835-842C30BC7D2A}" dt="2023-01-05T00:20:37.878" v="60760"/>
          <ac:spMkLst>
            <pc:docMk/>
            <pc:sldMk cId="1589772229" sldId="2134804370"/>
            <ac:spMk id="429" creationId="{C6D5A3E6-573D-01F2-A151-0E44FE329F05}"/>
          </ac:spMkLst>
        </pc:spChg>
        <pc:spChg chg="add del mod modVis">
          <ac:chgData name="Wenwen Zhang" userId="9dd81366-5d6f-445a-b031-6ea562624431" providerId="ADAL" clId="{1012AE1A-29B0-4E90-8835-842C30BC7D2A}" dt="2023-01-05T00:03:21.160" v="59446"/>
          <ac:spMkLst>
            <pc:docMk/>
            <pc:sldMk cId="1589772229" sldId="2134804370"/>
            <ac:spMk id="430" creationId="{21418254-F5A4-5CE7-3CF4-352D565437BC}"/>
          </ac:spMkLst>
        </pc:spChg>
        <pc:spChg chg="add del mod modVis">
          <ac:chgData name="Wenwen Zhang" userId="9dd81366-5d6f-445a-b031-6ea562624431" providerId="ADAL" clId="{1012AE1A-29B0-4E90-8835-842C30BC7D2A}" dt="2023-01-05T00:03:38.966" v="59610"/>
          <ac:spMkLst>
            <pc:docMk/>
            <pc:sldMk cId="1589772229" sldId="2134804370"/>
            <ac:spMk id="432" creationId="{FBB73B04-179F-9F9B-740A-B43676D6B9B7}"/>
          </ac:spMkLst>
        </pc:spChg>
        <pc:spChg chg="add del mod modVis">
          <ac:chgData name="Wenwen Zhang" userId="9dd81366-5d6f-445a-b031-6ea562624431" providerId="ADAL" clId="{1012AE1A-29B0-4E90-8835-842C30BC7D2A}" dt="2023-01-05T00:03:43.101" v="59722"/>
          <ac:spMkLst>
            <pc:docMk/>
            <pc:sldMk cId="1589772229" sldId="2134804370"/>
            <ac:spMk id="434" creationId="{25EE2BEC-E9E2-EC18-AD22-9D29C130B49E}"/>
          </ac:spMkLst>
        </pc:spChg>
        <pc:spChg chg="add del mod modVis">
          <ac:chgData name="Wenwen Zhang" userId="9dd81366-5d6f-445a-b031-6ea562624431" providerId="ADAL" clId="{1012AE1A-29B0-4E90-8835-842C30BC7D2A}" dt="2023-01-05T00:04:03.331" v="59853"/>
          <ac:spMkLst>
            <pc:docMk/>
            <pc:sldMk cId="1589772229" sldId="2134804370"/>
            <ac:spMk id="436" creationId="{E8529F1F-57BD-BAA9-1823-49082172D9D7}"/>
          </ac:spMkLst>
        </pc:spChg>
        <pc:spChg chg="add del mod replST">
          <ac:chgData name="Wenwen Zhang" userId="9dd81366-5d6f-445a-b031-6ea562624431" providerId="ADAL" clId="{1012AE1A-29B0-4E90-8835-842C30BC7D2A}" dt="2023-01-05T00:20:37.877" v="60757"/>
          <ac:spMkLst>
            <pc:docMk/>
            <pc:sldMk cId="1589772229" sldId="2134804370"/>
            <ac:spMk id="438" creationId="{A2EC0E23-F180-5D2F-532E-D83AFBC32081}"/>
          </ac:spMkLst>
        </pc:spChg>
        <pc:spChg chg="add del mod modVis">
          <ac:chgData name="Wenwen Zhang" userId="9dd81366-5d6f-445a-b031-6ea562624431" providerId="ADAL" clId="{1012AE1A-29B0-4E90-8835-842C30BC7D2A}" dt="2023-01-05T00:04:05.383" v="60077"/>
          <ac:spMkLst>
            <pc:docMk/>
            <pc:sldMk cId="1589772229" sldId="2134804370"/>
            <ac:spMk id="439" creationId="{4C87DB38-4298-496A-3E1E-473D0ADE5646}"/>
          </ac:spMkLst>
        </pc:spChg>
        <pc:spChg chg="add del mod replST">
          <ac:chgData name="Wenwen Zhang" userId="9dd81366-5d6f-445a-b031-6ea562624431" providerId="ADAL" clId="{1012AE1A-29B0-4E90-8835-842C30BC7D2A}" dt="2023-01-05T00:20:37.876" v="60756"/>
          <ac:spMkLst>
            <pc:docMk/>
            <pc:sldMk cId="1589772229" sldId="2134804370"/>
            <ac:spMk id="441" creationId="{81C38341-F791-853A-0BD2-FEB8C4D025AF}"/>
          </ac:spMkLst>
        </pc:spChg>
        <pc:spChg chg="add del mod modVis">
          <ac:chgData name="Wenwen Zhang" userId="9dd81366-5d6f-445a-b031-6ea562624431" providerId="ADAL" clId="{1012AE1A-29B0-4E90-8835-842C30BC7D2A}" dt="2023-01-05T00:05:06.124" v="60230"/>
          <ac:spMkLst>
            <pc:docMk/>
            <pc:sldMk cId="1589772229" sldId="2134804370"/>
            <ac:spMk id="442" creationId="{BF85A48C-9D2B-1C93-41FD-C7A6F0932AAD}"/>
          </ac:spMkLst>
        </pc:spChg>
        <pc:spChg chg="add del mod modVis">
          <ac:chgData name="Wenwen Zhang" userId="9dd81366-5d6f-445a-b031-6ea562624431" providerId="ADAL" clId="{1012AE1A-29B0-4E90-8835-842C30BC7D2A}" dt="2023-01-05T00:17:17.470" v="60477"/>
          <ac:spMkLst>
            <pc:docMk/>
            <pc:sldMk cId="1589772229" sldId="2134804370"/>
            <ac:spMk id="444" creationId="{A013C631-1668-FEF7-D39D-128B78BEEA49}"/>
          </ac:spMkLst>
        </pc:spChg>
        <pc:spChg chg="add del mod modVis">
          <ac:chgData name="Wenwen Zhang" userId="9dd81366-5d6f-445a-b031-6ea562624431" providerId="ADAL" clId="{1012AE1A-29B0-4E90-8835-842C30BC7D2A}" dt="2023-01-05T00:17:22.132" v="60638"/>
          <ac:spMkLst>
            <pc:docMk/>
            <pc:sldMk cId="1589772229" sldId="2134804370"/>
            <ac:spMk id="446" creationId="{C4BBC772-0B20-6D61-2565-5D5FFEB370D6}"/>
          </ac:spMkLst>
        </pc:spChg>
        <pc:spChg chg="add del mod modVis">
          <ac:chgData name="Wenwen Zhang" userId="9dd81366-5d6f-445a-b031-6ea562624431" providerId="ADAL" clId="{1012AE1A-29B0-4E90-8835-842C30BC7D2A}" dt="2023-01-05T00:17:24.668" v="60753"/>
          <ac:spMkLst>
            <pc:docMk/>
            <pc:sldMk cId="1589772229" sldId="2134804370"/>
            <ac:spMk id="448" creationId="{A76EF24D-5EAF-2898-A353-1E57196CD4E9}"/>
          </ac:spMkLst>
        </pc:spChg>
        <pc:spChg chg="add del mod modVis">
          <ac:chgData name="Wenwen Zhang" userId="9dd81366-5d6f-445a-b031-6ea562624431" providerId="ADAL" clId="{1012AE1A-29B0-4E90-8835-842C30BC7D2A}" dt="2023-01-05T00:31:42.231" v="61045"/>
          <ac:spMkLst>
            <pc:docMk/>
            <pc:sldMk cId="1589772229" sldId="2134804370"/>
            <ac:spMk id="450" creationId="{C17A50F2-3A20-550A-AE8A-2F4EA52B34FE}"/>
          </ac:spMkLst>
        </pc:spChg>
        <pc:spChg chg="add del mod replST">
          <ac:chgData name="Wenwen Zhang" userId="9dd81366-5d6f-445a-b031-6ea562624431" providerId="ADAL" clId="{1012AE1A-29B0-4E90-8835-842C30BC7D2A}" dt="2023-01-05T00:36:35.497" v="65008"/>
          <ac:spMkLst>
            <pc:docMk/>
            <pc:sldMk cId="1589772229" sldId="2134804370"/>
            <ac:spMk id="451" creationId="{96DB64E7-7450-5BAA-7DCA-6F75AE12EF02}"/>
          </ac:spMkLst>
        </pc:spChg>
        <pc:spChg chg="add del mod replST">
          <ac:chgData name="Wenwen Zhang" userId="9dd81366-5d6f-445a-b031-6ea562624431" providerId="ADAL" clId="{1012AE1A-29B0-4E90-8835-842C30BC7D2A}" dt="2023-01-05T00:36:35.499" v="65011"/>
          <ac:spMkLst>
            <pc:docMk/>
            <pc:sldMk cId="1589772229" sldId="2134804370"/>
            <ac:spMk id="452" creationId="{96DB64E7-7450-5BAA-7DCA-6F75AE12EF02}"/>
          </ac:spMkLst>
        </pc:spChg>
        <pc:spChg chg="add del mod modVis">
          <ac:chgData name="Wenwen Zhang" userId="9dd81366-5d6f-445a-b031-6ea562624431" providerId="ADAL" clId="{1012AE1A-29B0-4E90-8835-842C30BC7D2A}" dt="2023-01-05T00:31:56.596" v="61140"/>
          <ac:spMkLst>
            <pc:docMk/>
            <pc:sldMk cId="1589772229" sldId="2134804370"/>
            <ac:spMk id="454" creationId="{270CE73E-4D4F-99DA-1ED4-F9186E9AE93E}"/>
          </ac:spMkLst>
        </pc:spChg>
        <pc:spChg chg="add del mod modVis">
          <ac:chgData name="Wenwen Zhang" userId="9dd81366-5d6f-445a-b031-6ea562624431" providerId="ADAL" clId="{1012AE1A-29B0-4E90-8835-842C30BC7D2A}" dt="2023-01-05T00:32:59.908" v="61277"/>
          <ac:spMkLst>
            <pc:docMk/>
            <pc:sldMk cId="1589772229" sldId="2134804370"/>
            <ac:spMk id="456" creationId="{3DA7881D-AECC-E306-DE33-CE9D3A16A18D}"/>
          </ac:spMkLst>
        </pc:spChg>
        <pc:spChg chg="add del mod modVis">
          <ac:chgData name="Wenwen Zhang" userId="9dd81366-5d6f-445a-b031-6ea562624431" providerId="ADAL" clId="{1012AE1A-29B0-4E90-8835-842C30BC7D2A}" dt="2023-01-05T00:33:09.085" v="61661"/>
          <ac:spMkLst>
            <pc:docMk/>
            <pc:sldMk cId="1589772229" sldId="2134804370"/>
            <ac:spMk id="458" creationId="{3D2D7F6F-DBBA-97BD-BD5C-1CDB2B64F4AF}"/>
          </ac:spMkLst>
        </pc:spChg>
        <pc:spChg chg="add del mod replST">
          <ac:chgData name="Wenwen Zhang" userId="9dd81366-5d6f-445a-b031-6ea562624431" providerId="ADAL" clId="{1012AE1A-29B0-4E90-8835-842C30BC7D2A}" dt="2023-01-05T00:50:23.602" v="68041"/>
          <ac:spMkLst>
            <pc:docMk/>
            <pc:sldMk cId="1589772229" sldId="2134804370"/>
            <ac:spMk id="459" creationId="{96DB64E7-7450-5BAA-7DCA-6F75AE12EF02}"/>
          </ac:spMkLst>
        </pc:spChg>
        <pc:spChg chg="add del mod replST">
          <ac:chgData name="Wenwen Zhang" userId="9dd81366-5d6f-445a-b031-6ea562624431" providerId="ADAL" clId="{1012AE1A-29B0-4E90-8835-842C30BC7D2A}" dt="2023-01-05T00:50:23.592" v="68029"/>
          <ac:spMkLst>
            <pc:docMk/>
            <pc:sldMk cId="1589772229" sldId="2134804370"/>
            <ac:spMk id="460" creationId="{96DB64E7-7450-5BAA-7DCA-6F75AE12EF02}"/>
          </ac:spMkLst>
        </pc:spChg>
        <pc:spChg chg="add del mod replST">
          <ac:chgData name="Wenwen Zhang" userId="9dd81366-5d6f-445a-b031-6ea562624431" providerId="ADAL" clId="{1012AE1A-29B0-4E90-8835-842C30BC7D2A}" dt="2023-01-05T00:33:49.374" v="62096"/>
          <ac:spMkLst>
            <pc:docMk/>
            <pc:sldMk cId="1589772229" sldId="2134804370"/>
            <ac:spMk id="461" creationId="{96DB64E7-7450-5BAA-7DCA-6F75AE12EF02}"/>
          </ac:spMkLst>
        </pc:spChg>
        <pc:spChg chg="add del mod modVis">
          <ac:chgData name="Wenwen Zhang" userId="9dd81366-5d6f-445a-b031-6ea562624431" providerId="ADAL" clId="{1012AE1A-29B0-4E90-8835-842C30BC7D2A}" dt="2023-01-05T00:33:16.359" v="61782"/>
          <ac:spMkLst>
            <pc:docMk/>
            <pc:sldMk cId="1589772229" sldId="2134804370"/>
            <ac:spMk id="466" creationId="{ABF93B14-6691-65BA-67B8-BD619DE7856A}"/>
          </ac:spMkLst>
        </pc:spChg>
        <pc:spChg chg="add del mod modVis">
          <ac:chgData name="Wenwen Zhang" userId="9dd81366-5d6f-445a-b031-6ea562624431" providerId="ADAL" clId="{1012AE1A-29B0-4E90-8835-842C30BC7D2A}" dt="2023-01-05T00:33:24.443" v="61908"/>
          <ac:spMkLst>
            <pc:docMk/>
            <pc:sldMk cId="1589772229" sldId="2134804370"/>
            <ac:spMk id="468" creationId="{B435AB5E-912F-554B-B2C8-F6C26F1F45AD}"/>
          </ac:spMkLst>
        </pc:spChg>
        <pc:spChg chg="add del mod modVis">
          <ac:chgData name="Wenwen Zhang" userId="9dd81366-5d6f-445a-b031-6ea562624431" providerId="ADAL" clId="{1012AE1A-29B0-4E90-8835-842C30BC7D2A}" dt="2023-01-05T00:33:29.733" v="62034"/>
          <ac:spMkLst>
            <pc:docMk/>
            <pc:sldMk cId="1589772229" sldId="2134804370"/>
            <ac:spMk id="470" creationId="{D0E2B96E-EB4C-B13B-37D4-EA1BA9B54B6E}"/>
          </ac:spMkLst>
        </pc:spChg>
        <pc:spChg chg="add del mod modVis">
          <ac:chgData name="Wenwen Zhang" userId="9dd81366-5d6f-445a-b031-6ea562624431" providerId="ADAL" clId="{1012AE1A-29B0-4E90-8835-842C30BC7D2A}" dt="2023-01-05T00:33:49.597" v="62342"/>
          <ac:spMkLst>
            <pc:docMk/>
            <pc:sldMk cId="1589772229" sldId="2134804370"/>
            <ac:spMk id="472" creationId="{6DF95E0C-37CA-3725-2037-5D5006B19560}"/>
          </ac:spMkLst>
        </pc:spChg>
        <pc:spChg chg="add del mod replST">
          <ac:chgData name="Wenwen Zhang" userId="9dd81366-5d6f-445a-b031-6ea562624431" providerId="ADAL" clId="{1012AE1A-29B0-4E90-8835-842C30BC7D2A}" dt="2023-01-05T00:50:23.597" v="68035"/>
          <ac:spMkLst>
            <pc:docMk/>
            <pc:sldMk cId="1589772229" sldId="2134804370"/>
            <ac:spMk id="473" creationId="{96DB64E7-7450-5BAA-7DCA-6F75AE12EF02}"/>
          </ac:spMkLst>
        </pc:spChg>
        <pc:spChg chg="add del mod replST">
          <ac:chgData name="Wenwen Zhang" userId="9dd81366-5d6f-445a-b031-6ea562624431" providerId="ADAL" clId="{1012AE1A-29B0-4E90-8835-842C30BC7D2A}" dt="2023-01-05T00:50:23.586" v="68023"/>
          <ac:spMkLst>
            <pc:docMk/>
            <pc:sldMk cId="1589772229" sldId="2134804370"/>
            <ac:spMk id="474" creationId="{96DB64E7-7450-5BAA-7DCA-6F75AE12EF02}"/>
          </ac:spMkLst>
        </pc:spChg>
        <pc:spChg chg="add del mod modVis">
          <ac:chgData name="Wenwen Zhang" userId="9dd81366-5d6f-445a-b031-6ea562624431" providerId="ADAL" clId="{1012AE1A-29B0-4E90-8835-842C30BC7D2A}" dt="2023-01-05T00:33:53.761" v="62487"/>
          <ac:spMkLst>
            <pc:docMk/>
            <pc:sldMk cId="1589772229" sldId="2134804370"/>
            <ac:spMk id="478" creationId="{FE9CB3C6-D6C2-BC55-152B-EDCF95A93353}"/>
          </ac:spMkLst>
        </pc:spChg>
        <pc:spChg chg="add del mod modVis">
          <ac:chgData name="Wenwen Zhang" userId="9dd81366-5d6f-445a-b031-6ea562624431" providerId="ADAL" clId="{1012AE1A-29B0-4E90-8835-842C30BC7D2A}" dt="2023-01-05T00:34:09.944" v="62622"/>
          <ac:spMkLst>
            <pc:docMk/>
            <pc:sldMk cId="1589772229" sldId="2134804370"/>
            <ac:spMk id="480" creationId="{FCBCADC5-4B50-A508-6B5D-97FCC48441F1}"/>
          </ac:spMkLst>
        </pc:spChg>
        <pc:spChg chg="add del mod modVis">
          <ac:chgData name="Wenwen Zhang" userId="9dd81366-5d6f-445a-b031-6ea562624431" providerId="ADAL" clId="{1012AE1A-29B0-4E90-8835-842C30BC7D2A}" dt="2023-01-05T00:34:15.961" v="62818"/>
          <ac:spMkLst>
            <pc:docMk/>
            <pc:sldMk cId="1589772229" sldId="2134804370"/>
            <ac:spMk id="482" creationId="{7A2D641B-02EA-B6F1-37DF-F26D4F1D2874}"/>
          </ac:spMkLst>
        </pc:spChg>
        <pc:spChg chg="add del mod modVis">
          <ac:chgData name="Wenwen Zhang" userId="9dd81366-5d6f-445a-b031-6ea562624431" providerId="ADAL" clId="{1012AE1A-29B0-4E90-8835-842C30BC7D2A}" dt="2023-01-05T00:34:30.615" v="63156"/>
          <ac:spMkLst>
            <pc:docMk/>
            <pc:sldMk cId="1589772229" sldId="2134804370"/>
            <ac:spMk id="486" creationId="{BD031999-0A63-E43F-99D7-A368302D44A9}"/>
          </ac:spMkLst>
        </pc:spChg>
        <pc:spChg chg="add del mod modVis">
          <ac:chgData name="Wenwen Zhang" userId="9dd81366-5d6f-445a-b031-6ea562624431" providerId="ADAL" clId="{1012AE1A-29B0-4E90-8835-842C30BC7D2A}" dt="2023-01-05T00:34:33.886" v="63488"/>
          <ac:spMkLst>
            <pc:docMk/>
            <pc:sldMk cId="1589772229" sldId="2134804370"/>
            <ac:spMk id="488" creationId="{A6307CC8-D777-E63B-5ED5-34C2437E14B0}"/>
          </ac:spMkLst>
        </pc:spChg>
        <pc:spChg chg="add del mod modVis">
          <ac:chgData name="Wenwen Zhang" userId="9dd81366-5d6f-445a-b031-6ea562624431" providerId="ADAL" clId="{1012AE1A-29B0-4E90-8835-842C30BC7D2A}" dt="2023-01-05T00:34:49.979" v="63668"/>
          <ac:spMkLst>
            <pc:docMk/>
            <pc:sldMk cId="1589772229" sldId="2134804370"/>
            <ac:spMk id="490" creationId="{85DEC5A0-CA94-BC90-4AA5-90A4FD56CB23}"/>
          </ac:spMkLst>
        </pc:spChg>
        <pc:spChg chg="add del mod modVis">
          <ac:chgData name="Wenwen Zhang" userId="9dd81366-5d6f-445a-b031-6ea562624431" providerId="ADAL" clId="{1012AE1A-29B0-4E90-8835-842C30BC7D2A}" dt="2023-01-05T00:34:56.078" v="63844"/>
          <ac:spMkLst>
            <pc:docMk/>
            <pc:sldMk cId="1589772229" sldId="2134804370"/>
            <ac:spMk id="492" creationId="{9BCB942C-D843-CA27-7F28-18583B6E0AE2}"/>
          </ac:spMkLst>
        </pc:spChg>
        <pc:spChg chg="add del mod modVis">
          <ac:chgData name="Wenwen Zhang" userId="9dd81366-5d6f-445a-b031-6ea562624431" providerId="ADAL" clId="{1012AE1A-29B0-4E90-8835-842C30BC7D2A}" dt="2023-01-05T00:35:04.246" v="64025"/>
          <ac:spMkLst>
            <pc:docMk/>
            <pc:sldMk cId="1589772229" sldId="2134804370"/>
            <ac:spMk id="494" creationId="{D3A6E00B-A315-206A-EF9C-572F5903BD59}"/>
          </ac:spMkLst>
        </pc:spChg>
        <pc:spChg chg="add del mod modVis">
          <ac:chgData name="Wenwen Zhang" userId="9dd81366-5d6f-445a-b031-6ea562624431" providerId="ADAL" clId="{1012AE1A-29B0-4E90-8835-842C30BC7D2A}" dt="2023-01-05T00:35:07.751" v="64201"/>
          <ac:spMkLst>
            <pc:docMk/>
            <pc:sldMk cId="1589772229" sldId="2134804370"/>
            <ac:spMk id="496" creationId="{70CD4D21-87BF-9EBF-9F8A-9F2F7BC68908}"/>
          </ac:spMkLst>
        </pc:spChg>
        <pc:spChg chg="add del mod modVis">
          <ac:chgData name="Wenwen Zhang" userId="9dd81366-5d6f-445a-b031-6ea562624431" providerId="ADAL" clId="{1012AE1A-29B0-4E90-8835-842C30BC7D2A}" dt="2023-01-05T00:35:16.117" v="64544"/>
          <ac:spMkLst>
            <pc:docMk/>
            <pc:sldMk cId="1589772229" sldId="2134804370"/>
            <ac:spMk id="498" creationId="{249A5EF9-0B11-A03C-DD0C-1CC9B571CC9F}"/>
          </ac:spMkLst>
        </pc:spChg>
        <pc:spChg chg="add del mod replST">
          <ac:chgData name="Wenwen Zhang" userId="9dd81366-5d6f-445a-b031-6ea562624431" providerId="ADAL" clId="{1012AE1A-29B0-4E90-8835-842C30BC7D2A}" dt="2023-01-05T00:55:19.373" v="83793"/>
          <ac:spMkLst>
            <pc:docMk/>
            <pc:sldMk cId="1589772229" sldId="2134804370"/>
            <ac:spMk id="499" creationId="{96DB64E7-7450-5BAA-7DCA-6F75AE12EF02}"/>
          </ac:spMkLst>
        </pc:spChg>
        <pc:spChg chg="add del mod replST">
          <ac:chgData name="Wenwen Zhang" userId="9dd81366-5d6f-445a-b031-6ea562624431" providerId="ADAL" clId="{1012AE1A-29B0-4E90-8835-842C30BC7D2A}" dt="2023-01-05T00:55:19.371" v="83792"/>
          <ac:spMkLst>
            <pc:docMk/>
            <pc:sldMk cId="1589772229" sldId="2134804370"/>
            <ac:spMk id="500" creationId="{352C870F-CD84-5323-2C8E-3689D1A14261}"/>
          </ac:spMkLst>
        </pc:spChg>
        <pc:spChg chg="add del mod modVis">
          <ac:chgData name="Wenwen Zhang" userId="9dd81366-5d6f-445a-b031-6ea562624431" providerId="ADAL" clId="{1012AE1A-29B0-4E90-8835-842C30BC7D2A}" dt="2023-01-05T00:35:20.933" v="64792"/>
          <ac:spMkLst>
            <pc:docMk/>
            <pc:sldMk cId="1589772229" sldId="2134804370"/>
            <ac:spMk id="503" creationId="{BF5FE212-CB04-272F-C390-956554E7E95E}"/>
          </ac:spMkLst>
        </pc:spChg>
        <pc:spChg chg="add del mod modVis">
          <ac:chgData name="Wenwen Zhang" userId="9dd81366-5d6f-445a-b031-6ea562624431" providerId="ADAL" clId="{1012AE1A-29B0-4E90-8835-842C30BC7D2A}" dt="2023-01-05T00:36:32.392" v="65003"/>
          <ac:spMkLst>
            <pc:docMk/>
            <pc:sldMk cId="1589772229" sldId="2134804370"/>
            <ac:spMk id="505" creationId="{44DB5FC4-E069-46FA-F629-4FA77668A5D9}"/>
          </ac:spMkLst>
        </pc:spChg>
        <pc:spChg chg="add del mod modVis">
          <ac:chgData name="Wenwen Zhang" userId="9dd81366-5d6f-445a-b031-6ea562624431" providerId="ADAL" clId="{1012AE1A-29B0-4E90-8835-842C30BC7D2A}" dt="2023-01-05T00:36:41.882" v="65164"/>
          <ac:spMkLst>
            <pc:docMk/>
            <pc:sldMk cId="1589772229" sldId="2134804370"/>
            <ac:spMk id="507" creationId="{D3E53ACC-E007-5F49-36AA-A10C3E4CB074}"/>
          </ac:spMkLst>
        </pc:spChg>
        <pc:spChg chg="add del mod modVis">
          <ac:chgData name="Wenwen Zhang" userId="9dd81366-5d6f-445a-b031-6ea562624431" providerId="ADAL" clId="{1012AE1A-29B0-4E90-8835-842C30BC7D2A}" dt="2023-01-05T00:36:58.595" v="65313"/>
          <ac:spMkLst>
            <pc:docMk/>
            <pc:sldMk cId="1589772229" sldId="2134804370"/>
            <ac:spMk id="509" creationId="{008D1981-C50C-728D-B223-11FFC6B0ECD4}"/>
          </ac:spMkLst>
        </pc:spChg>
        <pc:spChg chg="add del mod modVis">
          <ac:chgData name="Wenwen Zhang" userId="9dd81366-5d6f-445a-b031-6ea562624431" providerId="ADAL" clId="{1012AE1A-29B0-4E90-8835-842C30BC7D2A}" dt="2023-01-05T00:37:05.133" v="65462"/>
          <ac:spMkLst>
            <pc:docMk/>
            <pc:sldMk cId="1589772229" sldId="2134804370"/>
            <ac:spMk id="511" creationId="{035B80D0-B27A-4A5E-6AB1-82901F6CFDD1}"/>
          </ac:spMkLst>
        </pc:spChg>
        <pc:spChg chg="add del mod modVis">
          <ac:chgData name="Wenwen Zhang" userId="9dd81366-5d6f-445a-b031-6ea562624431" providerId="ADAL" clId="{1012AE1A-29B0-4E90-8835-842C30BC7D2A}" dt="2023-01-05T00:37:11.612" v="66079"/>
          <ac:spMkLst>
            <pc:docMk/>
            <pc:sldMk cId="1589772229" sldId="2134804370"/>
            <ac:spMk id="513" creationId="{2B4FDE84-4076-59DE-527D-F0ED0F7A9962}"/>
          </ac:spMkLst>
        </pc:spChg>
        <pc:spChg chg="add del mod replST">
          <ac:chgData name="Wenwen Zhang" userId="9dd81366-5d6f-445a-b031-6ea562624431" providerId="ADAL" clId="{1012AE1A-29B0-4E90-8835-842C30BC7D2A}" dt="2023-01-05T00:50:23.599" v="68038"/>
          <ac:spMkLst>
            <pc:docMk/>
            <pc:sldMk cId="1589772229" sldId="2134804370"/>
            <ac:spMk id="514" creationId="{96DB64E7-7450-5BAA-7DCA-6F75AE12EF02}"/>
          </ac:spMkLst>
        </pc:spChg>
        <pc:spChg chg="add del mod replST">
          <ac:chgData name="Wenwen Zhang" userId="9dd81366-5d6f-445a-b031-6ea562624431" providerId="ADAL" clId="{1012AE1A-29B0-4E90-8835-842C30BC7D2A}" dt="2023-01-05T00:50:23.595" v="68032"/>
          <ac:spMkLst>
            <pc:docMk/>
            <pc:sldMk cId="1589772229" sldId="2134804370"/>
            <ac:spMk id="515" creationId="{96DB64E7-7450-5BAA-7DCA-6F75AE12EF02}"/>
          </ac:spMkLst>
        </pc:spChg>
        <pc:spChg chg="add del mod replST">
          <ac:chgData name="Wenwen Zhang" userId="9dd81366-5d6f-445a-b031-6ea562624431" providerId="ADAL" clId="{1012AE1A-29B0-4E90-8835-842C30BC7D2A}" dt="2023-01-05T00:50:23.590" v="68026"/>
          <ac:spMkLst>
            <pc:docMk/>
            <pc:sldMk cId="1589772229" sldId="2134804370"/>
            <ac:spMk id="516" creationId="{96DB64E7-7450-5BAA-7DCA-6F75AE12EF02}"/>
          </ac:spMkLst>
        </pc:spChg>
        <pc:spChg chg="add del mod modVis">
          <ac:chgData name="Wenwen Zhang" userId="9dd81366-5d6f-445a-b031-6ea562624431" providerId="ADAL" clId="{1012AE1A-29B0-4E90-8835-842C30BC7D2A}" dt="2023-01-05T00:37:18.103" v="66385"/>
          <ac:spMkLst>
            <pc:docMk/>
            <pc:sldMk cId="1589772229" sldId="2134804370"/>
            <ac:spMk id="521" creationId="{3B8F94A8-6EE6-B347-A96B-222A263A3FA0}"/>
          </ac:spMkLst>
        </pc:spChg>
        <pc:spChg chg="add del mod modVis">
          <ac:chgData name="Wenwen Zhang" userId="9dd81366-5d6f-445a-b031-6ea562624431" providerId="ADAL" clId="{1012AE1A-29B0-4E90-8835-842C30BC7D2A}" dt="2023-01-05T00:37:44.949" v="66509"/>
          <ac:spMkLst>
            <pc:docMk/>
            <pc:sldMk cId="1589772229" sldId="2134804370"/>
            <ac:spMk id="523" creationId="{156BC837-24FE-358E-6465-6B0B4DB88C05}"/>
          </ac:spMkLst>
        </pc:spChg>
        <pc:spChg chg="add mod replST">
          <ac:chgData name="Wenwen Zhang" userId="9dd81366-5d6f-445a-b031-6ea562624431" providerId="ADAL" clId="{1012AE1A-29B0-4E90-8835-842C30BC7D2A}" dt="2023-01-05T15:00:39.499" v="94102"/>
          <ac:spMkLst>
            <pc:docMk/>
            <pc:sldMk cId="1589772229" sldId="2134804370"/>
            <ac:spMk id="525" creationId="{3432C2A7-BCF2-C13F-ED02-088536F1A469}"/>
          </ac:spMkLst>
        </pc:spChg>
        <pc:spChg chg="add del mod modVis">
          <ac:chgData name="Wenwen Zhang" userId="9dd81366-5d6f-445a-b031-6ea562624431" providerId="ADAL" clId="{1012AE1A-29B0-4E90-8835-842C30BC7D2A}" dt="2023-01-05T00:37:50.825" v="66692"/>
          <ac:spMkLst>
            <pc:docMk/>
            <pc:sldMk cId="1589772229" sldId="2134804370"/>
            <ac:spMk id="526" creationId="{8D11DFB6-691D-6BC9-ED6E-42932CBEBA57}"/>
          </ac:spMkLst>
        </pc:spChg>
        <pc:spChg chg="add del mod modVis">
          <ac:chgData name="Wenwen Zhang" userId="9dd81366-5d6f-445a-b031-6ea562624431" providerId="ADAL" clId="{1012AE1A-29B0-4E90-8835-842C30BC7D2A}" dt="2023-01-05T00:38:12.854" v="66873"/>
          <ac:spMkLst>
            <pc:docMk/>
            <pc:sldMk cId="1589772229" sldId="2134804370"/>
            <ac:spMk id="528" creationId="{48101B8E-5E7C-1551-4356-7C3126E8EF20}"/>
          </ac:spMkLst>
        </pc:spChg>
        <pc:spChg chg="add del mod modVis">
          <ac:chgData name="Wenwen Zhang" userId="9dd81366-5d6f-445a-b031-6ea562624431" providerId="ADAL" clId="{1012AE1A-29B0-4E90-8835-842C30BC7D2A}" dt="2023-01-05T00:38:19.236" v="67197"/>
          <ac:spMkLst>
            <pc:docMk/>
            <pc:sldMk cId="1589772229" sldId="2134804370"/>
            <ac:spMk id="530" creationId="{27F00A2B-728D-C18A-60EC-E16BC714355C}"/>
          </ac:spMkLst>
        </pc:spChg>
        <pc:spChg chg="add del mod modVis">
          <ac:chgData name="Wenwen Zhang" userId="9dd81366-5d6f-445a-b031-6ea562624431" providerId="ADAL" clId="{1012AE1A-29B0-4E90-8835-842C30BC7D2A}" dt="2023-01-05T00:38:20.431" v="67517"/>
          <ac:spMkLst>
            <pc:docMk/>
            <pc:sldMk cId="1589772229" sldId="2134804370"/>
            <ac:spMk id="532" creationId="{DAF143B0-6164-1569-4334-42C6EE22A042}"/>
          </ac:spMkLst>
        </pc:spChg>
        <pc:spChg chg="add del mod modVis">
          <ac:chgData name="Wenwen Zhang" userId="9dd81366-5d6f-445a-b031-6ea562624431" providerId="ADAL" clId="{1012AE1A-29B0-4E90-8835-842C30BC7D2A}" dt="2023-01-05T00:38:22.826" v="67839"/>
          <ac:spMkLst>
            <pc:docMk/>
            <pc:sldMk cId="1589772229" sldId="2134804370"/>
            <ac:spMk id="534" creationId="{C379DD76-416D-242D-58F4-5254B3CFC367}"/>
          </ac:spMkLst>
        </pc:spChg>
        <pc:spChg chg="add del mod modVis">
          <ac:chgData name="Wenwen Zhang" userId="9dd81366-5d6f-445a-b031-6ea562624431" providerId="ADAL" clId="{1012AE1A-29B0-4E90-8835-842C30BC7D2A}" dt="2023-01-05T00:38:24.138" v="68020"/>
          <ac:spMkLst>
            <pc:docMk/>
            <pc:sldMk cId="1589772229" sldId="2134804370"/>
            <ac:spMk id="536" creationId="{2BEA04DE-EAE6-B42A-9BB3-E314B793823C}"/>
          </ac:spMkLst>
        </pc:spChg>
        <pc:spChg chg="add del mod modVis">
          <ac:chgData name="Wenwen Zhang" userId="9dd81366-5d6f-445a-b031-6ea562624431" providerId="ADAL" clId="{1012AE1A-29B0-4E90-8835-842C30BC7D2A}" dt="2023-01-05T00:50:44.301" v="79793"/>
          <ac:spMkLst>
            <pc:docMk/>
            <pc:sldMk cId="1589772229" sldId="2134804370"/>
            <ac:spMk id="538" creationId="{312C4445-8D26-0506-2678-6E592EC5E38A}"/>
          </ac:spMkLst>
        </pc:spChg>
        <pc:spChg chg="add del mod replST">
          <ac:chgData name="Wenwen Zhang" userId="9dd81366-5d6f-445a-b031-6ea562624431" providerId="ADAL" clId="{1012AE1A-29B0-4E90-8835-842C30BC7D2A}" dt="2023-01-05T00:50:56.483" v="81670"/>
          <ac:spMkLst>
            <pc:docMk/>
            <pc:sldMk cId="1589772229" sldId="2134804370"/>
            <ac:spMk id="539" creationId="{96DB64E7-7450-5BAA-7DCA-6F75AE12EF02}"/>
          </ac:spMkLst>
        </pc:spChg>
        <pc:spChg chg="add del mod replST">
          <ac:chgData name="Wenwen Zhang" userId="9dd81366-5d6f-445a-b031-6ea562624431" providerId="ADAL" clId="{1012AE1A-29B0-4E90-8835-842C30BC7D2A}" dt="2023-01-05T00:50:56.484" v="81671"/>
          <ac:spMkLst>
            <pc:docMk/>
            <pc:sldMk cId="1589772229" sldId="2134804370"/>
            <ac:spMk id="540" creationId="{96DB64E7-7450-5BAA-7DCA-6F75AE12EF02}"/>
          </ac:spMkLst>
        </pc:spChg>
        <pc:spChg chg="add del mod replST">
          <ac:chgData name="Wenwen Zhang" userId="9dd81366-5d6f-445a-b031-6ea562624431" providerId="ADAL" clId="{1012AE1A-29B0-4E90-8835-842C30BC7D2A}" dt="2023-01-05T00:50:56.484" v="81672"/>
          <ac:spMkLst>
            <pc:docMk/>
            <pc:sldMk cId="1589772229" sldId="2134804370"/>
            <ac:spMk id="541" creationId="{96DB64E7-7450-5BAA-7DCA-6F75AE12EF02}"/>
          </ac:spMkLst>
        </pc:spChg>
        <pc:spChg chg="add del mod replST">
          <ac:chgData name="Wenwen Zhang" userId="9dd81366-5d6f-445a-b031-6ea562624431" providerId="ADAL" clId="{1012AE1A-29B0-4E90-8835-842C30BC7D2A}" dt="2023-01-05T00:50:56.485" v="81673"/>
          <ac:spMkLst>
            <pc:docMk/>
            <pc:sldMk cId="1589772229" sldId="2134804370"/>
            <ac:spMk id="542" creationId="{96DB64E7-7450-5BAA-7DCA-6F75AE12EF02}"/>
          </ac:spMkLst>
        </pc:spChg>
        <pc:spChg chg="add del mod replST">
          <ac:chgData name="Wenwen Zhang" userId="9dd81366-5d6f-445a-b031-6ea562624431" providerId="ADAL" clId="{1012AE1A-29B0-4E90-8835-842C30BC7D2A}" dt="2023-01-05T00:50:56.486" v="81674"/>
          <ac:spMkLst>
            <pc:docMk/>
            <pc:sldMk cId="1589772229" sldId="2134804370"/>
            <ac:spMk id="543" creationId="{96DB64E7-7450-5BAA-7DCA-6F75AE12EF02}"/>
          </ac:spMkLst>
        </pc:spChg>
        <pc:spChg chg="add del mod replST">
          <ac:chgData name="Wenwen Zhang" userId="9dd81366-5d6f-445a-b031-6ea562624431" providerId="ADAL" clId="{1012AE1A-29B0-4E90-8835-842C30BC7D2A}" dt="2023-01-05T00:50:56.486" v="81675"/>
          <ac:spMkLst>
            <pc:docMk/>
            <pc:sldMk cId="1589772229" sldId="2134804370"/>
            <ac:spMk id="544" creationId="{96DB64E7-7450-5BAA-7DCA-6F75AE12EF02}"/>
          </ac:spMkLst>
        </pc:spChg>
        <pc:spChg chg="add del mod replST">
          <ac:chgData name="Wenwen Zhang" userId="9dd81366-5d6f-445a-b031-6ea562624431" providerId="ADAL" clId="{1012AE1A-29B0-4E90-8835-842C30BC7D2A}" dt="2023-01-05T00:50:56.487" v="81676"/>
          <ac:spMkLst>
            <pc:docMk/>
            <pc:sldMk cId="1589772229" sldId="2134804370"/>
            <ac:spMk id="545" creationId="{96DB64E7-7450-5BAA-7DCA-6F75AE12EF02}"/>
          </ac:spMkLst>
        </pc:spChg>
        <pc:spChg chg="add del mod replST">
          <ac:chgData name="Wenwen Zhang" userId="9dd81366-5d6f-445a-b031-6ea562624431" providerId="ADAL" clId="{1012AE1A-29B0-4E90-8835-842C30BC7D2A}" dt="2023-01-05T00:50:56.488" v="81677"/>
          <ac:spMkLst>
            <pc:docMk/>
            <pc:sldMk cId="1589772229" sldId="2134804370"/>
            <ac:spMk id="546" creationId="{96DB64E7-7450-5BAA-7DCA-6F75AE12EF02}"/>
          </ac:spMkLst>
        </pc:spChg>
        <pc:spChg chg="add del mod replST">
          <ac:chgData name="Wenwen Zhang" userId="9dd81366-5d6f-445a-b031-6ea562624431" providerId="ADAL" clId="{1012AE1A-29B0-4E90-8835-842C30BC7D2A}" dt="2023-01-05T00:50:56.489" v="81678"/>
          <ac:spMkLst>
            <pc:docMk/>
            <pc:sldMk cId="1589772229" sldId="2134804370"/>
            <ac:spMk id="547" creationId="{96DB64E7-7450-5BAA-7DCA-6F75AE12EF02}"/>
          </ac:spMkLst>
        </pc:spChg>
        <pc:spChg chg="add del mod replST">
          <ac:chgData name="Wenwen Zhang" userId="9dd81366-5d6f-445a-b031-6ea562624431" providerId="ADAL" clId="{1012AE1A-29B0-4E90-8835-842C30BC7D2A}" dt="2023-01-05T00:50:56.490" v="81679"/>
          <ac:spMkLst>
            <pc:docMk/>
            <pc:sldMk cId="1589772229" sldId="2134804370"/>
            <ac:spMk id="548" creationId="{96DB64E7-7450-5BAA-7DCA-6F75AE12EF02}"/>
          </ac:spMkLst>
        </pc:spChg>
        <pc:spChg chg="add del mod replST">
          <ac:chgData name="Wenwen Zhang" userId="9dd81366-5d6f-445a-b031-6ea562624431" providerId="ADAL" clId="{1012AE1A-29B0-4E90-8835-842C30BC7D2A}" dt="2023-01-05T00:50:56.491" v="81680"/>
          <ac:spMkLst>
            <pc:docMk/>
            <pc:sldMk cId="1589772229" sldId="2134804370"/>
            <ac:spMk id="549" creationId="{96DB64E7-7450-5BAA-7DCA-6F75AE12EF02}"/>
          </ac:spMkLst>
        </pc:spChg>
        <pc:spChg chg="add del mod replST">
          <ac:chgData name="Wenwen Zhang" userId="9dd81366-5d6f-445a-b031-6ea562624431" providerId="ADAL" clId="{1012AE1A-29B0-4E90-8835-842C30BC7D2A}" dt="2023-01-05T00:50:56.491" v="81681"/>
          <ac:spMkLst>
            <pc:docMk/>
            <pc:sldMk cId="1589772229" sldId="2134804370"/>
            <ac:spMk id="550" creationId="{96DB64E7-7450-5BAA-7DCA-6F75AE12EF02}"/>
          </ac:spMkLst>
        </pc:spChg>
        <pc:spChg chg="add del mod replST">
          <ac:chgData name="Wenwen Zhang" userId="9dd81366-5d6f-445a-b031-6ea562624431" providerId="ADAL" clId="{1012AE1A-29B0-4E90-8835-842C30BC7D2A}" dt="2023-01-05T00:50:56.492" v="81682"/>
          <ac:spMkLst>
            <pc:docMk/>
            <pc:sldMk cId="1589772229" sldId="2134804370"/>
            <ac:spMk id="551" creationId="{96DB64E7-7450-5BAA-7DCA-6F75AE12EF02}"/>
          </ac:spMkLst>
        </pc:spChg>
        <pc:spChg chg="add del mod replST">
          <ac:chgData name="Wenwen Zhang" userId="9dd81366-5d6f-445a-b031-6ea562624431" providerId="ADAL" clId="{1012AE1A-29B0-4E90-8835-842C30BC7D2A}" dt="2023-01-05T00:50:56.493" v="81683"/>
          <ac:spMkLst>
            <pc:docMk/>
            <pc:sldMk cId="1589772229" sldId="2134804370"/>
            <ac:spMk id="552" creationId="{96DB64E7-7450-5BAA-7DCA-6F75AE12EF02}"/>
          </ac:spMkLst>
        </pc:spChg>
        <pc:spChg chg="add del mod replST">
          <ac:chgData name="Wenwen Zhang" userId="9dd81366-5d6f-445a-b031-6ea562624431" providerId="ADAL" clId="{1012AE1A-29B0-4E90-8835-842C30BC7D2A}" dt="2023-01-05T00:50:56.494" v="81684"/>
          <ac:spMkLst>
            <pc:docMk/>
            <pc:sldMk cId="1589772229" sldId="2134804370"/>
            <ac:spMk id="553" creationId="{96DB64E7-7450-5BAA-7DCA-6F75AE12EF02}"/>
          </ac:spMkLst>
        </pc:spChg>
        <pc:spChg chg="add del mod replST">
          <ac:chgData name="Wenwen Zhang" userId="9dd81366-5d6f-445a-b031-6ea562624431" providerId="ADAL" clId="{1012AE1A-29B0-4E90-8835-842C30BC7D2A}" dt="2023-01-05T00:50:56.494" v="81685"/>
          <ac:spMkLst>
            <pc:docMk/>
            <pc:sldMk cId="1589772229" sldId="2134804370"/>
            <ac:spMk id="554" creationId="{96DB64E7-7450-5BAA-7DCA-6F75AE12EF02}"/>
          </ac:spMkLst>
        </pc:spChg>
        <pc:spChg chg="add del mod replST">
          <ac:chgData name="Wenwen Zhang" userId="9dd81366-5d6f-445a-b031-6ea562624431" providerId="ADAL" clId="{1012AE1A-29B0-4E90-8835-842C30BC7D2A}" dt="2023-01-05T00:50:56.495" v="81686"/>
          <ac:spMkLst>
            <pc:docMk/>
            <pc:sldMk cId="1589772229" sldId="2134804370"/>
            <ac:spMk id="555" creationId="{96DB64E7-7450-5BAA-7DCA-6F75AE12EF02}"/>
          </ac:spMkLst>
        </pc:spChg>
        <pc:spChg chg="add del mod replST">
          <ac:chgData name="Wenwen Zhang" userId="9dd81366-5d6f-445a-b031-6ea562624431" providerId="ADAL" clId="{1012AE1A-29B0-4E90-8835-842C30BC7D2A}" dt="2023-01-05T00:50:56.496" v="81687"/>
          <ac:spMkLst>
            <pc:docMk/>
            <pc:sldMk cId="1589772229" sldId="2134804370"/>
            <ac:spMk id="556" creationId="{96DB64E7-7450-5BAA-7DCA-6F75AE12EF02}"/>
          </ac:spMkLst>
        </pc:spChg>
        <pc:spChg chg="add del mod replST">
          <ac:chgData name="Wenwen Zhang" userId="9dd81366-5d6f-445a-b031-6ea562624431" providerId="ADAL" clId="{1012AE1A-29B0-4E90-8835-842C30BC7D2A}" dt="2023-01-05T00:50:56.497" v="81688"/>
          <ac:spMkLst>
            <pc:docMk/>
            <pc:sldMk cId="1589772229" sldId="2134804370"/>
            <ac:spMk id="557" creationId="{96DB64E7-7450-5BAA-7DCA-6F75AE12EF02}"/>
          </ac:spMkLst>
        </pc:spChg>
        <pc:spChg chg="add del mod replST">
          <ac:chgData name="Wenwen Zhang" userId="9dd81366-5d6f-445a-b031-6ea562624431" providerId="ADAL" clId="{1012AE1A-29B0-4E90-8835-842C30BC7D2A}" dt="2023-01-05T00:50:56.497" v="81689"/>
          <ac:spMkLst>
            <pc:docMk/>
            <pc:sldMk cId="1589772229" sldId="2134804370"/>
            <ac:spMk id="558" creationId="{96DB64E7-7450-5BAA-7DCA-6F75AE12EF02}"/>
          </ac:spMkLst>
        </pc:spChg>
        <pc:spChg chg="add del mod replST">
          <ac:chgData name="Wenwen Zhang" userId="9dd81366-5d6f-445a-b031-6ea562624431" providerId="ADAL" clId="{1012AE1A-29B0-4E90-8835-842C30BC7D2A}" dt="2023-01-05T00:50:56.498" v="81690"/>
          <ac:spMkLst>
            <pc:docMk/>
            <pc:sldMk cId="1589772229" sldId="2134804370"/>
            <ac:spMk id="559" creationId="{96DB64E7-7450-5BAA-7DCA-6F75AE12EF02}"/>
          </ac:spMkLst>
        </pc:spChg>
        <pc:spChg chg="add del mod replST">
          <ac:chgData name="Wenwen Zhang" userId="9dd81366-5d6f-445a-b031-6ea562624431" providerId="ADAL" clId="{1012AE1A-29B0-4E90-8835-842C30BC7D2A}" dt="2023-01-05T00:50:56.499" v="81691"/>
          <ac:spMkLst>
            <pc:docMk/>
            <pc:sldMk cId="1589772229" sldId="2134804370"/>
            <ac:spMk id="560" creationId="{96DB64E7-7450-5BAA-7DCA-6F75AE12EF02}"/>
          </ac:spMkLst>
        </pc:spChg>
        <pc:spChg chg="add del mod replST">
          <ac:chgData name="Wenwen Zhang" userId="9dd81366-5d6f-445a-b031-6ea562624431" providerId="ADAL" clId="{1012AE1A-29B0-4E90-8835-842C30BC7D2A}" dt="2023-01-05T00:50:56.500" v="81692"/>
          <ac:spMkLst>
            <pc:docMk/>
            <pc:sldMk cId="1589772229" sldId="2134804370"/>
            <ac:spMk id="561" creationId="{96DB64E7-7450-5BAA-7DCA-6F75AE12EF02}"/>
          </ac:spMkLst>
        </pc:spChg>
        <pc:spChg chg="add del mod replST">
          <ac:chgData name="Wenwen Zhang" userId="9dd81366-5d6f-445a-b031-6ea562624431" providerId="ADAL" clId="{1012AE1A-29B0-4E90-8835-842C30BC7D2A}" dt="2023-01-05T00:50:56.500" v="81693"/>
          <ac:spMkLst>
            <pc:docMk/>
            <pc:sldMk cId="1589772229" sldId="2134804370"/>
            <ac:spMk id="562" creationId="{96DB64E7-7450-5BAA-7DCA-6F75AE12EF02}"/>
          </ac:spMkLst>
        </pc:spChg>
        <pc:spChg chg="add del mod replST">
          <ac:chgData name="Wenwen Zhang" userId="9dd81366-5d6f-445a-b031-6ea562624431" providerId="ADAL" clId="{1012AE1A-29B0-4E90-8835-842C30BC7D2A}" dt="2023-01-05T00:50:56.501" v="81694"/>
          <ac:spMkLst>
            <pc:docMk/>
            <pc:sldMk cId="1589772229" sldId="2134804370"/>
            <ac:spMk id="563" creationId="{96DB64E7-7450-5BAA-7DCA-6F75AE12EF02}"/>
          </ac:spMkLst>
        </pc:spChg>
        <pc:spChg chg="add del mod replST">
          <ac:chgData name="Wenwen Zhang" userId="9dd81366-5d6f-445a-b031-6ea562624431" providerId="ADAL" clId="{1012AE1A-29B0-4E90-8835-842C30BC7D2A}" dt="2023-01-05T00:50:56.502" v="81695"/>
          <ac:spMkLst>
            <pc:docMk/>
            <pc:sldMk cId="1589772229" sldId="2134804370"/>
            <ac:spMk id="564" creationId="{96DB64E7-7450-5BAA-7DCA-6F75AE12EF02}"/>
          </ac:spMkLst>
        </pc:spChg>
        <pc:spChg chg="add del mod replST">
          <ac:chgData name="Wenwen Zhang" userId="9dd81366-5d6f-445a-b031-6ea562624431" providerId="ADAL" clId="{1012AE1A-29B0-4E90-8835-842C30BC7D2A}" dt="2023-01-05T00:50:56.503" v="81696"/>
          <ac:spMkLst>
            <pc:docMk/>
            <pc:sldMk cId="1589772229" sldId="2134804370"/>
            <ac:spMk id="565" creationId="{96DB64E7-7450-5BAA-7DCA-6F75AE12EF02}"/>
          </ac:spMkLst>
        </pc:spChg>
        <pc:spChg chg="add del mod replST">
          <ac:chgData name="Wenwen Zhang" userId="9dd81366-5d6f-445a-b031-6ea562624431" providerId="ADAL" clId="{1012AE1A-29B0-4E90-8835-842C30BC7D2A}" dt="2023-01-05T00:50:56.503" v="81697"/>
          <ac:spMkLst>
            <pc:docMk/>
            <pc:sldMk cId="1589772229" sldId="2134804370"/>
            <ac:spMk id="566" creationId="{96DB64E7-7450-5BAA-7DCA-6F75AE12EF02}"/>
          </ac:spMkLst>
        </pc:spChg>
        <pc:spChg chg="add del mod replST">
          <ac:chgData name="Wenwen Zhang" userId="9dd81366-5d6f-445a-b031-6ea562624431" providerId="ADAL" clId="{1012AE1A-29B0-4E90-8835-842C30BC7D2A}" dt="2023-01-05T00:50:56.504" v="81698"/>
          <ac:spMkLst>
            <pc:docMk/>
            <pc:sldMk cId="1589772229" sldId="2134804370"/>
            <ac:spMk id="567" creationId="{96DB64E7-7450-5BAA-7DCA-6F75AE12EF02}"/>
          </ac:spMkLst>
        </pc:spChg>
        <pc:spChg chg="add del mod replST">
          <ac:chgData name="Wenwen Zhang" userId="9dd81366-5d6f-445a-b031-6ea562624431" providerId="ADAL" clId="{1012AE1A-29B0-4E90-8835-842C30BC7D2A}" dt="2023-01-05T00:50:56.505" v="81699"/>
          <ac:spMkLst>
            <pc:docMk/>
            <pc:sldMk cId="1589772229" sldId="2134804370"/>
            <ac:spMk id="568" creationId="{96DB64E7-7450-5BAA-7DCA-6F75AE12EF02}"/>
          </ac:spMkLst>
        </pc:spChg>
        <pc:spChg chg="add del mod replST">
          <ac:chgData name="Wenwen Zhang" userId="9dd81366-5d6f-445a-b031-6ea562624431" providerId="ADAL" clId="{1012AE1A-29B0-4E90-8835-842C30BC7D2A}" dt="2023-01-05T00:50:56.506" v="81700"/>
          <ac:spMkLst>
            <pc:docMk/>
            <pc:sldMk cId="1589772229" sldId="2134804370"/>
            <ac:spMk id="569" creationId="{96DB64E7-7450-5BAA-7DCA-6F75AE12EF02}"/>
          </ac:spMkLst>
        </pc:spChg>
        <pc:spChg chg="add del mod replST">
          <ac:chgData name="Wenwen Zhang" userId="9dd81366-5d6f-445a-b031-6ea562624431" providerId="ADAL" clId="{1012AE1A-29B0-4E90-8835-842C30BC7D2A}" dt="2023-01-05T00:50:56.506" v="81701"/>
          <ac:spMkLst>
            <pc:docMk/>
            <pc:sldMk cId="1589772229" sldId="2134804370"/>
            <ac:spMk id="570" creationId="{96DB64E7-7450-5BAA-7DCA-6F75AE12EF02}"/>
          </ac:spMkLst>
        </pc:spChg>
        <pc:spChg chg="add del mod replST">
          <ac:chgData name="Wenwen Zhang" userId="9dd81366-5d6f-445a-b031-6ea562624431" providerId="ADAL" clId="{1012AE1A-29B0-4E90-8835-842C30BC7D2A}" dt="2023-01-05T00:50:56.507" v="81702"/>
          <ac:spMkLst>
            <pc:docMk/>
            <pc:sldMk cId="1589772229" sldId="2134804370"/>
            <ac:spMk id="571" creationId="{96DB64E7-7450-5BAA-7DCA-6F75AE12EF02}"/>
          </ac:spMkLst>
        </pc:spChg>
        <pc:spChg chg="add del mod replST">
          <ac:chgData name="Wenwen Zhang" userId="9dd81366-5d6f-445a-b031-6ea562624431" providerId="ADAL" clId="{1012AE1A-29B0-4E90-8835-842C30BC7D2A}" dt="2023-01-05T00:50:56.508" v="81703"/>
          <ac:spMkLst>
            <pc:docMk/>
            <pc:sldMk cId="1589772229" sldId="2134804370"/>
            <ac:spMk id="572" creationId="{96DB64E7-7450-5BAA-7DCA-6F75AE12EF02}"/>
          </ac:spMkLst>
        </pc:spChg>
        <pc:spChg chg="add del mod replST">
          <ac:chgData name="Wenwen Zhang" userId="9dd81366-5d6f-445a-b031-6ea562624431" providerId="ADAL" clId="{1012AE1A-29B0-4E90-8835-842C30BC7D2A}" dt="2023-01-05T00:50:56.509" v="81704"/>
          <ac:spMkLst>
            <pc:docMk/>
            <pc:sldMk cId="1589772229" sldId="2134804370"/>
            <ac:spMk id="573" creationId="{96DB64E7-7450-5BAA-7DCA-6F75AE12EF02}"/>
          </ac:spMkLst>
        </pc:spChg>
        <pc:spChg chg="add del mod replST">
          <ac:chgData name="Wenwen Zhang" userId="9dd81366-5d6f-445a-b031-6ea562624431" providerId="ADAL" clId="{1012AE1A-29B0-4E90-8835-842C30BC7D2A}" dt="2023-01-05T00:50:56.509" v="81705"/>
          <ac:spMkLst>
            <pc:docMk/>
            <pc:sldMk cId="1589772229" sldId="2134804370"/>
            <ac:spMk id="574" creationId="{96DB64E7-7450-5BAA-7DCA-6F75AE12EF02}"/>
          </ac:spMkLst>
        </pc:spChg>
        <pc:spChg chg="add del mod replST">
          <ac:chgData name="Wenwen Zhang" userId="9dd81366-5d6f-445a-b031-6ea562624431" providerId="ADAL" clId="{1012AE1A-29B0-4E90-8835-842C30BC7D2A}" dt="2023-01-05T00:50:54.443" v="80778"/>
          <ac:spMkLst>
            <pc:docMk/>
            <pc:sldMk cId="1589772229" sldId="2134804370"/>
            <ac:spMk id="575" creationId="{96DB64E7-7450-5BAA-7DCA-6F75AE12EF02}"/>
          </ac:spMkLst>
        </pc:spChg>
        <pc:spChg chg="add del mod replST">
          <ac:chgData name="Wenwen Zhang" userId="9dd81366-5d6f-445a-b031-6ea562624431" providerId="ADAL" clId="{1012AE1A-29B0-4E90-8835-842C30BC7D2A}" dt="2023-01-05T00:50:54.445" v="80779"/>
          <ac:spMkLst>
            <pc:docMk/>
            <pc:sldMk cId="1589772229" sldId="2134804370"/>
            <ac:spMk id="576" creationId="{96DB64E7-7450-5BAA-7DCA-6F75AE12EF02}"/>
          </ac:spMkLst>
        </pc:spChg>
        <pc:spChg chg="add del mod replST">
          <ac:chgData name="Wenwen Zhang" userId="9dd81366-5d6f-445a-b031-6ea562624431" providerId="ADAL" clId="{1012AE1A-29B0-4E90-8835-842C30BC7D2A}" dt="2023-01-05T00:50:54.445" v="80780"/>
          <ac:spMkLst>
            <pc:docMk/>
            <pc:sldMk cId="1589772229" sldId="2134804370"/>
            <ac:spMk id="577" creationId="{96DB64E7-7450-5BAA-7DCA-6F75AE12EF02}"/>
          </ac:spMkLst>
        </pc:spChg>
        <pc:spChg chg="add del mod replST">
          <ac:chgData name="Wenwen Zhang" userId="9dd81366-5d6f-445a-b031-6ea562624431" providerId="ADAL" clId="{1012AE1A-29B0-4E90-8835-842C30BC7D2A}" dt="2023-01-05T00:50:54.446" v="80781"/>
          <ac:spMkLst>
            <pc:docMk/>
            <pc:sldMk cId="1589772229" sldId="2134804370"/>
            <ac:spMk id="578" creationId="{96DB64E7-7450-5BAA-7DCA-6F75AE12EF02}"/>
          </ac:spMkLst>
        </pc:spChg>
        <pc:spChg chg="add del mod replST">
          <ac:chgData name="Wenwen Zhang" userId="9dd81366-5d6f-445a-b031-6ea562624431" providerId="ADAL" clId="{1012AE1A-29B0-4E90-8835-842C30BC7D2A}" dt="2023-01-05T00:50:54.447" v="80782"/>
          <ac:spMkLst>
            <pc:docMk/>
            <pc:sldMk cId="1589772229" sldId="2134804370"/>
            <ac:spMk id="579" creationId="{96DB64E7-7450-5BAA-7DCA-6F75AE12EF02}"/>
          </ac:spMkLst>
        </pc:spChg>
        <pc:spChg chg="add del mod replST">
          <ac:chgData name="Wenwen Zhang" userId="9dd81366-5d6f-445a-b031-6ea562624431" providerId="ADAL" clId="{1012AE1A-29B0-4E90-8835-842C30BC7D2A}" dt="2023-01-05T00:50:54.448" v="80783"/>
          <ac:spMkLst>
            <pc:docMk/>
            <pc:sldMk cId="1589772229" sldId="2134804370"/>
            <ac:spMk id="580" creationId="{96DB64E7-7450-5BAA-7DCA-6F75AE12EF02}"/>
          </ac:spMkLst>
        </pc:spChg>
        <pc:spChg chg="add del mod replST">
          <ac:chgData name="Wenwen Zhang" userId="9dd81366-5d6f-445a-b031-6ea562624431" providerId="ADAL" clId="{1012AE1A-29B0-4E90-8835-842C30BC7D2A}" dt="2023-01-05T00:50:54.448" v="80784"/>
          <ac:spMkLst>
            <pc:docMk/>
            <pc:sldMk cId="1589772229" sldId="2134804370"/>
            <ac:spMk id="581" creationId="{96DB64E7-7450-5BAA-7DCA-6F75AE12EF02}"/>
          </ac:spMkLst>
        </pc:spChg>
        <pc:spChg chg="add del mod replST">
          <ac:chgData name="Wenwen Zhang" userId="9dd81366-5d6f-445a-b031-6ea562624431" providerId="ADAL" clId="{1012AE1A-29B0-4E90-8835-842C30BC7D2A}" dt="2023-01-05T00:50:54.449" v="80785"/>
          <ac:spMkLst>
            <pc:docMk/>
            <pc:sldMk cId="1589772229" sldId="2134804370"/>
            <ac:spMk id="582" creationId="{96DB64E7-7450-5BAA-7DCA-6F75AE12EF02}"/>
          </ac:spMkLst>
        </pc:spChg>
        <pc:spChg chg="add del mod replST">
          <ac:chgData name="Wenwen Zhang" userId="9dd81366-5d6f-445a-b031-6ea562624431" providerId="ADAL" clId="{1012AE1A-29B0-4E90-8835-842C30BC7D2A}" dt="2023-01-05T00:50:54.450" v="80786"/>
          <ac:spMkLst>
            <pc:docMk/>
            <pc:sldMk cId="1589772229" sldId="2134804370"/>
            <ac:spMk id="583" creationId="{96DB64E7-7450-5BAA-7DCA-6F75AE12EF02}"/>
          </ac:spMkLst>
        </pc:spChg>
        <pc:spChg chg="add del mod replST">
          <ac:chgData name="Wenwen Zhang" userId="9dd81366-5d6f-445a-b031-6ea562624431" providerId="ADAL" clId="{1012AE1A-29B0-4E90-8835-842C30BC7D2A}" dt="2023-01-05T00:50:54.451" v="80787"/>
          <ac:spMkLst>
            <pc:docMk/>
            <pc:sldMk cId="1589772229" sldId="2134804370"/>
            <ac:spMk id="584" creationId="{96DB64E7-7450-5BAA-7DCA-6F75AE12EF02}"/>
          </ac:spMkLst>
        </pc:spChg>
        <pc:spChg chg="add del mod replST">
          <ac:chgData name="Wenwen Zhang" userId="9dd81366-5d6f-445a-b031-6ea562624431" providerId="ADAL" clId="{1012AE1A-29B0-4E90-8835-842C30BC7D2A}" dt="2023-01-05T00:50:54.452" v="80788"/>
          <ac:spMkLst>
            <pc:docMk/>
            <pc:sldMk cId="1589772229" sldId="2134804370"/>
            <ac:spMk id="585" creationId="{96DB64E7-7450-5BAA-7DCA-6F75AE12EF02}"/>
          </ac:spMkLst>
        </pc:spChg>
        <pc:spChg chg="add del mod replST">
          <ac:chgData name="Wenwen Zhang" userId="9dd81366-5d6f-445a-b031-6ea562624431" providerId="ADAL" clId="{1012AE1A-29B0-4E90-8835-842C30BC7D2A}" dt="2023-01-05T00:50:54.452" v="80789"/>
          <ac:spMkLst>
            <pc:docMk/>
            <pc:sldMk cId="1589772229" sldId="2134804370"/>
            <ac:spMk id="586" creationId="{96DB64E7-7450-5BAA-7DCA-6F75AE12EF02}"/>
          </ac:spMkLst>
        </pc:spChg>
        <pc:spChg chg="add del mod replST">
          <ac:chgData name="Wenwen Zhang" userId="9dd81366-5d6f-445a-b031-6ea562624431" providerId="ADAL" clId="{1012AE1A-29B0-4E90-8835-842C30BC7D2A}" dt="2023-01-05T00:50:54.453" v="80790"/>
          <ac:spMkLst>
            <pc:docMk/>
            <pc:sldMk cId="1589772229" sldId="2134804370"/>
            <ac:spMk id="587" creationId="{96DB64E7-7450-5BAA-7DCA-6F75AE12EF02}"/>
          </ac:spMkLst>
        </pc:spChg>
        <pc:spChg chg="add del mod replST">
          <ac:chgData name="Wenwen Zhang" userId="9dd81366-5d6f-445a-b031-6ea562624431" providerId="ADAL" clId="{1012AE1A-29B0-4E90-8835-842C30BC7D2A}" dt="2023-01-05T00:50:54.455" v="80791"/>
          <ac:spMkLst>
            <pc:docMk/>
            <pc:sldMk cId="1589772229" sldId="2134804370"/>
            <ac:spMk id="588" creationId="{96DB64E7-7450-5BAA-7DCA-6F75AE12EF02}"/>
          </ac:spMkLst>
        </pc:spChg>
        <pc:spChg chg="add del mod replST">
          <ac:chgData name="Wenwen Zhang" userId="9dd81366-5d6f-445a-b031-6ea562624431" providerId="ADAL" clId="{1012AE1A-29B0-4E90-8835-842C30BC7D2A}" dt="2023-01-05T00:50:54.456" v="80792"/>
          <ac:spMkLst>
            <pc:docMk/>
            <pc:sldMk cId="1589772229" sldId="2134804370"/>
            <ac:spMk id="589" creationId="{96DB64E7-7450-5BAA-7DCA-6F75AE12EF02}"/>
          </ac:spMkLst>
        </pc:spChg>
        <pc:spChg chg="add del mod replST">
          <ac:chgData name="Wenwen Zhang" userId="9dd81366-5d6f-445a-b031-6ea562624431" providerId="ADAL" clId="{1012AE1A-29B0-4E90-8835-842C30BC7D2A}" dt="2023-01-05T00:50:54.456" v="80793"/>
          <ac:spMkLst>
            <pc:docMk/>
            <pc:sldMk cId="1589772229" sldId="2134804370"/>
            <ac:spMk id="590" creationId="{96DB64E7-7450-5BAA-7DCA-6F75AE12EF02}"/>
          </ac:spMkLst>
        </pc:spChg>
        <pc:spChg chg="add del mod replST">
          <ac:chgData name="Wenwen Zhang" userId="9dd81366-5d6f-445a-b031-6ea562624431" providerId="ADAL" clId="{1012AE1A-29B0-4E90-8835-842C30BC7D2A}" dt="2023-01-05T00:50:54.457" v="80794"/>
          <ac:spMkLst>
            <pc:docMk/>
            <pc:sldMk cId="1589772229" sldId="2134804370"/>
            <ac:spMk id="591" creationId="{96DB64E7-7450-5BAA-7DCA-6F75AE12EF02}"/>
          </ac:spMkLst>
        </pc:spChg>
        <pc:spChg chg="add del mod replST">
          <ac:chgData name="Wenwen Zhang" userId="9dd81366-5d6f-445a-b031-6ea562624431" providerId="ADAL" clId="{1012AE1A-29B0-4E90-8835-842C30BC7D2A}" dt="2023-01-05T00:50:54.458" v="80795"/>
          <ac:spMkLst>
            <pc:docMk/>
            <pc:sldMk cId="1589772229" sldId="2134804370"/>
            <ac:spMk id="592" creationId="{96DB64E7-7450-5BAA-7DCA-6F75AE12EF02}"/>
          </ac:spMkLst>
        </pc:spChg>
        <pc:spChg chg="add del mod replST">
          <ac:chgData name="Wenwen Zhang" userId="9dd81366-5d6f-445a-b031-6ea562624431" providerId="ADAL" clId="{1012AE1A-29B0-4E90-8835-842C30BC7D2A}" dt="2023-01-05T00:50:54.459" v="80796"/>
          <ac:spMkLst>
            <pc:docMk/>
            <pc:sldMk cId="1589772229" sldId="2134804370"/>
            <ac:spMk id="593" creationId="{96DB64E7-7450-5BAA-7DCA-6F75AE12EF02}"/>
          </ac:spMkLst>
        </pc:spChg>
        <pc:spChg chg="add del mod replST">
          <ac:chgData name="Wenwen Zhang" userId="9dd81366-5d6f-445a-b031-6ea562624431" providerId="ADAL" clId="{1012AE1A-29B0-4E90-8835-842C30BC7D2A}" dt="2023-01-05T00:50:54.459" v="80797"/>
          <ac:spMkLst>
            <pc:docMk/>
            <pc:sldMk cId="1589772229" sldId="2134804370"/>
            <ac:spMk id="594" creationId="{96DB64E7-7450-5BAA-7DCA-6F75AE12EF02}"/>
          </ac:spMkLst>
        </pc:spChg>
        <pc:spChg chg="add del mod replST">
          <ac:chgData name="Wenwen Zhang" userId="9dd81366-5d6f-445a-b031-6ea562624431" providerId="ADAL" clId="{1012AE1A-29B0-4E90-8835-842C30BC7D2A}" dt="2023-01-05T00:50:54.461" v="80798"/>
          <ac:spMkLst>
            <pc:docMk/>
            <pc:sldMk cId="1589772229" sldId="2134804370"/>
            <ac:spMk id="595" creationId="{96DB64E7-7450-5BAA-7DCA-6F75AE12EF02}"/>
          </ac:spMkLst>
        </pc:spChg>
        <pc:spChg chg="add del mod replST">
          <ac:chgData name="Wenwen Zhang" userId="9dd81366-5d6f-445a-b031-6ea562624431" providerId="ADAL" clId="{1012AE1A-29B0-4E90-8835-842C30BC7D2A}" dt="2023-01-05T00:50:54.461" v="80799"/>
          <ac:spMkLst>
            <pc:docMk/>
            <pc:sldMk cId="1589772229" sldId="2134804370"/>
            <ac:spMk id="596" creationId="{96DB64E7-7450-5BAA-7DCA-6F75AE12EF02}"/>
          </ac:spMkLst>
        </pc:spChg>
        <pc:spChg chg="add del mod replST">
          <ac:chgData name="Wenwen Zhang" userId="9dd81366-5d6f-445a-b031-6ea562624431" providerId="ADAL" clId="{1012AE1A-29B0-4E90-8835-842C30BC7D2A}" dt="2023-01-05T00:50:54.462" v="80800"/>
          <ac:spMkLst>
            <pc:docMk/>
            <pc:sldMk cId="1589772229" sldId="2134804370"/>
            <ac:spMk id="597" creationId="{96DB64E7-7450-5BAA-7DCA-6F75AE12EF02}"/>
          </ac:spMkLst>
        </pc:spChg>
        <pc:spChg chg="add del mod replST">
          <ac:chgData name="Wenwen Zhang" userId="9dd81366-5d6f-445a-b031-6ea562624431" providerId="ADAL" clId="{1012AE1A-29B0-4E90-8835-842C30BC7D2A}" dt="2023-01-05T00:50:54.463" v="80801"/>
          <ac:spMkLst>
            <pc:docMk/>
            <pc:sldMk cId="1589772229" sldId="2134804370"/>
            <ac:spMk id="598" creationId="{96DB64E7-7450-5BAA-7DCA-6F75AE12EF02}"/>
          </ac:spMkLst>
        </pc:spChg>
        <pc:spChg chg="add del mod replST">
          <ac:chgData name="Wenwen Zhang" userId="9dd81366-5d6f-445a-b031-6ea562624431" providerId="ADAL" clId="{1012AE1A-29B0-4E90-8835-842C30BC7D2A}" dt="2023-01-05T00:50:54.464" v="80802"/>
          <ac:spMkLst>
            <pc:docMk/>
            <pc:sldMk cId="1589772229" sldId="2134804370"/>
            <ac:spMk id="599" creationId="{96DB64E7-7450-5BAA-7DCA-6F75AE12EF02}"/>
          </ac:spMkLst>
        </pc:spChg>
        <pc:spChg chg="add del mod replST">
          <ac:chgData name="Wenwen Zhang" userId="9dd81366-5d6f-445a-b031-6ea562624431" providerId="ADAL" clId="{1012AE1A-29B0-4E90-8835-842C30BC7D2A}" dt="2023-01-05T00:50:54.464" v="80803"/>
          <ac:spMkLst>
            <pc:docMk/>
            <pc:sldMk cId="1589772229" sldId="2134804370"/>
            <ac:spMk id="600" creationId="{96DB64E7-7450-5BAA-7DCA-6F75AE12EF02}"/>
          </ac:spMkLst>
        </pc:spChg>
        <pc:spChg chg="add del mod replST">
          <ac:chgData name="Wenwen Zhang" userId="9dd81366-5d6f-445a-b031-6ea562624431" providerId="ADAL" clId="{1012AE1A-29B0-4E90-8835-842C30BC7D2A}" dt="2023-01-05T00:50:54.465" v="80804"/>
          <ac:spMkLst>
            <pc:docMk/>
            <pc:sldMk cId="1589772229" sldId="2134804370"/>
            <ac:spMk id="601" creationId="{96DB64E7-7450-5BAA-7DCA-6F75AE12EF02}"/>
          </ac:spMkLst>
        </pc:spChg>
        <pc:spChg chg="add del mod replST">
          <ac:chgData name="Wenwen Zhang" userId="9dd81366-5d6f-445a-b031-6ea562624431" providerId="ADAL" clId="{1012AE1A-29B0-4E90-8835-842C30BC7D2A}" dt="2023-01-05T00:50:54.466" v="80805"/>
          <ac:spMkLst>
            <pc:docMk/>
            <pc:sldMk cId="1589772229" sldId="2134804370"/>
            <ac:spMk id="602" creationId="{96DB64E7-7450-5BAA-7DCA-6F75AE12EF02}"/>
          </ac:spMkLst>
        </pc:spChg>
        <pc:spChg chg="add del mod replST">
          <ac:chgData name="Wenwen Zhang" userId="9dd81366-5d6f-445a-b031-6ea562624431" providerId="ADAL" clId="{1012AE1A-29B0-4E90-8835-842C30BC7D2A}" dt="2023-01-05T00:50:54.466" v="80806"/>
          <ac:spMkLst>
            <pc:docMk/>
            <pc:sldMk cId="1589772229" sldId="2134804370"/>
            <ac:spMk id="603" creationId="{96DB64E7-7450-5BAA-7DCA-6F75AE12EF02}"/>
          </ac:spMkLst>
        </pc:spChg>
        <pc:spChg chg="add del mod replST">
          <ac:chgData name="Wenwen Zhang" userId="9dd81366-5d6f-445a-b031-6ea562624431" providerId="ADAL" clId="{1012AE1A-29B0-4E90-8835-842C30BC7D2A}" dt="2023-01-05T00:50:54.467" v="80807"/>
          <ac:spMkLst>
            <pc:docMk/>
            <pc:sldMk cId="1589772229" sldId="2134804370"/>
            <ac:spMk id="604" creationId="{96DB64E7-7450-5BAA-7DCA-6F75AE12EF02}"/>
          </ac:spMkLst>
        </pc:spChg>
        <pc:spChg chg="add del mod replST">
          <ac:chgData name="Wenwen Zhang" userId="9dd81366-5d6f-445a-b031-6ea562624431" providerId="ADAL" clId="{1012AE1A-29B0-4E90-8835-842C30BC7D2A}" dt="2023-01-05T00:50:54.468" v="80808"/>
          <ac:spMkLst>
            <pc:docMk/>
            <pc:sldMk cId="1589772229" sldId="2134804370"/>
            <ac:spMk id="605" creationId="{96DB64E7-7450-5BAA-7DCA-6F75AE12EF02}"/>
          </ac:spMkLst>
        </pc:spChg>
        <pc:spChg chg="add del mod replST">
          <ac:chgData name="Wenwen Zhang" userId="9dd81366-5d6f-445a-b031-6ea562624431" providerId="ADAL" clId="{1012AE1A-29B0-4E90-8835-842C30BC7D2A}" dt="2023-01-05T00:50:54.469" v="80809"/>
          <ac:spMkLst>
            <pc:docMk/>
            <pc:sldMk cId="1589772229" sldId="2134804370"/>
            <ac:spMk id="606" creationId="{96DB64E7-7450-5BAA-7DCA-6F75AE12EF02}"/>
          </ac:spMkLst>
        </pc:spChg>
        <pc:spChg chg="add del mod replST">
          <ac:chgData name="Wenwen Zhang" userId="9dd81366-5d6f-445a-b031-6ea562624431" providerId="ADAL" clId="{1012AE1A-29B0-4E90-8835-842C30BC7D2A}" dt="2023-01-05T00:50:54.470" v="80810"/>
          <ac:spMkLst>
            <pc:docMk/>
            <pc:sldMk cId="1589772229" sldId="2134804370"/>
            <ac:spMk id="607" creationId="{96DB64E7-7450-5BAA-7DCA-6F75AE12EF02}"/>
          </ac:spMkLst>
        </pc:spChg>
        <pc:spChg chg="add del mod replST">
          <ac:chgData name="Wenwen Zhang" userId="9dd81366-5d6f-445a-b031-6ea562624431" providerId="ADAL" clId="{1012AE1A-29B0-4E90-8835-842C30BC7D2A}" dt="2023-01-05T00:50:54.471" v="80811"/>
          <ac:spMkLst>
            <pc:docMk/>
            <pc:sldMk cId="1589772229" sldId="2134804370"/>
            <ac:spMk id="608" creationId="{96DB64E7-7450-5BAA-7DCA-6F75AE12EF02}"/>
          </ac:spMkLst>
        </pc:spChg>
        <pc:spChg chg="add del mod replST">
          <ac:chgData name="Wenwen Zhang" userId="9dd81366-5d6f-445a-b031-6ea562624431" providerId="ADAL" clId="{1012AE1A-29B0-4E90-8835-842C30BC7D2A}" dt="2023-01-05T00:50:54.472" v="80812"/>
          <ac:spMkLst>
            <pc:docMk/>
            <pc:sldMk cId="1589772229" sldId="2134804370"/>
            <ac:spMk id="609" creationId="{96DB64E7-7450-5BAA-7DCA-6F75AE12EF02}"/>
          </ac:spMkLst>
        </pc:spChg>
        <pc:spChg chg="add del mod replST">
          <ac:chgData name="Wenwen Zhang" userId="9dd81366-5d6f-445a-b031-6ea562624431" providerId="ADAL" clId="{1012AE1A-29B0-4E90-8835-842C30BC7D2A}" dt="2023-01-05T00:50:54.473" v="80813"/>
          <ac:spMkLst>
            <pc:docMk/>
            <pc:sldMk cId="1589772229" sldId="2134804370"/>
            <ac:spMk id="610" creationId="{96DB64E7-7450-5BAA-7DCA-6F75AE12EF02}"/>
          </ac:spMkLst>
        </pc:spChg>
        <pc:spChg chg="add del mod replST">
          <ac:chgData name="Wenwen Zhang" userId="9dd81366-5d6f-445a-b031-6ea562624431" providerId="ADAL" clId="{1012AE1A-29B0-4E90-8835-842C30BC7D2A}" dt="2023-01-05T00:50:54.474" v="80814"/>
          <ac:spMkLst>
            <pc:docMk/>
            <pc:sldMk cId="1589772229" sldId="2134804370"/>
            <ac:spMk id="611" creationId="{96DB64E7-7450-5BAA-7DCA-6F75AE12EF02}"/>
          </ac:spMkLst>
        </pc:spChg>
        <pc:spChg chg="add del mod replST">
          <ac:chgData name="Wenwen Zhang" userId="9dd81366-5d6f-445a-b031-6ea562624431" providerId="ADAL" clId="{1012AE1A-29B0-4E90-8835-842C30BC7D2A}" dt="2023-01-05T00:50:54.475" v="80815"/>
          <ac:spMkLst>
            <pc:docMk/>
            <pc:sldMk cId="1589772229" sldId="2134804370"/>
            <ac:spMk id="612" creationId="{96DB64E7-7450-5BAA-7DCA-6F75AE12EF02}"/>
          </ac:spMkLst>
        </pc:spChg>
        <pc:spChg chg="add del mod replST">
          <ac:chgData name="Wenwen Zhang" userId="9dd81366-5d6f-445a-b031-6ea562624431" providerId="ADAL" clId="{1012AE1A-29B0-4E90-8835-842C30BC7D2A}" dt="2023-01-05T00:50:54.475" v="80816"/>
          <ac:spMkLst>
            <pc:docMk/>
            <pc:sldMk cId="1589772229" sldId="2134804370"/>
            <ac:spMk id="613" creationId="{96DB64E7-7450-5BAA-7DCA-6F75AE12EF02}"/>
          </ac:spMkLst>
        </pc:spChg>
        <pc:spChg chg="add del mod replST">
          <ac:chgData name="Wenwen Zhang" userId="9dd81366-5d6f-445a-b031-6ea562624431" providerId="ADAL" clId="{1012AE1A-29B0-4E90-8835-842C30BC7D2A}" dt="2023-01-05T00:50:54.476" v="80817"/>
          <ac:spMkLst>
            <pc:docMk/>
            <pc:sldMk cId="1589772229" sldId="2134804370"/>
            <ac:spMk id="614" creationId="{96DB64E7-7450-5BAA-7DCA-6F75AE12EF02}"/>
          </ac:spMkLst>
        </pc:spChg>
        <pc:spChg chg="add del mod replST">
          <ac:chgData name="Wenwen Zhang" userId="9dd81366-5d6f-445a-b031-6ea562624431" providerId="ADAL" clId="{1012AE1A-29B0-4E90-8835-842C30BC7D2A}" dt="2023-01-05T00:50:54.477" v="80818"/>
          <ac:spMkLst>
            <pc:docMk/>
            <pc:sldMk cId="1589772229" sldId="2134804370"/>
            <ac:spMk id="615" creationId="{96DB64E7-7450-5BAA-7DCA-6F75AE12EF02}"/>
          </ac:spMkLst>
        </pc:spChg>
        <pc:spChg chg="add del mod replST">
          <ac:chgData name="Wenwen Zhang" userId="9dd81366-5d6f-445a-b031-6ea562624431" providerId="ADAL" clId="{1012AE1A-29B0-4E90-8835-842C30BC7D2A}" dt="2023-01-05T00:50:54.478" v="80819"/>
          <ac:spMkLst>
            <pc:docMk/>
            <pc:sldMk cId="1589772229" sldId="2134804370"/>
            <ac:spMk id="616" creationId="{96DB64E7-7450-5BAA-7DCA-6F75AE12EF02}"/>
          </ac:spMkLst>
        </pc:spChg>
        <pc:spChg chg="add del mod replST">
          <ac:chgData name="Wenwen Zhang" userId="9dd81366-5d6f-445a-b031-6ea562624431" providerId="ADAL" clId="{1012AE1A-29B0-4E90-8835-842C30BC7D2A}" dt="2023-01-05T00:50:54.478" v="80820"/>
          <ac:spMkLst>
            <pc:docMk/>
            <pc:sldMk cId="1589772229" sldId="2134804370"/>
            <ac:spMk id="617" creationId="{96DB64E7-7450-5BAA-7DCA-6F75AE12EF02}"/>
          </ac:spMkLst>
        </pc:spChg>
        <pc:spChg chg="add del mod replST">
          <ac:chgData name="Wenwen Zhang" userId="9dd81366-5d6f-445a-b031-6ea562624431" providerId="ADAL" clId="{1012AE1A-29B0-4E90-8835-842C30BC7D2A}" dt="2023-01-05T00:50:54.479" v="80821"/>
          <ac:spMkLst>
            <pc:docMk/>
            <pc:sldMk cId="1589772229" sldId="2134804370"/>
            <ac:spMk id="618" creationId="{96DB64E7-7450-5BAA-7DCA-6F75AE12EF02}"/>
          </ac:spMkLst>
        </pc:spChg>
        <pc:spChg chg="add del mod replST">
          <ac:chgData name="Wenwen Zhang" userId="9dd81366-5d6f-445a-b031-6ea562624431" providerId="ADAL" clId="{1012AE1A-29B0-4E90-8835-842C30BC7D2A}" dt="2023-01-05T00:50:54.480" v="80822"/>
          <ac:spMkLst>
            <pc:docMk/>
            <pc:sldMk cId="1589772229" sldId="2134804370"/>
            <ac:spMk id="619" creationId="{96DB64E7-7450-5BAA-7DCA-6F75AE12EF02}"/>
          </ac:spMkLst>
        </pc:spChg>
        <pc:spChg chg="add del mod replST">
          <ac:chgData name="Wenwen Zhang" userId="9dd81366-5d6f-445a-b031-6ea562624431" providerId="ADAL" clId="{1012AE1A-29B0-4E90-8835-842C30BC7D2A}" dt="2023-01-05T00:50:54.481" v="80823"/>
          <ac:spMkLst>
            <pc:docMk/>
            <pc:sldMk cId="1589772229" sldId="2134804370"/>
            <ac:spMk id="620" creationId="{96DB64E7-7450-5BAA-7DCA-6F75AE12EF02}"/>
          </ac:spMkLst>
        </pc:spChg>
        <pc:spChg chg="add del mod replST">
          <ac:chgData name="Wenwen Zhang" userId="9dd81366-5d6f-445a-b031-6ea562624431" providerId="ADAL" clId="{1012AE1A-29B0-4E90-8835-842C30BC7D2A}" dt="2023-01-05T00:50:54.481" v="80824"/>
          <ac:spMkLst>
            <pc:docMk/>
            <pc:sldMk cId="1589772229" sldId="2134804370"/>
            <ac:spMk id="621" creationId="{96DB64E7-7450-5BAA-7DCA-6F75AE12EF02}"/>
          </ac:spMkLst>
        </pc:spChg>
        <pc:spChg chg="add del mod replST">
          <ac:chgData name="Wenwen Zhang" userId="9dd81366-5d6f-445a-b031-6ea562624431" providerId="ADAL" clId="{1012AE1A-29B0-4E90-8835-842C30BC7D2A}" dt="2023-01-05T00:50:54.482" v="80825"/>
          <ac:spMkLst>
            <pc:docMk/>
            <pc:sldMk cId="1589772229" sldId="2134804370"/>
            <ac:spMk id="622" creationId="{96DB64E7-7450-5BAA-7DCA-6F75AE12EF02}"/>
          </ac:spMkLst>
        </pc:spChg>
        <pc:spChg chg="add del mod replST">
          <ac:chgData name="Wenwen Zhang" userId="9dd81366-5d6f-445a-b031-6ea562624431" providerId="ADAL" clId="{1012AE1A-29B0-4E90-8835-842C30BC7D2A}" dt="2023-01-05T00:50:54.483" v="80826"/>
          <ac:spMkLst>
            <pc:docMk/>
            <pc:sldMk cId="1589772229" sldId="2134804370"/>
            <ac:spMk id="623" creationId="{96DB64E7-7450-5BAA-7DCA-6F75AE12EF02}"/>
          </ac:spMkLst>
        </pc:spChg>
        <pc:spChg chg="add del mod replST">
          <ac:chgData name="Wenwen Zhang" userId="9dd81366-5d6f-445a-b031-6ea562624431" providerId="ADAL" clId="{1012AE1A-29B0-4E90-8835-842C30BC7D2A}" dt="2023-01-05T00:50:54.483" v="80827"/>
          <ac:spMkLst>
            <pc:docMk/>
            <pc:sldMk cId="1589772229" sldId="2134804370"/>
            <ac:spMk id="624" creationId="{96DB64E7-7450-5BAA-7DCA-6F75AE12EF02}"/>
          </ac:spMkLst>
        </pc:spChg>
        <pc:spChg chg="add del mod replST">
          <ac:chgData name="Wenwen Zhang" userId="9dd81366-5d6f-445a-b031-6ea562624431" providerId="ADAL" clId="{1012AE1A-29B0-4E90-8835-842C30BC7D2A}" dt="2023-01-05T00:50:54.484" v="80828"/>
          <ac:spMkLst>
            <pc:docMk/>
            <pc:sldMk cId="1589772229" sldId="2134804370"/>
            <ac:spMk id="625" creationId="{96DB64E7-7450-5BAA-7DCA-6F75AE12EF02}"/>
          </ac:spMkLst>
        </pc:spChg>
        <pc:spChg chg="add del mod replST">
          <ac:chgData name="Wenwen Zhang" userId="9dd81366-5d6f-445a-b031-6ea562624431" providerId="ADAL" clId="{1012AE1A-29B0-4E90-8835-842C30BC7D2A}" dt="2023-01-05T00:50:54.485" v="80829"/>
          <ac:spMkLst>
            <pc:docMk/>
            <pc:sldMk cId="1589772229" sldId="2134804370"/>
            <ac:spMk id="626" creationId="{96DB64E7-7450-5BAA-7DCA-6F75AE12EF02}"/>
          </ac:spMkLst>
        </pc:spChg>
        <pc:spChg chg="add del mod replST">
          <ac:chgData name="Wenwen Zhang" userId="9dd81366-5d6f-445a-b031-6ea562624431" providerId="ADAL" clId="{1012AE1A-29B0-4E90-8835-842C30BC7D2A}" dt="2023-01-05T00:50:54.486" v="80830"/>
          <ac:spMkLst>
            <pc:docMk/>
            <pc:sldMk cId="1589772229" sldId="2134804370"/>
            <ac:spMk id="627" creationId="{96DB64E7-7450-5BAA-7DCA-6F75AE12EF02}"/>
          </ac:spMkLst>
        </pc:spChg>
        <pc:spChg chg="add del mod replST">
          <ac:chgData name="Wenwen Zhang" userId="9dd81366-5d6f-445a-b031-6ea562624431" providerId="ADAL" clId="{1012AE1A-29B0-4E90-8835-842C30BC7D2A}" dt="2023-01-05T00:50:54.487" v="80831"/>
          <ac:spMkLst>
            <pc:docMk/>
            <pc:sldMk cId="1589772229" sldId="2134804370"/>
            <ac:spMk id="628" creationId="{96DB64E7-7450-5BAA-7DCA-6F75AE12EF02}"/>
          </ac:spMkLst>
        </pc:spChg>
        <pc:spChg chg="add del mod replST">
          <ac:chgData name="Wenwen Zhang" userId="9dd81366-5d6f-445a-b031-6ea562624431" providerId="ADAL" clId="{1012AE1A-29B0-4E90-8835-842C30BC7D2A}" dt="2023-01-05T00:50:54.488" v="80832"/>
          <ac:spMkLst>
            <pc:docMk/>
            <pc:sldMk cId="1589772229" sldId="2134804370"/>
            <ac:spMk id="629" creationId="{96DB64E7-7450-5BAA-7DCA-6F75AE12EF02}"/>
          </ac:spMkLst>
        </pc:spChg>
        <pc:spChg chg="add del mod replST">
          <ac:chgData name="Wenwen Zhang" userId="9dd81366-5d6f-445a-b031-6ea562624431" providerId="ADAL" clId="{1012AE1A-29B0-4E90-8835-842C30BC7D2A}" dt="2023-01-05T00:50:54.489" v="80833"/>
          <ac:spMkLst>
            <pc:docMk/>
            <pc:sldMk cId="1589772229" sldId="2134804370"/>
            <ac:spMk id="630" creationId="{96DB64E7-7450-5BAA-7DCA-6F75AE12EF02}"/>
          </ac:spMkLst>
        </pc:spChg>
        <pc:spChg chg="add del mod replST">
          <ac:chgData name="Wenwen Zhang" userId="9dd81366-5d6f-445a-b031-6ea562624431" providerId="ADAL" clId="{1012AE1A-29B0-4E90-8835-842C30BC7D2A}" dt="2023-01-05T00:50:54.489" v="80834"/>
          <ac:spMkLst>
            <pc:docMk/>
            <pc:sldMk cId="1589772229" sldId="2134804370"/>
            <ac:spMk id="631" creationId="{96DB64E7-7450-5BAA-7DCA-6F75AE12EF02}"/>
          </ac:spMkLst>
        </pc:spChg>
        <pc:spChg chg="add del mod replST">
          <ac:chgData name="Wenwen Zhang" userId="9dd81366-5d6f-445a-b031-6ea562624431" providerId="ADAL" clId="{1012AE1A-29B0-4E90-8835-842C30BC7D2A}" dt="2023-01-05T00:50:54.490" v="80835"/>
          <ac:spMkLst>
            <pc:docMk/>
            <pc:sldMk cId="1589772229" sldId="2134804370"/>
            <ac:spMk id="632" creationId="{96DB64E7-7450-5BAA-7DCA-6F75AE12EF02}"/>
          </ac:spMkLst>
        </pc:spChg>
        <pc:spChg chg="add del mod replST">
          <ac:chgData name="Wenwen Zhang" userId="9dd81366-5d6f-445a-b031-6ea562624431" providerId="ADAL" clId="{1012AE1A-29B0-4E90-8835-842C30BC7D2A}" dt="2023-01-05T00:50:54.491" v="80836"/>
          <ac:spMkLst>
            <pc:docMk/>
            <pc:sldMk cId="1589772229" sldId="2134804370"/>
            <ac:spMk id="633" creationId="{96DB64E7-7450-5BAA-7DCA-6F75AE12EF02}"/>
          </ac:spMkLst>
        </pc:spChg>
        <pc:spChg chg="add del mod replST">
          <ac:chgData name="Wenwen Zhang" userId="9dd81366-5d6f-445a-b031-6ea562624431" providerId="ADAL" clId="{1012AE1A-29B0-4E90-8835-842C30BC7D2A}" dt="2023-01-05T00:50:54.492" v="80837"/>
          <ac:spMkLst>
            <pc:docMk/>
            <pc:sldMk cId="1589772229" sldId="2134804370"/>
            <ac:spMk id="634" creationId="{96DB64E7-7450-5BAA-7DCA-6F75AE12EF02}"/>
          </ac:spMkLst>
        </pc:spChg>
        <pc:spChg chg="add del mod replST">
          <ac:chgData name="Wenwen Zhang" userId="9dd81366-5d6f-445a-b031-6ea562624431" providerId="ADAL" clId="{1012AE1A-29B0-4E90-8835-842C30BC7D2A}" dt="2023-01-05T00:50:54.492" v="80838"/>
          <ac:spMkLst>
            <pc:docMk/>
            <pc:sldMk cId="1589772229" sldId="2134804370"/>
            <ac:spMk id="635" creationId="{96DB64E7-7450-5BAA-7DCA-6F75AE12EF02}"/>
          </ac:spMkLst>
        </pc:spChg>
        <pc:spChg chg="add del mod replST">
          <ac:chgData name="Wenwen Zhang" userId="9dd81366-5d6f-445a-b031-6ea562624431" providerId="ADAL" clId="{1012AE1A-29B0-4E90-8835-842C30BC7D2A}" dt="2023-01-05T00:50:54.493" v="80839"/>
          <ac:spMkLst>
            <pc:docMk/>
            <pc:sldMk cId="1589772229" sldId="2134804370"/>
            <ac:spMk id="636" creationId="{96DB64E7-7450-5BAA-7DCA-6F75AE12EF02}"/>
          </ac:spMkLst>
        </pc:spChg>
        <pc:spChg chg="add del mod replST">
          <ac:chgData name="Wenwen Zhang" userId="9dd81366-5d6f-445a-b031-6ea562624431" providerId="ADAL" clId="{1012AE1A-29B0-4E90-8835-842C30BC7D2A}" dt="2023-01-05T00:50:54.494" v="80840"/>
          <ac:spMkLst>
            <pc:docMk/>
            <pc:sldMk cId="1589772229" sldId="2134804370"/>
            <ac:spMk id="637" creationId="{96DB64E7-7450-5BAA-7DCA-6F75AE12EF02}"/>
          </ac:spMkLst>
        </pc:spChg>
        <pc:spChg chg="add del mod replST">
          <ac:chgData name="Wenwen Zhang" userId="9dd81366-5d6f-445a-b031-6ea562624431" providerId="ADAL" clId="{1012AE1A-29B0-4E90-8835-842C30BC7D2A}" dt="2023-01-05T00:50:54.494" v="80841"/>
          <ac:spMkLst>
            <pc:docMk/>
            <pc:sldMk cId="1589772229" sldId="2134804370"/>
            <ac:spMk id="638" creationId="{96DB64E7-7450-5BAA-7DCA-6F75AE12EF02}"/>
          </ac:spMkLst>
        </pc:spChg>
        <pc:spChg chg="add del mod replST">
          <ac:chgData name="Wenwen Zhang" userId="9dd81366-5d6f-445a-b031-6ea562624431" providerId="ADAL" clId="{1012AE1A-29B0-4E90-8835-842C30BC7D2A}" dt="2023-01-05T00:50:54.495" v="80842"/>
          <ac:spMkLst>
            <pc:docMk/>
            <pc:sldMk cId="1589772229" sldId="2134804370"/>
            <ac:spMk id="639" creationId="{96DB64E7-7450-5BAA-7DCA-6F75AE12EF02}"/>
          </ac:spMkLst>
        </pc:spChg>
        <pc:spChg chg="add del mod replST">
          <ac:chgData name="Wenwen Zhang" userId="9dd81366-5d6f-445a-b031-6ea562624431" providerId="ADAL" clId="{1012AE1A-29B0-4E90-8835-842C30BC7D2A}" dt="2023-01-05T00:50:54.496" v="80843"/>
          <ac:spMkLst>
            <pc:docMk/>
            <pc:sldMk cId="1589772229" sldId="2134804370"/>
            <ac:spMk id="640" creationId="{96DB64E7-7450-5BAA-7DCA-6F75AE12EF02}"/>
          </ac:spMkLst>
        </pc:spChg>
        <pc:spChg chg="add del mod replST">
          <ac:chgData name="Wenwen Zhang" userId="9dd81366-5d6f-445a-b031-6ea562624431" providerId="ADAL" clId="{1012AE1A-29B0-4E90-8835-842C30BC7D2A}" dt="2023-01-05T00:50:54.497" v="80844"/>
          <ac:spMkLst>
            <pc:docMk/>
            <pc:sldMk cId="1589772229" sldId="2134804370"/>
            <ac:spMk id="641" creationId="{96DB64E7-7450-5BAA-7DCA-6F75AE12EF02}"/>
          </ac:spMkLst>
        </pc:spChg>
        <pc:spChg chg="add del mod replST">
          <ac:chgData name="Wenwen Zhang" userId="9dd81366-5d6f-445a-b031-6ea562624431" providerId="ADAL" clId="{1012AE1A-29B0-4E90-8835-842C30BC7D2A}" dt="2023-01-05T00:50:54.497" v="80845"/>
          <ac:spMkLst>
            <pc:docMk/>
            <pc:sldMk cId="1589772229" sldId="2134804370"/>
            <ac:spMk id="642" creationId="{96DB64E7-7450-5BAA-7DCA-6F75AE12EF02}"/>
          </ac:spMkLst>
        </pc:spChg>
        <pc:spChg chg="add del mod replST">
          <ac:chgData name="Wenwen Zhang" userId="9dd81366-5d6f-445a-b031-6ea562624431" providerId="ADAL" clId="{1012AE1A-29B0-4E90-8835-842C30BC7D2A}" dt="2023-01-05T00:50:54.498" v="80846"/>
          <ac:spMkLst>
            <pc:docMk/>
            <pc:sldMk cId="1589772229" sldId="2134804370"/>
            <ac:spMk id="643" creationId="{96DB64E7-7450-5BAA-7DCA-6F75AE12EF02}"/>
          </ac:spMkLst>
        </pc:spChg>
        <pc:spChg chg="add del mod replST">
          <ac:chgData name="Wenwen Zhang" userId="9dd81366-5d6f-445a-b031-6ea562624431" providerId="ADAL" clId="{1012AE1A-29B0-4E90-8835-842C30BC7D2A}" dt="2023-01-05T00:50:54.499" v="80847"/>
          <ac:spMkLst>
            <pc:docMk/>
            <pc:sldMk cId="1589772229" sldId="2134804370"/>
            <ac:spMk id="644" creationId="{96DB64E7-7450-5BAA-7DCA-6F75AE12EF02}"/>
          </ac:spMkLst>
        </pc:spChg>
        <pc:spChg chg="add del mod replST">
          <ac:chgData name="Wenwen Zhang" userId="9dd81366-5d6f-445a-b031-6ea562624431" providerId="ADAL" clId="{1012AE1A-29B0-4E90-8835-842C30BC7D2A}" dt="2023-01-05T00:50:54.499" v="80848"/>
          <ac:spMkLst>
            <pc:docMk/>
            <pc:sldMk cId="1589772229" sldId="2134804370"/>
            <ac:spMk id="645" creationId="{96DB64E7-7450-5BAA-7DCA-6F75AE12EF02}"/>
          </ac:spMkLst>
        </pc:spChg>
        <pc:spChg chg="add del mod replST">
          <ac:chgData name="Wenwen Zhang" userId="9dd81366-5d6f-445a-b031-6ea562624431" providerId="ADAL" clId="{1012AE1A-29B0-4E90-8835-842C30BC7D2A}" dt="2023-01-05T00:50:54.500" v="80849"/>
          <ac:spMkLst>
            <pc:docMk/>
            <pc:sldMk cId="1589772229" sldId="2134804370"/>
            <ac:spMk id="646" creationId="{96DB64E7-7450-5BAA-7DCA-6F75AE12EF02}"/>
          </ac:spMkLst>
        </pc:spChg>
        <pc:spChg chg="add del mod replST">
          <ac:chgData name="Wenwen Zhang" userId="9dd81366-5d6f-445a-b031-6ea562624431" providerId="ADAL" clId="{1012AE1A-29B0-4E90-8835-842C30BC7D2A}" dt="2023-01-05T00:50:54.501" v="80850"/>
          <ac:spMkLst>
            <pc:docMk/>
            <pc:sldMk cId="1589772229" sldId="2134804370"/>
            <ac:spMk id="647" creationId="{96DB64E7-7450-5BAA-7DCA-6F75AE12EF02}"/>
          </ac:spMkLst>
        </pc:spChg>
        <pc:spChg chg="add del mod replST">
          <ac:chgData name="Wenwen Zhang" userId="9dd81366-5d6f-445a-b031-6ea562624431" providerId="ADAL" clId="{1012AE1A-29B0-4E90-8835-842C30BC7D2A}" dt="2023-01-05T00:50:54.502" v="80851"/>
          <ac:spMkLst>
            <pc:docMk/>
            <pc:sldMk cId="1589772229" sldId="2134804370"/>
            <ac:spMk id="648" creationId="{96DB64E7-7450-5BAA-7DCA-6F75AE12EF02}"/>
          </ac:spMkLst>
        </pc:spChg>
        <pc:spChg chg="add del mod replST">
          <ac:chgData name="Wenwen Zhang" userId="9dd81366-5d6f-445a-b031-6ea562624431" providerId="ADAL" clId="{1012AE1A-29B0-4E90-8835-842C30BC7D2A}" dt="2023-01-05T00:50:54.503" v="80852"/>
          <ac:spMkLst>
            <pc:docMk/>
            <pc:sldMk cId="1589772229" sldId="2134804370"/>
            <ac:spMk id="649" creationId="{96DB64E7-7450-5BAA-7DCA-6F75AE12EF02}"/>
          </ac:spMkLst>
        </pc:spChg>
        <pc:spChg chg="add del mod replST">
          <ac:chgData name="Wenwen Zhang" userId="9dd81366-5d6f-445a-b031-6ea562624431" providerId="ADAL" clId="{1012AE1A-29B0-4E90-8835-842C30BC7D2A}" dt="2023-01-05T00:50:54.504" v="80853"/>
          <ac:spMkLst>
            <pc:docMk/>
            <pc:sldMk cId="1589772229" sldId="2134804370"/>
            <ac:spMk id="650" creationId="{96DB64E7-7450-5BAA-7DCA-6F75AE12EF02}"/>
          </ac:spMkLst>
        </pc:spChg>
        <pc:spChg chg="add del mod replST">
          <ac:chgData name="Wenwen Zhang" userId="9dd81366-5d6f-445a-b031-6ea562624431" providerId="ADAL" clId="{1012AE1A-29B0-4E90-8835-842C30BC7D2A}" dt="2023-01-05T00:50:54.504" v="80854"/>
          <ac:spMkLst>
            <pc:docMk/>
            <pc:sldMk cId="1589772229" sldId="2134804370"/>
            <ac:spMk id="651" creationId="{96DB64E7-7450-5BAA-7DCA-6F75AE12EF02}"/>
          </ac:spMkLst>
        </pc:spChg>
        <pc:spChg chg="add del mod replST">
          <ac:chgData name="Wenwen Zhang" userId="9dd81366-5d6f-445a-b031-6ea562624431" providerId="ADAL" clId="{1012AE1A-29B0-4E90-8835-842C30BC7D2A}" dt="2023-01-05T00:50:54.505" v="80855"/>
          <ac:spMkLst>
            <pc:docMk/>
            <pc:sldMk cId="1589772229" sldId="2134804370"/>
            <ac:spMk id="652" creationId="{96DB64E7-7450-5BAA-7DCA-6F75AE12EF02}"/>
          </ac:spMkLst>
        </pc:spChg>
        <pc:spChg chg="add del mod replST">
          <ac:chgData name="Wenwen Zhang" userId="9dd81366-5d6f-445a-b031-6ea562624431" providerId="ADAL" clId="{1012AE1A-29B0-4E90-8835-842C30BC7D2A}" dt="2023-01-05T00:50:54.506" v="80856"/>
          <ac:spMkLst>
            <pc:docMk/>
            <pc:sldMk cId="1589772229" sldId="2134804370"/>
            <ac:spMk id="653" creationId="{96DB64E7-7450-5BAA-7DCA-6F75AE12EF02}"/>
          </ac:spMkLst>
        </pc:spChg>
        <pc:spChg chg="add del mod replST">
          <ac:chgData name="Wenwen Zhang" userId="9dd81366-5d6f-445a-b031-6ea562624431" providerId="ADAL" clId="{1012AE1A-29B0-4E90-8835-842C30BC7D2A}" dt="2023-01-05T00:50:54.506" v="80857"/>
          <ac:spMkLst>
            <pc:docMk/>
            <pc:sldMk cId="1589772229" sldId="2134804370"/>
            <ac:spMk id="654" creationId="{96DB64E7-7450-5BAA-7DCA-6F75AE12EF02}"/>
          </ac:spMkLst>
        </pc:spChg>
        <pc:spChg chg="add del mod replST">
          <ac:chgData name="Wenwen Zhang" userId="9dd81366-5d6f-445a-b031-6ea562624431" providerId="ADAL" clId="{1012AE1A-29B0-4E90-8835-842C30BC7D2A}" dt="2023-01-05T00:50:54.507" v="80858"/>
          <ac:spMkLst>
            <pc:docMk/>
            <pc:sldMk cId="1589772229" sldId="2134804370"/>
            <ac:spMk id="655" creationId="{96DB64E7-7450-5BAA-7DCA-6F75AE12EF02}"/>
          </ac:spMkLst>
        </pc:spChg>
        <pc:spChg chg="add del mod replST">
          <ac:chgData name="Wenwen Zhang" userId="9dd81366-5d6f-445a-b031-6ea562624431" providerId="ADAL" clId="{1012AE1A-29B0-4E90-8835-842C30BC7D2A}" dt="2023-01-05T00:50:54.508" v="80859"/>
          <ac:spMkLst>
            <pc:docMk/>
            <pc:sldMk cId="1589772229" sldId="2134804370"/>
            <ac:spMk id="656" creationId="{96DB64E7-7450-5BAA-7DCA-6F75AE12EF02}"/>
          </ac:spMkLst>
        </pc:spChg>
        <pc:spChg chg="add del mod replST">
          <ac:chgData name="Wenwen Zhang" userId="9dd81366-5d6f-445a-b031-6ea562624431" providerId="ADAL" clId="{1012AE1A-29B0-4E90-8835-842C30BC7D2A}" dt="2023-01-05T00:50:54.509" v="80860"/>
          <ac:spMkLst>
            <pc:docMk/>
            <pc:sldMk cId="1589772229" sldId="2134804370"/>
            <ac:spMk id="657" creationId="{96DB64E7-7450-5BAA-7DCA-6F75AE12EF02}"/>
          </ac:spMkLst>
        </pc:spChg>
        <pc:spChg chg="add del mod replST">
          <ac:chgData name="Wenwen Zhang" userId="9dd81366-5d6f-445a-b031-6ea562624431" providerId="ADAL" clId="{1012AE1A-29B0-4E90-8835-842C30BC7D2A}" dt="2023-01-05T00:50:54.509" v="80861"/>
          <ac:spMkLst>
            <pc:docMk/>
            <pc:sldMk cId="1589772229" sldId="2134804370"/>
            <ac:spMk id="658" creationId="{96DB64E7-7450-5BAA-7DCA-6F75AE12EF02}"/>
          </ac:spMkLst>
        </pc:spChg>
        <pc:spChg chg="add del mod replST">
          <ac:chgData name="Wenwen Zhang" userId="9dd81366-5d6f-445a-b031-6ea562624431" providerId="ADAL" clId="{1012AE1A-29B0-4E90-8835-842C30BC7D2A}" dt="2023-01-05T00:50:54.510" v="80862"/>
          <ac:spMkLst>
            <pc:docMk/>
            <pc:sldMk cId="1589772229" sldId="2134804370"/>
            <ac:spMk id="659" creationId="{96DB64E7-7450-5BAA-7DCA-6F75AE12EF02}"/>
          </ac:spMkLst>
        </pc:spChg>
        <pc:spChg chg="add del mod replST">
          <ac:chgData name="Wenwen Zhang" userId="9dd81366-5d6f-445a-b031-6ea562624431" providerId="ADAL" clId="{1012AE1A-29B0-4E90-8835-842C30BC7D2A}" dt="2023-01-05T00:50:54.511" v="80863"/>
          <ac:spMkLst>
            <pc:docMk/>
            <pc:sldMk cId="1589772229" sldId="2134804370"/>
            <ac:spMk id="660" creationId="{96DB64E7-7450-5BAA-7DCA-6F75AE12EF02}"/>
          </ac:spMkLst>
        </pc:spChg>
        <pc:spChg chg="add del mod replST">
          <ac:chgData name="Wenwen Zhang" userId="9dd81366-5d6f-445a-b031-6ea562624431" providerId="ADAL" clId="{1012AE1A-29B0-4E90-8835-842C30BC7D2A}" dt="2023-01-05T00:50:54.511" v="80864"/>
          <ac:spMkLst>
            <pc:docMk/>
            <pc:sldMk cId="1589772229" sldId="2134804370"/>
            <ac:spMk id="661" creationId="{96DB64E7-7450-5BAA-7DCA-6F75AE12EF02}"/>
          </ac:spMkLst>
        </pc:spChg>
        <pc:spChg chg="add del mod replST">
          <ac:chgData name="Wenwen Zhang" userId="9dd81366-5d6f-445a-b031-6ea562624431" providerId="ADAL" clId="{1012AE1A-29B0-4E90-8835-842C30BC7D2A}" dt="2023-01-05T00:50:54.512" v="80865"/>
          <ac:spMkLst>
            <pc:docMk/>
            <pc:sldMk cId="1589772229" sldId="2134804370"/>
            <ac:spMk id="662" creationId="{96DB64E7-7450-5BAA-7DCA-6F75AE12EF02}"/>
          </ac:spMkLst>
        </pc:spChg>
        <pc:spChg chg="add del mod replST">
          <ac:chgData name="Wenwen Zhang" userId="9dd81366-5d6f-445a-b031-6ea562624431" providerId="ADAL" clId="{1012AE1A-29B0-4E90-8835-842C30BC7D2A}" dt="2023-01-05T00:50:54.513" v="80866"/>
          <ac:spMkLst>
            <pc:docMk/>
            <pc:sldMk cId="1589772229" sldId="2134804370"/>
            <ac:spMk id="663" creationId="{96DB64E7-7450-5BAA-7DCA-6F75AE12EF02}"/>
          </ac:spMkLst>
        </pc:spChg>
        <pc:spChg chg="add del mod replST">
          <ac:chgData name="Wenwen Zhang" userId="9dd81366-5d6f-445a-b031-6ea562624431" providerId="ADAL" clId="{1012AE1A-29B0-4E90-8835-842C30BC7D2A}" dt="2023-01-05T00:50:54.514" v="80867"/>
          <ac:spMkLst>
            <pc:docMk/>
            <pc:sldMk cId="1589772229" sldId="2134804370"/>
            <ac:spMk id="664" creationId="{96DB64E7-7450-5BAA-7DCA-6F75AE12EF02}"/>
          </ac:spMkLst>
        </pc:spChg>
        <pc:spChg chg="add del mod replST">
          <ac:chgData name="Wenwen Zhang" userId="9dd81366-5d6f-445a-b031-6ea562624431" providerId="ADAL" clId="{1012AE1A-29B0-4E90-8835-842C30BC7D2A}" dt="2023-01-05T00:50:54.514" v="80868"/>
          <ac:spMkLst>
            <pc:docMk/>
            <pc:sldMk cId="1589772229" sldId="2134804370"/>
            <ac:spMk id="665" creationId="{96DB64E7-7450-5BAA-7DCA-6F75AE12EF02}"/>
          </ac:spMkLst>
        </pc:spChg>
        <pc:spChg chg="add del mod replST">
          <ac:chgData name="Wenwen Zhang" userId="9dd81366-5d6f-445a-b031-6ea562624431" providerId="ADAL" clId="{1012AE1A-29B0-4E90-8835-842C30BC7D2A}" dt="2023-01-05T00:50:54.515" v="80869"/>
          <ac:spMkLst>
            <pc:docMk/>
            <pc:sldMk cId="1589772229" sldId="2134804370"/>
            <ac:spMk id="666" creationId="{96DB64E7-7450-5BAA-7DCA-6F75AE12EF02}"/>
          </ac:spMkLst>
        </pc:spChg>
        <pc:spChg chg="add del mod replST">
          <ac:chgData name="Wenwen Zhang" userId="9dd81366-5d6f-445a-b031-6ea562624431" providerId="ADAL" clId="{1012AE1A-29B0-4E90-8835-842C30BC7D2A}" dt="2023-01-05T00:50:54.516" v="80870"/>
          <ac:spMkLst>
            <pc:docMk/>
            <pc:sldMk cId="1589772229" sldId="2134804370"/>
            <ac:spMk id="667" creationId="{96DB64E7-7450-5BAA-7DCA-6F75AE12EF02}"/>
          </ac:spMkLst>
        </pc:spChg>
        <pc:spChg chg="add del mod replST">
          <ac:chgData name="Wenwen Zhang" userId="9dd81366-5d6f-445a-b031-6ea562624431" providerId="ADAL" clId="{1012AE1A-29B0-4E90-8835-842C30BC7D2A}" dt="2023-01-05T00:50:54.517" v="80871"/>
          <ac:spMkLst>
            <pc:docMk/>
            <pc:sldMk cId="1589772229" sldId="2134804370"/>
            <ac:spMk id="668" creationId="{96DB64E7-7450-5BAA-7DCA-6F75AE12EF02}"/>
          </ac:spMkLst>
        </pc:spChg>
        <pc:spChg chg="add del mod replST">
          <ac:chgData name="Wenwen Zhang" userId="9dd81366-5d6f-445a-b031-6ea562624431" providerId="ADAL" clId="{1012AE1A-29B0-4E90-8835-842C30BC7D2A}" dt="2023-01-05T00:50:54.518" v="80872"/>
          <ac:spMkLst>
            <pc:docMk/>
            <pc:sldMk cId="1589772229" sldId="2134804370"/>
            <ac:spMk id="669" creationId="{96DB64E7-7450-5BAA-7DCA-6F75AE12EF02}"/>
          </ac:spMkLst>
        </pc:spChg>
        <pc:spChg chg="add del mod replST">
          <ac:chgData name="Wenwen Zhang" userId="9dd81366-5d6f-445a-b031-6ea562624431" providerId="ADAL" clId="{1012AE1A-29B0-4E90-8835-842C30BC7D2A}" dt="2023-01-05T00:50:54.519" v="80873"/>
          <ac:spMkLst>
            <pc:docMk/>
            <pc:sldMk cId="1589772229" sldId="2134804370"/>
            <ac:spMk id="670" creationId="{96DB64E7-7450-5BAA-7DCA-6F75AE12EF02}"/>
          </ac:spMkLst>
        </pc:spChg>
        <pc:spChg chg="add del mod replST">
          <ac:chgData name="Wenwen Zhang" userId="9dd81366-5d6f-445a-b031-6ea562624431" providerId="ADAL" clId="{1012AE1A-29B0-4E90-8835-842C30BC7D2A}" dt="2023-01-05T00:50:54.520" v="80874"/>
          <ac:spMkLst>
            <pc:docMk/>
            <pc:sldMk cId="1589772229" sldId="2134804370"/>
            <ac:spMk id="671" creationId="{96DB64E7-7450-5BAA-7DCA-6F75AE12EF02}"/>
          </ac:spMkLst>
        </pc:spChg>
        <pc:spChg chg="add del mod replST">
          <ac:chgData name="Wenwen Zhang" userId="9dd81366-5d6f-445a-b031-6ea562624431" providerId="ADAL" clId="{1012AE1A-29B0-4E90-8835-842C30BC7D2A}" dt="2023-01-05T00:50:54.521" v="80875"/>
          <ac:spMkLst>
            <pc:docMk/>
            <pc:sldMk cId="1589772229" sldId="2134804370"/>
            <ac:spMk id="672" creationId="{96DB64E7-7450-5BAA-7DCA-6F75AE12EF02}"/>
          </ac:spMkLst>
        </pc:spChg>
        <pc:spChg chg="add del mod replST">
          <ac:chgData name="Wenwen Zhang" userId="9dd81366-5d6f-445a-b031-6ea562624431" providerId="ADAL" clId="{1012AE1A-29B0-4E90-8835-842C30BC7D2A}" dt="2023-01-05T00:50:54.521" v="80876"/>
          <ac:spMkLst>
            <pc:docMk/>
            <pc:sldMk cId="1589772229" sldId="2134804370"/>
            <ac:spMk id="673" creationId="{96DB64E7-7450-5BAA-7DCA-6F75AE12EF02}"/>
          </ac:spMkLst>
        </pc:spChg>
        <pc:spChg chg="add del mod replST">
          <ac:chgData name="Wenwen Zhang" userId="9dd81366-5d6f-445a-b031-6ea562624431" providerId="ADAL" clId="{1012AE1A-29B0-4E90-8835-842C30BC7D2A}" dt="2023-01-05T00:50:54.522" v="80877"/>
          <ac:spMkLst>
            <pc:docMk/>
            <pc:sldMk cId="1589772229" sldId="2134804370"/>
            <ac:spMk id="674" creationId="{96DB64E7-7450-5BAA-7DCA-6F75AE12EF02}"/>
          </ac:spMkLst>
        </pc:spChg>
        <pc:spChg chg="add del mod replST">
          <ac:chgData name="Wenwen Zhang" userId="9dd81366-5d6f-445a-b031-6ea562624431" providerId="ADAL" clId="{1012AE1A-29B0-4E90-8835-842C30BC7D2A}" dt="2023-01-05T00:50:54.523" v="80878"/>
          <ac:spMkLst>
            <pc:docMk/>
            <pc:sldMk cId="1589772229" sldId="2134804370"/>
            <ac:spMk id="675" creationId="{96DB64E7-7450-5BAA-7DCA-6F75AE12EF02}"/>
          </ac:spMkLst>
        </pc:spChg>
        <pc:spChg chg="add del mod replST">
          <ac:chgData name="Wenwen Zhang" userId="9dd81366-5d6f-445a-b031-6ea562624431" providerId="ADAL" clId="{1012AE1A-29B0-4E90-8835-842C30BC7D2A}" dt="2023-01-05T00:50:54.524" v="80879"/>
          <ac:spMkLst>
            <pc:docMk/>
            <pc:sldMk cId="1589772229" sldId="2134804370"/>
            <ac:spMk id="676" creationId="{96DB64E7-7450-5BAA-7DCA-6F75AE12EF02}"/>
          </ac:spMkLst>
        </pc:spChg>
        <pc:spChg chg="add del mod replST">
          <ac:chgData name="Wenwen Zhang" userId="9dd81366-5d6f-445a-b031-6ea562624431" providerId="ADAL" clId="{1012AE1A-29B0-4E90-8835-842C30BC7D2A}" dt="2023-01-05T00:50:54.524" v="80880"/>
          <ac:spMkLst>
            <pc:docMk/>
            <pc:sldMk cId="1589772229" sldId="2134804370"/>
            <ac:spMk id="677" creationId="{96DB64E7-7450-5BAA-7DCA-6F75AE12EF02}"/>
          </ac:spMkLst>
        </pc:spChg>
        <pc:spChg chg="add del mod replST">
          <ac:chgData name="Wenwen Zhang" userId="9dd81366-5d6f-445a-b031-6ea562624431" providerId="ADAL" clId="{1012AE1A-29B0-4E90-8835-842C30BC7D2A}" dt="2023-01-05T00:50:54.525" v="80881"/>
          <ac:spMkLst>
            <pc:docMk/>
            <pc:sldMk cId="1589772229" sldId="2134804370"/>
            <ac:spMk id="678" creationId="{96DB64E7-7450-5BAA-7DCA-6F75AE12EF02}"/>
          </ac:spMkLst>
        </pc:spChg>
        <pc:spChg chg="add del mod replST">
          <ac:chgData name="Wenwen Zhang" userId="9dd81366-5d6f-445a-b031-6ea562624431" providerId="ADAL" clId="{1012AE1A-29B0-4E90-8835-842C30BC7D2A}" dt="2023-01-05T00:50:54.526" v="80882"/>
          <ac:spMkLst>
            <pc:docMk/>
            <pc:sldMk cId="1589772229" sldId="2134804370"/>
            <ac:spMk id="679" creationId="{96DB64E7-7450-5BAA-7DCA-6F75AE12EF02}"/>
          </ac:spMkLst>
        </pc:spChg>
        <pc:spChg chg="add del mod replST">
          <ac:chgData name="Wenwen Zhang" userId="9dd81366-5d6f-445a-b031-6ea562624431" providerId="ADAL" clId="{1012AE1A-29B0-4E90-8835-842C30BC7D2A}" dt="2023-01-05T00:50:54.527" v="80883"/>
          <ac:spMkLst>
            <pc:docMk/>
            <pc:sldMk cId="1589772229" sldId="2134804370"/>
            <ac:spMk id="680" creationId="{96DB64E7-7450-5BAA-7DCA-6F75AE12EF02}"/>
          </ac:spMkLst>
        </pc:spChg>
        <pc:spChg chg="add del mod replST">
          <ac:chgData name="Wenwen Zhang" userId="9dd81366-5d6f-445a-b031-6ea562624431" providerId="ADAL" clId="{1012AE1A-29B0-4E90-8835-842C30BC7D2A}" dt="2023-01-05T00:50:54.527" v="80884"/>
          <ac:spMkLst>
            <pc:docMk/>
            <pc:sldMk cId="1589772229" sldId="2134804370"/>
            <ac:spMk id="681" creationId="{96DB64E7-7450-5BAA-7DCA-6F75AE12EF02}"/>
          </ac:spMkLst>
        </pc:spChg>
        <pc:spChg chg="add del mod replST">
          <ac:chgData name="Wenwen Zhang" userId="9dd81366-5d6f-445a-b031-6ea562624431" providerId="ADAL" clId="{1012AE1A-29B0-4E90-8835-842C30BC7D2A}" dt="2023-01-05T00:50:54.528" v="80885"/>
          <ac:spMkLst>
            <pc:docMk/>
            <pc:sldMk cId="1589772229" sldId="2134804370"/>
            <ac:spMk id="682" creationId="{96DB64E7-7450-5BAA-7DCA-6F75AE12EF02}"/>
          </ac:spMkLst>
        </pc:spChg>
        <pc:spChg chg="add del mod replST">
          <ac:chgData name="Wenwen Zhang" userId="9dd81366-5d6f-445a-b031-6ea562624431" providerId="ADAL" clId="{1012AE1A-29B0-4E90-8835-842C30BC7D2A}" dt="2023-01-05T00:50:54.529" v="80886"/>
          <ac:spMkLst>
            <pc:docMk/>
            <pc:sldMk cId="1589772229" sldId="2134804370"/>
            <ac:spMk id="683" creationId="{96DB64E7-7450-5BAA-7DCA-6F75AE12EF02}"/>
          </ac:spMkLst>
        </pc:spChg>
        <pc:spChg chg="add del mod replST">
          <ac:chgData name="Wenwen Zhang" userId="9dd81366-5d6f-445a-b031-6ea562624431" providerId="ADAL" clId="{1012AE1A-29B0-4E90-8835-842C30BC7D2A}" dt="2023-01-05T00:50:54.529" v="80887"/>
          <ac:spMkLst>
            <pc:docMk/>
            <pc:sldMk cId="1589772229" sldId="2134804370"/>
            <ac:spMk id="684" creationId="{96DB64E7-7450-5BAA-7DCA-6F75AE12EF02}"/>
          </ac:spMkLst>
        </pc:spChg>
        <pc:spChg chg="add del mod replST">
          <ac:chgData name="Wenwen Zhang" userId="9dd81366-5d6f-445a-b031-6ea562624431" providerId="ADAL" clId="{1012AE1A-29B0-4E90-8835-842C30BC7D2A}" dt="2023-01-05T00:50:54.530" v="80888"/>
          <ac:spMkLst>
            <pc:docMk/>
            <pc:sldMk cId="1589772229" sldId="2134804370"/>
            <ac:spMk id="685" creationId="{96DB64E7-7450-5BAA-7DCA-6F75AE12EF02}"/>
          </ac:spMkLst>
        </pc:spChg>
        <pc:spChg chg="add del mod replST">
          <ac:chgData name="Wenwen Zhang" userId="9dd81366-5d6f-445a-b031-6ea562624431" providerId="ADAL" clId="{1012AE1A-29B0-4E90-8835-842C30BC7D2A}" dt="2023-01-05T00:50:54.531" v="80889"/>
          <ac:spMkLst>
            <pc:docMk/>
            <pc:sldMk cId="1589772229" sldId="2134804370"/>
            <ac:spMk id="686" creationId="{96DB64E7-7450-5BAA-7DCA-6F75AE12EF02}"/>
          </ac:spMkLst>
        </pc:spChg>
        <pc:spChg chg="add del mod replST">
          <ac:chgData name="Wenwen Zhang" userId="9dd81366-5d6f-445a-b031-6ea562624431" providerId="ADAL" clId="{1012AE1A-29B0-4E90-8835-842C30BC7D2A}" dt="2023-01-05T00:50:54.532" v="80890"/>
          <ac:spMkLst>
            <pc:docMk/>
            <pc:sldMk cId="1589772229" sldId="2134804370"/>
            <ac:spMk id="687" creationId="{96DB64E7-7450-5BAA-7DCA-6F75AE12EF02}"/>
          </ac:spMkLst>
        </pc:spChg>
        <pc:spChg chg="add del mod replST">
          <ac:chgData name="Wenwen Zhang" userId="9dd81366-5d6f-445a-b031-6ea562624431" providerId="ADAL" clId="{1012AE1A-29B0-4E90-8835-842C30BC7D2A}" dt="2023-01-05T00:50:54.532" v="80891"/>
          <ac:spMkLst>
            <pc:docMk/>
            <pc:sldMk cId="1589772229" sldId="2134804370"/>
            <ac:spMk id="688" creationId="{96DB64E7-7450-5BAA-7DCA-6F75AE12EF02}"/>
          </ac:spMkLst>
        </pc:spChg>
        <pc:spChg chg="add del mod replST">
          <ac:chgData name="Wenwen Zhang" userId="9dd81366-5d6f-445a-b031-6ea562624431" providerId="ADAL" clId="{1012AE1A-29B0-4E90-8835-842C30BC7D2A}" dt="2023-01-05T00:50:54.533" v="80892"/>
          <ac:spMkLst>
            <pc:docMk/>
            <pc:sldMk cId="1589772229" sldId="2134804370"/>
            <ac:spMk id="689" creationId="{96DB64E7-7450-5BAA-7DCA-6F75AE12EF02}"/>
          </ac:spMkLst>
        </pc:spChg>
        <pc:spChg chg="add del mod replST">
          <ac:chgData name="Wenwen Zhang" userId="9dd81366-5d6f-445a-b031-6ea562624431" providerId="ADAL" clId="{1012AE1A-29B0-4E90-8835-842C30BC7D2A}" dt="2023-01-05T00:50:54.534" v="80893"/>
          <ac:spMkLst>
            <pc:docMk/>
            <pc:sldMk cId="1589772229" sldId="2134804370"/>
            <ac:spMk id="690" creationId="{96DB64E7-7450-5BAA-7DCA-6F75AE12EF02}"/>
          </ac:spMkLst>
        </pc:spChg>
        <pc:spChg chg="add del mod replST">
          <ac:chgData name="Wenwen Zhang" userId="9dd81366-5d6f-445a-b031-6ea562624431" providerId="ADAL" clId="{1012AE1A-29B0-4E90-8835-842C30BC7D2A}" dt="2023-01-05T00:50:54.535" v="80894"/>
          <ac:spMkLst>
            <pc:docMk/>
            <pc:sldMk cId="1589772229" sldId="2134804370"/>
            <ac:spMk id="691" creationId="{96DB64E7-7450-5BAA-7DCA-6F75AE12EF02}"/>
          </ac:spMkLst>
        </pc:spChg>
        <pc:spChg chg="add del mod replST">
          <ac:chgData name="Wenwen Zhang" userId="9dd81366-5d6f-445a-b031-6ea562624431" providerId="ADAL" clId="{1012AE1A-29B0-4E90-8835-842C30BC7D2A}" dt="2023-01-05T00:50:54.536" v="80895"/>
          <ac:spMkLst>
            <pc:docMk/>
            <pc:sldMk cId="1589772229" sldId="2134804370"/>
            <ac:spMk id="692" creationId="{96DB64E7-7450-5BAA-7DCA-6F75AE12EF02}"/>
          </ac:spMkLst>
        </pc:spChg>
        <pc:spChg chg="add del mod replST">
          <ac:chgData name="Wenwen Zhang" userId="9dd81366-5d6f-445a-b031-6ea562624431" providerId="ADAL" clId="{1012AE1A-29B0-4E90-8835-842C30BC7D2A}" dt="2023-01-05T00:50:54.537" v="80896"/>
          <ac:spMkLst>
            <pc:docMk/>
            <pc:sldMk cId="1589772229" sldId="2134804370"/>
            <ac:spMk id="693" creationId="{96DB64E7-7450-5BAA-7DCA-6F75AE12EF02}"/>
          </ac:spMkLst>
        </pc:spChg>
        <pc:spChg chg="add del mod replST">
          <ac:chgData name="Wenwen Zhang" userId="9dd81366-5d6f-445a-b031-6ea562624431" providerId="ADAL" clId="{1012AE1A-29B0-4E90-8835-842C30BC7D2A}" dt="2023-01-05T00:50:54.537" v="80897"/>
          <ac:spMkLst>
            <pc:docMk/>
            <pc:sldMk cId="1589772229" sldId="2134804370"/>
            <ac:spMk id="694" creationId="{96DB64E7-7450-5BAA-7DCA-6F75AE12EF02}"/>
          </ac:spMkLst>
        </pc:spChg>
        <pc:spChg chg="add del mod replST">
          <ac:chgData name="Wenwen Zhang" userId="9dd81366-5d6f-445a-b031-6ea562624431" providerId="ADAL" clId="{1012AE1A-29B0-4E90-8835-842C30BC7D2A}" dt="2023-01-05T00:50:54.538" v="80898"/>
          <ac:spMkLst>
            <pc:docMk/>
            <pc:sldMk cId="1589772229" sldId="2134804370"/>
            <ac:spMk id="695" creationId="{96DB64E7-7450-5BAA-7DCA-6F75AE12EF02}"/>
          </ac:spMkLst>
        </pc:spChg>
        <pc:spChg chg="add del mod modVis">
          <ac:chgData name="Wenwen Zhang" userId="9dd81366-5d6f-445a-b031-6ea562624431" providerId="ADAL" clId="{1012AE1A-29B0-4E90-8835-842C30BC7D2A}" dt="2023-01-05T00:50:49.443" v="80775"/>
          <ac:spMkLst>
            <pc:docMk/>
            <pc:sldMk cId="1589772229" sldId="2134804370"/>
            <ac:spMk id="697" creationId="{282810B0-C242-19C3-5DAC-FE1BCFB22DCB}"/>
          </ac:spMkLst>
        </pc:spChg>
        <pc:spChg chg="add del mod modVis">
          <ac:chgData name="Wenwen Zhang" userId="9dd81366-5d6f-445a-b031-6ea562624431" providerId="ADAL" clId="{1012AE1A-29B0-4E90-8835-842C30BC7D2A}" dt="2023-01-05T00:50:56.633" v="81786"/>
          <ac:spMkLst>
            <pc:docMk/>
            <pc:sldMk cId="1589772229" sldId="2134804370"/>
            <ac:spMk id="699" creationId="{D11C674F-6D85-3F8E-6952-45A2C70850FF}"/>
          </ac:spMkLst>
        </pc:spChg>
        <pc:spChg chg="add del mod replST">
          <ac:chgData name="Wenwen Zhang" userId="9dd81366-5d6f-445a-b031-6ea562624431" providerId="ADAL" clId="{1012AE1A-29B0-4E90-8835-842C30BC7D2A}" dt="2023-01-05T14:58:05.628" v="93645"/>
          <ac:spMkLst>
            <pc:docMk/>
            <pc:sldMk cId="1589772229" sldId="2134804370"/>
            <ac:spMk id="700" creationId="{96DB64E7-7450-5BAA-7DCA-6F75AE12EF02}"/>
          </ac:spMkLst>
        </pc:spChg>
        <pc:spChg chg="add del mod replST">
          <ac:chgData name="Wenwen Zhang" userId="9dd81366-5d6f-445a-b031-6ea562624431" providerId="ADAL" clId="{1012AE1A-29B0-4E90-8835-842C30BC7D2A}" dt="2023-01-05T14:58:05.626" v="93642"/>
          <ac:spMkLst>
            <pc:docMk/>
            <pc:sldMk cId="1589772229" sldId="2134804370"/>
            <ac:spMk id="701" creationId="{96DB64E7-7450-5BAA-7DCA-6F75AE12EF02}"/>
          </ac:spMkLst>
        </pc:spChg>
        <pc:spChg chg="add del mod replST">
          <ac:chgData name="Wenwen Zhang" userId="9dd81366-5d6f-445a-b031-6ea562624431" providerId="ADAL" clId="{1012AE1A-29B0-4E90-8835-842C30BC7D2A}" dt="2023-01-05T14:58:05.625" v="93639"/>
          <ac:spMkLst>
            <pc:docMk/>
            <pc:sldMk cId="1589772229" sldId="2134804370"/>
            <ac:spMk id="702" creationId="{96DB64E7-7450-5BAA-7DCA-6F75AE12EF02}"/>
          </ac:spMkLst>
        </pc:spChg>
        <pc:spChg chg="add del mod replST">
          <ac:chgData name="Wenwen Zhang" userId="9dd81366-5d6f-445a-b031-6ea562624431" providerId="ADAL" clId="{1012AE1A-29B0-4E90-8835-842C30BC7D2A}" dt="2023-01-05T14:58:05.623" v="93636"/>
          <ac:spMkLst>
            <pc:docMk/>
            <pc:sldMk cId="1589772229" sldId="2134804370"/>
            <ac:spMk id="703" creationId="{96DB64E7-7450-5BAA-7DCA-6F75AE12EF02}"/>
          </ac:spMkLst>
        </pc:spChg>
        <pc:spChg chg="add del mod replST">
          <ac:chgData name="Wenwen Zhang" userId="9dd81366-5d6f-445a-b031-6ea562624431" providerId="ADAL" clId="{1012AE1A-29B0-4E90-8835-842C30BC7D2A}" dt="2023-01-05T14:58:05.621" v="93633"/>
          <ac:spMkLst>
            <pc:docMk/>
            <pc:sldMk cId="1589772229" sldId="2134804370"/>
            <ac:spMk id="704" creationId="{96DB64E7-7450-5BAA-7DCA-6F75AE12EF02}"/>
          </ac:spMkLst>
        </pc:spChg>
        <pc:spChg chg="add del mod replST">
          <ac:chgData name="Wenwen Zhang" userId="9dd81366-5d6f-445a-b031-6ea562624431" providerId="ADAL" clId="{1012AE1A-29B0-4E90-8835-842C30BC7D2A}" dt="2023-01-05T14:58:05.620" v="93630"/>
          <ac:spMkLst>
            <pc:docMk/>
            <pc:sldMk cId="1589772229" sldId="2134804370"/>
            <ac:spMk id="705" creationId="{96DB64E7-7450-5BAA-7DCA-6F75AE12EF02}"/>
          </ac:spMkLst>
        </pc:spChg>
        <pc:spChg chg="add del mod replST">
          <ac:chgData name="Wenwen Zhang" userId="9dd81366-5d6f-445a-b031-6ea562624431" providerId="ADAL" clId="{1012AE1A-29B0-4E90-8835-842C30BC7D2A}" dt="2023-01-05T14:58:05.619" v="93627"/>
          <ac:spMkLst>
            <pc:docMk/>
            <pc:sldMk cId="1589772229" sldId="2134804370"/>
            <ac:spMk id="706" creationId="{96DB64E7-7450-5BAA-7DCA-6F75AE12EF02}"/>
          </ac:spMkLst>
        </pc:spChg>
        <pc:spChg chg="add del mod modVis">
          <ac:chgData name="Wenwen Zhang" userId="9dd81366-5d6f-445a-b031-6ea562624431" providerId="ADAL" clId="{1012AE1A-29B0-4E90-8835-842C30BC7D2A}" dt="2023-01-05T00:51:05.488" v="81967"/>
          <ac:spMkLst>
            <pc:docMk/>
            <pc:sldMk cId="1589772229" sldId="2134804370"/>
            <ac:spMk id="715" creationId="{FF644144-69BA-0AA8-8D47-13E5CABFFD2A}"/>
          </ac:spMkLst>
        </pc:spChg>
        <pc:spChg chg="add del mod modVis">
          <ac:chgData name="Wenwen Zhang" userId="9dd81366-5d6f-445a-b031-6ea562624431" providerId="ADAL" clId="{1012AE1A-29B0-4E90-8835-842C30BC7D2A}" dt="2023-01-05T00:51:52.324" v="82289"/>
          <ac:spMkLst>
            <pc:docMk/>
            <pc:sldMk cId="1589772229" sldId="2134804370"/>
            <ac:spMk id="717" creationId="{D5F011EF-9014-2E6E-5F1D-A8A1C4050521}"/>
          </ac:spMkLst>
        </pc:spChg>
        <pc:spChg chg="add del mod modVis">
          <ac:chgData name="Wenwen Zhang" userId="9dd81366-5d6f-445a-b031-6ea562624431" providerId="ADAL" clId="{1012AE1A-29B0-4E90-8835-842C30BC7D2A}" dt="2023-01-05T00:51:54.283" v="82611"/>
          <ac:spMkLst>
            <pc:docMk/>
            <pc:sldMk cId="1589772229" sldId="2134804370"/>
            <ac:spMk id="719" creationId="{56E6F49D-D52B-D1A3-4E24-C105A328DBC2}"/>
          </ac:spMkLst>
        </pc:spChg>
        <pc:spChg chg="add del mod modVis">
          <ac:chgData name="Wenwen Zhang" userId="9dd81366-5d6f-445a-b031-6ea562624431" providerId="ADAL" clId="{1012AE1A-29B0-4E90-8835-842C30BC7D2A}" dt="2023-01-05T00:51:55.424" v="82792"/>
          <ac:spMkLst>
            <pc:docMk/>
            <pc:sldMk cId="1589772229" sldId="2134804370"/>
            <ac:spMk id="721" creationId="{05CE1189-9BAE-F4CE-61CB-5B8B5620FBE6}"/>
          </ac:spMkLst>
        </pc:spChg>
        <pc:spChg chg="add del mod modVis">
          <ac:chgData name="Wenwen Zhang" userId="9dd81366-5d6f-445a-b031-6ea562624431" providerId="ADAL" clId="{1012AE1A-29B0-4E90-8835-842C30BC7D2A}" dt="2023-01-05T00:54:45.461" v="83143"/>
          <ac:spMkLst>
            <pc:docMk/>
            <pc:sldMk cId="1589772229" sldId="2134804370"/>
            <ac:spMk id="723" creationId="{0B7BA836-61D4-6132-620C-0821CA561E4B}"/>
          </ac:spMkLst>
        </pc:spChg>
        <pc:spChg chg="add del mod ord replST">
          <ac:chgData name="Wenwen Zhang" userId="9dd81366-5d6f-445a-b031-6ea562624431" providerId="ADAL" clId="{1012AE1A-29B0-4E90-8835-842C30BC7D2A}" dt="2023-01-05T14:58:05.612" v="93618"/>
          <ac:spMkLst>
            <pc:docMk/>
            <pc:sldMk cId="1589772229" sldId="2134804370"/>
            <ac:spMk id="724" creationId="{96DB64E7-7450-5BAA-7DCA-6F75AE12EF02}"/>
          </ac:spMkLst>
        </pc:spChg>
        <pc:spChg chg="add del mod modVis">
          <ac:chgData name="Wenwen Zhang" userId="9dd81366-5d6f-445a-b031-6ea562624431" providerId="ADAL" clId="{1012AE1A-29B0-4E90-8835-842C30BC7D2A}" dt="2023-01-05T00:54:53.498" v="83398"/>
          <ac:spMkLst>
            <pc:docMk/>
            <pc:sldMk cId="1589772229" sldId="2134804370"/>
            <ac:spMk id="729" creationId="{37765F19-B663-03C9-914B-12AADD054F35}"/>
          </ac:spMkLst>
        </pc:spChg>
        <pc:spChg chg="add del mod modVis">
          <ac:chgData name="Wenwen Zhang" userId="9dd81366-5d6f-445a-b031-6ea562624431" providerId="ADAL" clId="{1012AE1A-29B0-4E90-8835-842C30BC7D2A}" dt="2023-01-05T00:55:03.758" v="83596"/>
          <ac:spMkLst>
            <pc:docMk/>
            <pc:sldMk cId="1589772229" sldId="2134804370"/>
            <ac:spMk id="731" creationId="{AAB64EBC-4506-EFFA-C57B-371761210A31}"/>
          </ac:spMkLst>
        </pc:spChg>
        <pc:spChg chg="add del mod modVis">
          <ac:chgData name="Wenwen Zhang" userId="9dd81366-5d6f-445a-b031-6ea562624431" providerId="ADAL" clId="{1012AE1A-29B0-4E90-8835-842C30BC7D2A}" dt="2023-01-05T00:55:18.479" v="83789"/>
          <ac:spMkLst>
            <pc:docMk/>
            <pc:sldMk cId="1589772229" sldId="2134804370"/>
            <ac:spMk id="733" creationId="{39EFDEB0-AF70-354B-DA6F-AF2FF6B48357}"/>
          </ac:spMkLst>
        </pc:spChg>
        <pc:spChg chg="add del mod modVis">
          <ac:chgData name="Wenwen Zhang" userId="9dd81366-5d6f-445a-b031-6ea562624431" providerId="ADAL" clId="{1012AE1A-29B0-4E90-8835-842C30BC7D2A}" dt="2023-01-05T00:55:19.555" v="83978"/>
          <ac:spMkLst>
            <pc:docMk/>
            <pc:sldMk cId="1589772229" sldId="2134804370"/>
            <ac:spMk id="735" creationId="{39AC4F98-E0EC-50B0-98F4-488AA8510E95}"/>
          </ac:spMkLst>
        </pc:spChg>
        <pc:spChg chg="add del mod ord">
          <ac:chgData name="Wenwen Zhang" userId="9dd81366-5d6f-445a-b031-6ea562624431" providerId="ADAL" clId="{1012AE1A-29B0-4E90-8835-842C30BC7D2A}" dt="2023-01-05T14:58:08.209" v="93656" actId="478"/>
          <ac:spMkLst>
            <pc:docMk/>
            <pc:sldMk cId="1589772229" sldId="2134804370"/>
            <ac:spMk id="739" creationId="{B25910D4-787A-3288-CDA0-73BCB5C806E1}"/>
          </ac:spMkLst>
        </pc:spChg>
        <pc:spChg chg="add del mod replST">
          <ac:chgData name="Wenwen Zhang" userId="9dd81366-5d6f-445a-b031-6ea562624431" providerId="ADAL" clId="{1012AE1A-29B0-4E90-8835-842C30BC7D2A}" dt="2023-01-05T14:58:05.618" v="93626"/>
          <ac:spMkLst>
            <pc:docMk/>
            <pc:sldMk cId="1589772229" sldId="2134804370"/>
            <ac:spMk id="740" creationId="{96DB64E7-7450-5BAA-7DCA-6F75AE12EF02}"/>
          </ac:spMkLst>
        </pc:spChg>
        <pc:spChg chg="add del mod modVis">
          <ac:chgData name="Wenwen Zhang" userId="9dd81366-5d6f-445a-b031-6ea562624431" providerId="ADAL" clId="{1012AE1A-29B0-4E90-8835-842C30BC7D2A}" dt="2023-01-05T01:09:06.403" v="84678"/>
          <ac:spMkLst>
            <pc:docMk/>
            <pc:sldMk cId="1589772229" sldId="2134804370"/>
            <ac:spMk id="741" creationId="{6C9A4CCA-2B53-E100-6143-58BD0B96EF92}"/>
          </ac:spMkLst>
        </pc:spChg>
        <pc:spChg chg="add del mod replST">
          <ac:chgData name="Wenwen Zhang" userId="9dd81366-5d6f-445a-b031-6ea562624431" providerId="ADAL" clId="{1012AE1A-29B0-4E90-8835-842C30BC7D2A}" dt="2023-01-05T14:58:05.615" v="93623"/>
          <ac:spMkLst>
            <pc:docMk/>
            <pc:sldMk cId="1589772229" sldId="2134804370"/>
            <ac:spMk id="742" creationId="{96DB64E7-7450-5BAA-7DCA-6F75AE12EF02}"/>
          </ac:spMkLst>
        </pc:spChg>
        <pc:spChg chg="add del mod modVis">
          <ac:chgData name="Wenwen Zhang" userId="9dd81366-5d6f-445a-b031-6ea562624431" providerId="ADAL" clId="{1012AE1A-29B0-4E90-8835-842C30BC7D2A}" dt="2023-01-05T09:57:39.143" v="85028"/>
          <ac:spMkLst>
            <pc:docMk/>
            <pc:sldMk cId="1589772229" sldId="2134804370"/>
            <ac:spMk id="746" creationId="{711F4AA7-BBDD-EFB7-B52C-94BAF6CCA049}"/>
          </ac:spMkLst>
        </pc:spChg>
        <pc:spChg chg="add del mod modVis">
          <ac:chgData name="Wenwen Zhang" userId="9dd81366-5d6f-445a-b031-6ea562624431" providerId="ADAL" clId="{1012AE1A-29B0-4E90-8835-842C30BC7D2A}" dt="2023-01-05T11:42:16.883" v="88431"/>
          <ac:spMkLst>
            <pc:docMk/>
            <pc:sldMk cId="1589772229" sldId="2134804370"/>
            <ac:spMk id="748" creationId="{46629EFF-CC75-91F5-71EF-D4B4059435D4}"/>
          </ac:spMkLst>
        </pc:spChg>
        <pc:spChg chg="add del mod modVis">
          <ac:chgData name="Wenwen Zhang" userId="9dd81366-5d6f-445a-b031-6ea562624431" providerId="ADAL" clId="{1012AE1A-29B0-4E90-8835-842C30BC7D2A}" dt="2023-01-05T11:42:29.175" v="88611"/>
          <ac:spMkLst>
            <pc:docMk/>
            <pc:sldMk cId="1589772229" sldId="2134804370"/>
            <ac:spMk id="750" creationId="{AC77964A-8347-B700-D618-2E479327982D}"/>
          </ac:spMkLst>
        </pc:spChg>
        <pc:spChg chg="add del mod modVis">
          <ac:chgData name="Wenwen Zhang" userId="9dd81366-5d6f-445a-b031-6ea562624431" providerId="ADAL" clId="{1012AE1A-29B0-4E90-8835-842C30BC7D2A}" dt="2023-01-05T11:43:33.834" v="89536"/>
          <ac:spMkLst>
            <pc:docMk/>
            <pc:sldMk cId="1589772229" sldId="2134804370"/>
            <ac:spMk id="752" creationId="{D29006B8-4C36-47B9-6ABB-F77CE98B046F}"/>
          </ac:spMkLst>
        </pc:spChg>
        <pc:spChg chg="add del mod modVis">
          <ac:chgData name="Wenwen Zhang" userId="9dd81366-5d6f-445a-b031-6ea562624431" providerId="ADAL" clId="{1012AE1A-29B0-4E90-8835-842C30BC7D2A}" dt="2023-01-05T11:43:33.245" v="89373"/>
          <ac:spMkLst>
            <pc:docMk/>
            <pc:sldMk cId="1589772229" sldId="2134804370"/>
            <ac:spMk id="754" creationId="{B1BEC125-E669-FF22-2003-FC1E376F92D5}"/>
          </ac:spMkLst>
        </pc:spChg>
        <pc:spChg chg="add del mod modVis">
          <ac:chgData name="Wenwen Zhang" userId="9dd81366-5d6f-445a-b031-6ea562624431" providerId="ADAL" clId="{1012AE1A-29B0-4E90-8835-842C30BC7D2A}" dt="2023-01-05T14:54:29.928" v="93323" actId="962"/>
          <ac:spMkLst>
            <pc:docMk/>
            <pc:sldMk cId="1589772229" sldId="2134804370"/>
            <ac:spMk id="756" creationId="{935B4201-BA9A-1623-6586-4A5F16E71436}"/>
          </ac:spMkLst>
        </pc:spChg>
        <pc:spChg chg="add del mod modVis">
          <ac:chgData name="Wenwen Zhang" userId="9dd81366-5d6f-445a-b031-6ea562624431" providerId="ADAL" clId="{1012AE1A-29B0-4E90-8835-842C30BC7D2A}" dt="2023-01-05T14:54:49.972" v="93601"/>
          <ac:spMkLst>
            <pc:docMk/>
            <pc:sldMk cId="1589772229" sldId="2134804370"/>
            <ac:spMk id="757" creationId="{3EC88B61-1057-BA48-919A-A63D3BD508EE}"/>
          </ac:spMkLst>
        </pc:spChg>
        <pc:spChg chg="add del mod modVis">
          <ac:chgData name="Wenwen Zhang" userId="9dd81366-5d6f-445a-b031-6ea562624431" providerId="ADAL" clId="{1012AE1A-29B0-4E90-8835-842C30BC7D2A}" dt="2023-01-05T14:58:13.491" v="93763"/>
          <ac:spMkLst>
            <pc:docMk/>
            <pc:sldMk cId="1589772229" sldId="2134804370"/>
            <ac:spMk id="759" creationId="{BAC432BF-0CA5-C989-ABB7-C46BD052A386}"/>
          </ac:spMkLst>
        </pc:spChg>
        <pc:spChg chg="add del mod modVis">
          <ac:chgData name="Wenwen Zhang" userId="9dd81366-5d6f-445a-b031-6ea562624431" providerId="ADAL" clId="{1012AE1A-29B0-4E90-8835-842C30BC7D2A}" dt="2023-01-05T15:00:32.123" v="93909"/>
          <ac:spMkLst>
            <pc:docMk/>
            <pc:sldMk cId="1589772229" sldId="2134804370"/>
            <ac:spMk id="761" creationId="{663DC90B-C1CF-181A-0E34-6645502344F8}"/>
          </ac:spMkLst>
        </pc:spChg>
        <pc:spChg chg="add del mod modVis">
          <ac:chgData name="Wenwen Zhang" userId="9dd81366-5d6f-445a-b031-6ea562624431" providerId="ADAL" clId="{1012AE1A-29B0-4E90-8835-842C30BC7D2A}" dt="2023-01-05T15:00:36.701" v="94014"/>
          <ac:spMkLst>
            <pc:docMk/>
            <pc:sldMk cId="1589772229" sldId="2134804370"/>
            <ac:spMk id="763" creationId="{99F934D5-399C-A0E9-4278-0E9F0DFF8F81}"/>
          </ac:spMkLst>
        </pc:spChg>
        <pc:spChg chg="add del mod modVis">
          <ac:chgData name="Wenwen Zhang" userId="9dd81366-5d6f-445a-b031-6ea562624431" providerId="ADAL" clId="{1012AE1A-29B0-4E90-8835-842C30BC7D2A}" dt="2023-01-05T15:00:39.505" v="94117"/>
          <ac:spMkLst>
            <pc:docMk/>
            <pc:sldMk cId="1589772229" sldId="2134804370"/>
            <ac:spMk id="765" creationId="{54B4D64F-A12D-F7B3-7DAB-A290B3A97307}"/>
          </ac:spMkLst>
        </pc:spChg>
        <pc:graphicFrameChg chg="add del mod ord replST">
          <ac:chgData name="Wenwen Zhang" userId="9dd81366-5d6f-445a-b031-6ea562624431" providerId="ADAL" clId="{1012AE1A-29B0-4E90-8835-842C30BC7D2A}" dt="2023-01-04T22:29:43.653" v="25935"/>
          <ac:graphicFrameMkLst>
            <pc:docMk/>
            <pc:sldMk cId="1589772229" sldId="2134804370"/>
            <ac:graphicFrameMk id="20" creationId="{E35DFDEA-FC4D-CBBA-934B-9A6BA39F5D3A}"/>
          </ac:graphicFrameMkLst>
        </pc:graphicFrameChg>
        <pc:graphicFrameChg chg="add del mod ord replST">
          <ac:chgData name="Wenwen Zhang" userId="9dd81366-5d6f-445a-b031-6ea562624431" providerId="ADAL" clId="{1012AE1A-29B0-4E90-8835-842C30BC7D2A}" dt="2023-01-04T22:30:59.403" v="26709"/>
          <ac:graphicFrameMkLst>
            <pc:docMk/>
            <pc:sldMk cId="1589772229" sldId="2134804370"/>
            <ac:graphicFrameMk id="23" creationId="{DB7F1694-C2BC-9211-3DF7-F294171EE6B0}"/>
          </ac:graphicFrameMkLst>
        </pc:graphicFrameChg>
        <pc:graphicFrameChg chg="mod">
          <ac:chgData name="Wenwen Zhang" userId="9dd81366-5d6f-445a-b031-6ea562624431" providerId="ADAL" clId="{1012AE1A-29B0-4E90-8835-842C30BC7D2A}" dt="2023-01-05T15:00:39.512" v="94119"/>
          <ac:graphicFrameMkLst>
            <pc:docMk/>
            <pc:sldMk cId="1589772229" sldId="2134804370"/>
            <ac:graphicFrameMk id="28" creationId="{015DFAEE-F78A-C272-92CE-F25C3417CAD0}"/>
          </ac:graphicFrameMkLst>
        </pc:graphicFrameChg>
        <pc:graphicFrameChg chg="add del mod ord replST">
          <ac:chgData name="Wenwen Zhang" userId="9dd81366-5d6f-445a-b031-6ea562624431" providerId="ADAL" clId="{1012AE1A-29B0-4E90-8835-842C30BC7D2A}" dt="2023-01-04T22:30:59.965" v="27333"/>
          <ac:graphicFrameMkLst>
            <pc:docMk/>
            <pc:sldMk cId="1589772229" sldId="2134804370"/>
            <ac:graphicFrameMk id="61" creationId="{31113AAF-2885-3AED-115D-64303F2ADF23}"/>
          </ac:graphicFrameMkLst>
        </pc:graphicFrameChg>
        <pc:graphicFrameChg chg="add del mod ord replST">
          <ac:chgData name="Wenwen Zhang" userId="9dd81366-5d6f-445a-b031-6ea562624431" providerId="ADAL" clId="{1012AE1A-29B0-4E90-8835-842C30BC7D2A}" dt="2023-01-04T22:31:02.051" v="28084"/>
          <ac:graphicFrameMkLst>
            <pc:docMk/>
            <pc:sldMk cId="1589772229" sldId="2134804370"/>
            <ac:graphicFrameMk id="63" creationId="{4D151A1A-A466-6DD0-6E6F-0E48CCEBE6AB}"/>
          </ac:graphicFrameMkLst>
        </pc:graphicFrameChg>
        <pc:graphicFrameChg chg="add del mod ord replST">
          <ac:chgData name="Wenwen Zhang" userId="9dd81366-5d6f-445a-b031-6ea562624431" providerId="ADAL" clId="{1012AE1A-29B0-4E90-8835-842C30BC7D2A}" dt="2023-01-04T22:31:25.246" v="28255"/>
          <ac:graphicFrameMkLst>
            <pc:docMk/>
            <pc:sldMk cId="1589772229" sldId="2134804370"/>
            <ac:graphicFrameMk id="65" creationId="{BBEAA620-07E2-250B-8268-92B13C93E0DF}"/>
          </ac:graphicFrameMkLst>
        </pc:graphicFrameChg>
        <pc:graphicFrameChg chg="add del mod ord replST">
          <ac:chgData name="Wenwen Zhang" userId="9dd81366-5d6f-445a-b031-6ea562624431" providerId="ADAL" clId="{1012AE1A-29B0-4E90-8835-842C30BC7D2A}" dt="2023-01-04T22:31:27.346" v="28428"/>
          <ac:graphicFrameMkLst>
            <pc:docMk/>
            <pc:sldMk cId="1589772229" sldId="2134804370"/>
            <ac:graphicFrameMk id="66" creationId="{9F735077-F757-43D5-8257-E7E4CDB59376}"/>
          </ac:graphicFrameMkLst>
        </pc:graphicFrameChg>
        <pc:graphicFrameChg chg="add del mod ord replST">
          <ac:chgData name="Wenwen Zhang" userId="9dd81366-5d6f-445a-b031-6ea562624431" providerId="ADAL" clId="{1012AE1A-29B0-4E90-8835-842C30BC7D2A}" dt="2023-01-04T22:33:22.100" v="28796"/>
          <ac:graphicFrameMkLst>
            <pc:docMk/>
            <pc:sldMk cId="1589772229" sldId="2134804370"/>
            <ac:graphicFrameMk id="67" creationId="{54DBF818-49F7-45E5-A7B7-041F488F803E}"/>
          </ac:graphicFrameMkLst>
        </pc:graphicFrameChg>
        <pc:graphicFrameChg chg="del">
          <ac:chgData name="Wenwen Zhang" userId="9dd81366-5d6f-445a-b031-6ea562624431" providerId="ADAL" clId="{1012AE1A-29B0-4E90-8835-842C30BC7D2A}" dt="2023-01-04T22:29:00.710" v="25470"/>
          <ac:graphicFrameMkLst>
            <pc:docMk/>
            <pc:sldMk cId="1589772229" sldId="2134804370"/>
            <ac:graphicFrameMk id="69" creationId="{65099009-1A3B-8CDC-E148-2A81E0F88B89}"/>
          </ac:graphicFrameMkLst>
        </pc:graphicFrameChg>
        <pc:graphicFrameChg chg="del">
          <ac:chgData name="Wenwen Zhang" userId="9dd81366-5d6f-445a-b031-6ea562624431" providerId="ADAL" clId="{1012AE1A-29B0-4E90-8835-842C30BC7D2A}" dt="2023-01-04T22:06:15.686" v="25392"/>
          <ac:graphicFrameMkLst>
            <pc:docMk/>
            <pc:sldMk cId="1589772229" sldId="2134804370"/>
            <ac:graphicFrameMk id="70" creationId="{6A87D28B-0434-4614-9E4C-1A1C4C83CBAB}"/>
          </ac:graphicFrameMkLst>
        </pc:graphicFrameChg>
        <pc:graphicFrameChg chg="del">
          <ac:chgData name="Wenwen Zhang" userId="9dd81366-5d6f-445a-b031-6ea562624431" providerId="ADAL" clId="{1012AE1A-29B0-4E90-8835-842C30BC7D2A}" dt="2023-01-04T22:06:15.687" v="25394"/>
          <ac:graphicFrameMkLst>
            <pc:docMk/>
            <pc:sldMk cId="1589772229" sldId="2134804370"/>
            <ac:graphicFrameMk id="71" creationId="{720AF502-4645-3A95-681D-64BB9DBDEF2F}"/>
          </ac:graphicFrameMkLst>
        </pc:graphicFrameChg>
        <pc:graphicFrameChg chg="add del mod ord replST">
          <ac:chgData name="Wenwen Zhang" userId="9dd81366-5d6f-445a-b031-6ea562624431" providerId="ADAL" clId="{1012AE1A-29B0-4E90-8835-842C30BC7D2A}" dt="2023-01-04T22:33:29.671" v="30235"/>
          <ac:graphicFrameMkLst>
            <pc:docMk/>
            <pc:sldMk cId="1589772229" sldId="2134804370"/>
            <ac:graphicFrameMk id="73" creationId="{7C3D639A-8BCF-4D4B-3C66-9347D30D4164}"/>
          </ac:graphicFrameMkLst>
        </pc:graphicFrameChg>
        <pc:graphicFrameChg chg="add del mod ord replST">
          <ac:chgData name="Wenwen Zhang" userId="9dd81366-5d6f-445a-b031-6ea562624431" providerId="ADAL" clId="{1012AE1A-29B0-4E90-8835-842C30BC7D2A}" dt="2023-01-04T22:33:46.458" v="30914"/>
          <ac:graphicFrameMkLst>
            <pc:docMk/>
            <pc:sldMk cId="1589772229" sldId="2134804370"/>
            <ac:graphicFrameMk id="75" creationId="{CCD8B0E6-7571-1803-0853-CC6A12D85EF8}"/>
          </ac:graphicFrameMkLst>
        </pc:graphicFrameChg>
        <pc:graphicFrameChg chg="add del mod ord replST">
          <ac:chgData name="Wenwen Zhang" userId="9dd81366-5d6f-445a-b031-6ea562624431" providerId="ADAL" clId="{1012AE1A-29B0-4E90-8835-842C30BC7D2A}" dt="2023-01-04T22:34:07.135" v="32683"/>
          <ac:graphicFrameMkLst>
            <pc:docMk/>
            <pc:sldMk cId="1589772229" sldId="2134804370"/>
            <ac:graphicFrameMk id="77" creationId="{0FA072C9-A2F9-1D99-3932-79729B0B20B3}"/>
          </ac:graphicFrameMkLst>
        </pc:graphicFrameChg>
        <pc:graphicFrameChg chg="add del mod ord replST">
          <ac:chgData name="Wenwen Zhang" userId="9dd81366-5d6f-445a-b031-6ea562624431" providerId="ADAL" clId="{1012AE1A-29B0-4E90-8835-842C30BC7D2A}" dt="2023-01-04T22:34:14.901" v="32790"/>
          <ac:graphicFrameMkLst>
            <pc:docMk/>
            <pc:sldMk cId="1589772229" sldId="2134804370"/>
            <ac:graphicFrameMk id="79" creationId="{E07A42A2-D914-B765-8DD9-A51EA116143B}"/>
          </ac:graphicFrameMkLst>
        </pc:graphicFrameChg>
        <pc:graphicFrameChg chg="add del mod ord replST">
          <ac:chgData name="Wenwen Zhang" userId="9dd81366-5d6f-445a-b031-6ea562624431" providerId="ADAL" clId="{1012AE1A-29B0-4E90-8835-842C30BC7D2A}" dt="2023-01-04T22:34:17.040" v="32885"/>
          <ac:graphicFrameMkLst>
            <pc:docMk/>
            <pc:sldMk cId="1589772229" sldId="2134804370"/>
            <ac:graphicFrameMk id="80" creationId="{5A3D95F5-6517-6749-DF45-5AE4C966C4A9}"/>
          </ac:graphicFrameMkLst>
        </pc:graphicFrameChg>
        <pc:graphicFrameChg chg="add del mod ord replST">
          <ac:chgData name="Wenwen Zhang" userId="9dd81366-5d6f-445a-b031-6ea562624431" providerId="ADAL" clId="{1012AE1A-29B0-4E90-8835-842C30BC7D2A}" dt="2023-01-04T22:34:20.073" v="32978"/>
          <ac:graphicFrameMkLst>
            <pc:docMk/>
            <pc:sldMk cId="1589772229" sldId="2134804370"/>
            <ac:graphicFrameMk id="81" creationId="{9086443F-A0A5-58C2-15F0-9DBA00B7617D}"/>
          </ac:graphicFrameMkLst>
        </pc:graphicFrameChg>
        <pc:graphicFrameChg chg="add del mod ord replST">
          <ac:chgData name="Wenwen Zhang" userId="9dd81366-5d6f-445a-b031-6ea562624431" providerId="ADAL" clId="{1012AE1A-29B0-4E90-8835-842C30BC7D2A}" dt="2023-01-04T22:34:21.987" v="33075"/>
          <ac:graphicFrameMkLst>
            <pc:docMk/>
            <pc:sldMk cId="1589772229" sldId="2134804370"/>
            <ac:graphicFrameMk id="82" creationId="{B1FD26B2-66CA-DF9B-773F-EF3DF24AE16C}"/>
          </ac:graphicFrameMkLst>
        </pc:graphicFrameChg>
        <pc:graphicFrameChg chg="add del mod ord replST">
          <ac:chgData name="Wenwen Zhang" userId="9dd81366-5d6f-445a-b031-6ea562624431" providerId="ADAL" clId="{1012AE1A-29B0-4E90-8835-842C30BC7D2A}" dt="2023-01-04T22:34:22.776" v="33167"/>
          <ac:graphicFrameMkLst>
            <pc:docMk/>
            <pc:sldMk cId="1589772229" sldId="2134804370"/>
            <ac:graphicFrameMk id="83" creationId="{DAA5BB7A-1DB9-E8DD-3496-7435B0A7C62C}"/>
          </ac:graphicFrameMkLst>
        </pc:graphicFrameChg>
        <pc:graphicFrameChg chg="add del mod ord replST">
          <ac:chgData name="Wenwen Zhang" userId="9dd81366-5d6f-445a-b031-6ea562624431" providerId="ADAL" clId="{1012AE1A-29B0-4E90-8835-842C30BC7D2A}" dt="2023-01-04T22:34:34.563" v="33256"/>
          <ac:graphicFrameMkLst>
            <pc:docMk/>
            <pc:sldMk cId="1589772229" sldId="2134804370"/>
            <ac:graphicFrameMk id="84" creationId="{5B049ECC-1818-D49B-906D-E99FECDA9855}"/>
          </ac:graphicFrameMkLst>
        </pc:graphicFrameChg>
        <pc:graphicFrameChg chg="add del mod ord replST">
          <ac:chgData name="Wenwen Zhang" userId="9dd81366-5d6f-445a-b031-6ea562624431" providerId="ADAL" clId="{1012AE1A-29B0-4E90-8835-842C30BC7D2A}" dt="2023-01-04T22:34:37.164" v="33343"/>
          <ac:graphicFrameMkLst>
            <pc:docMk/>
            <pc:sldMk cId="1589772229" sldId="2134804370"/>
            <ac:graphicFrameMk id="85" creationId="{C5471E84-DCEC-01E1-4D71-70357CD54BC0}"/>
          </ac:graphicFrameMkLst>
        </pc:graphicFrameChg>
        <pc:graphicFrameChg chg="add del mod ord replST">
          <ac:chgData name="Wenwen Zhang" userId="9dd81366-5d6f-445a-b031-6ea562624431" providerId="ADAL" clId="{1012AE1A-29B0-4E90-8835-842C30BC7D2A}" dt="2023-01-04T22:34:38.926" v="33428"/>
          <ac:graphicFrameMkLst>
            <pc:docMk/>
            <pc:sldMk cId="1589772229" sldId="2134804370"/>
            <ac:graphicFrameMk id="86" creationId="{C4D86451-3A77-F3BB-97B6-5572E5D1E7F2}"/>
          </ac:graphicFrameMkLst>
        </pc:graphicFrameChg>
        <pc:graphicFrameChg chg="add del mod ord replST">
          <ac:chgData name="Wenwen Zhang" userId="9dd81366-5d6f-445a-b031-6ea562624431" providerId="ADAL" clId="{1012AE1A-29B0-4E90-8835-842C30BC7D2A}" dt="2023-01-04T22:34:40.573" v="33511"/>
          <ac:graphicFrameMkLst>
            <pc:docMk/>
            <pc:sldMk cId="1589772229" sldId="2134804370"/>
            <ac:graphicFrameMk id="87" creationId="{7B3FEA5C-898F-7ABE-0B19-1017639B31C4}"/>
          </ac:graphicFrameMkLst>
        </pc:graphicFrameChg>
        <pc:graphicFrameChg chg="add del mod ord replST">
          <ac:chgData name="Wenwen Zhang" userId="9dd81366-5d6f-445a-b031-6ea562624431" providerId="ADAL" clId="{1012AE1A-29B0-4E90-8835-842C30BC7D2A}" dt="2023-01-04T22:34:43.822" v="33598"/>
          <ac:graphicFrameMkLst>
            <pc:docMk/>
            <pc:sldMk cId="1589772229" sldId="2134804370"/>
            <ac:graphicFrameMk id="88" creationId="{843E26DD-E598-9963-563C-519ED3D04132}"/>
          </ac:graphicFrameMkLst>
        </pc:graphicFrameChg>
        <pc:graphicFrameChg chg="add del mod ord replST">
          <ac:chgData name="Wenwen Zhang" userId="9dd81366-5d6f-445a-b031-6ea562624431" providerId="ADAL" clId="{1012AE1A-29B0-4E90-8835-842C30BC7D2A}" dt="2023-01-04T22:34:44.302" v="33680"/>
          <ac:graphicFrameMkLst>
            <pc:docMk/>
            <pc:sldMk cId="1589772229" sldId="2134804370"/>
            <ac:graphicFrameMk id="89" creationId="{3435ABB6-AF55-D2DA-7139-EEA04F9AB31F}"/>
          </ac:graphicFrameMkLst>
        </pc:graphicFrameChg>
        <pc:graphicFrameChg chg="add del mod ord replST">
          <ac:chgData name="Wenwen Zhang" userId="9dd81366-5d6f-445a-b031-6ea562624431" providerId="ADAL" clId="{1012AE1A-29B0-4E90-8835-842C30BC7D2A}" dt="2023-01-04T22:34:44.892" v="33759"/>
          <ac:graphicFrameMkLst>
            <pc:docMk/>
            <pc:sldMk cId="1589772229" sldId="2134804370"/>
            <ac:graphicFrameMk id="90" creationId="{1D1808B8-7177-555C-7525-B520B567DFC8}"/>
          </ac:graphicFrameMkLst>
        </pc:graphicFrameChg>
        <pc:graphicFrameChg chg="add del mod ord replST">
          <ac:chgData name="Wenwen Zhang" userId="9dd81366-5d6f-445a-b031-6ea562624431" providerId="ADAL" clId="{1012AE1A-29B0-4E90-8835-842C30BC7D2A}" dt="2023-01-04T22:34:50.532" v="33836"/>
          <ac:graphicFrameMkLst>
            <pc:docMk/>
            <pc:sldMk cId="1589772229" sldId="2134804370"/>
            <ac:graphicFrameMk id="91" creationId="{D12258D2-D2B3-8EEF-E921-9D769CC47A73}"/>
          </ac:graphicFrameMkLst>
        </pc:graphicFrameChg>
        <pc:graphicFrameChg chg="add del mod ord replST">
          <ac:chgData name="Wenwen Zhang" userId="9dd81366-5d6f-445a-b031-6ea562624431" providerId="ADAL" clId="{1012AE1A-29B0-4E90-8835-842C30BC7D2A}" dt="2023-01-04T22:34:52.733" v="33905"/>
          <ac:graphicFrameMkLst>
            <pc:docMk/>
            <pc:sldMk cId="1589772229" sldId="2134804370"/>
            <ac:graphicFrameMk id="92" creationId="{BFCDDFF1-1FF7-3C2C-2117-21D371B53406}"/>
          </ac:graphicFrameMkLst>
        </pc:graphicFrameChg>
        <pc:graphicFrameChg chg="add del mod ord replST">
          <ac:chgData name="Wenwen Zhang" userId="9dd81366-5d6f-445a-b031-6ea562624431" providerId="ADAL" clId="{1012AE1A-29B0-4E90-8835-842C30BC7D2A}" dt="2023-01-04T22:34:56.977" v="33972"/>
          <ac:graphicFrameMkLst>
            <pc:docMk/>
            <pc:sldMk cId="1589772229" sldId="2134804370"/>
            <ac:graphicFrameMk id="93" creationId="{50652E21-6BBE-7DF8-6927-375E7A038D50}"/>
          </ac:graphicFrameMkLst>
        </pc:graphicFrameChg>
        <pc:graphicFrameChg chg="add del mod ord replST">
          <ac:chgData name="Wenwen Zhang" userId="9dd81366-5d6f-445a-b031-6ea562624431" providerId="ADAL" clId="{1012AE1A-29B0-4E90-8835-842C30BC7D2A}" dt="2023-01-04T22:35:00.701" v="34029"/>
          <ac:graphicFrameMkLst>
            <pc:docMk/>
            <pc:sldMk cId="1589772229" sldId="2134804370"/>
            <ac:graphicFrameMk id="94" creationId="{12100D06-C94F-F7A0-D278-D8EC8E2C772F}"/>
          </ac:graphicFrameMkLst>
        </pc:graphicFrameChg>
        <pc:graphicFrameChg chg="add del mod ord replST">
          <ac:chgData name="Wenwen Zhang" userId="9dd81366-5d6f-445a-b031-6ea562624431" providerId="ADAL" clId="{1012AE1A-29B0-4E90-8835-842C30BC7D2A}" dt="2023-01-04T22:35:03.073" v="34086"/>
          <ac:graphicFrameMkLst>
            <pc:docMk/>
            <pc:sldMk cId="1589772229" sldId="2134804370"/>
            <ac:graphicFrameMk id="95" creationId="{E388446D-E4C6-FBFD-8A50-AC66C295BEBE}"/>
          </ac:graphicFrameMkLst>
        </pc:graphicFrameChg>
        <pc:graphicFrameChg chg="add del mod ord replST">
          <ac:chgData name="Wenwen Zhang" userId="9dd81366-5d6f-445a-b031-6ea562624431" providerId="ADAL" clId="{1012AE1A-29B0-4E90-8835-842C30BC7D2A}" dt="2023-01-04T22:35:04.060" v="34138"/>
          <ac:graphicFrameMkLst>
            <pc:docMk/>
            <pc:sldMk cId="1589772229" sldId="2134804370"/>
            <ac:graphicFrameMk id="96" creationId="{A27C81A7-83D6-4FAB-8E76-B723F471D8DD}"/>
          </ac:graphicFrameMkLst>
        </pc:graphicFrameChg>
        <pc:graphicFrameChg chg="del">
          <ac:chgData name="Wenwen Zhang" userId="9dd81366-5d6f-445a-b031-6ea562624431" providerId="ADAL" clId="{1012AE1A-29B0-4E90-8835-842C30BC7D2A}" dt="2023-01-04T22:28:55.859" v="25459"/>
          <ac:graphicFrameMkLst>
            <pc:docMk/>
            <pc:sldMk cId="1589772229" sldId="2134804370"/>
            <ac:graphicFrameMk id="97" creationId="{A87CB06C-F01E-133A-7061-9E37C84648AE}"/>
          </ac:graphicFrameMkLst>
        </pc:graphicFrameChg>
        <pc:graphicFrameChg chg="add del mod ord replST">
          <ac:chgData name="Wenwen Zhang" userId="9dd81366-5d6f-445a-b031-6ea562624431" providerId="ADAL" clId="{1012AE1A-29B0-4E90-8835-842C30BC7D2A}" dt="2023-01-04T22:35:05.670" v="34193"/>
          <ac:graphicFrameMkLst>
            <pc:docMk/>
            <pc:sldMk cId="1589772229" sldId="2134804370"/>
            <ac:graphicFrameMk id="98" creationId="{A20D5E2E-8C2C-991F-F771-97AD45C43AF7}"/>
          </ac:graphicFrameMkLst>
        </pc:graphicFrameChg>
        <pc:graphicFrameChg chg="del">
          <ac:chgData name="Wenwen Zhang" userId="9dd81366-5d6f-445a-b031-6ea562624431" providerId="ADAL" clId="{1012AE1A-29B0-4E90-8835-842C30BC7D2A}" dt="2023-01-04T22:28:55.860" v="25461"/>
          <ac:graphicFrameMkLst>
            <pc:docMk/>
            <pc:sldMk cId="1589772229" sldId="2134804370"/>
            <ac:graphicFrameMk id="99" creationId="{A8D92C4E-45BF-0BC8-AAF0-A43F37CB1802}"/>
          </ac:graphicFrameMkLst>
        </pc:graphicFrameChg>
        <pc:graphicFrameChg chg="del">
          <ac:chgData name="Wenwen Zhang" userId="9dd81366-5d6f-445a-b031-6ea562624431" providerId="ADAL" clId="{1012AE1A-29B0-4E90-8835-842C30BC7D2A}" dt="2023-01-04T22:28:55.861" v="25463"/>
          <ac:graphicFrameMkLst>
            <pc:docMk/>
            <pc:sldMk cId="1589772229" sldId="2134804370"/>
            <ac:graphicFrameMk id="100" creationId="{C4851878-DB2B-09AD-0F77-51553EBED1E9}"/>
          </ac:graphicFrameMkLst>
        </pc:graphicFrameChg>
        <pc:graphicFrameChg chg="add del mod ord replST">
          <ac:chgData name="Wenwen Zhang" userId="9dd81366-5d6f-445a-b031-6ea562624431" providerId="ADAL" clId="{1012AE1A-29B0-4E90-8835-842C30BC7D2A}" dt="2023-01-04T22:35:06.364" v="34243"/>
          <ac:graphicFrameMkLst>
            <pc:docMk/>
            <pc:sldMk cId="1589772229" sldId="2134804370"/>
            <ac:graphicFrameMk id="101" creationId="{A328C2C1-80F2-2276-987F-975F2E3774A7}"/>
          </ac:graphicFrameMkLst>
        </pc:graphicFrameChg>
        <pc:graphicFrameChg chg="add del mod ord replST">
          <ac:chgData name="Wenwen Zhang" userId="9dd81366-5d6f-445a-b031-6ea562624431" providerId="ADAL" clId="{1012AE1A-29B0-4E90-8835-842C30BC7D2A}" dt="2023-01-04T22:35:15.447" v="34290"/>
          <ac:graphicFrameMkLst>
            <pc:docMk/>
            <pc:sldMk cId="1589772229" sldId="2134804370"/>
            <ac:graphicFrameMk id="102" creationId="{8DA49021-F4AF-765C-792F-AA0E54A36D0F}"/>
          </ac:graphicFrameMkLst>
        </pc:graphicFrameChg>
        <pc:graphicFrameChg chg="add del mod ord replST">
          <ac:chgData name="Wenwen Zhang" userId="9dd81366-5d6f-445a-b031-6ea562624431" providerId="ADAL" clId="{1012AE1A-29B0-4E90-8835-842C30BC7D2A}" dt="2023-01-04T22:35:17.661" v="34331"/>
          <ac:graphicFrameMkLst>
            <pc:docMk/>
            <pc:sldMk cId="1589772229" sldId="2134804370"/>
            <ac:graphicFrameMk id="103" creationId="{25922FF9-7080-47C6-5A40-FF958B3E0C6E}"/>
          </ac:graphicFrameMkLst>
        </pc:graphicFrameChg>
        <pc:graphicFrameChg chg="add del mod ord replST">
          <ac:chgData name="Wenwen Zhang" userId="9dd81366-5d6f-445a-b031-6ea562624431" providerId="ADAL" clId="{1012AE1A-29B0-4E90-8835-842C30BC7D2A}" dt="2023-01-04T22:46:32.126" v="39589"/>
          <ac:graphicFrameMkLst>
            <pc:docMk/>
            <pc:sldMk cId="1589772229" sldId="2134804370"/>
            <ac:graphicFrameMk id="104" creationId="{57540BAA-4616-3088-EB5E-7A12EC333453}"/>
          </ac:graphicFrameMkLst>
        </pc:graphicFrameChg>
        <pc:graphicFrameChg chg="add del mod ord replST">
          <ac:chgData name="Wenwen Zhang" userId="9dd81366-5d6f-445a-b031-6ea562624431" providerId="ADAL" clId="{1012AE1A-29B0-4E90-8835-842C30BC7D2A}" dt="2023-01-04T22:42:11.314" v="35268"/>
          <ac:graphicFrameMkLst>
            <pc:docMk/>
            <pc:sldMk cId="1589772229" sldId="2134804370"/>
            <ac:graphicFrameMk id="115" creationId="{8EF9F989-7C94-8267-99E5-ED7AF7BC691E}"/>
          </ac:graphicFrameMkLst>
        </pc:graphicFrameChg>
        <pc:graphicFrameChg chg="add del mod ord replST">
          <ac:chgData name="Wenwen Zhang" userId="9dd81366-5d6f-445a-b031-6ea562624431" providerId="ADAL" clId="{1012AE1A-29B0-4E90-8835-842C30BC7D2A}" dt="2023-01-04T22:42:14.199" v="35426"/>
          <ac:graphicFrameMkLst>
            <pc:docMk/>
            <pc:sldMk cId="1589772229" sldId="2134804370"/>
            <ac:graphicFrameMk id="120" creationId="{3683954D-ED93-9314-2990-9C164C26CFA8}"/>
          </ac:graphicFrameMkLst>
        </pc:graphicFrameChg>
        <pc:graphicFrameChg chg="add del mod ord replST">
          <ac:chgData name="Wenwen Zhang" userId="9dd81366-5d6f-445a-b031-6ea562624431" providerId="ADAL" clId="{1012AE1A-29B0-4E90-8835-842C30BC7D2A}" dt="2023-01-04T22:42:29.567" v="36431"/>
          <ac:graphicFrameMkLst>
            <pc:docMk/>
            <pc:sldMk cId="1589772229" sldId="2134804370"/>
            <ac:graphicFrameMk id="122" creationId="{3B98F345-2450-6F91-5233-CC903A42E32B}"/>
          </ac:graphicFrameMkLst>
        </pc:graphicFrameChg>
        <pc:graphicFrameChg chg="add del mod ord replST">
          <ac:chgData name="Wenwen Zhang" userId="9dd81366-5d6f-445a-b031-6ea562624431" providerId="ADAL" clId="{1012AE1A-29B0-4E90-8835-842C30BC7D2A}" dt="2023-01-04T22:42:44.513" v="37505"/>
          <ac:graphicFrameMkLst>
            <pc:docMk/>
            <pc:sldMk cId="1589772229" sldId="2134804370"/>
            <ac:graphicFrameMk id="158" creationId="{DC34F133-F08A-E4DF-CD0B-6054B4E3655A}"/>
          </ac:graphicFrameMkLst>
        </pc:graphicFrameChg>
        <pc:graphicFrameChg chg="add del mod ord replST">
          <ac:chgData name="Wenwen Zhang" userId="9dd81366-5d6f-445a-b031-6ea562624431" providerId="ADAL" clId="{1012AE1A-29B0-4E90-8835-842C30BC7D2A}" dt="2023-01-04T22:42:51.856" v="37963"/>
          <ac:graphicFrameMkLst>
            <pc:docMk/>
            <pc:sldMk cId="1589772229" sldId="2134804370"/>
            <ac:graphicFrameMk id="180" creationId="{D151DD69-D324-0BDF-D152-E7882A4FD1E6}"/>
          </ac:graphicFrameMkLst>
        </pc:graphicFrameChg>
        <pc:graphicFrameChg chg="add del mod ord replST">
          <ac:chgData name="Wenwen Zhang" userId="9dd81366-5d6f-445a-b031-6ea562624431" providerId="ADAL" clId="{1012AE1A-29B0-4E90-8835-842C30BC7D2A}" dt="2023-01-04T22:45:23.400" v="39359"/>
          <ac:graphicFrameMkLst>
            <pc:docMk/>
            <pc:sldMk cId="1589772229" sldId="2134804370"/>
            <ac:graphicFrameMk id="183" creationId="{0A8E24BE-3BB1-CA1F-8024-5AB59E4519BA}"/>
          </ac:graphicFrameMkLst>
        </pc:graphicFrameChg>
        <pc:graphicFrameChg chg="add del mod ord replST">
          <ac:chgData name="Wenwen Zhang" userId="9dd81366-5d6f-445a-b031-6ea562624431" providerId="ADAL" clId="{1012AE1A-29B0-4E90-8835-842C30BC7D2A}" dt="2023-01-04T22:46:37.254" v="40863"/>
          <ac:graphicFrameMkLst>
            <pc:docMk/>
            <pc:sldMk cId="1589772229" sldId="2134804370"/>
            <ac:graphicFrameMk id="198" creationId="{36E973D1-B629-51A8-CD04-BD5DE50DD43E}"/>
          </ac:graphicFrameMkLst>
        </pc:graphicFrameChg>
        <pc:graphicFrameChg chg="add del mod ord replST">
          <ac:chgData name="Wenwen Zhang" userId="9dd81366-5d6f-445a-b031-6ea562624431" providerId="ADAL" clId="{1012AE1A-29B0-4E90-8835-842C30BC7D2A}" dt="2023-01-04T22:46:40.406" v="42482"/>
          <ac:graphicFrameMkLst>
            <pc:docMk/>
            <pc:sldMk cId="1589772229" sldId="2134804370"/>
            <ac:graphicFrameMk id="201" creationId="{9DD7B9E5-49A1-8CE9-27DA-DAC1BEF29F9A}"/>
          </ac:graphicFrameMkLst>
        </pc:graphicFrameChg>
        <pc:graphicFrameChg chg="add del mod ord replST">
          <ac:chgData name="Wenwen Zhang" userId="9dd81366-5d6f-445a-b031-6ea562624431" providerId="ADAL" clId="{1012AE1A-29B0-4E90-8835-842C30BC7D2A}" dt="2023-01-04T22:46:56.610" v="42731"/>
          <ac:graphicFrameMkLst>
            <pc:docMk/>
            <pc:sldMk cId="1589772229" sldId="2134804370"/>
            <ac:graphicFrameMk id="205" creationId="{45BC2756-7A55-1673-926D-AFB81A9D530B}"/>
          </ac:graphicFrameMkLst>
        </pc:graphicFrameChg>
        <pc:graphicFrameChg chg="add del mod ord replST">
          <ac:chgData name="Wenwen Zhang" userId="9dd81366-5d6f-445a-b031-6ea562624431" providerId="ADAL" clId="{1012AE1A-29B0-4E90-8835-842C30BC7D2A}" dt="2023-01-04T22:46:59.488" v="42932"/>
          <ac:graphicFrameMkLst>
            <pc:docMk/>
            <pc:sldMk cId="1589772229" sldId="2134804370"/>
            <ac:graphicFrameMk id="207" creationId="{58DAE3BB-A7CD-8433-71F0-EAD34286A936}"/>
          </ac:graphicFrameMkLst>
        </pc:graphicFrameChg>
        <pc:graphicFrameChg chg="add del mod ord replST">
          <ac:chgData name="Wenwen Zhang" userId="9dd81366-5d6f-445a-b031-6ea562624431" providerId="ADAL" clId="{1012AE1A-29B0-4E90-8835-842C30BC7D2A}" dt="2023-01-04T22:47:00.229" v="43128"/>
          <ac:graphicFrameMkLst>
            <pc:docMk/>
            <pc:sldMk cId="1589772229" sldId="2134804370"/>
            <ac:graphicFrameMk id="209" creationId="{EE495E1F-65C8-DEE9-CD1B-CD944C60BF5F}"/>
          </ac:graphicFrameMkLst>
        </pc:graphicFrameChg>
        <pc:graphicFrameChg chg="add del mod ord replST">
          <ac:chgData name="Wenwen Zhang" userId="9dd81366-5d6f-445a-b031-6ea562624431" providerId="ADAL" clId="{1012AE1A-29B0-4E90-8835-842C30BC7D2A}" dt="2023-01-04T22:47:01.573" v="43321"/>
          <ac:graphicFrameMkLst>
            <pc:docMk/>
            <pc:sldMk cId="1589772229" sldId="2134804370"/>
            <ac:graphicFrameMk id="211" creationId="{95778D11-99F6-DA76-86E0-2EC51C9A1FD9}"/>
          </ac:graphicFrameMkLst>
        </pc:graphicFrameChg>
        <pc:graphicFrameChg chg="add del mod ord replST">
          <ac:chgData name="Wenwen Zhang" userId="9dd81366-5d6f-445a-b031-6ea562624431" providerId="ADAL" clId="{1012AE1A-29B0-4E90-8835-842C30BC7D2A}" dt="2023-01-04T22:47:05.996" v="43512"/>
          <ac:graphicFrameMkLst>
            <pc:docMk/>
            <pc:sldMk cId="1589772229" sldId="2134804370"/>
            <ac:graphicFrameMk id="213" creationId="{DCFEC2C7-FE53-491D-DD73-660458466F9D}"/>
          </ac:graphicFrameMkLst>
        </pc:graphicFrameChg>
        <pc:graphicFrameChg chg="add del mod ord replST">
          <ac:chgData name="Wenwen Zhang" userId="9dd81366-5d6f-445a-b031-6ea562624431" providerId="ADAL" clId="{1012AE1A-29B0-4E90-8835-842C30BC7D2A}" dt="2023-01-04T22:47:08.515" v="43697"/>
          <ac:graphicFrameMkLst>
            <pc:docMk/>
            <pc:sldMk cId="1589772229" sldId="2134804370"/>
            <ac:graphicFrameMk id="215" creationId="{F40F95DB-0153-F468-5F29-5F7DC9EF7D04}"/>
          </ac:graphicFrameMkLst>
        </pc:graphicFrameChg>
        <pc:graphicFrameChg chg="add del mod ord replST">
          <ac:chgData name="Wenwen Zhang" userId="9dd81366-5d6f-445a-b031-6ea562624431" providerId="ADAL" clId="{1012AE1A-29B0-4E90-8835-842C30BC7D2A}" dt="2023-01-04T22:47:10.166" v="43880"/>
          <ac:graphicFrameMkLst>
            <pc:docMk/>
            <pc:sldMk cId="1589772229" sldId="2134804370"/>
            <ac:graphicFrameMk id="217" creationId="{CD1F9EEA-0BF3-7A25-530C-5E97BCB8F0C9}"/>
          </ac:graphicFrameMkLst>
        </pc:graphicFrameChg>
        <pc:graphicFrameChg chg="add del mod ord replST">
          <ac:chgData name="Wenwen Zhang" userId="9dd81366-5d6f-445a-b031-6ea562624431" providerId="ADAL" clId="{1012AE1A-29B0-4E90-8835-842C30BC7D2A}" dt="2023-01-04T22:47:15.522" v="44061"/>
          <ac:graphicFrameMkLst>
            <pc:docMk/>
            <pc:sldMk cId="1589772229" sldId="2134804370"/>
            <ac:graphicFrameMk id="219" creationId="{A1901FA8-916E-7F90-FF6D-E5E69B52CC8C}"/>
          </ac:graphicFrameMkLst>
        </pc:graphicFrameChg>
        <pc:graphicFrameChg chg="add del mod ord replST">
          <ac:chgData name="Wenwen Zhang" userId="9dd81366-5d6f-445a-b031-6ea562624431" providerId="ADAL" clId="{1012AE1A-29B0-4E90-8835-842C30BC7D2A}" dt="2023-01-04T22:47:22.619" v="44242"/>
          <ac:graphicFrameMkLst>
            <pc:docMk/>
            <pc:sldMk cId="1589772229" sldId="2134804370"/>
            <ac:graphicFrameMk id="221" creationId="{6C745807-A2F6-36F3-CAF2-0E974FE10652}"/>
          </ac:graphicFrameMkLst>
        </pc:graphicFrameChg>
        <pc:graphicFrameChg chg="add del mod ord replST">
          <ac:chgData name="Wenwen Zhang" userId="9dd81366-5d6f-445a-b031-6ea562624431" providerId="ADAL" clId="{1012AE1A-29B0-4E90-8835-842C30BC7D2A}" dt="2023-01-04T22:47:25.600" v="44418"/>
          <ac:graphicFrameMkLst>
            <pc:docMk/>
            <pc:sldMk cId="1589772229" sldId="2134804370"/>
            <ac:graphicFrameMk id="223" creationId="{7F081C28-C788-23A1-8453-05EABD562831}"/>
          </ac:graphicFrameMkLst>
        </pc:graphicFrameChg>
        <pc:graphicFrameChg chg="add del mod ord replST">
          <ac:chgData name="Wenwen Zhang" userId="9dd81366-5d6f-445a-b031-6ea562624431" providerId="ADAL" clId="{1012AE1A-29B0-4E90-8835-842C30BC7D2A}" dt="2023-01-04T22:47:27.386" v="44591"/>
          <ac:graphicFrameMkLst>
            <pc:docMk/>
            <pc:sldMk cId="1589772229" sldId="2134804370"/>
            <ac:graphicFrameMk id="225" creationId="{32A152AD-3A28-517D-0BE4-349EDA181A31}"/>
          </ac:graphicFrameMkLst>
        </pc:graphicFrameChg>
        <pc:graphicFrameChg chg="add del mod ord replST">
          <ac:chgData name="Wenwen Zhang" userId="9dd81366-5d6f-445a-b031-6ea562624431" providerId="ADAL" clId="{1012AE1A-29B0-4E90-8835-842C30BC7D2A}" dt="2023-01-04T22:47:33.336" v="44762"/>
          <ac:graphicFrameMkLst>
            <pc:docMk/>
            <pc:sldMk cId="1589772229" sldId="2134804370"/>
            <ac:graphicFrameMk id="227" creationId="{2B729189-C178-C3C0-3571-6EB22304EE75}"/>
          </ac:graphicFrameMkLst>
        </pc:graphicFrameChg>
        <pc:graphicFrameChg chg="add del mod ord replST">
          <ac:chgData name="Wenwen Zhang" userId="9dd81366-5d6f-445a-b031-6ea562624431" providerId="ADAL" clId="{1012AE1A-29B0-4E90-8835-842C30BC7D2A}" dt="2023-01-04T22:47:42.016" v="44927"/>
          <ac:graphicFrameMkLst>
            <pc:docMk/>
            <pc:sldMk cId="1589772229" sldId="2134804370"/>
            <ac:graphicFrameMk id="229" creationId="{49862B11-78F0-B542-62AE-B7F013834347}"/>
          </ac:graphicFrameMkLst>
        </pc:graphicFrameChg>
        <pc:graphicFrameChg chg="add del mod ord replST">
          <ac:chgData name="Wenwen Zhang" userId="9dd81366-5d6f-445a-b031-6ea562624431" providerId="ADAL" clId="{1012AE1A-29B0-4E90-8835-842C30BC7D2A}" dt="2023-01-04T22:47:46.721" v="45096"/>
          <ac:graphicFrameMkLst>
            <pc:docMk/>
            <pc:sldMk cId="1589772229" sldId="2134804370"/>
            <ac:graphicFrameMk id="231" creationId="{099EFA70-6171-5802-A434-28D119E7EABC}"/>
          </ac:graphicFrameMkLst>
        </pc:graphicFrameChg>
        <pc:graphicFrameChg chg="add del mod ord replST">
          <ac:chgData name="Wenwen Zhang" userId="9dd81366-5d6f-445a-b031-6ea562624431" providerId="ADAL" clId="{1012AE1A-29B0-4E90-8835-842C30BC7D2A}" dt="2023-01-04T22:47:47.412" v="45260"/>
          <ac:graphicFrameMkLst>
            <pc:docMk/>
            <pc:sldMk cId="1589772229" sldId="2134804370"/>
            <ac:graphicFrameMk id="233" creationId="{F44A9F18-491E-C91F-B09D-54B1264ABE58}"/>
          </ac:graphicFrameMkLst>
        </pc:graphicFrameChg>
        <pc:graphicFrameChg chg="add del mod ord replST">
          <ac:chgData name="Wenwen Zhang" userId="9dd81366-5d6f-445a-b031-6ea562624431" providerId="ADAL" clId="{1012AE1A-29B0-4E90-8835-842C30BC7D2A}" dt="2023-01-04T22:47:49.282" v="45427"/>
          <ac:graphicFrameMkLst>
            <pc:docMk/>
            <pc:sldMk cId="1589772229" sldId="2134804370"/>
            <ac:graphicFrameMk id="235" creationId="{6856F126-11CC-AC18-6884-BA9DB0C59CF9}"/>
          </ac:graphicFrameMkLst>
        </pc:graphicFrameChg>
        <pc:graphicFrameChg chg="add del mod ord replST">
          <ac:chgData name="Wenwen Zhang" userId="9dd81366-5d6f-445a-b031-6ea562624431" providerId="ADAL" clId="{1012AE1A-29B0-4E90-8835-842C30BC7D2A}" dt="2023-01-04T22:47:50.804" v="45589"/>
          <ac:graphicFrameMkLst>
            <pc:docMk/>
            <pc:sldMk cId="1589772229" sldId="2134804370"/>
            <ac:graphicFrameMk id="237" creationId="{C31C32B4-6EBA-5310-EDC6-C8E6EA7DB4ED}"/>
          </ac:graphicFrameMkLst>
        </pc:graphicFrameChg>
        <pc:graphicFrameChg chg="add del mod ord replST">
          <ac:chgData name="Wenwen Zhang" userId="9dd81366-5d6f-445a-b031-6ea562624431" providerId="ADAL" clId="{1012AE1A-29B0-4E90-8835-842C30BC7D2A}" dt="2023-01-04T22:47:51.067" v="45748"/>
          <ac:graphicFrameMkLst>
            <pc:docMk/>
            <pc:sldMk cId="1589772229" sldId="2134804370"/>
            <ac:graphicFrameMk id="239" creationId="{070A8F23-675B-3560-2858-77C9AE31CE08}"/>
          </ac:graphicFrameMkLst>
        </pc:graphicFrameChg>
        <pc:graphicFrameChg chg="add del mod ord replST">
          <ac:chgData name="Wenwen Zhang" userId="9dd81366-5d6f-445a-b031-6ea562624431" providerId="ADAL" clId="{1012AE1A-29B0-4E90-8835-842C30BC7D2A}" dt="2023-01-04T22:47:54.325" v="45911"/>
          <ac:graphicFrameMkLst>
            <pc:docMk/>
            <pc:sldMk cId="1589772229" sldId="2134804370"/>
            <ac:graphicFrameMk id="241" creationId="{4D68F258-BA11-1D9B-D0B7-C9B89A14258E}"/>
          </ac:graphicFrameMkLst>
        </pc:graphicFrameChg>
        <pc:graphicFrameChg chg="add del mod ord replST">
          <ac:chgData name="Wenwen Zhang" userId="9dd81366-5d6f-445a-b031-6ea562624431" providerId="ADAL" clId="{1012AE1A-29B0-4E90-8835-842C30BC7D2A}" dt="2023-01-04T22:47:55.079" v="46069"/>
          <ac:graphicFrameMkLst>
            <pc:docMk/>
            <pc:sldMk cId="1589772229" sldId="2134804370"/>
            <ac:graphicFrameMk id="243" creationId="{FDFE0999-50EF-C912-2A3C-ACF14742DE22}"/>
          </ac:graphicFrameMkLst>
        </pc:graphicFrameChg>
        <pc:graphicFrameChg chg="add del mod ord replST">
          <ac:chgData name="Wenwen Zhang" userId="9dd81366-5d6f-445a-b031-6ea562624431" providerId="ADAL" clId="{1012AE1A-29B0-4E90-8835-842C30BC7D2A}" dt="2023-01-04T22:47:56.369" v="46230"/>
          <ac:graphicFrameMkLst>
            <pc:docMk/>
            <pc:sldMk cId="1589772229" sldId="2134804370"/>
            <ac:graphicFrameMk id="245" creationId="{1F9D7F84-1352-09DC-96D8-0E317BB1654F}"/>
          </ac:graphicFrameMkLst>
        </pc:graphicFrameChg>
        <pc:graphicFrameChg chg="add del mod ord replST">
          <ac:chgData name="Wenwen Zhang" userId="9dd81366-5d6f-445a-b031-6ea562624431" providerId="ADAL" clId="{1012AE1A-29B0-4E90-8835-842C30BC7D2A}" dt="2023-01-04T22:47:57.050" v="46386"/>
          <ac:graphicFrameMkLst>
            <pc:docMk/>
            <pc:sldMk cId="1589772229" sldId="2134804370"/>
            <ac:graphicFrameMk id="247" creationId="{1B455229-5767-1CC4-D323-8DA7A6F5D7D1}"/>
          </ac:graphicFrameMkLst>
        </pc:graphicFrameChg>
        <pc:graphicFrameChg chg="add del mod ord replST">
          <ac:chgData name="Wenwen Zhang" userId="9dd81366-5d6f-445a-b031-6ea562624431" providerId="ADAL" clId="{1012AE1A-29B0-4E90-8835-842C30BC7D2A}" dt="2023-01-04T22:47:58.735" v="46545"/>
          <ac:graphicFrameMkLst>
            <pc:docMk/>
            <pc:sldMk cId="1589772229" sldId="2134804370"/>
            <ac:graphicFrameMk id="249" creationId="{2766A755-C62E-81B2-C500-C79183C3F9DE}"/>
          </ac:graphicFrameMkLst>
        </pc:graphicFrameChg>
        <pc:graphicFrameChg chg="add del mod ord replST">
          <ac:chgData name="Wenwen Zhang" userId="9dd81366-5d6f-445a-b031-6ea562624431" providerId="ADAL" clId="{1012AE1A-29B0-4E90-8835-842C30BC7D2A}" dt="2023-01-04T22:47:59.401" v="46699"/>
          <ac:graphicFrameMkLst>
            <pc:docMk/>
            <pc:sldMk cId="1589772229" sldId="2134804370"/>
            <ac:graphicFrameMk id="251" creationId="{BEDC2518-EF1B-0A58-3925-A095BF53435F}"/>
          </ac:graphicFrameMkLst>
        </pc:graphicFrameChg>
        <pc:graphicFrameChg chg="add del mod ord replST">
          <ac:chgData name="Wenwen Zhang" userId="9dd81366-5d6f-445a-b031-6ea562624431" providerId="ADAL" clId="{1012AE1A-29B0-4E90-8835-842C30BC7D2A}" dt="2023-01-04T22:48:03.008" v="46850"/>
          <ac:graphicFrameMkLst>
            <pc:docMk/>
            <pc:sldMk cId="1589772229" sldId="2134804370"/>
            <ac:graphicFrameMk id="253" creationId="{98831407-41FF-02AF-2495-489259E25EFB}"/>
          </ac:graphicFrameMkLst>
        </pc:graphicFrameChg>
        <pc:graphicFrameChg chg="add del mod ord replST">
          <ac:chgData name="Wenwen Zhang" userId="9dd81366-5d6f-445a-b031-6ea562624431" providerId="ADAL" clId="{1012AE1A-29B0-4E90-8835-842C30BC7D2A}" dt="2023-01-04T22:48:05.351" v="46995"/>
          <ac:graphicFrameMkLst>
            <pc:docMk/>
            <pc:sldMk cId="1589772229" sldId="2134804370"/>
            <ac:graphicFrameMk id="255" creationId="{B1037D20-A1B8-7349-8D5F-5B57C11E2B42}"/>
          </ac:graphicFrameMkLst>
        </pc:graphicFrameChg>
        <pc:graphicFrameChg chg="add del mod ord replST">
          <ac:chgData name="Wenwen Zhang" userId="9dd81366-5d6f-445a-b031-6ea562624431" providerId="ADAL" clId="{1012AE1A-29B0-4E90-8835-842C30BC7D2A}" dt="2023-01-04T22:48:15.331" v="47270"/>
          <ac:graphicFrameMkLst>
            <pc:docMk/>
            <pc:sldMk cId="1589772229" sldId="2134804370"/>
            <ac:graphicFrameMk id="257" creationId="{44C905C2-55A7-07F6-3524-B9B7BD6E8BC3}"/>
          </ac:graphicFrameMkLst>
        </pc:graphicFrameChg>
        <pc:graphicFrameChg chg="add del mod ord replST">
          <ac:chgData name="Wenwen Zhang" userId="9dd81366-5d6f-445a-b031-6ea562624431" providerId="ADAL" clId="{1012AE1A-29B0-4E90-8835-842C30BC7D2A}" dt="2023-01-04T22:52:21.142" v="48533"/>
          <ac:graphicFrameMkLst>
            <pc:docMk/>
            <pc:sldMk cId="1589772229" sldId="2134804370"/>
            <ac:graphicFrameMk id="259" creationId="{2F97D196-3D86-00B7-A268-531C3F65DDC9}"/>
          </ac:graphicFrameMkLst>
        </pc:graphicFrameChg>
        <pc:graphicFrameChg chg="add mod ord replST delST">
          <ac:chgData name="Wenwen Zhang" userId="9dd81366-5d6f-445a-b031-6ea562624431" providerId="ADAL" clId="{1012AE1A-29B0-4E90-8835-842C30BC7D2A}" dt="2023-01-04T22:51:51.017" v="47834"/>
          <ac:graphicFrameMkLst>
            <pc:docMk/>
            <pc:sldMk cId="1589772229" sldId="2134804370"/>
            <ac:graphicFrameMk id="261" creationId="{73A2DD24-3109-6D5C-C397-BB835CD7D451}"/>
          </ac:graphicFrameMkLst>
        </pc:graphicFrameChg>
        <pc:graphicFrameChg chg="add del mod ord replST">
          <ac:chgData name="Wenwen Zhang" userId="9dd81366-5d6f-445a-b031-6ea562624431" providerId="ADAL" clId="{1012AE1A-29B0-4E90-8835-842C30BC7D2A}" dt="2023-01-04T22:52:22.868" v="48691"/>
          <ac:graphicFrameMkLst>
            <pc:docMk/>
            <pc:sldMk cId="1589772229" sldId="2134804370"/>
            <ac:graphicFrameMk id="264" creationId="{20E56255-699C-39C1-4772-57241DCD2190}"/>
          </ac:graphicFrameMkLst>
        </pc:graphicFrameChg>
        <pc:graphicFrameChg chg="add del mod ord replST">
          <ac:chgData name="Wenwen Zhang" userId="9dd81366-5d6f-445a-b031-6ea562624431" providerId="ADAL" clId="{1012AE1A-29B0-4E90-8835-842C30BC7D2A}" dt="2023-01-04T22:52:24.989" v="48847"/>
          <ac:graphicFrameMkLst>
            <pc:docMk/>
            <pc:sldMk cId="1589772229" sldId="2134804370"/>
            <ac:graphicFrameMk id="266" creationId="{B00D8615-F262-4A7C-6ABC-B00F4231703B}"/>
          </ac:graphicFrameMkLst>
        </pc:graphicFrameChg>
        <pc:graphicFrameChg chg="add del mod ord replST">
          <ac:chgData name="Wenwen Zhang" userId="9dd81366-5d6f-445a-b031-6ea562624431" providerId="ADAL" clId="{1012AE1A-29B0-4E90-8835-842C30BC7D2A}" dt="2023-01-04T22:52:28.525" v="49040"/>
          <ac:graphicFrameMkLst>
            <pc:docMk/>
            <pc:sldMk cId="1589772229" sldId="2134804370"/>
            <ac:graphicFrameMk id="268" creationId="{B93584B5-1277-2FD5-A5CF-2ED8657FE40F}"/>
          </ac:graphicFrameMkLst>
        </pc:graphicFrameChg>
        <pc:graphicFrameChg chg="add del mod ord replST">
          <ac:chgData name="Wenwen Zhang" userId="9dd81366-5d6f-445a-b031-6ea562624431" providerId="ADAL" clId="{1012AE1A-29B0-4E90-8835-842C30BC7D2A}" dt="2023-01-04T22:52:29.875" v="49177"/>
          <ac:graphicFrameMkLst>
            <pc:docMk/>
            <pc:sldMk cId="1589772229" sldId="2134804370"/>
            <ac:graphicFrameMk id="271" creationId="{6BBD87EB-3FCE-F50B-5C74-DD77CE8B46EB}"/>
          </ac:graphicFrameMkLst>
        </pc:graphicFrameChg>
        <pc:graphicFrameChg chg="add del mod ord replST">
          <ac:chgData name="Wenwen Zhang" userId="9dd81366-5d6f-445a-b031-6ea562624431" providerId="ADAL" clId="{1012AE1A-29B0-4E90-8835-842C30BC7D2A}" dt="2023-01-04T22:52:30.782" v="49298"/>
          <ac:graphicFrameMkLst>
            <pc:docMk/>
            <pc:sldMk cId="1589772229" sldId="2134804370"/>
            <ac:graphicFrameMk id="273" creationId="{6BFC4622-B2A2-FC0C-0E35-05382B66110D}"/>
          </ac:graphicFrameMkLst>
        </pc:graphicFrameChg>
        <pc:graphicFrameChg chg="add del mod ord replST">
          <ac:chgData name="Wenwen Zhang" userId="9dd81366-5d6f-445a-b031-6ea562624431" providerId="ADAL" clId="{1012AE1A-29B0-4E90-8835-842C30BC7D2A}" dt="2023-01-04T22:52:38.200" v="49400"/>
          <ac:graphicFrameMkLst>
            <pc:docMk/>
            <pc:sldMk cId="1589772229" sldId="2134804370"/>
            <ac:graphicFrameMk id="275" creationId="{13AF3015-86C4-3E77-E05A-029679F61BDE}"/>
          </ac:graphicFrameMkLst>
        </pc:graphicFrameChg>
        <pc:graphicFrameChg chg="add del mod ord replST">
          <ac:chgData name="Wenwen Zhang" userId="9dd81366-5d6f-445a-b031-6ea562624431" providerId="ADAL" clId="{1012AE1A-29B0-4E90-8835-842C30BC7D2A}" dt="2023-01-04T22:52:43.069" v="49498"/>
          <ac:graphicFrameMkLst>
            <pc:docMk/>
            <pc:sldMk cId="1589772229" sldId="2134804370"/>
            <ac:graphicFrameMk id="277" creationId="{FBC72161-3F33-1FC0-0011-328693D4B106}"/>
          </ac:graphicFrameMkLst>
        </pc:graphicFrameChg>
        <pc:graphicFrameChg chg="add del mod ord replST">
          <ac:chgData name="Wenwen Zhang" userId="9dd81366-5d6f-445a-b031-6ea562624431" providerId="ADAL" clId="{1012AE1A-29B0-4E90-8835-842C30BC7D2A}" dt="2023-01-04T22:52:47.782" v="50132"/>
          <ac:graphicFrameMkLst>
            <pc:docMk/>
            <pc:sldMk cId="1589772229" sldId="2134804370"/>
            <ac:graphicFrameMk id="279" creationId="{F376A372-69DD-28FF-409B-DEBC6231AEA5}"/>
          </ac:graphicFrameMkLst>
        </pc:graphicFrameChg>
        <pc:graphicFrameChg chg="add del mod ord replST">
          <ac:chgData name="Wenwen Zhang" userId="9dd81366-5d6f-445a-b031-6ea562624431" providerId="ADAL" clId="{1012AE1A-29B0-4E90-8835-842C30BC7D2A}" dt="2023-01-04T22:52:53.828" v="50398"/>
          <ac:graphicFrameMkLst>
            <pc:docMk/>
            <pc:sldMk cId="1589772229" sldId="2134804370"/>
            <ac:graphicFrameMk id="288" creationId="{CC923A86-747E-4F81-3051-7CCD2E4C6E5C}"/>
          </ac:graphicFrameMkLst>
        </pc:graphicFrameChg>
        <pc:graphicFrameChg chg="add del mod ord replST">
          <ac:chgData name="Wenwen Zhang" userId="9dd81366-5d6f-445a-b031-6ea562624431" providerId="ADAL" clId="{1012AE1A-29B0-4E90-8835-842C30BC7D2A}" dt="2023-01-04T22:52:54.694" v="50579"/>
          <ac:graphicFrameMkLst>
            <pc:docMk/>
            <pc:sldMk cId="1589772229" sldId="2134804370"/>
            <ac:graphicFrameMk id="290" creationId="{1C7297C6-E80D-4B31-A9AC-5CE84A526323}"/>
          </ac:graphicFrameMkLst>
        </pc:graphicFrameChg>
        <pc:graphicFrameChg chg="add del mod ord replST">
          <ac:chgData name="Wenwen Zhang" userId="9dd81366-5d6f-445a-b031-6ea562624431" providerId="ADAL" clId="{1012AE1A-29B0-4E90-8835-842C30BC7D2A}" dt="2023-01-04T22:52:59.925" v="51289"/>
          <ac:graphicFrameMkLst>
            <pc:docMk/>
            <pc:sldMk cId="1589772229" sldId="2134804370"/>
            <ac:graphicFrameMk id="292" creationId="{2C7C25DF-F5F2-E2C0-75F3-32E7A4EF3CA2}"/>
          </ac:graphicFrameMkLst>
        </pc:graphicFrameChg>
        <pc:graphicFrameChg chg="add del mod ord replST">
          <ac:chgData name="Wenwen Zhang" userId="9dd81366-5d6f-445a-b031-6ea562624431" providerId="ADAL" clId="{1012AE1A-29B0-4E90-8835-842C30BC7D2A}" dt="2023-01-04T22:53:04.750" v="51529"/>
          <ac:graphicFrameMkLst>
            <pc:docMk/>
            <pc:sldMk cId="1589772229" sldId="2134804370"/>
            <ac:graphicFrameMk id="301" creationId="{758C230E-9CF5-4284-8526-C33C5707704A}"/>
          </ac:graphicFrameMkLst>
        </pc:graphicFrameChg>
        <pc:graphicFrameChg chg="add del mod ord replST">
          <ac:chgData name="Wenwen Zhang" userId="9dd81366-5d6f-445a-b031-6ea562624431" providerId="ADAL" clId="{1012AE1A-29B0-4E90-8835-842C30BC7D2A}" dt="2023-01-04T22:53:05.395" v="51684"/>
          <ac:graphicFrameMkLst>
            <pc:docMk/>
            <pc:sldMk cId="1589772229" sldId="2134804370"/>
            <ac:graphicFrameMk id="303" creationId="{4298E2A2-D64A-BA49-A4A4-74BB70CCBDAC}"/>
          </ac:graphicFrameMkLst>
        </pc:graphicFrameChg>
        <pc:graphicFrameChg chg="add del mod ord replST">
          <ac:chgData name="Wenwen Zhang" userId="9dd81366-5d6f-445a-b031-6ea562624431" providerId="ADAL" clId="{1012AE1A-29B0-4E90-8835-842C30BC7D2A}" dt="2023-01-04T22:53:07.714" v="52320"/>
          <ac:graphicFrameMkLst>
            <pc:docMk/>
            <pc:sldMk cId="1589772229" sldId="2134804370"/>
            <ac:graphicFrameMk id="305" creationId="{A3A03812-3E5F-FE78-2BFF-BB13C740187B}"/>
          </ac:graphicFrameMkLst>
        </pc:graphicFrameChg>
        <pc:graphicFrameChg chg="add del mod ord replST">
          <ac:chgData name="Wenwen Zhang" userId="9dd81366-5d6f-445a-b031-6ea562624431" providerId="ADAL" clId="{1012AE1A-29B0-4E90-8835-842C30BC7D2A}" dt="2023-01-04T22:53:08.654" v="52463"/>
          <ac:graphicFrameMkLst>
            <pc:docMk/>
            <pc:sldMk cId="1589772229" sldId="2134804370"/>
            <ac:graphicFrameMk id="314" creationId="{72A0873F-7906-2DDB-193D-ACD377BF85BD}"/>
          </ac:graphicFrameMkLst>
        </pc:graphicFrameChg>
        <pc:graphicFrameChg chg="add del mod ord replST">
          <ac:chgData name="Wenwen Zhang" userId="9dd81366-5d6f-445a-b031-6ea562624431" providerId="ADAL" clId="{1012AE1A-29B0-4E90-8835-842C30BC7D2A}" dt="2023-01-04T22:53:12.197" v="52575"/>
          <ac:graphicFrameMkLst>
            <pc:docMk/>
            <pc:sldMk cId="1589772229" sldId="2134804370"/>
            <ac:graphicFrameMk id="316" creationId="{2C57D8AA-5EC9-80DF-4636-00B0A156F6F8}"/>
          </ac:graphicFrameMkLst>
        </pc:graphicFrameChg>
        <pc:graphicFrameChg chg="add del mod ord replST">
          <ac:chgData name="Wenwen Zhang" userId="9dd81366-5d6f-445a-b031-6ea562624431" providerId="ADAL" clId="{1012AE1A-29B0-4E90-8835-842C30BC7D2A}" dt="2023-01-04T22:53:14.208" v="52687"/>
          <ac:graphicFrameMkLst>
            <pc:docMk/>
            <pc:sldMk cId="1589772229" sldId="2134804370"/>
            <ac:graphicFrameMk id="318" creationId="{C5755F38-4752-0565-2B07-76BE1E893678}"/>
          </ac:graphicFrameMkLst>
        </pc:graphicFrameChg>
        <pc:graphicFrameChg chg="add del mod ord replST">
          <ac:chgData name="Wenwen Zhang" userId="9dd81366-5d6f-445a-b031-6ea562624431" providerId="ADAL" clId="{1012AE1A-29B0-4E90-8835-842C30BC7D2A}" dt="2023-01-04T22:53:18.484" v="52799"/>
          <ac:graphicFrameMkLst>
            <pc:docMk/>
            <pc:sldMk cId="1589772229" sldId="2134804370"/>
            <ac:graphicFrameMk id="320" creationId="{E5ADB1B8-BAD9-5934-0DE4-1E4DAD1167D2}"/>
          </ac:graphicFrameMkLst>
        </pc:graphicFrameChg>
        <pc:graphicFrameChg chg="add del mod ord replST">
          <ac:chgData name="Wenwen Zhang" userId="9dd81366-5d6f-445a-b031-6ea562624431" providerId="ADAL" clId="{1012AE1A-29B0-4E90-8835-842C30BC7D2A}" dt="2023-01-04T22:53:32.780" v="53042"/>
          <ac:graphicFrameMkLst>
            <pc:docMk/>
            <pc:sldMk cId="1589772229" sldId="2134804370"/>
            <ac:graphicFrameMk id="322" creationId="{FA2A739D-EA96-5922-9DF3-31DE8F637328}"/>
          </ac:graphicFrameMkLst>
        </pc:graphicFrameChg>
        <pc:graphicFrameChg chg="add del mod ord replST">
          <ac:chgData name="Wenwen Zhang" userId="9dd81366-5d6f-445a-b031-6ea562624431" providerId="ADAL" clId="{1012AE1A-29B0-4E90-8835-842C30BC7D2A}" dt="2023-01-04T22:53:49.078" v="53254"/>
          <ac:graphicFrameMkLst>
            <pc:docMk/>
            <pc:sldMk cId="1589772229" sldId="2134804370"/>
            <ac:graphicFrameMk id="326" creationId="{46C0F134-7031-946A-AB36-941CC669F488}"/>
          </ac:graphicFrameMkLst>
        </pc:graphicFrameChg>
        <pc:graphicFrameChg chg="add del mod ord replST">
          <ac:chgData name="Wenwen Zhang" userId="9dd81366-5d6f-445a-b031-6ea562624431" providerId="ADAL" clId="{1012AE1A-29B0-4E90-8835-842C30BC7D2A}" dt="2023-01-04T22:53:52.972" v="53389"/>
          <ac:graphicFrameMkLst>
            <pc:docMk/>
            <pc:sldMk cId="1589772229" sldId="2134804370"/>
            <ac:graphicFrameMk id="330" creationId="{640F2955-7EE8-083F-8E97-7C971B919ED4}"/>
          </ac:graphicFrameMkLst>
        </pc:graphicFrameChg>
        <pc:graphicFrameChg chg="add del mod ord replST">
          <ac:chgData name="Wenwen Zhang" userId="9dd81366-5d6f-445a-b031-6ea562624431" providerId="ADAL" clId="{1012AE1A-29B0-4E90-8835-842C30BC7D2A}" dt="2023-01-04T22:54:22.528" v="53590"/>
          <ac:graphicFrameMkLst>
            <pc:docMk/>
            <pc:sldMk cId="1589772229" sldId="2134804370"/>
            <ac:graphicFrameMk id="332" creationId="{5986D921-79CF-E96A-6063-5A6F29E329FB}"/>
          </ac:graphicFrameMkLst>
        </pc:graphicFrameChg>
        <pc:graphicFrameChg chg="add del mod ord replST">
          <ac:chgData name="Wenwen Zhang" userId="9dd81366-5d6f-445a-b031-6ea562624431" providerId="ADAL" clId="{1012AE1A-29B0-4E90-8835-842C30BC7D2A}" dt="2023-01-04T22:54:35.142" v="53687"/>
          <ac:graphicFrameMkLst>
            <pc:docMk/>
            <pc:sldMk cId="1589772229" sldId="2134804370"/>
            <ac:graphicFrameMk id="334" creationId="{251A5C8A-D097-8976-A15D-DB0BDBB5A897}"/>
          </ac:graphicFrameMkLst>
        </pc:graphicFrameChg>
        <pc:graphicFrameChg chg="add del mod ord replST">
          <ac:chgData name="Wenwen Zhang" userId="9dd81366-5d6f-445a-b031-6ea562624431" providerId="ADAL" clId="{1012AE1A-29B0-4E90-8835-842C30BC7D2A}" dt="2023-01-04T22:54:39.009" v="53797"/>
          <ac:graphicFrameMkLst>
            <pc:docMk/>
            <pc:sldMk cId="1589772229" sldId="2134804370"/>
            <ac:graphicFrameMk id="336" creationId="{2148D870-5EA2-306C-E251-2CB67E20B3A6}"/>
          </ac:graphicFrameMkLst>
        </pc:graphicFrameChg>
        <pc:graphicFrameChg chg="add del mod ord replST">
          <ac:chgData name="Wenwen Zhang" userId="9dd81366-5d6f-445a-b031-6ea562624431" providerId="ADAL" clId="{1012AE1A-29B0-4E90-8835-842C30BC7D2A}" dt="2023-01-04T22:55:50.267" v="53914"/>
          <ac:graphicFrameMkLst>
            <pc:docMk/>
            <pc:sldMk cId="1589772229" sldId="2134804370"/>
            <ac:graphicFrameMk id="338" creationId="{546A4997-D710-BB79-6414-BC3C8B9A9D23}"/>
          </ac:graphicFrameMkLst>
        </pc:graphicFrameChg>
        <pc:graphicFrameChg chg="add del mod ord replST">
          <ac:chgData name="Wenwen Zhang" userId="9dd81366-5d6f-445a-b031-6ea562624431" providerId="ADAL" clId="{1012AE1A-29B0-4E90-8835-842C30BC7D2A}" dt="2023-01-04T22:55:51.825" v="54052"/>
          <ac:graphicFrameMkLst>
            <pc:docMk/>
            <pc:sldMk cId="1589772229" sldId="2134804370"/>
            <ac:graphicFrameMk id="340" creationId="{5349FAF8-C419-2797-D41C-4A18A795BD4C}"/>
          </ac:graphicFrameMkLst>
        </pc:graphicFrameChg>
        <pc:graphicFrameChg chg="add del mod ord replST">
          <ac:chgData name="Wenwen Zhang" userId="9dd81366-5d6f-445a-b031-6ea562624431" providerId="ADAL" clId="{1012AE1A-29B0-4E90-8835-842C30BC7D2A}" dt="2023-01-04T22:55:52.733" v="54189"/>
          <ac:graphicFrameMkLst>
            <pc:docMk/>
            <pc:sldMk cId="1589772229" sldId="2134804370"/>
            <ac:graphicFrameMk id="343" creationId="{C27C4A44-3CFA-F1CA-428F-ABDF4BEBBAD5}"/>
          </ac:graphicFrameMkLst>
        </pc:graphicFrameChg>
        <pc:graphicFrameChg chg="add del mod ord replST">
          <ac:chgData name="Wenwen Zhang" userId="9dd81366-5d6f-445a-b031-6ea562624431" providerId="ADAL" clId="{1012AE1A-29B0-4E90-8835-842C30BC7D2A}" dt="2023-01-04T22:58:56.955" v="54377"/>
          <ac:graphicFrameMkLst>
            <pc:docMk/>
            <pc:sldMk cId="1589772229" sldId="2134804370"/>
            <ac:graphicFrameMk id="347" creationId="{42C5C55F-4F15-C968-B6DC-38A651EA3380}"/>
          </ac:graphicFrameMkLst>
        </pc:graphicFrameChg>
        <pc:graphicFrameChg chg="add del mod ord replST">
          <ac:chgData name="Wenwen Zhang" userId="9dd81366-5d6f-445a-b031-6ea562624431" providerId="ADAL" clId="{1012AE1A-29B0-4E90-8835-842C30BC7D2A}" dt="2023-01-04T23:49:08.006" v="55051"/>
          <ac:graphicFrameMkLst>
            <pc:docMk/>
            <pc:sldMk cId="1589772229" sldId="2134804370"/>
            <ac:graphicFrameMk id="350" creationId="{606FB01F-E3B6-118D-C374-6C5BA20654E4}"/>
          </ac:graphicFrameMkLst>
        </pc:graphicFrameChg>
        <pc:graphicFrameChg chg="add del mod replST">
          <ac:chgData name="Wenwen Zhang" userId="9dd81366-5d6f-445a-b031-6ea562624431" providerId="ADAL" clId="{1012AE1A-29B0-4E90-8835-842C30BC7D2A}" dt="2023-01-04T23:47:52.056" v="54699"/>
          <ac:graphicFrameMkLst>
            <pc:docMk/>
            <pc:sldMk cId="1589772229" sldId="2134804370"/>
            <ac:graphicFrameMk id="351" creationId="{2E27A0CA-93FF-002F-1B36-87535F8D774D}"/>
          </ac:graphicFrameMkLst>
        </pc:graphicFrameChg>
        <pc:graphicFrameChg chg="add del mod ord replST">
          <ac:chgData name="Wenwen Zhang" userId="9dd81366-5d6f-445a-b031-6ea562624431" providerId="ADAL" clId="{1012AE1A-29B0-4E90-8835-842C30BC7D2A}" dt="2023-01-04T23:52:09.658" v="55691"/>
          <ac:graphicFrameMkLst>
            <pc:docMk/>
            <pc:sldMk cId="1589772229" sldId="2134804370"/>
            <ac:graphicFrameMk id="364" creationId="{73AE1D1D-BAB1-461E-513D-0EB3E2323C2F}"/>
          </ac:graphicFrameMkLst>
        </pc:graphicFrameChg>
        <pc:graphicFrameChg chg="add del mod ord replST">
          <ac:chgData name="Wenwen Zhang" userId="9dd81366-5d6f-445a-b031-6ea562624431" providerId="ADAL" clId="{1012AE1A-29B0-4E90-8835-842C30BC7D2A}" dt="2023-01-04T23:49:12.455" v="55218"/>
          <ac:graphicFrameMkLst>
            <pc:docMk/>
            <pc:sldMk cId="1589772229" sldId="2134804370"/>
            <ac:graphicFrameMk id="374" creationId="{7B958479-C1C0-7A96-6240-D53D9E72BC4F}"/>
          </ac:graphicFrameMkLst>
        </pc:graphicFrameChg>
        <pc:graphicFrameChg chg="add del mod ord replST">
          <ac:chgData name="Wenwen Zhang" userId="9dd81366-5d6f-445a-b031-6ea562624431" providerId="ADAL" clId="{1012AE1A-29B0-4E90-8835-842C30BC7D2A}" dt="2023-01-04T23:49:36.555" v="55355"/>
          <ac:graphicFrameMkLst>
            <pc:docMk/>
            <pc:sldMk cId="1589772229" sldId="2134804370"/>
            <ac:graphicFrameMk id="376" creationId="{B78F6A74-BAF5-F535-71C3-7B38A6222C01}"/>
          </ac:graphicFrameMkLst>
        </pc:graphicFrameChg>
        <pc:graphicFrameChg chg="add del mod ord replST">
          <ac:chgData name="Wenwen Zhang" userId="9dd81366-5d6f-445a-b031-6ea562624431" providerId="ADAL" clId="{1012AE1A-29B0-4E90-8835-842C30BC7D2A}" dt="2023-01-04T23:49:57.503" v="55492"/>
          <ac:graphicFrameMkLst>
            <pc:docMk/>
            <pc:sldMk cId="1589772229" sldId="2134804370"/>
            <ac:graphicFrameMk id="378" creationId="{DFC0F1C6-9908-177F-26F1-AF568AA548EA}"/>
          </ac:graphicFrameMkLst>
        </pc:graphicFrameChg>
        <pc:graphicFrameChg chg="add del mod ord replST">
          <ac:chgData name="Wenwen Zhang" userId="9dd81366-5d6f-445a-b031-6ea562624431" providerId="ADAL" clId="{1012AE1A-29B0-4E90-8835-842C30BC7D2A}" dt="2023-01-04T23:50:56.650" v="55617"/>
          <ac:graphicFrameMkLst>
            <pc:docMk/>
            <pc:sldMk cId="1589772229" sldId="2134804370"/>
            <ac:graphicFrameMk id="380" creationId="{9D70D206-044A-7E6B-42D7-53F2AB9D803C}"/>
          </ac:graphicFrameMkLst>
        </pc:graphicFrameChg>
        <pc:graphicFrameChg chg="add del mod ord replST">
          <ac:chgData name="Wenwen Zhang" userId="9dd81366-5d6f-445a-b031-6ea562624431" providerId="ADAL" clId="{1012AE1A-29B0-4E90-8835-842C30BC7D2A}" dt="2023-01-04T23:53:46.703" v="56171"/>
          <ac:graphicFrameMkLst>
            <pc:docMk/>
            <pc:sldMk cId="1589772229" sldId="2134804370"/>
            <ac:graphicFrameMk id="382" creationId="{CE7E87B0-BE6D-E11C-23A9-E330AF9EC15B}"/>
          </ac:graphicFrameMkLst>
        </pc:graphicFrameChg>
        <pc:graphicFrameChg chg="add del mod ord replST">
          <ac:chgData name="Wenwen Zhang" userId="9dd81366-5d6f-445a-b031-6ea562624431" providerId="ADAL" clId="{1012AE1A-29B0-4E90-8835-842C30BC7D2A}" dt="2023-01-04T23:54:07.328" v="56268"/>
          <ac:graphicFrameMkLst>
            <pc:docMk/>
            <pc:sldMk cId="1589772229" sldId="2134804370"/>
            <ac:graphicFrameMk id="389" creationId="{334881D8-D6F8-9068-922B-FCFC3CEFA39E}"/>
          </ac:graphicFrameMkLst>
        </pc:graphicFrameChg>
        <pc:graphicFrameChg chg="add del mod ord replST">
          <ac:chgData name="Wenwen Zhang" userId="9dd81366-5d6f-445a-b031-6ea562624431" providerId="ADAL" clId="{1012AE1A-29B0-4E90-8835-842C30BC7D2A}" dt="2023-01-04T23:54:17.223" v="56365"/>
          <ac:graphicFrameMkLst>
            <pc:docMk/>
            <pc:sldMk cId="1589772229" sldId="2134804370"/>
            <ac:graphicFrameMk id="391" creationId="{F58DE9E9-4B6B-5735-986B-7BF5EB24837E}"/>
          </ac:graphicFrameMkLst>
        </pc:graphicFrameChg>
        <pc:graphicFrameChg chg="add del mod ord replST">
          <ac:chgData name="Wenwen Zhang" userId="9dd81366-5d6f-445a-b031-6ea562624431" providerId="ADAL" clId="{1012AE1A-29B0-4E90-8835-842C30BC7D2A}" dt="2023-01-04T23:55:40.554" v="56588"/>
          <ac:graphicFrameMkLst>
            <pc:docMk/>
            <pc:sldMk cId="1589772229" sldId="2134804370"/>
            <ac:graphicFrameMk id="393" creationId="{222CED2E-FE4F-266A-E518-4968C3D0B2B5}"/>
          </ac:graphicFrameMkLst>
        </pc:graphicFrameChg>
        <pc:graphicFrameChg chg="add del mod ord replST">
          <ac:chgData name="Wenwen Zhang" userId="9dd81366-5d6f-445a-b031-6ea562624431" providerId="ADAL" clId="{1012AE1A-29B0-4E90-8835-842C30BC7D2A}" dt="2023-01-04T23:55:45.175" v="56869"/>
          <ac:graphicFrameMkLst>
            <pc:docMk/>
            <pc:sldMk cId="1589772229" sldId="2134804370"/>
            <ac:graphicFrameMk id="395" creationId="{4192B1BE-C7BD-798F-5D96-9DF81A3043E8}"/>
          </ac:graphicFrameMkLst>
        </pc:graphicFrameChg>
        <pc:graphicFrameChg chg="add del mod ord replST">
          <ac:chgData name="Wenwen Zhang" userId="9dd81366-5d6f-445a-b031-6ea562624431" providerId="ADAL" clId="{1012AE1A-29B0-4E90-8835-842C30BC7D2A}" dt="2023-01-04T23:56:46.595" v="57629"/>
          <ac:graphicFrameMkLst>
            <pc:docMk/>
            <pc:sldMk cId="1589772229" sldId="2134804370"/>
            <ac:graphicFrameMk id="397" creationId="{AD1D14BA-E3AA-AB6B-507E-D53821171516}"/>
          </ac:graphicFrameMkLst>
        </pc:graphicFrameChg>
        <pc:graphicFrameChg chg="add del mod ord replST">
          <ac:chgData name="Wenwen Zhang" userId="9dd81366-5d6f-445a-b031-6ea562624431" providerId="ADAL" clId="{1012AE1A-29B0-4E90-8835-842C30BC7D2A}" dt="2023-01-05T00:37:44.912" v="66451"/>
          <ac:graphicFrameMkLst>
            <pc:docMk/>
            <pc:sldMk cId="1589772229" sldId="2134804370"/>
            <ac:graphicFrameMk id="399" creationId="{943B5C30-7668-C08D-4D81-433AB98423A9}"/>
          </ac:graphicFrameMkLst>
        </pc:graphicFrameChg>
        <pc:graphicFrameChg chg="add del mod replST">
          <ac:chgData name="Wenwen Zhang" userId="9dd81366-5d6f-445a-b031-6ea562624431" providerId="ADAL" clId="{1012AE1A-29B0-4E90-8835-842C30BC7D2A}" dt="2023-01-04T23:58:51.635" v="57927"/>
          <ac:graphicFrameMkLst>
            <pc:docMk/>
            <pc:sldMk cId="1589772229" sldId="2134804370"/>
            <ac:graphicFrameMk id="400" creationId="{CDF4431D-FF19-2A70-46EB-2F7FF1A19360}"/>
          </ac:graphicFrameMkLst>
        </pc:graphicFrameChg>
        <pc:graphicFrameChg chg="add del mod ord replST">
          <ac:chgData name="Wenwen Zhang" userId="9dd81366-5d6f-445a-b031-6ea562624431" providerId="ADAL" clId="{1012AE1A-29B0-4E90-8835-842C30BC7D2A}" dt="2023-01-04T23:59:03.257" v="58103"/>
          <ac:graphicFrameMkLst>
            <pc:docMk/>
            <pc:sldMk cId="1589772229" sldId="2134804370"/>
            <ac:graphicFrameMk id="408" creationId="{14F88024-0ACF-2688-BF70-79878CFC0F47}"/>
          </ac:graphicFrameMkLst>
        </pc:graphicFrameChg>
        <pc:graphicFrameChg chg="add del mod ord replST">
          <ac:chgData name="Wenwen Zhang" userId="9dd81366-5d6f-445a-b031-6ea562624431" providerId="ADAL" clId="{1012AE1A-29B0-4E90-8835-842C30BC7D2A}" dt="2023-01-04T23:59:08.365" v="58224"/>
          <ac:graphicFrameMkLst>
            <pc:docMk/>
            <pc:sldMk cId="1589772229" sldId="2134804370"/>
            <ac:graphicFrameMk id="410" creationId="{216C6974-F226-9AFA-C050-451EE02953B0}"/>
          </ac:graphicFrameMkLst>
        </pc:graphicFrameChg>
        <pc:graphicFrameChg chg="add del mod ord replST">
          <ac:chgData name="Wenwen Zhang" userId="9dd81366-5d6f-445a-b031-6ea562624431" providerId="ADAL" clId="{1012AE1A-29B0-4E90-8835-842C30BC7D2A}" dt="2023-01-04T23:59:11.602" v="58350"/>
          <ac:graphicFrameMkLst>
            <pc:docMk/>
            <pc:sldMk cId="1589772229" sldId="2134804370"/>
            <ac:graphicFrameMk id="412" creationId="{F437167D-B2D2-C08D-147B-2C579AEC107E}"/>
          </ac:graphicFrameMkLst>
        </pc:graphicFrameChg>
        <pc:graphicFrameChg chg="add del mod ord replST">
          <ac:chgData name="Wenwen Zhang" userId="9dd81366-5d6f-445a-b031-6ea562624431" providerId="ADAL" clId="{1012AE1A-29B0-4E90-8835-842C30BC7D2A}" dt="2023-01-04T23:59:15.808" v="58484"/>
          <ac:graphicFrameMkLst>
            <pc:docMk/>
            <pc:sldMk cId="1589772229" sldId="2134804370"/>
            <ac:graphicFrameMk id="414" creationId="{6500FA56-565B-F73F-C28B-CF1AD8FC26AF}"/>
          </ac:graphicFrameMkLst>
        </pc:graphicFrameChg>
        <pc:graphicFrameChg chg="add del mod ord replST">
          <ac:chgData name="Wenwen Zhang" userId="9dd81366-5d6f-445a-b031-6ea562624431" providerId="ADAL" clId="{1012AE1A-29B0-4E90-8835-842C30BC7D2A}" dt="2023-01-04T23:59:20.330" v="58620"/>
          <ac:graphicFrameMkLst>
            <pc:docMk/>
            <pc:sldMk cId="1589772229" sldId="2134804370"/>
            <ac:graphicFrameMk id="416" creationId="{D8EA3023-CDB3-2419-A089-D73CC0F50B68}"/>
          </ac:graphicFrameMkLst>
        </pc:graphicFrameChg>
        <pc:graphicFrameChg chg="add del mod ord replST">
          <ac:chgData name="Wenwen Zhang" userId="9dd81366-5d6f-445a-b031-6ea562624431" providerId="ADAL" clId="{1012AE1A-29B0-4E90-8835-842C30BC7D2A}" dt="2023-01-04T23:59:22.739" v="58737"/>
          <ac:graphicFrameMkLst>
            <pc:docMk/>
            <pc:sldMk cId="1589772229" sldId="2134804370"/>
            <ac:graphicFrameMk id="418" creationId="{0B2DE79F-A386-9C4E-953D-0051A40DE5FB}"/>
          </ac:graphicFrameMkLst>
        </pc:graphicFrameChg>
        <pc:graphicFrameChg chg="add del mod ord replST">
          <ac:chgData name="Wenwen Zhang" userId="9dd81366-5d6f-445a-b031-6ea562624431" providerId="ADAL" clId="{1012AE1A-29B0-4E90-8835-842C30BC7D2A}" dt="2023-01-04T23:59:26.701" v="58871"/>
          <ac:graphicFrameMkLst>
            <pc:docMk/>
            <pc:sldMk cId="1589772229" sldId="2134804370"/>
            <ac:graphicFrameMk id="420" creationId="{4B118451-DD54-795D-72CE-87B5E77320F7}"/>
          </ac:graphicFrameMkLst>
        </pc:graphicFrameChg>
        <pc:graphicFrameChg chg="add del mod ord replST">
          <ac:chgData name="Wenwen Zhang" userId="9dd81366-5d6f-445a-b031-6ea562624431" providerId="ADAL" clId="{1012AE1A-29B0-4E90-8835-842C30BC7D2A}" dt="2023-01-04T23:59:28.427" v="58979"/>
          <ac:graphicFrameMkLst>
            <pc:docMk/>
            <pc:sldMk cId="1589772229" sldId="2134804370"/>
            <ac:graphicFrameMk id="422" creationId="{E5F127CB-6964-17E5-67EC-9CFCD492A561}"/>
          </ac:graphicFrameMkLst>
        </pc:graphicFrameChg>
        <pc:graphicFrameChg chg="add del mod ord replST">
          <ac:chgData name="Wenwen Zhang" userId="9dd81366-5d6f-445a-b031-6ea562624431" providerId="ADAL" clId="{1012AE1A-29B0-4E90-8835-842C30BC7D2A}" dt="2023-01-05T00:05:06.094" v="60183"/>
          <ac:graphicFrameMkLst>
            <pc:docMk/>
            <pc:sldMk cId="1589772229" sldId="2134804370"/>
            <ac:graphicFrameMk id="424" creationId="{635334CF-22EC-14E2-BC09-788F145A9634}"/>
          </ac:graphicFrameMkLst>
        </pc:graphicFrameChg>
        <pc:graphicFrameChg chg="add del mod replST">
          <ac:chgData name="Wenwen Zhang" userId="9dd81366-5d6f-445a-b031-6ea562624431" providerId="ADAL" clId="{1012AE1A-29B0-4E90-8835-842C30BC7D2A}" dt="2023-01-05T00:03:21.128" v="59370"/>
          <ac:graphicFrameMkLst>
            <pc:docMk/>
            <pc:sldMk cId="1589772229" sldId="2134804370"/>
            <ac:graphicFrameMk id="425" creationId="{B1D33F1E-17D5-CC10-515C-4F30F2E70817}"/>
          </ac:graphicFrameMkLst>
        </pc:graphicFrameChg>
        <pc:graphicFrameChg chg="add del mod ord replST">
          <ac:chgData name="Wenwen Zhang" userId="9dd81366-5d6f-445a-b031-6ea562624431" providerId="ADAL" clId="{1012AE1A-29B0-4E90-8835-842C30BC7D2A}" dt="2023-01-05T00:03:38.931" v="59554"/>
          <ac:graphicFrameMkLst>
            <pc:docMk/>
            <pc:sldMk cId="1589772229" sldId="2134804370"/>
            <ac:graphicFrameMk id="431" creationId="{683BAFEC-90D3-C34D-EE94-8AF01ABF6550}"/>
          </ac:graphicFrameMkLst>
        </pc:graphicFrameChg>
        <pc:graphicFrameChg chg="add del mod ord replST">
          <ac:chgData name="Wenwen Zhang" userId="9dd81366-5d6f-445a-b031-6ea562624431" providerId="ADAL" clId="{1012AE1A-29B0-4E90-8835-842C30BC7D2A}" dt="2023-01-05T00:03:43.070" v="59674"/>
          <ac:graphicFrameMkLst>
            <pc:docMk/>
            <pc:sldMk cId="1589772229" sldId="2134804370"/>
            <ac:graphicFrameMk id="433" creationId="{601E3636-73DC-DBD5-8592-3A1ABD83C5F0}"/>
          </ac:graphicFrameMkLst>
        </pc:graphicFrameChg>
        <pc:graphicFrameChg chg="add del mod ord replST">
          <ac:chgData name="Wenwen Zhang" userId="9dd81366-5d6f-445a-b031-6ea562624431" providerId="ADAL" clId="{1012AE1A-29B0-4E90-8835-842C30BC7D2A}" dt="2023-01-05T00:04:03.300" v="59802"/>
          <ac:graphicFrameMkLst>
            <pc:docMk/>
            <pc:sldMk cId="1589772229" sldId="2134804370"/>
            <ac:graphicFrameMk id="435" creationId="{A9A69F67-5C1B-911D-013D-E466DE0FB5D1}"/>
          </ac:graphicFrameMkLst>
        </pc:graphicFrameChg>
        <pc:graphicFrameChg chg="add del mod ord replST">
          <ac:chgData name="Wenwen Zhang" userId="9dd81366-5d6f-445a-b031-6ea562624431" providerId="ADAL" clId="{1012AE1A-29B0-4E90-8835-842C30BC7D2A}" dt="2023-01-05T00:04:05.336" v="60000"/>
          <ac:graphicFrameMkLst>
            <pc:docMk/>
            <pc:sldMk cId="1589772229" sldId="2134804370"/>
            <ac:graphicFrameMk id="437" creationId="{B2717E8B-AD53-6B19-CF84-E9043858AFD2}"/>
          </ac:graphicFrameMkLst>
        </pc:graphicFrameChg>
        <pc:graphicFrameChg chg="add del mod ord replST">
          <ac:chgData name="Wenwen Zhang" userId="9dd81366-5d6f-445a-b031-6ea562624431" providerId="ADAL" clId="{1012AE1A-29B0-4E90-8835-842C30BC7D2A}" dt="2023-01-05T00:17:17.434" v="60430"/>
          <ac:graphicFrameMkLst>
            <pc:docMk/>
            <pc:sldMk cId="1589772229" sldId="2134804370"/>
            <ac:graphicFrameMk id="440" creationId="{ED70AE2A-FECA-58D7-7104-D872368F1A68}"/>
          </ac:graphicFrameMkLst>
        </pc:graphicFrameChg>
        <pc:graphicFrameChg chg="add del mod ord replST">
          <ac:chgData name="Wenwen Zhang" userId="9dd81366-5d6f-445a-b031-6ea562624431" providerId="ADAL" clId="{1012AE1A-29B0-4E90-8835-842C30BC7D2A}" dt="2023-01-05T00:31:13.861" v="60778"/>
          <ac:graphicFrameMkLst>
            <pc:docMk/>
            <pc:sldMk cId="1589772229" sldId="2134804370"/>
            <ac:graphicFrameMk id="443" creationId="{3DB2B785-E58E-A3DA-8A15-B0D1EE183CED}"/>
          </ac:graphicFrameMkLst>
        </pc:graphicFrameChg>
        <pc:graphicFrameChg chg="add del mod ord replST">
          <ac:chgData name="Wenwen Zhang" userId="9dd81366-5d6f-445a-b031-6ea562624431" providerId="ADAL" clId="{1012AE1A-29B0-4E90-8835-842C30BC7D2A}" dt="2023-01-05T00:17:22.094" v="60585"/>
          <ac:graphicFrameMkLst>
            <pc:docMk/>
            <pc:sldMk cId="1589772229" sldId="2134804370"/>
            <ac:graphicFrameMk id="445" creationId="{FB554E9A-6997-6C56-CAC2-B4B293F8F269}"/>
          </ac:graphicFrameMkLst>
        </pc:graphicFrameChg>
        <pc:graphicFrameChg chg="add del mod ord replST">
          <ac:chgData name="Wenwen Zhang" userId="9dd81366-5d6f-445a-b031-6ea562624431" providerId="ADAL" clId="{1012AE1A-29B0-4E90-8835-842C30BC7D2A}" dt="2023-01-05T00:17:24.635" v="60706"/>
          <ac:graphicFrameMkLst>
            <pc:docMk/>
            <pc:sldMk cId="1589772229" sldId="2134804370"/>
            <ac:graphicFrameMk id="447" creationId="{E8F988E0-0C88-D488-C1C1-6AA19BD96AF1}"/>
          </ac:graphicFrameMkLst>
        </pc:graphicFrameChg>
        <pc:graphicFrameChg chg="add del mod ord replST">
          <ac:chgData name="Wenwen Zhang" userId="9dd81366-5d6f-445a-b031-6ea562624431" providerId="ADAL" clId="{1012AE1A-29B0-4E90-8835-842C30BC7D2A}" dt="2023-01-05T00:20:37.880" v="60762"/>
          <ac:graphicFrameMkLst>
            <pc:docMk/>
            <pc:sldMk cId="1589772229" sldId="2134804370"/>
            <ac:graphicFrameMk id="449" creationId="{0BF75BB7-032D-9612-E73E-05095A778824}"/>
          </ac:graphicFrameMkLst>
        </pc:graphicFrameChg>
        <pc:graphicFrameChg chg="add del mod ord replST">
          <ac:chgData name="Wenwen Zhang" userId="9dd81366-5d6f-445a-b031-6ea562624431" providerId="ADAL" clId="{1012AE1A-29B0-4E90-8835-842C30BC7D2A}" dt="2023-01-05T00:31:56.560" v="61104"/>
          <ac:graphicFrameMkLst>
            <pc:docMk/>
            <pc:sldMk cId="1589772229" sldId="2134804370"/>
            <ac:graphicFrameMk id="453" creationId="{2A59E251-8020-853B-790B-4533E0027277}"/>
          </ac:graphicFrameMkLst>
        </pc:graphicFrameChg>
        <pc:graphicFrameChg chg="add del mod ord replST">
          <ac:chgData name="Wenwen Zhang" userId="9dd81366-5d6f-445a-b031-6ea562624431" providerId="ADAL" clId="{1012AE1A-29B0-4E90-8835-842C30BC7D2A}" dt="2023-01-05T00:32:59.852" v="61241"/>
          <ac:graphicFrameMkLst>
            <pc:docMk/>
            <pc:sldMk cId="1589772229" sldId="2134804370"/>
            <ac:graphicFrameMk id="455" creationId="{00341743-8A87-52FF-33F5-B68BD05D63E7}"/>
          </ac:graphicFrameMkLst>
        </pc:graphicFrameChg>
        <pc:graphicFrameChg chg="add del mod ord replST">
          <ac:chgData name="Wenwen Zhang" userId="9dd81366-5d6f-445a-b031-6ea562624431" providerId="ADAL" clId="{1012AE1A-29B0-4E90-8835-842C30BC7D2A}" dt="2023-01-05T00:33:09.012" v="61616"/>
          <ac:graphicFrameMkLst>
            <pc:docMk/>
            <pc:sldMk cId="1589772229" sldId="2134804370"/>
            <ac:graphicFrameMk id="457" creationId="{2F694FFB-A9F2-4804-9BDF-D1882DF4273A}"/>
          </ac:graphicFrameMkLst>
        </pc:graphicFrameChg>
        <pc:graphicFrameChg chg="add del mod ord replST">
          <ac:chgData name="Wenwen Zhang" userId="9dd81366-5d6f-445a-b031-6ea562624431" providerId="ADAL" clId="{1012AE1A-29B0-4E90-8835-842C30BC7D2A}" dt="2023-01-05T00:33:16.284" v="61737"/>
          <ac:graphicFrameMkLst>
            <pc:docMk/>
            <pc:sldMk cId="1589772229" sldId="2134804370"/>
            <ac:graphicFrameMk id="465" creationId="{6B7C6E6B-9899-FE6F-9744-64B3ED214F5C}"/>
          </ac:graphicFrameMkLst>
        </pc:graphicFrameChg>
        <pc:graphicFrameChg chg="add del mod ord replST">
          <ac:chgData name="Wenwen Zhang" userId="9dd81366-5d6f-445a-b031-6ea562624431" providerId="ADAL" clId="{1012AE1A-29B0-4E90-8835-842C30BC7D2A}" dt="2023-01-05T00:33:24.355" v="61863"/>
          <ac:graphicFrameMkLst>
            <pc:docMk/>
            <pc:sldMk cId="1589772229" sldId="2134804370"/>
            <ac:graphicFrameMk id="467" creationId="{66B42BD8-3D0C-537C-C8B7-78AB761D2D0A}"/>
          </ac:graphicFrameMkLst>
        </pc:graphicFrameChg>
        <pc:graphicFrameChg chg="add del mod ord replST">
          <ac:chgData name="Wenwen Zhang" userId="9dd81366-5d6f-445a-b031-6ea562624431" providerId="ADAL" clId="{1012AE1A-29B0-4E90-8835-842C30BC7D2A}" dt="2023-01-05T00:33:29.658" v="61989"/>
          <ac:graphicFrameMkLst>
            <pc:docMk/>
            <pc:sldMk cId="1589772229" sldId="2134804370"/>
            <ac:graphicFrameMk id="469" creationId="{E32E26E2-F30F-4DC9-530D-23B8B5A6AEE2}"/>
          </ac:graphicFrameMkLst>
        </pc:graphicFrameChg>
        <pc:graphicFrameChg chg="add del mod ord replST">
          <ac:chgData name="Wenwen Zhang" userId="9dd81366-5d6f-445a-b031-6ea562624431" providerId="ADAL" clId="{1012AE1A-29B0-4E90-8835-842C30BC7D2A}" dt="2023-01-05T00:33:49.561" v="62294"/>
          <ac:graphicFrameMkLst>
            <pc:docMk/>
            <pc:sldMk cId="1589772229" sldId="2134804370"/>
            <ac:graphicFrameMk id="471" creationId="{055A25E9-3CCC-18EC-62C3-62BDE29F4489}"/>
          </ac:graphicFrameMkLst>
        </pc:graphicFrameChg>
        <pc:graphicFrameChg chg="add del mod ord replST">
          <ac:chgData name="Wenwen Zhang" userId="9dd81366-5d6f-445a-b031-6ea562624431" providerId="ADAL" clId="{1012AE1A-29B0-4E90-8835-842C30BC7D2A}" dt="2023-01-05T00:33:53.726" v="62439"/>
          <ac:graphicFrameMkLst>
            <pc:docMk/>
            <pc:sldMk cId="1589772229" sldId="2134804370"/>
            <ac:graphicFrameMk id="477" creationId="{1E33A3E3-89FF-4CD6-F3CC-118F6EAAD9CD}"/>
          </ac:graphicFrameMkLst>
        </pc:graphicFrameChg>
        <pc:graphicFrameChg chg="add del mod ord replST">
          <ac:chgData name="Wenwen Zhang" userId="9dd81366-5d6f-445a-b031-6ea562624431" providerId="ADAL" clId="{1012AE1A-29B0-4E90-8835-842C30BC7D2A}" dt="2023-01-05T00:34:09.910" v="62574"/>
          <ac:graphicFrameMkLst>
            <pc:docMk/>
            <pc:sldMk cId="1589772229" sldId="2134804370"/>
            <ac:graphicFrameMk id="479" creationId="{F6AA9942-995D-7FCF-96B5-3B20C3B9A1B9}"/>
          </ac:graphicFrameMkLst>
        </pc:graphicFrameChg>
        <pc:graphicFrameChg chg="add del mod ord replST">
          <ac:chgData name="Wenwen Zhang" userId="9dd81366-5d6f-445a-b031-6ea562624431" providerId="ADAL" clId="{1012AE1A-29B0-4E90-8835-842C30BC7D2A}" dt="2023-01-05T00:34:15.891" v="62716"/>
          <ac:graphicFrameMkLst>
            <pc:docMk/>
            <pc:sldMk cId="1589772229" sldId="2134804370"/>
            <ac:graphicFrameMk id="481" creationId="{526ECA72-FEBB-244C-E946-AD809DCA08D7}"/>
          </ac:graphicFrameMkLst>
        </pc:graphicFrameChg>
        <pc:graphicFrameChg chg="add del mod ord replST">
          <ac:chgData name="Wenwen Zhang" userId="9dd81366-5d6f-445a-b031-6ea562624431" providerId="ADAL" clId="{1012AE1A-29B0-4E90-8835-842C30BC7D2A}" dt="2023-01-05T00:34:30.552" v="63076"/>
          <ac:graphicFrameMkLst>
            <pc:docMk/>
            <pc:sldMk cId="1589772229" sldId="2134804370"/>
            <ac:graphicFrameMk id="483" creationId="{9F6E9DE1-02D4-D2BB-9B00-9129062D152B}"/>
          </ac:graphicFrameMkLst>
        </pc:graphicFrameChg>
        <pc:graphicFrameChg chg="add del mod ord replST">
          <ac:chgData name="Wenwen Zhang" userId="9dd81366-5d6f-445a-b031-6ea562624431" providerId="ADAL" clId="{1012AE1A-29B0-4E90-8835-842C30BC7D2A}" dt="2023-01-05T00:34:33.816" v="63384"/>
          <ac:graphicFrameMkLst>
            <pc:docMk/>
            <pc:sldMk cId="1589772229" sldId="2134804370"/>
            <ac:graphicFrameMk id="487" creationId="{D97F1DE7-4E15-A9FB-675A-D9C63A99497F}"/>
          </ac:graphicFrameMkLst>
        </pc:graphicFrameChg>
        <pc:graphicFrameChg chg="add del mod ord replST">
          <ac:chgData name="Wenwen Zhang" userId="9dd81366-5d6f-445a-b031-6ea562624431" providerId="ADAL" clId="{1012AE1A-29B0-4E90-8835-842C30BC7D2A}" dt="2023-01-05T00:34:49.917" v="63588"/>
          <ac:graphicFrameMkLst>
            <pc:docMk/>
            <pc:sldMk cId="1589772229" sldId="2134804370"/>
            <ac:graphicFrameMk id="489" creationId="{CE10ADA6-EEFF-0F7E-278A-1B1C6A468BD4}"/>
          </ac:graphicFrameMkLst>
        </pc:graphicFrameChg>
        <pc:graphicFrameChg chg="add del mod ord replST">
          <ac:chgData name="Wenwen Zhang" userId="9dd81366-5d6f-445a-b031-6ea562624431" providerId="ADAL" clId="{1012AE1A-29B0-4E90-8835-842C30BC7D2A}" dt="2023-01-05T00:34:56.017" v="63768"/>
          <ac:graphicFrameMkLst>
            <pc:docMk/>
            <pc:sldMk cId="1589772229" sldId="2134804370"/>
            <ac:graphicFrameMk id="491" creationId="{4BEB9CF5-7B89-B0FB-5505-B63550D92576}"/>
          </ac:graphicFrameMkLst>
        </pc:graphicFrameChg>
        <pc:graphicFrameChg chg="add del mod ord replST">
          <ac:chgData name="Wenwen Zhang" userId="9dd81366-5d6f-445a-b031-6ea562624431" providerId="ADAL" clId="{1012AE1A-29B0-4E90-8835-842C30BC7D2A}" dt="2023-01-05T00:35:04.181" v="63945"/>
          <ac:graphicFrameMkLst>
            <pc:docMk/>
            <pc:sldMk cId="1589772229" sldId="2134804370"/>
            <ac:graphicFrameMk id="493" creationId="{367BE147-52D7-3E7A-877D-6749BA276E09}"/>
          </ac:graphicFrameMkLst>
        </pc:graphicFrameChg>
        <pc:graphicFrameChg chg="add del mod ord replST">
          <ac:chgData name="Wenwen Zhang" userId="9dd81366-5d6f-445a-b031-6ea562624431" providerId="ADAL" clId="{1012AE1A-29B0-4E90-8835-842C30BC7D2A}" dt="2023-01-05T00:35:07.691" v="64125"/>
          <ac:graphicFrameMkLst>
            <pc:docMk/>
            <pc:sldMk cId="1589772229" sldId="2134804370"/>
            <ac:graphicFrameMk id="495" creationId="{DDA2B41C-4EBD-C502-8636-82AC1A5BB7D4}"/>
          </ac:graphicFrameMkLst>
        </pc:graphicFrameChg>
        <pc:graphicFrameChg chg="add del mod ord replST">
          <ac:chgData name="Wenwen Zhang" userId="9dd81366-5d6f-445a-b031-6ea562624431" providerId="ADAL" clId="{1012AE1A-29B0-4E90-8835-842C30BC7D2A}" dt="2023-01-05T00:35:16.039" v="64444"/>
          <ac:graphicFrameMkLst>
            <pc:docMk/>
            <pc:sldMk cId="1589772229" sldId="2134804370"/>
            <ac:graphicFrameMk id="497" creationId="{558961ED-9DDD-309D-B56F-9A9A3DDBCA82}"/>
          </ac:graphicFrameMkLst>
        </pc:graphicFrameChg>
        <pc:graphicFrameChg chg="add del mod ord replST">
          <ac:chgData name="Wenwen Zhang" userId="9dd81366-5d6f-445a-b031-6ea562624431" providerId="ADAL" clId="{1012AE1A-29B0-4E90-8835-842C30BC7D2A}" dt="2023-01-05T00:35:20.854" v="64692"/>
          <ac:graphicFrameMkLst>
            <pc:docMk/>
            <pc:sldMk cId="1589772229" sldId="2134804370"/>
            <ac:graphicFrameMk id="502" creationId="{4B91F953-DDDE-CDAB-AE04-F08EF1829655}"/>
          </ac:graphicFrameMkLst>
        </pc:graphicFrameChg>
        <pc:graphicFrameChg chg="add del mod ord replST">
          <ac:chgData name="Wenwen Zhang" userId="9dd81366-5d6f-445a-b031-6ea562624431" providerId="ADAL" clId="{1012AE1A-29B0-4E90-8835-842C30BC7D2A}" dt="2023-01-05T00:36:32.354" v="64947"/>
          <ac:graphicFrameMkLst>
            <pc:docMk/>
            <pc:sldMk cId="1589772229" sldId="2134804370"/>
            <ac:graphicFrameMk id="504" creationId="{6F7BA643-1F5B-B620-A553-C4D0441A7B46}"/>
          </ac:graphicFrameMkLst>
        </pc:graphicFrameChg>
        <pc:graphicFrameChg chg="add del mod ord replST">
          <ac:chgData name="Wenwen Zhang" userId="9dd81366-5d6f-445a-b031-6ea562624431" providerId="ADAL" clId="{1012AE1A-29B0-4E90-8835-842C30BC7D2A}" dt="2023-01-05T00:36:41.846" v="65114"/>
          <ac:graphicFrameMkLst>
            <pc:docMk/>
            <pc:sldMk cId="1589772229" sldId="2134804370"/>
            <ac:graphicFrameMk id="506" creationId="{D52EA635-A9F4-DAEC-9C3B-2929A92C1DB6}"/>
          </ac:graphicFrameMkLst>
        </pc:graphicFrameChg>
        <pc:graphicFrameChg chg="add del mod ord replST">
          <ac:chgData name="Wenwen Zhang" userId="9dd81366-5d6f-445a-b031-6ea562624431" providerId="ADAL" clId="{1012AE1A-29B0-4E90-8835-842C30BC7D2A}" dt="2023-01-05T00:36:58.555" v="65263"/>
          <ac:graphicFrameMkLst>
            <pc:docMk/>
            <pc:sldMk cId="1589772229" sldId="2134804370"/>
            <ac:graphicFrameMk id="508" creationId="{137B6C81-7D24-ADE3-A4C1-FDAB70880D4A}"/>
          </ac:graphicFrameMkLst>
        </pc:graphicFrameChg>
        <pc:graphicFrameChg chg="add del mod ord replST">
          <ac:chgData name="Wenwen Zhang" userId="9dd81366-5d6f-445a-b031-6ea562624431" providerId="ADAL" clId="{1012AE1A-29B0-4E90-8835-842C30BC7D2A}" dt="2023-01-05T00:37:05.091" v="65412"/>
          <ac:graphicFrameMkLst>
            <pc:docMk/>
            <pc:sldMk cId="1589772229" sldId="2134804370"/>
            <ac:graphicFrameMk id="510" creationId="{D34EA0D9-AC9D-93AE-7520-A6788FA85D59}"/>
          </ac:graphicFrameMkLst>
        </pc:graphicFrameChg>
        <pc:graphicFrameChg chg="add del mod ord replST">
          <ac:chgData name="Wenwen Zhang" userId="9dd81366-5d6f-445a-b031-6ea562624431" providerId="ADAL" clId="{1012AE1A-29B0-4E90-8835-842C30BC7D2A}" dt="2023-01-05T00:37:11.558" v="66000"/>
          <ac:graphicFrameMkLst>
            <pc:docMk/>
            <pc:sldMk cId="1589772229" sldId="2134804370"/>
            <ac:graphicFrameMk id="512" creationId="{F2A90917-6C47-FA75-31D1-61AE928B8E57}"/>
          </ac:graphicFrameMkLst>
        </pc:graphicFrameChg>
        <pc:graphicFrameChg chg="add del mod ord replST">
          <ac:chgData name="Wenwen Zhang" userId="9dd81366-5d6f-445a-b031-6ea562624431" providerId="ADAL" clId="{1012AE1A-29B0-4E90-8835-842C30BC7D2A}" dt="2023-01-05T00:37:18.056" v="66306"/>
          <ac:graphicFrameMkLst>
            <pc:docMk/>
            <pc:sldMk cId="1589772229" sldId="2134804370"/>
            <ac:graphicFrameMk id="520" creationId="{E7686131-EADD-8EEE-35EA-5A22F08A893C}"/>
          </ac:graphicFrameMkLst>
        </pc:graphicFrameChg>
        <pc:graphicFrameChg chg="add del mod ord replST">
          <ac:chgData name="Wenwen Zhang" userId="9dd81366-5d6f-445a-b031-6ea562624431" providerId="ADAL" clId="{1012AE1A-29B0-4E90-8835-842C30BC7D2A}" dt="2023-01-05T00:38:12.815" v="66814"/>
          <ac:graphicFrameMkLst>
            <pc:docMk/>
            <pc:sldMk cId="1589772229" sldId="2134804370"/>
            <ac:graphicFrameMk id="522" creationId="{1EA1CBD6-7795-FDC3-AFE8-AA97C64F2A6E}"/>
          </ac:graphicFrameMkLst>
        </pc:graphicFrameChg>
        <pc:graphicFrameChg chg="add del mod ord replST">
          <ac:chgData name="Wenwen Zhang" userId="9dd81366-5d6f-445a-b031-6ea562624431" providerId="ADAL" clId="{1012AE1A-29B0-4E90-8835-842C30BC7D2A}" dt="2023-01-05T00:37:50.770" v="66607"/>
          <ac:graphicFrameMkLst>
            <pc:docMk/>
            <pc:sldMk cId="1589772229" sldId="2134804370"/>
            <ac:graphicFrameMk id="524" creationId="{B7FD8293-CF50-9129-EE08-91356C887C22}"/>
          </ac:graphicFrameMkLst>
        </pc:graphicFrameChg>
        <pc:graphicFrameChg chg="add del mod ord replST">
          <ac:chgData name="Wenwen Zhang" userId="9dd81366-5d6f-445a-b031-6ea562624431" providerId="ADAL" clId="{1012AE1A-29B0-4E90-8835-842C30BC7D2A}" dt="2023-01-05T11:42:16.842" v="88342"/>
          <ac:graphicFrameMkLst>
            <pc:docMk/>
            <pc:sldMk cId="1589772229" sldId="2134804370"/>
            <ac:graphicFrameMk id="527" creationId="{D7AA7654-3C74-CCBF-AC46-9925EC682EB9}"/>
          </ac:graphicFrameMkLst>
        </pc:graphicFrameChg>
        <pc:graphicFrameChg chg="add del mod ord replST">
          <ac:chgData name="Wenwen Zhang" userId="9dd81366-5d6f-445a-b031-6ea562624431" providerId="ADAL" clId="{1012AE1A-29B0-4E90-8835-842C30BC7D2A}" dt="2023-01-05T00:38:19.173" v="67118"/>
          <ac:graphicFrameMkLst>
            <pc:docMk/>
            <pc:sldMk cId="1589772229" sldId="2134804370"/>
            <ac:graphicFrameMk id="529" creationId="{9F8FA00C-49A4-730A-02B3-F344A3E55DA8}"/>
          </ac:graphicFrameMkLst>
        </pc:graphicFrameChg>
        <pc:graphicFrameChg chg="add del mod ord replST">
          <ac:chgData name="Wenwen Zhang" userId="9dd81366-5d6f-445a-b031-6ea562624431" providerId="ADAL" clId="{1012AE1A-29B0-4E90-8835-842C30BC7D2A}" dt="2023-01-05T00:38:20.377" v="67438"/>
          <ac:graphicFrameMkLst>
            <pc:docMk/>
            <pc:sldMk cId="1589772229" sldId="2134804370"/>
            <ac:graphicFrameMk id="531" creationId="{C2B740CE-D38F-EDCE-5653-F5473518A3AE}"/>
          </ac:graphicFrameMkLst>
        </pc:graphicFrameChg>
        <pc:graphicFrameChg chg="add del mod ord replST">
          <ac:chgData name="Wenwen Zhang" userId="9dd81366-5d6f-445a-b031-6ea562624431" providerId="ADAL" clId="{1012AE1A-29B0-4E90-8835-842C30BC7D2A}" dt="2023-01-05T00:38:22.770" v="67760"/>
          <ac:graphicFrameMkLst>
            <pc:docMk/>
            <pc:sldMk cId="1589772229" sldId="2134804370"/>
            <ac:graphicFrameMk id="533" creationId="{34413214-D635-0447-AADC-74F1D7904BBE}"/>
          </ac:graphicFrameMkLst>
        </pc:graphicFrameChg>
        <pc:graphicFrameChg chg="add del mod ord replST">
          <ac:chgData name="Wenwen Zhang" userId="9dd81366-5d6f-445a-b031-6ea562624431" providerId="ADAL" clId="{1012AE1A-29B0-4E90-8835-842C30BC7D2A}" dt="2023-01-05T00:38:24.095" v="67961"/>
          <ac:graphicFrameMkLst>
            <pc:docMk/>
            <pc:sldMk cId="1589772229" sldId="2134804370"/>
            <ac:graphicFrameMk id="535" creationId="{FABF139A-1603-6882-4DEE-7E68274D2780}"/>
          </ac:graphicFrameMkLst>
        </pc:graphicFrameChg>
        <pc:graphicFrameChg chg="add del mod ord replST">
          <ac:chgData name="Wenwen Zhang" userId="9dd81366-5d6f-445a-b031-6ea562624431" providerId="ADAL" clId="{1012AE1A-29B0-4E90-8835-842C30BC7D2A}" dt="2023-01-05T00:50:44.065" v="79578"/>
          <ac:graphicFrameMkLst>
            <pc:docMk/>
            <pc:sldMk cId="1589772229" sldId="2134804370"/>
            <ac:graphicFrameMk id="537" creationId="{5FAD3740-9934-4F2F-6AB1-3E5BCCB9B9DB}"/>
          </ac:graphicFrameMkLst>
        </pc:graphicFrameChg>
        <pc:graphicFrameChg chg="add del mod ord replST">
          <ac:chgData name="Wenwen Zhang" userId="9dd81366-5d6f-445a-b031-6ea562624431" providerId="ADAL" clId="{1012AE1A-29B0-4E90-8835-842C30BC7D2A}" dt="2023-01-05T00:50:49.321" v="80560"/>
          <ac:graphicFrameMkLst>
            <pc:docMk/>
            <pc:sldMk cId="1589772229" sldId="2134804370"/>
            <ac:graphicFrameMk id="696" creationId="{CA6A9B39-50DA-67EC-FCA9-9490E68A0602}"/>
          </ac:graphicFrameMkLst>
        </pc:graphicFrameChg>
        <pc:graphicFrameChg chg="add del mod ord replST">
          <ac:chgData name="Wenwen Zhang" userId="9dd81366-5d6f-445a-b031-6ea562624431" providerId="ADAL" clId="{1012AE1A-29B0-4E90-8835-842C30BC7D2A}" dt="2023-01-05T00:50:56.516" v="81707"/>
          <ac:graphicFrameMkLst>
            <pc:docMk/>
            <pc:sldMk cId="1589772229" sldId="2134804370"/>
            <ac:graphicFrameMk id="698" creationId="{1564AB0B-663C-1607-2133-5C2479C25F1B}"/>
          </ac:graphicFrameMkLst>
        </pc:graphicFrameChg>
        <pc:graphicFrameChg chg="add del mod ord replST">
          <ac:chgData name="Wenwen Zhang" userId="9dd81366-5d6f-445a-b031-6ea562624431" providerId="ADAL" clId="{1012AE1A-29B0-4E90-8835-842C30BC7D2A}" dt="2023-01-05T00:51:05.413" v="81908"/>
          <ac:graphicFrameMkLst>
            <pc:docMk/>
            <pc:sldMk cId="1589772229" sldId="2134804370"/>
            <ac:graphicFrameMk id="714" creationId="{F1F8D09F-7A35-9932-7159-B4D2A164C538}"/>
          </ac:graphicFrameMkLst>
        </pc:graphicFrameChg>
        <pc:graphicFrameChg chg="add del mod ord replST">
          <ac:chgData name="Wenwen Zhang" userId="9dd81366-5d6f-445a-b031-6ea562624431" providerId="ADAL" clId="{1012AE1A-29B0-4E90-8835-842C30BC7D2A}" dt="2023-01-05T00:51:52.274" v="82210"/>
          <ac:graphicFrameMkLst>
            <pc:docMk/>
            <pc:sldMk cId="1589772229" sldId="2134804370"/>
            <ac:graphicFrameMk id="716" creationId="{3B69AC91-741B-5E37-79BD-3AC9D368B6F9}"/>
          </ac:graphicFrameMkLst>
        </pc:graphicFrameChg>
        <pc:graphicFrameChg chg="add del mod ord replST">
          <ac:chgData name="Wenwen Zhang" userId="9dd81366-5d6f-445a-b031-6ea562624431" providerId="ADAL" clId="{1012AE1A-29B0-4E90-8835-842C30BC7D2A}" dt="2023-01-05T00:51:54.230" v="82532"/>
          <ac:graphicFrameMkLst>
            <pc:docMk/>
            <pc:sldMk cId="1589772229" sldId="2134804370"/>
            <ac:graphicFrameMk id="718" creationId="{EB15F737-9324-7CF2-589B-F981E9703934}"/>
          </ac:graphicFrameMkLst>
        </pc:graphicFrameChg>
        <pc:graphicFrameChg chg="add del mod ord replST">
          <ac:chgData name="Wenwen Zhang" userId="9dd81366-5d6f-445a-b031-6ea562624431" providerId="ADAL" clId="{1012AE1A-29B0-4E90-8835-842C30BC7D2A}" dt="2023-01-05T00:51:55.383" v="82733"/>
          <ac:graphicFrameMkLst>
            <pc:docMk/>
            <pc:sldMk cId="1589772229" sldId="2134804370"/>
            <ac:graphicFrameMk id="720" creationId="{CC11EAA8-A5DB-ECFB-38DE-E0129CF1D24A}"/>
          </ac:graphicFrameMkLst>
        </pc:graphicFrameChg>
        <pc:graphicFrameChg chg="add del mod ord replST">
          <ac:chgData name="Wenwen Zhang" userId="9dd81366-5d6f-445a-b031-6ea562624431" providerId="ADAL" clId="{1012AE1A-29B0-4E90-8835-842C30BC7D2A}" dt="2023-01-05T00:54:45.408" v="83056"/>
          <ac:graphicFrameMkLst>
            <pc:docMk/>
            <pc:sldMk cId="1589772229" sldId="2134804370"/>
            <ac:graphicFrameMk id="722" creationId="{8C183E43-F675-45BF-09F5-973B05C1C567}"/>
          </ac:graphicFrameMkLst>
        </pc:graphicFrameChg>
        <pc:graphicFrameChg chg="add del mod ord replST">
          <ac:chgData name="Wenwen Zhang" userId="9dd81366-5d6f-445a-b031-6ea562624431" providerId="ADAL" clId="{1012AE1A-29B0-4E90-8835-842C30BC7D2A}" dt="2023-01-05T00:54:53.446" v="83311"/>
          <ac:graphicFrameMkLst>
            <pc:docMk/>
            <pc:sldMk cId="1589772229" sldId="2134804370"/>
            <ac:graphicFrameMk id="728" creationId="{04CE321B-ABF6-6CD0-0060-290750EB39EC}"/>
          </ac:graphicFrameMkLst>
        </pc:graphicFrameChg>
        <pc:graphicFrameChg chg="add del mod ord replST">
          <ac:chgData name="Wenwen Zhang" userId="9dd81366-5d6f-445a-b031-6ea562624431" providerId="ADAL" clId="{1012AE1A-29B0-4E90-8835-842C30BC7D2A}" dt="2023-01-05T00:55:03.721" v="83529"/>
          <ac:graphicFrameMkLst>
            <pc:docMk/>
            <pc:sldMk cId="1589772229" sldId="2134804370"/>
            <ac:graphicFrameMk id="730" creationId="{C56C99B7-E638-D141-1C6E-4DC4A9B8FCAF}"/>
          </ac:graphicFrameMkLst>
        </pc:graphicFrameChg>
        <pc:graphicFrameChg chg="add del mod ord replST">
          <ac:chgData name="Wenwen Zhang" userId="9dd81366-5d6f-445a-b031-6ea562624431" providerId="ADAL" clId="{1012AE1A-29B0-4E90-8835-842C30BC7D2A}" dt="2023-01-05T00:55:18.441" v="83722"/>
          <ac:graphicFrameMkLst>
            <pc:docMk/>
            <pc:sldMk cId="1589772229" sldId="2134804370"/>
            <ac:graphicFrameMk id="732" creationId="{6064F167-FFD5-F6E2-B883-64452036EFF3}"/>
          </ac:graphicFrameMkLst>
        </pc:graphicFrameChg>
        <pc:graphicFrameChg chg="add del mod ord replST">
          <ac:chgData name="Wenwen Zhang" userId="9dd81366-5d6f-445a-b031-6ea562624431" providerId="ADAL" clId="{1012AE1A-29B0-4E90-8835-842C30BC7D2A}" dt="2023-01-05T00:55:19.514" v="83913"/>
          <ac:graphicFrameMkLst>
            <pc:docMk/>
            <pc:sldMk cId="1589772229" sldId="2134804370"/>
            <ac:graphicFrameMk id="734" creationId="{4D709B5C-F41D-5489-083D-BFF53AF8F690}"/>
          </ac:graphicFrameMkLst>
        </pc:graphicFrameChg>
        <pc:graphicFrameChg chg="add del mod ord replST">
          <ac:chgData name="Wenwen Zhang" userId="9dd81366-5d6f-445a-b031-6ea562624431" providerId="ADAL" clId="{1012AE1A-29B0-4E90-8835-842C30BC7D2A}" dt="2023-01-05T01:09:06.332" v="84541"/>
          <ac:graphicFrameMkLst>
            <pc:docMk/>
            <pc:sldMk cId="1589772229" sldId="2134804370"/>
            <ac:graphicFrameMk id="736" creationId="{89D517EB-08AA-A9CA-93B1-E08477154320}"/>
          </ac:graphicFrameMkLst>
        </pc:graphicFrameChg>
        <pc:graphicFrameChg chg="add del mod ord replST">
          <ac:chgData name="Wenwen Zhang" userId="9dd81366-5d6f-445a-b031-6ea562624431" providerId="ADAL" clId="{1012AE1A-29B0-4E90-8835-842C30BC7D2A}" dt="2023-01-05T09:57:39.111" v="84953"/>
          <ac:graphicFrameMkLst>
            <pc:docMk/>
            <pc:sldMk cId="1589772229" sldId="2134804370"/>
            <ac:graphicFrameMk id="743" creationId="{5485C878-266B-89A7-87A0-264FF26CC703}"/>
          </ac:graphicFrameMkLst>
        </pc:graphicFrameChg>
        <pc:graphicFrameChg chg="add del mod ord replST">
          <ac:chgData name="Wenwen Zhang" userId="9dd81366-5d6f-445a-b031-6ea562624431" providerId="ADAL" clId="{1012AE1A-29B0-4E90-8835-842C30BC7D2A}" dt="2023-01-05T14:58:05.630" v="93649"/>
          <ac:graphicFrameMkLst>
            <pc:docMk/>
            <pc:sldMk cId="1589772229" sldId="2134804370"/>
            <ac:graphicFrameMk id="747" creationId="{34FE620A-28E1-BE29-B9E2-E4FC6E2A634E}"/>
          </ac:graphicFrameMkLst>
        </pc:graphicFrameChg>
        <pc:graphicFrameChg chg="add del mod ord replST">
          <ac:chgData name="Wenwen Zhang" userId="9dd81366-5d6f-445a-b031-6ea562624431" providerId="ADAL" clId="{1012AE1A-29B0-4E90-8835-842C30BC7D2A}" dt="2023-01-05T11:42:29.137" v="88522"/>
          <ac:graphicFrameMkLst>
            <pc:docMk/>
            <pc:sldMk cId="1589772229" sldId="2134804370"/>
            <ac:graphicFrameMk id="749" creationId="{793A3D77-D5B7-58FA-1A3B-FF65687FC78C}"/>
          </ac:graphicFrameMkLst>
        </pc:graphicFrameChg>
        <pc:graphicFrameChg chg="add del mod ord replST">
          <ac:chgData name="Wenwen Zhang" userId="9dd81366-5d6f-445a-b031-6ea562624431" providerId="ADAL" clId="{1012AE1A-29B0-4E90-8835-842C30BC7D2A}" dt="2023-01-05T14:54:49.829" v="93486"/>
          <ac:graphicFrameMkLst>
            <pc:docMk/>
            <pc:sldMk cId="1589772229" sldId="2134804370"/>
            <ac:graphicFrameMk id="751" creationId="{44A887C1-AD09-BC1D-1F27-B66AB4FB74E7}"/>
          </ac:graphicFrameMkLst>
        </pc:graphicFrameChg>
        <pc:graphicFrameChg chg="add del mod ord replST delST">
          <ac:chgData name="Wenwen Zhang" userId="9dd81366-5d6f-445a-b031-6ea562624431" providerId="ADAL" clId="{1012AE1A-29B0-4E90-8835-842C30BC7D2A}" dt="2023-01-05T11:43:33.834" v="89536"/>
          <ac:graphicFrameMkLst>
            <pc:docMk/>
            <pc:sldMk cId="1589772229" sldId="2134804370"/>
            <ac:graphicFrameMk id="753" creationId="{7F445852-26C3-A6F1-792B-5CA74F7A3A4F}"/>
          </ac:graphicFrameMkLst>
        </pc:graphicFrameChg>
        <pc:graphicFrameChg chg="add mod ord replST delST">
          <ac:chgData name="Wenwen Zhang" userId="9dd81366-5d6f-445a-b031-6ea562624431" providerId="ADAL" clId="{1012AE1A-29B0-4E90-8835-842C30BC7D2A}" dt="2023-01-05T11:43:33.245" v="89373"/>
          <ac:graphicFrameMkLst>
            <pc:docMk/>
            <pc:sldMk cId="1589772229" sldId="2134804370"/>
            <ac:graphicFrameMk id="755" creationId="{05A547CA-8457-5AE5-B044-35D944DDEB57}"/>
          </ac:graphicFrameMkLst>
        </pc:graphicFrameChg>
        <pc:graphicFrameChg chg="add del mod ord replST">
          <ac:chgData name="Wenwen Zhang" userId="9dd81366-5d6f-445a-b031-6ea562624431" providerId="ADAL" clId="{1012AE1A-29B0-4E90-8835-842C30BC7D2A}" dt="2023-01-05T14:58:13.446" v="93733"/>
          <ac:graphicFrameMkLst>
            <pc:docMk/>
            <pc:sldMk cId="1589772229" sldId="2134804370"/>
            <ac:graphicFrameMk id="758" creationId="{B4180FFC-E4EB-C1D1-BD23-43DF5F3F7627}"/>
          </ac:graphicFrameMkLst>
        </pc:graphicFrameChg>
        <pc:graphicFrameChg chg="add del mod ord replST">
          <ac:chgData name="Wenwen Zhang" userId="9dd81366-5d6f-445a-b031-6ea562624431" providerId="ADAL" clId="{1012AE1A-29B0-4E90-8835-842C30BC7D2A}" dt="2023-01-05T15:00:32.079" v="93879"/>
          <ac:graphicFrameMkLst>
            <pc:docMk/>
            <pc:sldMk cId="1589772229" sldId="2134804370"/>
            <ac:graphicFrameMk id="760" creationId="{D8AC59B6-29AB-AD72-A7E4-8EF7253ECA8D}"/>
          </ac:graphicFrameMkLst>
        </pc:graphicFrameChg>
        <pc:graphicFrameChg chg="add del mod ord replST">
          <ac:chgData name="Wenwen Zhang" userId="9dd81366-5d6f-445a-b031-6ea562624431" providerId="ADAL" clId="{1012AE1A-29B0-4E90-8835-842C30BC7D2A}" dt="2023-01-05T15:00:36.659" v="93984"/>
          <ac:graphicFrameMkLst>
            <pc:docMk/>
            <pc:sldMk cId="1589772229" sldId="2134804370"/>
            <ac:graphicFrameMk id="762" creationId="{155A6D58-8F81-EAF8-D59E-321E19BB5C14}"/>
          </ac:graphicFrameMkLst>
        </pc:graphicFrameChg>
        <pc:graphicFrameChg chg="add del mod ord replST">
          <ac:chgData name="Wenwen Zhang" userId="9dd81366-5d6f-445a-b031-6ea562624431" providerId="ADAL" clId="{1012AE1A-29B0-4E90-8835-842C30BC7D2A}" dt="2023-01-05T15:00:39.464" v="94087"/>
          <ac:graphicFrameMkLst>
            <pc:docMk/>
            <pc:sldMk cId="1589772229" sldId="2134804370"/>
            <ac:graphicFrameMk id="764" creationId="{2A22BD13-605B-0BC0-8052-5E09DEA81E90}"/>
          </ac:graphicFrameMkLst>
        </pc:graphicFrameChg>
        <pc:graphicFrameChg chg="add mod ord replST">
          <ac:chgData name="Wenwen Zhang" userId="9dd81366-5d6f-445a-b031-6ea562624431" providerId="ADAL" clId="{1012AE1A-29B0-4E90-8835-842C30BC7D2A}" dt="2023-01-05T15:00:39.499" v="94101"/>
          <ac:graphicFrameMkLst>
            <pc:docMk/>
            <pc:sldMk cId="1589772229" sldId="2134804370"/>
            <ac:graphicFrameMk id="766" creationId="{34B5CF30-985E-3A99-A05E-DD7EE333459B}"/>
          </ac:graphicFrameMkLst>
        </pc:graphicFrameChg>
        <pc:cxnChg chg="add del mod ord replST">
          <ac:chgData name="Wenwen Zhang" userId="9dd81366-5d6f-445a-b031-6ea562624431" providerId="ADAL" clId="{1012AE1A-29B0-4E90-8835-842C30BC7D2A}" dt="2023-01-04T22:53:30.743" v="52836"/>
          <ac:cxnSpMkLst>
            <pc:docMk/>
            <pc:sldMk cId="1589772229" sldId="2134804370"/>
            <ac:cxnSpMk id="116" creationId="{465BC137-BF45-7A11-9653-19F808FE1668}"/>
          </ac:cxnSpMkLst>
        </pc:cxnChg>
        <pc:cxnChg chg="add del mod ord replST">
          <ac:chgData name="Wenwen Zhang" userId="9dd81366-5d6f-445a-b031-6ea562624431" providerId="ADAL" clId="{1012AE1A-29B0-4E90-8835-842C30BC7D2A}" dt="2023-01-04T22:45:23.312" v="39169"/>
          <ac:cxnSpMkLst>
            <pc:docMk/>
            <pc:sldMk cId="1589772229" sldId="2134804370"/>
            <ac:cxnSpMk id="167" creationId="{0122CF1A-5863-D778-0232-C62877D9F62D}"/>
          </ac:cxnSpMkLst>
        </pc:cxnChg>
        <pc:cxnChg chg="add del mod ord replST">
          <ac:chgData name="Wenwen Zhang" userId="9dd81366-5d6f-445a-b031-6ea562624431" providerId="ADAL" clId="{1012AE1A-29B0-4E90-8835-842C30BC7D2A}" dt="2023-01-04T22:42:51.818" v="37831"/>
          <ac:cxnSpMkLst>
            <pc:docMk/>
            <pc:sldMk cId="1589772229" sldId="2134804370"/>
            <ac:cxnSpMk id="168" creationId="{BA7B6ED5-1E1E-AE9A-26C7-55CE06FDA703}"/>
          </ac:cxnSpMkLst>
        </pc:cxnChg>
        <pc:cxnChg chg="add del mod ord replST">
          <ac:chgData name="Wenwen Zhang" userId="9dd81366-5d6f-445a-b031-6ea562624431" providerId="ADAL" clId="{1012AE1A-29B0-4E90-8835-842C30BC7D2A}" dt="2023-01-04T22:42:51.819" v="37835"/>
          <ac:cxnSpMkLst>
            <pc:docMk/>
            <pc:sldMk cId="1589772229" sldId="2134804370"/>
            <ac:cxnSpMk id="169" creationId="{5F332CAD-BBF8-2047-F32A-D9C0479C60CD}"/>
          </ac:cxnSpMkLst>
        </pc:cxnChg>
        <pc:cxnChg chg="add del mod ord replST">
          <ac:chgData name="Wenwen Zhang" userId="9dd81366-5d6f-445a-b031-6ea562624431" providerId="ADAL" clId="{1012AE1A-29B0-4E90-8835-842C30BC7D2A}" dt="2023-01-04T22:45:23.321" v="39192"/>
          <ac:cxnSpMkLst>
            <pc:docMk/>
            <pc:sldMk cId="1589772229" sldId="2134804370"/>
            <ac:cxnSpMk id="170" creationId="{5EC8C698-2082-7645-8AA7-861029980492}"/>
          </ac:cxnSpMkLst>
        </pc:cxnChg>
        <pc:cxnChg chg="add del mod ord replST">
          <ac:chgData name="Wenwen Zhang" userId="9dd81366-5d6f-445a-b031-6ea562624431" providerId="ADAL" clId="{1012AE1A-29B0-4E90-8835-842C30BC7D2A}" dt="2023-01-04T22:45:23.322" v="39196"/>
          <ac:cxnSpMkLst>
            <pc:docMk/>
            <pc:sldMk cId="1589772229" sldId="2134804370"/>
            <ac:cxnSpMk id="171" creationId="{22D5E401-629F-73DA-F871-015B7871A695}"/>
          </ac:cxnSpMkLst>
        </pc:cxnChg>
        <pc:cxnChg chg="add del mod ord replST">
          <ac:chgData name="Wenwen Zhang" userId="9dd81366-5d6f-445a-b031-6ea562624431" providerId="ADAL" clId="{1012AE1A-29B0-4E90-8835-842C30BC7D2A}" dt="2023-01-04T22:42:51.835" v="37893"/>
          <ac:cxnSpMkLst>
            <pc:docMk/>
            <pc:sldMk cId="1589772229" sldId="2134804370"/>
            <ac:cxnSpMk id="172" creationId="{C70A10AF-A2DA-7B4C-113E-6A670A434F63}"/>
          </ac:cxnSpMkLst>
        </pc:cxnChg>
        <pc:cxnChg chg="add del mod ord replST">
          <ac:chgData name="Wenwen Zhang" userId="9dd81366-5d6f-445a-b031-6ea562624431" providerId="ADAL" clId="{1012AE1A-29B0-4E90-8835-842C30BC7D2A}" dt="2023-01-04T22:45:23.366" v="39289"/>
          <ac:cxnSpMkLst>
            <pc:docMk/>
            <pc:sldMk cId="1589772229" sldId="2134804370"/>
            <ac:cxnSpMk id="173" creationId="{3B1A06B1-0453-34E0-EDA6-86FB3A8D2D0D}"/>
          </ac:cxnSpMkLst>
        </pc:cxnChg>
        <pc:cxnChg chg="add del mod ord replST">
          <ac:chgData name="Wenwen Zhang" userId="9dd81366-5d6f-445a-b031-6ea562624431" providerId="ADAL" clId="{1012AE1A-29B0-4E90-8835-842C30BC7D2A}" dt="2023-01-04T22:42:51.838" v="37907"/>
          <ac:cxnSpMkLst>
            <pc:docMk/>
            <pc:sldMk cId="1589772229" sldId="2134804370"/>
            <ac:cxnSpMk id="174" creationId="{A387EE5D-485C-7B33-17BD-CC843D15CA21}"/>
          </ac:cxnSpMkLst>
        </pc:cxnChg>
        <pc:cxnChg chg="add del mod ord replST">
          <ac:chgData name="Wenwen Zhang" userId="9dd81366-5d6f-445a-b031-6ea562624431" providerId="ADAL" clId="{1012AE1A-29B0-4E90-8835-842C30BC7D2A}" dt="2023-01-04T22:42:51.843" v="37920"/>
          <ac:cxnSpMkLst>
            <pc:docMk/>
            <pc:sldMk cId="1589772229" sldId="2134804370"/>
            <ac:cxnSpMk id="175" creationId="{8BEB7D38-01DF-17C1-18D2-9E1C0C102038}"/>
          </ac:cxnSpMkLst>
        </pc:cxnChg>
        <pc:cxnChg chg="add del mod ord replST">
          <ac:chgData name="Wenwen Zhang" userId="9dd81366-5d6f-445a-b031-6ea562624431" providerId="ADAL" clId="{1012AE1A-29B0-4E90-8835-842C30BC7D2A}" dt="2023-01-04T22:45:23.376" v="39311"/>
          <ac:cxnSpMkLst>
            <pc:docMk/>
            <pc:sldMk cId="1589772229" sldId="2134804370"/>
            <ac:cxnSpMk id="176" creationId="{818D47F2-A5B6-A984-F251-14C642490815}"/>
          </ac:cxnSpMkLst>
        </pc:cxnChg>
        <pc:cxnChg chg="add del mod ord replST">
          <ac:chgData name="Wenwen Zhang" userId="9dd81366-5d6f-445a-b031-6ea562624431" providerId="ADAL" clId="{1012AE1A-29B0-4E90-8835-842C30BC7D2A}" dt="2023-01-04T22:42:51.847" v="37937"/>
          <ac:cxnSpMkLst>
            <pc:docMk/>
            <pc:sldMk cId="1589772229" sldId="2134804370"/>
            <ac:cxnSpMk id="177" creationId="{657E859A-9EE7-46A0-965D-3CB26E73C62C}"/>
          </ac:cxnSpMkLst>
        </pc:cxnChg>
        <pc:cxnChg chg="add del mod ord replST">
          <ac:chgData name="Wenwen Zhang" userId="9dd81366-5d6f-445a-b031-6ea562624431" providerId="ADAL" clId="{1012AE1A-29B0-4E90-8835-842C30BC7D2A}" dt="2023-01-04T22:42:51.848" v="37941"/>
          <ac:cxnSpMkLst>
            <pc:docMk/>
            <pc:sldMk cId="1589772229" sldId="2134804370"/>
            <ac:cxnSpMk id="178" creationId="{64181D59-AB3F-ECB0-AC9C-44E46F7ED7DE}"/>
          </ac:cxnSpMkLst>
        </pc:cxnChg>
        <pc:cxnChg chg="add del mod ord replST">
          <ac:chgData name="Wenwen Zhang" userId="9dd81366-5d6f-445a-b031-6ea562624431" providerId="ADAL" clId="{1012AE1A-29B0-4E90-8835-842C30BC7D2A}" dt="2023-01-04T22:45:23.386" v="39331"/>
          <ac:cxnSpMkLst>
            <pc:docMk/>
            <pc:sldMk cId="1589772229" sldId="2134804370"/>
            <ac:cxnSpMk id="179" creationId="{47633804-ECC8-4201-2463-C3F17729FD27}"/>
          </ac:cxnSpMkLst>
        </pc:cxnChg>
        <pc:cxnChg chg="add del mod ord replST">
          <ac:chgData name="Wenwen Zhang" userId="9dd81366-5d6f-445a-b031-6ea562624431" providerId="ADAL" clId="{1012AE1A-29B0-4E90-8835-842C30BC7D2A}" dt="2023-01-04T22:46:40.338" v="42264"/>
          <ac:cxnSpMkLst>
            <pc:docMk/>
            <pc:sldMk cId="1589772229" sldId="2134804370"/>
            <ac:cxnSpMk id="197" creationId="{4FE4B844-85C7-B82E-2FAC-EBF81D27399A}"/>
          </ac:cxnSpMkLst>
        </pc:cxnChg>
        <pc:cxnChg chg="add del mod ord replST">
          <ac:chgData name="Wenwen Zhang" userId="9dd81366-5d6f-445a-b031-6ea562624431" providerId="ADAL" clId="{1012AE1A-29B0-4E90-8835-842C30BC7D2A}" dt="2023-01-04T22:55:51.762" v="53975"/>
          <ac:cxnSpMkLst>
            <pc:docMk/>
            <pc:sldMk cId="1589772229" sldId="2134804370"/>
            <ac:cxnSpMk id="327" creationId="{561C9BD4-C28B-6CC8-2E8B-F0952075814D}"/>
          </ac:cxnSpMkLst>
        </pc:cxnChg>
        <pc:cxnChg chg="add mod ord replST">
          <ac:chgData name="Wenwen Zhang" userId="9dd81366-5d6f-445a-b031-6ea562624431" providerId="ADAL" clId="{1012AE1A-29B0-4E90-8835-842C30BC7D2A}" dt="2023-01-05T15:00:39.502" v="94110"/>
          <ac:cxnSpMkLst>
            <pc:docMk/>
            <pc:sldMk cId="1589772229" sldId="2134804370"/>
            <ac:cxnSpMk id="348" creationId="{4AB1BCB8-D420-96C6-D6AF-C794BC493EBF}"/>
          </ac:cxnSpMkLst>
        </pc:cxnChg>
        <pc:cxnChg chg="add del mod ord replST">
          <ac:chgData name="Wenwen Zhang" userId="9dd81366-5d6f-445a-b031-6ea562624431" providerId="ADAL" clId="{1012AE1A-29B0-4E90-8835-842C30BC7D2A}" dt="2023-01-04T23:52:09.657" v="55688"/>
          <ac:cxnSpMkLst>
            <pc:docMk/>
            <pc:sldMk cId="1589772229" sldId="2134804370"/>
            <ac:cxnSpMk id="360" creationId="{048670A0-3E9F-32CC-B8FB-B9228C9B1C6F}"/>
          </ac:cxnSpMkLst>
        </pc:cxnChg>
        <pc:cxnChg chg="add del mod ord replST">
          <ac:chgData name="Wenwen Zhang" userId="9dd81366-5d6f-445a-b031-6ea562624431" providerId="ADAL" clId="{1012AE1A-29B0-4E90-8835-842C30BC7D2A}" dt="2023-01-05T00:50:23.603" v="68043"/>
          <ac:cxnSpMkLst>
            <pc:docMk/>
            <pc:sldMk cId="1589772229" sldId="2134804370"/>
            <ac:cxnSpMk id="462" creationId="{151794D9-CA7C-2395-5224-D4C37DDCB144}"/>
          </ac:cxnSpMkLst>
        </pc:cxnChg>
        <pc:cxnChg chg="add del mod ord replST">
          <ac:chgData name="Wenwen Zhang" userId="9dd81366-5d6f-445a-b031-6ea562624431" providerId="ADAL" clId="{1012AE1A-29B0-4E90-8835-842C30BC7D2A}" dt="2023-01-05T00:50:23.594" v="68031"/>
          <ac:cxnSpMkLst>
            <pc:docMk/>
            <pc:sldMk cId="1589772229" sldId="2134804370"/>
            <ac:cxnSpMk id="463" creationId="{C83399C9-BD00-87CF-C0DF-395CCEA1B94F}"/>
          </ac:cxnSpMkLst>
        </pc:cxnChg>
        <pc:cxnChg chg="add del mod ord replST">
          <ac:chgData name="Wenwen Zhang" userId="9dd81366-5d6f-445a-b031-6ea562624431" providerId="ADAL" clId="{1012AE1A-29B0-4E90-8835-842C30BC7D2A}" dt="2023-01-05T00:33:49.375" v="62098"/>
          <ac:cxnSpMkLst>
            <pc:docMk/>
            <pc:sldMk cId="1589772229" sldId="2134804370"/>
            <ac:cxnSpMk id="464" creationId="{C602D7E2-AC7F-F419-8396-0B784A156405}"/>
          </ac:cxnSpMkLst>
        </pc:cxnChg>
        <pc:cxnChg chg="add del mod ord replST">
          <ac:chgData name="Wenwen Zhang" userId="9dd81366-5d6f-445a-b031-6ea562624431" providerId="ADAL" clId="{1012AE1A-29B0-4E90-8835-842C30BC7D2A}" dt="2023-01-05T00:50:23.599" v="68037"/>
          <ac:cxnSpMkLst>
            <pc:docMk/>
            <pc:sldMk cId="1589772229" sldId="2134804370"/>
            <ac:cxnSpMk id="475" creationId="{C00B1BAF-1AF2-B917-D7A6-6C369DF7DD56}"/>
          </ac:cxnSpMkLst>
        </pc:cxnChg>
        <pc:cxnChg chg="add del mod ord replST">
          <ac:chgData name="Wenwen Zhang" userId="9dd81366-5d6f-445a-b031-6ea562624431" providerId="ADAL" clId="{1012AE1A-29B0-4E90-8835-842C30BC7D2A}" dt="2023-01-05T00:50:23.589" v="68025"/>
          <ac:cxnSpMkLst>
            <pc:docMk/>
            <pc:sldMk cId="1589772229" sldId="2134804370"/>
            <ac:cxnSpMk id="476" creationId="{C01E3AE9-07D2-65DD-F180-1CCEACBC00B6}"/>
          </ac:cxnSpMkLst>
        </pc:cxnChg>
        <pc:cxnChg chg="add del mod ord replST">
          <ac:chgData name="Wenwen Zhang" userId="9dd81366-5d6f-445a-b031-6ea562624431" providerId="ADAL" clId="{1012AE1A-29B0-4E90-8835-842C30BC7D2A}" dt="2023-01-05T00:36:35.485" v="65007"/>
          <ac:cxnSpMkLst>
            <pc:docMk/>
            <pc:sldMk cId="1589772229" sldId="2134804370"/>
            <ac:cxnSpMk id="484" creationId="{176D0781-5B36-45A0-FA15-00F3D5E756D7}"/>
          </ac:cxnSpMkLst>
        </pc:cxnChg>
        <pc:cxnChg chg="add del mod ord replST">
          <ac:chgData name="Wenwen Zhang" userId="9dd81366-5d6f-445a-b031-6ea562624431" providerId="ADAL" clId="{1012AE1A-29B0-4E90-8835-842C30BC7D2A}" dt="2023-01-05T00:36:35.498" v="65010"/>
          <ac:cxnSpMkLst>
            <pc:docMk/>
            <pc:sldMk cId="1589772229" sldId="2134804370"/>
            <ac:cxnSpMk id="485" creationId="{16952BC7-211E-F681-5699-1A72638A1E2A}"/>
          </ac:cxnSpMkLst>
        </pc:cxnChg>
        <pc:cxnChg chg="add del mod ord replST">
          <ac:chgData name="Wenwen Zhang" userId="9dd81366-5d6f-445a-b031-6ea562624431" providerId="ADAL" clId="{1012AE1A-29B0-4E90-8835-842C30BC7D2A}" dt="2023-01-05T14:58:05.613" v="93620"/>
          <ac:cxnSpMkLst>
            <pc:docMk/>
            <pc:sldMk cId="1589772229" sldId="2134804370"/>
            <ac:cxnSpMk id="501" creationId="{DBB75AD4-B08A-DFB6-D9BF-3BBFA5B407D9}"/>
          </ac:cxnSpMkLst>
        </pc:cxnChg>
        <pc:cxnChg chg="add del mod ord replST">
          <ac:chgData name="Wenwen Zhang" userId="9dd81366-5d6f-445a-b031-6ea562624431" providerId="ADAL" clId="{1012AE1A-29B0-4E90-8835-842C30BC7D2A}" dt="2023-01-05T00:50:23.601" v="68040"/>
          <ac:cxnSpMkLst>
            <pc:docMk/>
            <pc:sldMk cId="1589772229" sldId="2134804370"/>
            <ac:cxnSpMk id="517" creationId="{37CCA06B-1C36-77FF-A6E2-B63F877CABBB}"/>
          </ac:cxnSpMkLst>
        </pc:cxnChg>
        <pc:cxnChg chg="add del mod ord replST">
          <ac:chgData name="Wenwen Zhang" userId="9dd81366-5d6f-445a-b031-6ea562624431" providerId="ADAL" clId="{1012AE1A-29B0-4E90-8835-842C30BC7D2A}" dt="2023-01-05T00:50:23.596" v="68034"/>
          <ac:cxnSpMkLst>
            <pc:docMk/>
            <pc:sldMk cId="1589772229" sldId="2134804370"/>
            <ac:cxnSpMk id="518" creationId="{ECDB2650-66BD-72D6-6F70-02E68D17E51C}"/>
          </ac:cxnSpMkLst>
        </pc:cxnChg>
        <pc:cxnChg chg="add del mod ord replST">
          <ac:chgData name="Wenwen Zhang" userId="9dd81366-5d6f-445a-b031-6ea562624431" providerId="ADAL" clId="{1012AE1A-29B0-4E90-8835-842C30BC7D2A}" dt="2023-01-05T00:50:23.591" v="68028"/>
          <ac:cxnSpMkLst>
            <pc:docMk/>
            <pc:sldMk cId="1589772229" sldId="2134804370"/>
            <ac:cxnSpMk id="519" creationId="{F4C6BDC2-6AC4-174E-892F-9DEF61E25E08}"/>
          </ac:cxnSpMkLst>
        </pc:cxnChg>
        <pc:cxnChg chg="add del mod ord replST">
          <ac:chgData name="Wenwen Zhang" userId="9dd81366-5d6f-445a-b031-6ea562624431" providerId="ADAL" clId="{1012AE1A-29B0-4E90-8835-842C30BC7D2A}" dt="2023-01-05T14:58:05.629" v="93647"/>
          <ac:cxnSpMkLst>
            <pc:docMk/>
            <pc:sldMk cId="1589772229" sldId="2134804370"/>
            <ac:cxnSpMk id="707" creationId="{DBD57B0A-A425-470C-37A5-4CAA92761A4A}"/>
          </ac:cxnSpMkLst>
        </pc:cxnChg>
        <pc:cxnChg chg="add del mod ord replST">
          <ac:chgData name="Wenwen Zhang" userId="9dd81366-5d6f-445a-b031-6ea562624431" providerId="ADAL" clId="{1012AE1A-29B0-4E90-8835-842C30BC7D2A}" dt="2023-01-05T14:58:05.628" v="93644"/>
          <ac:cxnSpMkLst>
            <pc:docMk/>
            <pc:sldMk cId="1589772229" sldId="2134804370"/>
            <ac:cxnSpMk id="708" creationId="{2030C978-78E8-AD5B-B759-C975D2124CE0}"/>
          </ac:cxnSpMkLst>
        </pc:cxnChg>
        <pc:cxnChg chg="add del mod ord replST">
          <ac:chgData name="Wenwen Zhang" userId="9dd81366-5d6f-445a-b031-6ea562624431" providerId="ADAL" clId="{1012AE1A-29B0-4E90-8835-842C30BC7D2A}" dt="2023-01-05T14:58:05.626" v="93641"/>
          <ac:cxnSpMkLst>
            <pc:docMk/>
            <pc:sldMk cId="1589772229" sldId="2134804370"/>
            <ac:cxnSpMk id="709" creationId="{24D7DBA6-729A-A197-BAE4-7272E08B47FF}"/>
          </ac:cxnSpMkLst>
        </pc:cxnChg>
        <pc:cxnChg chg="add del mod ord replST">
          <ac:chgData name="Wenwen Zhang" userId="9dd81366-5d6f-445a-b031-6ea562624431" providerId="ADAL" clId="{1012AE1A-29B0-4E90-8835-842C30BC7D2A}" dt="2023-01-05T14:58:05.625" v="93638"/>
          <ac:cxnSpMkLst>
            <pc:docMk/>
            <pc:sldMk cId="1589772229" sldId="2134804370"/>
            <ac:cxnSpMk id="710" creationId="{A8548CE3-6298-0A0E-C2A7-65D5432B354F}"/>
          </ac:cxnSpMkLst>
        </pc:cxnChg>
        <pc:cxnChg chg="add del mod ord replST">
          <ac:chgData name="Wenwen Zhang" userId="9dd81366-5d6f-445a-b031-6ea562624431" providerId="ADAL" clId="{1012AE1A-29B0-4E90-8835-842C30BC7D2A}" dt="2023-01-05T14:58:05.622" v="93635"/>
          <ac:cxnSpMkLst>
            <pc:docMk/>
            <pc:sldMk cId="1589772229" sldId="2134804370"/>
            <ac:cxnSpMk id="711" creationId="{35582037-6A55-9FA3-C5DB-2197402E3AD0}"/>
          </ac:cxnSpMkLst>
        </pc:cxnChg>
        <pc:cxnChg chg="add del mod ord replST">
          <ac:chgData name="Wenwen Zhang" userId="9dd81366-5d6f-445a-b031-6ea562624431" providerId="ADAL" clId="{1012AE1A-29B0-4E90-8835-842C30BC7D2A}" dt="2023-01-05T14:58:05.621" v="93632"/>
          <ac:cxnSpMkLst>
            <pc:docMk/>
            <pc:sldMk cId="1589772229" sldId="2134804370"/>
            <ac:cxnSpMk id="712" creationId="{20C8684F-03C3-FBA6-2CD9-12F3A939C1C9}"/>
          </ac:cxnSpMkLst>
        </pc:cxnChg>
        <pc:cxnChg chg="add del mod ord replST">
          <ac:chgData name="Wenwen Zhang" userId="9dd81366-5d6f-445a-b031-6ea562624431" providerId="ADAL" clId="{1012AE1A-29B0-4E90-8835-842C30BC7D2A}" dt="2023-01-05T14:58:05.620" v="93629"/>
          <ac:cxnSpMkLst>
            <pc:docMk/>
            <pc:sldMk cId="1589772229" sldId="2134804370"/>
            <ac:cxnSpMk id="713" creationId="{9DBA9027-761D-A58C-8B99-D172EE465BA9}"/>
          </ac:cxnSpMkLst>
        </pc:cxnChg>
        <pc:cxnChg chg="add del mod ord replST">
          <ac:chgData name="Wenwen Zhang" userId="9dd81366-5d6f-445a-b031-6ea562624431" providerId="ADAL" clId="{1012AE1A-29B0-4E90-8835-842C30BC7D2A}" dt="2023-01-05T14:58:05.610" v="93616"/>
          <ac:cxnSpMkLst>
            <pc:docMk/>
            <pc:sldMk cId="1589772229" sldId="2134804370"/>
            <ac:cxnSpMk id="725" creationId="{17749CE5-E26F-B179-6743-68D51C28CDE2}"/>
          </ac:cxnSpMkLst>
        </pc:cxnChg>
        <pc:cxnChg chg="add del mod ord replST">
          <ac:chgData name="Wenwen Zhang" userId="9dd81366-5d6f-445a-b031-6ea562624431" providerId="ADAL" clId="{1012AE1A-29B0-4E90-8835-842C30BC7D2A}" dt="2023-01-05T14:58:05.609" v="93614"/>
          <ac:cxnSpMkLst>
            <pc:docMk/>
            <pc:sldMk cId="1589772229" sldId="2134804370"/>
            <ac:cxnSpMk id="726" creationId="{85139736-8807-1372-742A-9EE21BF2353A}"/>
          </ac:cxnSpMkLst>
        </pc:cxnChg>
        <pc:cxnChg chg="add del mod ord replST">
          <ac:chgData name="Wenwen Zhang" userId="9dd81366-5d6f-445a-b031-6ea562624431" providerId="ADAL" clId="{1012AE1A-29B0-4E90-8835-842C30BC7D2A}" dt="2023-01-05T14:58:05.608" v="93612"/>
          <ac:cxnSpMkLst>
            <pc:docMk/>
            <pc:sldMk cId="1589772229" sldId="2134804370"/>
            <ac:cxnSpMk id="727" creationId="{35FBE615-96CE-D70D-67DC-F14CADDDC679}"/>
          </ac:cxnSpMkLst>
        </pc:cxnChg>
        <pc:cxnChg chg="add del mod ord">
          <ac:chgData name="Wenwen Zhang" userId="9dd81366-5d6f-445a-b031-6ea562624431" providerId="ADAL" clId="{1012AE1A-29B0-4E90-8835-842C30BC7D2A}" dt="2023-01-05T14:58:08.209" v="93656" actId="478"/>
          <ac:cxnSpMkLst>
            <pc:docMk/>
            <pc:sldMk cId="1589772229" sldId="2134804370"/>
            <ac:cxnSpMk id="738" creationId="{6DEA5937-6C22-DC5A-9378-BE62192C1102}"/>
          </ac:cxnSpMkLst>
        </pc:cxnChg>
        <pc:cxnChg chg="add del mod ord replST">
          <ac:chgData name="Wenwen Zhang" userId="9dd81366-5d6f-445a-b031-6ea562624431" providerId="ADAL" clId="{1012AE1A-29B0-4E90-8835-842C30BC7D2A}" dt="2023-01-05T14:58:05.617" v="93625"/>
          <ac:cxnSpMkLst>
            <pc:docMk/>
            <pc:sldMk cId="1589772229" sldId="2134804370"/>
            <ac:cxnSpMk id="744" creationId="{1F63D2A1-1E01-1949-9A68-2DE47055080D}"/>
          </ac:cxnSpMkLst>
        </pc:cxnChg>
        <pc:cxnChg chg="add del mod ord replST">
          <ac:chgData name="Wenwen Zhang" userId="9dd81366-5d6f-445a-b031-6ea562624431" providerId="ADAL" clId="{1012AE1A-29B0-4E90-8835-842C30BC7D2A}" dt="2023-01-05T14:58:05.614" v="93622"/>
          <ac:cxnSpMkLst>
            <pc:docMk/>
            <pc:sldMk cId="1589772229" sldId="2134804370"/>
            <ac:cxnSpMk id="745" creationId="{D14C1BE8-FCB1-447B-EF30-A96B0BD94D20}"/>
          </ac:cxnSpMkLst>
        </pc:cxnChg>
      </pc:sldChg>
      <pc:sldMasterChg chg="delSldLayout">
        <pc:chgData name="Wenwen Zhang" userId="9dd81366-5d6f-445a-b031-6ea562624431" providerId="ADAL" clId="{1012AE1A-29B0-4E90-8835-842C30BC7D2A}" dt="2023-01-05T13:43:38.769" v="92250" actId="2696"/>
        <pc:sldMasterMkLst>
          <pc:docMk/>
          <pc:sldMasterMk cId="1303893050" sldId="2147483648"/>
        </pc:sldMasterMkLst>
        <pc:sldLayoutChg chg="del">
          <pc:chgData name="Wenwen Zhang" userId="9dd81366-5d6f-445a-b031-6ea562624431" providerId="ADAL" clId="{1012AE1A-29B0-4E90-8835-842C30BC7D2A}" dt="2023-01-05T13:43:38.769" v="92250" actId="2696"/>
          <pc:sldLayoutMkLst>
            <pc:docMk/>
            <pc:sldMasterMk cId="1303893050" sldId="2147483648"/>
            <pc:sldLayoutMk cId="1752702320" sldId="2147483678"/>
          </pc:sldLayoutMkLst>
        </pc:sldLayoutChg>
      </pc:sldMasterChg>
    </pc:docChg>
  </pc:docChgLst>
  <pc:docChgLst>
    <pc:chgData name="Peter Sand" userId="618d1f82-e883-45b7-977f-7a2bc2ca08e9" providerId="ADAL" clId="{0579848E-6656-4A3C-AB43-B1A3B0133549}"/>
    <pc:docChg chg="undo custSel addSld delSld modSld sldOrd modSection">
      <pc:chgData name="Peter Sand" userId="618d1f82-e883-45b7-977f-7a2bc2ca08e9" providerId="ADAL" clId="{0579848E-6656-4A3C-AB43-B1A3B0133549}" dt="2023-03-09T14:56:06.074" v="84"/>
      <pc:docMkLst>
        <pc:docMk/>
      </pc:docMkLst>
      <pc:sldChg chg="modSp mod">
        <pc:chgData name="Peter Sand" userId="618d1f82-e883-45b7-977f-7a2bc2ca08e9" providerId="ADAL" clId="{0579848E-6656-4A3C-AB43-B1A3B0133549}" dt="2023-03-07T16:30:47.319" v="1" actId="20577"/>
        <pc:sldMkLst>
          <pc:docMk/>
          <pc:sldMk cId="95124222" sldId="326"/>
        </pc:sldMkLst>
        <pc:spChg chg="mod">
          <ac:chgData name="Peter Sand" userId="618d1f82-e883-45b7-977f-7a2bc2ca08e9" providerId="ADAL" clId="{0579848E-6656-4A3C-AB43-B1A3B0133549}" dt="2023-03-07T16:30:47.319" v="1" actId="20577"/>
          <ac:spMkLst>
            <pc:docMk/>
            <pc:sldMk cId="95124222" sldId="326"/>
            <ac:spMk id="38" creationId="{9AA87FE2-26FF-55F3-D2DF-AD7FF5DB9D6D}"/>
          </ac:spMkLst>
        </pc:spChg>
      </pc:sldChg>
      <pc:sldChg chg="modNotesTx">
        <pc:chgData name="Peter Sand" userId="618d1f82-e883-45b7-977f-7a2bc2ca08e9" providerId="ADAL" clId="{0579848E-6656-4A3C-AB43-B1A3B0133549}" dt="2023-03-07T16:46:00.196" v="74" actId="20577"/>
        <pc:sldMkLst>
          <pc:docMk/>
          <pc:sldMk cId="574567390" sldId="2134804376"/>
        </pc:sldMkLst>
      </pc:sldChg>
      <pc:sldChg chg="ord">
        <pc:chgData name="Peter Sand" userId="618d1f82-e883-45b7-977f-7a2bc2ca08e9" providerId="ADAL" clId="{0579848E-6656-4A3C-AB43-B1A3B0133549}" dt="2023-03-09T14:56:06.074" v="84"/>
        <pc:sldMkLst>
          <pc:docMk/>
          <pc:sldMk cId="229238195" sldId="2134804379"/>
        </pc:sldMkLst>
      </pc:sldChg>
      <pc:sldChg chg="new del">
        <pc:chgData name="Peter Sand" userId="618d1f82-e883-45b7-977f-7a2bc2ca08e9" providerId="ADAL" clId="{0579848E-6656-4A3C-AB43-B1A3B0133549}" dt="2023-03-07T16:41:34.929" v="3" actId="47"/>
        <pc:sldMkLst>
          <pc:docMk/>
          <pc:sldMk cId="712068512" sldId="2134804382"/>
        </pc:sldMkLst>
      </pc:sldChg>
      <pc:sldChg chg="addSp delSp modSp new mod ord">
        <pc:chgData name="Peter Sand" userId="618d1f82-e883-45b7-977f-7a2bc2ca08e9" providerId="ADAL" clId="{0579848E-6656-4A3C-AB43-B1A3B0133549}" dt="2023-03-09T14:55:34.972" v="82"/>
        <pc:sldMkLst>
          <pc:docMk/>
          <pc:sldMk cId="2362765680" sldId="2134804382"/>
        </pc:sldMkLst>
        <pc:graphicFrameChg chg="add del modGraphic">
          <ac:chgData name="Peter Sand" userId="618d1f82-e883-45b7-977f-7a2bc2ca08e9" providerId="ADAL" clId="{0579848E-6656-4A3C-AB43-B1A3B0133549}" dt="2023-03-09T14:55:31.947" v="80" actId="27309"/>
          <ac:graphicFrameMkLst>
            <pc:docMk/>
            <pc:sldMk cId="2362765680" sldId="2134804382"/>
            <ac:graphicFrameMk id="6" creationId="{0A50C2E3-23FE-ABC8-7C2D-4809E7E213AF}"/>
          </ac:graphicFrameMkLst>
        </pc:graphicFrameChg>
        <pc:picChg chg="add">
          <ac:chgData name="Peter Sand" userId="618d1f82-e883-45b7-977f-7a2bc2ca08e9" providerId="ADAL" clId="{0579848E-6656-4A3C-AB43-B1A3B0133549}" dt="2023-03-09T13:27:13.011" v="76" actId="22"/>
          <ac:picMkLst>
            <pc:docMk/>
            <pc:sldMk cId="2362765680" sldId="2134804382"/>
            <ac:picMk id="3" creationId="{58A145C7-C8D5-5409-7C2C-FB6D61066B98}"/>
          </ac:picMkLst>
        </pc:pic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567196757093856E-2"/>
          <c:y val="5.9095106186518927E-2"/>
          <c:w val="0.90021827252884312"/>
          <c:h val="0.88088642659279781"/>
        </c:manualLayout>
      </c:layout>
      <c:barChart>
        <c:barDir val="col"/>
        <c:grouping val="stacked"/>
        <c:varyColors val="0"/>
        <c:ser>
          <c:idx val="0"/>
          <c:order val="0"/>
          <c:spPr>
            <a:solidFill>
              <a:srgbClr val="0065FF"/>
            </a:solidFill>
            <a:ln>
              <a:noFill/>
            </a:ln>
          </c:spPr>
          <c:invertIfNegative val="0"/>
          <c:dLbls>
            <c:dLbl>
              <c:idx val="0"/>
              <c:layout>
                <c:manualLayout>
                  <c:x val="0"/>
                  <c:y val="-0.11080332409972299"/>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279-440B-B5D9-C6442B3C0DDC}"/>
                </c:ext>
              </c:extLst>
            </c:dLbl>
            <c:dLbl>
              <c:idx val="1"/>
              <c:layout>
                <c:manualLayout>
                  <c:x val="0"/>
                  <c:y val="-0.12927054478301014"/>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279-440B-B5D9-C6442B3C0DDC}"/>
                </c:ext>
              </c:extLst>
            </c:dLbl>
            <c:dLbl>
              <c:idx val="2"/>
              <c:layout>
                <c:manualLayout>
                  <c:x val="0"/>
                  <c:y val="-0.16620498614958448"/>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279-440B-B5D9-C6442B3C0DDC}"/>
                </c:ext>
              </c:extLst>
            </c:dLbl>
            <c:dLbl>
              <c:idx val="3"/>
              <c:layout>
                <c:manualLayout>
                  <c:x val="0"/>
                  <c:y val="-0.16435826408125578"/>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279-440B-B5D9-C6442B3C0DDC}"/>
                </c:ext>
              </c:extLst>
            </c:dLbl>
            <c:dLbl>
              <c:idx val="4"/>
              <c:layout>
                <c:manualLayout>
                  <c:x val="0"/>
                  <c:y val="-0.16066481994459833"/>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279-440B-B5D9-C6442B3C0DDC}"/>
                </c:ext>
              </c:extLst>
            </c:dLbl>
            <c:dLbl>
              <c:idx val="5"/>
              <c:layout>
                <c:manualLayout>
                  <c:x val="0"/>
                  <c:y val="-0.1505078485687904"/>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279-440B-B5D9-C6442B3C0DDC}"/>
                </c:ext>
              </c:extLst>
            </c:dLbl>
            <c:dLbl>
              <c:idx val="6"/>
              <c:layout>
                <c:manualLayout>
                  <c:x val="0"/>
                  <c:y val="-0.13850415512465375"/>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279-440B-B5D9-C6442B3C0DDC}"/>
                </c:ext>
              </c:extLst>
            </c:dLbl>
            <c:dLbl>
              <c:idx val="7"/>
              <c:layout>
                <c:manualLayout>
                  <c:x val="0"/>
                  <c:y val="-0.14127423822714683"/>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279-440B-B5D9-C6442B3C0DDC}"/>
                </c:ext>
              </c:extLst>
            </c:dLbl>
            <c:dLbl>
              <c:idx val="8"/>
              <c:layout>
                <c:manualLayout>
                  <c:x val="0"/>
                  <c:y val="-0.14219759926131118"/>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279-440B-B5D9-C6442B3C0DDC}"/>
                </c:ext>
              </c:extLst>
            </c:dLbl>
            <c:dLbl>
              <c:idx val="9"/>
              <c:layout>
                <c:manualLayout>
                  <c:x val="0"/>
                  <c:y val="-0.11634349030470914"/>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279-440B-B5D9-C6442B3C0DDC}"/>
                </c:ext>
              </c:extLst>
            </c:dLbl>
            <c:dLbl>
              <c:idx val="10"/>
              <c:layout>
                <c:manualLayout>
                  <c:x val="0"/>
                  <c:y val="-0.14496768236380425"/>
                </c:manualLayout>
              </c:layout>
              <c:numFmt formatCode="#,##0;&quot;-&quot;#,##0" sourceLinked="0"/>
              <c:spPr>
                <a:noFill/>
                <a:ln>
                  <a:noFill/>
                </a:ln>
              </c:spPr>
              <c:txPr>
                <a:bodyPr wrap="none"/>
                <a:lstStyle/>
                <a:p>
                  <a:pPr>
                    <a:defRPr sz="1050" kern="1200">
                      <a:solidFill>
                        <a:srgbClr val="10183A"/>
                      </a:solidFill>
                      <a:latin typeface="Poppins"/>
                      <a:ea typeface="+mn-ea"/>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279-440B-B5D9-C6442B3C0DDC}"/>
                </c:ext>
              </c:extLst>
            </c:dLbl>
            <c:dLbl>
              <c:idx val="11"/>
              <c:layout>
                <c:manualLayout>
                  <c:x val="0"/>
                  <c:y val="-0.14496768236380425"/>
                </c:manualLayout>
              </c:layout>
              <c:numFmt formatCode="#,##0;&quot;-&quot;#,##0" sourceLinked="0"/>
              <c:spPr>
                <a:noFill/>
                <a:ln>
                  <a:noFill/>
                </a:ln>
              </c:spPr>
              <c:txPr>
                <a:bodyPr wrap="none"/>
                <a:lstStyle/>
                <a:p>
                  <a:pPr>
                    <a:defRPr sz="1050" kern="1200">
                      <a:solidFill>
                        <a:srgbClr val="10183A"/>
                      </a:solidFill>
                      <a:latin typeface="Poppins"/>
                      <a:ea typeface="+mn-ea"/>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279-440B-B5D9-C6442B3C0DDC}"/>
                </c:ext>
              </c:extLst>
            </c:dLbl>
            <c:dLbl>
              <c:idx val="12"/>
              <c:layout>
                <c:manualLayout>
                  <c:x val="0"/>
                  <c:y val="-0.15420129270544783"/>
                </c:manualLayout>
              </c:layout>
              <c:numFmt formatCode="#,##0;&quot;-&quot;#,##0" sourceLinked="0"/>
              <c:spPr>
                <a:noFill/>
                <a:ln>
                  <a:noFill/>
                </a:ln>
              </c:spPr>
              <c:txPr>
                <a:bodyPr wrap="none"/>
                <a:lstStyle/>
                <a:p>
                  <a:pPr>
                    <a:defRPr sz="1050" kern="1200">
                      <a:solidFill>
                        <a:srgbClr val="10183A"/>
                      </a:solidFill>
                      <a:latin typeface="Poppins"/>
                      <a:ea typeface="+mn-ea"/>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279-440B-B5D9-C6442B3C0DD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4.5</c:v>
                </c:pt>
                <c:pt idx="1">
                  <c:v>-5.9999999999999947</c:v>
                </c:pt>
                <c:pt idx="2">
                  <c:v>-9.0000000000000071</c:v>
                </c:pt>
                <c:pt idx="3">
                  <c:v>-8.7500000000000018</c:v>
                </c:pt>
                <c:pt idx="4">
                  <c:v>-8.5000000000000178</c:v>
                </c:pt>
                <c:pt idx="5">
                  <c:v>-7.7500000000000018</c:v>
                </c:pt>
                <c:pt idx="6">
                  <c:v>-6.7500000000000115</c:v>
                </c:pt>
                <c:pt idx="7">
                  <c:v>-7.0000000000000062</c:v>
                </c:pt>
                <c:pt idx="8">
                  <c:v>-7.0565046362246804</c:v>
                </c:pt>
                <c:pt idx="9">
                  <c:v>-4.9994767415913799</c:v>
                </c:pt>
                <c:pt idx="10">
                  <c:v>-7.3064816225040463</c:v>
                </c:pt>
                <c:pt idx="11">
                  <c:v>-7.2649999999999881</c:v>
                </c:pt>
                <c:pt idx="12">
                  <c:v>-8.0450000000000017</c:v>
                </c:pt>
              </c:numCache>
            </c:numRef>
          </c:val>
          <c:extLst>
            <c:ext xmlns:c16="http://schemas.microsoft.com/office/drawing/2014/chart" uri="{C3380CC4-5D6E-409C-BE32-E72D297353CC}">
              <c16:uniqueId val="{0000000D-7279-440B-B5D9-C6442B3C0DDC}"/>
            </c:ext>
          </c:extLst>
        </c:ser>
        <c:dLbls>
          <c:showLegendKey val="0"/>
          <c:showVal val="0"/>
          <c:showCatName val="0"/>
          <c:showSerName val="0"/>
          <c:showPercent val="0"/>
          <c:showBubbleSize val="0"/>
        </c:dLbls>
        <c:gapWidth val="80"/>
        <c:overlap val="100"/>
        <c:axId val="1812972303"/>
        <c:axId val="1"/>
      </c:barChart>
      <c:lineChart>
        <c:grouping val="standard"/>
        <c:varyColors val="0"/>
        <c:ser>
          <c:idx val="1"/>
          <c:order val="1"/>
          <c:spPr>
            <a:ln w="28575" algn="ctr">
              <a:solidFill>
                <a:srgbClr val="CF00E8"/>
              </a:solidFill>
              <a:prstDash val="solid"/>
            </a:ln>
          </c:spPr>
          <c:marker>
            <c:symbol val="none"/>
          </c:marker>
          <c:dLbls>
            <c:dLbl>
              <c:idx val="12"/>
              <c:layout>
                <c:manualLayout>
                  <c:x val="0"/>
                  <c:y val="-7.5715604801477376E-2"/>
                </c:manualLayout>
              </c:layout>
              <c:numFmt formatCode="#,##0;&quot;-&quot;#,##0" sourceLinked="0"/>
              <c:spPr>
                <a:noFill/>
                <a:ln>
                  <a:noFill/>
                </a:ln>
              </c:spPr>
              <c:txPr>
                <a:bodyPr wrap="none"/>
                <a:lstStyle/>
                <a:p>
                  <a:pPr>
                    <a:defRPr sz="1050" kern="1200">
                      <a:solidFill>
                        <a:schemeClr val="bg1"/>
                      </a:solidFill>
                      <a:latin typeface="Poppins"/>
                      <a:ea typeface="+mn-ea"/>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279-440B-B5D9-C6442B3C0DD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1.7999999999999998</c:v>
                </c:pt>
                <c:pt idx="1">
                  <c:v>0.25000000000000577</c:v>
                </c:pt>
                <c:pt idx="2">
                  <c:v>0</c:v>
                </c:pt>
                <c:pt idx="3">
                  <c:v>-2.2500000000000075</c:v>
                </c:pt>
                <c:pt idx="4">
                  <c:v>-1.5000000000000124</c:v>
                </c:pt>
                <c:pt idx="5">
                  <c:v>-3.2499999999999973</c:v>
                </c:pt>
                <c:pt idx="6">
                  <c:v>-1.5000000000000013</c:v>
                </c:pt>
                <c:pt idx="7">
                  <c:v>-2.2499999999999964</c:v>
                </c:pt>
                <c:pt idx="8">
                  <c:v>-1</c:v>
                </c:pt>
                <c:pt idx="9">
                  <c:v>-2.2237159910915461</c:v>
                </c:pt>
                <c:pt idx="10">
                  <c:v>-5.3199058105860786</c:v>
                </c:pt>
                <c:pt idx="11">
                  <c:v>-5.3624999999999918</c:v>
                </c:pt>
                <c:pt idx="12">
                  <c:v>-5.4599999999999982</c:v>
                </c:pt>
              </c:numCache>
            </c:numRef>
          </c:val>
          <c:smooth val="0"/>
          <c:extLst>
            <c:ext xmlns:c16="http://schemas.microsoft.com/office/drawing/2014/chart" uri="{C3380CC4-5D6E-409C-BE32-E72D297353CC}">
              <c16:uniqueId val="{0000000F-7279-440B-B5D9-C6442B3C0DDC}"/>
            </c:ext>
          </c:extLst>
        </c:ser>
        <c:dLbls>
          <c:showLegendKey val="0"/>
          <c:showVal val="0"/>
          <c:showCatName val="0"/>
          <c:showSerName val="0"/>
          <c:showPercent val="0"/>
          <c:showBubbleSize val="0"/>
        </c:dLbls>
        <c:marker val="1"/>
        <c:smooth val="0"/>
        <c:axId val="1812972303"/>
        <c:axId val="1"/>
      </c:lineChart>
      <c:catAx>
        <c:axId val="181297230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
          <c:min val="-15"/>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50" kern="1200">
                <a:solidFill>
                  <a:srgbClr val="10183A"/>
                </a:solidFill>
                <a:latin typeface="Poppins"/>
                <a:ea typeface="+mn-ea"/>
                <a:cs typeface="Poppins"/>
                <a:sym typeface="Poppins"/>
              </a:defRPr>
            </a:pPr>
            <a:endParaRPr lang="en-US"/>
          </a:p>
        </c:txPr>
        <c:crossAx val="1812972303"/>
        <c:crosses val="min"/>
        <c:crossBetween val="between"/>
        <c:majorUnit val="5"/>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134531928084309E-2"/>
          <c:y val="5.9095106186518927E-2"/>
          <c:w val="0.89274643521388719"/>
          <c:h val="0.88088642659279781"/>
        </c:manualLayout>
      </c:layout>
      <c:barChart>
        <c:barDir val="col"/>
        <c:grouping val="stacked"/>
        <c:varyColors val="0"/>
        <c:ser>
          <c:idx val="0"/>
          <c:order val="0"/>
          <c:spPr>
            <a:solidFill>
              <a:srgbClr val="0065FF"/>
            </a:solidFill>
            <a:ln>
              <a:noFill/>
            </a:ln>
          </c:spPr>
          <c:invertIfNegative val="0"/>
          <c:dLbls>
            <c:dLbl>
              <c:idx val="0"/>
              <c:layout>
                <c:manualLayout>
                  <c:x val="0"/>
                  <c:y val="-0.1348107109879963"/>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A5A-47E8-9E27-F703B5B0C803}"/>
                </c:ext>
              </c:extLst>
            </c:dLbl>
            <c:dLbl>
              <c:idx val="1"/>
              <c:layout>
                <c:manualLayout>
                  <c:x val="0"/>
                  <c:y val="-0.11819021237303785"/>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A5A-47E8-9E27-F703B5B0C803}"/>
                </c:ext>
              </c:extLst>
            </c:dLbl>
            <c:dLbl>
              <c:idx val="2"/>
              <c:layout>
                <c:manualLayout>
                  <c:x val="0"/>
                  <c:y val="-0.11819021237303785"/>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A5A-47E8-9E27-F703B5B0C803}"/>
                </c:ext>
              </c:extLst>
            </c:dLbl>
            <c:dLbl>
              <c:idx val="3"/>
              <c:layout>
                <c:manualLayout>
                  <c:x val="0"/>
                  <c:y val="-9.6029547553093259E-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A5A-47E8-9E27-F703B5B0C803}"/>
                </c:ext>
              </c:extLst>
            </c:dLbl>
            <c:dLbl>
              <c:idx val="4"/>
              <c:layout>
                <c:manualLayout>
                  <c:x val="0"/>
                  <c:y val="-8.771929824561403E-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A5A-47E8-9E27-F703B5B0C803}"/>
                </c:ext>
              </c:extLst>
            </c:dLbl>
            <c:dLbl>
              <c:idx val="5"/>
              <c:layout>
                <c:manualLayout>
                  <c:x val="0"/>
                  <c:y val="-8.4949215143120954E-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A5A-47E8-9E27-F703B5B0C803}"/>
                </c:ext>
              </c:extLst>
            </c:dLbl>
            <c:dLbl>
              <c:idx val="6"/>
              <c:layout>
                <c:manualLayout>
                  <c:x val="0"/>
                  <c:y val="-6.9252077562326875E-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A5A-47E8-9E27-F703B5B0C803}"/>
                </c:ext>
              </c:extLst>
            </c:dLbl>
            <c:dLbl>
              <c:idx val="7"/>
              <c:layout>
                <c:manualLayout>
                  <c:x val="0"/>
                  <c:y val="-7.3868882733148664E-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A5A-47E8-9E27-F703B5B0C803}"/>
                </c:ext>
              </c:extLst>
            </c:dLbl>
            <c:dLbl>
              <c:idx val="8"/>
              <c:layout>
                <c:manualLayout>
                  <c:x val="0"/>
                  <c:y val="-9.6952908587257622E-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A5A-47E8-9E27-F703B5B0C803}"/>
                </c:ext>
              </c:extLst>
            </c:dLbl>
            <c:dLbl>
              <c:idx val="9"/>
              <c:layout>
                <c:manualLayout>
                  <c:x val="0"/>
                  <c:y val="-0.11357340720221606"/>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A5A-47E8-9E27-F703B5B0C803}"/>
                </c:ext>
              </c:extLst>
            </c:dLbl>
            <c:dLbl>
              <c:idx val="10"/>
              <c:layout>
                <c:manualLayout>
                  <c:x val="0"/>
                  <c:y val="-0.13111726685133887"/>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A5A-47E8-9E27-F703B5B0C803}"/>
                </c:ext>
              </c:extLst>
            </c:dLbl>
            <c:dLbl>
              <c:idx val="11"/>
              <c:layout>
                <c:manualLayout>
                  <c:x val="0"/>
                  <c:y val="-0.1348107109879963"/>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A5A-47E8-9E27-F703B5B0C803}"/>
                </c:ext>
              </c:extLst>
            </c:dLbl>
            <c:dLbl>
              <c:idx val="12"/>
              <c:layout>
                <c:manualLayout>
                  <c:x val="0"/>
                  <c:y val="-0.13111726685133887"/>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A5A-47E8-9E27-F703B5B0C80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34</c:v>
                </c:pt>
                <c:pt idx="1">
                  <c:v>26.520146520146515</c:v>
                </c:pt>
                <c:pt idx="2">
                  <c:v>26.383896477354408</c:v>
                </c:pt>
                <c:pt idx="3">
                  <c:v>16.317991631799178</c:v>
                </c:pt>
                <c:pt idx="4">
                  <c:v>12.775017743080202</c:v>
                </c:pt>
                <c:pt idx="5">
                  <c:v>11.200585651537329</c:v>
                </c:pt>
                <c:pt idx="6">
                  <c:v>4.3321299638989004</c:v>
                </c:pt>
                <c:pt idx="7">
                  <c:v>-9.2113982770046423</c:v>
                </c:pt>
                <c:pt idx="8">
                  <c:v>-19.578246313471237</c:v>
                </c:pt>
                <c:pt idx="9">
                  <c:v>-27.132829231372629</c:v>
                </c:pt>
                <c:pt idx="10">
                  <c:v>-35.360824742268044</c:v>
                </c:pt>
                <c:pt idx="11">
                  <c:v>-37.03671452362552</c:v>
                </c:pt>
                <c:pt idx="12">
                  <c:v>-35.127031343700082</c:v>
                </c:pt>
              </c:numCache>
            </c:numRef>
          </c:val>
          <c:extLst>
            <c:ext xmlns:c16="http://schemas.microsoft.com/office/drawing/2014/chart" uri="{C3380CC4-5D6E-409C-BE32-E72D297353CC}">
              <c16:uniqueId val="{0000000D-AA5A-47E8-9E27-F703B5B0C803}"/>
            </c:ext>
          </c:extLst>
        </c:ser>
        <c:dLbls>
          <c:showLegendKey val="0"/>
          <c:showVal val="0"/>
          <c:showCatName val="0"/>
          <c:showSerName val="0"/>
          <c:showPercent val="0"/>
          <c:showBubbleSize val="0"/>
        </c:dLbls>
        <c:gapWidth val="80"/>
        <c:overlap val="100"/>
        <c:axId val="1810102943"/>
        <c:axId val="1"/>
      </c:barChart>
      <c:lineChart>
        <c:grouping val="standard"/>
        <c:varyColors val="0"/>
        <c:ser>
          <c:idx val="1"/>
          <c:order val="1"/>
          <c:spPr>
            <a:ln w="28575" algn="ctr">
              <a:solidFill>
                <a:srgbClr val="CF00E8"/>
              </a:solidFill>
              <a:prstDash val="solid"/>
            </a:ln>
          </c:spPr>
          <c:marker>
            <c:symbol val="none"/>
          </c:marker>
          <c:dLbls>
            <c:dLbl>
              <c:idx val="12"/>
              <c:layout>
                <c:manualLayout>
                  <c:x val="0"/>
                  <c:y val="-7.5715604801477376E-2"/>
                </c:manualLayout>
              </c:layout>
              <c:numFmt formatCode="#,##0;&quot;-&quot;#,##0" sourceLinked="0"/>
              <c:spPr>
                <a:noFill/>
                <a:ln>
                  <a:noFill/>
                </a:ln>
              </c:spPr>
              <c:txPr>
                <a:bodyPr wrap="none"/>
                <a:lstStyle/>
                <a:p>
                  <a:pPr>
                    <a:defRPr sz="1050" kern="1200">
                      <a:solidFill>
                        <a:srgbClr val="10183A"/>
                      </a:solidFill>
                      <a:latin typeface="Poppins"/>
                      <a:ea typeface="+mn-ea"/>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A5A-47E8-9E27-F703B5B0C80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137</c:v>
                </c:pt>
                <c:pt idx="1">
                  <c:v>140.86471408647142</c:v>
                </c:pt>
                <c:pt idx="2">
                  <c:v>144.50625869262862</c:v>
                </c:pt>
                <c:pt idx="3">
                  <c:v>134.2696629213483</c:v>
                </c:pt>
                <c:pt idx="4">
                  <c:v>128.96253602305478</c:v>
                </c:pt>
                <c:pt idx="5">
                  <c:v>120.78488372093021</c:v>
                </c:pt>
                <c:pt idx="6">
                  <c:v>112.81296023564067</c:v>
                </c:pt>
                <c:pt idx="7">
                  <c:v>102.96296296296295</c:v>
                </c:pt>
                <c:pt idx="8">
                  <c:v>94.034584742176847</c:v>
                </c:pt>
                <c:pt idx="9">
                  <c:v>84.926680282605531</c:v>
                </c:pt>
                <c:pt idx="10">
                  <c:v>74.895397489539732</c:v>
                </c:pt>
                <c:pt idx="11">
                  <c:v>55.209423381362512</c:v>
                </c:pt>
                <c:pt idx="12">
                  <c:v>52.411840196406636</c:v>
                </c:pt>
              </c:numCache>
            </c:numRef>
          </c:val>
          <c:smooth val="0"/>
          <c:extLst>
            <c:ext xmlns:c16="http://schemas.microsoft.com/office/drawing/2014/chart" uri="{C3380CC4-5D6E-409C-BE32-E72D297353CC}">
              <c16:uniqueId val="{0000000F-AA5A-47E8-9E27-F703B5B0C803}"/>
            </c:ext>
          </c:extLst>
        </c:ser>
        <c:dLbls>
          <c:showLegendKey val="0"/>
          <c:showVal val="0"/>
          <c:showCatName val="0"/>
          <c:showSerName val="0"/>
          <c:showPercent val="0"/>
          <c:showBubbleSize val="0"/>
        </c:dLbls>
        <c:marker val="1"/>
        <c:smooth val="0"/>
        <c:axId val="1810102943"/>
        <c:axId val="1"/>
      </c:lineChart>
      <c:catAx>
        <c:axId val="18101029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150"/>
          <c:min val="-5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50" kern="1200">
                <a:solidFill>
                  <a:srgbClr val="10183A"/>
                </a:solidFill>
                <a:latin typeface="Poppins"/>
                <a:ea typeface="+mn-ea"/>
                <a:cs typeface="Poppins"/>
                <a:sym typeface="Poppins"/>
              </a:defRPr>
            </a:pPr>
            <a:endParaRPr lang="en-US"/>
          </a:p>
        </c:txPr>
        <c:crossAx val="1810102943"/>
        <c:crosses val="min"/>
        <c:crossBetween val="between"/>
        <c:majorUnit val="5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567196757093856E-2"/>
          <c:y val="5.9095106186518927E-2"/>
          <c:w val="0.90021827252884312"/>
          <c:h val="0.88088642659279781"/>
        </c:manualLayout>
      </c:layout>
      <c:barChart>
        <c:barDir val="col"/>
        <c:grouping val="stacked"/>
        <c:varyColors val="0"/>
        <c:ser>
          <c:idx val="0"/>
          <c:order val="0"/>
          <c:spPr>
            <a:solidFill>
              <a:srgbClr val="0065FF"/>
            </a:solidFill>
            <a:ln>
              <a:noFill/>
            </a:ln>
          </c:spPr>
          <c:invertIfNegative val="0"/>
          <c:dLbls>
            <c:dLbl>
              <c:idx val="0"/>
              <c:layout>
                <c:manualLayout>
                  <c:x val="0"/>
                  <c:y val="-9.3259464450600182E-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724-4414-B66C-9A0BE3DF21ED}"/>
                </c:ext>
              </c:extLst>
            </c:dLbl>
            <c:dLbl>
              <c:idx val="2"/>
              <c:layout>
                <c:manualLayout>
                  <c:x val="0"/>
                  <c:y val="-0.15327793167128348"/>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724-4414-B66C-9A0BE3DF21ED}"/>
                </c:ext>
              </c:extLst>
            </c:dLbl>
            <c:dLbl>
              <c:idx val="3"/>
              <c:layout>
                <c:manualLayout>
                  <c:x val="0"/>
                  <c:y val="-0.1458910433979686"/>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724-4414-B66C-9A0BE3DF21ED}"/>
                </c:ext>
              </c:extLst>
            </c:dLbl>
            <c:dLbl>
              <c:idx val="4"/>
              <c:layout>
                <c:manualLayout>
                  <c:x val="0"/>
                  <c:y val="-0.15604801477377656"/>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724-4414-B66C-9A0BE3DF21ED}"/>
                </c:ext>
              </c:extLst>
            </c:dLbl>
            <c:dLbl>
              <c:idx val="5"/>
              <c:layout>
                <c:manualLayout>
                  <c:x val="0"/>
                  <c:y val="-0.16435826408125578"/>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724-4414-B66C-9A0BE3DF21ED}"/>
                </c:ext>
              </c:extLst>
            </c:dLbl>
            <c:dLbl>
              <c:idx val="6"/>
              <c:layout>
                <c:manualLayout>
                  <c:x val="0"/>
                  <c:y val="-0.11819021237303785"/>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724-4414-B66C-9A0BE3DF21ED}"/>
                </c:ext>
              </c:extLst>
            </c:dLbl>
            <c:dLbl>
              <c:idx val="7"/>
              <c:layout>
                <c:manualLayout>
                  <c:x val="0"/>
                  <c:y val="-0.11449676823638043"/>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724-4414-B66C-9A0BE3DF21ED}"/>
                </c:ext>
              </c:extLst>
            </c:dLbl>
            <c:dLbl>
              <c:idx val="8"/>
              <c:layout>
                <c:manualLayout>
                  <c:x val="0"/>
                  <c:y val="-0.15420129270544783"/>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724-4414-B66C-9A0BE3DF21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2.6</c:v>
                </c:pt>
                <c:pt idx="1">
                  <c:v>-4.5</c:v>
                </c:pt>
                <c:pt idx="2">
                  <c:v>-7.9514389183170637</c:v>
                </c:pt>
                <c:pt idx="3">
                  <c:v>-7.3644173692138732</c:v>
                </c:pt>
                <c:pt idx="4">
                  <c:v>-8.1321630850296796</c:v>
                </c:pt>
                <c:pt idx="5">
                  <c:v>-8.7983903364778548</c:v>
                </c:pt>
                <c:pt idx="6">
                  <c:v>-5.1196069326914868</c:v>
                </c:pt>
                <c:pt idx="7">
                  <c:v>-4.8383875661650295</c:v>
                </c:pt>
                <c:pt idx="8">
                  <c:v>-8</c:v>
                </c:pt>
                <c:pt idx="9">
                  <c:v>-7.501585511236522</c:v>
                </c:pt>
                <c:pt idx="10">
                  <c:v>-10</c:v>
                </c:pt>
                <c:pt idx="11">
                  <c:v>-7.7489794613719489</c:v>
                </c:pt>
                <c:pt idx="12">
                  <c:v>-3.9149195911715173</c:v>
                </c:pt>
              </c:numCache>
            </c:numRef>
          </c:val>
          <c:extLst>
            <c:ext xmlns:c16="http://schemas.microsoft.com/office/drawing/2014/chart" uri="{C3380CC4-5D6E-409C-BE32-E72D297353CC}">
              <c16:uniqueId val="{00000008-9724-4414-B66C-9A0BE3DF21ED}"/>
            </c:ext>
          </c:extLst>
        </c:ser>
        <c:dLbls>
          <c:showLegendKey val="0"/>
          <c:showVal val="0"/>
          <c:showCatName val="0"/>
          <c:showSerName val="0"/>
          <c:showPercent val="0"/>
          <c:showBubbleSize val="0"/>
        </c:dLbls>
        <c:gapWidth val="80"/>
        <c:overlap val="100"/>
        <c:axId val="1298943263"/>
        <c:axId val="1"/>
      </c:barChart>
      <c:lineChart>
        <c:grouping val="standard"/>
        <c:varyColors val="0"/>
        <c:ser>
          <c:idx val="1"/>
          <c:order val="1"/>
          <c:spPr>
            <a:ln w="28575" algn="ctr">
              <a:solidFill>
                <a:srgbClr val="CF00E8"/>
              </a:solidFill>
              <a:prstDash val="solid"/>
            </a:ln>
          </c:spPr>
          <c:marker>
            <c:symbol val="none"/>
          </c:marker>
          <c:dLbls>
            <c:dLbl>
              <c:idx val="12"/>
              <c:layout>
                <c:manualLayout>
                  <c:x val="1.8709073900841909E-3"/>
                  <c:y val="0.1440443213296399"/>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724-4414-B66C-9A0BE3DF21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M$2</c:f>
              <c:numCache>
                <c:formatCode>General</c:formatCode>
                <c:ptCount val="13"/>
                <c:pt idx="0">
                  <c:v>-0.70000000000000007</c:v>
                </c:pt>
                <c:pt idx="1">
                  <c:v>-6.5</c:v>
                </c:pt>
                <c:pt idx="2">
                  <c:v>-5</c:v>
                </c:pt>
                <c:pt idx="3">
                  <c:v>-7.9878862951189973</c:v>
                </c:pt>
                <c:pt idx="4">
                  <c:v>-6.4679477261233131</c:v>
                </c:pt>
                <c:pt idx="5">
                  <c:v>-8.7208878865324255</c:v>
                </c:pt>
                <c:pt idx="6">
                  <c:v>-3.913648847927373</c:v>
                </c:pt>
                <c:pt idx="7">
                  <c:v>-2.0630608221670546</c:v>
                </c:pt>
                <c:pt idx="8">
                  <c:v>-3</c:v>
                </c:pt>
                <c:pt idx="9">
                  <c:v>-7.5831551502655605</c:v>
                </c:pt>
                <c:pt idx="10">
                  <c:v>-12.957848982025007</c:v>
                </c:pt>
                <c:pt idx="11">
                  <c:v>-9.6941454362772195</c:v>
                </c:pt>
                <c:pt idx="12">
                  <c:v>-6.7647859386115252</c:v>
                </c:pt>
              </c:numCache>
            </c:numRef>
          </c:val>
          <c:smooth val="0"/>
          <c:extLst>
            <c:ext xmlns:c16="http://schemas.microsoft.com/office/drawing/2014/chart" uri="{C3380CC4-5D6E-409C-BE32-E72D297353CC}">
              <c16:uniqueId val="{0000000A-9724-4414-B66C-9A0BE3DF21ED}"/>
            </c:ext>
          </c:extLst>
        </c:ser>
        <c:dLbls>
          <c:showLegendKey val="0"/>
          <c:showVal val="0"/>
          <c:showCatName val="0"/>
          <c:showSerName val="0"/>
          <c:showPercent val="0"/>
          <c:showBubbleSize val="0"/>
        </c:dLbls>
        <c:marker val="1"/>
        <c:smooth val="0"/>
        <c:axId val="1298943263"/>
        <c:axId val="1"/>
      </c:lineChart>
      <c:catAx>
        <c:axId val="129894326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
          <c:min val="-15"/>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50" kern="1200">
                <a:solidFill>
                  <a:srgbClr val="10183A"/>
                </a:solidFill>
                <a:latin typeface="Poppins"/>
                <a:ea typeface="+mn-ea"/>
                <a:cs typeface="Poppins"/>
                <a:sym typeface="Poppins"/>
              </a:defRPr>
            </a:pPr>
            <a:endParaRPr lang="en-US"/>
          </a:p>
        </c:txPr>
        <c:crossAx val="1298943263"/>
        <c:crosses val="min"/>
        <c:crossBetween val="between"/>
        <c:majorUnit val="5"/>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750000000000005E-2"/>
          <c:y val="5.9095106186518927E-2"/>
          <c:w val="0.9"/>
          <c:h val="0.88088642659279781"/>
        </c:manualLayout>
      </c:layout>
      <c:barChart>
        <c:barDir val="col"/>
        <c:grouping val="stacked"/>
        <c:varyColors val="0"/>
        <c:ser>
          <c:idx val="0"/>
          <c:order val="0"/>
          <c:spPr>
            <a:solidFill>
              <a:srgbClr val="0065FF"/>
            </a:solidFill>
            <a:ln>
              <a:noFill/>
            </a:ln>
          </c:spPr>
          <c:invertIfNegative val="0"/>
          <c:dLbls>
            <c:dLbl>
              <c:idx val="0"/>
              <c:layout>
                <c:manualLayout>
                  <c:x val="0"/>
                  <c:y val="-0.14681440443213298"/>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69-4B7F-9AB0-748F89EEC27F}"/>
                </c:ext>
              </c:extLst>
            </c:dLbl>
            <c:dLbl>
              <c:idx val="1"/>
              <c:layout>
                <c:manualLayout>
                  <c:x val="0"/>
                  <c:y val="-9.0489381348107106E-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69-4B7F-9AB0-748F89EEC27F}"/>
                </c:ext>
              </c:extLst>
            </c:dLbl>
            <c:dLbl>
              <c:idx val="2"/>
              <c:layout>
                <c:manualLayout>
                  <c:x val="0"/>
                  <c:y val="-7.29455216989843E-2"/>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69-4B7F-9AB0-748F89EEC27F}"/>
                </c:ext>
              </c:extLst>
            </c:dLbl>
            <c:dLbl>
              <c:idx val="3"/>
              <c:layout>
                <c:manualLayout>
                  <c:x val="0"/>
                  <c:y val="-0.11542012927054478"/>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D69-4B7F-9AB0-748F89EEC27F}"/>
                </c:ext>
              </c:extLst>
            </c:dLbl>
            <c:dLbl>
              <c:idx val="4"/>
              <c:layout>
                <c:manualLayout>
                  <c:x val="0"/>
                  <c:y val="-0.1320406278855032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D69-4B7F-9AB0-748F89EEC27F}"/>
                </c:ext>
              </c:extLst>
            </c:dLbl>
            <c:dLbl>
              <c:idx val="5"/>
              <c:layout>
                <c:manualLayout>
                  <c:x val="0"/>
                  <c:y val="-0.11357340720221606"/>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D69-4B7F-9AB0-748F89EEC27F}"/>
                </c:ext>
              </c:extLst>
            </c:dLbl>
            <c:dLbl>
              <c:idx val="6"/>
              <c:layout>
                <c:manualLayout>
                  <c:x val="0"/>
                  <c:y val="-0.14773776546629733"/>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D69-4B7F-9AB0-748F89EEC27F}"/>
                </c:ext>
              </c:extLst>
            </c:dLbl>
            <c:dLbl>
              <c:idx val="7"/>
              <c:layout>
                <c:manualLayout>
                  <c:x val="0"/>
                  <c:y val="-0.12465373961218837"/>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D69-4B7F-9AB0-748F89EEC27F}"/>
                </c:ext>
              </c:extLst>
            </c:dLbl>
            <c:dLbl>
              <c:idx val="8"/>
              <c:layout>
                <c:manualLayout>
                  <c:x val="0"/>
                  <c:y val="-9.7876269621421971E-2"/>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D69-4B7F-9AB0-748F89EEC27F}"/>
                </c:ext>
              </c:extLst>
            </c:dLbl>
            <c:dLbl>
              <c:idx val="9"/>
              <c:layout>
                <c:manualLayout>
                  <c:x val="0"/>
                  <c:y val="-0.1172668513388735"/>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D69-4B7F-9AB0-748F89EEC27F}"/>
                </c:ext>
              </c:extLst>
            </c:dLbl>
            <c:dLbl>
              <c:idx val="10"/>
              <c:layout>
                <c:manualLayout>
                  <c:x val="0"/>
                  <c:y val="-0.11819021237303785"/>
                </c:manualLayout>
              </c:layout>
              <c:numFmt formatCode="#,##0;&quot;-&quot;#,##0" sourceLinked="0"/>
              <c:spPr>
                <a:noFill/>
                <a:ln>
                  <a:noFill/>
                </a:ln>
              </c:spPr>
              <c:txPr>
                <a:bodyPr wrap="none"/>
                <a:lstStyle/>
                <a:p>
                  <a:pPr>
                    <a:defRPr sz="1050" kern="1200">
                      <a:solidFill>
                        <a:srgbClr val="10183A"/>
                      </a:solidFill>
                      <a:latin typeface="Poppins"/>
                      <a:ea typeface="+mn-ea"/>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D69-4B7F-9AB0-748F89EEC27F}"/>
                </c:ext>
              </c:extLst>
            </c:dLbl>
            <c:dLbl>
              <c:idx val="11"/>
              <c:layout>
                <c:manualLayout>
                  <c:x val="0"/>
                  <c:y val="-0.19575253924284394"/>
                </c:manualLayout>
              </c:layout>
              <c:numFmt formatCode="#,##0;&quot;-&quot;#,##0" sourceLinked="0"/>
              <c:spPr>
                <a:noFill/>
                <a:ln>
                  <a:noFill/>
                </a:ln>
              </c:spPr>
              <c:txPr>
                <a:bodyPr wrap="none"/>
                <a:lstStyle/>
                <a:p>
                  <a:pPr>
                    <a:defRPr sz="1050" kern="1200">
                      <a:solidFill>
                        <a:srgbClr val="10183A"/>
                      </a:solidFill>
                      <a:latin typeface="Poppins"/>
                      <a:ea typeface="+mn-ea"/>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D69-4B7F-9AB0-748F89EEC27F}"/>
                </c:ext>
              </c:extLst>
            </c:dLbl>
            <c:dLbl>
              <c:idx val="12"/>
              <c:layout>
                <c:manualLayout>
                  <c:x val="0"/>
                  <c:y val="-0.20221606648199447"/>
                </c:manualLayout>
              </c:layout>
              <c:numFmt formatCode="#,##0;&quot;-&quot;#,##0" sourceLinked="0"/>
              <c:spPr>
                <a:noFill/>
                <a:ln>
                  <a:noFill/>
                </a:ln>
              </c:spPr>
              <c:txPr>
                <a:bodyPr wrap="none"/>
                <a:lstStyle/>
                <a:p>
                  <a:pPr>
                    <a:defRPr sz="1050" kern="1200">
                      <a:solidFill>
                        <a:srgbClr val="10183A"/>
                      </a:solidFill>
                      <a:latin typeface="Poppins"/>
                      <a:ea typeface="+mn-ea"/>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D69-4B7F-9AB0-748F89EEC27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M$1</c:f>
              <c:numCache>
                <c:formatCode>General</c:formatCode>
                <c:ptCount val="13"/>
                <c:pt idx="0">
                  <c:v>6.9</c:v>
                </c:pt>
                <c:pt idx="1">
                  <c:v>-2.881906368620835</c:v>
                </c:pt>
                <c:pt idx="2">
                  <c:v>1</c:v>
                </c:pt>
                <c:pt idx="3">
                  <c:v>4.3901808785529708</c:v>
                </c:pt>
                <c:pt idx="4">
                  <c:v>5.770786992903294</c:v>
                </c:pt>
                <c:pt idx="5">
                  <c:v>4.2079402923188551</c:v>
                </c:pt>
                <c:pt idx="6">
                  <c:v>6.9430860033726809</c:v>
                </c:pt>
                <c:pt idx="7">
                  <c:v>5.0982044983336463</c:v>
                </c:pt>
                <c:pt idx="8">
                  <c:v>3</c:v>
                </c:pt>
                <c:pt idx="9">
                  <c:v>4.5362280165566</c:v>
                </c:pt>
                <c:pt idx="10">
                  <c:v>4.6376048689809952</c:v>
                </c:pt>
                <c:pt idx="11">
                  <c:v>10.802587076274628</c:v>
                </c:pt>
                <c:pt idx="12">
                  <c:v>11.262557141461324</c:v>
                </c:pt>
              </c:numCache>
            </c:numRef>
          </c:val>
          <c:extLst>
            <c:ext xmlns:c16="http://schemas.microsoft.com/office/drawing/2014/chart" uri="{C3380CC4-5D6E-409C-BE32-E72D297353CC}">
              <c16:uniqueId val="{0000000D-2D69-4B7F-9AB0-748F89EEC27F}"/>
            </c:ext>
          </c:extLst>
        </c:ser>
        <c:dLbls>
          <c:showLegendKey val="0"/>
          <c:showVal val="0"/>
          <c:showCatName val="0"/>
          <c:showSerName val="0"/>
          <c:showPercent val="0"/>
          <c:showBubbleSize val="0"/>
        </c:dLbls>
        <c:gapWidth val="80"/>
        <c:overlap val="100"/>
        <c:axId val="631596895"/>
        <c:axId val="1"/>
      </c:barChart>
      <c:lineChart>
        <c:grouping val="standard"/>
        <c:varyColors val="0"/>
        <c:ser>
          <c:idx val="1"/>
          <c:order val="1"/>
          <c:spPr>
            <a:ln w="28575" algn="ctr">
              <a:solidFill>
                <a:srgbClr val="CF00E8"/>
              </a:solidFill>
              <a:prstDash val="solid"/>
            </a:ln>
          </c:spPr>
          <c:marker>
            <c:symbol val="none"/>
          </c:marker>
          <c:val>
            <c:numRef>
              <c:f>Sheet1!$A$2:$M$2</c:f>
              <c:numCache>
                <c:formatCode>General</c:formatCode>
                <c:ptCount val="13"/>
                <c:pt idx="0">
                  <c:v>-5.4</c:v>
                </c:pt>
                <c:pt idx="1">
                  <c:v>-14.000000000000002</c:v>
                </c:pt>
                <c:pt idx="2">
                  <c:v>-13</c:v>
                </c:pt>
                <c:pt idx="3">
                  <c:v>-11.514005092761002</c:v>
                </c:pt>
                <c:pt idx="4">
                  <c:v>-11.362221436151398</c:v>
                </c:pt>
                <c:pt idx="5">
                  <c:v>-11.127753303964756</c:v>
                </c:pt>
                <c:pt idx="6">
                  <c:v>-9.3988254137746932</c:v>
                </c:pt>
                <c:pt idx="7">
                  <c:v>-7.0986706066784366</c:v>
                </c:pt>
                <c:pt idx="8">
                  <c:v>-7.0000000000000009</c:v>
                </c:pt>
                <c:pt idx="9">
                  <c:v>-4.642225033332843</c:v>
                </c:pt>
                <c:pt idx="10">
                  <c:v>-7.1994135259025409</c:v>
                </c:pt>
                <c:pt idx="11">
                  <c:v>-2.485633579527506</c:v>
                </c:pt>
                <c:pt idx="12">
                  <c:v>0.45396086573559113</c:v>
                </c:pt>
              </c:numCache>
            </c:numRef>
          </c:val>
          <c:smooth val="0"/>
          <c:extLst>
            <c:ext xmlns:c16="http://schemas.microsoft.com/office/drawing/2014/chart" uri="{C3380CC4-5D6E-409C-BE32-E72D297353CC}">
              <c16:uniqueId val="{0000000E-2D69-4B7F-9AB0-748F89EEC27F}"/>
            </c:ext>
          </c:extLst>
        </c:ser>
        <c:dLbls>
          <c:showLegendKey val="0"/>
          <c:showVal val="0"/>
          <c:showCatName val="0"/>
          <c:showSerName val="0"/>
          <c:showPercent val="0"/>
          <c:showBubbleSize val="0"/>
        </c:dLbls>
        <c:marker val="1"/>
        <c:smooth val="0"/>
        <c:axId val="631596895"/>
        <c:axId val="1"/>
      </c:lineChart>
      <c:catAx>
        <c:axId val="63159689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
          <c:min val="-15"/>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50" kern="1200">
                <a:solidFill>
                  <a:srgbClr val="10183A"/>
                </a:solidFill>
                <a:latin typeface="Poppins"/>
                <a:ea typeface="+mn-ea"/>
                <a:cs typeface="Poppins"/>
                <a:sym typeface="Poppins"/>
              </a:defRPr>
            </a:pPr>
            <a:endParaRPr lang="en-US"/>
          </a:p>
        </c:txPr>
        <c:crossAx val="631596895"/>
        <c:crosses val="min"/>
        <c:crossBetween val="between"/>
        <c:majorUnit val="5"/>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01418439716311E-2"/>
          <c:y val="6.5533120793482114E-2"/>
          <c:w val="0.93410165484633567"/>
          <c:h val="0.91604675876726882"/>
        </c:manualLayout>
      </c:layout>
      <c:barChart>
        <c:barDir val="bar"/>
        <c:grouping val="clustered"/>
        <c:varyColors val="0"/>
        <c:ser>
          <c:idx val="0"/>
          <c:order val="0"/>
          <c:spPr>
            <a:solidFill>
              <a:srgbClr val="C1C7D1"/>
            </a:solidFill>
            <a:ln>
              <a:noFill/>
            </a:ln>
          </c:spPr>
          <c:invertIfNegative val="0"/>
          <c:dLbls>
            <c:dLbl>
              <c:idx val="0"/>
              <c:layout>
                <c:manualLayout>
                  <c:x val="0.26447990543735223"/>
                  <c:y val="1.0626992561105207E-3"/>
                </c:manualLayout>
              </c:layout>
              <c:numFmt formatCode="#,##0.00;&quot;-&quot;#,##0.0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41-4238-BD31-B88C82E8F458}"/>
                </c:ext>
              </c:extLst>
            </c:dLbl>
            <c:dLbl>
              <c:idx val="1"/>
              <c:layout>
                <c:manualLayout>
                  <c:x val="0.22576832151300236"/>
                  <c:y val="1.0626992561105207E-3"/>
                </c:manualLayout>
              </c:layout>
              <c:numFmt formatCode="#,##0.00;&quot;-&quot;#,##0.00" sourceLinked="0"/>
              <c:spPr>
                <a:noFill/>
                <a:ln>
                  <a:noFill/>
                </a:ln>
              </c:spPr>
              <c:txPr>
                <a:bodyPr wrap="none"/>
                <a:lstStyle/>
                <a:p>
                  <a:pPr>
                    <a:defRPr sz="1050" kern="1200">
                      <a:solidFill>
                        <a:srgbClr val="10183A"/>
                      </a:solidFill>
                      <a:latin typeface="Poppins"/>
                      <a:ea typeface="+mn-ea"/>
                      <a:cs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41-4238-BD31-B88C82E8F458}"/>
                </c:ext>
              </c:extLst>
            </c:dLbl>
            <c:dLbl>
              <c:idx val="2"/>
              <c:layout>
                <c:manualLayout>
                  <c:x val="0.2721631205673759"/>
                  <c:y val="1.0626992561105207E-3"/>
                </c:manualLayout>
              </c:layout>
              <c:numFmt formatCode="#,##0.00;&quot;-&quot;#,##0.0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941-4238-BD31-B88C82E8F458}"/>
                </c:ext>
              </c:extLst>
            </c:dLbl>
            <c:dLbl>
              <c:idx val="3"/>
              <c:layout>
                <c:manualLayout>
                  <c:x val="0.20035460992907803"/>
                  <c:y val="1.0626992561105207E-3"/>
                </c:manualLayout>
              </c:layout>
              <c:numFmt formatCode="#,##0.00;&quot;-&quot;#,##0.00" sourceLinked="0"/>
              <c:spPr>
                <a:noFill/>
                <a:ln>
                  <a:noFill/>
                </a:ln>
              </c:spPr>
              <c:txPr>
                <a:bodyPr wrap="none"/>
                <a:lstStyle/>
                <a:p>
                  <a:pPr>
                    <a:defRPr sz="1050" kern="1200">
                      <a:solidFill>
                        <a:srgbClr val="10183A"/>
                      </a:solidFill>
                      <a:latin typeface="Poppins"/>
                      <a:ea typeface="+mn-ea"/>
                      <a:cs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941-4238-BD31-B88C82E8F458}"/>
                </c:ext>
              </c:extLst>
            </c:dLbl>
            <c:dLbl>
              <c:idx val="4"/>
              <c:layout>
                <c:manualLayout>
                  <c:x val="0.27423167848699764"/>
                  <c:y val="1.0626992561105207E-3"/>
                </c:manualLayout>
              </c:layout>
              <c:numFmt formatCode="#,##0.00;&quot;-&quot;#,##0.00" sourceLinked="0"/>
              <c:spPr>
                <a:noFill/>
                <a:ln>
                  <a:noFill/>
                </a:ln>
              </c:spPr>
              <c:txPr>
                <a:bodyPr wrap="none"/>
                <a:lstStyle/>
                <a:p>
                  <a:pPr>
                    <a:defRPr sz="1050" kern="1200">
                      <a:solidFill>
                        <a:srgbClr val="10183A"/>
                      </a:solidFill>
                      <a:latin typeface="Poppins"/>
                      <a:ea typeface="+mn-ea"/>
                      <a:cs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941-4238-BD31-B88C82E8F458}"/>
                </c:ext>
              </c:extLst>
            </c:dLbl>
            <c:dLbl>
              <c:idx val="5"/>
              <c:layout>
                <c:manualLayout>
                  <c:x val="0.19148936170212766"/>
                  <c:y val="1.0626992561105207E-3"/>
                </c:manualLayout>
              </c:layout>
              <c:numFmt formatCode="#,##0.00;&quot;-&quot;#,##0.00" sourceLinked="0"/>
              <c:spPr>
                <a:noFill/>
                <a:ln>
                  <a:noFill/>
                </a:ln>
              </c:spPr>
              <c:txPr>
                <a:bodyPr wrap="none"/>
                <a:lstStyle/>
                <a:p>
                  <a:pPr>
                    <a:defRPr sz="1050" kern="1200">
                      <a:solidFill>
                        <a:srgbClr val="10183A"/>
                      </a:solidFill>
                      <a:latin typeface="Poppins"/>
                      <a:ea typeface="+mn-ea"/>
                      <a:cs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941-4238-BD31-B88C82E8F458}"/>
                </c:ext>
              </c:extLst>
            </c:dLbl>
            <c:dLbl>
              <c:idx val="6"/>
              <c:layout>
                <c:manualLayout>
                  <c:x val="0.18203309692671396"/>
                  <c:y val="1.0626992561105207E-3"/>
                </c:manualLayout>
              </c:layout>
              <c:numFmt formatCode="#,##0.00;&quot;-&quot;#,##0.00" sourceLinked="0"/>
              <c:spPr>
                <a:noFill/>
                <a:ln>
                  <a:noFill/>
                </a:ln>
              </c:spPr>
              <c:txPr>
                <a:bodyPr wrap="none"/>
                <a:lstStyle/>
                <a:p>
                  <a:pPr>
                    <a:defRPr sz="1050" kern="1200">
                      <a:solidFill>
                        <a:srgbClr val="10183A"/>
                      </a:solidFill>
                      <a:latin typeface="Poppins"/>
                      <a:ea typeface="+mn-ea"/>
                      <a:cs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941-4238-BD31-B88C82E8F4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3.0148999999999999</c:v>
                </c:pt>
                <c:pt idx="1">
                  <c:v>2.4649000000000001</c:v>
                </c:pt>
                <c:pt idx="2">
                  <c:v>3.0638999999999998</c:v>
                </c:pt>
                <c:pt idx="3">
                  <c:v>2.1880000000000002</c:v>
                </c:pt>
                <c:pt idx="4">
                  <c:v>3.1368</c:v>
                </c:pt>
                <c:pt idx="5">
                  <c:v>2.0325000000000002</c:v>
                </c:pt>
                <c:pt idx="6">
                  <c:v>1.95</c:v>
                </c:pt>
              </c:numCache>
            </c:numRef>
          </c:val>
          <c:extLst>
            <c:ext xmlns:c16="http://schemas.microsoft.com/office/drawing/2014/chart" uri="{C3380CC4-5D6E-409C-BE32-E72D297353CC}">
              <c16:uniqueId val="{00000007-8941-4238-BD31-B88C82E8F458}"/>
            </c:ext>
          </c:extLst>
        </c:ser>
        <c:ser>
          <c:idx val="1"/>
          <c:order val="1"/>
          <c:spPr>
            <a:solidFill>
              <a:srgbClr val="0065FF"/>
            </a:solidFill>
            <a:ln>
              <a:noFill/>
            </a:ln>
          </c:spPr>
          <c:invertIfNegative val="0"/>
          <c:dLbls>
            <c:dLbl>
              <c:idx val="0"/>
              <c:layout>
                <c:manualLayout>
                  <c:x val="0.43971631205673761"/>
                  <c:y val="1.0626992561105207E-3"/>
                </c:manualLayout>
              </c:layout>
              <c:numFmt formatCode="#,##0.00;&quot;-&quot;#,##0.0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941-4238-BD31-B88C82E8F458}"/>
                </c:ext>
              </c:extLst>
            </c:dLbl>
            <c:dLbl>
              <c:idx val="2"/>
              <c:layout>
                <c:manualLayout>
                  <c:x val="0.37115839243498816"/>
                  <c:y val="1.0626992561105207E-3"/>
                </c:manualLayout>
              </c:layout>
              <c:numFmt formatCode="#,##0.00;&quot;-&quot;#,##0.0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941-4238-BD31-B88C82E8F45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5.2247000000000003</c:v>
                </c:pt>
                <c:pt idx="1">
                  <c:v>4.7499000000000002</c:v>
                </c:pt>
                <c:pt idx="2">
                  <c:v>4.3361000000000001</c:v>
                </c:pt>
                <c:pt idx="3">
                  <c:v>3.9310999999999998</c:v>
                </c:pt>
                <c:pt idx="4">
                  <c:v>3.6991000000000001</c:v>
                </c:pt>
                <c:pt idx="5">
                  <c:v>2.8809</c:v>
                </c:pt>
                <c:pt idx="6">
                  <c:v>2.6819000000000002</c:v>
                </c:pt>
              </c:numCache>
            </c:numRef>
          </c:val>
          <c:extLst>
            <c:ext xmlns:c16="http://schemas.microsoft.com/office/drawing/2014/chart" uri="{C3380CC4-5D6E-409C-BE32-E72D297353CC}">
              <c16:uniqueId val="{0000000A-8941-4238-BD31-B88C82E8F458}"/>
            </c:ext>
          </c:extLst>
        </c:ser>
        <c:dLbls>
          <c:showLegendKey val="0"/>
          <c:showVal val="0"/>
          <c:showCatName val="0"/>
          <c:showSerName val="0"/>
          <c:showPercent val="0"/>
          <c:showBubbleSize val="0"/>
        </c:dLbls>
        <c:gapWidth val="80"/>
        <c:axId val="37710224"/>
        <c:axId val="1"/>
      </c:barChart>
      <c:catAx>
        <c:axId val="37710224"/>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
          <c:min val="0"/>
        </c:scaling>
        <c:delete val="0"/>
        <c:axPos val="t"/>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50" kern="1200">
                <a:solidFill>
                  <a:srgbClr val="10183A"/>
                </a:solidFill>
                <a:latin typeface="Poppins"/>
                <a:ea typeface="Poppins"/>
                <a:cs typeface="Poppins"/>
                <a:sym typeface="Poppins"/>
              </a:defRPr>
            </a:pPr>
            <a:endParaRPr lang="en-US"/>
          </a:p>
        </c:txPr>
        <c:crossAx val="37710224"/>
        <c:crosses val="min"/>
        <c:crossBetween val="between"/>
        <c:majorUnit val="1"/>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852294154619742E-2"/>
          <c:y val="2.6005688744412839E-2"/>
          <c:w val="0.89880578252671273"/>
          <c:h val="0.94758228362454289"/>
        </c:manualLayout>
      </c:layout>
      <c:barChart>
        <c:barDir val="col"/>
        <c:grouping val="stacked"/>
        <c:varyColors val="0"/>
        <c:ser>
          <c:idx val="0"/>
          <c:order val="0"/>
          <c:spPr>
            <a:solidFill>
              <a:srgbClr val="0065FF"/>
            </a:solidFill>
            <a:ln>
              <a:noFill/>
            </a:ln>
          </c:spPr>
          <c:invertIfNegative val="0"/>
          <c:dLbls>
            <c:dLbl>
              <c:idx val="0"/>
              <c:layout>
                <c:manualLayout>
                  <c:x val="0"/>
                  <c:y val="-0.3925233644859813"/>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AF9-4E6D-A670-9F355882C4F4}"/>
                </c:ext>
              </c:extLst>
            </c:dLbl>
            <c:dLbl>
              <c:idx val="1"/>
              <c:layout>
                <c:manualLayout>
                  <c:x val="0"/>
                  <c:y val="-0.40877691995123933"/>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AF9-4E6D-A670-9F355882C4F4}"/>
                </c:ext>
              </c:extLst>
            </c:dLbl>
            <c:dLbl>
              <c:idx val="2"/>
              <c:layout>
                <c:manualLayout>
                  <c:x val="0"/>
                  <c:y val="-0.4014628199918732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AF9-4E6D-A670-9F355882C4F4}"/>
                </c:ext>
              </c:extLst>
            </c:dLbl>
            <c:dLbl>
              <c:idx val="3"/>
              <c:layout>
                <c:manualLayout>
                  <c:x val="0"/>
                  <c:y val="-0.43640796424217798"/>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AF9-4E6D-A670-9F355882C4F4}"/>
                </c:ext>
              </c:extLst>
            </c:dLbl>
            <c:dLbl>
              <c:idx val="4"/>
              <c:layout>
                <c:manualLayout>
                  <c:x val="0"/>
                  <c:y val="-0.45509955302722471"/>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AF9-4E6D-A670-9F355882C4F4}"/>
                </c:ext>
              </c:extLst>
            </c:dLbl>
            <c:dLbl>
              <c:idx val="5"/>
              <c:layout>
                <c:manualLayout>
                  <c:x val="0"/>
                  <c:y val="-0.4599756196668021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AF9-4E6D-A670-9F355882C4F4}"/>
                </c:ext>
              </c:extLst>
            </c:dLbl>
            <c:dLbl>
              <c:idx val="6"/>
              <c:layout>
                <c:manualLayout>
                  <c:x val="0"/>
                  <c:y val="-0.41080861438439659"/>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AF9-4E6D-A670-9F355882C4F4}"/>
                </c:ext>
              </c:extLst>
            </c:dLbl>
            <c:dLbl>
              <c:idx val="7"/>
              <c:layout>
                <c:manualLayout>
                  <c:x val="0"/>
                  <c:y val="-0.45997561966680212"/>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AF9-4E6D-A670-9F355882C4F4}"/>
                </c:ext>
              </c:extLst>
            </c:dLbl>
            <c:dLbl>
              <c:idx val="8"/>
              <c:layout>
                <c:manualLayout>
                  <c:x val="0"/>
                  <c:y val="-0.41121495327102803"/>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AF9-4E6D-A670-9F355882C4F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97.329314436043674</c:v>
                </c:pt>
                <c:pt idx="1">
                  <c:v>100.75298147647038</c:v>
                </c:pt>
                <c:pt idx="2">
                  <c:v>99.107771714923331</c:v>
                </c:pt>
                <c:pt idx="3">
                  <c:v>106.48631723845531</c:v>
                </c:pt>
                <c:pt idx="4">
                  <c:v>110.5253433680105</c:v>
                </c:pt>
                <c:pt idx="5">
                  <c:v>111.51087601129603</c:v>
                </c:pt>
                <c:pt idx="6">
                  <c:v>101.11692332748932</c:v>
                </c:pt>
                <c:pt idx="7">
                  <c:v>111.51087601129603</c:v>
                </c:pt>
                <c:pt idx="8">
                  <c:v>101.17359470624496</c:v>
                </c:pt>
              </c:numCache>
            </c:numRef>
          </c:val>
          <c:extLst>
            <c:ext xmlns:c16="http://schemas.microsoft.com/office/drawing/2014/chart" uri="{C3380CC4-5D6E-409C-BE32-E72D297353CC}">
              <c16:uniqueId val="{00000009-4AF9-4E6D-A670-9F355882C4F4}"/>
            </c:ext>
          </c:extLst>
        </c:ser>
        <c:dLbls>
          <c:showLegendKey val="0"/>
          <c:showVal val="0"/>
          <c:showCatName val="0"/>
          <c:showSerName val="0"/>
          <c:showPercent val="0"/>
          <c:showBubbleSize val="0"/>
        </c:dLbls>
        <c:gapWidth val="80"/>
        <c:overlap val="100"/>
        <c:axId val="700767103"/>
        <c:axId val="1"/>
      </c:barChart>
      <c:catAx>
        <c:axId val="70076710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sz="900" kern="1200">
                <a:latin typeface="Poppins"/>
                <a:ea typeface="Poppins"/>
                <a:cs typeface="Poppins"/>
                <a:sym typeface="Poppins"/>
              </a:defRPr>
            </a:pPr>
            <a:endParaRPr lang="en-US"/>
          </a:p>
        </c:txPr>
        <c:crossAx val="1"/>
        <c:crosses val="min"/>
        <c:auto val="0"/>
        <c:lblAlgn val="ctr"/>
        <c:lblOffset val="100"/>
        <c:noMultiLvlLbl val="0"/>
      </c:catAx>
      <c:valAx>
        <c:axId val="1"/>
        <c:scaling>
          <c:orientation val="minMax"/>
          <c:max val="120"/>
          <c:min val="2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50" kern="1200">
                <a:solidFill>
                  <a:srgbClr val="10183A"/>
                </a:solidFill>
                <a:latin typeface="Poppins"/>
                <a:ea typeface="Poppins"/>
                <a:cs typeface="Poppins"/>
                <a:sym typeface="Poppins"/>
              </a:defRPr>
            </a:pPr>
            <a:endParaRPr lang="en-US"/>
          </a:p>
        </c:txPr>
        <c:crossAx val="700767103"/>
        <c:crosses val="min"/>
        <c:crossBetween val="between"/>
        <c:majorUnit val="2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007467330429367E-2"/>
          <c:y val="2.6005688744412839E-2"/>
          <c:w val="0.89981331673926568"/>
          <c:h val="0.94758228362454289"/>
        </c:manualLayout>
      </c:layout>
      <c:barChart>
        <c:barDir val="col"/>
        <c:grouping val="stacked"/>
        <c:varyColors val="0"/>
        <c:ser>
          <c:idx val="0"/>
          <c:order val="0"/>
          <c:spPr>
            <a:solidFill>
              <a:srgbClr val="CF00E8"/>
            </a:solidFill>
            <a:ln>
              <a:noFill/>
            </a:ln>
          </c:spPr>
          <c:invertIfNegative val="0"/>
          <c:dLbls>
            <c:dLbl>
              <c:idx val="0"/>
              <c:layout>
                <c:manualLayout>
                  <c:x val="0"/>
                  <c:y val="-0.37505079236082894"/>
                </c:manualLayout>
              </c:layout>
              <c:numFmt formatCode="#,##0;&quot;-&quot;#,##0" sourceLinked="0"/>
              <c:spPr>
                <a:noFill/>
                <a:ln>
                  <a:noFill/>
                </a:ln>
              </c:spPr>
              <c:txPr>
                <a:bodyPr wrap="none"/>
                <a:lstStyle/>
                <a:p>
                  <a:pPr>
                    <a:defRPr sz="1050" kern="1200">
                      <a:solidFill>
                        <a:srgbClr val="10183A"/>
                      </a:solidFill>
                      <a:latin typeface="Poppins"/>
                      <a:ea typeface="+mn-ea"/>
                      <a:cs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FD2-4719-8B6B-174125073F3F}"/>
                </c:ext>
              </c:extLst>
            </c:dLbl>
            <c:dLbl>
              <c:idx val="1"/>
              <c:layout>
                <c:manualLayout>
                  <c:x val="0"/>
                  <c:y val="-0.41852905323039413"/>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FD2-4719-8B6B-174125073F3F}"/>
                </c:ext>
              </c:extLst>
            </c:dLbl>
            <c:dLbl>
              <c:idx val="2"/>
              <c:layout>
                <c:manualLayout>
                  <c:x val="0"/>
                  <c:y val="-0.36529865908167414"/>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FD2-4719-8B6B-174125073F3F}"/>
                </c:ext>
              </c:extLst>
            </c:dLbl>
            <c:dLbl>
              <c:idx val="3"/>
              <c:layout>
                <c:manualLayout>
                  <c:x val="0"/>
                  <c:y val="-0.11865095489638358"/>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FD2-4719-8B6B-174125073F3F}"/>
                </c:ext>
              </c:extLst>
            </c:dLbl>
            <c:dLbl>
              <c:idx val="4"/>
              <c:layout>
                <c:manualLayout>
                  <c:x val="0"/>
                  <c:y val="-0.21739130434782608"/>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FD2-4719-8B6B-174125073F3F}"/>
                </c:ext>
              </c:extLst>
            </c:dLbl>
            <c:dLbl>
              <c:idx val="5"/>
              <c:layout>
                <c:manualLayout>
                  <c:x val="0"/>
                  <c:y val="-0.27184071515644048"/>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FD2-4719-8B6B-174125073F3F}"/>
                </c:ext>
              </c:extLst>
            </c:dLbl>
            <c:dLbl>
              <c:idx val="6"/>
              <c:layout>
                <c:manualLayout>
                  <c:x val="0"/>
                  <c:y val="-0.29662738724095894"/>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FD2-4719-8B6B-174125073F3F}"/>
                </c:ext>
              </c:extLst>
            </c:dLbl>
            <c:dLbl>
              <c:idx val="7"/>
              <c:layout>
                <c:manualLayout>
                  <c:x val="0"/>
                  <c:y val="-0.27184071515644048"/>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FD2-4719-8B6B-174125073F3F}"/>
                </c:ext>
              </c:extLst>
            </c:dLbl>
            <c:dLbl>
              <c:idx val="8"/>
              <c:layout>
                <c:manualLayout>
                  <c:x val="0"/>
                  <c:y val="-0.36407964242177976"/>
                </c:manualLayout>
              </c:layout>
              <c:numFmt formatCode="#,##0;&quot;-&quot;#,##0" sourceLinked="0"/>
              <c:spPr>
                <a:noFill/>
                <a:ln>
                  <a:noFill/>
                </a:ln>
              </c:spPr>
              <c:txPr>
                <a:bodyPr wrap="none"/>
                <a:lstStyle/>
                <a:p>
                  <a:pPr>
                    <a:defRPr sz="1050" kern="1200">
                      <a:solidFill>
                        <a:srgbClr val="10183A"/>
                      </a:solidFill>
                      <a:latin typeface="Poppins"/>
                      <a:ea typeface="Poppins"/>
                      <a:cs typeface="Poppins"/>
                      <a:sym typeface="Poppin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FD2-4719-8B6B-174125073F3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93.591092846359615</c:v>
                </c:pt>
                <c:pt idx="1">
                  <c:v>102.82342198571146</c:v>
                </c:pt>
                <c:pt idx="2">
                  <c:v>91.482010803876122</c:v>
                </c:pt>
                <c:pt idx="3">
                  <c:v>39.461228931150693</c:v>
                </c:pt>
                <c:pt idx="4">
                  <c:v>60.32939596592405</c:v>
                </c:pt>
                <c:pt idx="5">
                  <c:v>71.781064435367114</c:v>
                </c:pt>
                <c:pt idx="6">
                  <c:v>77.041827539222695</c:v>
                </c:pt>
                <c:pt idx="7">
                  <c:v>71.781064435367114</c:v>
                </c:pt>
                <c:pt idx="8">
                  <c:v>91.2558477171943</c:v>
                </c:pt>
              </c:numCache>
            </c:numRef>
          </c:val>
          <c:extLst>
            <c:ext xmlns:c16="http://schemas.microsoft.com/office/drawing/2014/chart" uri="{C3380CC4-5D6E-409C-BE32-E72D297353CC}">
              <c16:uniqueId val="{00000009-9FD2-4719-8B6B-174125073F3F}"/>
            </c:ext>
          </c:extLst>
        </c:ser>
        <c:dLbls>
          <c:showLegendKey val="0"/>
          <c:showVal val="0"/>
          <c:showCatName val="0"/>
          <c:showSerName val="0"/>
          <c:showPercent val="0"/>
          <c:showBubbleSize val="0"/>
        </c:dLbls>
        <c:gapWidth val="80"/>
        <c:overlap val="100"/>
        <c:axId val="855048719"/>
        <c:axId val="1"/>
      </c:barChart>
      <c:catAx>
        <c:axId val="85504871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sz="900" kern="1200">
                <a:latin typeface="Poppins"/>
                <a:ea typeface="Poppins"/>
                <a:cs typeface="Poppins"/>
                <a:sym typeface="Poppins"/>
              </a:defRPr>
            </a:pPr>
            <a:endParaRPr lang="en-US"/>
          </a:p>
        </c:txPr>
        <c:crossAx val="1"/>
        <c:crosses val="min"/>
        <c:auto val="0"/>
        <c:lblAlgn val="ctr"/>
        <c:lblOffset val="100"/>
        <c:noMultiLvlLbl val="0"/>
      </c:catAx>
      <c:valAx>
        <c:axId val="1"/>
        <c:scaling>
          <c:orientation val="minMax"/>
          <c:max val="120"/>
          <c:min val="2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50" kern="1200">
                <a:solidFill>
                  <a:srgbClr val="10183A"/>
                </a:solidFill>
                <a:latin typeface="Poppins"/>
                <a:ea typeface="Poppins"/>
                <a:cs typeface="Poppins"/>
                <a:sym typeface="Poppins"/>
              </a:defRPr>
            </a:pPr>
            <a:endParaRPr lang="en-US"/>
          </a:p>
        </c:txPr>
        <c:crossAx val="855048719"/>
        <c:crosses val="min"/>
        <c:crossBetween val="between"/>
        <c:majorUnit val="2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536504089669798E-2"/>
          <c:y val="2.6578073089700997E-2"/>
          <c:w val="0.96258709481975158"/>
          <c:h val="0.9464285714285714"/>
        </c:manualLayout>
      </c:layout>
      <c:scatterChart>
        <c:scatterStyle val="lineMarker"/>
        <c:varyColors val="0"/>
        <c:ser>
          <c:idx val="0"/>
          <c:order val="0"/>
          <c:spPr>
            <a:ln w="28575" algn="ctr">
              <a:solidFill>
                <a:srgbClr val="0065FF"/>
              </a:solidFill>
              <a:prstDash val="solid"/>
            </a:ln>
          </c:spPr>
          <c:marker>
            <c:symbol val="none"/>
          </c:marker>
          <c:xVal>
            <c:numRef>
              <c:f>Sheet1!$A$1:$AX$1</c:f>
              <c:numCache>
                <c:formatCode>General</c:formatCode>
                <c:ptCount val="50"/>
                <c:pt idx="0">
                  <c:v>17897</c:v>
                </c:pt>
                <c:pt idx="1">
                  <c:v>17928</c:v>
                </c:pt>
                <c:pt idx="2">
                  <c:v>17956</c:v>
                </c:pt>
                <c:pt idx="3">
                  <c:v>17987</c:v>
                </c:pt>
                <c:pt idx="4">
                  <c:v>18017</c:v>
                </c:pt>
                <c:pt idx="5">
                  <c:v>18048</c:v>
                </c:pt>
                <c:pt idx="6">
                  <c:v>18078</c:v>
                </c:pt>
                <c:pt idx="7">
                  <c:v>18109</c:v>
                </c:pt>
                <c:pt idx="8">
                  <c:v>18140</c:v>
                </c:pt>
                <c:pt idx="9">
                  <c:v>18170</c:v>
                </c:pt>
                <c:pt idx="10">
                  <c:v>18201</c:v>
                </c:pt>
                <c:pt idx="11">
                  <c:v>18231</c:v>
                </c:pt>
                <c:pt idx="12">
                  <c:v>18262</c:v>
                </c:pt>
                <c:pt idx="13">
                  <c:v>18293</c:v>
                </c:pt>
                <c:pt idx="14">
                  <c:v>18322</c:v>
                </c:pt>
                <c:pt idx="15">
                  <c:v>18353</c:v>
                </c:pt>
                <c:pt idx="16">
                  <c:v>18383</c:v>
                </c:pt>
                <c:pt idx="17">
                  <c:v>18414</c:v>
                </c:pt>
                <c:pt idx="18">
                  <c:v>18444</c:v>
                </c:pt>
                <c:pt idx="19">
                  <c:v>18475</c:v>
                </c:pt>
                <c:pt idx="20">
                  <c:v>18506</c:v>
                </c:pt>
                <c:pt idx="21">
                  <c:v>18536</c:v>
                </c:pt>
                <c:pt idx="22">
                  <c:v>18567</c:v>
                </c:pt>
                <c:pt idx="23">
                  <c:v>18597</c:v>
                </c:pt>
                <c:pt idx="24">
                  <c:v>18628</c:v>
                </c:pt>
                <c:pt idx="25">
                  <c:v>18659</c:v>
                </c:pt>
                <c:pt idx="26">
                  <c:v>18687</c:v>
                </c:pt>
                <c:pt idx="27">
                  <c:v>18718</c:v>
                </c:pt>
                <c:pt idx="28">
                  <c:v>18748</c:v>
                </c:pt>
                <c:pt idx="29">
                  <c:v>18779</c:v>
                </c:pt>
                <c:pt idx="30">
                  <c:v>18809</c:v>
                </c:pt>
                <c:pt idx="31">
                  <c:v>18840</c:v>
                </c:pt>
                <c:pt idx="32">
                  <c:v>18871</c:v>
                </c:pt>
                <c:pt idx="33">
                  <c:v>18901</c:v>
                </c:pt>
                <c:pt idx="34">
                  <c:v>18932</c:v>
                </c:pt>
                <c:pt idx="35">
                  <c:v>18962</c:v>
                </c:pt>
                <c:pt idx="36">
                  <c:v>18993</c:v>
                </c:pt>
                <c:pt idx="37">
                  <c:v>19024</c:v>
                </c:pt>
                <c:pt idx="38">
                  <c:v>19052</c:v>
                </c:pt>
                <c:pt idx="39">
                  <c:v>19083</c:v>
                </c:pt>
                <c:pt idx="40">
                  <c:v>19113</c:v>
                </c:pt>
                <c:pt idx="41">
                  <c:v>19144</c:v>
                </c:pt>
                <c:pt idx="42">
                  <c:v>19174</c:v>
                </c:pt>
                <c:pt idx="43">
                  <c:v>19205</c:v>
                </c:pt>
                <c:pt idx="44">
                  <c:v>19236</c:v>
                </c:pt>
                <c:pt idx="45">
                  <c:v>19266</c:v>
                </c:pt>
                <c:pt idx="46">
                  <c:v>19297</c:v>
                </c:pt>
                <c:pt idx="47">
                  <c:v>19327</c:v>
                </c:pt>
                <c:pt idx="48">
                  <c:v>19358</c:v>
                </c:pt>
                <c:pt idx="49">
                  <c:v>19389</c:v>
                </c:pt>
              </c:numCache>
            </c:numRef>
          </c:xVal>
          <c:yVal>
            <c:numRef>
              <c:f>Sheet1!$A$2:$AX$2</c:f>
              <c:numCache>
                <c:formatCode>General</c:formatCode>
                <c:ptCount val="50"/>
                <c:pt idx="0">
                  <c:v>1.6358999999999999</c:v>
                </c:pt>
                <c:pt idx="1">
                  <c:v>1.591</c:v>
                </c:pt>
                <c:pt idx="2">
                  <c:v>1.5673999999999999</c:v>
                </c:pt>
                <c:pt idx="3">
                  <c:v>1.5649999999999999</c:v>
                </c:pt>
                <c:pt idx="4">
                  <c:v>1.5464</c:v>
                </c:pt>
                <c:pt idx="5">
                  <c:v>1.5181</c:v>
                </c:pt>
                <c:pt idx="6">
                  <c:v>1.4967999999999999</c:v>
                </c:pt>
                <c:pt idx="7">
                  <c:v>1.4809000000000001</c:v>
                </c:pt>
                <c:pt idx="8">
                  <c:v>1.4689000000000001</c:v>
                </c:pt>
                <c:pt idx="9">
                  <c:v>1.4641</c:v>
                </c:pt>
                <c:pt idx="10">
                  <c:v>1.4657</c:v>
                </c:pt>
                <c:pt idx="11">
                  <c:v>1.4767999999999999</c:v>
                </c:pt>
                <c:pt idx="12">
                  <c:v>1.4803999999999999</c:v>
                </c:pt>
                <c:pt idx="13">
                  <c:v>1.4706999999999999</c:v>
                </c:pt>
                <c:pt idx="14">
                  <c:v>1.5250999999999999</c:v>
                </c:pt>
                <c:pt idx="15">
                  <c:v>1.9504999999999999</c:v>
                </c:pt>
                <c:pt idx="16">
                  <c:v>2.0623</c:v>
                </c:pt>
                <c:pt idx="17">
                  <c:v>2.0461999999999998</c:v>
                </c:pt>
                <c:pt idx="18">
                  <c:v>2.0720000000000001</c:v>
                </c:pt>
                <c:pt idx="19">
                  <c:v>2.1248</c:v>
                </c:pt>
                <c:pt idx="20">
                  <c:v>2.1231</c:v>
                </c:pt>
                <c:pt idx="21">
                  <c:v>2.1263999999999998</c:v>
                </c:pt>
                <c:pt idx="22">
                  <c:v>2.1579000000000002</c:v>
                </c:pt>
                <c:pt idx="23">
                  <c:v>2.2008999999999999</c:v>
                </c:pt>
                <c:pt idx="24">
                  <c:v>2.2490000000000001</c:v>
                </c:pt>
                <c:pt idx="25">
                  <c:v>2.2202999999999999</c:v>
                </c:pt>
                <c:pt idx="26">
                  <c:v>2.2322000000000002</c:v>
                </c:pt>
                <c:pt idx="27">
                  <c:v>2.2711000000000001</c:v>
                </c:pt>
                <c:pt idx="28">
                  <c:v>2.3043999999999998</c:v>
                </c:pt>
                <c:pt idx="29">
                  <c:v>2.3155000000000001</c:v>
                </c:pt>
                <c:pt idx="30">
                  <c:v>2.2883</c:v>
                </c:pt>
                <c:pt idx="31">
                  <c:v>2.2980999999999998</c:v>
                </c:pt>
                <c:pt idx="32">
                  <c:v>2.3203999999999998</c:v>
                </c:pt>
                <c:pt idx="33">
                  <c:v>2.3704000000000001</c:v>
                </c:pt>
                <c:pt idx="34">
                  <c:v>2.4426000000000001</c:v>
                </c:pt>
                <c:pt idx="35">
                  <c:v>2.4881000000000002</c:v>
                </c:pt>
                <c:pt idx="36">
                  <c:v>2.5093000000000001</c:v>
                </c:pt>
                <c:pt idx="37">
                  <c:v>2.4969999999999999</c:v>
                </c:pt>
                <c:pt idx="38">
                  <c:v>2.5842999999999998</c:v>
                </c:pt>
                <c:pt idx="39">
                  <c:v>2.6589</c:v>
                </c:pt>
                <c:pt idx="40">
                  <c:v>2.6928000000000001</c:v>
                </c:pt>
                <c:pt idx="41">
                  <c:v>2.6745999999999999</c:v>
                </c:pt>
                <c:pt idx="42">
                  <c:v>2.593</c:v>
                </c:pt>
                <c:pt idx="43">
                  <c:v>2.5024999999999999</c:v>
                </c:pt>
                <c:pt idx="44">
                  <c:v>2.4249999999999998</c:v>
                </c:pt>
                <c:pt idx="45">
                  <c:v>2.3754</c:v>
                </c:pt>
                <c:pt idx="46">
                  <c:v>2.3786</c:v>
                </c:pt>
                <c:pt idx="47">
                  <c:v>2.3864000000000001</c:v>
                </c:pt>
                <c:pt idx="48">
                  <c:v>2.2614000000000001</c:v>
                </c:pt>
                <c:pt idx="49">
                  <c:v>2.1635</c:v>
                </c:pt>
              </c:numCache>
            </c:numRef>
          </c:yVal>
          <c:smooth val="1"/>
          <c:extLst>
            <c:ext xmlns:c16="http://schemas.microsoft.com/office/drawing/2014/chart" uri="{C3380CC4-5D6E-409C-BE32-E72D297353CC}">
              <c16:uniqueId val="{00000000-BCD2-4E74-B3A5-6E272F59A644}"/>
            </c:ext>
          </c:extLst>
        </c:ser>
        <c:ser>
          <c:idx val="1"/>
          <c:order val="1"/>
          <c:spPr>
            <a:ln w="28575" algn="ctr">
              <a:solidFill>
                <a:srgbClr val="CF00E8"/>
              </a:solidFill>
              <a:prstDash val="solid"/>
            </a:ln>
          </c:spPr>
          <c:marker>
            <c:symbol val="none"/>
          </c:marker>
          <c:xVal>
            <c:numRef>
              <c:f>Sheet1!$A$1:$AX$1</c:f>
              <c:numCache>
                <c:formatCode>General</c:formatCode>
                <c:ptCount val="50"/>
                <c:pt idx="0">
                  <c:v>17897</c:v>
                </c:pt>
                <c:pt idx="1">
                  <c:v>17928</c:v>
                </c:pt>
                <c:pt idx="2">
                  <c:v>17956</c:v>
                </c:pt>
                <c:pt idx="3">
                  <c:v>17987</c:v>
                </c:pt>
                <c:pt idx="4">
                  <c:v>18017</c:v>
                </c:pt>
                <c:pt idx="5">
                  <c:v>18048</c:v>
                </c:pt>
                <c:pt idx="6">
                  <c:v>18078</c:v>
                </c:pt>
                <c:pt idx="7">
                  <c:v>18109</c:v>
                </c:pt>
                <c:pt idx="8">
                  <c:v>18140</c:v>
                </c:pt>
                <c:pt idx="9">
                  <c:v>18170</c:v>
                </c:pt>
                <c:pt idx="10">
                  <c:v>18201</c:v>
                </c:pt>
                <c:pt idx="11">
                  <c:v>18231</c:v>
                </c:pt>
                <c:pt idx="12">
                  <c:v>18262</c:v>
                </c:pt>
                <c:pt idx="13">
                  <c:v>18293</c:v>
                </c:pt>
                <c:pt idx="14">
                  <c:v>18322</c:v>
                </c:pt>
                <c:pt idx="15">
                  <c:v>18353</c:v>
                </c:pt>
                <c:pt idx="16">
                  <c:v>18383</c:v>
                </c:pt>
                <c:pt idx="17">
                  <c:v>18414</c:v>
                </c:pt>
                <c:pt idx="18">
                  <c:v>18444</c:v>
                </c:pt>
                <c:pt idx="19">
                  <c:v>18475</c:v>
                </c:pt>
                <c:pt idx="20">
                  <c:v>18506</c:v>
                </c:pt>
                <c:pt idx="21">
                  <c:v>18536</c:v>
                </c:pt>
                <c:pt idx="22">
                  <c:v>18567</c:v>
                </c:pt>
                <c:pt idx="23">
                  <c:v>18597</c:v>
                </c:pt>
                <c:pt idx="24">
                  <c:v>18628</c:v>
                </c:pt>
                <c:pt idx="25">
                  <c:v>18659</c:v>
                </c:pt>
                <c:pt idx="26">
                  <c:v>18687</c:v>
                </c:pt>
                <c:pt idx="27">
                  <c:v>18718</c:v>
                </c:pt>
                <c:pt idx="28">
                  <c:v>18748</c:v>
                </c:pt>
                <c:pt idx="29">
                  <c:v>18779</c:v>
                </c:pt>
                <c:pt idx="30">
                  <c:v>18809</c:v>
                </c:pt>
                <c:pt idx="31">
                  <c:v>18840</c:v>
                </c:pt>
                <c:pt idx="32">
                  <c:v>18871</c:v>
                </c:pt>
                <c:pt idx="33">
                  <c:v>18901</c:v>
                </c:pt>
                <c:pt idx="34">
                  <c:v>18932</c:v>
                </c:pt>
                <c:pt idx="35">
                  <c:v>18962</c:v>
                </c:pt>
                <c:pt idx="36">
                  <c:v>18993</c:v>
                </c:pt>
                <c:pt idx="37">
                  <c:v>19024</c:v>
                </c:pt>
                <c:pt idx="38">
                  <c:v>19052</c:v>
                </c:pt>
                <c:pt idx="39">
                  <c:v>19083</c:v>
                </c:pt>
                <c:pt idx="40">
                  <c:v>19113</c:v>
                </c:pt>
                <c:pt idx="41">
                  <c:v>19144</c:v>
                </c:pt>
                <c:pt idx="42">
                  <c:v>19174</c:v>
                </c:pt>
                <c:pt idx="43">
                  <c:v>19205</c:v>
                </c:pt>
                <c:pt idx="44">
                  <c:v>19236</c:v>
                </c:pt>
                <c:pt idx="45">
                  <c:v>19266</c:v>
                </c:pt>
                <c:pt idx="46">
                  <c:v>19297</c:v>
                </c:pt>
                <c:pt idx="47">
                  <c:v>19327</c:v>
                </c:pt>
                <c:pt idx="48">
                  <c:v>19358</c:v>
                </c:pt>
                <c:pt idx="49">
                  <c:v>19389</c:v>
                </c:pt>
              </c:numCache>
            </c:numRef>
          </c:xVal>
          <c:yVal>
            <c:numRef>
              <c:f>Sheet1!$A$3:$AX$3</c:f>
              <c:numCache>
                <c:formatCode>General</c:formatCode>
                <c:ptCount val="50"/>
                <c:pt idx="0">
                  <c:v>3.8279999999999998</c:v>
                </c:pt>
                <c:pt idx="1">
                  <c:v>3.6673</c:v>
                </c:pt>
                <c:pt idx="2">
                  <c:v>3.5808</c:v>
                </c:pt>
                <c:pt idx="3">
                  <c:v>3.5373000000000001</c:v>
                </c:pt>
                <c:pt idx="4">
                  <c:v>3.4891000000000001</c:v>
                </c:pt>
                <c:pt idx="5">
                  <c:v>3.4434</c:v>
                </c:pt>
                <c:pt idx="6">
                  <c:v>3.3936000000000002</c:v>
                </c:pt>
                <c:pt idx="7">
                  <c:v>3.355</c:v>
                </c:pt>
                <c:pt idx="8">
                  <c:v>3.3405999999999998</c:v>
                </c:pt>
                <c:pt idx="9">
                  <c:v>3.3483999999999998</c:v>
                </c:pt>
                <c:pt idx="10">
                  <c:v>3.3837000000000002</c:v>
                </c:pt>
                <c:pt idx="11">
                  <c:v>3.4073000000000002</c:v>
                </c:pt>
                <c:pt idx="12">
                  <c:v>3.5156999999999998</c:v>
                </c:pt>
                <c:pt idx="13">
                  <c:v>3.4628000000000001</c:v>
                </c:pt>
                <c:pt idx="14">
                  <c:v>3.5303</c:v>
                </c:pt>
                <c:pt idx="15">
                  <c:v>4.5876999999999999</c:v>
                </c:pt>
                <c:pt idx="16">
                  <c:v>5.3213999999999997</c:v>
                </c:pt>
                <c:pt idx="17">
                  <c:v>5.3284000000000002</c:v>
                </c:pt>
                <c:pt idx="18">
                  <c:v>5.1334999999999997</c:v>
                </c:pt>
                <c:pt idx="19">
                  <c:v>5.1478999999999999</c:v>
                </c:pt>
                <c:pt idx="20">
                  <c:v>5.1635</c:v>
                </c:pt>
                <c:pt idx="21">
                  <c:v>5.2122999999999999</c:v>
                </c:pt>
                <c:pt idx="22">
                  <c:v>5.5880999999999998</c:v>
                </c:pt>
                <c:pt idx="23">
                  <c:v>5.9432999999999998</c:v>
                </c:pt>
                <c:pt idx="24">
                  <c:v>6.0511999999999997</c:v>
                </c:pt>
                <c:pt idx="25">
                  <c:v>6.0046999999999997</c:v>
                </c:pt>
                <c:pt idx="26">
                  <c:v>5.9406999999999996</c:v>
                </c:pt>
                <c:pt idx="27">
                  <c:v>5.9753999999999996</c:v>
                </c:pt>
                <c:pt idx="28">
                  <c:v>6.1182999999999996</c:v>
                </c:pt>
                <c:pt idx="29">
                  <c:v>6.0978000000000003</c:v>
                </c:pt>
                <c:pt idx="30">
                  <c:v>5.9874000000000001</c:v>
                </c:pt>
                <c:pt idx="31">
                  <c:v>5.9843999999999999</c:v>
                </c:pt>
                <c:pt idx="32">
                  <c:v>6.1635</c:v>
                </c:pt>
                <c:pt idx="33">
                  <c:v>6.4603999999999999</c:v>
                </c:pt>
                <c:pt idx="34">
                  <c:v>6.8635999999999999</c:v>
                </c:pt>
                <c:pt idx="35">
                  <c:v>7.1890000000000001</c:v>
                </c:pt>
                <c:pt idx="36">
                  <c:v>7.3762999999999996</c:v>
                </c:pt>
                <c:pt idx="37">
                  <c:v>6.9733999999999998</c:v>
                </c:pt>
                <c:pt idx="38">
                  <c:v>6.9332000000000003</c:v>
                </c:pt>
                <c:pt idx="39">
                  <c:v>7.1200999999999999</c:v>
                </c:pt>
                <c:pt idx="40">
                  <c:v>6.9535999999999998</c:v>
                </c:pt>
                <c:pt idx="41">
                  <c:v>6.7140000000000004</c:v>
                </c:pt>
                <c:pt idx="42">
                  <c:v>6.4425999999999997</c:v>
                </c:pt>
                <c:pt idx="43">
                  <c:v>6.1153000000000004</c:v>
                </c:pt>
                <c:pt idx="44">
                  <c:v>5.8803000000000001</c:v>
                </c:pt>
                <c:pt idx="45">
                  <c:v>5.6593999999999998</c:v>
                </c:pt>
                <c:pt idx="46">
                  <c:v>5.5873999999999997</c:v>
                </c:pt>
                <c:pt idx="47">
                  <c:v>5.5293000000000001</c:v>
                </c:pt>
                <c:pt idx="48">
                  <c:v>5.4054000000000002</c:v>
                </c:pt>
                <c:pt idx="49">
                  <c:v>5.1783999999999999</c:v>
                </c:pt>
              </c:numCache>
            </c:numRef>
          </c:yVal>
          <c:smooth val="1"/>
          <c:extLst>
            <c:ext xmlns:c16="http://schemas.microsoft.com/office/drawing/2014/chart" uri="{C3380CC4-5D6E-409C-BE32-E72D297353CC}">
              <c16:uniqueId val="{00000001-BCD2-4E74-B3A5-6E272F59A644}"/>
            </c:ext>
          </c:extLst>
        </c:ser>
        <c:dLbls>
          <c:showLegendKey val="0"/>
          <c:showVal val="0"/>
          <c:showCatName val="0"/>
          <c:showSerName val="0"/>
          <c:showPercent val="0"/>
          <c:showBubbleSize val="0"/>
        </c:dLbls>
        <c:axId val="1774810111"/>
        <c:axId val="1"/>
      </c:scatterChart>
      <c:valAx>
        <c:axId val="1774810111"/>
        <c:scaling>
          <c:orientation val="minMax"/>
          <c:max val="19389"/>
          <c:min val="17897"/>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valAx>
      <c:valAx>
        <c:axId val="1"/>
        <c:scaling>
          <c:orientation val="minMax"/>
          <c:max val="8"/>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50" kern="1200">
                <a:solidFill>
                  <a:srgbClr val="10183A"/>
                </a:solidFill>
                <a:latin typeface="Poppins"/>
                <a:ea typeface="+mn-ea"/>
                <a:cs typeface="Poppins"/>
                <a:sym typeface="Poppins"/>
              </a:defRPr>
            </a:pPr>
            <a:endParaRPr lang="en-US"/>
          </a:p>
        </c:txPr>
        <c:crossAx val="1774810111"/>
        <c:crosses val="min"/>
        <c:crossBetween val="midCat"/>
        <c:majorUnit val="1"/>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3D316B-06FB-3147-B9DA-26FDD32A4ABB}" type="datetimeFigureOut">
              <a:rPr lang="en-NO" smtClean="0"/>
              <a:t>03/10/2023</a:t>
            </a:fld>
            <a:endParaRPr lang="en-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8BFFD6-7D67-8D41-BC72-4A43D89C41B4}" type="slidenum">
              <a:rPr lang="en-NO" smtClean="0"/>
              <a:t>‹#›</a:t>
            </a:fld>
            <a:endParaRPr lang="en-NO"/>
          </a:p>
        </p:txBody>
      </p:sp>
    </p:spTree>
    <p:extLst>
      <p:ext uri="{BB962C8B-B14F-4D97-AF65-F5344CB8AC3E}">
        <p14:creationId xmlns:p14="http://schemas.microsoft.com/office/powerpoint/2010/main" val="1690458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48BFFD6-7D67-8D41-BC72-4A43D89C41B4}" type="slidenum">
              <a:rPr lang="en-NO" smtClean="0"/>
              <a:t>1</a:t>
            </a:fld>
            <a:endParaRPr lang="en-NO"/>
          </a:p>
        </p:txBody>
      </p:sp>
    </p:spTree>
    <p:extLst>
      <p:ext uri="{BB962C8B-B14F-4D97-AF65-F5344CB8AC3E}">
        <p14:creationId xmlns:p14="http://schemas.microsoft.com/office/powerpoint/2010/main" val="14073054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b="0" i="0" u="none" strike="noStrike">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948BFFD6-7D67-8D41-BC72-4A43D89C41B4}" type="slidenum">
              <a:rPr lang="en-NO" smtClean="0"/>
              <a:t>11</a:t>
            </a:fld>
            <a:endParaRPr lang="en-NO"/>
          </a:p>
        </p:txBody>
      </p:sp>
    </p:spTree>
    <p:extLst>
      <p:ext uri="{BB962C8B-B14F-4D97-AF65-F5344CB8AC3E}">
        <p14:creationId xmlns:p14="http://schemas.microsoft.com/office/powerpoint/2010/main" val="14664806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a:p>
        </p:txBody>
      </p:sp>
      <p:sp>
        <p:nvSpPr>
          <p:cNvPr id="4" name="Slide Number Placeholder 3"/>
          <p:cNvSpPr>
            <a:spLocks noGrp="1"/>
          </p:cNvSpPr>
          <p:nvPr>
            <p:ph type="sldNum" sz="quarter" idx="5"/>
          </p:nvPr>
        </p:nvSpPr>
        <p:spPr/>
        <p:txBody>
          <a:bodyPr/>
          <a:lstStyle/>
          <a:p>
            <a:fld id="{948BFFD6-7D67-8D41-BC72-4A43D89C41B4}" type="slidenum">
              <a:rPr lang="en-NO" smtClean="0"/>
              <a:t>2</a:t>
            </a:fld>
            <a:endParaRPr lang="en-NO"/>
          </a:p>
        </p:txBody>
      </p:sp>
    </p:spTree>
    <p:extLst>
      <p:ext uri="{BB962C8B-B14F-4D97-AF65-F5344CB8AC3E}">
        <p14:creationId xmlns:p14="http://schemas.microsoft.com/office/powerpoint/2010/main" val="38603761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8BFFD6-7D67-8D41-BC72-4A43D89C41B4}" type="slidenum">
              <a:rPr lang="en-NO" smtClean="0"/>
              <a:t>3</a:t>
            </a:fld>
            <a:endParaRPr lang="en-NO"/>
          </a:p>
        </p:txBody>
      </p:sp>
    </p:spTree>
    <p:extLst>
      <p:ext uri="{BB962C8B-B14F-4D97-AF65-F5344CB8AC3E}">
        <p14:creationId xmlns:p14="http://schemas.microsoft.com/office/powerpoint/2010/main" val="10651635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LF from Europe to NA (Nov 72%; Dec 71%; Jan 65%; Feb 71%).</a:t>
            </a:r>
          </a:p>
          <a:p>
            <a:r>
              <a:rPr lang="en-GB"/>
              <a:t>LF from APAC to Europe </a:t>
            </a:r>
            <a:r>
              <a:rPr lang="en-US"/>
              <a:t>(Nov 81%; Dec 78%; Jan 77%; Feb 74%).</a:t>
            </a:r>
            <a:endParaRPr lang="en-GB"/>
          </a:p>
          <a:p>
            <a:r>
              <a:rPr lang="en-GB"/>
              <a:t>APAC to NA (Nov 84%; Dec 87%; Jan 77%: Feb 79%).</a:t>
            </a:r>
          </a:p>
          <a:p>
            <a:r>
              <a:rPr lang="en-GB"/>
              <a:t>LATAM to NA (Nov 79%; Dec 67%; Jan 66%; Feb 67%).</a:t>
            </a:r>
          </a:p>
        </p:txBody>
      </p:sp>
      <p:sp>
        <p:nvSpPr>
          <p:cNvPr id="4" name="Slide Number Placeholder 3"/>
          <p:cNvSpPr>
            <a:spLocks noGrp="1"/>
          </p:cNvSpPr>
          <p:nvPr>
            <p:ph type="sldNum" sz="quarter" idx="5"/>
          </p:nvPr>
        </p:nvSpPr>
        <p:spPr/>
        <p:txBody>
          <a:bodyPr/>
          <a:lstStyle/>
          <a:p>
            <a:fld id="{948BFFD6-7D67-8D41-BC72-4A43D89C41B4}" type="slidenum">
              <a:rPr lang="en-NO" smtClean="0"/>
              <a:t>4</a:t>
            </a:fld>
            <a:endParaRPr lang="en-NO"/>
          </a:p>
        </p:txBody>
      </p:sp>
    </p:spTree>
    <p:extLst>
      <p:ext uri="{BB962C8B-B14F-4D97-AF65-F5344CB8AC3E}">
        <p14:creationId xmlns:p14="http://schemas.microsoft.com/office/powerpoint/2010/main" val="39431638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dirty="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948BFFD6-7D67-8D41-BC72-4A43D89C41B4}" type="slidenum">
              <a:rPr lang="en-NO" smtClean="0"/>
              <a:t>5</a:t>
            </a:fld>
            <a:endParaRPr lang="en-NO"/>
          </a:p>
        </p:txBody>
      </p:sp>
    </p:spTree>
    <p:extLst>
      <p:ext uri="{BB962C8B-B14F-4D97-AF65-F5344CB8AC3E}">
        <p14:creationId xmlns:p14="http://schemas.microsoft.com/office/powerpoint/2010/main" val="41731767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rgbClr val="1D63FF"/>
                </a:solidFill>
                <a:latin typeface="Poppins" panose="00000500000000000000" pitchFamily="2" charset="0"/>
                <a:cs typeface="Poppins" panose="00000500000000000000" pitchFamily="2" charset="0"/>
              </a:rPr>
              <a:t>What it means for contract negotiation for upcoming contracts</a:t>
            </a:r>
          </a:p>
          <a:p>
            <a:endParaRPr lang="en-US" sz="180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948BFFD6-7D67-8D41-BC72-4A43D89C41B4}" type="slidenum">
              <a:rPr lang="en-NO" smtClean="0"/>
              <a:t>7</a:t>
            </a:fld>
            <a:endParaRPr lang="en-NO"/>
          </a:p>
        </p:txBody>
      </p:sp>
    </p:spTree>
    <p:extLst>
      <p:ext uri="{BB962C8B-B14F-4D97-AF65-F5344CB8AC3E}">
        <p14:creationId xmlns:p14="http://schemas.microsoft.com/office/powerpoint/2010/main" val="21291984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Calibri" panose="020F0502020204030204" pitchFamily="34" charset="0"/>
              <a:ea typeface="DengXian" panose="02010600030101010101" pitchFamily="2" charset="-122"/>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948BFFD6-7D67-8D41-BC72-4A43D89C41B4}" type="slidenum">
              <a:rPr lang="en-NO" smtClean="0"/>
              <a:t>8</a:t>
            </a:fld>
            <a:endParaRPr lang="en-NO"/>
          </a:p>
        </p:txBody>
      </p:sp>
    </p:spTree>
    <p:extLst>
      <p:ext uri="{BB962C8B-B14F-4D97-AF65-F5344CB8AC3E}">
        <p14:creationId xmlns:p14="http://schemas.microsoft.com/office/powerpoint/2010/main" val="31057032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48BFFD6-7D67-8D41-BC72-4A43D89C41B4}" type="slidenum">
              <a:rPr lang="en-NO" smtClean="0"/>
              <a:t>9</a:t>
            </a:fld>
            <a:endParaRPr lang="en-NO"/>
          </a:p>
        </p:txBody>
      </p:sp>
    </p:spTree>
    <p:extLst>
      <p:ext uri="{BB962C8B-B14F-4D97-AF65-F5344CB8AC3E}">
        <p14:creationId xmlns:p14="http://schemas.microsoft.com/office/powerpoint/2010/main" val="32471081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a:solidFill>
                  <a:srgbClr val="000000"/>
                </a:solidFill>
                <a:effectLst/>
                <a:latin typeface="Calibri" panose="020F0502020204030204" pitchFamily="34" charset="0"/>
              </a:rPr>
              <a:t>NOTE this is the average of short and long term contract rates.</a:t>
            </a:r>
          </a:p>
        </p:txBody>
      </p:sp>
      <p:sp>
        <p:nvSpPr>
          <p:cNvPr id="4" name="Slide Number Placeholder 3"/>
          <p:cNvSpPr>
            <a:spLocks noGrp="1"/>
          </p:cNvSpPr>
          <p:nvPr>
            <p:ph type="sldNum" sz="quarter" idx="5"/>
          </p:nvPr>
        </p:nvSpPr>
        <p:spPr/>
        <p:txBody>
          <a:bodyPr/>
          <a:lstStyle/>
          <a:p>
            <a:fld id="{948BFFD6-7D67-8D41-BC72-4A43D89C41B4}" type="slidenum">
              <a:rPr lang="en-NO" smtClean="0"/>
              <a:t>10</a:t>
            </a:fld>
            <a:endParaRPr lang="en-NO"/>
          </a:p>
        </p:txBody>
      </p:sp>
    </p:spTree>
    <p:extLst>
      <p:ext uri="{BB962C8B-B14F-4D97-AF65-F5344CB8AC3E}">
        <p14:creationId xmlns:p14="http://schemas.microsoft.com/office/powerpoint/2010/main" val="34363617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0.png"/><Relationship Id="rId5" Type="http://schemas.openxmlformats.org/officeDocument/2006/relationships/image" Target="../media/image23.png"/><Relationship Id="rId4" Type="http://schemas.openxmlformats.org/officeDocument/2006/relationships/image" Target="../media/image22.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With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0F385-6671-B2F9-DDA6-C804EA84E128}"/>
              </a:ext>
            </a:extLst>
          </p:cNvPr>
          <p:cNvSpPr>
            <a:spLocks noGrp="1"/>
          </p:cNvSpPr>
          <p:nvPr>
            <p:ph type="ctrTitle" hasCustomPrompt="1"/>
          </p:nvPr>
        </p:nvSpPr>
        <p:spPr>
          <a:xfrm>
            <a:off x="4038600" y="2808202"/>
            <a:ext cx="6629399" cy="921300"/>
          </a:xfrm>
        </p:spPr>
        <p:txBody>
          <a:bodyPr anchor="b">
            <a:noAutofit/>
          </a:bodyPr>
          <a:lstStyle>
            <a:lvl1pPr algn="l">
              <a:defRPr sz="5000">
                <a:solidFill>
                  <a:srgbClr val="1C63FF"/>
                </a:solidFill>
                <a:latin typeface="Poppins" pitchFamily="2" charset="77"/>
                <a:cs typeface="Poppins" pitchFamily="2" charset="77"/>
              </a:defRPr>
            </a:lvl1pPr>
          </a:lstStyle>
          <a:p>
            <a:r>
              <a:rPr lang="en-GB"/>
              <a:t>Click to Edit Title</a:t>
            </a:r>
            <a:endParaRPr lang="en-NO"/>
          </a:p>
        </p:txBody>
      </p:sp>
      <p:sp>
        <p:nvSpPr>
          <p:cNvPr id="3" name="Subtitle 2">
            <a:extLst>
              <a:ext uri="{FF2B5EF4-FFF2-40B4-BE49-F238E27FC236}">
                <a16:creationId xmlns:a16="http://schemas.microsoft.com/office/drawing/2014/main" id="{F9FA47DF-B7F8-6D83-39C6-1303B23408A1}"/>
              </a:ext>
            </a:extLst>
          </p:cNvPr>
          <p:cNvSpPr>
            <a:spLocks noGrp="1"/>
          </p:cNvSpPr>
          <p:nvPr>
            <p:ph type="subTitle" idx="1"/>
          </p:nvPr>
        </p:nvSpPr>
        <p:spPr>
          <a:xfrm>
            <a:off x="4038600" y="3821578"/>
            <a:ext cx="6629400" cy="730530"/>
          </a:xfrm>
        </p:spPr>
        <p:txBody>
          <a:bodyPr/>
          <a:lstStyle>
            <a:lvl1pPr marL="0" indent="0" algn="l">
              <a:buNone/>
              <a:defRPr sz="2400" b="1" i="0">
                <a:solidFill>
                  <a:srgbClr val="BD10E0"/>
                </a:solidFill>
                <a:latin typeface="Poppins SemiBold" pitchFamily="2" charset="77"/>
                <a:cs typeface="Poppins Semi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NO"/>
          </a:p>
        </p:txBody>
      </p:sp>
      <p:pic>
        <p:nvPicPr>
          <p:cNvPr id="13" name="Picture 12">
            <a:extLst>
              <a:ext uri="{FF2B5EF4-FFF2-40B4-BE49-F238E27FC236}">
                <a16:creationId xmlns:a16="http://schemas.microsoft.com/office/drawing/2014/main" id="{642A2F71-CC25-19D5-4756-B50E4784BA6C}"/>
              </a:ext>
            </a:extLst>
          </p:cNvPr>
          <p:cNvPicPr>
            <a:picLocks noChangeAspect="1"/>
          </p:cNvPicPr>
          <p:nvPr userDrawn="1"/>
        </p:nvPicPr>
        <p:blipFill>
          <a:blip r:embed="rId3"/>
          <a:stretch>
            <a:fillRect/>
          </a:stretch>
        </p:blipFill>
        <p:spPr>
          <a:xfrm>
            <a:off x="11136415" y="537461"/>
            <a:ext cx="569240" cy="538303"/>
          </a:xfrm>
          <a:prstGeom prst="rect">
            <a:avLst/>
          </a:prstGeom>
        </p:spPr>
      </p:pic>
      <p:sp>
        <p:nvSpPr>
          <p:cNvPr id="21" name="Text Placeholder 20">
            <a:extLst>
              <a:ext uri="{FF2B5EF4-FFF2-40B4-BE49-F238E27FC236}">
                <a16:creationId xmlns:a16="http://schemas.microsoft.com/office/drawing/2014/main" id="{03F8806C-4603-05C5-08BB-D002816592B5}"/>
              </a:ext>
            </a:extLst>
          </p:cNvPr>
          <p:cNvSpPr>
            <a:spLocks noGrp="1"/>
          </p:cNvSpPr>
          <p:nvPr>
            <p:ph type="body" sz="quarter" idx="13" hasCustomPrompt="1"/>
          </p:nvPr>
        </p:nvSpPr>
        <p:spPr>
          <a:xfrm>
            <a:off x="4038528" y="4973434"/>
            <a:ext cx="2566988" cy="587398"/>
          </a:xfrm>
        </p:spPr>
        <p:txBody>
          <a:bodyPr>
            <a:normAutofit/>
          </a:bodyPr>
          <a:lstStyle>
            <a:lvl1pPr marL="0" indent="0">
              <a:lnSpc>
                <a:spcPct val="100000"/>
              </a:lnSpc>
              <a:spcBef>
                <a:spcPts val="0"/>
              </a:spcBef>
              <a:buNone/>
              <a:defRPr sz="1500">
                <a:solidFill>
                  <a:srgbClr val="10183A"/>
                </a:solidFill>
              </a:defRPr>
            </a:lvl1pPr>
            <a:lvl5pPr marL="1828800" indent="0">
              <a:buNone/>
              <a:defRPr/>
            </a:lvl5pPr>
          </a:lstStyle>
          <a:p>
            <a:r>
              <a:rPr lang="en-GB"/>
              <a:t>First Name Last Name</a:t>
            </a:r>
          </a:p>
          <a:p>
            <a:r>
              <a:rPr lang="en-GB"/>
              <a:t>Position</a:t>
            </a:r>
          </a:p>
        </p:txBody>
      </p:sp>
      <p:sp>
        <p:nvSpPr>
          <p:cNvPr id="22" name="Text Placeholder 20">
            <a:extLst>
              <a:ext uri="{FF2B5EF4-FFF2-40B4-BE49-F238E27FC236}">
                <a16:creationId xmlns:a16="http://schemas.microsoft.com/office/drawing/2014/main" id="{8BE214AF-8587-5B56-3441-DE56617F6D2C}"/>
              </a:ext>
            </a:extLst>
          </p:cNvPr>
          <p:cNvSpPr>
            <a:spLocks noGrp="1"/>
          </p:cNvSpPr>
          <p:nvPr>
            <p:ph type="body" sz="quarter" idx="14" hasCustomPrompt="1"/>
          </p:nvPr>
        </p:nvSpPr>
        <p:spPr>
          <a:xfrm>
            <a:off x="7025752" y="4973434"/>
            <a:ext cx="2566988" cy="587398"/>
          </a:xfrm>
        </p:spPr>
        <p:txBody>
          <a:bodyPr>
            <a:normAutofit/>
          </a:bodyPr>
          <a:lstStyle>
            <a:lvl1pPr marL="0" indent="0">
              <a:lnSpc>
                <a:spcPct val="100000"/>
              </a:lnSpc>
              <a:spcBef>
                <a:spcPts val="0"/>
              </a:spcBef>
              <a:buNone/>
              <a:defRPr sz="1500">
                <a:solidFill>
                  <a:schemeClr val="tx1"/>
                </a:solidFill>
              </a:defRPr>
            </a:lvl1pPr>
            <a:lvl5pPr marL="1828800" indent="0">
              <a:buNone/>
              <a:defRPr/>
            </a:lvl5pPr>
          </a:lstStyle>
          <a:p>
            <a:r>
              <a:rPr lang="en-GB" sz="1500" kern="1200" err="1">
                <a:solidFill>
                  <a:srgbClr val="10183A"/>
                </a:solidFill>
                <a:effectLst/>
                <a:latin typeface="Poppins" pitchFamily="2" charset="77"/>
                <a:ea typeface="+mn-ea"/>
                <a:cs typeface="Poppins" pitchFamily="2" charset="77"/>
              </a:rPr>
              <a:t>dd.mm.yyyy</a:t>
            </a:r>
            <a:endParaRPr lang="en-GB" sz="1500" kern="1200">
              <a:solidFill>
                <a:srgbClr val="10183A"/>
              </a:solidFill>
              <a:effectLst/>
              <a:latin typeface="Poppins" pitchFamily="2" charset="77"/>
              <a:ea typeface="+mn-ea"/>
              <a:cs typeface="Poppins" pitchFamily="2" charset="77"/>
            </a:endParaRPr>
          </a:p>
          <a:p>
            <a:r>
              <a:rPr lang="en-GB" sz="1500" kern="1200">
                <a:solidFill>
                  <a:srgbClr val="10183A"/>
                </a:solidFill>
                <a:effectLst/>
                <a:latin typeface="Poppins" pitchFamily="2" charset="77"/>
                <a:ea typeface="+mn-ea"/>
                <a:cs typeface="Poppins" pitchFamily="2" charset="77"/>
              </a:rPr>
              <a:t>11:00 CET</a:t>
            </a:r>
          </a:p>
        </p:txBody>
      </p:sp>
      <p:pic>
        <p:nvPicPr>
          <p:cNvPr id="23" name="Picture 22">
            <a:extLst>
              <a:ext uri="{FF2B5EF4-FFF2-40B4-BE49-F238E27FC236}">
                <a16:creationId xmlns:a16="http://schemas.microsoft.com/office/drawing/2014/main" id="{C7DB6ECC-C648-73D6-9B8F-03BFB53C8312}"/>
              </a:ext>
            </a:extLst>
          </p:cNvPr>
          <p:cNvPicPr>
            <a:picLocks noChangeAspect="1"/>
          </p:cNvPicPr>
          <p:nvPr userDrawn="1"/>
        </p:nvPicPr>
        <p:blipFill>
          <a:blip r:embed="rId4"/>
          <a:stretch>
            <a:fillRect/>
          </a:stretch>
        </p:blipFill>
        <p:spPr>
          <a:xfrm>
            <a:off x="4038600" y="1562187"/>
            <a:ext cx="5492903" cy="1044207"/>
          </a:xfrm>
          <a:prstGeom prst="rect">
            <a:avLst/>
          </a:prstGeom>
        </p:spPr>
      </p:pic>
      <p:pic>
        <p:nvPicPr>
          <p:cNvPr id="28" name="Picture 27">
            <a:extLst>
              <a:ext uri="{FF2B5EF4-FFF2-40B4-BE49-F238E27FC236}">
                <a16:creationId xmlns:a16="http://schemas.microsoft.com/office/drawing/2014/main" id="{EDCCA77E-1E0B-9778-4E89-50E0E6F748F5}"/>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flipV="1">
            <a:off x="10667999" y="6266333"/>
            <a:ext cx="1037655" cy="108411"/>
          </a:xfrm>
          <a:prstGeom prst="rect">
            <a:avLst/>
          </a:prstGeom>
        </p:spPr>
      </p:pic>
    </p:spTree>
    <p:extLst>
      <p:ext uri="{BB962C8B-B14F-4D97-AF65-F5344CB8AC3E}">
        <p14:creationId xmlns:p14="http://schemas.microsoft.com/office/powerpoint/2010/main" val="11700583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White">
    <p:spTree>
      <p:nvGrpSpPr>
        <p:cNvPr id="1" name=""/>
        <p:cNvGrpSpPr/>
        <p:nvPr/>
      </p:nvGrpSpPr>
      <p:grpSpPr>
        <a:xfrm>
          <a:off x="0" y="0"/>
          <a:ext cx="0" cy="0"/>
          <a:chOff x="0" y="0"/>
          <a:chExt cx="0" cy="0"/>
        </a:xfrm>
      </p:grpSpPr>
      <p:pic>
        <p:nvPicPr>
          <p:cNvPr id="60" name="Image" descr="Image"/>
          <p:cNvPicPr>
            <a:picLocks noChangeAspect="1"/>
          </p:cNvPicPr>
          <p:nvPr/>
        </p:nvPicPr>
        <p:blipFill>
          <a:blip r:embed="rId2" cstate="screen">
            <a:alphaModFix amt="30000"/>
            <a:extLst>
              <a:ext uri="{28A0092B-C50C-407E-A947-70E740481C1C}">
                <a14:useLocalDpi xmlns:a14="http://schemas.microsoft.com/office/drawing/2010/main"/>
              </a:ext>
            </a:extLst>
          </a:blip>
          <a:srcRect/>
          <a:stretch>
            <a:fillRect/>
          </a:stretch>
        </p:blipFill>
        <p:spPr>
          <a:xfrm>
            <a:off x="75208" y="5834884"/>
            <a:ext cx="12041563" cy="1017151"/>
          </a:xfrm>
          <a:prstGeom prst="rect">
            <a:avLst/>
          </a:prstGeom>
          <a:ln w="12700">
            <a:miter lim="400000"/>
          </a:ln>
        </p:spPr>
      </p:pic>
      <p:pic>
        <p:nvPicPr>
          <p:cNvPr id="2" name="Picture 1">
            <a:extLst>
              <a:ext uri="{FF2B5EF4-FFF2-40B4-BE49-F238E27FC236}">
                <a16:creationId xmlns:a16="http://schemas.microsoft.com/office/drawing/2014/main" id="{6FF97257-6695-B862-8AF0-F3C5B94AAEB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92118" y="281460"/>
            <a:ext cx="995340" cy="6238309"/>
          </a:xfrm>
          <a:prstGeom prst="rect">
            <a:avLst/>
          </a:prstGeom>
        </p:spPr>
      </p:pic>
    </p:spTree>
    <p:extLst>
      <p:ext uri="{BB962C8B-B14F-4D97-AF65-F5344CB8AC3E}">
        <p14:creationId xmlns:p14="http://schemas.microsoft.com/office/powerpoint/2010/main" val="775294201"/>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rts - Whi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4C0CE00-5347-0E04-14FC-687527D7815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92118" y="281460"/>
            <a:ext cx="995340" cy="6238312"/>
          </a:xfrm>
          <a:prstGeom prst="rect">
            <a:avLst/>
          </a:prstGeom>
        </p:spPr>
      </p:pic>
      <p:pic>
        <p:nvPicPr>
          <p:cNvPr id="9" name="Picture 8">
            <a:extLst>
              <a:ext uri="{FF2B5EF4-FFF2-40B4-BE49-F238E27FC236}">
                <a16:creationId xmlns:a16="http://schemas.microsoft.com/office/drawing/2014/main" id="{D21DB753-C834-204E-4E0B-A919240698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92118" y="281460"/>
            <a:ext cx="995340" cy="6238309"/>
          </a:xfrm>
          <a:prstGeom prst="rect">
            <a:avLst/>
          </a:prstGeom>
        </p:spPr>
      </p:pic>
      <p:sp>
        <p:nvSpPr>
          <p:cNvPr id="8" name="Title 1">
            <a:extLst>
              <a:ext uri="{FF2B5EF4-FFF2-40B4-BE49-F238E27FC236}">
                <a16:creationId xmlns:a16="http://schemas.microsoft.com/office/drawing/2014/main" id="{A0E0C1ED-E58A-C70F-BF13-A2D919040A4E}"/>
              </a:ext>
            </a:extLst>
          </p:cNvPr>
          <p:cNvSpPr>
            <a:spLocks noGrp="1"/>
          </p:cNvSpPr>
          <p:nvPr>
            <p:ph type="title" hasCustomPrompt="1"/>
          </p:nvPr>
        </p:nvSpPr>
        <p:spPr>
          <a:xfrm>
            <a:off x="6468034" y="365125"/>
            <a:ext cx="4885765" cy="1325563"/>
          </a:xfrm>
        </p:spPr>
        <p:txBody>
          <a:bodyPr/>
          <a:lstStyle>
            <a:lvl1pPr>
              <a:defRPr>
                <a:solidFill>
                  <a:srgbClr val="1C63FF"/>
                </a:solidFill>
                <a:latin typeface="Poppins" pitchFamily="2" charset="77"/>
                <a:cs typeface="Poppins" pitchFamily="2" charset="77"/>
              </a:defRPr>
            </a:lvl1pPr>
          </a:lstStyle>
          <a:p>
            <a:r>
              <a:rPr lang="en-GB"/>
              <a:t>Click to Edit Title</a:t>
            </a:r>
            <a:endParaRPr lang="en-NO"/>
          </a:p>
        </p:txBody>
      </p:sp>
      <p:sp>
        <p:nvSpPr>
          <p:cNvPr id="10" name="Content Placeholder 2">
            <a:extLst>
              <a:ext uri="{FF2B5EF4-FFF2-40B4-BE49-F238E27FC236}">
                <a16:creationId xmlns:a16="http://schemas.microsoft.com/office/drawing/2014/main" id="{BE13E4F3-F45A-2913-103E-67A44C7501C6}"/>
              </a:ext>
            </a:extLst>
          </p:cNvPr>
          <p:cNvSpPr>
            <a:spLocks noGrp="1"/>
          </p:cNvSpPr>
          <p:nvPr>
            <p:ph idx="1"/>
          </p:nvPr>
        </p:nvSpPr>
        <p:spPr>
          <a:xfrm>
            <a:off x="6468034" y="1825625"/>
            <a:ext cx="4885766"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11" name="Picture Placeholder 18">
            <a:extLst>
              <a:ext uri="{FF2B5EF4-FFF2-40B4-BE49-F238E27FC236}">
                <a16:creationId xmlns:a16="http://schemas.microsoft.com/office/drawing/2014/main" id="{23070FDF-5A7C-3B06-0D5C-1FC0C1D8F268}"/>
              </a:ext>
            </a:extLst>
          </p:cNvPr>
          <p:cNvSpPr>
            <a:spLocks noGrp="1"/>
          </p:cNvSpPr>
          <p:nvPr>
            <p:ph type="pic" sz="quarter" idx="10" hasCustomPrompt="1"/>
          </p:nvPr>
        </p:nvSpPr>
        <p:spPr>
          <a:xfrm>
            <a:off x="892275" y="905690"/>
            <a:ext cx="4310040" cy="4989847"/>
          </a:xfrm>
        </p:spPr>
        <p:txBody>
          <a:bodyPr anchor="ctr">
            <a:normAutofit/>
          </a:bodyPr>
          <a:lstStyle>
            <a:lvl1pPr marL="0" indent="0" algn="ctr">
              <a:buNone/>
              <a:defRPr sz="2000">
                <a:solidFill>
                  <a:srgbClr val="10183A"/>
                </a:solidFill>
              </a:defRPr>
            </a:lvl1pPr>
          </a:lstStyle>
          <a:p>
            <a:r>
              <a:rPr lang="en-NO"/>
              <a:t>Drag to chart here</a:t>
            </a:r>
          </a:p>
        </p:txBody>
      </p:sp>
    </p:spTree>
    <p:extLst>
      <p:ext uri="{BB962C8B-B14F-4D97-AF65-F5344CB8AC3E}">
        <p14:creationId xmlns:p14="http://schemas.microsoft.com/office/powerpoint/2010/main" val="3050352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s - With Divid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0964A14-DB77-89E9-F799-2F8A8DC1C59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93526" y="0"/>
            <a:ext cx="5098474" cy="6858000"/>
          </a:xfrm>
          <a:prstGeom prst="rect">
            <a:avLst/>
          </a:prstGeom>
        </p:spPr>
      </p:pic>
      <p:pic>
        <p:nvPicPr>
          <p:cNvPr id="5" name="Picture 4">
            <a:extLst>
              <a:ext uri="{FF2B5EF4-FFF2-40B4-BE49-F238E27FC236}">
                <a16:creationId xmlns:a16="http://schemas.microsoft.com/office/drawing/2014/main" id="{A4C0CE00-5347-0E04-14FC-687527D7815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92118" y="281460"/>
            <a:ext cx="995340" cy="6238312"/>
          </a:xfrm>
          <a:prstGeom prst="rect">
            <a:avLst/>
          </a:prstGeom>
        </p:spPr>
      </p:pic>
      <p:pic>
        <p:nvPicPr>
          <p:cNvPr id="9" name="Picture 8">
            <a:extLst>
              <a:ext uri="{FF2B5EF4-FFF2-40B4-BE49-F238E27FC236}">
                <a16:creationId xmlns:a16="http://schemas.microsoft.com/office/drawing/2014/main" id="{D21DB753-C834-204E-4E0B-A9192406986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892118" y="281460"/>
            <a:ext cx="995340" cy="6238309"/>
          </a:xfrm>
          <a:prstGeom prst="rect">
            <a:avLst/>
          </a:prstGeom>
        </p:spPr>
      </p:pic>
      <p:sp>
        <p:nvSpPr>
          <p:cNvPr id="8" name="Title 1">
            <a:extLst>
              <a:ext uri="{FF2B5EF4-FFF2-40B4-BE49-F238E27FC236}">
                <a16:creationId xmlns:a16="http://schemas.microsoft.com/office/drawing/2014/main" id="{A0E0C1ED-E58A-C70F-BF13-A2D919040A4E}"/>
              </a:ext>
            </a:extLst>
          </p:cNvPr>
          <p:cNvSpPr>
            <a:spLocks noGrp="1"/>
          </p:cNvSpPr>
          <p:nvPr>
            <p:ph type="title" hasCustomPrompt="1"/>
          </p:nvPr>
        </p:nvSpPr>
        <p:spPr>
          <a:xfrm>
            <a:off x="7578436" y="855991"/>
            <a:ext cx="3775363" cy="1325563"/>
          </a:xfrm>
        </p:spPr>
        <p:txBody>
          <a:bodyPr>
            <a:normAutofit/>
          </a:bodyPr>
          <a:lstStyle>
            <a:lvl1pPr>
              <a:defRPr sz="3600">
                <a:solidFill>
                  <a:srgbClr val="1C63FF"/>
                </a:solidFill>
                <a:latin typeface="Poppins" pitchFamily="2" charset="77"/>
                <a:cs typeface="Poppins" pitchFamily="2" charset="77"/>
              </a:defRPr>
            </a:lvl1pPr>
          </a:lstStyle>
          <a:p>
            <a:r>
              <a:rPr lang="en-GB"/>
              <a:t>Click to Edit Title</a:t>
            </a:r>
            <a:endParaRPr lang="en-NO"/>
          </a:p>
        </p:txBody>
      </p:sp>
      <p:sp>
        <p:nvSpPr>
          <p:cNvPr id="10" name="Content Placeholder 2">
            <a:extLst>
              <a:ext uri="{FF2B5EF4-FFF2-40B4-BE49-F238E27FC236}">
                <a16:creationId xmlns:a16="http://schemas.microsoft.com/office/drawing/2014/main" id="{BE13E4F3-F45A-2913-103E-67A44C7501C6}"/>
              </a:ext>
            </a:extLst>
          </p:cNvPr>
          <p:cNvSpPr>
            <a:spLocks noGrp="1"/>
          </p:cNvSpPr>
          <p:nvPr>
            <p:ph idx="1"/>
          </p:nvPr>
        </p:nvSpPr>
        <p:spPr>
          <a:xfrm>
            <a:off x="7578436" y="2316491"/>
            <a:ext cx="3775364" cy="368551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11" name="Picture Placeholder 18">
            <a:extLst>
              <a:ext uri="{FF2B5EF4-FFF2-40B4-BE49-F238E27FC236}">
                <a16:creationId xmlns:a16="http://schemas.microsoft.com/office/drawing/2014/main" id="{23070FDF-5A7C-3B06-0D5C-1FC0C1D8F268}"/>
              </a:ext>
            </a:extLst>
          </p:cNvPr>
          <p:cNvSpPr>
            <a:spLocks noGrp="1"/>
          </p:cNvSpPr>
          <p:nvPr>
            <p:ph type="pic" sz="quarter" idx="10" hasCustomPrompt="1"/>
          </p:nvPr>
        </p:nvSpPr>
        <p:spPr>
          <a:xfrm>
            <a:off x="838200" y="905690"/>
            <a:ext cx="5667592" cy="4989847"/>
          </a:xfrm>
        </p:spPr>
        <p:txBody>
          <a:bodyPr anchor="ctr">
            <a:normAutofit/>
          </a:bodyPr>
          <a:lstStyle>
            <a:lvl1pPr marL="0" indent="0" algn="ctr">
              <a:buNone/>
              <a:defRPr sz="2000">
                <a:solidFill>
                  <a:srgbClr val="10183A"/>
                </a:solidFill>
              </a:defRPr>
            </a:lvl1pPr>
          </a:lstStyle>
          <a:p>
            <a:r>
              <a:rPr lang="en-NO"/>
              <a:t>Drag to chart here</a:t>
            </a:r>
          </a:p>
        </p:txBody>
      </p:sp>
    </p:spTree>
    <p:extLst>
      <p:ext uri="{BB962C8B-B14F-4D97-AF65-F5344CB8AC3E}">
        <p14:creationId xmlns:p14="http://schemas.microsoft.com/office/powerpoint/2010/main" val="19973452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 With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F454492-4F89-42FA-761D-EB8CB11C5246}"/>
              </a:ext>
            </a:extLst>
          </p:cNvPr>
          <p:cNvSpPr>
            <a:spLocks noGrp="1"/>
          </p:cNvSpPr>
          <p:nvPr>
            <p:ph type="ctrTitle" hasCustomPrompt="1"/>
          </p:nvPr>
        </p:nvSpPr>
        <p:spPr>
          <a:xfrm>
            <a:off x="4038600" y="2302954"/>
            <a:ext cx="6629399" cy="921300"/>
          </a:xfrm>
        </p:spPr>
        <p:txBody>
          <a:bodyPr anchor="b">
            <a:noAutofit/>
          </a:bodyPr>
          <a:lstStyle>
            <a:lvl1pPr algn="l">
              <a:defRPr sz="8000">
                <a:solidFill>
                  <a:srgbClr val="1C63FF"/>
                </a:solidFill>
                <a:latin typeface="Poppins" pitchFamily="2" charset="77"/>
                <a:cs typeface="Poppins" pitchFamily="2" charset="77"/>
              </a:defRPr>
            </a:lvl1pPr>
          </a:lstStyle>
          <a:p>
            <a:r>
              <a:rPr lang="en-GB"/>
              <a:t>Speak Soon!</a:t>
            </a:r>
            <a:endParaRPr lang="en-NO"/>
          </a:p>
        </p:txBody>
      </p:sp>
      <p:sp>
        <p:nvSpPr>
          <p:cNvPr id="10" name="Text Placeholder 20">
            <a:extLst>
              <a:ext uri="{FF2B5EF4-FFF2-40B4-BE49-F238E27FC236}">
                <a16:creationId xmlns:a16="http://schemas.microsoft.com/office/drawing/2014/main" id="{D5A338DE-1FAC-3674-5AE4-0310F20FC8A9}"/>
              </a:ext>
            </a:extLst>
          </p:cNvPr>
          <p:cNvSpPr>
            <a:spLocks noGrp="1"/>
          </p:cNvSpPr>
          <p:nvPr>
            <p:ph type="body" sz="quarter" idx="13" hasCustomPrompt="1"/>
          </p:nvPr>
        </p:nvSpPr>
        <p:spPr>
          <a:xfrm>
            <a:off x="4038528" y="3661109"/>
            <a:ext cx="2566988" cy="545933"/>
          </a:xfrm>
        </p:spPr>
        <p:txBody>
          <a:bodyPr>
            <a:normAutofit/>
          </a:bodyPr>
          <a:lstStyle>
            <a:lvl1pPr marL="0" indent="0">
              <a:lnSpc>
                <a:spcPct val="100000"/>
              </a:lnSpc>
              <a:spcBef>
                <a:spcPts val="0"/>
              </a:spcBef>
              <a:buNone/>
              <a:defRPr sz="1500">
                <a:solidFill>
                  <a:srgbClr val="10183A"/>
                </a:solidFill>
              </a:defRPr>
            </a:lvl1pPr>
            <a:lvl5pPr marL="1828800" indent="0">
              <a:buNone/>
              <a:defRPr/>
            </a:lvl5pPr>
          </a:lstStyle>
          <a:p>
            <a:r>
              <a:rPr lang="en-GB"/>
              <a:t>First Name Last Name</a:t>
            </a:r>
          </a:p>
          <a:p>
            <a:r>
              <a:rPr lang="en-GB"/>
              <a:t>Contact Details</a:t>
            </a:r>
          </a:p>
        </p:txBody>
      </p:sp>
      <p:pic>
        <p:nvPicPr>
          <p:cNvPr id="12" name="Picture 11">
            <a:extLst>
              <a:ext uri="{FF2B5EF4-FFF2-40B4-BE49-F238E27FC236}">
                <a16:creationId xmlns:a16="http://schemas.microsoft.com/office/drawing/2014/main" id="{F37D4D8E-E3D7-AB16-4663-E690421958A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92118" y="281460"/>
            <a:ext cx="995340" cy="6238309"/>
          </a:xfrm>
          <a:prstGeom prst="rect">
            <a:avLst/>
          </a:prstGeom>
        </p:spPr>
      </p:pic>
      <p:sp>
        <p:nvSpPr>
          <p:cNvPr id="14" name="Rounded Rectangle 13">
            <a:extLst>
              <a:ext uri="{FF2B5EF4-FFF2-40B4-BE49-F238E27FC236}">
                <a16:creationId xmlns:a16="http://schemas.microsoft.com/office/drawing/2014/main" id="{8CC474A6-7E16-C454-60E8-BAD27599E951}"/>
              </a:ext>
            </a:extLst>
          </p:cNvPr>
          <p:cNvSpPr/>
          <p:nvPr userDrawn="1"/>
        </p:nvSpPr>
        <p:spPr>
          <a:xfrm>
            <a:off x="3988538" y="4690392"/>
            <a:ext cx="1752671" cy="426867"/>
          </a:xfrm>
          <a:prstGeom prst="roundRect">
            <a:avLst>
              <a:gd name="adj" fmla="val 50000"/>
            </a:avLst>
          </a:prstGeom>
          <a:gradFill>
            <a:gsLst>
              <a:gs pos="0">
                <a:srgbClr val="3262F6"/>
              </a:gs>
              <a:gs pos="66133">
                <a:srgbClr val="7046E7"/>
              </a:gs>
              <a:gs pos="100000">
                <a:srgbClr val="AD29D8"/>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sz="1200" b="0">
                <a:solidFill>
                  <a:schemeClr val="bg1"/>
                </a:solidFill>
                <a:latin typeface="Poppins" pitchFamily="2" charset="77"/>
                <a:cs typeface="Poppins" pitchFamily="2" charset="77"/>
              </a:rPr>
              <a:t>www.xeneta.com</a:t>
            </a:r>
          </a:p>
        </p:txBody>
      </p:sp>
    </p:spTree>
    <p:extLst>
      <p:ext uri="{BB962C8B-B14F-4D97-AF65-F5344CB8AC3E}">
        <p14:creationId xmlns:p14="http://schemas.microsoft.com/office/powerpoint/2010/main" val="1810509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d Card - Full Colo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136F7D8-F3C2-CD78-7F8A-AE755F479A6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92118" y="281460"/>
            <a:ext cx="995340" cy="6238312"/>
          </a:xfrm>
          <a:prstGeom prst="rect">
            <a:avLst/>
          </a:prstGeom>
        </p:spPr>
      </p:pic>
      <p:sp>
        <p:nvSpPr>
          <p:cNvPr id="15" name="Title 1">
            <a:extLst>
              <a:ext uri="{FF2B5EF4-FFF2-40B4-BE49-F238E27FC236}">
                <a16:creationId xmlns:a16="http://schemas.microsoft.com/office/drawing/2014/main" id="{3C2489A6-B463-42EC-1AD0-5482CA81BF50}"/>
              </a:ext>
            </a:extLst>
          </p:cNvPr>
          <p:cNvSpPr>
            <a:spLocks noGrp="1"/>
          </p:cNvSpPr>
          <p:nvPr>
            <p:ph type="ctrTitle" hasCustomPrompt="1"/>
          </p:nvPr>
        </p:nvSpPr>
        <p:spPr>
          <a:xfrm>
            <a:off x="3988610" y="2349449"/>
            <a:ext cx="6629399" cy="921300"/>
          </a:xfrm>
        </p:spPr>
        <p:txBody>
          <a:bodyPr anchor="b">
            <a:noAutofit/>
          </a:bodyPr>
          <a:lstStyle>
            <a:lvl1pPr algn="l">
              <a:defRPr sz="8000">
                <a:solidFill>
                  <a:schemeClr val="bg1"/>
                </a:solidFill>
                <a:latin typeface="Poppins" pitchFamily="2" charset="77"/>
                <a:cs typeface="Poppins" pitchFamily="2" charset="77"/>
              </a:defRPr>
            </a:lvl1pPr>
          </a:lstStyle>
          <a:p>
            <a:r>
              <a:rPr lang="en-GB"/>
              <a:t>Speak Soon!</a:t>
            </a:r>
            <a:endParaRPr lang="en-NO"/>
          </a:p>
        </p:txBody>
      </p:sp>
      <p:sp>
        <p:nvSpPr>
          <p:cNvPr id="16" name="Text Placeholder 20">
            <a:extLst>
              <a:ext uri="{FF2B5EF4-FFF2-40B4-BE49-F238E27FC236}">
                <a16:creationId xmlns:a16="http://schemas.microsoft.com/office/drawing/2014/main" id="{DF6FD378-13F7-E40E-8A94-762312196AFF}"/>
              </a:ext>
            </a:extLst>
          </p:cNvPr>
          <p:cNvSpPr>
            <a:spLocks noGrp="1"/>
          </p:cNvSpPr>
          <p:nvPr>
            <p:ph type="body" sz="quarter" idx="13" hasCustomPrompt="1"/>
          </p:nvPr>
        </p:nvSpPr>
        <p:spPr>
          <a:xfrm>
            <a:off x="3988538" y="3707604"/>
            <a:ext cx="2566988" cy="545933"/>
          </a:xfrm>
        </p:spPr>
        <p:txBody>
          <a:bodyPr>
            <a:normAutofit/>
          </a:bodyPr>
          <a:lstStyle>
            <a:lvl1pPr marL="0" indent="0">
              <a:lnSpc>
                <a:spcPct val="100000"/>
              </a:lnSpc>
              <a:spcBef>
                <a:spcPts val="0"/>
              </a:spcBef>
              <a:buNone/>
              <a:defRPr sz="1500">
                <a:solidFill>
                  <a:schemeClr val="bg1"/>
                </a:solidFill>
              </a:defRPr>
            </a:lvl1pPr>
            <a:lvl5pPr marL="1828800" indent="0">
              <a:buNone/>
              <a:defRPr/>
            </a:lvl5pPr>
          </a:lstStyle>
          <a:p>
            <a:r>
              <a:rPr lang="en-GB"/>
              <a:t>First Name Last Name</a:t>
            </a:r>
          </a:p>
          <a:p>
            <a:r>
              <a:rPr lang="en-GB"/>
              <a:t>Contact Details</a:t>
            </a:r>
          </a:p>
        </p:txBody>
      </p:sp>
      <p:sp>
        <p:nvSpPr>
          <p:cNvPr id="17" name="Rounded Rectangle 16">
            <a:extLst>
              <a:ext uri="{FF2B5EF4-FFF2-40B4-BE49-F238E27FC236}">
                <a16:creationId xmlns:a16="http://schemas.microsoft.com/office/drawing/2014/main" id="{44D60B3D-7F09-FA16-E8D5-1FC888922112}"/>
              </a:ext>
            </a:extLst>
          </p:cNvPr>
          <p:cNvSpPr/>
          <p:nvPr userDrawn="1"/>
        </p:nvSpPr>
        <p:spPr>
          <a:xfrm>
            <a:off x="3988538" y="4690392"/>
            <a:ext cx="1752671" cy="426867"/>
          </a:xfrm>
          <a:prstGeom prst="roundRect">
            <a:avLst>
              <a:gd name="adj" fmla="val 50000"/>
            </a:avLst>
          </a:prstGeom>
          <a:gradFill>
            <a:gsLst>
              <a:gs pos="0">
                <a:srgbClr val="3262F6"/>
              </a:gs>
              <a:gs pos="66133">
                <a:srgbClr val="7046E7"/>
              </a:gs>
              <a:gs pos="100000">
                <a:srgbClr val="AD29D8"/>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O" sz="1200" b="0">
                <a:solidFill>
                  <a:schemeClr val="bg1"/>
                </a:solidFill>
                <a:latin typeface="Poppins" pitchFamily="2" charset="77"/>
                <a:cs typeface="Poppins" pitchFamily="2" charset="77"/>
              </a:rPr>
              <a:t>www.xeneta.com</a:t>
            </a:r>
          </a:p>
        </p:txBody>
      </p:sp>
    </p:spTree>
    <p:extLst>
      <p:ext uri="{BB962C8B-B14F-4D97-AF65-F5344CB8AC3E}">
        <p14:creationId xmlns:p14="http://schemas.microsoft.com/office/powerpoint/2010/main" val="646356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1">
    <p:spTree>
      <p:nvGrpSpPr>
        <p:cNvPr id="1" name=""/>
        <p:cNvGrpSpPr/>
        <p:nvPr/>
      </p:nvGrpSpPr>
      <p:grpSpPr>
        <a:xfrm>
          <a:off x="0" y="0"/>
          <a:ext cx="0" cy="0"/>
          <a:chOff x="0" y="0"/>
          <a:chExt cx="0" cy="0"/>
        </a:xfrm>
      </p:grpSpPr>
      <p:pic>
        <p:nvPicPr>
          <p:cNvPr id="9" name="Image" descr="Image">
            <a:extLst>
              <a:ext uri="{FF2B5EF4-FFF2-40B4-BE49-F238E27FC236}">
                <a16:creationId xmlns:a16="http://schemas.microsoft.com/office/drawing/2014/main" id="{7E84C387-8F09-A4D9-D684-C6606DB23832}"/>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a:stretch/>
        </p:blipFill>
        <p:spPr>
          <a:xfrm>
            <a:off x="23366" y="5827473"/>
            <a:ext cx="12145268" cy="1030527"/>
          </a:xfrm>
          <a:prstGeom prst="rect">
            <a:avLst/>
          </a:prstGeom>
          <a:ln w="12700">
            <a:miter lim="400000"/>
          </a:ln>
        </p:spPr>
      </p:pic>
      <p:pic>
        <p:nvPicPr>
          <p:cNvPr id="2" name="Picture 1">
            <a:extLst>
              <a:ext uri="{FF2B5EF4-FFF2-40B4-BE49-F238E27FC236}">
                <a16:creationId xmlns:a16="http://schemas.microsoft.com/office/drawing/2014/main" id="{4234A598-46A4-5875-3F12-46FB31168AA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92118" y="281460"/>
            <a:ext cx="995340" cy="6238309"/>
          </a:xfrm>
          <a:prstGeom prst="rect">
            <a:avLst/>
          </a:prstGeom>
        </p:spPr>
      </p:pic>
    </p:spTree>
    <p:extLst>
      <p:ext uri="{BB962C8B-B14F-4D97-AF65-F5344CB8AC3E}">
        <p14:creationId xmlns:p14="http://schemas.microsoft.com/office/powerpoint/2010/main" val="24722409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regional_overview">
    <p:spTree>
      <p:nvGrpSpPr>
        <p:cNvPr id="1" name=""/>
        <p:cNvGrpSpPr/>
        <p:nvPr/>
      </p:nvGrpSpPr>
      <p:grpSpPr>
        <a:xfrm>
          <a:off x="0" y="0"/>
          <a:ext cx="0" cy="0"/>
          <a:chOff x="0" y="0"/>
          <a:chExt cx="0" cy="0"/>
        </a:xfrm>
      </p:grpSpPr>
      <p:graphicFrame>
        <p:nvGraphicFramePr>
          <p:cNvPr id="1086" name="Object 1085" hidden="1">
            <a:extLst>
              <a:ext uri="{FF2B5EF4-FFF2-40B4-BE49-F238E27FC236}">
                <a16:creationId xmlns:a16="http://schemas.microsoft.com/office/drawing/2014/main" id="{8E85F3E9-C77D-A7D0-B3B7-C2A75FFAABCB}"/>
              </a:ext>
            </a:extLst>
          </p:cNvPr>
          <p:cNvGraphicFramePr>
            <a:graphicFrameLocks noChangeAspect="1"/>
          </p:cNvGraphicFramePr>
          <p:nvPr userDrawn="1">
            <p:custDataLst>
              <p:tags r:id="rId1"/>
            </p:custDataLst>
            <p:extLst>
              <p:ext uri="{D42A27DB-BD31-4B8C-83A1-F6EECF244321}">
                <p14:modId xmlns:p14="http://schemas.microsoft.com/office/powerpoint/2010/main" val="2527968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1086" name="Object 1085" hidden="1">
                        <a:extLst>
                          <a:ext uri="{FF2B5EF4-FFF2-40B4-BE49-F238E27FC236}">
                            <a16:creationId xmlns:a16="http://schemas.microsoft.com/office/drawing/2014/main" id="{8E85F3E9-C77D-A7D0-B3B7-C2A75FFAAB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369C4A-5098-A943-998D-90FDA7C69A62}"/>
              </a:ext>
            </a:extLst>
          </p:cNvPr>
          <p:cNvSpPr>
            <a:spLocks noGrp="1"/>
          </p:cNvSpPr>
          <p:nvPr>
            <p:ph type="title"/>
          </p:nvPr>
        </p:nvSpPr>
        <p:spPr/>
        <p:txBody>
          <a:bodyPr vert="horz"/>
          <a:lstStyle>
            <a:lvl1pPr>
              <a:defRPr>
                <a:latin typeface="Poppins" panose="00000500000000000000" pitchFamily="2" charset="0"/>
                <a:cs typeface="Poppins" panose="00000500000000000000" pitchFamily="2" charset="0"/>
              </a:defRPr>
            </a:lvl1pPr>
          </a:lstStyle>
          <a:p>
            <a:r>
              <a:rPr lang="en-US"/>
              <a:t>Click to edit Master title style</a:t>
            </a:r>
          </a:p>
        </p:txBody>
      </p:sp>
      <p:sp>
        <p:nvSpPr>
          <p:cNvPr id="433" name="Table Placeholder 362">
            <a:extLst>
              <a:ext uri="{FF2B5EF4-FFF2-40B4-BE49-F238E27FC236}">
                <a16:creationId xmlns:a16="http://schemas.microsoft.com/office/drawing/2014/main" id="{A01CD73C-EC32-4CD7-9C9A-44FC46BD4163}"/>
              </a:ext>
            </a:extLst>
          </p:cNvPr>
          <p:cNvSpPr>
            <a:spLocks noGrp="1"/>
          </p:cNvSpPr>
          <p:nvPr>
            <p:ph type="tbl" sz="quarter" idx="58" hasCustomPrompt="1"/>
          </p:nvPr>
        </p:nvSpPr>
        <p:spPr>
          <a:xfrm>
            <a:off x="4990033" y="1629098"/>
            <a:ext cx="2328672" cy="1655064"/>
          </a:xfrm>
        </p:spPr>
        <p:txBody>
          <a:bodyPr/>
          <a:lstStyle>
            <a:lvl1pPr>
              <a:defRPr>
                <a:latin typeface="Poppins" panose="00000500000000000000" pitchFamily="2" charset="0"/>
                <a:cs typeface="Poppins" panose="00000500000000000000" pitchFamily="2" charset="0"/>
              </a:defRPr>
            </a:lvl1pPr>
          </a:lstStyle>
          <a:p>
            <a:r>
              <a:rPr lang="en-US"/>
              <a:t>&lt;</a:t>
            </a:r>
            <a:r>
              <a:rPr lang="en-US" err="1"/>
              <a:t>table_eu</a:t>
            </a:r>
            <a:r>
              <a:rPr lang="en-US"/>
              <a:t>&gt;</a:t>
            </a:r>
          </a:p>
        </p:txBody>
      </p:sp>
      <p:sp>
        <p:nvSpPr>
          <p:cNvPr id="434" name="Table Placeholder 362">
            <a:extLst>
              <a:ext uri="{FF2B5EF4-FFF2-40B4-BE49-F238E27FC236}">
                <a16:creationId xmlns:a16="http://schemas.microsoft.com/office/drawing/2014/main" id="{127E2A66-A42C-4DF9-A02A-F12209CCDE11}"/>
              </a:ext>
            </a:extLst>
          </p:cNvPr>
          <p:cNvSpPr>
            <a:spLocks noGrp="1"/>
          </p:cNvSpPr>
          <p:nvPr>
            <p:ph type="tbl" sz="quarter" idx="59" hasCustomPrompt="1"/>
          </p:nvPr>
        </p:nvSpPr>
        <p:spPr>
          <a:xfrm>
            <a:off x="8201443" y="1629098"/>
            <a:ext cx="2328672" cy="1655064"/>
          </a:xfrm>
        </p:spPr>
        <p:txBody>
          <a:bodyPr/>
          <a:lstStyle>
            <a:lvl1pPr>
              <a:defRPr>
                <a:latin typeface="Poppins" panose="00000500000000000000" pitchFamily="2" charset="0"/>
                <a:cs typeface="Poppins" panose="00000500000000000000" pitchFamily="2" charset="0"/>
              </a:defRPr>
            </a:lvl1pPr>
          </a:lstStyle>
          <a:p>
            <a:r>
              <a:rPr lang="en-US"/>
              <a:t>&lt;</a:t>
            </a:r>
            <a:r>
              <a:rPr lang="en-US" err="1"/>
              <a:t>table_ap</a:t>
            </a:r>
            <a:r>
              <a:rPr lang="en-US"/>
              <a:t>&gt;</a:t>
            </a:r>
          </a:p>
        </p:txBody>
      </p:sp>
      <p:sp>
        <p:nvSpPr>
          <p:cNvPr id="435" name="Table Placeholder 362">
            <a:extLst>
              <a:ext uri="{FF2B5EF4-FFF2-40B4-BE49-F238E27FC236}">
                <a16:creationId xmlns:a16="http://schemas.microsoft.com/office/drawing/2014/main" id="{FDAA7538-4D61-44D4-B485-196625E0F830}"/>
              </a:ext>
            </a:extLst>
          </p:cNvPr>
          <p:cNvSpPr>
            <a:spLocks noGrp="1"/>
          </p:cNvSpPr>
          <p:nvPr>
            <p:ph type="tbl" sz="quarter" idx="60" hasCustomPrompt="1"/>
          </p:nvPr>
        </p:nvSpPr>
        <p:spPr>
          <a:xfrm>
            <a:off x="1695023" y="3600199"/>
            <a:ext cx="2328672" cy="1655064"/>
          </a:xfrm>
        </p:spPr>
        <p:txBody>
          <a:bodyPr/>
          <a:lstStyle>
            <a:lvl1pPr>
              <a:defRPr>
                <a:latin typeface="Poppins" panose="00000500000000000000" pitchFamily="2" charset="0"/>
                <a:cs typeface="Poppins" panose="00000500000000000000" pitchFamily="2" charset="0"/>
              </a:defRPr>
            </a:lvl1pPr>
          </a:lstStyle>
          <a:p>
            <a:r>
              <a:rPr lang="en-US"/>
              <a:t>&lt;</a:t>
            </a:r>
            <a:r>
              <a:rPr lang="en-US" err="1"/>
              <a:t>table_la</a:t>
            </a:r>
            <a:r>
              <a:rPr lang="en-US"/>
              <a:t>&gt;</a:t>
            </a:r>
          </a:p>
        </p:txBody>
      </p:sp>
      <p:sp>
        <p:nvSpPr>
          <p:cNvPr id="436" name="Table Placeholder 362">
            <a:extLst>
              <a:ext uri="{FF2B5EF4-FFF2-40B4-BE49-F238E27FC236}">
                <a16:creationId xmlns:a16="http://schemas.microsoft.com/office/drawing/2014/main" id="{577D7961-F65A-4A0A-88F0-F547699BDECC}"/>
              </a:ext>
            </a:extLst>
          </p:cNvPr>
          <p:cNvSpPr>
            <a:spLocks noGrp="1"/>
          </p:cNvSpPr>
          <p:nvPr>
            <p:ph type="tbl" sz="quarter" idx="61" hasCustomPrompt="1"/>
          </p:nvPr>
        </p:nvSpPr>
        <p:spPr>
          <a:xfrm>
            <a:off x="4990033" y="3600199"/>
            <a:ext cx="2328672" cy="1655064"/>
          </a:xfrm>
        </p:spPr>
        <p:txBody>
          <a:bodyPr/>
          <a:lstStyle>
            <a:lvl1pPr>
              <a:defRPr>
                <a:latin typeface="Poppins" panose="00000500000000000000" pitchFamily="2" charset="0"/>
                <a:cs typeface="Poppins" panose="00000500000000000000" pitchFamily="2" charset="0"/>
              </a:defRPr>
            </a:lvl1pPr>
          </a:lstStyle>
          <a:p>
            <a:r>
              <a:rPr lang="en-US"/>
              <a:t>&lt;</a:t>
            </a:r>
            <a:r>
              <a:rPr lang="en-US" err="1"/>
              <a:t>table_af</a:t>
            </a:r>
            <a:r>
              <a:rPr lang="en-US"/>
              <a:t>&gt;</a:t>
            </a:r>
          </a:p>
        </p:txBody>
      </p:sp>
      <p:sp>
        <p:nvSpPr>
          <p:cNvPr id="437" name="Table Placeholder 362">
            <a:extLst>
              <a:ext uri="{FF2B5EF4-FFF2-40B4-BE49-F238E27FC236}">
                <a16:creationId xmlns:a16="http://schemas.microsoft.com/office/drawing/2014/main" id="{6D057AFB-3FD4-459A-8EF0-1026212D7EE2}"/>
              </a:ext>
            </a:extLst>
          </p:cNvPr>
          <p:cNvSpPr>
            <a:spLocks noGrp="1"/>
          </p:cNvSpPr>
          <p:nvPr>
            <p:ph type="tbl" sz="quarter" idx="62" hasCustomPrompt="1"/>
          </p:nvPr>
        </p:nvSpPr>
        <p:spPr>
          <a:xfrm>
            <a:off x="8201443" y="3600199"/>
            <a:ext cx="2328672" cy="1655064"/>
          </a:xfrm>
        </p:spPr>
        <p:txBody>
          <a:bodyPr/>
          <a:lstStyle>
            <a:lvl1pPr>
              <a:defRPr>
                <a:latin typeface="Poppins" panose="00000500000000000000" pitchFamily="2" charset="0"/>
                <a:cs typeface="Poppins" panose="00000500000000000000" pitchFamily="2" charset="0"/>
              </a:defRPr>
            </a:lvl1pPr>
          </a:lstStyle>
          <a:p>
            <a:r>
              <a:rPr lang="en-US"/>
              <a:t>&lt;</a:t>
            </a:r>
            <a:r>
              <a:rPr lang="en-US" err="1"/>
              <a:t>table_me</a:t>
            </a:r>
            <a:r>
              <a:rPr lang="en-US"/>
              <a:t>&gt;</a:t>
            </a:r>
          </a:p>
        </p:txBody>
      </p:sp>
      <p:sp>
        <p:nvSpPr>
          <p:cNvPr id="373" name="Table Placeholder 362">
            <a:extLst>
              <a:ext uri="{FF2B5EF4-FFF2-40B4-BE49-F238E27FC236}">
                <a16:creationId xmlns:a16="http://schemas.microsoft.com/office/drawing/2014/main" id="{F5069BA7-1100-41A6-AE4C-DC02295844B4}"/>
              </a:ext>
            </a:extLst>
          </p:cNvPr>
          <p:cNvSpPr>
            <a:spLocks noGrp="1"/>
          </p:cNvSpPr>
          <p:nvPr>
            <p:ph type="tbl" sz="quarter" idx="63" hasCustomPrompt="1"/>
          </p:nvPr>
        </p:nvSpPr>
        <p:spPr>
          <a:xfrm>
            <a:off x="1686676" y="1629098"/>
            <a:ext cx="2328672" cy="1655064"/>
          </a:xfrm>
        </p:spPr>
        <p:txBody>
          <a:bodyPr/>
          <a:lstStyle>
            <a:lvl1pPr>
              <a:defRPr>
                <a:latin typeface="Poppins" panose="00000500000000000000" pitchFamily="2" charset="0"/>
                <a:cs typeface="Poppins" panose="00000500000000000000" pitchFamily="2" charset="0"/>
              </a:defRPr>
            </a:lvl1pPr>
          </a:lstStyle>
          <a:p>
            <a:r>
              <a:rPr lang="en-US"/>
              <a:t>&lt;</a:t>
            </a:r>
            <a:r>
              <a:rPr lang="en-US" err="1"/>
              <a:t>table_na</a:t>
            </a:r>
            <a:r>
              <a:rPr lang="en-US"/>
              <a:t>&gt;</a:t>
            </a:r>
          </a:p>
        </p:txBody>
      </p:sp>
      <p:grpSp>
        <p:nvGrpSpPr>
          <p:cNvPr id="362" name="Group 361">
            <a:extLst>
              <a:ext uri="{FF2B5EF4-FFF2-40B4-BE49-F238E27FC236}">
                <a16:creationId xmlns:a16="http://schemas.microsoft.com/office/drawing/2014/main" id="{A35E9476-60AB-B11E-4B0B-107D63FF45AC}"/>
              </a:ext>
            </a:extLst>
          </p:cNvPr>
          <p:cNvGrpSpPr/>
          <p:nvPr userDrawn="1"/>
        </p:nvGrpSpPr>
        <p:grpSpPr>
          <a:xfrm>
            <a:off x="176043" y="1106644"/>
            <a:ext cx="11953675" cy="5575434"/>
            <a:chOff x="405196" y="330205"/>
            <a:chExt cx="11378455" cy="6197686"/>
          </a:xfrm>
          <a:solidFill>
            <a:srgbClr val="F6F6FA"/>
          </a:solidFill>
        </p:grpSpPr>
        <p:grpSp>
          <p:nvGrpSpPr>
            <p:cNvPr id="363" name="Group 205">
              <a:extLst>
                <a:ext uri="{FF2B5EF4-FFF2-40B4-BE49-F238E27FC236}">
                  <a16:creationId xmlns:a16="http://schemas.microsoft.com/office/drawing/2014/main" id="{D69A39A5-C730-42B7-A14B-FD80789CD11E}"/>
                </a:ext>
              </a:extLst>
            </p:cNvPr>
            <p:cNvGrpSpPr>
              <a:grpSpLocks/>
            </p:cNvGrpSpPr>
            <p:nvPr/>
          </p:nvGrpSpPr>
          <p:grpSpPr bwMode="auto">
            <a:xfrm>
              <a:off x="2176455" y="418231"/>
              <a:ext cx="9565878" cy="5728817"/>
              <a:chOff x="1003" y="129"/>
              <a:chExt cx="5325" cy="3189"/>
            </a:xfrm>
            <a:grpFill/>
          </p:grpSpPr>
          <p:sp>
            <p:nvSpPr>
              <p:cNvPr id="526" name="Freeform 5">
                <a:extLst>
                  <a:ext uri="{FF2B5EF4-FFF2-40B4-BE49-F238E27FC236}">
                    <a16:creationId xmlns:a16="http://schemas.microsoft.com/office/drawing/2014/main" id="{7D884EEE-1106-4A33-104A-B352281FB513}"/>
                  </a:ext>
                </a:extLst>
              </p:cNvPr>
              <p:cNvSpPr>
                <a:spLocks/>
              </p:cNvSpPr>
              <p:nvPr/>
            </p:nvSpPr>
            <p:spPr bwMode="auto">
              <a:xfrm>
                <a:off x="3541" y="2580"/>
                <a:ext cx="131" cy="149"/>
              </a:xfrm>
              <a:custGeom>
                <a:avLst/>
                <a:gdLst>
                  <a:gd name="T0" fmla="*/ 46 w 67"/>
                  <a:gd name="T1" fmla="*/ 0 h 76"/>
                  <a:gd name="T2" fmla="*/ 45 w 67"/>
                  <a:gd name="T3" fmla="*/ 6 h 76"/>
                  <a:gd name="T4" fmla="*/ 49 w 67"/>
                  <a:gd name="T5" fmla="*/ 6 h 76"/>
                  <a:gd name="T6" fmla="*/ 53 w 67"/>
                  <a:gd name="T7" fmla="*/ 8 h 76"/>
                  <a:gd name="T8" fmla="*/ 59 w 67"/>
                  <a:gd name="T9" fmla="*/ 11 h 76"/>
                  <a:gd name="T10" fmla="*/ 64 w 67"/>
                  <a:gd name="T11" fmla="*/ 14 h 76"/>
                  <a:gd name="T12" fmla="*/ 65 w 67"/>
                  <a:gd name="T13" fmla="*/ 18 h 76"/>
                  <a:gd name="T14" fmla="*/ 63 w 67"/>
                  <a:gd name="T15" fmla="*/ 23 h 76"/>
                  <a:gd name="T16" fmla="*/ 64 w 67"/>
                  <a:gd name="T17" fmla="*/ 30 h 76"/>
                  <a:gd name="T18" fmla="*/ 67 w 67"/>
                  <a:gd name="T19" fmla="*/ 34 h 76"/>
                  <a:gd name="T20" fmla="*/ 64 w 67"/>
                  <a:gd name="T21" fmla="*/ 37 h 76"/>
                  <a:gd name="T22" fmla="*/ 63 w 67"/>
                  <a:gd name="T23" fmla="*/ 41 h 76"/>
                  <a:gd name="T24" fmla="*/ 64 w 67"/>
                  <a:gd name="T25" fmla="*/ 45 h 76"/>
                  <a:gd name="T26" fmla="*/ 63 w 67"/>
                  <a:gd name="T27" fmla="*/ 50 h 76"/>
                  <a:gd name="T28" fmla="*/ 64 w 67"/>
                  <a:gd name="T29" fmla="*/ 57 h 76"/>
                  <a:gd name="T30" fmla="*/ 63 w 67"/>
                  <a:gd name="T31" fmla="*/ 60 h 76"/>
                  <a:gd name="T32" fmla="*/ 65 w 67"/>
                  <a:gd name="T33" fmla="*/ 62 h 76"/>
                  <a:gd name="T34" fmla="*/ 61 w 67"/>
                  <a:gd name="T35" fmla="*/ 68 h 76"/>
                  <a:gd name="T36" fmla="*/ 55 w 67"/>
                  <a:gd name="T37" fmla="*/ 76 h 76"/>
                  <a:gd name="T38" fmla="*/ 50 w 67"/>
                  <a:gd name="T39" fmla="*/ 75 h 76"/>
                  <a:gd name="T40" fmla="*/ 46 w 67"/>
                  <a:gd name="T41" fmla="*/ 74 h 76"/>
                  <a:gd name="T42" fmla="*/ 41 w 67"/>
                  <a:gd name="T43" fmla="*/ 74 h 76"/>
                  <a:gd name="T44" fmla="*/ 37 w 67"/>
                  <a:gd name="T45" fmla="*/ 73 h 76"/>
                  <a:gd name="T46" fmla="*/ 33 w 67"/>
                  <a:gd name="T47" fmla="*/ 71 h 76"/>
                  <a:gd name="T48" fmla="*/ 29 w 67"/>
                  <a:gd name="T49" fmla="*/ 70 h 76"/>
                  <a:gd name="T50" fmla="*/ 26 w 67"/>
                  <a:gd name="T51" fmla="*/ 67 h 76"/>
                  <a:gd name="T52" fmla="*/ 27 w 67"/>
                  <a:gd name="T53" fmla="*/ 61 h 76"/>
                  <a:gd name="T54" fmla="*/ 24 w 67"/>
                  <a:gd name="T55" fmla="*/ 58 h 76"/>
                  <a:gd name="T56" fmla="*/ 21 w 67"/>
                  <a:gd name="T57" fmla="*/ 55 h 76"/>
                  <a:gd name="T58" fmla="*/ 20 w 67"/>
                  <a:gd name="T59" fmla="*/ 50 h 76"/>
                  <a:gd name="T60" fmla="*/ 15 w 67"/>
                  <a:gd name="T61" fmla="*/ 47 h 76"/>
                  <a:gd name="T62" fmla="*/ 12 w 67"/>
                  <a:gd name="T63" fmla="*/ 47 h 76"/>
                  <a:gd name="T64" fmla="*/ 10 w 67"/>
                  <a:gd name="T65" fmla="*/ 44 h 76"/>
                  <a:gd name="T66" fmla="*/ 5 w 67"/>
                  <a:gd name="T67" fmla="*/ 37 h 76"/>
                  <a:gd name="T68" fmla="*/ 2 w 67"/>
                  <a:gd name="T69" fmla="*/ 33 h 76"/>
                  <a:gd name="T70" fmla="*/ 0 w 67"/>
                  <a:gd name="T71" fmla="*/ 27 h 76"/>
                  <a:gd name="T72" fmla="*/ 4 w 67"/>
                  <a:gd name="T73" fmla="*/ 27 h 76"/>
                  <a:gd name="T74" fmla="*/ 9 w 67"/>
                  <a:gd name="T75" fmla="*/ 27 h 76"/>
                  <a:gd name="T76" fmla="*/ 14 w 67"/>
                  <a:gd name="T77" fmla="*/ 27 h 76"/>
                  <a:gd name="T78" fmla="*/ 20 w 67"/>
                  <a:gd name="T79" fmla="*/ 25 h 76"/>
                  <a:gd name="T80" fmla="*/ 26 w 67"/>
                  <a:gd name="T81" fmla="*/ 23 h 76"/>
                  <a:gd name="T82" fmla="*/ 28 w 67"/>
                  <a:gd name="T83" fmla="*/ 15 h 76"/>
                  <a:gd name="T84" fmla="*/ 30 w 67"/>
                  <a:gd name="T85" fmla="*/ 12 h 76"/>
                  <a:gd name="T86" fmla="*/ 32 w 67"/>
                  <a:gd name="T87" fmla="*/ 9 h 76"/>
                  <a:gd name="T88" fmla="*/ 35 w 67"/>
                  <a:gd name="T89" fmla="*/ 6 h 76"/>
                  <a:gd name="T90" fmla="*/ 39 w 67"/>
                  <a:gd name="T91" fmla="*/ 3 h 76"/>
                  <a:gd name="T92" fmla="*/ 46 w 67"/>
                  <a:gd name="T9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 h="76">
                    <a:moveTo>
                      <a:pt x="46" y="0"/>
                    </a:moveTo>
                    <a:cubicBezTo>
                      <a:pt x="45" y="6"/>
                      <a:pt x="45" y="6"/>
                      <a:pt x="45" y="6"/>
                    </a:cubicBezTo>
                    <a:cubicBezTo>
                      <a:pt x="45" y="6"/>
                      <a:pt x="47" y="6"/>
                      <a:pt x="49" y="6"/>
                    </a:cubicBezTo>
                    <a:cubicBezTo>
                      <a:pt x="50" y="6"/>
                      <a:pt x="52" y="7"/>
                      <a:pt x="53" y="8"/>
                    </a:cubicBezTo>
                    <a:cubicBezTo>
                      <a:pt x="55" y="9"/>
                      <a:pt x="56" y="11"/>
                      <a:pt x="59" y="11"/>
                    </a:cubicBezTo>
                    <a:cubicBezTo>
                      <a:pt x="61" y="12"/>
                      <a:pt x="62" y="13"/>
                      <a:pt x="64" y="14"/>
                    </a:cubicBezTo>
                    <a:cubicBezTo>
                      <a:pt x="65" y="15"/>
                      <a:pt x="65" y="18"/>
                      <a:pt x="65" y="18"/>
                    </a:cubicBezTo>
                    <a:cubicBezTo>
                      <a:pt x="65" y="18"/>
                      <a:pt x="63" y="20"/>
                      <a:pt x="63" y="23"/>
                    </a:cubicBezTo>
                    <a:cubicBezTo>
                      <a:pt x="64" y="25"/>
                      <a:pt x="63" y="27"/>
                      <a:pt x="64" y="30"/>
                    </a:cubicBezTo>
                    <a:cubicBezTo>
                      <a:pt x="65" y="32"/>
                      <a:pt x="67" y="34"/>
                      <a:pt x="67" y="34"/>
                    </a:cubicBezTo>
                    <a:cubicBezTo>
                      <a:pt x="67" y="34"/>
                      <a:pt x="65" y="36"/>
                      <a:pt x="64" y="37"/>
                    </a:cubicBezTo>
                    <a:cubicBezTo>
                      <a:pt x="63" y="39"/>
                      <a:pt x="61" y="40"/>
                      <a:pt x="63" y="41"/>
                    </a:cubicBezTo>
                    <a:cubicBezTo>
                      <a:pt x="64" y="43"/>
                      <a:pt x="65" y="43"/>
                      <a:pt x="64" y="45"/>
                    </a:cubicBezTo>
                    <a:cubicBezTo>
                      <a:pt x="62" y="48"/>
                      <a:pt x="64" y="47"/>
                      <a:pt x="63" y="50"/>
                    </a:cubicBezTo>
                    <a:cubicBezTo>
                      <a:pt x="62" y="53"/>
                      <a:pt x="65" y="55"/>
                      <a:pt x="64" y="57"/>
                    </a:cubicBezTo>
                    <a:cubicBezTo>
                      <a:pt x="63" y="62"/>
                      <a:pt x="63" y="58"/>
                      <a:pt x="63" y="60"/>
                    </a:cubicBezTo>
                    <a:cubicBezTo>
                      <a:pt x="63" y="62"/>
                      <a:pt x="67" y="60"/>
                      <a:pt x="65" y="62"/>
                    </a:cubicBezTo>
                    <a:cubicBezTo>
                      <a:pt x="64" y="64"/>
                      <a:pt x="61" y="68"/>
                      <a:pt x="61" y="68"/>
                    </a:cubicBezTo>
                    <a:cubicBezTo>
                      <a:pt x="55" y="76"/>
                      <a:pt x="55" y="76"/>
                      <a:pt x="55" y="76"/>
                    </a:cubicBezTo>
                    <a:cubicBezTo>
                      <a:pt x="55" y="76"/>
                      <a:pt x="53" y="75"/>
                      <a:pt x="50" y="75"/>
                    </a:cubicBezTo>
                    <a:cubicBezTo>
                      <a:pt x="47" y="75"/>
                      <a:pt x="46" y="74"/>
                      <a:pt x="46" y="74"/>
                    </a:cubicBezTo>
                    <a:cubicBezTo>
                      <a:pt x="46" y="74"/>
                      <a:pt x="43" y="73"/>
                      <a:pt x="41" y="74"/>
                    </a:cubicBezTo>
                    <a:cubicBezTo>
                      <a:pt x="40" y="75"/>
                      <a:pt x="37" y="73"/>
                      <a:pt x="37" y="73"/>
                    </a:cubicBezTo>
                    <a:cubicBezTo>
                      <a:pt x="37" y="73"/>
                      <a:pt x="35" y="73"/>
                      <a:pt x="33" y="71"/>
                    </a:cubicBezTo>
                    <a:cubicBezTo>
                      <a:pt x="32" y="69"/>
                      <a:pt x="32" y="72"/>
                      <a:pt x="29" y="70"/>
                    </a:cubicBezTo>
                    <a:cubicBezTo>
                      <a:pt x="27" y="68"/>
                      <a:pt x="26" y="70"/>
                      <a:pt x="26" y="67"/>
                    </a:cubicBezTo>
                    <a:cubicBezTo>
                      <a:pt x="26" y="64"/>
                      <a:pt x="25" y="63"/>
                      <a:pt x="27" y="61"/>
                    </a:cubicBezTo>
                    <a:cubicBezTo>
                      <a:pt x="28" y="59"/>
                      <a:pt x="24" y="60"/>
                      <a:pt x="24" y="58"/>
                    </a:cubicBezTo>
                    <a:cubicBezTo>
                      <a:pt x="24" y="56"/>
                      <a:pt x="22" y="57"/>
                      <a:pt x="21" y="55"/>
                    </a:cubicBezTo>
                    <a:cubicBezTo>
                      <a:pt x="20" y="53"/>
                      <a:pt x="20" y="50"/>
                      <a:pt x="20" y="50"/>
                    </a:cubicBezTo>
                    <a:cubicBezTo>
                      <a:pt x="20" y="50"/>
                      <a:pt x="16" y="49"/>
                      <a:pt x="15" y="47"/>
                    </a:cubicBezTo>
                    <a:cubicBezTo>
                      <a:pt x="15" y="45"/>
                      <a:pt x="15" y="48"/>
                      <a:pt x="12" y="47"/>
                    </a:cubicBezTo>
                    <a:cubicBezTo>
                      <a:pt x="9" y="46"/>
                      <a:pt x="12" y="45"/>
                      <a:pt x="10" y="44"/>
                    </a:cubicBezTo>
                    <a:cubicBezTo>
                      <a:pt x="8" y="43"/>
                      <a:pt x="5" y="37"/>
                      <a:pt x="5" y="37"/>
                    </a:cubicBezTo>
                    <a:cubicBezTo>
                      <a:pt x="5" y="37"/>
                      <a:pt x="5" y="33"/>
                      <a:pt x="2" y="33"/>
                    </a:cubicBezTo>
                    <a:cubicBezTo>
                      <a:pt x="0" y="33"/>
                      <a:pt x="0" y="27"/>
                      <a:pt x="0" y="27"/>
                    </a:cubicBezTo>
                    <a:cubicBezTo>
                      <a:pt x="0" y="27"/>
                      <a:pt x="3" y="28"/>
                      <a:pt x="4" y="27"/>
                    </a:cubicBezTo>
                    <a:cubicBezTo>
                      <a:pt x="6" y="27"/>
                      <a:pt x="8" y="28"/>
                      <a:pt x="9" y="27"/>
                    </a:cubicBezTo>
                    <a:cubicBezTo>
                      <a:pt x="10" y="26"/>
                      <a:pt x="13" y="27"/>
                      <a:pt x="14" y="27"/>
                    </a:cubicBezTo>
                    <a:cubicBezTo>
                      <a:pt x="16" y="27"/>
                      <a:pt x="18" y="26"/>
                      <a:pt x="20" y="25"/>
                    </a:cubicBezTo>
                    <a:cubicBezTo>
                      <a:pt x="22" y="24"/>
                      <a:pt x="25" y="24"/>
                      <a:pt x="26" y="23"/>
                    </a:cubicBezTo>
                    <a:cubicBezTo>
                      <a:pt x="27" y="22"/>
                      <a:pt x="26" y="15"/>
                      <a:pt x="28" y="15"/>
                    </a:cubicBezTo>
                    <a:cubicBezTo>
                      <a:pt x="29" y="14"/>
                      <a:pt x="28" y="13"/>
                      <a:pt x="30" y="12"/>
                    </a:cubicBezTo>
                    <a:cubicBezTo>
                      <a:pt x="32" y="11"/>
                      <a:pt x="32" y="10"/>
                      <a:pt x="32" y="9"/>
                    </a:cubicBezTo>
                    <a:cubicBezTo>
                      <a:pt x="32" y="7"/>
                      <a:pt x="33" y="6"/>
                      <a:pt x="35" y="6"/>
                    </a:cubicBezTo>
                    <a:cubicBezTo>
                      <a:pt x="37" y="5"/>
                      <a:pt x="39" y="3"/>
                      <a:pt x="39" y="3"/>
                    </a:cubicBezTo>
                    <a:lnTo>
                      <a:pt x="46" y="0"/>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27" name="Freeform 6">
                <a:extLst>
                  <a:ext uri="{FF2B5EF4-FFF2-40B4-BE49-F238E27FC236}">
                    <a16:creationId xmlns:a16="http://schemas.microsoft.com/office/drawing/2014/main" id="{6909DB67-0270-B806-0B9B-8ECB906E95BF}"/>
                  </a:ext>
                </a:extLst>
              </p:cNvPr>
              <p:cNvSpPr>
                <a:spLocks/>
              </p:cNvSpPr>
              <p:nvPr/>
            </p:nvSpPr>
            <p:spPr bwMode="auto">
              <a:xfrm>
                <a:off x="3541" y="2580"/>
                <a:ext cx="131" cy="149"/>
              </a:xfrm>
              <a:custGeom>
                <a:avLst/>
                <a:gdLst>
                  <a:gd name="T0" fmla="*/ 46 w 67"/>
                  <a:gd name="T1" fmla="*/ 0 h 76"/>
                  <a:gd name="T2" fmla="*/ 45 w 67"/>
                  <a:gd name="T3" fmla="*/ 6 h 76"/>
                  <a:gd name="T4" fmla="*/ 49 w 67"/>
                  <a:gd name="T5" fmla="*/ 6 h 76"/>
                  <a:gd name="T6" fmla="*/ 53 w 67"/>
                  <a:gd name="T7" fmla="*/ 8 h 76"/>
                  <a:gd name="T8" fmla="*/ 59 w 67"/>
                  <a:gd name="T9" fmla="*/ 11 h 76"/>
                  <a:gd name="T10" fmla="*/ 64 w 67"/>
                  <a:gd name="T11" fmla="*/ 14 h 76"/>
                  <a:gd name="T12" fmla="*/ 65 w 67"/>
                  <a:gd name="T13" fmla="*/ 18 h 76"/>
                  <a:gd name="T14" fmla="*/ 63 w 67"/>
                  <a:gd name="T15" fmla="*/ 23 h 76"/>
                  <a:gd name="T16" fmla="*/ 64 w 67"/>
                  <a:gd name="T17" fmla="*/ 30 h 76"/>
                  <a:gd name="T18" fmla="*/ 67 w 67"/>
                  <a:gd name="T19" fmla="*/ 34 h 76"/>
                  <a:gd name="T20" fmla="*/ 64 w 67"/>
                  <a:gd name="T21" fmla="*/ 37 h 76"/>
                  <a:gd name="T22" fmla="*/ 63 w 67"/>
                  <a:gd name="T23" fmla="*/ 41 h 76"/>
                  <a:gd name="T24" fmla="*/ 64 w 67"/>
                  <a:gd name="T25" fmla="*/ 45 h 76"/>
                  <a:gd name="T26" fmla="*/ 63 w 67"/>
                  <a:gd name="T27" fmla="*/ 50 h 76"/>
                  <a:gd name="T28" fmla="*/ 64 w 67"/>
                  <a:gd name="T29" fmla="*/ 57 h 76"/>
                  <a:gd name="T30" fmla="*/ 63 w 67"/>
                  <a:gd name="T31" fmla="*/ 60 h 76"/>
                  <a:gd name="T32" fmla="*/ 65 w 67"/>
                  <a:gd name="T33" fmla="*/ 62 h 76"/>
                  <a:gd name="T34" fmla="*/ 61 w 67"/>
                  <a:gd name="T35" fmla="*/ 68 h 76"/>
                  <a:gd name="T36" fmla="*/ 55 w 67"/>
                  <a:gd name="T37" fmla="*/ 76 h 76"/>
                  <a:gd name="T38" fmla="*/ 50 w 67"/>
                  <a:gd name="T39" fmla="*/ 75 h 76"/>
                  <a:gd name="T40" fmla="*/ 46 w 67"/>
                  <a:gd name="T41" fmla="*/ 74 h 76"/>
                  <a:gd name="T42" fmla="*/ 41 w 67"/>
                  <a:gd name="T43" fmla="*/ 74 h 76"/>
                  <a:gd name="T44" fmla="*/ 37 w 67"/>
                  <a:gd name="T45" fmla="*/ 73 h 76"/>
                  <a:gd name="T46" fmla="*/ 33 w 67"/>
                  <a:gd name="T47" fmla="*/ 71 h 76"/>
                  <a:gd name="T48" fmla="*/ 29 w 67"/>
                  <a:gd name="T49" fmla="*/ 70 h 76"/>
                  <a:gd name="T50" fmla="*/ 26 w 67"/>
                  <a:gd name="T51" fmla="*/ 67 h 76"/>
                  <a:gd name="T52" fmla="*/ 27 w 67"/>
                  <a:gd name="T53" fmla="*/ 61 h 76"/>
                  <a:gd name="T54" fmla="*/ 24 w 67"/>
                  <a:gd name="T55" fmla="*/ 58 h 76"/>
                  <a:gd name="T56" fmla="*/ 21 w 67"/>
                  <a:gd name="T57" fmla="*/ 55 h 76"/>
                  <a:gd name="T58" fmla="*/ 20 w 67"/>
                  <a:gd name="T59" fmla="*/ 50 h 76"/>
                  <a:gd name="T60" fmla="*/ 15 w 67"/>
                  <a:gd name="T61" fmla="*/ 47 h 76"/>
                  <a:gd name="T62" fmla="*/ 12 w 67"/>
                  <a:gd name="T63" fmla="*/ 47 h 76"/>
                  <a:gd name="T64" fmla="*/ 10 w 67"/>
                  <a:gd name="T65" fmla="*/ 44 h 76"/>
                  <a:gd name="T66" fmla="*/ 5 w 67"/>
                  <a:gd name="T67" fmla="*/ 37 h 76"/>
                  <a:gd name="T68" fmla="*/ 2 w 67"/>
                  <a:gd name="T69" fmla="*/ 33 h 76"/>
                  <a:gd name="T70" fmla="*/ 0 w 67"/>
                  <a:gd name="T71" fmla="*/ 27 h 76"/>
                  <a:gd name="T72" fmla="*/ 4 w 67"/>
                  <a:gd name="T73" fmla="*/ 27 h 76"/>
                  <a:gd name="T74" fmla="*/ 9 w 67"/>
                  <a:gd name="T75" fmla="*/ 27 h 76"/>
                  <a:gd name="T76" fmla="*/ 14 w 67"/>
                  <a:gd name="T77" fmla="*/ 27 h 76"/>
                  <a:gd name="T78" fmla="*/ 20 w 67"/>
                  <a:gd name="T79" fmla="*/ 25 h 76"/>
                  <a:gd name="T80" fmla="*/ 26 w 67"/>
                  <a:gd name="T81" fmla="*/ 23 h 76"/>
                  <a:gd name="T82" fmla="*/ 28 w 67"/>
                  <a:gd name="T83" fmla="*/ 15 h 76"/>
                  <a:gd name="T84" fmla="*/ 30 w 67"/>
                  <a:gd name="T85" fmla="*/ 12 h 76"/>
                  <a:gd name="T86" fmla="*/ 32 w 67"/>
                  <a:gd name="T87" fmla="*/ 9 h 76"/>
                  <a:gd name="T88" fmla="*/ 35 w 67"/>
                  <a:gd name="T89" fmla="*/ 6 h 76"/>
                  <a:gd name="T90" fmla="*/ 39 w 67"/>
                  <a:gd name="T91" fmla="*/ 3 h 76"/>
                  <a:gd name="T92" fmla="*/ 46 w 67"/>
                  <a:gd name="T9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 h="76">
                    <a:moveTo>
                      <a:pt x="46" y="0"/>
                    </a:moveTo>
                    <a:cubicBezTo>
                      <a:pt x="45" y="6"/>
                      <a:pt x="45" y="6"/>
                      <a:pt x="45" y="6"/>
                    </a:cubicBezTo>
                    <a:cubicBezTo>
                      <a:pt x="45" y="6"/>
                      <a:pt x="47" y="6"/>
                      <a:pt x="49" y="6"/>
                    </a:cubicBezTo>
                    <a:cubicBezTo>
                      <a:pt x="50" y="6"/>
                      <a:pt x="52" y="7"/>
                      <a:pt x="53" y="8"/>
                    </a:cubicBezTo>
                    <a:cubicBezTo>
                      <a:pt x="55" y="9"/>
                      <a:pt x="56" y="11"/>
                      <a:pt x="59" y="11"/>
                    </a:cubicBezTo>
                    <a:cubicBezTo>
                      <a:pt x="61" y="12"/>
                      <a:pt x="62" y="13"/>
                      <a:pt x="64" y="14"/>
                    </a:cubicBezTo>
                    <a:cubicBezTo>
                      <a:pt x="65" y="15"/>
                      <a:pt x="65" y="18"/>
                      <a:pt x="65" y="18"/>
                    </a:cubicBezTo>
                    <a:cubicBezTo>
                      <a:pt x="65" y="18"/>
                      <a:pt x="63" y="20"/>
                      <a:pt x="63" y="23"/>
                    </a:cubicBezTo>
                    <a:cubicBezTo>
                      <a:pt x="64" y="25"/>
                      <a:pt x="63" y="27"/>
                      <a:pt x="64" y="30"/>
                    </a:cubicBezTo>
                    <a:cubicBezTo>
                      <a:pt x="65" y="32"/>
                      <a:pt x="67" y="34"/>
                      <a:pt x="67" y="34"/>
                    </a:cubicBezTo>
                    <a:cubicBezTo>
                      <a:pt x="67" y="34"/>
                      <a:pt x="65" y="36"/>
                      <a:pt x="64" y="37"/>
                    </a:cubicBezTo>
                    <a:cubicBezTo>
                      <a:pt x="63" y="39"/>
                      <a:pt x="61" y="40"/>
                      <a:pt x="63" y="41"/>
                    </a:cubicBezTo>
                    <a:cubicBezTo>
                      <a:pt x="64" y="43"/>
                      <a:pt x="65" y="43"/>
                      <a:pt x="64" y="45"/>
                    </a:cubicBezTo>
                    <a:cubicBezTo>
                      <a:pt x="62" y="48"/>
                      <a:pt x="64" y="47"/>
                      <a:pt x="63" y="50"/>
                    </a:cubicBezTo>
                    <a:cubicBezTo>
                      <a:pt x="62" y="53"/>
                      <a:pt x="65" y="55"/>
                      <a:pt x="64" y="57"/>
                    </a:cubicBezTo>
                    <a:cubicBezTo>
                      <a:pt x="63" y="62"/>
                      <a:pt x="63" y="58"/>
                      <a:pt x="63" y="60"/>
                    </a:cubicBezTo>
                    <a:cubicBezTo>
                      <a:pt x="63" y="62"/>
                      <a:pt x="67" y="60"/>
                      <a:pt x="65" y="62"/>
                    </a:cubicBezTo>
                    <a:cubicBezTo>
                      <a:pt x="64" y="64"/>
                      <a:pt x="61" y="68"/>
                      <a:pt x="61" y="68"/>
                    </a:cubicBezTo>
                    <a:cubicBezTo>
                      <a:pt x="55" y="76"/>
                      <a:pt x="55" y="76"/>
                      <a:pt x="55" y="76"/>
                    </a:cubicBezTo>
                    <a:cubicBezTo>
                      <a:pt x="55" y="76"/>
                      <a:pt x="53" y="75"/>
                      <a:pt x="50" y="75"/>
                    </a:cubicBezTo>
                    <a:cubicBezTo>
                      <a:pt x="47" y="75"/>
                      <a:pt x="46" y="74"/>
                      <a:pt x="46" y="74"/>
                    </a:cubicBezTo>
                    <a:cubicBezTo>
                      <a:pt x="46" y="74"/>
                      <a:pt x="43" y="73"/>
                      <a:pt x="41" y="74"/>
                    </a:cubicBezTo>
                    <a:cubicBezTo>
                      <a:pt x="40" y="75"/>
                      <a:pt x="37" y="73"/>
                      <a:pt x="37" y="73"/>
                    </a:cubicBezTo>
                    <a:cubicBezTo>
                      <a:pt x="37" y="73"/>
                      <a:pt x="35" y="73"/>
                      <a:pt x="33" y="71"/>
                    </a:cubicBezTo>
                    <a:cubicBezTo>
                      <a:pt x="32" y="69"/>
                      <a:pt x="32" y="72"/>
                      <a:pt x="29" y="70"/>
                    </a:cubicBezTo>
                    <a:cubicBezTo>
                      <a:pt x="27" y="68"/>
                      <a:pt x="26" y="70"/>
                      <a:pt x="26" y="67"/>
                    </a:cubicBezTo>
                    <a:cubicBezTo>
                      <a:pt x="26" y="64"/>
                      <a:pt x="25" y="63"/>
                      <a:pt x="27" y="61"/>
                    </a:cubicBezTo>
                    <a:cubicBezTo>
                      <a:pt x="28" y="59"/>
                      <a:pt x="24" y="60"/>
                      <a:pt x="24" y="58"/>
                    </a:cubicBezTo>
                    <a:cubicBezTo>
                      <a:pt x="24" y="56"/>
                      <a:pt x="22" y="57"/>
                      <a:pt x="21" y="55"/>
                    </a:cubicBezTo>
                    <a:cubicBezTo>
                      <a:pt x="20" y="53"/>
                      <a:pt x="20" y="50"/>
                      <a:pt x="20" y="50"/>
                    </a:cubicBezTo>
                    <a:cubicBezTo>
                      <a:pt x="20" y="50"/>
                      <a:pt x="16" y="49"/>
                      <a:pt x="15" y="47"/>
                    </a:cubicBezTo>
                    <a:cubicBezTo>
                      <a:pt x="15" y="45"/>
                      <a:pt x="15" y="48"/>
                      <a:pt x="12" y="47"/>
                    </a:cubicBezTo>
                    <a:cubicBezTo>
                      <a:pt x="9" y="46"/>
                      <a:pt x="12" y="45"/>
                      <a:pt x="10" y="44"/>
                    </a:cubicBezTo>
                    <a:cubicBezTo>
                      <a:pt x="8" y="43"/>
                      <a:pt x="5" y="37"/>
                      <a:pt x="5" y="37"/>
                    </a:cubicBezTo>
                    <a:cubicBezTo>
                      <a:pt x="5" y="37"/>
                      <a:pt x="5" y="33"/>
                      <a:pt x="2" y="33"/>
                    </a:cubicBezTo>
                    <a:cubicBezTo>
                      <a:pt x="0" y="33"/>
                      <a:pt x="0" y="27"/>
                      <a:pt x="0" y="27"/>
                    </a:cubicBezTo>
                    <a:cubicBezTo>
                      <a:pt x="0" y="27"/>
                      <a:pt x="3" y="28"/>
                      <a:pt x="4" y="27"/>
                    </a:cubicBezTo>
                    <a:cubicBezTo>
                      <a:pt x="6" y="27"/>
                      <a:pt x="8" y="28"/>
                      <a:pt x="9" y="27"/>
                    </a:cubicBezTo>
                    <a:cubicBezTo>
                      <a:pt x="10" y="26"/>
                      <a:pt x="13" y="27"/>
                      <a:pt x="14" y="27"/>
                    </a:cubicBezTo>
                    <a:cubicBezTo>
                      <a:pt x="16" y="27"/>
                      <a:pt x="18" y="26"/>
                      <a:pt x="20" y="25"/>
                    </a:cubicBezTo>
                    <a:cubicBezTo>
                      <a:pt x="22" y="24"/>
                      <a:pt x="25" y="24"/>
                      <a:pt x="26" y="23"/>
                    </a:cubicBezTo>
                    <a:cubicBezTo>
                      <a:pt x="27" y="22"/>
                      <a:pt x="26" y="15"/>
                      <a:pt x="28" y="15"/>
                    </a:cubicBezTo>
                    <a:cubicBezTo>
                      <a:pt x="29" y="14"/>
                      <a:pt x="28" y="13"/>
                      <a:pt x="30" y="12"/>
                    </a:cubicBezTo>
                    <a:cubicBezTo>
                      <a:pt x="32" y="11"/>
                      <a:pt x="32" y="10"/>
                      <a:pt x="32" y="9"/>
                    </a:cubicBezTo>
                    <a:cubicBezTo>
                      <a:pt x="32" y="7"/>
                      <a:pt x="33" y="6"/>
                      <a:pt x="35" y="6"/>
                    </a:cubicBezTo>
                    <a:cubicBezTo>
                      <a:pt x="37" y="5"/>
                      <a:pt x="39" y="3"/>
                      <a:pt x="39" y="3"/>
                    </a:cubicBezTo>
                    <a:lnTo>
                      <a:pt x="46" y="0"/>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28" name="Freeform 7">
                <a:extLst>
                  <a:ext uri="{FF2B5EF4-FFF2-40B4-BE49-F238E27FC236}">
                    <a16:creationId xmlns:a16="http://schemas.microsoft.com/office/drawing/2014/main" id="{A1F81CDA-09D0-41DD-6669-0EA04B79D927}"/>
                  </a:ext>
                </a:extLst>
              </p:cNvPr>
              <p:cNvSpPr>
                <a:spLocks/>
              </p:cNvSpPr>
              <p:nvPr/>
            </p:nvSpPr>
            <p:spPr bwMode="auto">
              <a:xfrm>
                <a:off x="3488" y="2429"/>
                <a:ext cx="196" cy="206"/>
              </a:xfrm>
              <a:custGeom>
                <a:avLst/>
                <a:gdLst>
                  <a:gd name="T0" fmla="*/ 21 w 100"/>
                  <a:gd name="T1" fmla="*/ 101 h 105"/>
                  <a:gd name="T2" fmla="*/ 27 w 100"/>
                  <a:gd name="T3" fmla="*/ 104 h 105"/>
                  <a:gd name="T4" fmla="*/ 36 w 100"/>
                  <a:gd name="T5" fmla="*/ 104 h 105"/>
                  <a:gd name="T6" fmla="*/ 47 w 100"/>
                  <a:gd name="T7" fmla="*/ 102 h 105"/>
                  <a:gd name="T8" fmla="*/ 55 w 100"/>
                  <a:gd name="T9" fmla="*/ 92 h 105"/>
                  <a:gd name="T10" fmla="*/ 59 w 100"/>
                  <a:gd name="T11" fmla="*/ 86 h 105"/>
                  <a:gd name="T12" fmla="*/ 66 w 100"/>
                  <a:gd name="T13" fmla="*/ 80 h 105"/>
                  <a:gd name="T14" fmla="*/ 73 w 100"/>
                  <a:gd name="T15" fmla="*/ 76 h 105"/>
                  <a:gd name="T16" fmla="*/ 90 w 100"/>
                  <a:gd name="T17" fmla="*/ 65 h 105"/>
                  <a:gd name="T18" fmla="*/ 90 w 100"/>
                  <a:gd name="T19" fmla="*/ 54 h 105"/>
                  <a:gd name="T20" fmla="*/ 96 w 100"/>
                  <a:gd name="T21" fmla="*/ 41 h 105"/>
                  <a:gd name="T22" fmla="*/ 93 w 100"/>
                  <a:gd name="T23" fmla="*/ 32 h 105"/>
                  <a:gd name="T24" fmla="*/ 98 w 100"/>
                  <a:gd name="T25" fmla="*/ 23 h 105"/>
                  <a:gd name="T26" fmla="*/ 94 w 100"/>
                  <a:gd name="T27" fmla="*/ 13 h 105"/>
                  <a:gd name="T28" fmla="*/ 86 w 100"/>
                  <a:gd name="T29" fmla="*/ 8 h 105"/>
                  <a:gd name="T30" fmla="*/ 85 w 100"/>
                  <a:gd name="T31" fmla="*/ 4 h 105"/>
                  <a:gd name="T32" fmla="*/ 81 w 100"/>
                  <a:gd name="T33" fmla="*/ 5 h 105"/>
                  <a:gd name="T34" fmla="*/ 76 w 100"/>
                  <a:gd name="T35" fmla="*/ 5 h 105"/>
                  <a:gd name="T36" fmla="*/ 76 w 100"/>
                  <a:gd name="T37" fmla="*/ 1 h 105"/>
                  <a:gd name="T38" fmla="*/ 59 w 100"/>
                  <a:gd name="T39" fmla="*/ 5 h 105"/>
                  <a:gd name="T40" fmla="*/ 54 w 100"/>
                  <a:gd name="T41" fmla="*/ 11 h 105"/>
                  <a:gd name="T42" fmla="*/ 52 w 100"/>
                  <a:gd name="T43" fmla="*/ 12 h 105"/>
                  <a:gd name="T44" fmla="*/ 52 w 100"/>
                  <a:gd name="T45" fmla="*/ 16 h 105"/>
                  <a:gd name="T46" fmla="*/ 54 w 100"/>
                  <a:gd name="T47" fmla="*/ 25 h 105"/>
                  <a:gd name="T48" fmla="*/ 57 w 100"/>
                  <a:gd name="T49" fmla="*/ 34 h 105"/>
                  <a:gd name="T50" fmla="*/ 66 w 100"/>
                  <a:gd name="T51" fmla="*/ 40 h 105"/>
                  <a:gd name="T52" fmla="*/ 71 w 100"/>
                  <a:gd name="T53" fmla="*/ 49 h 105"/>
                  <a:gd name="T54" fmla="*/ 64 w 100"/>
                  <a:gd name="T55" fmla="*/ 50 h 105"/>
                  <a:gd name="T56" fmla="*/ 59 w 100"/>
                  <a:gd name="T57" fmla="*/ 43 h 105"/>
                  <a:gd name="T58" fmla="*/ 49 w 100"/>
                  <a:gd name="T59" fmla="*/ 36 h 105"/>
                  <a:gd name="T60" fmla="*/ 44 w 100"/>
                  <a:gd name="T61" fmla="*/ 34 h 105"/>
                  <a:gd name="T62" fmla="*/ 34 w 100"/>
                  <a:gd name="T63" fmla="*/ 36 h 105"/>
                  <a:gd name="T64" fmla="*/ 31 w 100"/>
                  <a:gd name="T65" fmla="*/ 31 h 105"/>
                  <a:gd name="T66" fmla="*/ 25 w 100"/>
                  <a:gd name="T67" fmla="*/ 30 h 105"/>
                  <a:gd name="T68" fmla="*/ 19 w 100"/>
                  <a:gd name="T69" fmla="*/ 26 h 105"/>
                  <a:gd name="T70" fmla="*/ 19 w 100"/>
                  <a:gd name="T71" fmla="*/ 38 h 105"/>
                  <a:gd name="T72" fmla="*/ 19 w 100"/>
                  <a:gd name="T73" fmla="*/ 45 h 105"/>
                  <a:gd name="T74" fmla="*/ 0 w 100"/>
                  <a:gd name="T75" fmla="*/ 84 h 105"/>
                  <a:gd name="T76" fmla="*/ 6 w 100"/>
                  <a:gd name="T77" fmla="*/ 9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 h="105">
                    <a:moveTo>
                      <a:pt x="12" y="102"/>
                    </a:moveTo>
                    <a:cubicBezTo>
                      <a:pt x="21" y="101"/>
                      <a:pt x="21" y="101"/>
                      <a:pt x="21" y="101"/>
                    </a:cubicBezTo>
                    <a:cubicBezTo>
                      <a:pt x="21" y="101"/>
                      <a:pt x="23" y="100"/>
                      <a:pt x="24" y="102"/>
                    </a:cubicBezTo>
                    <a:cubicBezTo>
                      <a:pt x="25" y="104"/>
                      <a:pt x="27" y="104"/>
                      <a:pt x="27" y="104"/>
                    </a:cubicBezTo>
                    <a:cubicBezTo>
                      <a:pt x="27" y="104"/>
                      <a:pt x="30" y="105"/>
                      <a:pt x="31" y="104"/>
                    </a:cubicBezTo>
                    <a:cubicBezTo>
                      <a:pt x="33" y="104"/>
                      <a:pt x="35" y="105"/>
                      <a:pt x="36" y="104"/>
                    </a:cubicBezTo>
                    <a:cubicBezTo>
                      <a:pt x="37" y="103"/>
                      <a:pt x="40" y="104"/>
                      <a:pt x="41" y="104"/>
                    </a:cubicBezTo>
                    <a:cubicBezTo>
                      <a:pt x="43" y="104"/>
                      <a:pt x="45" y="103"/>
                      <a:pt x="47" y="102"/>
                    </a:cubicBezTo>
                    <a:cubicBezTo>
                      <a:pt x="49" y="101"/>
                      <a:pt x="52" y="101"/>
                      <a:pt x="53" y="100"/>
                    </a:cubicBezTo>
                    <a:cubicBezTo>
                      <a:pt x="54" y="99"/>
                      <a:pt x="53" y="92"/>
                      <a:pt x="55" y="92"/>
                    </a:cubicBezTo>
                    <a:cubicBezTo>
                      <a:pt x="56" y="91"/>
                      <a:pt x="55" y="90"/>
                      <a:pt x="57" y="89"/>
                    </a:cubicBezTo>
                    <a:cubicBezTo>
                      <a:pt x="59" y="88"/>
                      <a:pt x="59" y="87"/>
                      <a:pt x="59" y="86"/>
                    </a:cubicBezTo>
                    <a:cubicBezTo>
                      <a:pt x="59" y="84"/>
                      <a:pt x="60" y="83"/>
                      <a:pt x="62" y="83"/>
                    </a:cubicBezTo>
                    <a:cubicBezTo>
                      <a:pt x="64" y="82"/>
                      <a:pt x="66" y="80"/>
                      <a:pt x="66" y="80"/>
                    </a:cubicBezTo>
                    <a:cubicBezTo>
                      <a:pt x="72" y="77"/>
                      <a:pt x="72" y="77"/>
                      <a:pt x="72" y="77"/>
                    </a:cubicBezTo>
                    <a:cubicBezTo>
                      <a:pt x="73" y="76"/>
                      <a:pt x="73" y="76"/>
                      <a:pt x="73" y="76"/>
                    </a:cubicBezTo>
                    <a:cubicBezTo>
                      <a:pt x="74" y="74"/>
                      <a:pt x="70" y="71"/>
                      <a:pt x="70" y="71"/>
                    </a:cubicBezTo>
                    <a:cubicBezTo>
                      <a:pt x="90" y="65"/>
                      <a:pt x="90" y="65"/>
                      <a:pt x="90" y="65"/>
                    </a:cubicBezTo>
                    <a:cubicBezTo>
                      <a:pt x="90" y="65"/>
                      <a:pt x="89" y="61"/>
                      <a:pt x="89" y="59"/>
                    </a:cubicBezTo>
                    <a:cubicBezTo>
                      <a:pt x="88" y="57"/>
                      <a:pt x="91" y="56"/>
                      <a:pt x="90" y="54"/>
                    </a:cubicBezTo>
                    <a:cubicBezTo>
                      <a:pt x="89" y="52"/>
                      <a:pt x="89" y="48"/>
                      <a:pt x="91" y="46"/>
                    </a:cubicBezTo>
                    <a:cubicBezTo>
                      <a:pt x="93" y="45"/>
                      <a:pt x="97" y="44"/>
                      <a:pt x="96" y="41"/>
                    </a:cubicBezTo>
                    <a:cubicBezTo>
                      <a:pt x="96" y="38"/>
                      <a:pt x="93" y="41"/>
                      <a:pt x="94" y="39"/>
                    </a:cubicBezTo>
                    <a:cubicBezTo>
                      <a:pt x="94" y="36"/>
                      <a:pt x="94" y="34"/>
                      <a:pt x="93" y="32"/>
                    </a:cubicBezTo>
                    <a:cubicBezTo>
                      <a:pt x="92" y="30"/>
                      <a:pt x="96" y="30"/>
                      <a:pt x="96" y="28"/>
                    </a:cubicBezTo>
                    <a:cubicBezTo>
                      <a:pt x="97" y="27"/>
                      <a:pt x="100" y="25"/>
                      <a:pt x="98" y="23"/>
                    </a:cubicBezTo>
                    <a:cubicBezTo>
                      <a:pt x="96" y="22"/>
                      <a:pt x="98" y="18"/>
                      <a:pt x="97" y="17"/>
                    </a:cubicBezTo>
                    <a:cubicBezTo>
                      <a:pt x="95" y="16"/>
                      <a:pt x="94" y="13"/>
                      <a:pt x="94" y="13"/>
                    </a:cubicBezTo>
                    <a:cubicBezTo>
                      <a:pt x="94" y="13"/>
                      <a:pt x="91" y="12"/>
                      <a:pt x="90" y="11"/>
                    </a:cubicBezTo>
                    <a:cubicBezTo>
                      <a:pt x="88" y="10"/>
                      <a:pt x="87" y="8"/>
                      <a:pt x="86" y="8"/>
                    </a:cubicBezTo>
                    <a:cubicBezTo>
                      <a:pt x="85" y="8"/>
                      <a:pt x="85" y="4"/>
                      <a:pt x="85" y="4"/>
                    </a:cubicBezTo>
                    <a:cubicBezTo>
                      <a:pt x="85" y="4"/>
                      <a:pt x="85" y="4"/>
                      <a:pt x="85" y="4"/>
                    </a:cubicBezTo>
                    <a:cubicBezTo>
                      <a:pt x="85" y="5"/>
                      <a:pt x="85" y="5"/>
                      <a:pt x="85" y="5"/>
                    </a:cubicBezTo>
                    <a:cubicBezTo>
                      <a:pt x="85" y="4"/>
                      <a:pt x="83" y="5"/>
                      <a:pt x="81" y="5"/>
                    </a:cubicBezTo>
                    <a:cubicBezTo>
                      <a:pt x="80" y="5"/>
                      <a:pt x="79" y="5"/>
                      <a:pt x="78" y="5"/>
                    </a:cubicBezTo>
                    <a:cubicBezTo>
                      <a:pt x="77" y="5"/>
                      <a:pt x="76" y="5"/>
                      <a:pt x="76" y="5"/>
                    </a:cubicBezTo>
                    <a:cubicBezTo>
                      <a:pt x="76" y="5"/>
                      <a:pt x="76" y="5"/>
                      <a:pt x="76" y="5"/>
                    </a:cubicBezTo>
                    <a:cubicBezTo>
                      <a:pt x="76" y="5"/>
                      <a:pt x="78" y="1"/>
                      <a:pt x="76" y="1"/>
                    </a:cubicBezTo>
                    <a:cubicBezTo>
                      <a:pt x="76" y="0"/>
                      <a:pt x="76" y="0"/>
                      <a:pt x="76" y="0"/>
                    </a:cubicBezTo>
                    <a:cubicBezTo>
                      <a:pt x="59" y="5"/>
                      <a:pt x="59" y="5"/>
                      <a:pt x="59" y="5"/>
                    </a:cubicBezTo>
                    <a:cubicBezTo>
                      <a:pt x="59" y="5"/>
                      <a:pt x="59" y="5"/>
                      <a:pt x="58" y="6"/>
                    </a:cubicBezTo>
                    <a:cubicBezTo>
                      <a:pt x="60" y="7"/>
                      <a:pt x="54" y="11"/>
                      <a:pt x="54" y="11"/>
                    </a:cubicBezTo>
                    <a:cubicBezTo>
                      <a:pt x="54" y="12"/>
                      <a:pt x="54" y="12"/>
                      <a:pt x="54" y="12"/>
                    </a:cubicBezTo>
                    <a:cubicBezTo>
                      <a:pt x="53" y="12"/>
                      <a:pt x="53" y="11"/>
                      <a:pt x="52" y="12"/>
                    </a:cubicBezTo>
                    <a:cubicBezTo>
                      <a:pt x="52" y="11"/>
                      <a:pt x="52" y="11"/>
                      <a:pt x="52" y="11"/>
                    </a:cubicBezTo>
                    <a:cubicBezTo>
                      <a:pt x="51" y="13"/>
                      <a:pt x="51" y="15"/>
                      <a:pt x="52" y="16"/>
                    </a:cubicBezTo>
                    <a:cubicBezTo>
                      <a:pt x="52" y="18"/>
                      <a:pt x="53" y="17"/>
                      <a:pt x="53" y="19"/>
                    </a:cubicBezTo>
                    <a:cubicBezTo>
                      <a:pt x="53" y="22"/>
                      <a:pt x="55" y="24"/>
                      <a:pt x="54" y="25"/>
                    </a:cubicBezTo>
                    <a:cubicBezTo>
                      <a:pt x="54" y="27"/>
                      <a:pt x="53" y="28"/>
                      <a:pt x="53" y="30"/>
                    </a:cubicBezTo>
                    <a:cubicBezTo>
                      <a:pt x="53" y="31"/>
                      <a:pt x="55" y="33"/>
                      <a:pt x="57" y="34"/>
                    </a:cubicBezTo>
                    <a:cubicBezTo>
                      <a:pt x="59" y="36"/>
                      <a:pt x="61" y="35"/>
                      <a:pt x="63" y="38"/>
                    </a:cubicBezTo>
                    <a:cubicBezTo>
                      <a:pt x="65" y="41"/>
                      <a:pt x="64" y="40"/>
                      <a:pt x="66" y="40"/>
                    </a:cubicBezTo>
                    <a:cubicBezTo>
                      <a:pt x="68" y="40"/>
                      <a:pt x="71" y="39"/>
                      <a:pt x="71" y="39"/>
                    </a:cubicBezTo>
                    <a:cubicBezTo>
                      <a:pt x="71" y="49"/>
                      <a:pt x="71" y="49"/>
                      <a:pt x="71" y="49"/>
                    </a:cubicBezTo>
                    <a:cubicBezTo>
                      <a:pt x="67" y="48"/>
                      <a:pt x="67" y="48"/>
                      <a:pt x="67" y="48"/>
                    </a:cubicBezTo>
                    <a:cubicBezTo>
                      <a:pt x="67" y="48"/>
                      <a:pt x="65" y="48"/>
                      <a:pt x="64" y="50"/>
                    </a:cubicBezTo>
                    <a:cubicBezTo>
                      <a:pt x="63" y="51"/>
                      <a:pt x="59" y="51"/>
                      <a:pt x="59" y="49"/>
                    </a:cubicBezTo>
                    <a:cubicBezTo>
                      <a:pt x="59" y="47"/>
                      <a:pt x="60" y="45"/>
                      <a:pt x="59" y="43"/>
                    </a:cubicBezTo>
                    <a:cubicBezTo>
                      <a:pt x="58" y="41"/>
                      <a:pt x="54" y="43"/>
                      <a:pt x="53" y="40"/>
                    </a:cubicBezTo>
                    <a:cubicBezTo>
                      <a:pt x="52" y="38"/>
                      <a:pt x="49" y="38"/>
                      <a:pt x="49" y="36"/>
                    </a:cubicBezTo>
                    <a:cubicBezTo>
                      <a:pt x="49" y="34"/>
                      <a:pt x="49" y="33"/>
                      <a:pt x="48" y="33"/>
                    </a:cubicBezTo>
                    <a:cubicBezTo>
                      <a:pt x="46" y="33"/>
                      <a:pt x="45" y="32"/>
                      <a:pt x="44" y="34"/>
                    </a:cubicBezTo>
                    <a:cubicBezTo>
                      <a:pt x="43" y="36"/>
                      <a:pt x="43" y="36"/>
                      <a:pt x="40" y="36"/>
                    </a:cubicBezTo>
                    <a:cubicBezTo>
                      <a:pt x="34" y="36"/>
                      <a:pt x="34" y="36"/>
                      <a:pt x="34" y="36"/>
                    </a:cubicBezTo>
                    <a:cubicBezTo>
                      <a:pt x="32" y="36"/>
                      <a:pt x="31" y="34"/>
                      <a:pt x="31" y="34"/>
                    </a:cubicBezTo>
                    <a:cubicBezTo>
                      <a:pt x="31" y="34"/>
                      <a:pt x="31" y="33"/>
                      <a:pt x="31" y="31"/>
                    </a:cubicBezTo>
                    <a:cubicBezTo>
                      <a:pt x="31" y="29"/>
                      <a:pt x="30" y="28"/>
                      <a:pt x="29" y="30"/>
                    </a:cubicBezTo>
                    <a:cubicBezTo>
                      <a:pt x="27" y="32"/>
                      <a:pt x="25" y="32"/>
                      <a:pt x="25" y="30"/>
                    </a:cubicBezTo>
                    <a:cubicBezTo>
                      <a:pt x="25" y="28"/>
                      <a:pt x="24" y="25"/>
                      <a:pt x="24" y="25"/>
                    </a:cubicBezTo>
                    <a:cubicBezTo>
                      <a:pt x="19" y="26"/>
                      <a:pt x="19" y="26"/>
                      <a:pt x="19" y="26"/>
                    </a:cubicBezTo>
                    <a:cubicBezTo>
                      <a:pt x="19" y="26"/>
                      <a:pt x="20" y="30"/>
                      <a:pt x="20" y="33"/>
                    </a:cubicBezTo>
                    <a:cubicBezTo>
                      <a:pt x="20" y="35"/>
                      <a:pt x="18" y="36"/>
                      <a:pt x="19" y="38"/>
                    </a:cubicBezTo>
                    <a:cubicBezTo>
                      <a:pt x="19" y="39"/>
                      <a:pt x="19" y="40"/>
                      <a:pt x="19" y="42"/>
                    </a:cubicBezTo>
                    <a:cubicBezTo>
                      <a:pt x="19" y="44"/>
                      <a:pt x="19" y="45"/>
                      <a:pt x="19" y="45"/>
                    </a:cubicBezTo>
                    <a:cubicBezTo>
                      <a:pt x="0" y="45"/>
                      <a:pt x="0" y="45"/>
                      <a:pt x="0" y="45"/>
                    </a:cubicBezTo>
                    <a:cubicBezTo>
                      <a:pt x="0" y="84"/>
                      <a:pt x="0" y="84"/>
                      <a:pt x="0" y="84"/>
                    </a:cubicBezTo>
                    <a:cubicBezTo>
                      <a:pt x="0" y="84"/>
                      <a:pt x="1" y="85"/>
                      <a:pt x="2" y="89"/>
                    </a:cubicBezTo>
                    <a:cubicBezTo>
                      <a:pt x="3" y="93"/>
                      <a:pt x="2" y="91"/>
                      <a:pt x="6" y="95"/>
                    </a:cubicBezTo>
                    <a:cubicBezTo>
                      <a:pt x="10" y="98"/>
                      <a:pt x="7" y="102"/>
                      <a:pt x="12" y="10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29" name="Freeform 8">
                <a:extLst>
                  <a:ext uri="{FF2B5EF4-FFF2-40B4-BE49-F238E27FC236}">
                    <a16:creationId xmlns:a16="http://schemas.microsoft.com/office/drawing/2014/main" id="{B2C1A97D-A130-4202-277A-CF9FD41BE499}"/>
                  </a:ext>
                </a:extLst>
              </p:cNvPr>
              <p:cNvSpPr>
                <a:spLocks/>
              </p:cNvSpPr>
              <p:nvPr/>
            </p:nvSpPr>
            <p:spPr bwMode="auto">
              <a:xfrm>
                <a:off x="3488" y="2429"/>
                <a:ext cx="196" cy="206"/>
              </a:xfrm>
              <a:custGeom>
                <a:avLst/>
                <a:gdLst>
                  <a:gd name="T0" fmla="*/ 21 w 100"/>
                  <a:gd name="T1" fmla="*/ 101 h 105"/>
                  <a:gd name="T2" fmla="*/ 27 w 100"/>
                  <a:gd name="T3" fmla="*/ 104 h 105"/>
                  <a:gd name="T4" fmla="*/ 36 w 100"/>
                  <a:gd name="T5" fmla="*/ 104 h 105"/>
                  <a:gd name="T6" fmla="*/ 47 w 100"/>
                  <a:gd name="T7" fmla="*/ 102 h 105"/>
                  <a:gd name="T8" fmla="*/ 55 w 100"/>
                  <a:gd name="T9" fmla="*/ 92 h 105"/>
                  <a:gd name="T10" fmla="*/ 59 w 100"/>
                  <a:gd name="T11" fmla="*/ 86 h 105"/>
                  <a:gd name="T12" fmla="*/ 66 w 100"/>
                  <a:gd name="T13" fmla="*/ 80 h 105"/>
                  <a:gd name="T14" fmla="*/ 73 w 100"/>
                  <a:gd name="T15" fmla="*/ 76 h 105"/>
                  <a:gd name="T16" fmla="*/ 90 w 100"/>
                  <a:gd name="T17" fmla="*/ 65 h 105"/>
                  <a:gd name="T18" fmla="*/ 90 w 100"/>
                  <a:gd name="T19" fmla="*/ 54 h 105"/>
                  <a:gd name="T20" fmla="*/ 96 w 100"/>
                  <a:gd name="T21" fmla="*/ 41 h 105"/>
                  <a:gd name="T22" fmla="*/ 93 w 100"/>
                  <a:gd name="T23" fmla="*/ 32 h 105"/>
                  <a:gd name="T24" fmla="*/ 98 w 100"/>
                  <a:gd name="T25" fmla="*/ 23 h 105"/>
                  <a:gd name="T26" fmla="*/ 94 w 100"/>
                  <a:gd name="T27" fmla="*/ 13 h 105"/>
                  <a:gd name="T28" fmla="*/ 86 w 100"/>
                  <a:gd name="T29" fmla="*/ 8 h 105"/>
                  <a:gd name="T30" fmla="*/ 85 w 100"/>
                  <a:gd name="T31" fmla="*/ 4 h 105"/>
                  <a:gd name="T32" fmla="*/ 81 w 100"/>
                  <a:gd name="T33" fmla="*/ 5 h 105"/>
                  <a:gd name="T34" fmla="*/ 76 w 100"/>
                  <a:gd name="T35" fmla="*/ 5 h 105"/>
                  <a:gd name="T36" fmla="*/ 76 w 100"/>
                  <a:gd name="T37" fmla="*/ 1 h 105"/>
                  <a:gd name="T38" fmla="*/ 59 w 100"/>
                  <a:gd name="T39" fmla="*/ 5 h 105"/>
                  <a:gd name="T40" fmla="*/ 54 w 100"/>
                  <a:gd name="T41" fmla="*/ 11 h 105"/>
                  <a:gd name="T42" fmla="*/ 52 w 100"/>
                  <a:gd name="T43" fmla="*/ 12 h 105"/>
                  <a:gd name="T44" fmla="*/ 52 w 100"/>
                  <a:gd name="T45" fmla="*/ 16 h 105"/>
                  <a:gd name="T46" fmla="*/ 54 w 100"/>
                  <a:gd name="T47" fmla="*/ 25 h 105"/>
                  <a:gd name="T48" fmla="*/ 57 w 100"/>
                  <a:gd name="T49" fmla="*/ 34 h 105"/>
                  <a:gd name="T50" fmla="*/ 66 w 100"/>
                  <a:gd name="T51" fmla="*/ 40 h 105"/>
                  <a:gd name="T52" fmla="*/ 71 w 100"/>
                  <a:gd name="T53" fmla="*/ 49 h 105"/>
                  <a:gd name="T54" fmla="*/ 64 w 100"/>
                  <a:gd name="T55" fmla="*/ 50 h 105"/>
                  <a:gd name="T56" fmla="*/ 59 w 100"/>
                  <a:gd name="T57" fmla="*/ 43 h 105"/>
                  <a:gd name="T58" fmla="*/ 49 w 100"/>
                  <a:gd name="T59" fmla="*/ 36 h 105"/>
                  <a:gd name="T60" fmla="*/ 44 w 100"/>
                  <a:gd name="T61" fmla="*/ 34 h 105"/>
                  <a:gd name="T62" fmla="*/ 34 w 100"/>
                  <a:gd name="T63" fmla="*/ 36 h 105"/>
                  <a:gd name="T64" fmla="*/ 31 w 100"/>
                  <a:gd name="T65" fmla="*/ 31 h 105"/>
                  <a:gd name="T66" fmla="*/ 25 w 100"/>
                  <a:gd name="T67" fmla="*/ 30 h 105"/>
                  <a:gd name="T68" fmla="*/ 19 w 100"/>
                  <a:gd name="T69" fmla="*/ 26 h 105"/>
                  <a:gd name="T70" fmla="*/ 19 w 100"/>
                  <a:gd name="T71" fmla="*/ 38 h 105"/>
                  <a:gd name="T72" fmla="*/ 19 w 100"/>
                  <a:gd name="T73" fmla="*/ 45 h 105"/>
                  <a:gd name="T74" fmla="*/ 0 w 100"/>
                  <a:gd name="T75" fmla="*/ 84 h 105"/>
                  <a:gd name="T76" fmla="*/ 6 w 100"/>
                  <a:gd name="T77" fmla="*/ 9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0" h="105">
                    <a:moveTo>
                      <a:pt x="12" y="102"/>
                    </a:moveTo>
                    <a:cubicBezTo>
                      <a:pt x="21" y="101"/>
                      <a:pt x="21" y="101"/>
                      <a:pt x="21" y="101"/>
                    </a:cubicBezTo>
                    <a:cubicBezTo>
                      <a:pt x="21" y="101"/>
                      <a:pt x="23" y="100"/>
                      <a:pt x="24" y="102"/>
                    </a:cubicBezTo>
                    <a:cubicBezTo>
                      <a:pt x="25" y="104"/>
                      <a:pt x="27" y="104"/>
                      <a:pt x="27" y="104"/>
                    </a:cubicBezTo>
                    <a:cubicBezTo>
                      <a:pt x="27" y="104"/>
                      <a:pt x="30" y="105"/>
                      <a:pt x="31" y="104"/>
                    </a:cubicBezTo>
                    <a:cubicBezTo>
                      <a:pt x="33" y="104"/>
                      <a:pt x="35" y="105"/>
                      <a:pt x="36" y="104"/>
                    </a:cubicBezTo>
                    <a:cubicBezTo>
                      <a:pt x="37" y="103"/>
                      <a:pt x="40" y="104"/>
                      <a:pt x="41" y="104"/>
                    </a:cubicBezTo>
                    <a:cubicBezTo>
                      <a:pt x="43" y="104"/>
                      <a:pt x="45" y="103"/>
                      <a:pt x="47" y="102"/>
                    </a:cubicBezTo>
                    <a:cubicBezTo>
                      <a:pt x="49" y="101"/>
                      <a:pt x="52" y="101"/>
                      <a:pt x="53" y="100"/>
                    </a:cubicBezTo>
                    <a:cubicBezTo>
                      <a:pt x="54" y="99"/>
                      <a:pt x="53" y="92"/>
                      <a:pt x="55" y="92"/>
                    </a:cubicBezTo>
                    <a:cubicBezTo>
                      <a:pt x="56" y="91"/>
                      <a:pt x="55" y="90"/>
                      <a:pt x="57" y="89"/>
                    </a:cubicBezTo>
                    <a:cubicBezTo>
                      <a:pt x="59" y="88"/>
                      <a:pt x="59" y="87"/>
                      <a:pt x="59" y="86"/>
                    </a:cubicBezTo>
                    <a:cubicBezTo>
                      <a:pt x="59" y="84"/>
                      <a:pt x="60" y="83"/>
                      <a:pt x="62" y="83"/>
                    </a:cubicBezTo>
                    <a:cubicBezTo>
                      <a:pt x="64" y="82"/>
                      <a:pt x="66" y="80"/>
                      <a:pt x="66" y="80"/>
                    </a:cubicBezTo>
                    <a:cubicBezTo>
                      <a:pt x="72" y="77"/>
                      <a:pt x="72" y="77"/>
                      <a:pt x="72" y="77"/>
                    </a:cubicBezTo>
                    <a:cubicBezTo>
                      <a:pt x="73" y="76"/>
                      <a:pt x="73" y="76"/>
                      <a:pt x="73" y="76"/>
                    </a:cubicBezTo>
                    <a:cubicBezTo>
                      <a:pt x="74" y="74"/>
                      <a:pt x="70" y="71"/>
                      <a:pt x="70" y="71"/>
                    </a:cubicBezTo>
                    <a:cubicBezTo>
                      <a:pt x="90" y="65"/>
                      <a:pt x="90" y="65"/>
                      <a:pt x="90" y="65"/>
                    </a:cubicBezTo>
                    <a:cubicBezTo>
                      <a:pt x="90" y="65"/>
                      <a:pt x="89" y="61"/>
                      <a:pt x="89" y="59"/>
                    </a:cubicBezTo>
                    <a:cubicBezTo>
                      <a:pt x="88" y="57"/>
                      <a:pt x="91" y="56"/>
                      <a:pt x="90" y="54"/>
                    </a:cubicBezTo>
                    <a:cubicBezTo>
                      <a:pt x="89" y="52"/>
                      <a:pt x="89" y="48"/>
                      <a:pt x="91" y="46"/>
                    </a:cubicBezTo>
                    <a:cubicBezTo>
                      <a:pt x="93" y="45"/>
                      <a:pt x="97" y="44"/>
                      <a:pt x="96" y="41"/>
                    </a:cubicBezTo>
                    <a:cubicBezTo>
                      <a:pt x="96" y="38"/>
                      <a:pt x="93" y="41"/>
                      <a:pt x="94" y="39"/>
                    </a:cubicBezTo>
                    <a:cubicBezTo>
                      <a:pt x="94" y="36"/>
                      <a:pt x="94" y="34"/>
                      <a:pt x="93" y="32"/>
                    </a:cubicBezTo>
                    <a:cubicBezTo>
                      <a:pt x="92" y="30"/>
                      <a:pt x="96" y="30"/>
                      <a:pt x="96" y="28"/>
                    </a:cubicBezTo>
                    <a:cubicBezTo>
                      <a:pt x="97" y="27"/>
                      <a:pt x="100" y="25"/>
                      <a:pt x="98" y="23"/>
                    </a:cubicBezTo>
                    <a:cubicBezTo>
                      <a:pt x="96" y="22"/>
                      <a:pt x="98" y="18"/>
                      <a:pt x="97" y="17"/>
                    </a:cubicBezTo>
                    <a:cubicBezTo>
                      <a:pt x="95" y="16"/>
                      <a:pt x="94" y="13"/>
                      <a:pt x="94" y="13"/>
                    </a:cubicBezTo>
                    <a:cubicBezTo>
                      <a:pt x="94" y="13"/>
                      <a:pt x="91" y="12"/>
                      <a:pt x="90" y="11"/>
                    </a:cubicBezTo>
                    <a:cubicBezTo>
                      <a:pt x="88" y="10"/>
                      <a:pt x="87" y="8"/>
                      <a:pt x="86" y="8"/>
                    </a:cubicBezTo>
                    <a:cubicBezTo>
                      <a:pt x="85" y="8"/>
                      <a:pt x="85" y="4"/>
                      <a:pt x="85" y="4"/>
                    </a:cubicBezTo>
                    <a:cubicBezTo>
                      <a:pt x="85" y="4"/>
                      <a:pt x="85" y="4"/>
                      <a:pt x="85" y="4"/>
                    </a:cubicBezTo>
                    <a:cubicBezTo>
                      <a:pt x="85" y="5"/>
                      <a:pt x="85" y="5"/>
                      <a:pt x="85" y="5"/>
                    </a:cubicBezTo>
                    <a:cubicBezTo>
                      <a:pt x="85" y="4"/>
                      <a:pt x="83" y="5"/>
                      <a:pt x="81" y="5"/>
                    </a:cubicBezTo>
                    <a:cubicBezTo>
                      <a:pt x="80" y="5"/>
                      <a:pt x="79" y="5"/>
                      <a:pt x="78" y="5"/>
                    </a:cubicBezTo>
                    <a:cubicBezTo>
                      <a:pt x="77" y="5"/>
                      <a:pt x="76" y="5"/>
                      <a:pt x="76" y="5"/>
                    </a:cubicBezTo>
                    <a:cubicBezTo>
                      <a:pt x="76" y="5"/>
                      <a:pt x="76" y="5"/>
                      <a:pt x="76" y="5"/>
                    </a:cubicBezTo>
                    <a:cubicBezTo>
                      <a:pt x="76" y="5"/>
                      <a:pt x="78" y="1"/>
                      <a:pt x="76" y="1"/>
                    </a:cubicBezTo>
                    <a:cubicBezTo>
                      <a:pt x="76" y="0"/>
                      <a:pt x="76" y="0"/>
                      <a:pt x="76" y="0"/>
                    </a:cubicBezTo>
                    <a:cubicBezTo>
                      <a:pt x="59" y="5"/>
                      <a:pt x="59" y="5"/>
                      <a:pt x="59" y="5"/>
                    </a:cubicBezTo>
                    <a:cubicBezTo>
                      <a:pt x="59" y="5"/>
                      <a:pt x="59" y="5"/>
                      <a:pt x="58" y="6"/>
                    </a:cubicBezTo>
                    <a:cubicBezTo>
                      <a:pt x="60" y="7"/>
                      <a:pt x="54" y="11"/>
                      <a:pt x="54" y="11"/>
                    </a:cubicBezTo>
                    <a:cubicBezTo>
                      <a:pt x="54" y="12"/>
                      <a:pt x="54" y="12"/>
                      <a:pt x="54" y="12"/>
                    </a:cubicBezTo>
                    <a:cubicBezTo>
                      <a:pt x="53" y="12"/>
                      <a:pt x="53" y="11"/>
                      <a:pt x="52" y="12"/>
                    </a:cubicBezTo>
                    <a:cubicBezTo>
                      <a:pt x="52" y="11"/>
                      <a:pt x="52" y="11"/>
                      <a:pt x="52" y="11"/>
                    </a:cubicBezTo>
                    <a:cubicBezTo>
                      <a:pt x="51" y="13"/>
                      <a:pt x="51" y="15"/>
                      <a:pt x="52" y="16"/>
                    </a:cubicBezTo>
                    <a:cubicBezTo>
                      <a:pt x="52" y="18"/>
                      <a:pt x="53" y="17"/>
                      <a:pt x="53" y="19"/>
                    </a:cubicBezTo>
                    <a:cubicBezTo>
                      <a:pt x="53" y="22"/>
                      <a:pt x="55" y="24"/>
                      <a:pt x="54" y="25"/>
                    </a:cubicBezTo>
                    <a:cubicBezTo>
                      <a:pt x="54" y="27"/>
                      <a:pt x="53" y="28"/>
                      <a:pt x="53" y="30"/>
                    </a:cubicBezTo>
                    <a:cubicBezTo>
                      <a:pt x="53" y="31"/>
                      <a:pt x="55" y="33"/>
                      <a:pt x="57" y="34"/>
                    </a:cubicBezTo>
                    <a:cubicBezTo>
                      <a:pt x="59" y="36"/>
                      <a:pt x="61" y="35"/>
                      <a:pt x="63" y="38"/>
                    </a:cubicBezTo>
                    <a:cubicBezTo>
                      <a:pt x="65" y="41"/>
                      <a:pt x="64" y="40"/>
                      <a:pt x="66" y="40"/>
                    </a:cubicBezTo>
                    <a:cubicBezTo>
                      <a:pt x="68" y="40"/>
                      <a:pt x="71" y="39"/>
                      <a:pt x="71" y="39"/>
                    </a:cubicBezTo>
                    <a:cubicBezTo>
                      <a:pt x="71" y="49"/>
                      <a:pt x="71" y="49"/>
                      <a:pt x="71" y="49"/>
                    </a:cubicBezTo>
                    <a:cubicBezTo>
                      <a:pt x="67" y="48"/>
                      <a:pt x="67" y="48"/>
                      <a:pt x="67" y="48"/>
                    </a:cubicBezTo>
                    <a:cubicBezTo>
                      <a:pt x="67" y="48"/>
                      <a:pt x="65" y="48"/>
                      <a:pt x="64" y="50"/>
                    </a:cubicBezTo>
                    <a:cubicBezTo>
                      <a:pt x="63" y="51"/>
                      <a:pt x="59" y="51"/>
                      <a:pt x="59" y="49"/>
                    </a:cubicBezTo>
                    <a:cubicBezTo>
                      <a:pt x="59" y="47"/>
                      <a:pt x="60" y="45"/>
                      <a:pt x="59" y="43"/>
                    </a:cubicBezTo>
                    <a:cubicBezTo>
                      <a:pt x="58" y="41"/>
                      <a:pt x="54" y="43"/>
                      <a:pt x="53" y="40"/>
                    </a:cubicBezTo>
                    <a:cubicBezTo>
                      <a:pt x="52" y="38"/>
                      <a:pt x="49" y="38"/>
                      <a:pt x="49" y="36"/>
                    </a:cubicBezTo>
                    <a:cubicBezTo>
                      <a:pt x="49" y="34"/>
                      <a:pt x="49" y="33"/>
                      <a:pt x="48" y="33"/>
                    </a:cubicBezTo>
                    <a:cubicBezTo>
                      <a:pt x="46" y="33"/>
                      <a:pt x="45" y="32"/>
                      <a:pt x="44" y="34"/>
                    </a:cubicBezTo>
                    <a:cubicBezTo>
                      <a:pt x="43" y="36"/>
                      <a:pt x="43" y="36"/>
                      <a:pt x="40" y="36"/>
                    </a:cubicBezTo>
                    <a:cubicBezTo>
                      <a:pt x="34" y="36"/>
                      <a:pt x="34" y="36"/>
                      <a:pt x="34" y="36"/>
                    </a:cubicBezTo>
                    <a:cubicBezTo>
                      <a:pt x="32" y="36"/>
                      <a:pt x="31" y="34"/>
                      <a:pt x="31" y="34"/>
                    </a:cubicBezTo>
                    <a:cubicBezTo>
                      <a:pt x="31" y="34"/>
                      <a:pt x="31" y="33"/>
                      <a:pt x="31" y="31"/>
                    </a:cubicBezTo>
                    <a:cubicBezTo>
                      <a:pt x="31" y="29"/>
                      <a:pt x="30" y="28"/>
                      <a:pt x="29" y="30"/>
                    </a:cubicBezTo>
                    <a:cubicBezTo>
                      <a:pt x="27" y="32"/>
                      <a:pt x="25" y="32"/>
                      <a:pt x="25" y="30"/>
                    </a:cubicBezTo>
                    <a:cubicBezTo>
                      <a:pt x="25" y="28"/>
                      <a:pt x="24" y="25"/>
                      <a:pt x="24" y="25"/>
                    </a:cubicBezTo>
                    <a:cubicBezTo>
                      <a:pt x="19" y="26"/>
                      <a:pt x="19" y="26"/>
                      <a:pt x="19" y="26"/>
                    </a:cubicBezTo>
                    <a:cubicBezTo>
                      <a:pt x="19" y="26"/>
                      <a:pt x="20" y="30"/>
                      <a:pt x="20" y="33"/>
                    </a:cubicBezTo>
                    <a:cubicBezTo>
                      <a:pt x="20" y="35"/>
                      <a:pt x="18" y="36"/>
                      <a:pt x="19" y="38"/>
                    </a:cubicBezTo>
                    <a:cubicBezTo>
                      <a:pt x="19" y="39"/>
                      <a:pt x="19" y="40"/>
                      <a:pt x="19" y="42"/>
                    </a:cubicBezTo>
                    <a:cubicBezTo>
                      <a:pt x="19" y="44"/>
                      <a:pt x="19" y="45"/>
                      <a:pt x="19" y="45"/>
                    </a:cubicBezTo>
                    <a:cubicBezTo>
                      <a:pt x="0" y="45"/>
                      <a:pt x="0" y="45"/>
                      <a:pt x="0" y="45"/>
                    </a:cubicBezTo>
                    <a:cubicBezTo>
                      <a:pt x="0" y="84"/>
                      <a:pt x="0" y="84"/>
                      <a:pt x="0" y="84"/>
                    </a:cubicBezTo>
                    <a:cubicBezTo>
                      <a:pt x="0" y="84"/>
                      <a:pt x="1" y="85"/>
                      <a:pt x="2" y="89"/>
                    </a:cubicBezTo>
                    <a:cubicBezTo>
                      <a:pt x="3" y="93"/>
                      <a:pt x="2" y="91"/>
                      <a:pt x="6" y="95"/>
                    </a:cubicBezTo>
                    <a:cubicBezTo>
                      <a:pt x="10" y="98"/>
                      <a:pt x="7" y="102"/>
                      <a:pt x="12" y="10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30" name="Freeform 9">
                <a:extLst>
                  <a:ext uri="{FF2B5EF4-FFF2-40B4-BE49-F238E27FC236}">
                    <a16:creationId xmlns:a16="http://schemas.microsoft.com/office/drawing/2014/main" id="{4AD3B09B-1AB6-C670-7322-F7CB0123C00B}"/>
                  </a:ext>
                </a:extLst>
              </p:cNvPr>
              <p:cNvSpPr>
                <a:spLocks/>
              </p:cNvSpPr>
              <p:nvPr/>
            </p:nvSpPr>
            <p:spPr bwMode="auto">
              <a:xfrm>
                <a:off x="3319" y="2133"/>
                <a:ext cx="334" cy="396"/>
              </a:xfrm>
              <a:custGeom>
                <a:avLst/>
                <a:gdLst>
                  <a:gd name="T0" fmla="*/ 4 w 170"/>
                  <a:gd name="T1" fmla="*/ 122 h 202"/>
                  <a:gd name="T2" fmla="*/ 18 w 170"/>
                  <a:gd name="T3" fmla="*/ 120 h 202"/>
                  <a:gd name="T4" fmla="*/ 48 w 170"/>
                  <a:gd name="T5" fmla="*/ 126 h 202"/>
                  <a:gd name="T6" fmla="*/ 52 w 170"/>
                  <a:gd name="T7" fmla="*/ 143 h 202"/>
                  <a:gd name="T8" fmla="*/ 66 w 170"/>
                  <a:gd name="T9" fmla="*/ 141 h 202"/>
                  <a:gd name="T10" fmla="*/ 76 w 170"/>
                  <a:gd name="T11" fmla="*/ 135 h 202"/>
                  <a:gd name="T12" fmla="*/ 85 w 170"/>
                  <a:gd name="T13" fmla="*/ 145 h 202"/>
                  <a:gd name="T14" fmla="*/ 89 w 170"/>
                  <a:gd name="T15" fmla="*/ 161 h 202"/>
                  <a:gd name="T16" fmla="*/ 91 w 170"/>
                  <a:gd name="T17" fmla="*/ 177 h 202"/>
                  <a:gd name="T18" fmla="*/ 105 w 170"/>
                  <a:gd name="T19" fmla="*/ 177 h 202"/>
                  <a:gd name="T20" fmla="*/ 115 w 170"/>
                  <a:gd name="T21" fmla="*/ 181 h 202"/>
                  <a:gd name="T22" fmla="*/ 120 w 170"/>
                  <a:gd name="T23" fmla="*/ 187 h 202"/>
                  <a:gd name="T24" fmla="*/ 134 w 170"/>
                  <a:gd name="T25" fmla="*/ 184 h 202"/>
                  <a:gd name="T26" fmla="*/ 145 w 170"/>
                  <a:gd name="T27" fmla="*/ 194 h 202"/>
                  <a:gd name="T28" fmla="*/ 153 w 170"/>
                  <a:gd name="T29" fmla="*/ 199 h 202"/>
                  <a:gd name="T30" fmla="*/ 152 w 170"/>
                  <a:gd name="T31" fmla="*/ 191 h 202"/>
                  <a:gd name="T32" fmla="*/ 139 w 170"/>
                  <a:gd name="T33" fmla="*/ 181 h 202"/>
                  <a:gd name="T34" fmla="*/ 138 w 170"/>
                  <a:gd name="T35" fmla="*/ 167 h 202"/>
                  <a:gd name="T36" fmla="*/ 143 w 170"/>
                  <a:gd name="T37" fmla="*/ 156 h 202"/>
                  <a:gd name="T38" fmla="*/ 162 w 170"/>
                  <a:gd name="T39" fmla="*/ 151 h 202"/>
                  <a:gd name="T40" fmla="*/ 159 w 170"/>
                  <a:gd name="T41" fmla="*/ 142 h 202"/>
                  <a:gd name="T42" fmla="*/ 152 w 170"/>
                  <a:gd name="T43" fmla="*/ 136 h 202"/>
                  <a:gd name="T44" fmla="*/ 147 w 170"/>
                  <a:gd name="T45" fmla="*/ 114 h 202"/>
                  <a:gd name="T46" fmla="*/ 147 w 170"/>
                  <a:gd name="T47" fmla="*/ 99 h 202"/>
                  <a:gd name="T48" fmla="*/ 143 w 170"/>
                  <a:gd name="T49" fmla="*/ 92 h 202"/>
                  <a:gd name="T50" fmla="*/ 144 w 170"/>
                  <a:gd name="T51" fmla="*/ 89 h 202"/>
                  <a:gd name="T52" fmla="*/ 148 w 170"/>
                  <a:gd name="T53" fmla="*/ 82 h 202"/>
                  <a:gd name="T54" fmla="*/ 148 w 170"/>
                  <a:gd name="T55" fmla="*/ 73 h 202"/>
                  <a:gd name="T56" fmla="*/ 148 w 170"/>
                  <a:gd name="T57" fmla="*/ 70 h 202"/>
                  <a:gd name="T58" fmla="*/ 151 w 170"/>
                  <a:gd name="T59" fmla="*/ 67 h 202"/>
                  <a:gd name="T60" fmla="*/ 158 w 170"/>
                  <a:gd name="T61" fmla="*/ 53 h 202"/>
                  <a:gd name="T62" fmla="*/ 165 w 170"/>
                  <a:gd name="T63" fmla="*/ 45 h 202"/>
                  <a:gd name="T64" fmla="*/ 165 w 170"/>
                  <a:gd name="T65" fmla="*/ 35 h 202"/>
                  <a:gd name="T66" fmla="*/ 169 w 170"/>
                  <a:gd name="T67" fmla="*/ 21 h 202"/>
                  <a:gd name="T68" fmla="*/ 156 w 170"/>
                  <a:gd name="T69" fmla="*/ 15 h 202"/>
                  <a:gd name="T70" fmla="*/ 145 w 170"/>
                  <a:gd name="T71" fmla="*/ 10 h 202"/>
                  <a:gd name="T72" fmla="*/ 134 w 170"/>
                  <a:gd name="T73" fmla="*/ 6 h 202"/>
                  <a:gd name="T74" fmla="*/ 123 w 170"/>
                  <a:gd name="T75" fmla="*/ 0 h 202"/>
                  <a:gd name="T76" fmla="*/ 109 w 170"/>
                  <a:gd name="T77" fmla="*/ 3 h 202"/>
                  <a:gd name="T78" fmla="*/ 97 w 170"/>
                  <a:gd name="T79" fmla="*/ 5 h 202"/>
                  <a:gd name="T80" fmla="*/ 84 w 170"/>
                  <a:gd name="T81" fmla="*/ 8 h 202"/>
                  <a:gd name="T82" fmla="*/ 65 w 170"/>
                  <a:gd name="T83" fmla="*/ 2 h 202"/>
                  <a:gd name="T84" fmla="*/ 56 w 170"/>
                  <a:gd name="T85" fmla="*/ 20 h 202"/>
                  <a:gd name="T86" fmla="*/ 53 w 170"/>
                  <a:gd name="T87" fmla="*/ 32 h 202"/>
                  <a:gd name="T88" fmla="*/ 50 w 170"/>
                  <a:gd name="T89" fmla="*/ 43 h 202"/>
                  <a:gd name="T90" fmla="*/ 51 w 170"/>
                  <a:gd name="T91" fmla="*/ 55 h 202"/>
                  <a:gd name="T92" fmla="*/ 47 w 170"/>
                  <a:gd name="T93" fmla="*/ 67 h 202"/>
                  <a:gd name="T94" fmla="*/ 44 w 170"/>
                  <a:gd name="T95" fmla="*/ 74 h 202"/>
                  <a:gd name="T96" fmla="*/ 41 w 170"/>
                  <a:gd name="T97" fmla="*/ 84 h 202"/>
                  <a:gd name="T98" fmla="*/ 40 w 170"/>
                  <a:gd name="T99" fmla="*/ 93 h 202"/>
                  <a:gd name="T100" fmla="*/ 36 w 170"/>
                  <a:gd name="T101" fmla="*/ 103 h 202"/>
                  <a:gd name="T102" fmla="*/ 25 w 170"/>
                  <a:gd name="T103" fmla="*/ 109 h 202"/>
                  <a:gd name="T104" fmla="*/ 20 w 170"/>
                  <a:gd name="T105" fmla="*/ 102 h 202"/>
                  <a:gd name="T106" fmla="*/ 11 w 170"/>
                  <a:gd name="T107" fmla="*/ 105 h 202"/>
                  <a:gd name="T108" fmla="*/ 5 w 170"/>
                  <a:gd name="T109" fmla="*/ 11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02">
                    <a:moveTo>
                      <a:pt x="2" y="114"/>
                    </a:moveTo>
                    <a:cubicBezTo>
                      <a:pt x="3" y="117"/>
                      <a:pt x="0" y="116"/>
                      <a:pt x="1" y="119"/>
                    </a:cubicBezTo>
                    <a:cubicBezTo>
                      <a:pt x="1" y="120"/>
                      <a:pt x="3" y="121"/>
                      <a:pt x="4" y="122"/>
                    </a:cubicBezTo>
                    <a:cubicBezTo>
                      <a:pt x="4" y="123"/>
                      <a:pt x="4" y="124"/>
                      <a:pt x="4" y="126"/>
                    </a:cubicBezTo>
                    <a:cubicBezTo>
                      <a:pt x="4" y="126"/>
                      <a:pt x="7" y="125"/>
                      <a:pt x="9" y="123"/>
                    </a:cubicBezTo>
                    <a:cubicBezTo>
                      <a:pt x="11" y="121"/>
                      <a:pt x="14" y="120"/>
                      <a:pt x="18" y="120"/>
                    </a:cubicBezTo>
                    <a:cubicBezTo>
                      <a:pt x="22" y="121"/>
                      <a:pt x="29" y="121"/>
                      <a:pt x="29" y="121"/>
                    </a:cubicBezTo>
                    <a:cubicBezTo>
                      <a:pt x="46" y="121"/>
                      <a:pt x="46" y="121"/>
                      <a:pt x="46" y="121"/>
                    </a:cubicBezTo>
                    <a:cubicBezTo>
                      <a:pt x="46" y="121"/>
                      <a:pt x="48" y="125"/>
                      <a:pt x="48" y="126"/>
                    </a:cubicBezTo>
                    <a:cubicBezTo>
                      <a:pt x="49" y="128"/>
                      <a:pt x="48" y="129"/>
                      <a:pt x="49" y="132"/>
                    </a:cubicBezTo>
                    <a:cubicBezTo>
                      <a:pt x="50" y="134"/>
                      <a:pt x="49" y="135"/>
                      <a:pt x="50" y="139"/>
                    </a:cubicBezTo>
                    <a:cubicBezTo>
                      <a:pt x="50" y="142"/>
                      <a:pt x="51" y="141"/>
                      <a:pt x="52" y="143"/>
                    </a:cubicBezTo>
                    <a:cubicBezTo>
                      <a:pt x="54" y="145"/>
                      <a:pt x="56" y="144"/>
                      <a:pt x="58" y="144"/>
                    </a:cubicBezTo>
                    <a:cubicBezTo>
                      <a:pt x="60" y="144"/>
                      <a:pt x="61" y="141"/>
                      <a:pt x="63" y="142"/>
                    </a:cubicBezTo>
                    <a:cubicBezTo>
                      <a:pt x="64" y="144"/>
                      <a:pt x="67" y="142"/>
                      <a:pt x="66" y="141"/>
                    </a:cubicBezTo>
                    <a:cubicBezTo>
                      <a:pt x="65" y="140"/>
                      <a:pt x="64" y="136"/>
                      <a:pt x="66" y="134"/>
                    </a:cubicBezTo>
                    <a:cubicBezTo>
                      <a:pt x="67" y="133"/>
                      <a:pt x="68" y="134"/>
                      <a:pt x="71" y="134"/>
                    </a:cubicBezTo>
                    <a:cubicBezTo>
                      <a:pt x="75" y="134"/>
                      <a:pt x="76" y="132"/>
                      <a:pt x="76" y="135"/>
                    </a:cubicBezTo>
                    <a:cubicBezTo>
                      <a:pt x="76" y="137"/>
                      <a:pt x="76" y="137"/>
                      <a:pt x="76" y="137"/>
                    </a:cubicBezTo>
                    <a:cubicBezTo>
                      <a:pt x="76" y="137"/>
                      <a:pt x="83" y="135"/>
                      <a:pt x="84" y="139"/>
                    </a:cubicBezTo>
                    <a:cubicBezTo>
                      <a:pt x="85" y="141"/>
                      <a:pt x="83" y="144"/>
                      <a:pt x="85" y="145"/>
                    </a:cubicBezTo>
                    <a:cubicBezTo>
                      <a:pt x="87" y="146"/>
                      <a:pt x="85" y="148"/>
                      <a:pt x="86" y="151"/>
                    </a:cubicBezTo>
                    <a:cubicBezTo>
                      <a:pt x="86" y="153"/>
                      <a:pt x="86" y="154"/>
                      <a:pt x="87" y="156"/>
                    </a:cubicBezTo>
                    <a:cubicBezTo>
                      <a:pt x="89" y="159"/>
                      <a:pt x="87" y="160"/>
                      <a:pt x="89" y="161"/>
                    </a:cubicBezTo>
                    <a:cubicBezTo>
                      <a:pt x="91" y="163"/>
                      <a:pt x="91" y="165"/>
                      <a:pt x="90" y="167"/>
                    </a:cubicBezTo>
                    <a:cubicBezTo>
                      <a:pt x="89" y="168"/>
                      <a:pt x="89" y="169"/>
                      <a:pt x="89" y="171"/>
                    </a:cubicBezTo>
                    <a:cubicBezTo>
                      <a:pt x="90" y="174"/>
                      <a:pt x="89" y="176"/>
                      <a:pt x="91" y="177"/>
                    </a:cubicBezTo>
                    <a:cubicBezTo>
                      <a:pt x="93" y="179"/>
                      <a:pt x="94" y="179"/>
                      <a:pt x="95" y="178"/>
                    </a:cubicBezTo>
                    <a:cubicBezTo>
                      <a:pt x="96" y="176"/>
                      <a:pt x="97" y="177"/>
                      <a:pt x="99" y="177"/>
                    </a:cubicBezTo>
                    <a:cubicBezTo>
                      <a:pt x="100" y="177"/>
                      <a:pt x="105" y="177"/>
                      <a:pt x="105" y="177"/>
                    </a:cubicBezTo>
                    <a:cubicBezTo>
                      <a:pt x="110" y="176"/>
                      <a:pt x="110" y="176"/>
                      <a:pt x="110" y="176"/>
                    </a:cubicBezTo>
                    <a:cubicBezTo>
                      <a:pt x="110" y="176"/>
                      <a:pt x="111" y="179"/>
                      <a:pt x="111" y="181"/>
                    </a:cubicBezTo>
                    <a:cubicBezTo>
                      <a:pt x="111" y="183"/>
                      <a:pt x="113" y="183"/>
                      <a:pt x="115" y="181"/>
                    </a:cubicBezTo>
                    <a:cubicBezTo>
                      <a:pt x="116" y="179"/>
                      <a:pt x="117" y="180"/>
                      <a:pt x="117" y="182"/>
                    </a:cubicBezTo>
                    <a:cubicBezTo>
                      <a:pt x="117" y="184"/>
                      <a:pt x="117" y="185"/>
                      <a:pt x="117" y="185"/>
                    </a:cubicBezTo>
                    <a:cubicBezTo>
                      <a:pt x="117" y="185"/>
                      <a:pt x="118" y="187"/>
                      <a:pt x="120" y="187"/>
                    </a:cubicBezTo>
                    <a:cubicBezTo>
                      <a:pt x="126" y="187"/>
                      <a:pt x="126" y="187"/>
                      <a:pt x="126" y="187"/>
                    </a:cubicBezTo>
                    <a:cubicBezTo>
                      <a:pt x="129" y="187"/>
                      <a:pt x="129" y="187"/>
                      <a:pt x="130" y="185"/>
                    </a:cubicBezTo>
                    <a:cubicBezTo>
                      <a:pt x="131" y="183"/>
                      <a:pt x="132" y="184"/>
                      <a:pt x="134" y="184"/>
                    </a:cubicBezTo>
                    <a:cubicBezTo>
                      <a:pt x="135" y="184"/>
                      <a:pt x="135" y="185"/>
                      <a:pt x="135" y="187"/>
                    </a:cubicBezTo>
                    <a:cubicBezTo>
                      <a:pt x="135" y="189"/>
                      <a:pt x="138" y="189"/>
                      <a:pt x="139" y="191"/>
                    </a:cubicBezTo>
                    <a:cubicBezTo>
                      <a:pt x="140" y="194"/>
                      <a:pt x="144" y="192"/>
                      <a:pt x="145" y="194"/>
                    </a:cubicBezTo>
                    <a:cubicBezTo>
                      <a:pt x="146" y="196"/>
                      <a:pt x="145" y="198"/>
                      <a:pt x="145" y="200"/>
                    </a:cubicBezTo>
                    <a:cubicBezTo>
                      <a:pt x="145" y="202"/>
                      <a:pt x="149" y="202"/>
                      <a:pt x="150" y="201"/>
                    </a:cubicBezTo>
                    <a:cubicBezTo>
                      <a:pt x="151" y="199"/>
                      <a:pt x="153" y="199"/>
                      <a:pt x="153" y="199"/>
                    </a:cubicBezTo>
                    <a:cubicBezTo>
                      <a:pt x="157" y="200"/>
                      <a:pt x="157" y="200"/>
                      <a:pt x="157" y="200"/>
                    </a:cubicBezTo>
                    <a:cubicBezTo>
                      <a:pt x="157" y="190"/>
                      <a:pt x="157" y="190"/>
                      <a:pt x="157" y="190"/>
                    </a:cubicBezTo>
                    <a:cubicBezTo>
                      <a:pt x="157" y="190"/>
                      <a:pt x="154" y="191"/>
                      <a:pt x="152" y="191"/>
                    </a:cubicBezTo>
                    <a:cubicBezTo>
                      <a:pt x="150" y="191"/>
                      <a:pt x="151" y="192"/>
                      <a:pt x="149" y="189"/>
                    </a:cubicBezTo>
                    <a:cubicBezTo>
                      <a:pt x="147" y="186"/>
                      <a:pt x="145" y="187"/>
                      <a:pt x="143" y="185"/>
                    </a:cubicBezTo>
                    <a:cubicBezTo>
                      <a:pt x="141" y="184"/>
                      <a:pt x="139" y="182"/>
                      <a:pt x="139" y="181"/>
                    </a:cubicBezTo>
                    <a:cubicBezTo>
                      <a:pt x="139" y="179"/>
                      <a:pt x="140" y="178"/>
                      <a:pt x="140" y="176"/>
                    </a:cubicBezTo>
                    <a:cubicBezTo>
                      <a:pt x="141" y="175"/>
                      <a:pt x="139" y="173"/>
                      <a:pt x="139" y="170"/>
                    </a:cubicBezTo>
                    <a:cubicBezTo>
                      <a:pt x="139" y="168"/>
                      <a:pt x="138" y="169"/>
                      <a:pt x="138" y="167"/>
                    </a:cubicBezTo>
                    <a:cubicBezTo>
                      <a:pt x="137" y="166"/>
                      <a:pt x="137" y="163"/>
                      <a:pt x="138" y="162"/>
                    </a:cubicBezTo>
                    <a:cubicBezTo>
                      <a:pt x="138" y="161"/>
                      <a:pt x="138" y="159"/>
                      <a:pt x="137" y="159"/>
                    </a:cubicBezTo>
                    <a:cubicBezTo>
                      <a:pt x="139" y="158"/>
                      <a:pt x="142" y="156"/>
                      <a:pt x="143" y="156"/>
                    </a:cubicBezTo>
                    <a:cubicBezTo>
                      <a:pt x="143" y="156"/>
                      <a:pt x="144" y="156"/>
                      <a:pt x="144" y="157"/>
                    </a:cubicBezTo>
                    <a:cubicBezTo>
                      <a:pt x="145" y="156"/>
                      <a:pt x="145" y="156"/>
                      <a:pt x="145" y="156"/>
                    </a:cubicBezTo>
                    <a:cubicBezTo>
                      <a:pt x="162" y="151"/>
                      <a:pt x="162" y="151"/>
                      <a:pt x="162" y="151"/>
                    </a:cubicBezTo>
                    <a:cubicBezTo>
                      <a:pt x="162" y="150"/>
                      <a:pt x="162" y="149"/>
                      <a:pt x="161" y="147"/>
                    </a:cubicBezTo>
                    <a:cubicBezTo>
                      <a:pt x="161" y="146"/>
                      <a:pt x="160" y="145"/>
                      <a:pt x="159" y="144"/>
                    </a:cubicBezTo>
                    <a:cubicBezTo>
                      <a:pt x="159" y="144"/>
                      <a:pt x="160" y="143"/>
                      <a:pt x="159" y="142"/>
                    </a:cubicBezTo>
                    <a:cubicBezTo>
                      <a:pt x="159" y="141"/>
                      <a:pt x="157" y="140"/>
                      <a:pt x="156" y="140"/>
                    </a:cubicBezTo>
                    <a:cubicBezTo>
                      <a:pt x="155" y="138"/>
                      <a:pt x="155" y="138"/>
                      <a:pt x="155" y="138"/>
                    </a:cubicBezTo>
                    <a:cubicBezTo>
                      <a:pt x="155" y="138"/>
                      <a:pt x="153" y="137"/>
                      <a:pt x="152" y="136"/>
                    </a:cubicBezTo>
                    <a:cubicBezTo>
                      <a:pt x="151" y="135"/>
                      <a:pt x="148" y="125"/>
                      <a:pt x="148" y="123"/>
                    </a:cubicBezTo>
                    <a:cubicBezTo>
                      <a:pt x="148" y="122"/>
                      <a:pt x="150" y="120"/>
                      <a:pt x="149" y="118"/>
                    </a:cubicBezTo>
                    <a:cubicBezTo>
                      <a:pt x="149" y="117"/>
                      <a:pt x="148" y="115"/>
                      <a:pt x="147" y="114"/>
                    </a:cubicBezTo>
                    <a:cubicBezTo>
                      <a:pt x="147" y="112"/>
                      <a:pt x="148" y="111"/>
                      <a:pt x="148" y="109"/>
                    </a:cubicBezTo>
                    <a:cubicBezTo>
                      <a:pt x="147" y="108"/>
                      <a:pt x="146" y="109"/>
                      <a:pt x="146" y="107"/>
                    </a:cubicBezTo>
                    <a:cubicBezTo>
                      <a:pt x="146" y="107"/>
                      <a:pt x="147" y="102"/>
                      <a:pt x="147" y="99"/>
                    </a:cubicBezTo>
                    <a:cubicBezTo>
                      <a:pt x="148" y="99"/>
                      <a:pt x="149" y="99"/>
                      <a:pt x="149" y="99"/>
                    </a:cubicBezTo>
                    <a:cubicBezTo>
                      <a:pt x="147" y="95"/>
                      <a:pt x="147" y="95"/>
                      <a:pt x="147" y="95"/>
                    </a:cubicBezTo>
                    <a:cubicBezTo>
                      <a:pt x="147" y="95"/>
                      <a:pt x="144" y="94"/>
                      <a:pt x="143" y="92"/>
                    </a:cubicBezTo>
                    <a:cubicBezTo>
                      <a:pt x="143" y="90"/>
                      <a:pt x="144" y="89"/>
                      <a:pt x="144" y="89"/>
                    </a:cubicBezTo>
                    <a:cubicBezTo>
                      <a:pt x="144" y="89"/>
                      <a:pt x="145" y="89"/>
                      <a:pt x="145" y="89"/>
                    </a:cubicBezTo>
                    <a:cubicBezTo>
                      <a:pt x="144" y="89"/>
                      <a:pt x="144" y="89"/>
                      <a:pt x="144" y="89"/>
                    </a:cubicBezTo>
                    <a:cubicBezTo>
                      <a:pt x="144" y="81"/>
                      <a:pt x="144" y="81"/>
                      <a:pt x="144" y="81"/>
                    </a:cubicBezTo>
                    <a:cubicBezTo>
                      <a:pt x="144" y="81"/>
                      <a:pt x="145" y="80"/>
                      <a:pt x="145" y="80"/>
                    </a:cubicBezTo>
                    <a:cubicBezTo>
                      <a:pt x="147" y="81"/>
                      <a:pt x="147" y="82"/>
                      <a:pt x="148" y="82"/>
                    </a:cubicBezTo>
                    <a:cubicBezTo>
                      <a:pt x="148" y="81"/>
                      <a:pt x="148" y="80"/>
                      <a:pt x="148" y="80"/>
                    </a:cubicBezTo>
                    <a:cubicBezTo>
                      <a:pt x="148" y="80"/>
                      <a:pt x="144" y="78"/>
                      <a:pt x="148" y="74"/>
                    </a:cubicBezTo>
                    <a:cubicBezTo>
                      <a:pt x="148" y="74"/>
                      <a:pt x="148" y="74"/>
                      <a:pt x="148" y="73"/>
                    </a:cubicBezTo>
                    <a:cubicBezTo>
                      <a:pt x="147" y="74"/>
                      <a:pt x="147" y="74"/>
                      <a:pt x="147" y="74"/>
                    </a:cubicBezTo>
                    <a:cubicBezTo>
                      <a:pt x="147" y="74"/>
                      <a:pt x="146" y="71"/>
                      <a:pt x="146" y="71"/>
                    </a:cubicBezTo>
                    <a:cubicBezTo>
                      <a:pt x="146" y="71"/>
                      <a:pt x="148" y="71"/>
                      <a:pt x="148" y="70"/>
                    </a:cubicBezTo>
                    <a:cubicBezTo>
                      <a:pt x="149" y="70"/>
                      <a:pt x="148" y="68"/>
                      <a:pt x="149" y="67"/>
                    </a:cubicBezTo>
                    <a:cubicBezTo>
                      <a:pt x="150" y="66"/>
                      <a:pt x="150" y="66"/>
                      <a:pt x="150" y="66"/>
                    </a:cubicBezTo>
                    <a:cubicBezTo>
                      <a:pt x="151" y="67"/>
                      <a:pt x="151" y="67"/>
                      <a:pt x="151" y="67"/>
                    </a:cubicBezTo>
                    <a:cubicBezTo>
                      <a:pt x="152" y="64"/>
                      <a:pt x="152" y="61"/>
                      <a:pt x="152" y="60"/>
                    </a:cubicBezTo>
                    <a:cubicBezTo>
                      <a:pt x="152" y="58"/>
                      <a:pt x="155" y="55"/>
                      <a:pt x="155" y="55"/>
                    </a:cubicBezTo>
                    <a:cubicBezTo>
                      <a:pt x="158" y="53"/>
                      <a:pt x="158" y="53"/>
                      <a:pt x="158" y="53"/>
                    </a:cubicBezTo>
                    <a:cubicBezTo>
                      <a:pt x="158" y="53"/>
                      <a:pt x="159" y="52"/>
                      <a:pt x="160" y="51"/>
                    </a:cubicBezTo>
                    <a:cubicBezTo>
                      <a:pt x="160" y="50"/>
                      <a:pt x="162" y="48"/>
                      <a:pt x="163" y="47"/>
                    </a:cubicBezTo>
                    <a:cubicBezTo>
                      <a:pt x="164" y="47"/>
                      <a:pt x="164" y="46"/>
                      <a:pt x="165" y="45"/>
                    </a:cubicBezTo>
                    <a:cubicBezTo>
                      <a:pt x="165" y="44"/>
                      <a:pt x="166" y="43"/>
                      <a:pt x="167" y="43"/>
                    </a:cubicBezTo>
                    <a:cubicBezTo>
                      <a:pt x="167" y="41"/>
                      <a:pt x="166" y="40"/>
                      <a:pt x="165" y="40"/>
                    </a:cubicBezTo>
                    <a:cubicBezTo>
                      <a:pt x="164" y="40"/>
                      <a:pt x="165" y="36"/>
                      <a:pt x="165" y="35"/>
                    </a:cubicBezTo>
                    <a:cubicBezTo>
                      <a:pt x="166" y="33"/>
                      <a:pt x="169" y="31"/>
                      <a:pt x="167" y="31"/>
                    </a:cubicBezTo>
                    <a:cubicBezTo>
                      <a:pt x="164" y="31"/>
                      <a:pt x="169" y="27"/>
                      <a:pt x="170" y="25"/>
                    </a:cubicBezTo>
                    <a:cubicBezTo>
                      <a:pt x="170" y="23"/>
                      <a:pt x="169" y="21"/>
                      <a:pt x="169" y="21"/>
                    </a:cubicBezTo>
                    <a:cubicBezTo>
                      <a:pt x="165" y="18"/>
                      <a:pt x="165" y="18"/>
                      <a:pt x="165" y="18"/>
                    </a:cubicBezTo>
                    <a:cubicBezTo>
                      <a:pt x="165" y="18"/>
                      <a:pt x="163" y="20"/>
                      <a:pt x="162" y="18"/>
                    </a:cubicBezTo>
                    <a:cubicBezTo>
                      <a:pt x="160" y="17"/>
                      <a:pt x="157" y="17"/>
                      <a:pt x="156" y="15"/>
                    </a:cubicBezTo>
                    <a:cubicBezTo>
                      <a:pt x="155" y="14"/>
                      <a:pt x="154" y="12"/>
                      <a:pt x="153" y="10"/>
                    </a:cubicBezTo>
                    <a:cubicBezTo>
                      <a:pt x="151" y="8"/>
                      <a:pt x="149" y="7"/>
                      <a:pt x="148" y="8"/>
                    </a:cubicBezTo>
                    <a:cubicBezTo>
                      <a:pt x="147" y="10"/>
                      <a:pt x="147" y="11"/>
                      <a:pt x="145" y="10"/>
                    </a:cubicBezTo>
                    <a:cubicBezTo>
                      <a:pt x="142" y="9"/>
                      <a:pt x="140" y="5"/>
                      <a:pt x="139" y="8"/>
                    </a:cubicBezTo>
                    <a:cubicBezTo>
                      <a:pt x="139" y="10"/>
                      <a:pt x="137" y="11"/>
                      <a:pt x="136" y="10"/>
                    </a:cubicBezTo>
                    <a:cubicBezTo>
                      <a:pt x="135" y="9"/>
                      <a:pt x="134" y="6"/>
                      <a:pt x="134" y="6"/>
                    </a:cubicBezTo>
                    <a:cubicBezTo>
                      <a:pt x="131" y="1"/>
                      <a:pt x="131" y="1"/>
                      <a:pt x="131" y="1"/>
                    </a:cubicBezTo>
                    <a:cubicBezTo>
                      <a:pt x="131" y="1"/>
                      <a:pt x="128" y="2"/>
                      <a:pt x="126" y="2"/>
                    </a:cubicBezTo>
                    <a:cubicBezTo>
                      <a:pt x="125" y="2"/>
                      <a:pt x="126" y="0"/>
                      <a:pt x="123" y="0"/>
                    </a:cubicBezTo>
                    <a:cubicBezTo>
                      <a:pt x="116" y="0"/>
                      <a:pt x="116" y="0"/>
                      <a:pt x="116" y="0"/>
                    </a:cubicBezTo>
                    <a:cubicBezTo>
                      <a:pt x="114" y="0"/>
                      <a:pt x="115" y="1"/>
                      <a:pt x="112" y="4"/>
                    </a:cubicBezTo>
                    <a:cubicBezTo>
                      <a:pt x="110" y="6"/>
                      <a:pt x="111" y="2"/>
                      <a:pt x="109" y="3"/>
                    </a:cubicBezTo>
                    <a:cubicBezTo>
                      <a:pt x="106" y="3"/>
                      <a:pt x="107" y="6"/>
                      <a:pt x="107" y="6"/>
                    </a:cubicBezTo>
                    <a:cubicBezTo>
                      <a:pt x="107" y="6"/>
                      <a:pt x="105" y="6"/>
                      <a:pt x="102" y="7"/>
                    </a:cubicBezTo>
                    <a:cubicBezTo>
                      <a:pt x="99" y="8"/>
                      <a:pt x="99" y="5"/>
                      <a:pt x="97" y="5"/>
                    </a:cubicBezTo>
                    <a:cubicBezTo>
                      <a:pt x="94" y="5"/>
                      <a:pt x="95" y="10"/>
                      <a:pt x="95" y="10"/>
                    </a:cubicBezTo>
                    <a:cubicBezTo>
                      <a:pt x="95" y="10"/>
                      <a:pt x="93" y="10"/>
                      <a:pt x="90" y="9"/>
                    </a:cubicBezTo>
                    <a:cubicBezTo>
                      <a:pt x="87" y="8"/>
                      <a:pt x="86" y="8"/>
                      <a:pt x="84" y="8"/>
                    </a:cubicBezTo>
                    <a:cubicBezTo>
                      <a:pt x="82" y="8"/>
                      <a:pt x="78" y="8"/>
                      <a:pt x="77" y="7"/>
                    </a:cubicBezTo>
                    <a:cubicBezTo>
                      <a:pt x="75" y="6"/>
                      <a:pt x="74" y="4"/>
                      <a:pt x="71" y="2"/>
                    </a:cubicBezTo>
                    <a:cubicBezTo>
                      <a:pt x="68" y="1"/>
                      <a:pt x="66" y="2"/>
                      <a:pt x="65" y="2"/>
                    </a:cubicBezTo>
                    <a:cubicBezTo>
                      <a:pt x="63" y="2"/>
                      <a:pt x="61" y="4"/>
                      <a:pt x="61" y="7"/>
                    </a:cubicBezTo>
                    <a:cubicBezTo>
                      <a:pt x="61" y="9"/>
                      <a:pt x="57" y="11"/>
                      <a:pt x="57" y="11"/>
                    </a:cubicBezTo>
                    <a:cubicBezTo>
                      <a:pt x="56" y="20"/>
                      <a:pt x="56" y="20"/>
                      <a:pt x="56" y="20"/>
                    </a:cubicBezTo>
                    <a:cubicBezTo>
                      <a:pt x="56" y="25"/>
                      <a:pt x="56" y="25"/>
                      <a:pt x="56" y="25"/>
                    </a:cubicBezTo>
                    <a:cubicBezTo>
                      <a:pt x="55" y="29"/>
                      <a:pt x="55" y="29"/>
                      <a:pt x="55" y="29"/>
                    </a:cubicBezTo>
                    <a:cubicBezTo>
                      <a:pt x="53" y="32"/>
                      <a:pt x="53" y="32"/>
                      <a:pt x="53" y="32"/>
                    </a:cubicBezTo>
                    <a:cubicBezTo>
                      <a:pt x="51" y="35"/>
                      <a:pt x="51" y="35"/>
                      <a:pt x="51" y="35"/>
                    </a:cubicBezTo>
                    <a:cubicBezTo>
                      <a:pt x="51" y="39"/>
                      <a:pt x="51" y="39"/>
                      <a:pt x="51" y="39"/>
                    </a:cubicBezTo>
                    <a:cubicBezTo>
                      <a:pt x="50" y="43"/>
                      <a:pt x="50" y="43"/>
                      <a:pt x="50" y="43"/>
                    </a:cubicBezTo>
                    <a:cubicBezTo>
                      <a:pt x="51" y="46"/>
                      <a:pt x="51" y="46"/>
                      <a:pt x="51" y="46"/>
                    </a:cubicBezTo>
                    <a:cubicBezTo>
                      <a:pt x="51" y="51"/>
                      <a:pt x="51" y="51"/>
                      <a:pt x="51" y="51"/>
                    </a:cubicBezTo>
                    <a:cubicBezTo>
                      <a:pt x="51" y="55"/>
                      <a:pt x="51" y="55"/>
                      <a:pt x="51" y="55"/>
                    </a:cubicBezTo>
                    <a:cubicBezTo>
                      <a:pt x="50" y="60"/>
                      <a:pt x="50" y="60"/>
                      <a:pt x="50" y="60"/>
                    </a:cubicBezTo>
                    <a:cubicBezTo>
                      <a:pt x="47" y="64"/>
                      <a:pt x="47" y="64"/>
                      <a:pt x="47" y="64"/>
                    </a:cubicBezTo>
                    <a:cubicBezTo>
                      <a:pt x="47" y="67"/>
                      <a:pt x="47" y="67"/>
                      <a:pt x="47" y="67"/>
                    </a:cubicBezTo>
                    <a:cubicBezTo>
                      <a:pt x="46" y="72"/>
                      <a:pt x="46" y="72"/>
                      <a:pt x="46" y="72"/>
                    </a:cubicBezTo>
                    <a:cubicBezTo>
                      <a:pt x="46" y="71"/>
                      <a:pt x="46" y="71"/>
                      <a:pt x="46" y="71"/>
                    </a:cubicBezTo>
                    <a:cubicBezTo>
                      <a:pt x="44" y="74"/>
                      <a:pt x="44" y="74"/>
                      <a:pt x="44" y="74"/>
                    </a:cubicBezTo>
                    <a:cubicBezTo>
                      <a:pt x="42" y="78"/>
                      <a:pt x="42" y="78"/>
                      <a:pt x="42" y="78"/>
                    </a:cubicBezTo>
                    <a:cubicBezTo>
                      <a:pt x="42" y="81"/>
                      <a:pt x="42" y="81"/>
                      <a:pt x="42" y="81"/>
                    </a:cubicBezTo>
                    <a:cubicBezTo>
                      <a:pt x="41" y="84"/>
                      <a:pt x="41" y="84"/>
                      <a:pt x="41" y="84"/>
                    </a:cubicBezTo>
                    <a:cubicBezTo>
                      <a:pt x="41" y="88"/>
                      <a:pt x="41" y="88"/>
                      <a:pt x="41" y="88"/>
                    </a:cubicBezTo>
                    <a:cubicBezTo>
                      <a:pt x="41" y="90"/>
                      <a:pt x="41" y="90"/>
                      <a:pt x="41" y="90"/>
                    </a:cubicBezTo>
                    <a:cubicBezTo>
                      <a:pt x="40" y="93"/>
                      <a:pt x="40" y="93"/>
                      <a:pt x="40" y="93"/>
                    </a:cubicBezTo>
                    <a:cubicBezTo>
                      <a:pt x="39" y="96"/>
                      <a:pt x="39" y="96"/>
                      <a:pt x="39" y="96"/>
                    </a:cubicBezTo>
                    <a:cubicBezTo>
                      <a:pt x="37" y="100"/>
                      <a:pt x="37" y="100"/>
                      <a:pt x="37" y="100"/>
                    </a:cubicBezTo>
                    <a:cubicBezTo>
                      <a:pt x="36" y="103"/>
                      <a:pt x="36" y="103"/>
                      <a:pt x="36" y="103"/>
                    </a:cubicBezTo>
                    <a:cubicBezTo>
                      <a:pt x="32" y="107"/>
                      <a:pt x="32" y="107"/>
                      <a:pt x="32" y="107"/>
                    </a:cubicBezTo>
                    <a:cubicBezTo>
                      <a:pt x="28" y="108"/>
                      <a:pt x="28" y="108"/>
                      <a:pt x="28" y="108"/>
                    </a:cubicBezTo>
                    <a:cubicBezTo>
                      <a:pt x="25" y="109"/>
                      <a:pt x="25" y="109"/>
                      <a:pt x="25" y="109"/>
                    </a:cubicBezTo>
                    <a:cubicBezTo>
                      <a:pt x="24" y="107"/>
                      <a:pt x="24" y="107"/>
                      <a:pt x="24" y="107"/>
                    </a:cubicBezTo>
                    <a:cubicBezTo>
                      <a:pt x="24" y="101"/>
                      <a:pt x="24" y="101"/>
                      <a:pt x="24" y="101"/>
                    </a:cubicBezTo>
                    <a:cubicBezTo>
                      <a:pt x="24" y="101"/>
                      <a:pt x="22" y="102"/>
                      <a:pt x="20" y="102"/>
                    </a:cubicBezTo>
                    <a:cubicBezTo>
                      <a:pt x="18" y="102"/>
                      <a:pt x="17" y="101"/>
                      <a:pt x="17" y="101"/>
                    </a:cubicBezTo>
                    <a:cubicBezTo>
                      <a:pt x="17" y="101"/>
                      <a:pt x="18" y="105"/>
                      <a:pt x="16" y="105"/>
                    </a:cubicBezTo>
                    <a:cubicBezTo>
                      <a:pt x="14" y="105"/>
                      <a:pt x="12" y="104"/>
                      <a:pt x="11" y="105"/>
                    </a:cubicBezTo>
                    <a:cubicBezTo>
                      <a:pt x="9" y="107"/>
                      <a:pt x="8" y="106"/>
                      <a:pt x="8" y="106"/>
                    </a:cubicBezTo>
                    <a:cubicBezTo>
                      <a:pt x="8" y="106"/>
                      <a:pt x="4" y="107"/>
                      <a:pt x="5" y="110"/>
                    </a:cubicBezTo>
                    <a:cubicBezTo>
                      <a:pt x="7" y="113"/>
                      <a:pt x="5" y="113"/>
                      <a:pt x="5" y="113"/>
                    </a:cubicBezTo>
                    <a:lnTo>
                      <a:pt x="2" y="114"/>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31" name="Freeform 10">
                <a:extLst>
                  <a:ext uri="{FF2B5EF4-FFF2-40B4-BE49-F238E27FC236}">
                    <a16:creationId xmlns:a16="http://schemas.microsoft.com/office/drawing/2014/main" id="{A54D788F-7035-A5E5-B530-78FAEFE15893}"/>
                  </a:ext>
                </a:extLst>
              </p:cNvPr>
              <p:cNvSpPr>
                <a:spLocks/>
              </p:cNvSpPr>
              <p:nvPr/>
            </p:nvSpPr>
            <p:spPr bwMode="auto">
              <a:xfrm>
                <a:off x="3319" y="2133"/>
                <a:ext cx="334" cy="396"/>
              </a:xfrm>
              <a:custGeom>
                <a:avLst/>
                <a:gdLst>
                  <a:gd name="T0" fmla="*/ 4 w 170"/>
                  <a:gd name="T1" fmla="*/ 122 h 202"/>
                  <a:gd name="T2" fmla="*/ 18 w 170"/>
                  <a:gd name="T3" fmla="*/ 120 h 202"/>
                  <a:gd name="T4" fmla="*/ 48 w 170"/>
                  <a:gd name="T5" fmla="*/ 126 h 202"/>
                  <a:gd name="T6" fmla="*/ 52 w 170"/>
                  <a:gd name="T7" fmla="*/ 143 h 202"/>
                  <a:gd name="T8" fmla="*/ 66 w 170"/>
                  <a:gd name="T9" fmla="*/ 141 h 202"/>
                  <a:gd name="T10" fmla="*/ 76 w 170"/>
                  <a:gd name="T11" fmla="*/ 135 h 202"/>
                  <a:gd name="T12" fmla="*/ 85 w 170"/>
                  <a:gd name="T13" fmla="*/ 145 h 202"/>
                  <a:gd name="T14" fmla="*/ 89 w 170"/>
                  <a:gd name="T15" fmla="*/ 161 h 202"/>
                  <a:gd name="T16" fmla="*/ 91 w 170"/>
                  <a:gd name="T17" fmla="*/ 177 h 202"/>
                  <a:gd name="T18" fmla="*/ 105 w 170"/>
                  <a:gd name="T19" fmla="*/ 177 h 202"/>
                  <a:gd name="T20" fmla="*/ 115 w 170"/>
                  <a:gd name="T21" fmla="*/ 181 h 202"/>
                  <a:gd name="T22" fmla="*/ 120 w 170"/>
                  <a:gd name="T23" fmla="*/ 187 h 202"/>
                  <a:gd name="T24" fmla="*/ 134 w 170"/>
                  <a:gd name="T25" fmla="*/ 184 h 202"/>
                  <a:gd name="T26" fmla="*/ 145 w 170"/>
                  <a:gd name="T27" fmla="*/ 194 h 202"/>
                  <a:gd name="T28" fmla="*/ 153 w 170"/>
                  <a:gd name="T29" fmla="*/ 199 h 202"/>
                  <a:gd name="T30" fmla="*/ 152 w 170"/>
                  <a:gd name="T31" fmla="*/ 191 h 202"/>
                  <a:gd name="T32" fmla="*/ 139 w 170"/>
                  <a:gd name="T33" fmla="*/ 181 h 202"/>
                  <a:gd name="T34" fmla="*/ 138 w 170"/>
                  <a:gd name="T35" fmla="*/ 167 h 202"/>
                  <a:gd name="T36" fmla="*/ 143 w 170"/>
                  <a:gd name="T37" fmla="*/ 156 h 202"/>
                  <a:gd name="T38" fmla="*/ 162 w 170"/>
                  <a:gd name="T39" fmla="*/ 151 h 202"/>
                  <a:gd name="T40" fmla="*/ 159 w 170"/>
                  <a:gd name="T41" fmla="*/ 142 h 202"/>
                  <a:gd name="T42" fmla="*/ 152 w 170"/>
                  <a:gd name="T43" fmla="*/ 136 h 202"/>
                  <a:gd name="T44" fmla="*/ 147 w 170"/>
                  <a:gd name="T45" fmla="*/ 114 h 202"/>
                  <a:gd name="T46" fmla="*/ 147 w 170"/>
                  <a:gd name="T47" fmla="*/ 99 h 202"/>
                  <a:gd name="T48" fmla="*/ 143 w 170"/>
                  <a:gd name="T49" fmla="*/ 92 h 202"/>
                  <a:gd name="T50" fmla="*/ 144 w 170"/>
                  <a:gd name="T51" fmla="*/ 89 h 202"/>
                  <a:gd name="T52" fmla="*/ 148 w 170"/>
                  <a:gd name="T53" fmla="*/ 82 h 202"/>
                  <a:gd name="T54" fmla="*/ 148 w 170"/>
                  <a:gd name="T55" fmla="*/ 73 h 202"/>
                  <a:gd name="T56" fmla="*/ 148 w 170"/>
                  <a:gd name="T57" fmla="*/ 70 h 202"/>
                  <a:gd name="T58" fmla="*/ 151 w 170"/>
                  <a:gd name="T59" fmla="*/ 67 h 202"/>
                  <a:gd name="T60" fmla="*/ 158 w 170"/>
                  <a:gd name="T61" fmla="*/ 53 h 202"/>
                  <a:gd name="T62" fmla="*/ 165 w 170"/>
                  <a:gd name="T63" fmla="*/ 45 h 202"/>
                  <a:gd name="T64" fmla="*/ 165 w 170"/>
                  <a:gd name="T65" fmla="*/ 35 h 202"/>
                  <a:gd name="T66" fmla="*/ 169 w 170"/>
                  <a:gd name="T67" fmla="*/ 21 h 202"/>
                  <a:gd name="T68" fmla="*/ 156 w 170"/>
                  <a:gd name="T69" fmla="*/ 15 h 202"/>
                  <a:gd name="T70" fmla="*/ 145 w 170"/>
                  <a:gd name="T71" fmla="*/ 10 h 202"/>
                  <a:gd name="T72" fmla="*/ 134 w 170"/>
                  <a:gd name="T73" fmla="*/ 6 h 202"/>
                  <a:gd name="T74" fmla="*/ 123 w 170"/>
                  <a:gd name="T75" fmla="*/ 0 h 202"/>
                  <a:gd name="T76" fmla="*/ 109 w 170"/>
                  <a:gd name="T77" fmla="*/ 3 h 202"/>
                  <a:gd name="T78" fmla="*/ 97 w 170"/>
                  <a:gd name="T79" fmla="*/ 5 h 202"/>
                  <a:gd name="T80" fmla="*/ 84 w 170"/>
                  <a:gd name="T81" fmla="*/ 8 h 202"/>
                  <a:gd name="T82" fmla="*/ 65 w 170"/>
                  <a:gd name="T83" fmla="*/ 2 h 202"/>
                  <a:gd name="T84" fmla="*/ 56 w 170"/>
                  <a:gd name="T85" fmla="*/ 20 h 202"/>
                  <a:gd name="T86" fmla="*/ 53 w 170"/>
                  <a:gd name="T87" fmla="*/ 32 h 202"/>
                  <a:gd name="T88" fmla="*/ 50 w 170"/>
                  <a:gd name="T89" fmla="*/ 43 h 202"/>
                  <a:gd name="T90" fmla="*/ 51 w 170"/>
                  <a:gd name="T91" fmla="*/ 55 h 202"/>
                  <a:gd name="T92" fmla="*/ 47 w 170"/>
                  <a:gd name="T93" fmla="*/ 67 h 202"/>
                  <a:gd name="T94" fmla="*/ 44 w 170"/>
                  <a:gd name="T95" fmla="*/ 74 h 202"/>
                  <a:gd name="T96" fmla="*/ 41 w 170"/>
                  <a:gd name="T97" fmla="*/ 84 h 202"/>
                  <a:gd name="T98" fmla="*/ 40 w 170"/>
                  <a:gd name="T99" fmla="*/ 93 h 202"/>
                  <a:gd name="T100" fmla="*/ 36 w 170"/>
                  <a:gd name="T101" fmla="*/ 103 h 202"/>
                  <a:gd name="T102" fmla="*/ 25 w 170"/>
                  <a:gd name="T103" fmla="*/ 109 h 202"/>
                  <a:gd name="T104" fmla="*/ 20 w 170"/>
                  <a:gd name="T105" fmla="*/ 102 h 202"/>
                  <a:gd name="T106" fmla="*/ 11 w 170"/>
                  <a:gd name="T107" fmla="*/ 105 h 202"/>
                  <a:gd name="T108" fmla="*/ 5 w 170"/>
                  <a:gd name="T109" fmla="*/ 113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0" h="202">
                    <a:moveTo>
                      <a:pt x="2" y="114"/>
                    </a:moveTo>
                    <a:cubicBezTo>
                      <a:pt x="3" y="117"/>
                      <a:pt x="0" y="116"/>
                      <a:pt x="1" y="119"/>
                    </a:cubicBezTo>
                    <a:cubicBezTo>
                      <a:pt x="1" y="120"/>
                      <a:pt x="3" y="121"/>
                      <a:pt x="4" y="122"/>
                    </a:cubicBezTo>
                    <a:cubicBezTo>
                      <a:pt x="4" y="123"/>
                      <a:pt x="4" y="124"/>
                      <a:pt x="4" y="126"/>
                    </a:cubicBezTo>
                    <a:cubicBezTo>
                      <a:pt x="4" y="126"/>
                      <a:pt x="7" y="125"/>
                      <a:pt x="9" y="123"/>
                    </a:cubicBezTo>
                    <a:cubicBezTo>
                      <a:pt x="11" y="121"/>
                      <a:pt x="14" y="120"/>
                      <a:pt x="18" y="120"/>
                    </a:cubicBezTo>
                    <a:cubicBezTo>
                      <a:pt x="22" y="121"/>
                      <a:pt x="29" y="121"/>
                      <a:pt x="29" y="121"/>
                    </a:cubicBezTo>
                    <a:cubicBezTo>
                      <a:pt x="46" y="121"/>
                      <a:pt x="46" y="121"/>
                      <a:pt x="46" y="121"/>
                    </a:cubicBezTo>
                    <a:cubicBezTo>
                      <a:pt x="46" y="121"/>
                      <a:pt x="48" y="125"/>
                      <a:pt x="48" y="126"/>
                    </a:cubicBezTo>
                    <a:cubicBezTo>
                      <a:pt x="49" y="128"/>
                      <a:pt x="48" y="129"/>
                      <a:pt x="49" y="132"/>
                    </a:cubicBezTo>
                    <a:cubicBezTo>
                      <a:pt x="50" y="134"/>
                      <a:pt x="49" y="135"/>
                      <a:pt x="50" y="139"/>
                    </a:cubicBezTo>
                    <a:cubicBezTo>
                      <a:pt x="50" y="142"/>
                      <a:pt x="51" y="141"/>
                      <a:pt x="52" y="143"/>
                    </a:cubicBezTo>
                    <a:cubicBezTo>
                      <a:pt x="54" y="145"/>
                      <a:pt x="56" y="144"/>
                      <a:pt x="58" y="144"/>
                    </a:cubicBezTo>
                    <a:cubicBezTo>
                      <a:pt x="60" y="144"/>
                      <a:pt x="61" y="141"/>
                      <a:pt x="63" y="142"/>
                    </a:cubicBezTo>
                    <a:cubicBezTo>
                      <a:pt x="64" y="144"/>
                      <a:pt x="67" y="142"/>
                      <a:pt x="66" y="141"/>
                    </a:cubicBezTo>
                    <a:cubicBezTo>
                      <a:pt x="65" y="140"/>
                      <a:pt x="64" y="136"/>
                      <a:pt x="66" y="134"/>
                    </a:cubicBezTo>
                    <a:cubicBezTo>
                      <a:pt x="67" y="133"/>
                      <a:pt x="68" y="134"/>
                      <a:pt x="71" y="134"/>
                    </a:cubicBezTo>
                    <a:cubicBezTo>
                      <a:pt x="75" y="134"/>
                      <a:pt x="76" y="132"/>
                      <a:pt x="76" y="135"/>
                    </a:cubicBezTo>
                    <a:cubicBezTo>
                      <a:pt x="76" y="137"/>
                      <a:pt x="76" y="137"/>
                      <a:pt x="76" y="137"/>
                    </a:cubicBezTo>
                    <a:cubicBezTo>
                      <a:pt x="76" y="137"/>
                      <a:pt x="83" y="135"/>
                      <a:pt x="84" y="139"/>
                    </a:cubicBezTo>
                    <a:cubicBezTo>
                      <a:pt x="85" y="141"/>
                      <a:pt x="83" y="144"/>
                      <a:pt x="85" y="145"/>
                    </a:cubicBezTo>
                    <a:cubicBezTo>
                      <a:pt x="87" y="146"/>
                      <a:pt x="85" y="148"/>
                      <a:pt x="86" y="151"/>
                    </a:cubicBezTo>
                    <a:cubicBezTo>
                      <a:pt x="86" y="153"/>
                      <a:pt x="86" y="154"/>
                      <a:pt x="87" y="156"/>
                    </a:cubicBezTo>
                    <a:cubicBezTo>
                      <a:pt x="89" y="159"/>
                      <a:pt x="87" y="160"/>
                      <a:pt x="89" y="161"/>
                    </a:cubicBezTo>
                    <a:cubicBezTo>
                      <a:pt x="91" y="163"/>
                      <a:pt x="91" y="165"/>
                      <a:pt x="90" y="167"/>
                    </a:cubicBezTo>
                    <a:cubicBezTo>
                      <a:pt x="89" y="168"/>
                      <a:pt x="89" y="169"/>
                      <a:pt x="89" y="171"/>
                    </a:cubicBezTo>
                    <a:cubicBezTo>
                      <a:pt x="90" y="174"/>
                      <a:pt x="89" y="176"/>
                      <a:pt x="91" y="177"/>
                    </a:cubicBezTo>
                    <a:cubicBezTo>
                      <a:pt x="93" y="179"/>
                      <a:pt x="94" y="179"/>
                      <a:pt x="95" y="178"/>
                    </a:cubicBezTo>
                    <a:cubicBezTo>
                      <a:pt x="96" y="176"/>
                      <a:pt x="97" y="177"/>
                      <a:pt x="99" y="177"/>
                    </a:cubicBezTo>
                    <a:cubicBezTo>
                      <a:pt x="100" y="177"/>
                      <a:pt x="105" y="177"/>
                      <a:pt x="105" y="177"/>
                    </a:cubicBezTo>
                    <a:cubicBezTo>
                      <a:pt x="110" y="176"/>
                      <a:pt x="110" y="176"/>
                      <a:pt x="110" y="176"/>
                    </a:cubicBezTo>
                    <a:cubicBezTo>
                      <a:pt x="110" y="176"/>
                      <a:pt x="111" y="179"/>
                      <a:pt x="111" y="181"/>
                    </a:cubicBezTo>
                    <a:cubicBezTo>
                      <a:pt x="111" y="183"/>
                      <a:pt x="113" y="183"/>
                      <a:pt x="115" y="181"/>
                    </a:cubicBezTo>
                    <a:cubicBezTo>
                      <a:pt x="116" y="179"/>
                      <a:pt x="117" y="180"/>
                      <a:pt x="117" y="182"/>
                    </a:cubicBezTo>
                    <a:cubicBezTo>
                      <a:pt x="117" y="184"/>
                      <a:pt x="117" y="185"/>
                      <a:pt x="117" y="185"/>
                    </a:cubicBezTo>
                    <a:cubicBezTo>
                      <a:pt x="117" y="185"/>
                      <a:pt x="118" y="187"/>
                      <a:pt x="120" y="187"/>
                    </a:cubicBezTo>
                    <a:cubicBezTo>
                      <a:pt x="126" y="187"/>
                      <a:pt x="126" y="187"/>
                      <a:pt x="126" y="187"/>
                    </a:cubicBezTo>
                    <a:cubicBezTo>
                      <a:pt x="129" y="187"/>
                      <a:pt x="129" y="187"/>
                      <a:pt x="130" y="185"/>
                    </a:cubicBezTo>
                    <a:cubicBezTo>
                      <a:pt x="131" y="183"/>
                      <a:pt x="132" y="184"/>
                      <a:pt x="134" y="184"/>
                    </a:cubicBezTo>
                    <a:cubicBezTo>
                      <a:pt x="135" y="184"/>
                      <a:pt x="135" y="185"/>
                      <a:pt x="135" y="187"/>
                    </a:cubicBezTo>
                    <a:cubicBezTo>
                      <a:pt x="135" y="189"/>
                      <a:pt x="138" y="189"/>
                      <a:pt x="139" y="191"/>
                    </a:cubicBezTo>
                    <a:cubicBezTo>
                      <a:pt x="140" y="194"/>
                      <a:pt x="144" y="192"/>
                      <a:pt x="145" y="194"/>
                    </a:cubicBezTo>
                    <a:cubicBezTo>
                      <a:pt x="146" y="196"/>
                      <a:pt x="145" y="198"/>
                      <a:pt x="145" y="200"/>
                    </a:cubicBezTo>
                    <a:cubicBezTo>
                      <a:pt x="145" y="202"/>
                      <a:pt x="149" y="202"/>
                      <a:pt x="150" y="201"/>
                    </a:cubicBezTo>
                    <a:cubicBezTo>
                      <a:pt x="151" y="199"/>
                      <a:pt x="153" y="199"/>
                      <a:pt x="153" y="199"/>
                    </a:cubicBezTo>
                    <a:cubicBezTo>
                      <a:pt x="157" y="200"/>
                      <a:pt x="157" y="200"/>
                      <a:pt x="157" y="200"/>
                    </a:cubicBezTo>
                    <a:cubicBezTo>
                      <a:pt x="157" y="190"/>
                      <a:pt x="157" y="190"/>
                      <a:pt x="157" y="190"/>
                    </a:cubicBezTo>
                    <a:cubicBezTo>
                      <a:pt x="157" y="190"/>
                      <a:pt x="154" y="191"/>
                      <a:pt x="152" y="191"/>
                    </a:cubicBezTo>
                    <a:cubicBezTo>
                      <a:pt x="150" y="191"/>
                      <a:pt x="151" y="192"/>
                      <a:pt x="149" y="189"/>
                    </a:cubicBezTo>
                    <a:cubicBezTo>
                      <a:pt x="147" y="186"/>
                      <a:pt x="145" y="187"/>
                      <a:pt x="143" y="185"/>
                    </a:cubicBezTo>
                    <a:cubicBezTo>
                      <a:pt x="141" y="184"/>
                      <a:pt x="139" y="182"/>
                      <a:pt x="139" y="181"/>
                    </a:cubicBezTo>
                    <a:cubicBezTo>
                      <a:pt x="139" y="179"/>
                      <a:pt x="140" y="178"/>
                      <a:pt x="140" y="176"/>
                    </a:cubicBezTo>
                    <a:cubicBezTo>
                      <a:pt x="141" y="175"/>
                      <a:pt x="139" y="173"/>
                      <a:pt x="139" y="170"/>
                    </a:cubicBezTo>
                    <a:cubicBezTo>
                      <a:pt x="139" y="168"/>
                      <a:pt x="138" y="169"/>
                      <a:pt x="138" y="167"/>
                    </a:cubicBezTo>
                    <a:cubicBezTo>
                      <a:pt x="137" y="166"/>
                      <a:pt x="137" y="163"/>
                      <a:pt x="138" y="162"/>
                    </a:cubicBezTo>
                    <a:cubicBezTo>
                      <a:pt x="138" y="161"/>
                      <a:pt x="138" y="159"/>
                      <a:pt x="137" y="159"/>
                    </a:cubicBezTo>
                    <a:cubicBezTo>
                      <a:pt x="139" y="158"/>
                      <a:pt x="142" y="156"/>
                      <a:pt x="143" y="156"/>
                    </a:cubicBezTo>
                    <a:cubicBezTo>
                      <a:pt x="143" y="156"/>
                      <a:pt x="144" y="156"/>
                      <a:pt x="144" y="157"/>
                    </a:cubicBezTo>
                    <a:cubicBezTo>
                      <a:pt x="145" y="156"/>
                      <a:pt x="145" y="156"/>
                      <a:pt x="145" y="156"/>
                    </a:cubicBezTo>
                    <a:cubicBezTo>
                      <a:pt x="162" y="151"/>
                      <a:pt x="162" y="151"/>
                      <a:pt x="162" y="151"/>
                    </a:cubicBezTo>
                    <a:cubicBezTo>
                      <a:pt x="162" y="150"/>
                      <a:pt x="162" y="149"/>
                      <a:pt x="161" y="147"/>
                    </a:cubicBezTo>
                    <a:cubicBezTo>
                      <a:pt x="161" y="146"/>
                      <a:pt x="160" y="145"/>
                      <a:pt x="159" y="144"/>
                    </a:cubicBezTo>
                    <a:cubicBezTo>
                      <a:pt x="159" y="144"/>
                      <a:pt x="160" y="143"/>
                      <a:pt x="159" y="142"/>
                    </a:cubicBezTo>
                    <a:cubicBezTo>
                      <a:pt x="159" y="141"/>
                      <a:pt x="157" y="140"/>
                      <a:pt x="156" y="140"/>
                    </a:cubicBezTo>
                    <a:cubicBezTo>
                      <a:pt x="155" y="138"/>
                      <a:pt x="155" y="138"/>
                      <a:pt x="155" y="138"/>
                    </a:cubicBezTo>
                    <a:cubicBezTo>
                      <a:pt x="155" y="138"/>
                      <a:pt x="153" y="137"/>
                      <a:pt x="152" y="136"/>
                    </a:cubicBezTo>
                    <a:cubicBezTo>
                      <a:pt x="151" y="135"/>
                      <a:pt x="148" y="125"/>
                      <a:pt x="148" y="123"/>
                    </a:cubicBezTo>
                    <a:cubicBezTo>
                      <a:pt x="148" y="122"/>
                      <a:pt x="150" y="120"/>
                      <a:pt x="149" y="118"/>
                    </a:cubicBezTo>
                    <a:cubicBezTo>
                      <a:pt x="149" y="117"/>
                      <a:pt x="148" y="115"/>
                      <a:pt x="147" y="114"/>
                    </a:cubicBezTo>
                    <a:cubicBezTo>
                      <a:pt x="147" y="112"/>
                      <a:pt x="148" y="111"/>
                      <a:pt x="148" y="109"/>
                    </a:cubicBezTo>
                    <a:cubicBezTo>
                      <a:pt x="147" y="108"/>
                      <a:pt x="146" y="109"/>
                      <a:pt x="146" y="107"/>
                    </a:cubicBezTo>
                    <a:cubicBezTo>
                      <a:pt x="146" y="107"/>
                      <a:pt x="147" y="102"/>
                      <a:pt x="147" y="99"/>
                    </a:cubicBezTo>
                    <a:cubicBezTo>
                      <a:pt x="148" y="99"/>
                      <a:pt x="149" y="99"/>
                      <a:pt x="149" y="99"/>
                    </a:cubicBezTo>
                    <a:cubicBezTo>
                      <a:pt x="147" y="95"/>
                      <a:pt x="147" y="95"/>
                      <a:pt x="147" y="95"/>
                    </a:cubicBezTo>
                    <a:cubicBezTo>
                      <a:pt x="147" y="95"/>
                      <a:pt x="144" y="94"/>
                      <a:pt x="143" y="92"/>
                    </a:cubicBezTo>
                    <a:cubicBezTo>
                      <a:pt x="143" y="90"/>
                      <a:pt x="144" y="89"/>
                      <a:pt x="144" y="89"/>
                    </a:cubicBezTo>
                    <a:cubicBezTo>
                      <a:pt x="144" y="89"/>
                      <a:pt x="145" y="89"/>
                      <a:pt x="145" y="89"/>
                    </a:cubicBezTo>
                    <a:cubicBezTo>
                      <a:pt x="144" y="89"/>
                      <a:pt x="144" y="89"/>
                      <a:pt x="144" y="89"/>
                    </a:cubicBezTo>
                    <a:cubicBezTo>
                      <a:pt x="144" y="81"/>
                      <a:pt x="144" y="81"/>
                      <a:pt x="144" y="81"/>
                    </a:cubicBezTo>
                    <a:cubicBezTo>
                      <a:pt x="144" y="81"/>
                      <a:pt x="145" y="80"/>
                      <a:pt x="145" y="80"/>
                    </a:cubicBezTo>
                    <a:cubicBezTo>
                      <a:pt x="147" y="81"/>
                      <a:pt x="147" y="82"/>
                      <a:pt x="148" y="82"/>
                    </a:cubicBezTo>
                    <a:cubicBezTo>
                      <a:pt x="148" y="81"/>
                      <a:pt x="148" y="80"/>
                      <a:pt x="148" y="80"/>
                    </a:cubicBezTo>
                    <a:cubicBezTo>
                      <a:pt x="148" y="80"/>
                      <a:pt x="144" y="78"/>
                      <a:pt x="148" y="74"/>
                    </a:cubicBezTo>
                    <a:cubicBezTo>
                      <a:pt x="148" y="74"/>
                      <a:pt x="148" y="74"/>
                      <a:pt x="148" y="73"/>
                    </a:cubicBezTo>
                    <a:cubicBezTo>
                      <a:pt x="147" y="74"/>
                      <a:pt x="147" y="74"/>
                      <a:pt x="147" y="74"/>
                    </a:cubicBezTo>
                    <a:cubicBezTo>
                      <a:pt x="147" y="74"/>
                      <a:pt x="146" y="71"/>
                      <a:pt x="146" y="71"/>
                    </a:cubicBezTo>
                    <a:cubicBezTo>
                      <a:pt x="146" y="71"/>
                      <a:pt x="148" y="71"/>
                      <a:pt x="148" y="70"/>
                    </a:cubicBezTo>
                    <a:cubicBezTo>
                      <a:pt x="149" y="70"/>
                      <a:pt x="148" y="68"/>
                      <a:pt x="149" y="67"/>
                    </a:cubicBezTo>
                    <a:cubicBezTo>
                      <a:pt x="150" y="66"/>
                      <a:pt x="150" y="66"/>
                      <a:pt x="150" y="66"/>
                    </a:cubicBezTo>
                    <a:cubicBezTo>
                      <a:pt x="151" y="67"/>
                      <a:pt x="151" y="67"/>
                      <a:pt x="151" y="67"/>
                    </a:cubicBezTo>
                    <a:cubicBezTo>
                      <a:pt x="152" y="64"/>
                      <a:pt x="152" y="61"/>
                      <a:pt x="152" y="60"/>
                    </a:cubicBezTo>
                    <a:cubicBezTo>
                      <a:pt x="152" y="58"/>
                      <a:pt x="155" y="55"/>
                      <a:pt x="155" y="55"/>
                    </a:cubicBezTo>
                    <a:cubicBezTo>
                      <a:pt x="158" y="53"/>
                      <a:pt x="158" y="53"/>
                      <a:pt x="158" y="53"/>
                    </a:cubicBezTo>
                    <a:cubicBezTo>
                      <a:pt x="158" y="53"/>
                      <a:pt x="159" y="52"/>
                      <a:pt x="160" y="51"/>
                    </a:cubicBezTo>
                    <a:cubicBezTo>
                      <a:pt x="160" y="50"/>
                      <a:pt x="162" y="48"/>
                      <a:pt x="163" y="47"/>
                    </a:cubicBezTo>
                    <a:cubicBezTo>
                      <a:pt x="164" y="47"/>
                      <a:pt x="164" y="46"/>
                      <a:pt x="165" y="45"/>
                    </a:cubicBezTo>
                    <a:cubicBezTo>
                      <a:pt x="165" y="44"/>
                      <a:pt x="166" y="43"/>
                      <a:pt x="167" y="43"/>
                    </a:cubicBezTo>
                    <a:cubicBezTo>
                      <a:pt x="167" y="41"/>
                      <a:pt x="166" y="40"/>
                      <a:pt x="165" y="40"/>
                    </a:cubicBezTo>
                    <a:cubicBezTo>
                      <a:pt x="164" y="40"/>
                      <a:pt x="165" y="36"/>
                      <a:pt x="165" y="35"/>
                    </a:cubicBezTo>
                    <a:cubicBezTo>
                      <a:pt x="166" y="33"/>
                      <a:pt x="169" y="31"/>
                      <a:pt x="167" y="31"/>
                    </a:cubicBezTo>
                    <a:cubicBezTo>
                      <a:pt x="164" y="31"/>
                      <a:pt x="169" y="27"/>
                      <a:pt x="170" y="25"/>
                    </a:cubicBezTo>
                    <a:cubicBezTo>
                      <a:pt x="170" y="23"/>
                      <a:pt x="169" y="21"/>
                      <a:pt x="169" y="21"/>
                    </a:cubicBezTo>
                    <a:cubicBezTo>
                      <a:pt x="165" y="18"/>
                      <a:pt x="165" y="18"/>
                      <a:pt x="165" y="18"/>
                    </a:cubicBezTo>
                    <a:cubicBezTo>
                      <a:pt x="165" y="18"/>
                      <a:pt x="163" y="20"/>
                      <a:pt x="162" y="18"/>
                    </a:cubicBezTo>
                    <a:cubicBezTo>
                      <a:pt x="160" y="17"/>
                      <a:pt x="157" y="17"/>
                      <a:pt x="156" y="15"/>
                    </a:cubicBezTo>
                    <a:cubicBezTo>
                      <a:pt x="155" y="14"/>
                      <a:pt x="154" y="12"/>
                      <a:pt x="153" y="10"/>
                    </a:cubicBezTo>
                    <a:cubicBezTo>
                      <a:pt x="151" y="8"/>
                      <a:pt x="149" y="7"/>
                      <a:pt x="148" y="8"/>
                    </a:cubicBezTo>
                    <a:cubicBezTo>
                      <a:pt x="147" y="10"/>
                      <a:pt x="147" y="11"/>
                      <a:pt x="145" y="10"/>
                    </a:cubicBezTo>
                    <a:cubicBezTo>
                      <a:pt x="142" y="9"/>
                      <a:pt x="140" y="5"/>
                      <a:pt x="139" y="8"/>
                    </a:cubicBezTo>
                    <a:cubicBezTo>
                      <a:pt x="139" y="10"/>
                      <a:pt x="137" y="11"/>
                      <a:pt x="136" y="10"/>
                    </a:cubicBezTo>
                    <a:cubicBezTo>
                      <a:pt x="135" y="9"/>
                      <a:pt x="134" y="6"/>
                      <a:pt x="134" y="6"/>
                    </a:cubicBezTo>
                    <a:cubicBezTo>
                      <a:pt x="131" y="1"/>
                      <a:pt x="131" y="1"/>
                      <a:pt x="131" y="1"/>
                    </a:cubicBezTo>
                    <a:cubicBezTo>
                      <a:pt x="131" y="1"/>
                      <a:pt x="128" y="2"/>
                      <a:pt x="126" y="2"/>
                    </a:cubicBezTo>
                    <a:cubicBezTo>
                      <a:pt x="125" y="2"/>
                      <a:pt x="126" y="0"/>
                      <a:pt x="123" y="0"/>
                    </a:cubicBezTo>
                    <a:cubicBezTo>
                      <a:pt x="116" y="0"/>
                      <a:pt x="116" y="0"/>
                      <a:pt x="116" y="0"/>
                    </a:cubicBezTo>
                    <a:cubicBezTo>
                      <a:pt x="114" y="0"/>
                      <a:pt x="115" y="1"/>
                      <a:pt x="112" y="4"/>
                    </a:cubicBezTo>
                    <a:cubicBezTo>
                      <a:pt x="110" y="6"/>
                      <a:pt x="111" y="2"/>
                      <a:pt x="109" y="3"/>
                    </a:cubicBezTo>
                    <a:cubicBezTo>
                      <a:pt x="106" y="3"/>
                      <a:pt x="107" y="6"/>
                      <a:pt x="107" y="6"/>
                    </a:cubicBezTo>
                    <a:cubicBezTo>
                      <a:pt x="107" y="6"/>
                      <a:pt x="105" y="6"/>
                      <a:pt x="102" y="7"/>
                    </a:cubicBezTo>
                    <a:cubicBezTo>
                      <a:pt x="99" y="8"/>
                      <a:pt x="99" y="5"/>
                      <a:pt x="97" y="5"/>
                    </a:cubicBezTo>
                    <a:cubicBezTo>
                      <a:pt x="94" y="5"/>
                      <a:pt x="95" y="10"/>
                      <a:pt x="95" y="10"/>
                    </a:cubicBezTo>
                    <a:cubicBezTo>
                      <a:pt x="95" y="10"/>
                      <a:pt x="93" y="10"/>
                      <a:pt x="90" y="9"/>
                    </a:cubicBezTo>
                    <a:cubicBezTo>
                      <a:pt x="87" y="8"/>
                      <a:pt x="86" y="8"/>
                      <a:pt x="84" y="8"/>
                    </a:cubicBezTo>
                    <a:cubicBezTo>
                      <a:pt x="82" y="8"/>
                      <a:pt x="78" y="8"/>
                      <a:pt x="77" y="7"/>
                    </a:cubicBezTo>
                    <a:cubicBezTo>
                      <a:pt x="75" y="6"/>
                      <a:pt x="74" y="4"/>
                      <a:pt x="71" y="2"/>
                    </a:cubicBezTo>
                    <a:cubicBezTo>
                      <a:pt x="68" y="1"/>
                      <a:pt x="66" y="2"/>
                      <a:pt x="65" y="2"/>
                    </a:cubicBezTo>
                    <a:cubicBezTo>
                      <a:pt x="63" y="2"/>
                      <a:pt x="61" y="4"/>
                      <a:pt x="61" y="7"/>
                    </a:cubicBezTo>
                    <a:cubicBezTo>
                      <a:pt x="61" y="9"/>
                      <a:pt x="57" y="11"/>
                      <a:pt x="57" y="11"/>
                    </a:cubicBezTo>
                    <a:cubicBezTo>
                      <a:pt x="56" y="20"/>
                      <a:pt x="56" y="20"/>
                      <a:pt x="56" y="20"/>
                    </a:cubicBezTo>
                    <a:cubicBezTo>
                      <a:pt x="56" y="25"/>
                      <a:pt x="56" y="25"/>
                      <a:pt x="56" y="25"/>
                    </a:cubicBezTo>
                    <a:cubicBezTo>
                      <a:pt x="55" y="29"/>
                      <a:pt x="55" y="29"/>
                      <a:pt x="55" y="29"/>
                    </a:cubicBezTo>
                    <a:cubicBezTo>
                      <a:pt x="53" y="32"/>
                      <a:pt x="53" y="32"/>
                      <a:pt x="53" y="32"/>
                    </a:cubicBezTo>
                    <a:cubicBezTo>
                      <a:pt x="51" y="35"/>
                      <a:pt x="51" y="35"/>
                      <a:pt x="51" y="35"/>
                    </a:cubicBezTo>
                    <a:cubicBezTo>
                      <a:pt x="51" y="39"/>
                      <a:pt x="51" y="39"/>
                      <a:pt x="51" y="39"/>
                    </a:cubicBezTo>
                    <a:cubicBezTo>
                      <a:pt x="50" y="43"/>
                      <a:pt x="50" y="43"/>
                      <a:pt x="50" y="43"/>
                    </a:cubicBezTo>
                    <a:cubicBezTo>
                      <a:pt x="51" y="46"/>
                      <a:pt x="51" y="46"/>
                      <a:pt x="51" y="46"/>
                    </a:cubicBezTo>
                    <a:cubicBezTo>
                      <a:pt x="51" y="51"/>
                      <a:pt x="51" y="51"/>
                      <a:pt x="51" y="51"/>
                    </a:cubicBezTo>
                    <a:cubicBezTo>
                      <a:pt x="51" y="55"/>
                      <a:pt x="51" y="55"/>
                      <a:pt x="51" y="55"/>
                    </a:cubicBezTo>
                    <a:cubicBezTo>
                      <a:pt x="50" y="60"/>
                      <a:pt x="50" y="60"/>
                      <a:pt x="50" y="60"/>
                    </a:cubicBezTo>
                    <a:cubicBezTo>
                      <a:pt x="47" y="64"/>
                      <a:pt x="47" y="64"/>
                      <a:pt x="47" y="64"/>
                    </a:cubicBezTo>
                    <a:cubicBezTo>
                      <a:pt x="47" y="67"/>
                      <a:pt x="47" y="67"/>
                      <a:pt x="47" y="67"/>
                    </a:cubicBezTo>
                    <a:cubicBezTo>
                      <a:pt x="46" y="72"/>
                      <a:pt x="46" y="72"/>
                      <a:pt x="46" y="72"/>
                    </a:cubicBezTo>
                    <a:cubicBezTo>
                      <a:pt x="46" y="71"/>
                      <a:pt x="46" y="71"/>
                      <a:pt x="46" y="71"/>
                    </a:cubicBezTo>
                    <a:cubicBezTo>
                      <a:pt x="44" y="74"/>
                      <a:pt x="44" y="74"/>
                      <a:pt x="44" y="74"/>
                    </a:cubicBezTo>
                    <a:cubicBezTo>
                      <a:pt x="42" y="78"/>
                      <a:pt x="42" y="78"/>
                      <a:pt x="42" y="78"/>
                    </a:cubicBezTo>
                    <a:cubicBezTo>
                      <a:pt x="42" y="81"/>
                      <a:pt x="42" y="81"/>
                      <a:pt x="42" y="81"/>
                    </a:cubicBezTo>
                    <a:cubicBezTo>
                      <a:pt x="41" y="84"/>
                      <a:pt x="41" y="84"/>
                      <a:pt x="41" y="84"/>
                    </a:cubicBezTo>
                    <a:cubicBezTo>
                      <a:pt x="41" y="88"/>
                      <a:pt x="41" y="88"/>
                      <a:pt x="41" y="88"/>
                    </a:cubicBezTo>
                    <a:cubicBezTo>
                      <a:pt x="41" y="90"/>
                      <a:pt x="41" y="90"/>
                      <a:pt x="41" y="90"/>
                    </a:cubicBezTo>
                    <a:cubicBezTo>
                      <a:pt x="40" y="93"/>
                      <a:pt x="40" y="93"/>
                      <a:pt x="40" y="93"/>
                    </a:cubicBezTo>
                    <a:cubicBezTo>
                      <a:pt x="39" y="96"/>
                      <a:pt x="39" y="96"/>
                      <a:pt x="39" y="96"/>
                    </a:cubicBezTo>
                    <a:cubicBezTo>
                      <a:pt x="37" y="100"/>
                      <a:pt x="37" y="100"/>
                      <a:pt x="37" y="100"/>
                    </a:cubicBezTo>
                    <a:cubicBezTo>
                      <a:pt x="36" y="103"/>
                      <a:pt x="36" y="103"/>
                      <a:pt x="36" y="103"/>
                    </a:cubicBezTo>
                    <a:cubicBezTo>
                      <a:pt x="32" y="107"/>
                      <a:pt x="32" y="107"/>
                      <a:pt x="32" y="107"/>
                    </a:cubicBezTo>
                    <a:cubicBezTo>
                      <a:pt x="28" y="108"/>
                      <a:pt x="28" y="108"/>
                      <a:pt x="28" y="108"/>
                    </a:cubicBezTo>
                    <a:cubicBezTo>
                      <a:pt x="25" y="109"/>
                      <a:pt x="25" y="109"/>
                      <a:pt x="25" y="109"/>
                    </a:cubicBezTo>
                    <a:cubicBezTo>
                      <a:pt x="24" y="107"/>
                      <a:pt x="24" y="107"/>
                      <a:pt x="24" y="107"/>
                    </a:cubicBezTo>
                    <a:cubicBezTo>
                      <a:pt x="24" y="101"/>
                      <a:pt x="24" y="101"/>
                      <a:pt x="24" y="101"/>
                    </a:cubicBezTo>
                    <a:cubicBezTo>
                      <a:pt x="24" y="101"/>
                      <a:pt x="22" y="102"/>
                      <a:pt x="20" y="102"/>
                    </a:cubicBezTo>
                    <a:cubicBezTo>
                      <a:pt x="18" y="102"/>
                      <a:pt x="17" y="101"/>
                      <a:pt x="17" y="101"/>
                    </a:cubicBezTo>
                    <a:cubicBezTo>
                      <a:pt x="17" y="101"/>
                      <a:pt x="18" y="105"/>
                      <a:pt x="16" y="105"/>
                    </a:cubicBezTo>
                    <a:cubicBezTo>
                      <a:pt x="14" y="105"/>
                      <a:pt x="12" y="104"/>
                      <a:pt x="11" y="105"/>
                    </a:cubicBezTo>
                    <a:cubicBezTo>
                      <a:pt x="9" y="107"/>
                      <a:pt x="8" y="106"/>
                      <a:pt x="8" y="106"/>
                    </a:cubicBezTo>
                    <a:cubicBezTo>
                      <a:pt x="8" y="106"/>
                      <a:pt x="4" y="107"/>
                      <a:pt x="5" y="110"/>
                    </a:cubicBezTo>
                    <a:cubicBezTo>
                      <a:pt x="7" y="113"/>
                      <a:pt x="5" y="113"/>
                      <a:pt x="5" y="113"/>
                    </a:cubicBezTo>
                    <a:lnTo>
                      <a:pt x="2" y="114"/>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32" name="Freeform 11">
                <a:extLst>
                  <a:ext uri="{FF2B5EF4-FFF2-40B4-BE49-F238E27FC236}">
                    <a16:creationId xmlns:a16="http://schemas.microsoft.com/office/drawing/2014/main" id="{42EB7BEC-A438-BE89-4949-92FEC46F72C0}"/>
                  </a:ext>
                </a:extLst>
              </p:cNvPr>
              <p:cNvSpPr>
                <a:spLocks/>
              </p:cNvSpPr>
              <p:nvPr/>
            </p:nvSpPr>
            <p:spPr bwMode="auto">
              <a:xfrm>
                <a:off x="3427" y="1244"/>
                <a:ext cx="90" cy="98"/>
              </a:xfrm>
              <a:custGeom>
                <a:avLst/>
                <a:gdLst>
                  <a:gd name="T0" fmla="*/ 45 w 46"/>
                  <a:gd name="T1" fmla="*/ 18 h 50"/>
                  <a:gd name="T2" fmla="*/ 41 w 46"/>
                  <a:gd name="T3" fmla="*/ 16 h 50"/>
                  <a:gd name="T4" fmla="*/ 42 w 46"/>
                  <a:gd name="T5" fmla="*/ 13 h 50"/>
                  <a:gd name="T6" fmla="*/ 42 w 46"/>
                  <a:gd name="T7" fmla="*/ 11 h 50"/>
                  <a:gd name="T8" fmla="*/ 37 w 46"/>
                  <a:gd name="T9" fmla="*/ 10 h 50"/>
                  <a:gd name="T10" fmla="*/ 33 w 46"/>
                  <a:gd name="T11" fmla="*/ 11 h 50"/>
                  <a:gd name="T12" fmla="*/ 30 w 46"/>
                  <a:gd name="T13" fmla="*/ 9 h 50"/>
                  <a:gd name="T14" fmla="*/ 29 w 46"/>
                  <a:gd name="T15" fmla="*/ 6 h 50"/>
                  <a:gd name="T16" fmla="*/ 24 w 46"/>
                  <a:gd name="T17" fmla="*/ 0 h 50"/>
                  <a:gd name="T18" fmla="*/ 20 w 46"/>
                  <a:gd name="T19" fmla="*/ 0 h 50"/>
                  <a:gd name="T20" fmla="*/ 14 w 46"/>
                  <a:gd name="T21" fmla="*/ 2 h 50"/>
                  <a:gd name="T22" fmla="*/ 10 w 46"/>
                  <a:gd name="T23" fmla="*/ 5 h 50"/>
                  <a:gd name="T24" fmla="*/ 9 w 46"/>
                  <a:gd name="T25" fmla="*/ 9 h 50"/>
                  <a:gd name="T26" fmla="*/ 9 w 46"/>
                  <a:gd name="T27" fmla="*/ 14 h 50"/>
                  <a:gd name="T28" fmla="*/ 9 w 46"/>
                  <a:gd name="T29" fmla="*/ 17 h 50"/>
                  <a:gd name="T30" fmla="*/ 11 w 46"/>
                  <a:gd name="T31" fmla="*/ 21 h 50"/>
                  <a:gd name="T32" fmla="*/ 8 w 46"/>
                  <a:gd name="T33" fmla="*/ 22 h 50"/>
                  <a:gd name="T34" fmla="*/ 12 w 46"/>
                  <a:gd name="T35" fmla="*/ 26 h 50"/>
                  <a:gd name="T36" fmla="*/ 8 w 46"/>
                  <a:gd name="T37" fmla="*/ 28 h 50"/>
                  <a:gd name="T38" fmla="*/ 6 w 46"/>
                  <a:gd name="T39" fmla="*/ 31 h 50"/>
                  <a:gd name="T40" fmla="*/ 3 w 46"/>
                  <a:gd name="T41" fmla="*/ 32 h 50"/>
                  <a:gd name="T42" fmla="*/ 1 w 46"/>
                  <a:gd name="T43" fmla="*/ 37 h 50"/>
                  <a:gd name="T44" fmla="*/ 2 w 46"/>
                  <a:gd name="T45" fmla="*/ 43 h 50"/>
                  <a:gd name="T46" fmla="*/ 4 w 46"/>
                  <a:gd name="T47" fmla="*/ 43 h 50"/>
                  <a:gd name="T48" fmla="*/ 7 w 46"/>
                  <a:gd name="T49" fmla="*/ 46 h 50"/>
                  <a:gd name="T50" fmla="*/ 7 w 46"/>
                  <a:gd name="T51" fmla="*/ 47 h 50"/>
                  <a:gd name="T52" fmla="*/ 8 w 46"/>
                  <a:gd name="T53" fmla="*/ 43 h 50"/>
                  <a:gd name="T54" fmla="*/ 13 w 46"/>
                  <a:gd name="T55" fmla="*/ 40 h 50"/>
                  <a:gd name="T56" fmla="*/ 15 w 46"/>
                  <a:gd name="T57" fmla="*/ 43 h 50"/>
                  <a:gd name="T58" fmla="*/ 17 w 46"/>
                  <a:gd name="T59" fmla="*/ 41 h 50"/>
                  <a:gd name="T60" fmla="*/ 21 w 46"/>
                  <a:gd name="T61" fmla="*/ 45 h 50"/>
                  <a:gd name="T62" fmla="*/ 22 w 46"/>
                  <a:gd name="T63" fmla="*/ 50 h 50"/>
                  <a:gd name="T64" fmla="*/ 22 w 46"/>
                  <a:gd name="T65" fmla="*/ 50 h 50"/>
                  <a:gd name="T66" fmla="*/ 25 w 46"/>
                  <a:gd name="T67" fmla="*/ 47 h 50"/>
                  <a:gd name="T68" fmla="*/ 27 w 46"/>
                  <a:gd name="T69" fmla="*/ 45 h 50"/>
                  <a:gd name="T70" fmla="*/ 29 w 46"/>
                  <a:gd name="T71" fmla="*/ 48 h 50"/>
                  <a:gd name="T72" fmla="*/ 31 w 46"/>
                  <a:gd name="T73" fmla="*/ 44 h 50"/>
                  <a:gd name="T74" fmla="*/ 34 w 46"/>
                  <a:gd name="T75" fmla="*/ 44 h 50"/>
                  <a:gd name="T76" fmla="*/ 36 w 46"/>
                  <a:gd name="T77" fmla="*/ 43 h 50"/>
                  <a:gd name="T78" fmla="*/ 39 w 46"/>
                  <a:gd name="T79" fmla="*/ 42 h 50"/>
                  <a:gd name="T80" fmla="*/ 40 w 46"/>
                  <a:gd name="T81" fmla="*/ 42 h 50"/>
                  <a:gd name="T82" fmla="*/ 42 w 46"/>
                  <a:gd name="T83" fmla="*/ 38 h 50"/>
                  <a:gd name="T84" fmla="*/ 44 w 46"/>
                  <a:gd name="T85" fmla="*/ 33 h 50"/>
                  <a:gd name="T86" fmla="*/ 39 w 46"/>
                  <a:gd name="T87" fmla="*/ 31 h 50"/>
                  <a:gd name="T88" fmla="*/ 39 w 46"/>
                  <a:gd name="T89" fmla="*/ 26 h 50"/>
                  <a:gd name="T90" fmla="*/ 42 w 46"/>
                  <a:gd name="T91" fmla="*/ 23 h 50"/>
                  <a:gd name="T92" fmla="*/ 45 w 46"/>
                  <a:gd name="T93"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 h="50">
                    <a:moveTo>
                      <a:pt x="45" y="18"/>
                    </a:moveTo>
                    <a:cubicBezTo>
                      <a:pt x="45" y="18"/>
                      <a:pt x="42" y="18"/>
                      <a:pt x="41" y="16"/>
                    </a:cubicBezTo>
                    <a:cubicBezTo>
                      <a:pt x="39" y="15"/>
                      <a:pt x="39" y="13"/>
                      <a:pt x="42" y="13"/>
                    </a:cubicBezTo>
                    <a:cubicBezTo>
                      <a:pt x="44" y="13"/>
                      <a:pt x="45" y="13"/>
                      <a:pt x="42" y="11"/>
                    </a:cubicBezTo>
                    <a:cubicBezTo>
                      <a:pt x="40" y="10"/>
                      <a:pt x="38" y="9"/>
                      <a:pt x="37" y="10"/>
                    </a:cubicBezTo>
                    <a:cubicBezTo>
                      <a:pt x="36" y="11"/>
                      <a:pt x="35" y="14"/>
                      <a:pt x="33" y="11"/>
                    </a:cubicBezTo>
                    <a:cubicBezTo>
                      <a:pt x="32" y="9"/>
                      <a:pt x="32" y="9"/>
                      <a:pt x="30" y="9"/>
                    </a:cubicBezTo>
                    <a:cubicBezTo>
                      <a:pt x="28" y="9"/>
                      <a:pt x="29" y="8"/>
                      <a:pt x="29" y="6"/>
                    </a:cubicBezTo>
                    <a:cubicBezTo>
                      <a:pt x="29" y="4"/>
                      <a:pt x="24" y="0"/>
                      <a:pt x="24" y="0"/>
                    </a:cubicBezTo>
                    <a:cubicBezTo>
                      <a:pt x="23" y="0"/>
                      <a:pt x="22" y="0"/>
                      <a:pt x="20" y="0"/>
                    </a:cubicBezTo>
                    <a:cubicBezTo>
                      <a:pt x="17" y="0"/>
                      <a:pt x="15" y="0"/>
                      <a:pt x="14" y="2"/>
                    </a:cubicBezTo>
                    <a:cubicBezTo>
                      <a:pt x="13" y="3"/>
                      <a:pt x="12" y="4"/>
                      <a:pt x="10" y="5"/>
                    </a:cubicBezTo>
                    <a:cubicBezTo>
                      <a:pt x="10" y="5"/>
                      <a:pt x="7" y="8"/>
                      <a:pt x="9" y="9"/>
                    </a:cubicBezTo>
                    <a:cubicBezTo>
                      <a:pt x="12" y="11"/>
                      <a:pt x="10" y="13"/>
                      <a:pt x="9" y="14"/>
                    </a:cubicBezTo>
                    <a:cubicBezTo>
                      <a:pt x="9" y="15"/>
                      <a:pt x="8" y="16"/>
                      <a:pt x="9" y="17"/>
                    </a:cubicBezTo>
                    <a:cubicBezTo>
                      <a:pt x="9" y="19"/>
                      <a:pt x="12" y="19"/>
                      <a:pt x="11" y="21"/>
                    </a:cubicBezTo>
                    <a:cubicBezTo>
                      <a:pt x="11" y="22"/>
                      <a:pt x="8" y="21"/>
                      <a:pt x="8" y="22"/>
                    </a:cubicBezTo>
                    <a:cubicBezTo>
                      <a:pt x="7" y="24"/>
                      <a:pt x="13" y="24"/>
                      <a:pt x="12" y="26"/>
                    </a:cubicBezTo>
                    <a:cubicBezTo>
                      <a:pt x="11" y="28"/>
                      <a:pt x="9" y="27"/>
                      <a:pt x="8" y="28"/>
                    </a:cubicBezTo>
                    <a:cubicBezTo>
                      <a:pt x="7" y="29"/>
                      <a:pt x="7" y="30"/>
                      <a:pt x="6" y="31"/>
                    </a:cubicBezTo>
                    <a:cubicBezTo>
                      <a:pt x="5" y="32"/>
                      <a:pt x="4" y="32"/>
                      <a:pt x="3" y="32"/>
                    </a:cubicBezTo>
                    <a:cubicBezTo>
                      <a:pt x="1" y="34"/>
                      <a:pt x="1" y="35"/>
                      <a:pt x="1" y="37"/>
                    </a:cubicBezTo>
                    <a:cubicBezTo>
                      <a:pt x="0" y="39"/>
                      <a:pt x="1" y="41"/>
                      <a:pt x="2" y="43"/>
                    </a:cubicBezTo>
                    <a:cubicBezTo>
                      <a:pt x="3" y="43"/>
                      <a:pt x="3" y="43"/>
                      <a:pt x="4" y="43"/>
                    </a:cubicBezTo>
                    <a:cubicBezTo>
                      <a:pt x="5" y="43"/>
                      <a:pt x="6" y="45"/>
                      <a:pt x="7" y="46"/>
                    </a:cubicBezTo>
                    <a:cubicBezTo>
                      <a:pt x="7" y="47"/>
                      <a:pt x="7" y="47"/>
                      <a:pt x="7" y="47"/>
                    </a:cubicBezTo>
                    <a:cubicBezTo>
                      <a:pt x="8" y="43"/>
                      <a:pt x="8" y="43"/>
                      <a:pt x="8" y="43"/>
                    </a:cubicBezTo>
                    <a:cubicBezTo>
                      <a:pt x="13" y="40"/>
                      <a:pt x="13" y="40"/>
                      <a:pt x="13" y="40"/>
                    </a:cubicBezTo>
                    <a:cubicBezTo>
                      <a:pt x="15" y="43"/>
                      <a:pt x="15" y="43"/>
                      <a:pt x="15" y="43"/>
                    </a:cubicBezTo>
                    <a:cubicBezTo>
                      <a:pt x="17" y="41"/>
                      <a:pt x="17" y="41"/>
                      <a:pt x="17" y="41"/>
                    </a:cubicBezTo>
                    <a:cubicBezTo>
                      <a:pt x="21" y="45"/>
                      <a:pt x="21" y="45"/>
                      <a:pt x="21" y="45"/>
                    </a:cubicBezTo>
                    <a:cubicBezTo>
                      <a:pt x="22" y="50"/>
                      <a:pt x="22" y="50"/>
                      <a:pt x="22" y="50"/>
                    </a:cubicBezTo>
                    <a:cubicBezTo>
                      <a:pt x="22" y="50"/>
                      <a:pt x="22" y="50"/>
                      <a:pt x="22" y="50"/>
                    </a:cubicBezTo>
                    <a:cubicBezTo>
                      <a:pt x="25" y="47"/>
                      <a:pt x="25" y="47"/>
                      <a:pt x="25" y="47"/>
                    </a:cubicBezTo>
                    <a:cubicBezTo>
                      <a:pt x="27" y="45"/>
                      <a:pt x="27" y="45"/>
                      <a:pt x="27" y="45"/>
                    </a:cubicBezTo>
                    <a:cubicBezTo>
                      <a:pt x="29" y="48"/>
                      <a:pt x="29" y="48"/>
                      <a:pt x="29" y="48"/>
                    </a:cubicBezTo>
                    <a:cubicBezTo>
                      <a:pt x="31" y="44"/>
                      <a:pt x="31" y="44"/>
                      <a:pt x="31" y="44"/>
                    </a:cubicBezTo>
                    <a:cubicBezTo>
                      <a:pt x="34" y="44"/>
                      <a:pt x="34" y="44"/>
                      <a:pt x="34" y="44"/>
                    </a:cubicBezTo>
                    <a:cubicBezTo>
                      <a:pt x="36" y="43"/>
                      <a:pt x="36" y="43"/>
                      <a:pt x="36" y="43"/>
                    </a:cubicBezTo>
                    <a:cubicBezTo>
                      <a:pt x="39" y="42"/>
                      <a:pt x="39" y="42"/>
                      <a:pt x="39" y="42"/>
                    </a:cubicBezTo>
                    <a:cubicBezTo>
                      <a:pt x="40" y="42"/>
                      <a:pt x="40" y="42"/>
                      <a:pt x="40" y="42"/>
                    </a:cubicBezTo>
                    <a:cubicBezTo>
                      <a:pt x="40" y="42"/>
                      <a:pt x="42" y="40"/>
                      <a:pt x="42" y="38"/>
                    </a:cubicBezTo>
                    <a:cubicBezTo>
                      <a:pt x="43" y="36"/>
                      <a:pt x="46" y="34"/>
                      <a:pt x="44" y="33"/>
                    </a:cubicBezTo>
                    <a:cubicBezTo>
                      <a:pt x="42" y="33"/>
                      <a:pt x="40" y="33"/>
                      <a:pt x="39" y="31"/>
                    </a:cubicBezTo>
                    <a:cubicBezTo>
                      <a:pt x="38" y="29"/>
                      <a:pt x="38" y="28"/>
                      <a:pt x="39" y="26"/>
                    </a:cubicBezTo>
                    <a:cubicBezTo>
                      <a:pt x="40" y="25"/>
                      <a:pt x="40" y="24"/>
                      <a:pt x="42" y="23"/>
                    </a:cubicBezTo>
                    <a:cubicBezTo>
                      <a:pt x="44" y="21"/>
                      <a:pt x="45" y="18"/>
                      <a:pt x="45" y="1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33" name="Freeform 12">
                <a:extLst>
                  <a:ext uri="{FF2B5EF4-FFF2-40B4-BE49-F238E27FC236}">
                    <a16:creationId xmlns:a16="http://schemas.microsoft.com/office/drawing/2014/main" id="{034F2B45-CEA3-603E-82A8-4FC794BC7E2D}"/>
                  </a:ext>
                </a:extLst>
              </p:cNvPr>
              <p:cNvSpPr>
                <a:spLocks/>
              </p:cNvSpPr>
              <p:nvPr/>
            </p:nvSpPr>
            <p:spPr bwMode="auto">
              <a:xfrm>
                <a:off x="3427" y="1244"/>
                <a:ext cx="90" cy="98"/>
              </a:xfrm>
              <a:custGeom>
                <a:avLst/>
                <a:gdLst>
                  <a:gd name="T0" fmla="*/ 45 w 46"/>
                  <a:gd name="T1" fmla="*/ 18 h 50"/>
                  <a:gd name="T2" fmla="*/ 41 w 46"/>
                  <a:gd name="T3" fmla="*/ 16 h 50"/>
                  <a:gd name="T4" fmla="*/ 42 w 46"/>
                  <a:gd name="T5" fmla="*/ 13 h 50"/>
                  <a:gd name="T6" fmla="*/ 42 w 46"/>
                  <a:gd name="T7" fmla="*/ 11 h 50"/>
                  <a:gd name="T8" fmla="*/ 37 w 46"/>
                  <a:gd name="T9" fmla="*/ 10 h 50"/>
                  <a:gd name="T10" fmla="*/ 33 w 46"/>
                  <a:gd name="T11" fmla="*/ 11 h 50"/>
                  <a:gd name="T12" fmla="*/ 30 w 46"/>
                  <a:gd name="T13" fmla="*/ 9 h 50"/>
                  <a:gd name="T14" fmla="*/ 29 w 46"/>
                  <a:gd name="T15" fmla="*/ 6 h 50"/>
                  <a:gd name="T16" fmla="*/ 24 w 46"/>
                  <a:gd name="T17" fmla="*/ 0 h 50"/>
                  <a:gd name="T18" fmla="*/ 20 w 46"/>
                  <a:gd name="T19" fmla="*/ 0 h 50"/>
                  <a:gd name="T20" fmla="*/ 14 w 46"/>
                  <a:gd name="T21" fmla="*/ 2 h 50"/>
                  <a:gd name="T22" fmla="*/ 10 w 46"/>
                  <a:gd name="T23" fmla="*/ 5 h 50"/>
                  <a:gd name="T24" fmla="*/ 9 w 46"/>
                  <a:gd name="T25" fmla="*/ 9 h 50"/>
                  <a:gd name="T26" fmla="*/ 9 w 46"/>
                  <a:gd name="T27" fmla="*/ 14 h 50"/>
                  <a:gd name="T28" fmla="*/ 9 w 46"/>
                  <a:gd name="T29" fmla="*/ 17 h 50"/>
                  <a:gd name="T30" fmla="*/ 11 w 46"/>
                  <a:gd name="T31" fmla="*/ 21 h 50"/>
                  <a:gd name="T32" fmla="*/ 8 w 46"/>
                  <a:gd name="T33" fmla="*/ 22 h 50"/>
                  <a:gd name="T34" fmla="*/ 12 w 46"/>
                  <a:gd name="T35" fmla="*/ 26 h 50"/>
                  <a:gd name="T36" fmla="*/ 8 w 46"/>
                  <a:gd name="T37" fmla="*/ 28 h 50"/>
                  <a:gd name="T38" fmla="*/ 6 w 46"/>
                  <a:gd name="T39" fmla="*/ 31 h 50"/>
                  <a:gd name="T40" fmla="*/ 3 w 46"/>
                  <a:gd name="T41" fmla="*/ 32 h 50"/>
                  <a:gd name="T42" fmla="*/ 1 w 46"/>
                  <a:gd name="T43" fmla="*/ 37 h 50"/>
                  <a:gd name="T44" fmla="*/ 2 w 46"/>
                  <a:gd name="T45" fmla="*/ 43 h 50"/>
                  <a:gd name="T46" fmla="*/ 4 w 46"/>
                  <a:gd name="T47" fmla="*/ 43 h 50"/>
                  <a:gd name="T48" fmla="*/ 7 w 46"/>
                  <a:gd name="T49" fmla="*/ 46 h 50"/>
                  <a:gd name="T50" fmla="*/ 7 w 46"/>
                  <a:gd name="T51" fmla="*/ 47 h 50"/>
                  <a:gd name="T52" fmla="*/ 8 w 46"/>
                  <a:gd name="T53" fmla="*/ 43 h 50"/>
                  <a:gd name="T54" fmla="*/ 13 w 46"/>
                  <a:gd name="T55" fmla="*/ 40 h 50"/>
                  <a:gd name="T56" fmla="*/ 15 w 46"/>
                  <a:gd name="T57" fmla="*/ 43 h 50"/>
                  <a:gd name="T58" fmla="*/ 17 w 46"/>
                  <a:gd name="T59" fmla="*/ 41 h 50"/>
                  <a:gd name="T60" fmla="*/ 21 w 46"/>
                  <a:gd name="T61" fmla="*/ 45 h 50"/>
                  <a:gd name="T62" fmla="*/ 22 w 46"/>
                  <a:gd name="T63" fmla="*/ 50 h 50"/>
                  <a:gd name="T64" fmla="*/ 22 w 46"/>
                  <a:gd name="T65" fmla="*/ 50 h 50"/>
                  <a:gd name="T66" fmla="*/ 25 w 46"/>
                  <a:gd name="T67" fmla="*/ 47 h 50"/>
                  <a:gd name="T68" fmla="*/ 27 w 46"/>
                  <a:gd name="T69" fmla="*/ 45 h 50"/>
                  <a:gd name="T70" fmla="*/ 29 w 46"/>
                  <a:gd name="T71" fmla="*/ 48 h 50"/>
                  <a:gd name="T72" fmla="*/ 31 w 46"/>
                  <a:gd name="T73" fmla="*/ 44 h 50"/>
                  <a:gd name="T74" fmla="*/ 34 w 46"/>
                  <a:gd name="T75" fmla="*/ 44 h 50"/>
                  <a:gd name="T76" fmla="*/ 36 w 46"/>
                  <a:gd name="T77" fmla="*/ 43 h 50"/>
                  <a:gd name="T78" fmla="*/ 39 w 46"/>
                  <a:gd name="T79" fmla="*/ 42 h 50"/>
                  <a:gd name="T80" fmla="*/ 40 w 46"/>
                  <a:gd name="T81" fmla="*/ 42 h 50"/>
                  <a:gd name="T82" fmla="*/ 42 w 46"/>
                  <a:gd name="T83" fmla="*/ 38 h 50"/>
                  <a:gd name="T84" fmla="*/ 44 w 46"/>
                  <a:gd name="T85" fmla="*/ 33 h 50"/>
                  <a:gd name="T86" fmla="*/ 39 w 46"/>
                  <a:gd name="T87" fmla="*/ 31 h 50"/>
                  <a:gd name="T88" fmla="*/ 39 w 46"/>
                  <a:gd name="T89" fmla="*/ 26 h 50"/>
                  <a:gd name="T90" fmla="*/ 42 w 46"/>
                  <a:gd name="T91" fmla="*/ 23 h 50"/>
                  <a:gd name="T92" fmla="*/ 45 w 46"/>
                  <a:gd name="T93" fmla="*/ 1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 h="50">
                    <a:moveTo>
                      <a:pt x="45" y="18"/>
                    </a:moveTo>
                    <a:cubicBezTo>
                      <a:pt x="45" y="18"/>
                      <a:pt x="42" y="18"/>
                      <a:pt x="41" y="16"/>
                    </a:cubicBezTo>
                    <a:cubicBezTo>
                      <a:pt x="39" y="15"/>
                      <a:pt x="39" y="13"/>
                      <a:pt x="42" y="13"/>
                    </a:cubicBezTo>
                    <a:cubicBezTo>
                      <a:pt x="44" y="13"/>
                      <a:pt x="45" y="13"/>
                      <a:pt x="42" y="11"/>
                    </a:cubicBezTo>
                    <a:cubicBezTo>
                      <a:pt x="40" y="10"/>
                      <a:pt x="38" y="9"/>
                      <a:pt x="37" y="10"/>
                    </a:cubicBezTo>
                    <a:cubicBezTo>
                      <a:pt x="36" y="11"/>
                      <a:pt x="35" y="14"/>
                      <a:pt x="33" y="11"/>
                    </a:cubicBezTo>
                    <a:cubicBezTo>
                      <a:pt x="32" y="9"/>
                      <a:pt x="32" y="9"/>
                      <a:pt x="30" y="9"/>
                    </a:cubicBezTo>
                    <a:cubicBezTo>
                      <a:pt x="28" y="9"/>
                      <a:pt x="29" y="8"/>
                      <a:pt x="29" y="6"/>
                    </a:cubicBezTo>
                    <a:cubicBezTo>
                      <a:pt x="29" y="4"/>
                      <a:pt x="24" y="0"/>
                      <a:pt x="24" y="0"/>
                    </a:cubicBezTo>
                    <a:cubicBezTo>
                      <a:pt x="23" y="0"/>
                      <a:pt x="22" y="0"/>
                      <a:pt x="20" y="0"/>
                    </a:cubicBezTo>
                    <a:cubicBezTo>
                      <a:pt x="17" y="0"/>
                      <a:pt x="15" y="0"/>
                      <a:pt x="14" y="2"/>
                    </a:cubicBezTo>
                    <a:cubicBezTo>
                      <a:pt x="13" y="3"/>
                      <a:pt x="12" y="4"/>
                      <a:pt x="10" y="5"/>
                    </a:cubicBezTo>
                    <a:cubicBezTo>
                      <a:pt x="10" y="5"/>
                      <a:pt x="7" y="8"/>
                      <a:pt x="9" y="9"/>
                    </a:cubicBezTo>
                    <a:cubicBezTo>
                      <a:pt x="12" y="11"/>
                      <a:pt x="10" y="13"/>
                      <a:pt x="9" y="14"/>
                    </a:cubicBezTo>
                    <a:cubicBezTo>
                      <a:pt x="9" y="15"/>
                      <a:pt x="8" y="16"/>
                      <a:pt x="9" y="17"/>
                    </a:cubicBezTo>
                    <a:cubicBezTo>
                      <a:pt x="9" y="19"/>
                      <a:pt x="12" y="19"/>
                      <a:pt x="11" y="21"/>
                    </a:cubicBezTo>
                    <a:cubicBezTo>
                      <a:pt x="11" y="22"/>
                      <a:pt x="8" y="21"/>
                      <a:pt x="8" y="22"/>
                    </a:cubicBezTo>
                    <a:cubicBezTo>
                      <a:pt x="7" y="24"/>
                      <a:pt x="13" y="24"/>
                      <a:pt x="12" y="26"/>
                    </a:cubicBezTo>
                    <a:cubicBezTo>
                      <a:pt x="11" y="28"/>
                      <a:pt x="9" y="27"/>
                      <a:pt x="8" y="28"/>
                    </a:cubicBezTo>
                    <a:cubicBezTo>
                      <a:pt x="7" y="29"/>
                      <a:pt x="7" y="30"/>
                      <a:pt x="6" y="31"/>
                    </a:cubicBezTo>
                    <a:cubicBezTo>
                      <a:pt x="5" y="32"/>
                      <a:pt x="4" y="32"/>
                      <a:pt x="3" y="32"/>
                    </a:cubicBezTo>
                    <a:cubicBezTo>
                      <a:pt x="1" y="34"/>
                      <a:pt x="1" y="35"/>
                      <a:pt x="1" y="37"/>
                    </a:cubicBezTo>
                    <a:cubicBezTo>
                      <a:pt x="0" y="39"/>
                      <a:pt x="1" y="41"/>
                      <a:pt x="2" y="43"/>
                    </a:cubicBezTo>
                    <a:cubicBezTo>
                      <a:pt x="3" y="43"/>
                      <a:pt x="3" y="43"/>
                      <a:pt x="4" y="43"/>
                    </a:cubicBezTo>
                    <a:cubicBezTo>
                      <a:pt x="5" y="43"/>
                      <a:pt x="6" y="45"/>
                      <a:pt x="7" y="46"/>
                    </a:cubicBezTo>
                    <a:cubicBezTo>
                      <a:pt x="7" y="47"/>
                      <a:pt x="7" y="47"/>
                      <a:pt x="7" y="47"/>
                    </a:cubicBezTo>
                    <a:cubicBezTo>
                      <a:pt x="8" y="43"/>
                      <a:pt x="8" y="43"/>
                      <a:pt x="8" y="43"/>
                    </a:cubicBezTo>
                    <a:cubicBezTo>
                      <a:pt x="13" y="40"/>
                      <a:pt x="13" y="40"/>
                      <a:pt x="13" y="40"/>
                    </a:cubicBezTo>
                    <a:cubicBezTo>
                      <a:pt x="15" y="43"/>
                      <a:pt x="15" y="43"/>
                      <a:pt x="15" y="43"/>
                    </a:cubicBezTo>
                    <a:cubicBezTo>
                      <a:pt x="17" y="41"/>
                      <a:pt x="17" y="41"/>
                      <a:pt x="17" y="41"/>
                    </a:cubicBezTo>
                    <a:cubicBezTo>
                      <a:pt x="21" y="45"/>
                      <a:pt x="21" y="45"/>
                      <a:pt x="21" y="45"/>
                    </a:cubicBezTo>
                    <a:cubicBezTo>
                      <a:pt x="22" y="50"/>
                      <a:pt x="22" y="50"/>
                      <a:pt x="22" y="50"/>
                    </a:cubicBezTo>
                    <a:cubicBezTo>
                      <a:pt x="22" y="50"/>
                      <a:pt x="22" y="50"/>
                      <a:pt x="22" y="50"/>
                    </a:cubicBezTo>
                    <a:cubicBezTo>
                      <a:pt x="25" y="47"/>
                      <a:pt x="25" y="47"/>
                      <a:pt x="25" y="47"/>
                    </a:cubicBezTo>
                    <a:cubicBezTo>
                      <a:pt x="27" y="45"/>
                      <a:pt x="27" y="45"/>
                      <a:pt x="27" y="45"/>
                    </a:cubicBezTo>
                    <a:cubicBezTo>
                      <a:pt x="29" y="48"/>
                      <a:pt x="29" y="48"/>
                      <a:pt x="29" y="48"/>
                    </a:cubicBezTo>
                    <a:cubicBezTo>
                      <a:pt x="31" y="44"/>
                      <a:pt x="31" y="44"/>
                      <a:pt x="31" y="44"/>
                    </a:cubicBezTo>
                    <a:cubicBezTo>
                      <a:pt x="34" y="44"/>
                      <a:pt x="34" y="44"/>
                      <a:pt x="34" y="44"/>
                    </a:cubicBezTo>
                    <a:cubicBezTo>
                      <a:pt x="36" y="43"/>
                      <a:pt x="36" y="43"/>
                      <a:pt x="36" y="43"/>
                    </a:cubicBezTo>
                    <a:cubicBezTo>
                      <a:pt x="39" y="42"/>
                      <a:pt x="39" y="42"/>
                      <a:pt x="39" y="42"/>
                    </a:cubicBezTo>
                    <a:cubicBezTo>
                      <a:pt x="40" y="42"/>
                      <a:pt x="40" y="42"/>
                      <a:pt x="40" y="42"/>
                    </a:cubicBezTo>
                    <a:cubicBezTo>
                      <a:pt x="40" y="42"/>
                      <a:pt x="42" y="40"/>
                      <a:pt x="42" y="38"/>
                    </a:cubicBezTo>
                    <a:cubicBezTo>
                      <a:pt x="43" y="36"/>
                      <a:pt x="46" y="34"/>
                      <a:pt x="44" y="33"/>
                    </a:cubicBezTo>
                    <a:cubicBezTo>
                      <a:pt x="42" y="33"/>
                      <a:pt x="40" y="33"/>
                      <a:pt x="39" y="31"/>
                    </a:cubicBezTo>
                    <a:cubicBezTo>
                      <a:pt x="38" y="29"/>
                      <a:pt x="38" y="28"/>
                      <a:pt x="39" y="26"/>
                    </a:cubicBezTo>
                    <a:cubicBezTo>
                      <a:pt x="40" y="25"/>
                      <a:pt x="40" y="24"/>
                      <a:pt x="42" y="23"/>
                    </a:cubicBezTo>
                    <a:cubicBezTo>
                      <a:pt x="44" y="21"/>
                      <a:pt x="45" y="18"/>
                      <a:pt x="45" y="1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34" name="Freeform 13">
                <a:extLst>
                  <a:ext uri="{FF2B5EF4-FFF2-40B4-BE49-F238E27FC236}">
                    <a16:creationId xmlns:a16="http://schemas.microsoft.com/office/drawing/2014/main" id="{90052753-58DA-878D-45BE-9AC4F6ABB397}"/>
                  </a:ext>
                </a:extLst>
              </p:cNvPr>
              <p:cNvSpPr>
                <a:spLocks noEditPoints="1"/>
              </p:cNvSpPr>
              <p:nvPr/>
            </p:nvSpPr>
            <p:spPr bwMode="auto">
              <a:xfrm>
                <a:off x="3837" y="1852"/>
                <a:ext cx="204" cy="147"/>
              </a:xfrm>
              <a:custGeom>
                <a:avLst/>
                <a:gdLst>
                  <a:gd name="T0" fmla="*/ 2 w 104"/>
                  <a:gd name="T1" fmla="*/ 23 h 75"/>
                  <a:gd name="T2" fmla="*/ 4 w 104"/>
                  <a:gd name="T3" fmla="*/ 21 h 75"/>
                  <a:gd name="T4" fmla="*/ 5 w 104"/>
                  <a:gd name="T5" fmla="*/ 18 h 75"/>
                  <a:gd name="T6" fmla="*/ 6 w 104"/>
                  <a:gd name="T7" fmla="*/ 16 h 75"/>
                  <a:gd name="T8" fmla="*/ 9 w 104"/>
                  <a:gd name="T9" fmla="*/ 14 h 75"/>
                  <a:gd name="T10" fmla="*/ 12 w 104"/>
                  <a:gd name="T11" fmla="*/ 16 h 75"/>
                  <a:gd name="T12" fmla="*/ 17 w 104"/>
                  <a:gd name="T13" fmla="*/ 16 h 75"/>
                  <a:gd name="T14" fmla="*/ 32 w 104"/>
                  <a:gd name="T15" fmla="*/ 20 h 75"/>
                  <a:gd name="T16" fmla="*/ 34 w 104"/>
                  <a:gd name="T17" fmla="*/ 31 h 75"/>
                  <a:gd name="T18" fmla="*/ 38 w 104"/>
                  <a:gd name="T19" fmla="*/ 26 h 75"/>
                  <a:gd name="T20" fmla="*/ 50 w 104"/>
                  <a:gd name="T21" fmla="*/ 11 h 75"/>
                  <a:gd name="T22" fmla="*/ 80 w 104"/>
                  <a:gd name="T23" fmla="*/ 0 h 75"/>
                  <a:gd name="T24" fmla="*/ 80 w 104"/>
                  <a:gd name="T25" fmla="*/ 3 h 75"/>
                  <a:gd name="T26" fmla="*/ 91 w 104"/>
                  <a:gd name="T27" fmla="*/ 21 h 75"/>
                  <a:gd name="T28" fmla="*/ 95 w 104"/>
                  <a:gd name="T29" fmla="*/ 24 h 75"/>
                  <a:gd name="T30" fmla="*/ 92 w 104"/>
                  <a:gd name="T31" fmla="*/ 25 h 75"/>
                  <a:gd name="T32" fmla="*/ 91 w 104"/>
                  <a:gd name="T33" fmla="*/ 27 h 75"/>
                  <a:gd name="T34" fmla="*/ 87 w 104"/>
                  <a:gd name="T35" fmla="*/ 27 h 75"/>
                  <a:gd name="T36" fmla="*/ 85 w 104"/>
                  <a:gd name="T37" fmla="*/ 35 h 75"/>
                  <a:gd name="T38" fmla="*/ 82 w 104"/>
                  <a:gd name="T39" fmla="*/ 35 h 75"/>
                  <a:gd name="T40" fmla="*/ 78 w 104"/>
                  <a:gd name="T41" fmla="*/ 41 h 75"/>
                  <a:gd name="T42" fmla="*/ 66 w 104"/>
                  <a:gd name="T43" fmla="*/ 46 h 75"/>
                  <a:gd name="T44" fmla="*/ 62 w 104"/>
                  <a:gd name="T45" fmla="*/ 49 h 75"/>
                  <a:gd name="T46" fmla="*/ 60 w 104"/>
                  <a:gd name="T47" fmla="*/ 49 h 75"/>
                  <a:gd name="T48" fmla="*/ 53 w 104"/>
                  <a:gd name="T49" fmla="*/ 54 h 75"/>
                  <a:gd name="T50" fmla="*/ 53 w 104"/>
                  <a:gd name="T51" fmla="*/ 55 h 75"/>
                  <a:gd name="T52" fmla="*/ 46 w 104"/>
                  <a:gd name="T53" fmla="*/ 55 h 75"/>
                  <a:gd name="T54" fmla="*/ 44 w 104"/>
                  <a:gd name="T55" fmla="*/ 57 h 75"/>
                  <a:gd name="T56" fmla="*/ 37 w 104"/>
                  <a:gd name="T57" fmla="*/ 62 h 75"/>
                  <a:gd name="T58" fmla="*/ 26 w 104"/>
                  <a:gd name="T59" fmla="*/ 63 h 75"/>
                  <a:gd name="T60" fmla="*/ 23 w 104"/>
                  <a:gd name="T61" fmla="*/ 67 h 75"/>
                  <a:gd name="T62" fmla="*/ 18 w 104"/>
                  <a:gd name="T63" fmla="*/ 68 h 75"/>
                  <a:gd name="T64" fmla="*/ 17 w 104"/>
                  <a:gd name="T65" fmla="*/ 69 h 75"/>
                  <a:gd name="T66" fmla="*/ 7 w 104"/>
                  <a:gd name="T67" fmla="*/ 67 h 75"/>
                  <a:gd name="T68" fmla="*/ 6 w 104"/>
                  <a:gd name="T69" fmla="*/ 60 h 75"/>
                  <a:gd name="T70" fmla="*/ 6 w 104"/>
                  <a:gd name="T71" fmla="*/ 57 h 75"/>
                  <a:gd name="T72" fmla="*/ 3 w 104"/>
                  <a:gd name="T73" fmla="*/ 53 h 75"/>
                  <a:gd name="T74" fmla="*/ 1 w 104"/>
                  <a:gd name="T75" fmla="*/ 43 h 75"/>
                  <a:gd name="T76" fmla="*/ 2 w 104"/>
                  <a:gd name="T77" fmla="*/ 42 h 75"/>
                  <a:gd name="T78" fmla="*/ 2 w 104"/>
                  <a:gd name="T79" fmla="*/ 36 h 75"/>
                  <a:gd name="T80" fmla="*/ 1 w 104"/>
                  <a:gd name="T81" fmla="*/ 35 h 75"/>
                  <a:gd name="T82" fmla="*/ 2 w 104"/>
                  <a:gd name="T83" fmla="*/ 24 h 75"/>
                  <a:gd name="T84" fmla="*/ 2 w 104"/>
                  <a:gd name="T85" fmla="*/ 23 h 75"/>
                  <a:gd name="T86" fmla="*/ 94 w 104"/>
                  <a:gd name="T87" fmla="*/ 73 h 75"/>
                  <a:gd name="T88" fmla="*/ 96 w 104"/>
                  <a:gd name="T89" fmla="*/ 75 h 75"/>
                  <a:gd name="T90" fmla="*/ 100 w 104"/>
                  <a:gd name="T91" fmla="*/ 73 h 75"/>
                  <a:gd name="T92" fmla="*/ 94 w 104"/>
                  <a:gd name="T93"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5">
                    <a:moveTo>
                      <a:pt x="2" y="23"/>
                    </a:moveTo>
                    <a:cubicBezTo>
                      <a:pt x="2" y="23"/>
                      <a:pt x="4" y="22"/>
                      <a:pt x="4" y="21"/>
                    </a:cubicBezTo>
                    <a:cubicBezTo>
                      <a:pt x="4" y="19"/>
                      <a:pt x="5" y="20"/>
                      <a:pt x="5" y="18"/>
                    </a:cubicBezTo>
                    <a:cubicBezTo>
                      <a:pt x="5" y="16"/>
                      <a:pt x="5" y="17"/>
                      <a:pt x="6" y="16"/>
                    </a:cubicBezTo>
                    <a:cubicBezTo>
                      <a:pt x="7" y="15"/>
                      <a:pt x="7" y="14"/>
                      <a:pt x="9" y="14"/>
                    </a:cubicBezTo>
                    <a:cubicBezTo>
                      <a:pt x="12" y="13"/>
                      <a:pt x="10" y="15"/>
                      <a:pt x="12" y="16"/>
                    </a:cubicBezTo>
                    <a:cubicBezTo>
                      <a:pt x="14" y="17"/>
                      <a:pt x="14" y="17"/>
                      <a:pt x="17" y="16"/>
                    </a:cubicBezTo>
                    <a:cubicBezTo>
                      <a:pt x="20" y="16"/>
                      <a:pt x="32" y="20"/>
                      <a:pt x="32" y="20"/>
                    </a:cubicBezTo>
                    <a:cubicBezTo>
                      <a:pt x="34" y="31"/>
                      <a:pt x="34" y="31"/>
                      <a:pt x="34" y="31"/>
                    </a:cubicBezTo>
                    <a:cubicBezTo>
                      <a:pt x="33" y="31"/>
                      <a:pt x="38" y="26"/>
                      <a:pt x="38" y="26"/>
                    </a:cubicBezTo>
                    <a:cubicBezTo>
                      <a:pt x="50" y="11"/>
                      <a:pt x="50" y="11"/>
                      <a:pt x="50" y="11"/>
                    </a:cubicBezTo>
                    <a:cubicBezTo>
                      <a:pt x="80" y="0"/>
                      <a:pt x="80" y="0"/>
                      <a:pt x="80" y="0"/>
                    </a:cubicBezTo>
                    <a:cubicBezTo>
                      <a:pt x="80" y="3"/>
                      <a:pt x="80" y="3"/>
                      <a:pt x="80" y="3"/>
                    </a:cubicBezTo>
                    <a:cubicBezTo>
                      <a:pt x="91" y="21"/>
                      <a:pt x="91" y="21"/>
                      <a:pt x="91" y="21"/>
                    </a:cubicBezTo>
                    <a:cubicBezTo>
                      <a:pt x="95" y="24"/>
                      <a:pt x="95" y="24"/>
                      <a:pt x="95" y="24"/>
                    </a:cubicBezTo>
                    <a:cubicBezTo>
                      <a:pt x="94" y="24"/>
                      <a:pt x="93" y="24"/>
                      <a:pt x="92" y="25"/>
                    </a:cubicBezTo>
                    <a:cubicBezTo>
                      <a:pt x="92" y="25"/>
                      <a:pt x="91" y="26"/>
                      <a:pt x="91" y="27"/>
                    </a:cubicBezTo>
                    <a:cubicBezTo>
                      <a:pt x="89" y="27"/>
                      <a:pt x="88" y="27"/>
                      <a:pt x="87" y="27"/>
                    </a:cubicBezTo>
                    <a:cubicBezTo>
                      <a:pt x="82" y="30"/>
                      <a:pt x="84" y="31"/>
                      <a:pt x="85" y="35"/>
                    </a:cubicBezTo>
                    <a:cubicBezTo>
                      <a:pt x="84" y="35"/>
                      <a:pt x="83" y="35"/>
                      <a:pt x="82" y="35"/>
                    </a:cubicBezTo>
                    <a:cubicBezTo>
                      <a:pt x="82" y="35"/>
                      <a:pt x="79" y="40"/>
                      <a:pt x="78" y="41"/>
                    </a:cubicBezTo>
                    <a:cubicBezTo>
                      <a:pt x="74" y="43"/>
                      <a:pt x="71" y="44"/>
                      <a:pt x="66" y="46"/>
                    </a:cubicBezTo>
                    <a:cubicBezTo>
                      <a:pt x="65" y="46"/>
                      <a:pt x="63" y="48"/>
                      <a:pt x="62" y="49"/>
                    </a:cubicBezTo>
                    <a:cubicBezTo>
                      <a:pt x="62" y="49"/>
                      <a:pt x="60" y="48"/>
                      <a:pt x="60" y="49"/>
                    </a:cubicBezTo>
                    <a:cubicBezTo>
                      <a:pt x="59" y="49"/>
                      <a:pt x="53" y="53"/>
                      <a:pt x="53" y="54"/>
                    </a:cubicBezTo>
                    <a:cubicBezTo>
                      <a:pt x="53" y="55"/>
                      <a:pt x="53" y="55"/>
                      <a:pt x="53" y="55"/>
                    </a:cubicBezTo>
                    <a:cubicBezTo>
                      <a:pt x="50" y="57"/>
                      <a:pt x="48" y="54"/>
                      <a:pt x="46" y="55"/>
                    </a:cubicBezTo>
                    <a:cubicBezTo>
                      <a:pt x="45" y="56"/>
                      <a:pt x="45" y="57"/>
                      <a:pt x="44" y="57"/>
                    </a:cubicBezTo>
                    <a:cubicBezTo>
                      <a:pt x="43" y="58"/>
                      <a:pt x="39" y="62"/>
                      <a:pt x="37" y="62"/>
                    </a:cubicBezTo>
                    <a:cubicBezTo>
                      <a:pt x="34" y="63"/>
                      <a:pt x="29" y="61"/>
                      <a:pt x="26" y="63"/>
                    </a:cubicBezTo>
                    <a:cubicBezTo>
                      <a:pt x="24" y="63"/>
                      <a:pt x="24" y="66"/>
                      <a:pt x="23" y="67"/>
                    </a:cubicBezTo>
                    <a:cubicBezTo>
                      <a:pt x="21" y="68"/>
                      <a:pt x="20" y="67"/>
                      <a:pt x="18" y="68"/>
                    </a:cubicBezTo>
                    <a:cubicBezTo>
                      <a:pt x="18" y="68"/>
                      <a:pt x="17" y="69"/>
                      <a:pt x="17" y="69"/>
                    </a:cubicBezTo>
                    <a:cubicBezTo>
                      <a:pt x="15" y="69"/>
                      <a:pt x="10" y="68"/>
                      <a:pt x="7" y="67"/>
                    </a:cubicBezTo>
                    <a:cubicBezTo>
                      <a:pt x="6" y="64"/>
                      <a:pt x="5" y="63"/>
                      <a:pt x="6" y="60"/>
                    </a:cubicBezTo>
                    <a:cubicBezTo>
                      <a:pt x="6" y="60"/>
                      <a:pt x="7" y="58"/>
                      <a:pt x="6" y="57"/>
                    </a:cubicBezTo>
                    <a:cubicBezTo>
                      <a:pt x="6" y="56"/>
                      <a:pt x="4" y="54"/>
                      <a:pt x="3" y="53"/>
                    </a:cubicBezTo>
                    <a:cubicBezTo>
                      <a:pt x="4" y="52"/>
                      <a:pt x="2" y="44"/>
                      <a:pt x="1" y="43"/>
                    </a:cubicBezTo>
                    <a:cubicBezTo>
                      <a:pt x="0" y="43"/>
                      <a:pt x="2" y="42"/>
                      <a:pt x="2" y="42"/>
                    </a:cubicBezTo>
                    <a:cubicBezTo>
                      <a:pt x="3" y="40"/>
                      <a:pt x="2" y="38"/>
                      <a:pt x="2" y="36"/>
                    </a:cubicBezTo>
                    <a:cubicBezTo>
                      <a:pt x="1" y="35"/>
                      <a:pt x="1" y="35"/>
                      <a:pt x="1" y="35"/>
                    </a:cubicBezTo>
                    <a:cubicBezTo>
                      <a:pt x="1" y="33"/>
                      <a:pt x="3" y="28"/>
                      <a:pt x="2" y="24"/>
                    </a:cubicBezTo>
                    <a:lnTo>
                      <a:pt x="2" y="23"/>
                    </a:lnTo>
                    <a:close/>
                    <a:moveTo>
                      <a:pt x="94" y="73"/>
                    </a:moveTo>
                    <a:cubicBezTo>
                      <a:pt x="94" y="73"/>
                      <a:pt x="95" y="74"/>
                      <a:pt x="96" y="75"/>
                    </a:cubicBezTo>
                    <a:cubicBezTo>
                      <a:pt x="99" y="75"/>
                      <a:pt x="104" y="74"/>
                      <a:pt x="100" y="73"/>
                    </a:cubicBezTo>
                    <a:cubicBezTo>
                      <a:pt x="97" y="73"/>
                      <a:pt x="97" y="73"/>
                      <a:pt x="94" y="7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35" name="Freeform 14">
                <a:extLst>
                  <a:ext uri="{FF2B5EF4-FFF2-40B4-BE49-F238E27FC236}">
                    <a16:creationId xmlns:a16="http://schemas.microsoft.com/office/drawing/2014/main" id="{840C3CEE-7221-37A7-2F9D-6B9E92E16BA9}"/>
                  </a:ext>
                </a:extLst>
              </p:cNvPr>
              <p:cNvSpPr>
                <a:spLocks noEditPoints="1"/>
              </p:cNvSpPr>
              <p:nvPr/>
            </p:nvSpPr>
            <p:spPr bwMode="auto">
              <a:xfrm>
                <a:off x="3837" y="1852"/>
                <a:ext cx="204" cy="147"/>
              </a:xfrm>
              <a:custGeom>
                <a:avLst/>
                <a:gdLst>
                  <a:gd name="T0" fmla="*/ 2 w 104"/>
                  <a:gd name="T1" fmla="*/ 23 h 75"/>
                  <a:gd name="T2" fmla="*/ 4 w 104"/>
                  <a:gd name="T3" fmla="*/ 21 h 75"/>
                  <a:gd name="T4" fmla="*/ 5 w 104"/>
                  <a:gd name="T5" fmla="*/ 18 h 75"/>
                  <a:gd name="T6" fmla="*/ 6 w 104"/>
                  <a:gd name="T7" fmla="*/ 16 h 75"/>
                  <a:gd name="T8" fmla="*/ 9 w 104"/>
                  <a:gd name="T9" fmla="*/ 14 h 75"/>
                  <a:gd name="T10" fmla="*/ 12 w 104"/>
                  <a:gd name="T11" fmla="*/ 16 h 75"/>
                  <a:gd name="T12" fmla="*/ 17 w 104"/>
                  <a:gd name="T13" fmla="*/ 16 h 75"/>
                  <a:gd name="T14" fmla="*/ 32 w 104"/>
                  <a:gd name="T15" fmla="*/ 20 h 75"/>
                  <a:gd name="T16" fmla="*/ 34 w 104"/>
                  <a:gd name="T17" fmla="*/ 31 h 75"/>
                  <a:gd name="T18" fmla="*/ 38 w 104"/>
                  <a:gd name="T19" fmla="*/ 26 h 75"/>
                  <a:gd name="T20" fmla="*/ 50 w 104"/>
                  <a:gd name="T21" fmla="*/ 11 h 75"/>
                  <a:gd name="T22" fmla="*/ 80 w 104"/>
                  <a:gd name="T23" fmla="*/ 0 h 75"/>
                  <a:gd name="T24" fmla="*/ 80 w 104"/>
                  <a:gd name="T25" fmla="*/ 3 h 75"/>
                  <a:gd name="T26" fmla="*/ 91 w 104"/>
                  <a:gd name="T27" fmla="*/ 21 h 75"/>
                  <a:gd name="T28" fmla="*/ 95 w 104"/>
                  <a:gd name="T29" fmla="*/ 24 h 75"/>
                  <a:gd name="T30" fmla="*/ 92 w 104"/>
                  <a:gd name="T31" fmla="*/ 25 h 75"/>
                  <a:gd name="T32" fmla="*/ 91 w 104"/>
                  <a:gd name="T33" fmla="*/ 27 h 75"/>
                  <a:gd name="T34" fmla="*/ 87 w 104"/>
                  <a:gd name="T35" fmla="*/ 27 h 75"/>
                  <a:gd name="T36" fmla="*/ 85 w 104"/>
                  <a:gd name="T37" fmla="*/ 35 h 75"/>
                  <a:gd name="T38" fmla="*/ 82 w 104"/>
                  <a:gd name="T39" fmla="*/ 35 h 75"/>
                  <a:gd name="T40" fmla="*/ 78 w 104"/>
                  <a:gd name="T41" fmla="*/ 41 h 75"/>
                  <a:gd name="T42" fmla="*/ 66 w 104"/>
                  <a:gd name="T43" fmla="*/ 46 h 75"/>
                  <a:gd name="T44" fmla="*/ 62 w 104"/>
                  <a:gd name="T45" fmla="*/ 49 h 75"/>
                  <a:gd name="T46" fmla="*/ 60 w 104"/>
                  <a:gd name="T47" fmla="*/ 49 h 75"/>
                  <a:gd name="T48" fmla="*/ 53 w 104"/>
                  <a:gd name="T49" fmla="*/ 54 h 75"/>
                  <a:gd name="T50" fmla="*/ 53 w 104"/>
                  <a:gd name="T51" fmla="*/ 55 h 75"/>
                  <a:gd name="T52" fmla="*/ 46 w 104"/>
                  <a:gd name="T53" fmla="*/ 55 h 75"/>
                  <a:gd name="T54" fmla="*/ 44 w 104"/>
                  <a:gd name="T55" fmla="*/ 57 h 75"/>
                  <a:gd name="T56" fmla="*/ 37 w 104"/>
                  <a:gd name="T57" fmla="*/ 62 h 75"/>
                  <a:gd name="T58" fmla="*/ 26 w 104"/>
                  <a:gd name="T59" fmla="*/ 63 h 75"/>
                  <a:gd name="T60" fmla="*/ 23 w 104"/>
                  <a:gd name="T61" fmla="*/ 67 h 75"/>
                  <a:gd name="T62" fmla="*/ 18 w 104"/>
                  <a:gd name="T63" fmla="*/ 68 h 75"/>
                  <a:gd name="T64" fmla="*/ 17 w 104"/>
                  <a:gd name="T65" fmla="*/ 69 h 75"/>
                  <a:gd name="T66" fmla="*/ 7 w 104"/>
                  <a:gd name="T67" fmla="*/ 67 h 75"/>
                  <a:gd name="T68" fmla="*/ 6 w 104"/>
                  <a:gd name="T69" fmla="*/ 60 h 75"/>
                  <a:gd name="T70" fmla="*/ 6 w 104"/>
                  <a:gd name="T71" fmla="*/ 57 h 75"/>
                  <a:gd name="T72" fmla="*/ 3 w 104"/>
                  <a:gd name="T73" fmla="*/ 53 h 75"/>
                  <a:gd name="T74" fmla="*/ 1 w 104"/>
                  <a:gd name="T75" fmla="*/ 43 h 75"/>
                  <a:gd name="T76" fmla="*/ 2 w 104"/>
                  <a:gd name="T77" fmla="*/ 42 h 75"/>
                  <a:gd name="T78" fmla="*/ 2 w 104"/>
                  <a:gd name="T79" fmla="*/ 36 h 75"/>
                  <a:gd name="T80" fmla="*/ 1 w 104"/>
                  <a:gd name="T81" fmla="*/ 35 h 75"/>
                  <a:gd name="T82" fmla="*/ 2 w 104"/>
                  <a:gd name="T83" fmla="*/ 24 h 75"/>
                  <a:gd name="T84" fmla="*/ 2 w 104"/>
                  <a:gd name="T85" fmla="*/ 23 h 75"/>
                  <a:gd name="T86" fmla="*/ 94 w 104"/>
                  <a:gd name="T87" fmla="*/ 73 h 75"/>
                  <a:gd name="T88" fmla="*/ 96 w 104"/>
                  <a:gd name="T89" fmla="*/ 75 h 75"/>
                  <a:gd name="T90" fmla="*/ 100 w 104"/>
                  <a:gd name="T91" fmla="*/ 73 h 75"/>
                  <a:gd name="T92" fmla="*/ 94 w 104"/>
                  <a:gd name="T93" fmla="*/ 7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4" h="75">
                    <a:moveTo>
                      <a:pt x="2" y="23"/>
                    </a:moveTo>
                    <a:cubicBezTo>
                      <a:pt x="2" y="23"/>
                      <a:pt x="4" y="22"/>
                      <a:pt x="4" y="21"/>
                    </a:cubicBezTo>
                    <a:cubicBezTo>
                      <a:pt x="4" y="19"/>
                      <a:pt x="5" y="20"/>
                      <a:pt x="5" y="18"/>
                    </a:cubicBezTo>
                    <a:cubicBezTo>
                      <a:pt x="5" y="16"/>
                      <a:pt x="5" y="17"/>
                      <a:pt x="6" y="16"/>
                    </a:cubicBezTo>
                    <a:cubicBezTo>
                      <a:pt x="7" y="15"/>
                      <a:pt x="7" y="14"/>
                      <a:pt x="9" y="14"/>
                    </a:cubicBezTo>
                    <a:cubicBezTo>
                      <a:pt x="12" y="13"/>
                      <a:pt x="10" y="15"/>
                      <a:pt x="12" y="16"/>
                    </a:cubicBezTo>
                    <a:cubicBezTo>
                      <a:pt x="14" y="17"/>
                      <a:pt x="14" y="17"/>
                      <a:pt x="17" y="16"/>
                    </a:cubicBezTo>
                    <a:cubicBezTo>
                      <a:pt x="20" y="16"/>
                      <a:pt x="32" y="20"/>
                      <a:pt x="32" y="20"/>
                    </a:cubicBezTo>
                    <a:cubicBezTo>
                      <a:pt x="34" y="31"/>
                      <a:pt x="34" y="31"/>
                      <a:pt x="34" y="31"/>
                    </a:cubicBezTo>
                    <a:cubicBezTo>
                      <a:pt x="33" y="31"/>
                      <a:pt x="38" y="26"/>
                      <a:pt x="38" y="26"/>
                    </a:cubicBezTo>
                    <a:cubicBezTo>
                      <a:pt x="50" y="11"/>
                      <a:pt x="50" y="11"/>
                      <a:pt x="50" y="11"/>
                    </a:cubicBezTo>
                    <a:cubicBezTo>
                      <a:pt x="80" y="0"/>
                      <a:pt x="80" y="0"/>
                      <a:pt x="80" y="0"/>
                    </a:cubicBezTo>
                    <a:cubicBezTo>
                      <a:pt x="80" y="3"/>
                      <a:pt x="80" y="3"/>
                      <a:pt x="80" y="3"/>
                    </a:cubicBezTo>
                    <a:cubicBezTo>
                      <a:pt x="91" y="21"/>
                      <a:pt x="91" y="21"/>
                      <a:pt x="91" y="21"/>
                    </a:cubicBezTo>
                    <a:cubicBezTo>
                      <a:pt x="95" y="24"/>
                      <a:pt x="95" y="24"/>
                      <a:pt x="95" y="24"/>
                    </a:cubicBezTo>
                    <a:cubicBezTo>
                      <a:pt x="94" y="24"/>
                      <a:pt x="93" y="24"/>
                      <a:pt x="92" y="25"/>
                    </a:cubicBezTo>
                    <a:cubicBezTo>
                      <a:pt x="92" y="25"/>
                      <a:pt x="91" y="26"/>
                      <a:pt x="91" y="27"/>
                    </a:cubicBezTo>
                    <a:cubicBezTo>
                      <a:pt x="89" y="27"/>
                      <a:pt x="88" y="27"/>
                      <a:pt x="87" y="27"/>
                    </a:cubicBezTo>
                    <a:cubicBezTo>
                      <a:pt x="82" y="30"/>
                      <a:pt x="84" y="31"/>
                      <a:pt x="85" y="35"/>
                    </a:cubicBezTo>
                    <a:cubicBezTo>
                      <a:pt x="84" y="35"/>
                      <a:pt x="83" y="35"/>
                      <a:pt x="82" y="35"/>
                    </a:cubicBezTo>
                    <a:cubicBezTo>
                      <a:pt x="82" y="35"/>
                      <a:pt x="79" y="40"/>
                      <a:pt x="78" y="41"/>
                    </a:cubicBezTo>
                    <a:cubicBezTo>
                      <a:pt x="74" y="43"/>
                      <a:pt x="71" y="44"/>
                      <a:pt x="66" y="46"/>
                    </a:cubicBezTo>
                    <a:cubicBezTo>
                      <a:pt x="65" y="46"/>
                      <a:pt x="63" y="48"/>
                      <a:pt x="62" y="49"/>
                    </a:cubicBezTo>
                    <a:cubicBezTo>
                      <a:pt x="62" y="49"/>
                      <a:pt x="60" y="48"/>
                      <a:pt x="60" y="49"/>
                    </a:cubicBezTo>
                    <a:cubicBezTo>
                      <a:pt x="59" y="49"/>
                      <a:pt x="53" y="53"/>
                      <a:pt x="53" y="54"/>
                    </a:cubicBezTo>
                    <a:cubicBezTo>
                      <a:pt x="53" y="55"/>
                      <a:pt x="53" y="55"/>
                      <a:pt x="53" y="55"/>
                    </a:cubicBezTo>
                    <a:cubicBezTo>
                      <a:pt x="50" y="57"/>
                      <a:pt x="48" y="54"/>
                      <a:pt x="46" y="55"/>
                    </a:cubicBezTo>
                    <a:cubicBezTo>
                      <a:pt x="45" y="56"/>
                      <a:pt x="45" y="57"/>
                      <a:pt x="44" y="57"/>
                    </a:cubicBezTo>
                    <a:cubicBezTo>
                      <a:pt x="43" y="58"/>
                      <a:pt x="39" y="62"/>
                      <a:pt x="37" y="62"/>
                    </a:cubicBezTo>
                    <a:cubicBezTo>
                      <a:pt x="34" y="63"/>
                      <a:pt x="29" y="61"/>
                      <a:pt x="26" y="63"/>
                    </a:cubicBezTo>
                    <a:cubicBezTo>
                      <a:pt x="24" y="63"/>
                      <a:pt x="24" y="66"/>
                      <a:pt x="23" y="67"/>
                    </a:cubicBezTo>
                    <a:cubicBezTo>
                      <a:pt x="21" y="68"/>
                      <a:pt x="20" y="67"/>
                      <a:pt x="18" y="68"/>
                    </a:cubicBezTo>
                    <a:cubicBezTo>
                      <a:pt x="18" y="68"/>
                      <a:pt x="17" y="69"/>
                      <a:pt x="17" y="69"/>
                    </a:cubicBezTo>
                    <a:cubicBezTo>
                      <a:pt x="15" y="69"/>
                      <a:pt x="10" y="68"/>
                      <a:pt x="7" y="67"/>
                    </a:cubicBezTo>
                    <a:cubicBezTo>
                      <a:pt x="6" y="64"/>
                      <a:pt x="5" y="63"/>
                      <a:pt x="6" y="60"/>
                    </a:cubicBezTo>
                    <a:cubicBezTo>
                      <a:pt x="6" y="60"/>
                      <a:pt x="7" y="58"/>
                      <a:pt x="6" y="57"/>
                    </a:cubicBezTo>
                    <a:cubicBezTo>
                      <a:pt x="6" y="56"/>
                      <a:pt x="4" y="54"/>
                      <a:pt x="3" y="53"/>
                    </a:cubicBezTo>
                    <a:cubicBezTo>
                      <a:pt x="4" y="52"/>
                      <a:pt x="2" y="44"/>
                      <a:pt x="1" y="43"/>
                    </a:cubicBezTo>
                    <a:cubicBezTo>
                      <a:pt x="0" y="43"/>
                      <a:pt x="2" y="42"/>
                      <a:pt x="2" y="42"/>
                    </a:cubicBezTo>
                    <a:cubicBezTo>
                      <a:pt x="3" y="40"/>
                      <a:pt x="2" y="38"/>
                      <a:pt x="2" y="36"/>
                    </a:cubicBezTo>
                    <a:cubicBezTo>
                      <a:pt x="1" y="35"/>
                      <a:pt x="1" y="35"/>
                      <a:pt x="1" y="35"/>
                    </a:cubicBezTo>
                    <a:cubicBezTo>
                      <a:pt x="1" y="33"/>
                      <a:pt x="3" y="28"/>
                      <a:pt x="2" y="24"/>
                    </a:cubicBezTo>
                    <a:lnTo>
                      <a:pt x="2" y="23"/>
                    </a:lnTo>
                    <a:close/>
                    <a:moveTo>
                      <a:pt x="94" y="73"/>
                    </a:moveTo>
                    <a:cubicBezTo>
                      <a:pt x="94" y="73"/>
                      <a:pt x="95" y="74"/>
                      <a:pt x="96" y="75"/>
                    </a:cubicBezTo>
                    <a:cubicBezTo>
                      <a:pt x="99" y="75"/>
                      <a:pt x="104" y="74"/>
                      <a:pt x="100" y="73"/>
                    </a:cubicBezTo>
                    <a:cubicBezTo>
                      <a:pt x="97" y="73"/>
                      <a:pt x="97" y="73"/>
                      <a:pt x="94" y="7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36" name="Freeform 15">
                <a:extLst>
                  <a:ext uri="{FF2B5EF4-FFF2-40B4-BE49-F238E27FC236}">
                    <a16:creationId xmlns:a16="http://schemas.microsoft.com/office/drawing/2014/main" id="{FE581C5E-65C1-BA9E-12C9-68B7B4219BFA}"/>
                  </a:ext>
                </a:extLst>
              </p:cNvPr>
              <p:cNvSpPr>
                <a:spLocks/>
              </p:cNvSpPr>
              <p:nvPr/>
            </p:nvSpPr>
            <p:spPr bwMode="auto">
              <a:xfrm>
                <a:off x="2825" y="1662"/>
                <a:ext cx="155" cy="143"/>
              </a:xfrm>
              <a:custGeom>
                <a:avLst/>
                <a:gdLst>
                  <a:gd name="T0" fmla="*/ 1 w 79"/>
                  <a:gd name="T1" fmla="*/ 73 h 73"/>
                  <a:gd name="T2" fmla="*/ 3 w 79"/>
                  <a:gd name="T3" fmla="*/ 71 h 73"/>
                  <a:gd name="T4" fmla="*/ 36 w 79"/>
                  <a:gd name="T5" fmla="*/ 70 h 73"/>
                  <a:gd name="T6" fmla="*/ 35 w 79"/>
                  <a:gd name="T7" fmla="*/ 53 h 73"/>
                  <a:gd name="T8" fmla="*/ 45 w 79"/>
                  <a:gd name="T9" fmla="*/ 47 h 73"/>
                  <a:gd name="T10" fmla="*/ 46 w 79"/>
                  <a:gd name="T11" fmla="*/ 24 h 73"/>
                  <a:gd name="T12" fmla="*/ 79 w 79"/>
                  <a:gd name="T13" fmla="*/ 23 h 73"/>
                  <a:gd name="T14" fmla="*/ 78 w 79"/>
                  <a:gd name="T15" fmla="*/ 7 h 73"/>
                  <a:gd name="T16" fmla="*/ 78 w 79"/>
                  <a:gd name="T17" fmla="*/ 0 h 73"/>
                  <a:gd name="T18" fmla="*/ 41 w 79"/>
                  <a:gd name="T19" fmla="*/ 1 h 73"/>
                  <a:gd name="T20" fmla="*/ 39 w 79"/>
                  <a:gd name="T21" fmla="*/ 4 h 73"/>
                  <a:gd name="T22" fmla="*/ 35 w 79"/>
                  <a:gd name="T23" fmla="*/ 3 h 73"/>
                  <a:gd name="T24" fmla="*/ 35 w 79"/>
                  <a:gd name="T25" fmla="*/ 5 h 73"/>
                  <a:gd name="T26" fmla="*/ 33 w 79"/>
                  <a:gd name="T27" fmla="*/ 7 h 73"/>
                  <a:gd name="T28" fmla="*/ 32 w 79"/>
                  <a:gd name="T29" fmla="*/ 11 h 73"/>
                  <a:gd name="T30" fmla="*/ 31 w 79"/>
                  <a:gd name="T31" fmla="*/ 11 h 73"/>
                  <a:gd name="T32" fmla="*/ 31 w 79"/>
                  <a:gd name="T33" fmla="*/ 13 h 73"/>
                  <a:gd name="T34" fmla="*/ 29 w 79"/>
                  <a:gd name="T35" fmla="*/ 14 h 73"/>
                  <a:gd name="T36" fmla="*/ 23 w 79"/>
                  <a:gd name="T37" fmla="*/ 21 h 73"/>
                  <a:gd name="T38" fmla="*/ 22 w 79"/>
                  <a:gd name="T39" fmla="*/ 28 h 73"/>
                  <a:gd name="T40" fmla="*/ 19 w 79"/>
                  <a:gd name="T41" fmla="*/ 31 h 73"/>
                  <a:gd name="T42" fmla="*/ 15 w 79"/>
                  <a:gd name="T43" fmla="*/ 41 h 73"/>
                  <a:gd name="T44" fmla="*/ 12 w 79"/>
                  <a:gd name="T45" fmla="*/ 43 h 73"/>
                  <a:gd name="T46" fmla="*/ 12 w 79"/>
                  <a:gd name="T47" fmla="*/ 47 h 73"/>
                  <a:gd name="T48" fmla="*/ 10 w 79"/>
                  <a:gd name="T49" fmla="*/ 49 h 73"/>
                  <a:gd name="T50" fmla="*/ 10 w 79"/>
                  <a:gd name="T51" fmla="*/ 51 h 73"/>
                  <a:gd name="T52" fmla="*/ 8 w 79"/>
                  <a:gd name="T53" fmla="*/ 53 h 73"/>
                  <a:gd name="T54" fmla="*/ 8 w 79"/>
                  <a:gd name="T55" fmla="*/ 56 h 73"/>
                  <a:gd name="T56" fmla="*/ 7 w 79"/>
                  <a:gd name="T57" fmla="*/ 57 h 73"/>
                  <a:gd name="T58" fmla="*/ 6 w 79"/>
                  <a:gd name="T59" fmla="*/ 60 h 73"/>
                  <a:gd name="T60" fmla="*/ 1 w 79"/>
                  <a:gd name="T61" fmla="*/ 64 h 73"/>
                  <a:gd name="T62" fmla="*/ 1 w 79"/>
                  <a:gd name="T63" fmla="*/ 66 h 73"/>
                  <a:gd name="T64" fmla="*/ 2 w 79"/>
                  <a:gd name="T65" fmla="*/ 68 h 73"/>
                  <a:gd name="T66" fmla="*/ 1 w 79"/>
                  <a:gd name="T67" fmla="*/ 69 h 73"/>
                  <a:gd name="T68" fmla="*/ 1 w 79"/>
                  <a:gd name="T6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73">
                    <a:moveTo>
                      <a:pt x="1" y="73"/>
                    </a:moveTo>
                    <a:cubicBezTo>
                      <a:pt x="4" y="69"/>
                      <a:pt x="3" y="71"/>
                      <a:pt x="3" y="71"/>
                    </a:cubicBezTo>
                    <a:cubicBezTo>
                      <a:pt x="36" y="70"/>
                      <a:pt x="36" y="70"/>
                      <a:pt x="36" y="70"/>
                    </a:cubicBezTo>
                    <a:cubicBezTo>
                      <a:pt x="36" y="70"/>
                      <a:pt x="35" y="59"/>
                      <a:pt x="35" y="53"/>
                    </a:cubicBezTo>
                    <a:cubicBezTo>
                      <a:pt x="35" y="46"/>
                      <a:pt x="45" y="47"/>
                      <a:pt x="45" y="47"/>
                    </a:cubicBezTo>
                    <a:cubicBezTo>
                      <a:pt x="46" y="24"/>
                      <a:pt x="46" y="24"/>
                      <a:pt x="46" y="24"/>
                    </a:cubicBezTo>
                    <a:cubicBezTo>
                      <a:pt x="79" y="23"/>
                      <a:pt x="79" y="23"/>
                      <a:pt x="79" y="23"/>
                    </a:cubicBezTo>
                    <a:cubicBezTo>
                      <a:pt x="78" y="7"/>
                      <a:pt x="78" y="7"/>
                      <a:pt x="78" y="7"/>
                    </a:cubicBezTo>
                    <a:cubicBezTo>
                      <a:pt x="78" y="0"/>
                      <a:pt x="78" y="0"/>
                      <a:pt x="78" y="0"/>
                    </a:cubicBezTo>
                    <a:cubicBezTo>
                      <a:pt x="41" y="1"/>
                      <a:pt x="41" y="1"/>
                      <a:pt x="41" y="1"/>
                    </a:cubicBezTo>
                    <a:cubicBezTo>
                      <a:pt x="40" y="3"/>
                      <a:pt x="39" y="4"/>
                      <a:pt x="39" y="4"/>
                    </a:cubicBezTo>
                    <a:cubicBezTo>
                      <a:pt x="38" y="4"/>
                      <a:pt x="36" y="3"/>
                      <a:pt x="35" y="3"/>
                    </a:cubicBezTo>
                    <a:cubicBezTo>
                      <a:pt x="34" y="4"/>
                      <a:pt x="35" y="5"/>
                      <a:pt x="35" y="5"/>
                    </a:cubicBezTo>
                    <a:cubicBezTo>
                      <a:pt x="34" y="6"/>
                      <a:pt x="33" y="6"/>
                      <a:pt x="33" y="7"/>
                    </a:cubicBezTo>
                    <a:cubicBezTo>
                      <a:pt x="32" y="8"/>
                      <a:pt x="33" y="9"/>
                      <a:pt x="32" y="11"/>
                    </a:cubicBezTo>
                    <a:cubicBezTo>
                      <a:pt x="32" y="11"/>
                      <a:pt x="31" y="11"/>
                      <a:pt x="31" y="11"/>
                    </a:cubicBezTo>
                    <a:cubicBezTo>
                      <a:pt x="30" y="12"/>
                      <a:pt x="31" y="13"/>
                      <a:pt x="31" y="13"/>
                    </a:cubicBezTo>
                    <a:cubicBezTo>
                      <a:pt x="30" y="14"/>
                      <a:pt x="29" y="14"/>
                      <a:pt x="29" y="14"/>
                    </a:cubicBezTo>
                    <a:cubicBezTo>
                      <a:pt x="28" y="14"/>
                      <a:pt x="23" y="21"/>
                      <a:pt x="23" y="21"/>
                    </a:cubicBezTo>
                    <a:cubicBezTo>
                      <a:pt x="22" y="23"/>
                      <a:pt x="22" y="28"/>
                      <a:pt x="22" y="28"/>
                    </a:cubicBezTo>
                    <a:cubicBezTo>
                      <a:pt x="22" y="29"/>
                      <a:pt x="20" y="30"/>
                      <a:pt x="19" y="31"/>
                    </a:cubicBezTo>
                    <a:cubicBezTo>
                      <a:pt x="17" y="34"/>
                      <a:pt x="18" y="38"/>
                      <a:pt x="15" y="41"/>
                    </a:cubicBezTo>
                    <a:cubicBezTo>
                      <a:pt x="15" y="42"/>
                      <a:pt x="13" y="42"/>
                      <a:pt x="12" y="43"/>
                    </a:cubicBezTo>
                    <a:cubicBezTo>
                      <a:pt x="11" y="45"/>
                      <a:pt x="12" y="46"/>
                      <a:pt x="12" y="47"/>
                    </a:cubicBezTo>
                    <a:cubicBezTo>
                      <a:pt x="12" y="47"/>
                      <a:pt x="10" y="48"/>
                      <a:pt x="10" y="49"/>
                    </a:cubicBezTo>
                    <a:cubicBezTo>
                      <a:pt x="10" y="49"/>
                      <a:pt x="10" y="50"/>
                      <a:pt x="10" y="51"/>
                    </a:cubicBezTo>
                    <a:cubicBezTo>
                      <a:pt x="10" y="52"/>
                      <a:pt x="8" y="53"/>
                      <a:pt x="8" y="53"/>
                    </a:cubicBezTo>
                    <a:cubicBezTo>
                      <a:pt x="8" y="54"/>
                      <a:pt x="8" y="55"/>
                      <a:pt x="8" y="56"/>
                    </a:cubicBezTo>
                    <a:cubicBezTo>
                      <a:pt x="8" y="56"/>
                      <a:pt x="7" y="57"/>
                      <a:pt x="7" y="57"/>
                    </a:cubicBezTo>
                    <a:cubicBezTo>
                      <a:pt x="6" y="58"/>
                      <a:pt x="7" y="58"/>
                      <a:pt x="6" y="60"/>
                    </a:cubicBezTo>
                    <a:cubicBezTo>
                      <a:pt x="5" y="62"/>
                      <a:pt x="3" y="63"/>
                      <a:pt x="1" y="64"/>
                    </a:cubicBezTo>
                    <a:cubicBezTo>
                      <a:pt x="1" y="64"/>
                      <a:pt x="1" y="66"/>
                      <a:pt x="1" y="66"/>
                    </a:cubicBezTo>
                    <a:cubicBezTo>
                      <a:pt x="2" y="65"/>
                      <a:pt x="2" y="67"/>
                      <a:pt x="2" y="68"/>
                    </a:cubicBezTo>
                    <a:cubicBezTo>
                      <a:pt x="1" y="69"/>
                      <a:pt x="1" y="69"/>
                      <a:pt x="1" y="69"/>
                    </a:cubicBezTo>
                    <a:cubicBezTo>
                      <a:pt x="0" y="71"/>
                      <a:pt x="1" y="72"/>
                      <a:pt x="1" y="7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37" name="Freeform 16">
                <a:extLst>
                  <a:ext uri="{FF2B5EF4-FFF2-40B4-BE49-F238E27FC236}">
                    <a16:creationId xmlns:a16="http://schemas.microsoft.com/office/drawing/2014/main" id="{C2B3EF79-5FC9-4271-8E0F-4C8E92C6D34C}"/>
                  </a:ext>
                </a:extLst>
              </p:cNvPr>
              <p:cNvSpPr>
                <a:spLocks/>
              </p:cNvSpPr>
              <p:nvPr/>
            </p:nvSpPr>
            <p:spPr bwMode="auto">
              <a:xfrm>
                <a:off x="2825" y="1662"/>
                <a:ext cx="155" cy="143"/>
              </a:xfrm>
              <a:custGeom>
                <a:avLst/>
                <a:gdLst>
                  <a:gd name="T0" fmla="*/ 1 w 79"/>
                  <a:gd name="T1" fmla="*/ 73 h 73"/>
                  <a:gd name="T2" fmla="*/ 3 w 79"/>
                  <a:gd name="T3" fmla="*/ 71 h 73"/>
                  <a:gd name="T4" fmla="*/ 36 w 79"/>
                  <a:gd name="T5" fmla="*/ 70 h 73"/>
                  <a:gd name="T6" fmla="*/ 35 w 79"/>
                  <a:gd name="T7" fmla="*/ 53 h 73"/>
                  <a:gd name="T8" fmla="*/ 45 w 79"/>
                  <a:gd name="T9" fmla="*/ 47 h 73"/>
                  <a:gd name="T10" fmla="*/ 46 w 79"/>
                  <a:gd name="T11" fmla="*/ 24 h 73"/>
                  <a:gd name="T12" fmla="*/ 79 w 79"/>
                  <a:gd name="T13" fmla="*/ 23 h 73"/>
                  <a:gd name="T14" fmla="*/ 78 w 79"/>
                  <a:gd name="T15" fmla="*/ 7 h 73"/>
                  <a:gd name="T16" fmla="*/ 78 w 79"/>
                  <a:gd name="T17" fmla="*/ 0 h 73"/>
                  <a:gd name="T18" fmla="*/ 41 w 79"/>
                  <a:gd name="T19" fmla="*/ 1 h 73"/>
                  <a:gd name="T20" fmla="*/ 39 w 79"/>
                  <a:gd name="T21" fmla="*/ 4 h 73"/>
                  <a:gd name="T22" fmla="*/ 35 w 79"/>
                  <a:gd name="T23" fmla="*/ 3 h 73"/>
                  <a:gd name="T24" fmla="*/ 35 w 79"/>
                  <a:gd name="T25" fmla="*/ 5 h 73"/>
                  <a:gd name="T26" fmla="*/ 33 w 79"/>
                  <a:gd name="T27" fmla="*/ 7 h 73"/>
                  <a:gd name="T28" fmla="*/ 32 w 79"/>
                  <a:gd name="T29" fmla="*/ 11 h 73"/>
                  <a:gd name="T30" fmla="*/ 31 w 79"/>
                  <a:gd name="T31" fmla="*/ 11 h 73"/>
                  <a:gd name="T32" fmla="*/ 31 w 79"/>
                  <a:gd name="T33" fmla="*/ 13 h 73"/>
                  <a:gd name="T34" fmla="*/ 29 w 79"/>
                  <a:gd name="T35" fmla="*/ 14 h 73"/>
                  <a:gd name="T36" fmla="*/ 23 w 79"/>
                  <a:gd name="T37" fmla="*/ 21 h 73"/>
                  <a:gd name="T38" fmla="*/ 22 w 79"/>
                  <a:gd name="T39" fmla="*/ 28 h 73"/>
                  <a:gd name="T40" fmla="*/ 19 w 79"/>
                  <a:gd name="T41" fmla="*/ 31 h 73"/>
                  <a:gd name="T42" fmla="*/ 15 w 79"/>
                  <a:gd name="T43" fmla="*/ 41 h 73"/>
                  <a:gd name="T44" fmla="*/ 12 w 79"/>
                  <a:gd name="T45" fmla="*/ 43 h 73"/>
                  <a:gd name="T46" fmla="*/ 12 w 79"/>
                  <a:gd name="T47" fmla="*/ 47 h 73"/>
                  <a:gd name="T48" fmla="*/ 10 w 79"/>
                  <a:gd name="T49" fmla="*/ 49 h 73"/>
                  <a:gd name="T50" fmla="*/ 10 w 79"/>
                  <a:gd name="T51" fmla="*/ 51 h 73"/>
                  <a:gd name="T52" fmla="*/ 8 w 79"/>
                  <a:gd name="T53" fmla="*/ 53 h 73"/>
                  <a:gd name="T54" fmla="*/ 8 w 79"/>
                  <a:gd name="T55" fmla="*/ 56 h 73"/>
                  <a:gd name="T56" fmla="*/ 7 w 79"/>
                  <a:gd name="T57" fmla="*/ 57 h 73"/>
                  <a:gd name="T58" fmla="*/ 6 w 79"/>
                  <a:gd name="T59" fmla="*/ 60 h 73"/>
                  <a:gd name="T60" fmla="*/ 1 w 79"/>
                  <a:gd name="T61" fmla="*/ 64 h 73"/>
                  <a:gd name="T62" fmla="*/ 1 w 79"/>
                  <a:gd name="T63" fmla="*/ 66 h 73"/>
                  <a:gd name="T64" fmla="*/ 2 w 79"/>
                  <a:gd name="T65" fmla="*/ 68 h 73"/>
                  <a:gd name="T66" fmla="*/ 1 w 79"/>
                  <a:gd name="T67" fmla="*/ 69 h 73"/>
                  <a:gd name="T68" fmla="*/ 1 w 79"/>
                  <a:gd name="T69"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73">
                    <a:moveTo>
                      <a:pt x="1" y="73"/>
                    </a:moveTo>
                    <a:cubicBezTo>
                      <a:pt x="4" y="69"/>
                      <a:pt x="3" y="71"/>
                      <a:pt x="3" y="71"/>
                    </a:cubicBezTo>
                    <a:cubicBezTo>
                      <a:pt x="36" y="70"/>
                      <a:pt x="36" y="70"/>
                      <a:pt x="36" y="70"/>
                    </a:cubicBezTo>
                    <a:cubicBezTo>
                      <a:pt x="36" y="70"/>
                      <a:pt x="35" y="59"/>
                      <a:pt x="35" y="53"/>
                    </a:cubicBezTo>
                    <a:cubicBezTo>
                      <a:pt x="35" y="46"/>
                      <a:pt x="45" y="47"/>
                      <a:pt x="45" y="47"/>
                    </a:cubicBezTo>
                    <a:cubicBezTo>
                      <a:pt x="46" y="24"/>
                      <a:pt x="46" y="24"/>
                      <a:pt x="46" y="24"/>
                    </a:cubicBezTo>
                    <a:cubicBezTo>
                      <a:pt x="79" y="23"/>
                      <a:pt x="79" y="23"/>
                      <a:pt x="79" y="23"/>
                    </a:cubicBezTo>
                    <a:cubicBezTo>
                      <a:pt x="78" y="7"/>
                      <a:pt x="78" y="7"/>
                      <a:pt x="78" y="7"/>
                    </a:cubicBezTo>
                    <a:cubicBezTo>
                      <a:pt x="78" y="0"/>
                      <a:pt x="78" y="0"/>
                      <a:pt x="78" y="0"/>
                    </a:cubicBezTo>
                    <a:cubicBezTo>
                      <a:pt x="41" y="1"/>
                      <a:pt x="41" y="1"/>
                      <a:pt x="41" y="1"/>
                    </a:cubicBezTo>
                    <a:cubicBezTo>
                      <a:pt x="40" y="3"/>
                      <a:pt x="39" y="4"/>
                      <a:pt x="39" y="4"/>
                    </a:cubicBezTo>
                    <a:cubicBezTo>
                      <a:pt x="38" y="4"/>
                      <a:pt x="36" y="3"/>
                      <a:pt x="35" y="3"/>
                    </a:cubicBezTo>
                    <a:cubicBezTo>
                      <a:pt x="34" y="4"/>
                      <a:pt x="35" y="5"/>
                      <a:pt x="35" y="5"/>
                    </a:cubicBezTo>
                    <a:cubicBezTo>
                      <a:pt x="34" y="6"/>
                      <a:pt x="33" y="6"/>
                      <a:pt x="33" y="7"/>
                    </a:cubicBezTo>
                    <a:cubicBezTo>
                      <a:pt x="32" y="8"/>
                      <a:pt x="33" y="9"/>
                      <a:pt x="32" y="11"/>
                    </a:cubicBezTo>
                    <a:cubicBezTo>
                      <a:pt x="32" y="11"/>
                      <a:pt x="31" y="11"/>
                      <a:pt x="31" y="11"/>
                    </a:cubicBezTo>
                    <a:cubicBezTo>
                      <a:pt x="30" y="12"/>
                      <a:pt x="31" y="13"/>
                      <a:pt x="31" y="13"/>
                    </a:cubicBezTo>
                    <a:cubicBezTo>
                      <a:pt x="30" y="14"/>
                      <a:pt x="29" y="14"/>
                      <a:pt x="29" y="14"/>
                    </a:cubicBezTo>
                    <a:cubicBezTo>
                      <a:pt x="28" y="14"/>
                      <a:pt x="23" y="21"/>
                      <a:pt x="23" y="21"/>
                    </a:cubicBezTo>
                    <a:cubicBezTo>
                      <a:pt x="22" y="23"/>
                      <a:pt x="22" y="28"/>
                      <a:pt x="22" y="28"/>
                    </a:cubicBezTo>
                    <a:cubicBezTo>
                      <a:pt x="22" y="29"/>
                      <a:pt x="20" y="30"/>
                      <a:pt x="19" y="31"/>
                    </a:cubicBezTo>
                    <a:cubicBezTo>
                      <a:pt x="17" y="34"/>
                      <a:pt x="18" y="38"/>
                      <a:pt x="15" y="41"/>
                    </a:cubicBezTo>
                    <a:cubicBezTo>
                      <a:pt x="15" y="42"/>
                      <a:pt x="13" y="42"/>
                      <a:pt x="12" y="43"/>
                    </a:cubicBezTo>
                    <a:cubicBezTo>
                      <a:pt x="11" y="45"/>
                      <a:pt x="12" y="46"/>
                      <a:pt x="12" y="47"/>
                    </a:cubicBezTo>
                    <a:cubicBezTo>
                      <a:pt x="12" y="47"/>
                      <a:pt x="10" y="48"/>
                      <a:pt x="10" y="49"/>
                    </a:cubicBezTo>
                    <a:cubicBezTo>
                      <a:pt x="10" y="49"/>
                      <a:pt x="10" y="50"/>
                      <a:pt x="10" y="51"/>
                    </a:cubicBezTo>
                    <a:cubicBezTo>
                      <a:pt x="10" y="52"/>
                      <a:pt x="8" y="53"/>
                      <a:pt x="8" y="53"/>
                    </a:cubicBezTo>
                    <a:cubicBezTo>
                      <a:pt x="8" y="54"/>
                      <a:pt x="8" y="55"/>
                      <a:pt x="8" y="56"/>
                    </a:cubicBezTo>
                    <a:cubicBezTo>
                      <a:pt x="8" y="56"/>
                      <a:pt x="7" y="57"/>
                      <a:pt x="7" y="57"/>
                    </a:cubicBezTo>
                    <a:cubicBezTo>
                      <a:pt x="6" y="58"/>
                      <a:pt x="7" y="58"/>
                      <a:pt x="6" y="60"/>
                    </a:cubicBezTo>
                    <a:cubicBezTo>
                      <a:pt x="5" y="62"/>
                      <a:pt x="3" y="63"/>
                      <a:pt x="1" y="64"/>
                    </a:cubicBezTo>
                    <a:cubicBezTo>
                      <a:pt x="1" y="64"/>
                      <a:pt x="1" y="66"/>
                      <a:pt x="1" y="66"/>
                    </a:cubicBezTo>
                    <a:cubicBezTo>
                      <a:pt x="2" y="65"/>
                      <a:pt x="2" y="67"/>
                      <a:pt x="2" y="68"/>
                    </a:cubicBezTo>
                    <a:cubicBezTo>
                      <a:pt x="1" y="69"/>
                      <a:pt x="1" y="69"/>
                      <a:pt x="1" y="69"/>
                    </a:cubicBezTo>
                    <a:cubicBezTo>
                      <a:pt x="0" y="71"/>
                      <a:pt x="1" y="72"/>
                      <a:pt x="1" y="7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38" name="Freeform 17">
                <a:extLst>
                  <a:ext uri="{FF2B5EF4-FFF2-40B4-BE49-F238E27FC236}">
                    <a16:creationId xmlns:a16="http://schemas.microsoft.com/office/drawing/2014/main" id="{5E79411B-A2BF-0991-4BF8-F0F8830D9AF3}"/>
                  </a:ext>
                </a:extLst>
              </p:cNvPr>
              <p:cNvSpPr>
                <a:spLocks noEditPoints="1"/>
              </p:cNvSpPr>
              <p:nvPr/>
            </p:nvSpPr>
            <p:spPr bwMode="auto">
              <a:xfrm>
                <a:off x="4847" y="1768"/>
                <a:ext cx="124" cy="314"/>
              </a:xfrm>
              <a:custGeom>
                <a:avLst/>
                <a:gdLst>
                  <a:gd name="T0" fmla="*/ 46 w 63"/>
                  <a:gd name="T1" fmla="*/ 16 h 160"/>
                  <a:gd name="T2" fmla="*/ 39 w 63"/>
                  <a:gd name="T3" fmla="*/ 15 h 160"/>
                  <a:gd name="T4" fmla="*/ 35 w 63"/>
                  <a:gd name="T5" fmla="*/ 9 h 160"/>
                  <a:gd name="T6" fmla="*/ 32 w 63"/>
                  <a:gd name="T7" fmla="*/ 3 h 160"/>
                  <a:gd name="T8" fmla="*/ 26 w 63"/>
                  <a:gd name="T9" fmla="*/ 0 h 160"/>
                  <a:gd name="T10" fmla="*/ 16 w 63"/>
                  <a:gd name="T11" fmla="*/ 4 h 160"/>
                  <a:gd name="T12" fmla="*/ 5 w 63"/>
                  <a:gd name="T13" fmla="*/ 3 h 160"/>
                  <a:gd name="T14" fmla="*/ 4 w 63"/>
                  <a:gd name="T15" fmla="*/ 13 h 160"/>
                  <a:gd name="T16" fmla="*/ 6 w 63"/>
                  <a:gd name="T17" fmla="*/ 19 h 160"/>
                  <a:gd name="T18" fmla="*/ 10 w 63"/>
                  <a:gd name="T19" fmla="*/ 23 h 160"/>
                  <a:gd name="T20" fmla="*/ 17 w 63"/>
                  <a:gd name="T21" fmla="*/ 22 h 160"/>
                  <a:gd name="T22" fmla="*/ 24 w 63"/>
                  <a:gd name="T23" fmla="*/ 26 h 160"/>
                  <a:gd name="T24" fmla="*/ 21 w 63"/>
                  <a:gd name="T25" fmla="*/ 33 h 160"/>
                  <a:gd name="T26" fmla="*/ 16 w 63"/>
                  <a:gd name="T27" fmla="*/ 37 h 160"/>
                  <a:gd name="T28" fmla="*/ 20 w 63"/>
                  <a:gd name="T29" fmla="*/ 44 h 160"/>
                  <a:gd name="T30" fmla="*/ 26 w 63"/>
                  <a:gd name="T31" fmla="*/ 56 h 160"/>
                  <a:gd name="T32" fmla="*/ 29 w 63"/>
                  <a:gd name="T33" fmla="*/ 61 h 160"/>
                  <a:gd name="T34" fmla="*/ 36 w 63"/>
                  <a:gd name="T35" fmla="*/ 68 h 160"/>
                  <a:gd name="T36" fmla="*/ 39 w 63"/>
                  <a:gd name="T37" fmla="*/ 76 h 160"/>
                  <a:gd name="T38" fmla="*/ 43 w 63"/>
                  <a:gd name="T39" fmla="*/ 82 h 160"/>
                  <a:gd name="T40" fmla="*/ 43 w 63"/>
                  <a:gd name="T41" fmla="*/ 91 h 160"/>
                  <a:gd name="T42" fmla="*/ 45 w 63"/>
                  <a:gd name="T43" fmla="*/ 100 h 160"/>
                  <a:gd name="T44" fmla="*/ 47 w 63"/>
                  <a:gd name="T45" fmla="*/ 109 h 160"/>
                  <a:gd name="T46" fmla="*/ 44 w 63"/>
                  <a:gd name="T47" fmla="*/ 119 h 160"/>
                  <a:gd name="T48" fmla="*/ 42 w 63"/>
                  <a:gd name="T49" fmla="*/ 125 h 160"/>
                  <a:gd name="T50" fmla="*/ 35 w 63"/>
                  <a:gd name="T51" fmla="*/ 128 h 160"/>
                  <a:gd name="T52" fmla="*/ 31 w 63"/>
                  <a:gd name="T53" fmla="*/ 130 h 160"/>
                  <a:gd name="T54" fmla="*/ 24 w 63"/>
                  <a:gd name="T55" fmla="*/ 133 h 160"/>
                  <a:gd name="T56" fmla="*/ 17 w 63"/>
                  <a:gd name="T57" fmla="*/ 139 h 160"/>
                  <a:gd name="T58" fmla="*/ 21 w 63"/>
                  <a:gd name="T59" fmla="*/ 152 h 160"/>
                  <a:gd name="T60" fmla="*/ 23 w 63"/>
                  <a:gd name="T61" fmla="*/ 156 h 160"/>
                  <a:gd name="T62" fmla="*/ 27 w 63"/>
                  <a:gd name="T63" fmla="*/ 154 h 160"/>
                  <a:gd name="T64" fmla="*/ 29 w 63"/>
                  <a:gd name="T65" fmla="*/ 147 h 160"/>
                  <a:gd name="T66" fmla="*/ 32 w 63"/>
                  <a:gd name="T67" fmla="*/ 149 h 160"/>
                  <a:gd name="T68" fmla="*/ 34 w 63"/>
                  <a:gd name="T69" fmla="*/ 147 h 160"/>
                  <a:gd name="T70" fmla="*/ 35 w 63"/>
                  <a:gd name="T71" fmla="*/ 146 h 160"/>
                  <a:gd name="T72" fmla="*/ 30 w 63"/>
                  <a:gd name="T73" fmla="*/ 141 h 160"/>
                  <a:gd name="T74" fmla="*/ 38 w 63"/>
                  <a:gd name="T75" fmla="*/ 141 h 160"/>
                  <a:gd name="T76" fmla="*/ 41 w 63"/>
                  <a:gd name="T77" fmla="*/ 141 h 160"/>
                  <a:gd name="T78" fmla="*/ 44 w 63"/>
                  <a:gd name="T79" fmla="*/ 140 h 160"/>
                  <a:gd name="T80" fmla="*/ 50 w 63"/>
                  <a:gd name="T81" fmla="*/ 135 h 160"/>
                  <a:gd name="T82" fmla="*/ 59 w 63"/>
                  <a:gd name="T83" fmla="*/ 125 h 160"/>
                  <a:gd name="T84" fmla="*/ 60 w 63"/>
                  <a:gd name="T85" fmla="*/ 116 h 160"/>
                  <a:gd name="T86" fmla="*/ 62 w 63"/>
                  <a:gd name="T87" fmla="*/ 112 h 160"/>
                  <a:gd name="T88" fmla="*/ 59 w 63"/>
                  <a:gd name="T89" fmla="*/ 106 h 160"/>
                  <a:gd name="T90" fmla="*/ 57 w 63"/>
                  <a:gd name="T91" fmla="*/ 98 h 160"/>
                  <a:gd name="T92" fmla="*/ 56 w 63"/>
                  <a:gd name="T93" fmla="*/ 94 h 160"/>
                  <a:gd name="T94" fmla="*/ 50 w 63"/>
                  <a:gd name="T95" fmla="*/ 83 h 160"/>
                  <a:gd name="T96" fmla="*/ 45 w 63"/>
                  <a:gd name="T97" fmla="*/ 75 h 160"/>
                  <a:gd name="T98" fmla="*/ 42 w 63"/>
                  <a:gd name="T99" fmla="*/ 67 h 160"/>
                  <a:gd name="T100" fmla="*/ 33 w 63"/>
                  <a:gd name="T101" fmla="*/ 58 h 160"/>
                  <a:gd name="T102" fmla="*/ 28 w 63"/>
                  <a:gd name="T103" fmla="*/ 44 h 160"/>
                  <a:gd name="T104" fmla="*/ 33 w 63"/>
                  <a:gd name="T105" fmla="*/ 35 h 160"/>
                  <a:gd name="T106" fmla="*/ 39 w 63"/>
                  <a:gd name="T107" fmla="*/ 25 h 160"/>
                  <a:gd name="T108" fmla="*/ 46 w 63"/>
                  <a:gd name="T109" fmla="*/ 20 h 160"/>
                  <a:gd name="T110" fmla="*/ 50 w 63"/>
                  <a:gd name="T111" fmla="*/ 18 h 160"/>
                  <a:gd name="T112" fmla="*/ 25 w 63"/>
                  <a:gd name="T113" fmla="*/ 1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160">
                    <a:moveTo>
                      <a:pt x="50" y="18"/>
                    </a:moveTo>
                    <a:cubicBezTo>
                      <a:pt x="46" y="16"/>
                      <a:pt x="46" y="16"/>
                      <a:pt x="46" y="16"/>
                    </a:cubicBezTo>
                    <a:cubicBezTo>
                      <a:pt x="43" y="17"/>
                      <a:pt x="43" y="17"/>
                      <a:pt x="43" y="17"/>
                    </a:cubicBezTo>
                    <a:cubicBezTo>
                      <a:pt x="39" y="15"/>
                      <a:pt x="39" y="15"/>
                      <a:pt x="39" y="15"/>
                    </a:cubicBezTo>
                    <a:cubicBezTo>
                      <a:pt x="37" y="13"/>
                      <a:pt x="37" y="13"/>
                      <a:pt x="37" y="13"/>
                    </a:cubicBezTo>
                    <a:cubicBezTo>
                      <a:pt x="35" y="9"/>
                      <a:pt x="35" y="9"/>
                      <a:pt x="35" y="9"/>
                    </a:cubicBezTo>
                    <a:cubicBezTo>
                      <a:pt x="35" y="4"/>
                      <a:pt x="35" y="4"/>
                      <a:pt x="35" y="4"/>
                    </a:cubicBezTo>
                    <a:cubicBezTo>
                      <a:pt x="32" y="3"/>
                      <a:pt x="32" y="3"/>
                      <a:pt x="32" y="3"/>
                    </a:cubicBezTo>
                    <a:cubicBezTo>
                      <a:pt x="29" y="1"/>
                      <a:pt x="29" y="1"/>
                      <a:pt x="29" y="1"/>
                    </a:cubicBezTo>
                    <a:cubicBezTo>
                      <a:pt x="26" y="0"/>
                      <a:pt x="26" y="0"/>
                      <a:pt x="26" y="0"/>
                    </a:cubicBezTo>
                    <a:cubicBezTo>
                      <a:pt x="21" y="4"/>
                      <a:pt x="21" y="4"/>
                      <a:pt x="21" y="4"/>
                    </a:cubicBezTo>
                    <a:cubicBezTo>
                      <a:pt x="16" y="4"/>
                      <a:pt x="16" y="4"/>
                      <a:pt x="16" y="4"/>
                    </a:cubicBezTo>
                    <a:cubicBezTo>
                      <a:pt x="10" y="6"/>
                      <a:pt x="10" y="6"/>
                      <a:pt x="10" y="6"/>
                    </a:cubicBezTo>
                    <a:cubicBezTo>
                      <a:pt x="5" y="3"/>
                      <a:pt x="5" y="3"/>
                      <a:pt x="5" y="3"/>
                    </a:cubicBezTo>
                    <a:cubicBezTo>
                      <a:pt x="0" y="6"/>
                      <a:pt x="0" y="6"/>
                      <a:pt x="0" y="6"/>
                    </a:cubicBezTo>
                    <a:cubicBezTo>
                      <a:pt x="4" y="13"/>
                      <a:pt x="4" y="13"/>
                      <a:pt x="4" y="13"/>
                    </a:cubicBezTo>
                    <a:cubicBezTo>
                      <a:pt x="3" y="16"/>
                      <a:pt x="3" y="16"/>
                      <a:pt x="3" y="16"/>
                    </a:cubicBezTo>
                    <a:cubicBezTo>
                      <a:pt x="6" y="19"/>
                      <a:pt x="6" y="19"/>
                      <a:pt x="6" y="19"/>
                    </a:cubicBezTo>
                    <a:cubicBezTo>
                      <a:pt x="9" y="21"/>
                      <a:pt x="9" y="21"/>
                      <a:pt x="9" y="21"/>
                    </a:cubicBezTo>
                    <a:cubicBezTo>
                      <a:pt x="10" y="23"/>
                      <a:pt x="10" y="23"/>
                      <a:pt x="10" y="23"/>
                    </a:cubicBezTo>
                    <a:cubicBezTo>
                      <a:pt x="14" y="24"/>
                      <a:pt x="14" y="24"/>
                      <a:pt x="14" y="24"/>
                    </a:cubicBezTo>
                    <a:cubicBezTo>
                      <a:pt x="17" y="22"/>
                      <a:pt x="17" y="22"/>
                      <a:pt x="17" y="22"/>
                    </a:cubicBezTo>
                    <a:cubicBezTo>
                      <a:pt x="20" y="24"/>
                      <a:pt x="20" y="24"/>
                      <a:pt x="20" y="24"/>
                    </a:cubicBezTo>
                    <a:cubicBezTo>
                      <a:pt x="24" y="26"/>
                      <a:pt x="24" y="26"/>
                      <a:pt x="24" y="26"/>
                    </a:cubicBezTo>
                    <a:cubicBezTo>
                      <a:pt x="24" y="31"/>
                      <a:pt x="24" y="31"/>
                      <a:pt x="24" y="31"/>
                    </a:cubicBezTo>
                    <a:cubicBezTo>
                      <a:pt x="21" y="33"/>
                      <a:pt x="21" y="33"/>
                      <a:pt x="21" y="33"/>
                    </a:cubicBezTo>
                    <a:cubicBezTo>
                      <a:pt x="18" y="35"/>
                      <a:pt x="18" y="35"/>
                      <a:pt x="18" y="35"/>
                    </a:cubicBezTo>
                    <a:cubicBezTo>
                      <a:pt x="16" y="37"/>
                      <a:pt x="16" y="37"/>
                      <a:pt x="16" y="37"/>
                    </a:cubicBezTo>
                    <a:cubicBezTo>
                      <a:pt x="15" y="41"/>
                      <a:pt x="15" y="41"/>
                      <a:pt x="15" y="41"/>
                    </a:cubicBezTo>
                    <a:cubicBezTo>
                      <a:pt x="20" y="44"/>
                      <a:pt x="20" y="44"/>
                      <a:pt x="20" y="44"/>
                    </a:cubicBezTo>
                    <a:cubicBezTo>
                      <a:pt x="22" y="51"/>
                      <a:pt x="22" y="51"/>
                      <a:pt x="22" y="51"/>
                    </a:cubicBezTo>
                    <a:cubicBezTo>
                      <a:pt x="26" y="56"/>
                      <a:pt x="26" y="56"/>
                      <a:pt x="26" y="56"/>
                    </a:cubicBezTo>
                    <a:cubicBezTo>
                      <a:pt x="28" y="58"/>
                      <a:pt x="28" y="58"/>
                      <a:pt x="28" y="58"/>
                    </a:cubicBezTo>
                    <a:cubicBezTo>
                      <a:pt x="29" y="61"/>
                      <a:pt x="29" y="61"/>
                      <a:pt x="29" y="61"/>
                    </a:cubicBezTo>
                    <a:cubicBezTo>
                      <a:pt x="32" y="65"/>
                      <a:pt x="32" y="65"/>
                      <a:pt x="32" y="65"/>
                    </a:cubicBezTo>
                    <a:cubicBezTo>
                      <a:pt x="36" y="68"/>
                      <a:pt x="36" y="68"/>
                      <a:pt x="36" y="68"/>
                    </a:cubicBezTo>
                    <a:cubicBezTo>
                      <a:pt x="37" y="71"/>
                      <a:pt x="37" y="71"/>
                      <a:pt x="37" y="71"/>
                    </a:cubicBezTo>
                    <a:cubicBezTo>
                      <a:pt x="39" y="76"/>
                      <a:pt x="39" y="76"/>
                      <a:pt x="39" y="76"/>
                    </a:cubicBezTo>
                    <a:cubicBezTo>
                      <a:pt x="42" y="78"/>
                      <a:pt x="42" y="78"/>
                      <a:pt x="42" y="78"/>
                    </a:cubicBezTo>
                    <a:cubicBezTo>
                      <a:pt x="43" y="82"/>
                      <a:pt x="43" y="82"/>
                      <a:pt x="43" y="82"/>
                    </a:cubicBezTo>
                    <a:cubicBezTo>
                      <a:pt x="44" y="88"/>
                      <a:pt x="44" y="88"/>
                      <a:pt x="44" y="88"/>
                    </a:cubicBezTo>
                    <a:cubicBezTo>
                      <a:pt x="43" y="91"/>
                      <a:pt x="43" y="91"/>
                      <a:pt x="43" y="91"/>
                    </a:cubicBezTo>
                    <a:cubicBezTo>
                      <a:pt x="43" y="96"/>
                      <a:pt x="43" y="96"/>
                      <a:pt x="43" y="96"/>
                    </a:cubicBezTo>
                    <a:cubicBezTo>
                      <a:pt x="45" y="100"/>
                      <a:pt x="45" y="100"/>
                      <a:pt x="45" y="100"/>
                    </a:cubicBezTo>
                    <a:cubicBezTo>
                      <a:pt x="46" y="105"/>
                      <a:pt x="46" y="105"/>
                      <a:pt x="46" y="105"/>
                    </a:cubicBezTo>
                    <a:cubicBezTo>
                      <a:pt x="47" y="109"/>
                      <a:pt x="47" y="109"/>
                      <a:pt x="47" y="109"/>
                    </a:cubicBezTo>
                    <a:cubicBezTo>
                      <a:pt x="45" y="114"/>
                      <a:pt x="45" y="114"/>
                      <a:pt x="45" y="114"/>
                    </a:cubicBezTo>
                    <a:cubicBezTo>
                      <a:pt x="44" y="119"/>
                      <a:pt x="44" y="119"/>
                      <a:pt x="44" y="119"/>
                    </a:cubicBezTo>
                    <a:cubicBezTo>
                      <a:pt x="44" y="123"/>
                      <a:pt x="44" y="123"/>
                      <a:pt x="44" y="123"/>
                    </a:cubicBezTo>
                    <a:cubicBezTo>
                      <a:pt x="42" y="125"/>
                      <a:pt x="42" y="125"/>
                      <a:pt x="42" y="125"/>
                    </a:cubicBezTo>
                    <a:cubicBezTo>
                      <a:pt x="37" y="127"/>
                      <a:pt x="37" y="127"/>
                      <a:pt x="37" y="127"/>
                    </a:cubicBezTo>
                    <a:cubicBezTo>
                      <a:pt x="35" y="128"/>
                      <a:pt x="35" y="128"/>
                      <a:pt x="35" y="128"/>
                    </a:cubicBezTo>
                    <a:cubicBezTo>
                      <a:pt x="34" y="132"/>
                      <a:pt x="34" y="132"/>
                      <a:pt x="34" y="132"/>
                    </a:cubicBezTo>
                    <a:cubicBezTo>
                      <a:pt x="31" y="130"/>
                      <a:pt x="31" y="130"/>
                      <a:pt x="31" y="130"/>
                    </a:cubicBezTo>
                    <a:cubicBezTo>
                      <a:pt x="25" y="131"/>
                      <a:pt x="25" y="131"/>
                      <a:pt x="25" y="131"/>
                    </a:cubicBezTo>
                    <a:cubicBezTo>
                      <a:pt x="24" y="133"/>
                      <a:pt x="24" y="133"/>
                      <a:pt x="24" y="133"/>
                    </a:cubicBezTo>
                    <a:cubicBezTo>
                      <a:pt x="21" y="134"/>
                      <a:pt x="21" y="134"/>
                      <a:pt x="21" y="134"/>
                    </a:cubicBezTo>
                    <a:cubicBezTo>
                      <a:pt x="17" y="139"/>
                      <a:pt x="17" y="139"/>
                      <a:pt x="17" y="139"/>
                    </a:cubicBezTo>
                    <a:cubicBezTo>
                      <a:pt x="19" y="140"/>
                      <a:pt x="19" y="141"/>
                      <a:pt x="21" y="143"/>
                    </a:cubicBezTo>
                    <a:cubicBezTo>
                      <a:pt x="21" y="141"/>
                      <a:pt x="20" y="154"/>
                      <a:pt x="21" y="152"/>
                    </a:cubicBezTo>
                    <a:cubicBezTo>
                      <a:pt x="21" y="153"/>
                      <a:pt x="21" y="155"/>
                      <a:pt x="21" y="155"/>
                    </a:cubicBezTo>
                    <a:cubicBezTo>
                      <a:pt x="23" y="156"/>
                      <a:pt x="23" y="156"/>
                      <a:pt x="23" y="156"/>
                    </a:cubicBezTo>
                    <a:cubicBezTo>
                      <a:pt x="23" y="157"/>
                      <a:pt x="20" y="160"/>
                      <a:pt x="23" y="159"/>
                    </a:cubicBezTo>
                    <a:cubicBezTo>
                      <a:pt x="26" y="159"/>
                      <a:pt x="26" y="155"/>
                      <a:pt x="27" y="154"/>
                    </a:cubicBezTo>
                    <a:cubicBezTo>
                      <a:pt x="28" y="153"/>
                      <a:pt x="30" y="154"/>
                      <a:pt x="30" y="153"/>
                    </a:cubicBezTo>
                    <a:cubicBezTo>
                      <a:pt x="30" y="151"/>
                      <a:pt x="30" y="150"/>
                      <a:pt x="29" y="147"/>
                    </a:cubicBezTo>
                    <a:cubicBezTo>
                      <a:pt x="29" y="146"/>
                      <a:pt x="26" y="141"/>
                      <a:pt x="28" y="143"/>
                    </a:cubicBezTo>
                    <a:cubicBezTo>
                      <a:pt x="30" y="145"/>
                      <a:pt x="31" y="147"/>
                      <a:pt x="32" y="149"/>
                    </a:cubicBezTo>
                    <a:cubicBezTo>
                      <a:pt x="33" y="149"/>
                      <a:pt x="34" y="149"/>
                      <a:pt x="34" y="149"/>
                    </a:cubicBezTo>
                    <a:cubicBezTo>
                      <a:pt x="34" y="147"/>
                      <a:pt x="34" y="147"/>
                      <a:pt x="34" y="147"/>
                    </a:cubicBezTo>
                    <a:cubicBezTo>
                      <a:pt x="35" y="147"/>
                      <a:pt x="35" y="147"/>
                      <a:pt x="35" y="147"/>
                    </a:cubicBezTo>
                    <a:cubicBezTo>
                      <a:pt x="35" y="146"/>
                      <a:pt x="35" y="146"/>
                      <a:pt x="35" y="146"/>
                    </a:cubicBezTo>
                    <a:cubicBezTo>
                      <a:pt x="35" y="145"/>
                      <a:pt x="31" y="144"/>
                      <a:pt x="30" y="143"/>
                    </a:cubicBezTo>
                    <a:cubicBezTo>
                      <a:pt x="30" y="141"/>
                      <a:pt x="30" y="141"/>
                      <a:pt x="30" y="141"/>
                    </a:cubicBezTo>
                    <a:cubicBezTo>
                      <a:pt x="30" y="141"/>
                      <a:pt x="28" y="139"/>
                      <a:pt x="28" y="139"/>
                    </a:cubicBezTo>
                    <a:cubicBezTo>
                      <a:pt x="31" y="141"/>
                      <a:pt x="34" y="142"/>
                      <a:pt x="38" y="141"/>
                    </a:cubicBezTo>
                    <a:cubicBezTo>
                      <a:pt x="38" y="140"/>
                      <a:pt x="38" y="140"/>
                      <a:pt x="38" y="140"/>
                    </a:cubicBezTo>
                    <a:cubicBezTo>
                      <a:pt x="39" y="140"/>
                      <a:pt x="40" y="141"/>
                      <a:pt x="41" y="141"/>
                    </a:cubicBezTo>
                    <a:cubicBezTo>
                      <a:pt x="41" y="141"/>
                      <a:pt x="40" y="139"/>
                      <a:pt x="40" y="139"/>
                    </a:cubicBezTo>
                    <a:cubicBezTo>
                      <a:pt x="42" y="139"/>
                      <a:pt x="43" y="140"/>
                      <a:pt x="44" y="140"/>
                    </a:cubicBezTo>
                    <a:cubicBezTo>
                      <a:pt x="45" y="140"/>
                      <a:pt x="46" y="137"/>
                      <a:pt x="47" y="136"/>
                    </a:cubicBezTo>
                    <a:cubicBezTo>
                      <a:pt x="48" y="135"/>
                      <a:pt x="49" y="136"/>
                      <a:pt x="50" y="135"/>
                    </a:cubicBezTo>
                    <a:cubicBezTo>
                      <a:pt x="52" y="135"/>
                      <a:pt x="58" y="129"/>
                      <a:pt x="58" y="128"/>
                    </a:cubicBezTo>
                    <a:cubicBezTo>
                      <a:pt x="59" y="127"/>
                      <a:pt x="58" y="126"/>
                      <a:pt x="59" y="125"/>
                    </a:cubicBezTo>
                    <a:cubicBezTo>
                      <a:pt x="59" y="125"/>
                      <a:pt x="61" y="124"/>
                      <a:pt x="61" y="124"/>
                    </a:cubicBezTo>
                    <a:cubicBezTo>
                      <a:pt x="62" y="120"/>
                      <a:pt x="59" y="119"/>
                      <a:pt x="60" y="116"/>
                    </a:cubicBezTo>
                    <a:cubicBezTo>
                      <a:pt x="60" y="116"/>
                      <a:pt x="62" y="115"/>
                      <a:pt x="62" y="115"/>
                    </a:cubicBezTo>
                    <a:cubicBezTo>
                      <a:pt x="62" y="114"/>
                      <a:pt x="63" y="113"/>
                      <a:pt x="62" y="112"/>
                    </a:cubicBezTo>
                    <a:cubicBezTo>
                      <a:pt x="61" y="112"/>
                      <a:pt x="61" y="112"/>
                      <a:pt x="61" y="112"/>
                    </a:cubicBezTo>
                    <a:cubicBezTo>
                      <a:pt x="60" y="110"/>
                      <a:pt x="59" y="107"/>
                      <a:pt x="59" y="106"/>
                    </a:cubicBezTo>
                    <a:cubicBezTo>
                      <a:pt x="59" y="104"/>
                      <a:pt x="59" y="101"/>
                      <a:pt x="59" y="100"/>
                    </a:cubicBezTo>
                    <a:cubicBezTo>
                      <a:pt x="59" y="99"/>
                      <a:pt x="57" y="98"/>
                      <a:pt x="57" y="98"/>
                    </a:cubicBezTo>
                    <a:cubicBezTo>
                      <a:pt x="57" y="97"/>
                      <a:pt x="57" y="95"/>
                      <a:pt x="57" y="94"/>
                    </a:cubicBezTo>
                    <a:cubicBezTo>
                      <a:pt x="57" y="94"/>
                      <a:pt x="56" y="94"/>
                      <a:pt x="56" y="94"/>
                    </a:cubicBezTo>
                    <a:cubicBezTo>
                      <a:pt x="55" y="92"/>
                      <a:pt x="56" y="90"/>
                      <a:pt x="56" y="88"/>
                    </a:cubicBezTo>
                    <a:cubicBezTo>
                      <a:pt x="56" y="88"/>
                      <a:pt x="51" y="84"/>
                      <a:pt x="50" y="83"/>
                    </a:cubicBezTo>
                    <a:cubicBezTo>
                      <a:pt x="50" y="81"/>
                      <a:pt x="51" y="79"/>
                      <a:pt x="50" y="78"/>
                    </a:cubicBezTo>
                    <a:cubicBezTo>
                      <a:pt x="49" y="77"/>
                      <a:pt x="46" y="76"/>
                      <a:pt x="45" y="75"/>
                    </a:cubicBezTo>
                    <a:cubicBezTo>
                      <a:pt x="45" y="75"/>
                      <a:pt x="42" y="69"/>
                      <a:pt x="42" y="69"/>
                    </a:cubicBezTo>
                    <a:cubicBezTo>
                      <a:pt x="42" y="69"/>
                      <a:pt x="42" y="67"/>
                      <a:pt x="42" y="67"/>
                    </a:cubicBezTo>
                    <a:cubicBezTo>
                      <a:pt x="40" y="65"/>
                      <a:pt x="35" y="64"/>
                      <a:pt x="34" y="61"/>
                    </a:cubicBezTo>
                    <a:cubicBezTo>
                      <a:pt x="33" y="60"/>
                      <a:pt x="34" y="59"/>
                      <a:pt x="33" y="58"/>
                    </a:cubicBezTo>
                    <a:cubicBezTo>
                      <a:pt x="31" y="55"/>
                      <a:pt x="26" y="51"/>
                      <a:pt x="27" y="46"/>
                    </a:cubicBezTo>
                    <a:cubicBezTo>
                      <a:pt x="28" y="44"/>
                      <a:pt x="28" y="44"/>
                      <a:pt x="28" y="44"/>
                    </a:cubicBezTo>
                    <a:cubicBezTo>
                      <a:pt x="29" y="42"/>
                      <a:pt x="28" y="39"/>
                      <a:pt x="28" y="38"/>
                    </a:cubicBezTo>
                    <a:cubicBezTo>
                      <a:pt x="29" y="36"/>
                      <a:pt x="32" y="36"/>
                      <a:pt x="33" y="35"/>
                    </a:cubicBezTo>
                    <a:cubicBezTo>
                      <a:pt x="39" y="27"/>
                      <a:pt x="39" y="27"/>
                      <a:pt x="39" y="27"/>
                    </a:cubicBezTo>
                    <a:cubicBezTo>
                      <a:pt x="39" y="27"/>
                      <a:pt x="39" y="25"/>
                      <a:pt x="39" y="25"/>
                    </a:cubicBezTo>
                    <a:cubicBezTo>
                      <a:pt x="40" y="24"/>
                      <a:pt x="42" y="25"/>
                      <a:pt x="44" y="24"/>
                    </a:cubicBezTo>
                    <a:cubicBezTo>
                      <a:pt x="45" y="23"/>
                      <a:pt x="45" y="21"/>
                      <a:pt x="46" y="20"/>
                    </a:cubicBezTo>
                    <a:cubicBezTo>
                      <a:pt x="47" y="20"/>
                      <a:pt x="49" y="20"/>
                      <a:pt x="50" y="19"/>
                    </a:cubicBezTo>
                    <a:cubicBezTo>
                      <a:pt x="50" y="19"/>
                      <a:pt x="50" y="19"/>
                      <a:pt x="50" y="18"/>
                    </a:cubicBezTo>
                    <a:close/>
                    <a:moveTo>
                      <a:pt x="25" y="135"/>
                    </a:moveTo>
                    <a:cubicBezTo>
                      <a:pt x="27" y="136"/>
                      <a:pt x="28" y="140"/>
                      <a:pt x="25" y="139"/>
                    </a:cubicBezTo>
                    <a:cubicBezTo>
                      <a:pt x="24" y="139"/>
                      <a:pt x="23" y="135"/>
                      <a:pt x="25" y="13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39" name="Freeform 18">
                <a:extLst>
                  <a:ext uri="{FF2B5EF4-FFF2-40B4-BE49-F238E27FC236}">
                    <a16:creationId xmlns:a16="http://schemas.microsoft.com/office/drawing/2014/main" id="{47CED167-E344-E218-41F0-3DFA9F67DC6D}"/>
                  </a:ext>
                </a:extLst>
              </p:cNvPr>
              <p:cNvSpPr>
                <a:spLocks noEditPoints="1"/>
              </p:cNvSpPr>
              <p:nvPr/>
            </p:nvSpPr>
            <p:spPr bwMode="auto">
              <a:xfrm>
                <a:off x="4847" y="1768"/>
                <a:ext cx="124" cy="314"/>
              </a:xfrm>
              <a:custGeom>
                <a:avLst/>
                <a:gdLst>
                  <a:gd name="T0" fmla="*/ 46 w 63"/>
                  <a:gd name="T1" fmla="*/ 16 h 160"/>
                  <a:gd name="T2" fmla="*/ 39 w 63"/>
                  <a:gd name="T3" fmla="*/ 15 h 160"/>
                  <a:gd name="T4" fmla="*/ 35 w 63"/>
                  <a:gd name="T5" fmla="*/ 9 h 160"/>
                  <a:gd name="T6" fmla="*/ 32 w 63"/>
                  <a:gd name="T7" fmla="*/ 3 h 160"/>
                  <a:gd name="T8" fmla="*/ 26 w 63"/>
                  <a:gd name="T9" fmla="*/ 0 h 160"/>
                  <a:gd name="T10" fmla="*/ 16 w 63"/>
                  <a:gd name="T11" fmla="*/ 4 h 160"/>
                  <a:gd name="T12" fmla="*/ 5 w 63"/>
                  <a:gd name="T13" fmla="*/ 3 h 160"/>
                  <a:gd name="T14" fmla="*/ 4 w 63"/>
                  <a:gd name="T15" fmla="*/ 13 h 160"/>
                  <a:gd name="T16" fmla="*/ 6 w 63"/>
                  <a:gd name="T17" fmla="*/ 19 h 160"/>
                  <a:gd name="T18" fmla="*/ 10 w 63"/>
                  <a:gd name="T19" fmla="*/ 23 h 160"/>
                  <a:gd name="T20" fmla="*/ 17 w 63"/>
                  <a:gd name="T21" fmla="*/ 22 h 160"/>
                  <a:gd name="T22" fmla="*/ 24 w 63"/>
                  <a:gd name="T23" fmla="*/ 26 h 160"/>
                  <a:gd name="T24" fmla="*/ 21 w 63"/>
                  <a:gd name="T25" fmla="*/ 33 h 160"/>
                  <a:gd name="T26" fmla="*/ 16 w 63"/>
                  <a:gd name="T27" fmla="*/ 37 h 160"/>
                  <a:gd name="T28" fmla="*/ 20 w 63"/>
                  <a:gd name="T29" fmla="*/ 44 h 160"/>
                  <a:gd name="T30" fmla="*/ 26 w 63"/>
                  <a:gd name="T31" fmla="*/ 56 h 160"/>
                  <a:gd name="T32" fmla="*/ 29 w 63"/>
                  <a:gd name="T33" fmla="*/ 61 h 160"/>
                  <a:gd name="T34" fmla="*/ 36 w 63"/>
                  <a:gd name="T35" fmla="*/ 68 h 160"/>
                  <a:gd name="T36" fmla="*/ 39 w 63"/>
                  <a:gd name="T37" fmla="*/ 76 h 160"/>
                  <a:gd name="T38" fmla="*/ 43 w 63"/>
                  <a:gd name="T39" fmla="*/ 82 h 160"/>
                  <a:gd name="T40" fmla="*/ 43 w 63"/>
                  <a:gd name="T41" fmla="*/ 91 h 160"/>
                  <a:gd name="T42" fmla="*/ 45 w 63"/>
                  <a:gd name="T43" fmla="*/ 100 h 160"/>
                  <a:gd name="T44" fmla="*/ 47 w 63"/>
                  <a:gd name="T45" fmla="*/ 109 h 160"/>
                  <a:gd name="T46" fmla="*/ 44 w 63"/>
                  <a:gd name="T47" fmla="*/ 119 h 160"/>
                  <a:gd name="T48" fmla="*/ 42 w 63"/>
                  <a:gd name="T49" fmla="*/ 125 h 160"/>
                  <a:gd name="T50" fmla="*/ 35 w 63"/>
                  <a:gd name="T51" fmla="*/ 128 h 160"/>
                  <a:gd name="T52" fmla="*/ 31 w 63"/>
                  <a:gd name="T53" fmla="*/ 130 h 160"/>
                  <a:gd name="T54" fmla="*/ 24 w 63"/>
                  <a:gd name="T55" fmla="*/ 133 h 160"/>
                  <a:gd name="T56" fmla="*/ 17 w 63"/>
                  <a:gd name="T57" fmla="*/ 139 h 160"/>
                  <a:gd name="T58" fmla="*/ 21 w 63"/>
                  <a:gd name="T59" fmla="*/ 152 h 160"/>
                  <a:gd name="T60" fmla="*/ 23 w 63"/>
                  <a:gd name="T61" fmla="*/ 156 h 160"/>
                  <a:gd name="T62" fmla="*/ 27 w 63"/>
                  <a:gd name="T63" fmla="*/ 154 h 160"/>
                  <a:gd name="T64" fmla="*/ 29 w 63"/>
                  <a:gd name="T65" fmla="*/ 147 h 160"/>
                  <a:gd name="T66" fmla="*/ 32 w 63"/>
                  <a:gd name="T67" fmla="*/ 149 h 160"/>
                  <a:gd name="T68" fmla="*/ 34 w 63"/>
                  <a:gd name="T69" fmla="*/ 147 h 160"/>
                  <a:gd name="T70" fmla="*/ 35 w 63"/>
                  <a:gd name="T71" fmla="*/ 146 h 160"/>
                  <a:gd name="T72" fmla="*/ 30 w 63"/>
                  <a:gd name="T73" fmla="*/ 141 h 160"/>
                  <a:gd name="T74" fmla="*/ 38 w 63"/>
                  <a:gd name="T75" fmla="*/ 141 h 160"/>
                  <a:gd name="T76" fmla="*/ 41 w 63"/>
                  <a:gd name="T77" fmla="*/ 141 h 160"/>
                  <a:gd name="T78" fmla="*/ 44 w 63"/>
                  <a:gd name="T79" fmla="*/ 140 h 160"/>
                  <a:gd name="T80" fmla="*/ 50 w 63"/>
                  <a:gd name="T81" fmla="*/ 135 h 160"/>
                  <a:gd name="T82" fmla="*/ 59 w 63"/>
                  <a:gd name="T83" fmla="*/ 125 h 160"/>
                  <a:gd name="T84" fmla="*/ 60 w 63"/>
                  <a:gd name="T85" fmla="*/ 116 h 160"/>
                  <a:gd name="T86" fmla="*/ 62 w 63"/>
                  <a:gd name="T87" fmla="*/ 112 h 160"/>
                  <a:gd name="T88" fmla="*/ 59 w 63"/>
                  <a:gd name="T89" fmla="*/ 106 h 160"/>
                  <a:gd name="T90" fmla="*/ 57 w 63"/>
                  <a:gd name="T91" fmla="*/ 98 h 160"/>
                  <a:gd name="T92" fmla="*/ 56 w 63"/>
                  <a:gd name="T93" fmla="*/ 94 h 160"/>
                  <a:gd name="T94" fmla="*/ 50 w 63"/>
                  <a:gd name="T95" fmla="*/ 83 h 160"/>
                  <a:gd name="T96" fmla="*/ 45 w 63"/>
                  <a:gd name="T97" fmla="*/ 75 h 160"/>
                  <a:gd name="T98" fmla="*/ 42 w 63"/>
                  <a:gd name="T99" fmla="*/ 67 h 160"/>
                  <a:gd name="T100" fmla="*/ 33 w 63"/>
                  <a:gd name="T101" fmla="*/ 58 h 160"/>
                  <a:gd name="T102" fmla="*/ 28 w 63"/>
                  <a:gd name="T103" fmla="*/ 44 h 160"/>
                  <a:gd name="T104" fmla="*/ 33 w 63"/>
                  <a:gd name="T105" fmla="*/ 35 h 160"/>
                  <a:gd name="T106" fmla="*/ 39 w 63"/>
                  <a:gd name="T107" fmla="*/ 25 h 160"/>
                  <a:gd name="T108" fmla="*/ 46 w 63"/>
                  <a:gd name="T109" fmla="*/ 20 h 160"/>
                  <a:gd name="T110" fmla="*/ 50 w 63"/>
                  <a:gd name="T111" fmla="*/ 18 h 160"/>
                  <a:gd name="T112" fmla="*/ 25 w 63"/>
                  <a:gd name="T113" fmla="*/ 1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160">
                    <a:moveTo>
                      <a:pt x="50" y="18"/>
                    </a:moveTo>
                    <a:cubicBezTo>
                      <a:pt x="46" y="16"/>
                      <a:pt x="46" y="16"/>
                      <a:pt x="46" y="16"/>
                    </a:cubicBezTo>
                    <a:cubicBezTo>
                      <a:pt x="43" y="17"/>
                      <a:pt x="43" y="17"/>
                      <a:pt x="43" y="17"/>
                    </a:cubicBezTo>
                    <a:cubicBezTo>
                      <a:pt x="39" y="15"/>
                      <a:pt x="39" y="15"/>
                      <a:pt x="39" y="15"/>
                    </a:cubicBezTo>
                    <a:cubicBezTo>
                      <a:pt x="37" y="13"/>
                      <a:pt x="37" y="13"/>
                      <a:pt x="37" y="13"/>
                    </a:cubicBezTo>
                    <a:cubicBezTo>
                      <a:pt x="35" y="9"/>
                      <a:pt x="35" y="9"/>
                      <a:pt x="35" y="9"/>
                    </a:cubicBezTo>
                    <a:cubicBezTo>
                      <a:pt x="35" y="4"/>
                      <a:pt x="35" y="4"/>
                      <a:pt x="35" y="4"/>
                    </a:cubicBezTo>
                    <a:cubicBezTo>
                      <a:pt x="32" y="3"/>
                      <a:pt x="32" y="3"/>
                      <a:pt x="32" y="3"/>
                    </a:cubicBezTo>
                    <a:cubicBezTo>
                      <a:pt x="29" y="1"/>
                      <a:pt x="29" y="1"/>
                      <a:pt x="29" y="1"/>
                    </a:cubicBezTo>
                    <a:cubicBezTo>
                      <a:pt x="26" y="0"/>
                      <a:pt x="26" y="0"/>
                      <a:pt x="26" y="0"/>
                    </a:cubicBezTo>
                    <a:cubicBezTo>
                      <a:pt x="21" y="4"/>
                      <a:pt x="21" y="4"/>
                      <a:pt x="21" y="4"/>
                    </a:cubicBezTo>
                    <a:cubicBezTo>
                      <a:pt x="16" y="4"/>
                      <a:pt x="16" y="4"/>
                      <a:pt x="16" y="4"/>
                    </a:cubicBezTo>
                    <a:cubicBezTo>
                      <a:pt x="10" y="6"/>
                      <a:pt x="10" y="6"/>
                      <a:pt x="10" y="6"/>
                    </a:cubicBezTo>
                    <a:cubicBezTo>
                      <a:pt x="5" y="3"/>
                      <a:pt x="5" y="3"/>
                      <a:pt x="5" y="3"/>
                    </a:cubicBezTo>
                    <a:cubicBezTo>
                      <a:pt x="0" y="6"/>
                      <a:pt x="0" y="6"/>
                      <a:pt x="0" y="6"/>
                    </a:cubicBezTo>
                    <a:cubicBezTo>
                      <a:pt x="4" y="13"/>
                      <a:pt x="4" y="13"/>
                      <a:pt x="4" y="13"/>
                    </a:cubicBezTo>
                    <a:cubicBezTo>
                      <a:pt x="3" y="16"/>
                      <a:pt x="3" y="16"/>
                      <a:pt x="3" y="16"/>
                    </a:cubicBezTo>
                    <a:cubicBezTo>
                      <a:pt x="6" y="19"/>
                      <a:pt x="6" y="19"/>
                      <a:pt x="6" y="19"/>
                    </a:cubicBezTo>
                    <a:cubicBezTo>
                      <a:pt x="9" y="21"/>
                      <a:pt x="9" y="21"/>
                      <a:pt x="9" y="21"/>
                    </a:cubicBezTo>
                    <a:cubicBezTo>
                      <a:pt x="10" y="23"/>
                      <a:pt x="10" y="23"/>
                      <a:pt x="10" y="23"/>
                    </a:cubicBezTo>
                    <a:cubicBezTo>
                      <a:pt x="14" y="24"/>
                      <a:pt x="14" y="24"/>
                      <a:pt x="14" y="24"/>
                    </a:cubicBezTo>
                    <a:cubicBezTo>
                      <a:pt x="17" y="22"/>
                      <a:pt x="17" y="22"/>
                      <a:pt x="17" y="22"/>
                    </a:cubicBezTo>
                    <a:cubicBezTo>
                      <a:pt x="20" y="24"/>
                      <a:pt x="20" y="24"/>
                      <a:pt x="20" y="24"/>
                    </a:cubicBezTo>
                    <a:cubicBezTo>
                      <a:pt x="24" y="26"/>
                      <a:pt x="24" y="26"/>
                      <a:pt x="24" y="26"/>
                    </a:cubicBezTo>
                    <a:cubicBezTo>
                      <a:pt x="24" y="31"/>
                      <a:pt x="24" y="31"/>
                      <a:pt x="24" y="31"/>
                    </a:cubicBezTo>
                    <a:cubicBezTo>
                      <a:pt x="21" y="33"/>
                      <a:pt x="21" y="33"/>
                      <a:pt x="21" y="33"/>
                    </a:cubicBezTo>
                    <a:cubicBezTo>
                      <a:pt x="18" y="35"/>
                      <a:pt x="18" y="35"/>
                      <a:pt x="18" y="35"/>
                    </a:cubicBezTo>
                    <a:cubicBezTo>
                      <a:pt x="16" y="37"/>
                      <a:pt x="16" y="37"/>
                      <a:pt x="16" y="37"/>
                    </a:cubicBezTo>
                    <a:cubicBezTo>
                      <a:pt x="15" y="41"/>
                      <a:pt x="15" y="41"/>
                      <a:pt x="15" y="41"/>
                    </a:cubicBezTo>
                    <a:cubicBezTo>
                      <a:pt x="20" y="44"/>
                      <a:pt x="20" y="44"/>
                      <a:pt x="20" y="44"/>
                    </a:cubicBezTo>
                    <a:cubicBezTo>
                      <a:pt x="22" y="51"/>
                      <a:pt x="22" y="51"/>
                      <a:pt x="22" y="51"/>
                    </a:cubicBezTo>
                    <a:cubicBezTo>
                      <a:pt x="26" y="56"/>
                      <a:pt x="26" y="56"/>
                      <a:pt x="26" y="56"/>
                    </a:cubicBezTo>
                    <a:cubicBezTo>
                      <a:pt x="28" y="58"/>
                      <a:pt x="28" y="58"/>
                      <a:pt x="28" y="58"/>
                    </a:cubicBezTo>
                    <a:cubicBezTo>
                      <a:pt x="29" y="61"/>
                      <a:pt x="29" y="61"/>
                      <a:pt x="29" y="61"/>
                    </a:cubicBezTo>
                    <a:cubicBezTo>
                      <a:pt x="32" y="65"/>
                      <a:pt x="32" y="65"/>
                      <a:pt x="32" y="65"/>
                    </a:cubicBezTo>
                    <a:cubicBezTo>
                      <a:pt x="36" y="68"/>
                      <a:pt x="36" y="68"/>
                      <a:pt x="36" y="68"/>
                    </a:cubicBezTo>
                    <a:cubicBezTo>
                      <a:pt x="37" y="71"/>
                      <a:pt x="37" y="71"/>
                      <a:pt x="37" y="71"/>
                    </a:cubicBezTo>
                    <a:cubicBezTo>
                      <a:pt x="39" y="76"/>
                      <a:pt x="39" y="76"/>
                      <a:pt x="39" y="76"/>
                    </a:cubicBezTo>
                    <a:cubicBezTo>
                      <a:pt x="42" y="78"/>
                      <a:pt x="42" y="78"/>
                      <a:pt x="42" y="78"/>
                    </a:cubicBezTo>
                    <a:cubicBezTo>
                      <a:pt x="43" y="82"/>
                      <a:pt x="43" y="82"/>
                      <a:pt x="43" y="82"/>
                    </a:cubicBezTo>
                    <a:cubicBezTo>
                      <a:pt x="44" y="88"/>
                      <a:pt x="44" y="88"/>
                      <a:pt x="44" y="88"/>
                    </a:cubicBezTo>
                    <a:cubicBezTo>
                      <a:pt x="43" y="91"/>
                      <a:pt x="43" y="91"/>
                      <a:pt x="43" y="91"/>
                    </a:cubicBezTo>
                    <a:cubicBezTo>
                      <a:pt x="43" y="96"/>
                      <a:pt x="43" y="96"/>
                      <a:pt x="43" y="96"/>
                    </a:cubicBezTo>
                    <a:cubicBezTo>
                      <a:pt x="45" y="100"/>
                      <a:pt x="45" y="100"/>
                      <a:pt x="45" y="100"/>
                    </a:cubicBezTo>
                    <a:cubicBezTo>
                      <a:pt x="46" y="105"/>
                      <a:pt x="46" y="105"/>
                      <a:pt x="46" y="105"/>
                    </a:cubicBezTo>
                    <a:cubicBezTo>
                      <a:pt x="47" y="109"/>
                      <a:pt x="47" y="109"/>
                      <a:pt x="47" y="109"/>
                    </a:cubicBezTo>
                    <a:cubicBezTo>
                      <a:pt x="45" y="114"/>
                      <a:pt x="45" y="114"/>
                      <a:pt x="45" y="114"/>
                    </a:cubicBezTo>
                    <a:cubicBezTo>
                      <a:pt x="44" y="119"/>
                      <a:pt x="44" y="119"/>
                      <a:pt x="44" y="119"/>
                    </a:cubicBezTo>
                    <a:cubicBezTo>
                      <a:pt x="44" y="123"/>
                      <a:pt x="44" y="123"/>
                      <a:pt x="44" y="123"/>
                    </a:cubicBezTo>
                    <a:cubicBezTo>
                      <a:pt x="42" y="125"/>
                      <a:pt x="42" y="125"/>
                      <a:pt x="42" y="125"/>
                    </a:cubicBezTo>
                    <a:cubicBezTo>
                      <a:pt x="37" y="127"/>
                      <a:pt x="37" y="127"/>
                      <a:pt x="37" y="127"/>
                    </a:cubicBezTo>
                    <a:cubicBezTo>
                      <a:pt x="35" y="128"/>
                      <a:pt x="35" y="128"/>
                      <a:pt x="35" y="128"/>
                    </a:cubicBezTo>
                    <a:cubicBezTo>
                      <a:pt x="34" y="132"/>
                      <a:pt x="34" y="132"/>
                      <a:pt x="34" y="132"/>
                    </a:cubicBezTo>
                    <a:cubicBezTo>
                      <a:pt x="31" y="130"/>
                      <a:pt x="31" y="130"/>
                      <a:pt x="31" y="130"/>
                    </a:cubicBezTo>
                    <a:cubicBezTo>
                      <a:pt x="25" y="131"/>
                      <a:pt x="25" y="131"/>
                      <a:pt x="25" y="131"/>
                    </a:cubicBezTo>
                    <a:cubicBezTo>
                      <a:pt x="24" y="133"/>
                      <a:pt x="24" y="133"/>
                      <a:pt x="24" y="133"/>
                    </a:cubicBezTo>
                    <a:cubicBezTo>
                      <a:pt x="21" y="134"/>
                      <a:pt x="21" y="134"/>
                      <a:pt x="21" y="134"/>
                    </a:cubicBezTo>
                    <a:cubicBezTo>
                      <a:pt x="17" y="139"/>
                      <a:pt x="17" y="139"/>
                      <a:pt x="17" y="139"/>
                    </a:cubicBezTo>
                    <a:cubicBezTo>
                      <a:pt x="19" y="140"/>
                      <a:pt x="19" y="141"/>
                      <a:pt x="21" y="143"/>
                    </a:cubicBezTo>
                    <a:cubicBezTo>
                      <a:pt x="21" y="141"/>
                      <a:pt x="20" y="154"/>
                      <a:pt x="21" y="152"/>
                    </a:cubicBezTo>
                    <a:cubicBezTo>
                      <a:pt x="21" y="153"/>
                      <a:pt x="21" y="155"/>
                      <a:pt x="21" y="155"/>
                    </a:cubicBezTo>
                    <a:cubicBezTo>
                      <a:pt x="23" y="156"/>
                      <a:pt x="23" y="156"/>
                      <a:pt x="23" y="156"/>
                    </a:cubicBezTo>
                    <a:cubicBezTo>
                      <a:pt x="23" y="157"/>
                      <a:pt x="20" y="160"/>
                      <a:pt x="23" y="159"/>
                    </a:cubicBezTo>
                    <a:cubicBezTo>
                      <a:pt x="26" y="159"/>
                      <a:pt x="26" y="155"/>
                      <a:pt x="27" y="154"/>
                    </a:cubicBezTo>
                    <a:cubicBezTo>
                      <a:pt x="28" y="153"/>
                      <a:pt x="30" y="154"/>
                      <a:pt x="30" y="153"/>
                    </a:cubicBezTo>
                    <a:cubicBezTo>
                      <a:pt x="30" y="151"/>
                      <a:pt x="30" y="150"/>
                      <a:pt x="29" y="147"/>
                    </a:cubicBezTo>
                    <a:cubicBezTo>
                      <a:pt x="29" y="146"/>
                      <a:pt x="26" y="141"/>
                      <a:pt x="28" y="143"/>
                    </a:cubicBezTo>
                    <a:cubicBezTo>
                      <a:pt x="30" y="145"/>
                      <a:pt x="31" y="147"/>
                      <a:pt x="32" y="149"/>
                    </a:cubicBezTo>
                    <a:cubicBezTo>
                      <a:pt x="33" y="149"/>
                      <a:pt x="34" y="149"/>
                      <a:pt x="34" y="149"/>
                    </a:cubicBezTo>
                    <a:cubicBezTo>
                      <a:pt x="34" y="147"/>
                      <a:pt x="34" y="147"/>
                      <a:pt x="34" y="147"/>
                    </a:cubicBezTo>
                    <a:cubicBezTo>
                      <a:pt x="35" y="147"/>
                      <a:pt x="35" y="147"/>
                      <a:pt x="35" y="147"/>
                    </a:cubicBezTo>
                    <a:cubicBezTo>
                      <a:pt x="35" y="146"/>
                      <a:pt x="35" y="146"/>
                      <a:pt x="35" y="146"/>
                    </a:cubicBezTo>
                    <a:cubicBezTo>
                      <a:pt x="35" y="145"/>
                      <a:pt x="31" y="144"/>
                      <a:pt x="30" y="143"/>
                    </a:cubicBezTo>
                    <a:cubicBezTo>
                      <a:pt x="30" y="141"/>
                      <a:pt x="30" y="141"/>
                      <a:pt x="30" y="141"/>
                    </a:cubicBezTo>
                    <a:cubicBezTo>
                      <a:pt x="30" y="141"/>
                      <a:pt x="28" y="139"/>
                      <a:pt x="28" y="139"/>
                    </a:cubicBezTo>
                    <a:cubicBezTo>
                      <a:pt x="31" y="141"/>
                      <a:pt x="34" y="142"/>
                      <a:pt x="38" y="141"/>
                    </a:cubicBezTo>
                    <a:cubicBezTo>
                      <a:pt x="38" y="140"/>
                      <a:pt x="38" y="140"/>
                      <a:pt x="38" y="140"/>
                    </a:cubicBezTo>
                    <a:cubicBezTo>
                      <a:pt x="39" y="140"/>
                      <a:pt x="40" y="141"/>
                      <a:pt x="41" y="141"/>
                    </a:cubicBezTo>
                    <a:cubicBezTo>
                      <a:pt x="41" y="141"/>
                      <a:pt x="40" y="139"/>
                      <a:pt x="40" y="139"/>
                    </a:cubicBezTo>
                    <a:cubicBezTo>
                      <a:pt x="42" y="139"/>
                      <a:pt x="43" y="140"/>
                      <a:pt x="44" y="140"/>
                    </a:cubicBezTo>
                    <a:cubicBezTo>
                      <a:pt x="45" y="140"/>
                      <a:pt x="46" y="137"/>
                      <a:pt x="47" y="136"/>
                    </a:cubicBezTo>
                    <a:cubicBezTo>
                      <a:pt x="48" y="135"/>
                      <a:pt x="49" y="136"/>
                      <a:pt x="50" y="135"/>
                    </a:cubicBezTo>
                    <a:cubicBezTo>
                      <a:pt x="52" y="135"/>
                      <a:pt x="58" y="129"/>
                      <a:pt x="58" y="128"/>
                    </a:cubicBezTo>
                    <a:cubicBezTo>
                      <a:pt x="59" y="127"/>
                      <a:pt x="58" y="126"/>
                      <a:pt x="59" y="125"/>
                    </a:cubicBezTo>
                    <a:cubicBezTo>
                      <a:pt x="59" y="125"/>
                      <a:pt x="61" y="124"/>
                      <a:pt x="61" y="124"/>
                    </a:cubicBezTo>
                    <a:cubicBezTo>
                      <a:pt x="62" y="120"/>
                      <a:pt x="59" y="119"/>
                      <a:pt x="60" y="116"/>
                    </a:cubicBezTo>
                    <a:cubicBezTo>
                      <a:pt x="60" y="116"/>
                      <a:pt x="62" y="115"/>
                      <a:pt x="62" y="115"/>
                    </a:cubicBezTo>
                    <a:cubicBezTo>
                      <a:pt x="62" y="114"/>
                      <a:pt x="63" y="113"/>
                      <a:pt x="62" y="112"/>
                    </a:cubicBezTo>
                    <a:cubicBezTo>
                      <a:pt x="61" y="112"/>
                      <a:pt x="61" y="112"/>
                      <a:pt x="61" y="112"/>
                    </a:cubicBezTo>
                    <a:cubicBezTo>
                      <a:pt x="60" y="110"/>
                      <a:pt x="59" y="107"/>
                      <a:pt x="59" y="106"/>
                    </a:cubicBezTo>
                    <a:cubicBezTo>
                      <a:pt x="59" y="104"/>
                      <a:pt x="59" y="101"/>
                      <a:pt x="59" y="100"/>
                    </a:cubicBezTo>
                    <a:cubicBezTo>
                      <a:pt x="59" y="99"/>
                      <a:pt x="57" y="98"/>
                      <a:pt x="57" y="98"/>
                    </a:cubicBezTo>
                    <a:cubicBezTo>
                      <a:pt x="57" y="97"/>
                      <a:pt x="57" y="95"/>
                      <a:pt x="57" y="94"/>
                    </a:cubicBezTo>
                    <a:cubicBezTo>
                      <a:pt x="57" y="94"/>
                      <a:pt x="56" y="94"/>
                      <a:pt x="56" y="94"/>
                    </a:cubicBezTo>
                    <a:cubicBezTo>
                      <a:pt x="55" y="92"/>
                      <a:pt x="56" y="90"/>
                      <a:pt x="56" y="88"/>
                    </a:cubicBezTo>
                    <a:cubicBezTo>
                      <a:pt x="56" y="88"/>
                      <a:pt x="51" y="84"/>
                      <a:pt x="50" y="83"/>
                    </a:cubicBezTo>
                    <a:cubicBezTo>
                      <a:pt x="50" y="81"/>
                      <a:pt x="51" y="79"/>
                      <a:pt x="50" y="78"/>
                    </a:cubicBezTo>
                    <a:cubicBezTo>
                      <a:pt x="49" y="77"/>
                      <a:pt x="46" y="76"/>
                      <a:pt x="45" y="75"/>
                    </a:cubicBezTo>
                    <a:cubicBezTo>
                      <a:pt x="45" y="75"/>
                      <a:pt x="42" y="69"/>
                      <a:pt x="42" y="69"/>
                    </a:cubicBezTo>
                    <a:cubicBezTo>
                      <a:pt x="42" y="69"/>
                      <a:pt x="42" y="67"/>
                      <a:pt x="42" y="67"/>
                    </a:cubicBezTo>
                    <a:cubicBezTo>
                      <a:pt x="40" y="65"/>
                      <a:pt x="35" y="64"/>
                      <a:pt x="34" y="61"/>
                    </a:cubicBezTo>
                    <a:cubicBezTo>
                      <a:pt x="33" y="60"/>
                      <a:pt x="34" y="59"/>
                      <a:pt x="33" y="58"/>
                    </a:cubicBezTo>
                    <a:cubicBezTo>
                      <a:pt x="31" y="55"/>
                      <a:pt x="26" y="51"/>
                      <a:pt x="27" y="46"/>
                    </a:cubicBezTo>
                    <a:cubicBezTo>
                      <a:pt x="28" y="44"/>
                      <a:pt x="28" y="44"/>
                      <a:pt x="28" y="44"/>
                    </a:cubicBezTo>
                    <a:cubicBezTo>
                      <a:pt x="29" y="42"/>
                      <a:pt x="28" y="39"/>
                      <a:pt x="28" y="38"/>
                    </a:cubicBezTo>
                    <a:cubicBezTo>
                      <a:pt x="29" y="36"/>
                      <a:pt x="32" y="36"/>
                      <a:pt x="33" y="35"/>
                    </a:cubicBezTo>
                    <a:cubicBezTo>
                      <a:pt x="39" y="27"/>
                      <a:pt x="39" y="27"/>
                      <a:pt x="39" y="27"/>
                    </a:cubicBezTo>
                    <a:cubicBezTo>
                      <a:pt x="39" y="27"/>
                      <a:pt x="39" y="25"/>
                      <a:pt x="39" y="25"/>
                    </a:cubicBezTo>
                    <a:cubicBezTo>
                      <a:pt x="40" y="24"/>
                      <a:pt x="42" y="25"/>
                      <a:pt x="44" y="24"/>
                    </a:cubicBezTo>
                    <a:cubicBezTo>
                      <a:pt x="45" y="23"/>
                      <a:pt x="45" y="21"/>
                      <a:pt x="46" y="20"/>
                    </a:cubicBezTo>
                    <a:cubicBezTo>
                      <a:pt x="47" y="20"/>
                      <a:pt x="49" y="20"/>
                      <a:pt x="50" y="19"/>
                    </a:cubicBezTo>
                    <a:cubicBezTo>
                      <a:pt x="50" y="19"/>
                      <a:pt x="50" y="19"/>
                      <a:pt x="50" y="18"/>
                    </a:cubicBezTo>
                    <a:close/>
                    <a:moveTo>
                      <a:pt x="25" y="135"/>
                    </a:moveTo>
                    <a:cubicBezTo>
                      <a:pt x="27" y="136"/>
                      <a:pt x="28" y="140"/>
                      <a:pt x="25" y="139"/>
                    </a:cubicBezTo>
                    <a:cubicBezTo>
                      <a:pt x="24" y="139"/>
                      <a:pt x="23" y="135"/>
                      <a:pt x="25" y="13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40" name="Freeform 19">
                <a:extLst>
                  <a:ext uri="{FF2B5EF4-FFF2-40B4-BE49-F238E27FC236}">
                    <a16:creationId xmlns:a16="http://schemas.microsoft.com/office/drawing/2014/main" id="{5AF47B69-2EC8-C988-CE76-CFDD75ACCB7E}"/>
                  </a:ext>
                </a:extLst>
              </p:cNvPr>
              <p:cNvSpPr>
                <a:spLocks noEditPoints="1"/>
              </p:cNvSpPr>
              <p:nvPr/>
            </p:nvSpPr>
            <p:spPr bwMode="auto">
              <a:xfrm>
                <a:off x="1864" y="1999"/>
                <a:ext cx="234" cy="248"/>
              </a:xfrm>
              <a:custGeom>
                <a:avLst/>
                <a:gdLst>
                  <a:gd name="T0" fmla="*/ 115 w 119"/>
                  <a:gd name="T1" fmla="*/ 33 h 126"/>
                  <a:gd name="T2" fmla="*/ 10 w 119"/>
                  <a:gd name="T3" fmla="*/ 11 h 126"/>
                  <a:gd name="T4" fmla="*/ 3 w 119"/>
                  <a:gd name="T5" fmla="*/ 27 h 126"/>
                  <a:gd name="T6" fmla="*/ 6 w 119"/>
                  <a:gd name="T7" fmla="*/ 37 h 126"/>
                  <a:gd name="T8" fmla="*/ 12 w 119"/>
                  <a:gd name="T9" fmla="*/ 54 h 126"/>
                  <a:gd name="T10" fmla="*/ 27 w 119"/>
                  <a:gd name="T11" fmla="*/ 60 h 126"/>
                  <a:gd name="T12" fmla="*/ 43 w 119"/>
                  <a:gd name="T13" fmla="*/ 68 h 126"/>
                  <a:gd name="T14" fmla="*/ 46 w 119"/>
                  <a:gd name="T15" fmla="*/ 79 h 126"/>
                  <a:gd name="T16" fmla="*/ 64 w 119"/>
                  <a:gd name="T17" fmla="*/ 97 h 126"/>
                  <a:gd name="T18" fmla="*/ 59 w 119"/>
                  <a:gd name="T19" fmla="*/ 111 h 126"/>
                  <a:gd name="T20" fmla="*/ 63 w 119"/>
                  <a:gd name="T21" fmla="*/ 123 h 126"/>
                  <a:gd name="T22" fmla="*/ 78 w 119"/>
                  <a:gd name="T23" fmla="*/ 119 h 126"/>
                  <a:gd name="T24" fmla="*/ 90 w 119"/>
                  <a:gd name="T25" fmla="*/ 110 h 126"/>
                  <a:gd name="T26" fmla="*/ 77 w 119"/>
                  <a:gd name="T27" fmla="*/ 105 h 126"/>
                  <a:gd name="T28" fmla="*/ 74 w 119"/>
                  <a:gd name="T29" fmla="*/ 88 h 126"/>
                  <a:gd name="T30" fmla="*/ 87 w 119"/>
                  <a:gd name="T31" fmla="*/ 90 h 126"/>
                  <a:gd name="T32" fmla="*/ 94 w 119"/>
                  <a:gd name="T33" fmla="*/ 88 h 126"/>
                  <a:gd name="T34" fmla="*/ 107 w 119"/>
                  <a:gd name="T35" fmla="*/ 82 h 126"/>
                  <a:gd name="T36" fmla="*/ 112 w 119"/>
                  <a:gd name="T37" fmla="*/ 76 h 126"/>
                  <a:gd name="T38" fmla="*/ 108 w 119"/>
                  <a:gd name="T39" fmla="*/ 59 h 126"/>
                  <a:gd name="T40" fmla="*/ 110 w 119"/>
                  <a:gd name="T41" fmla="*/ 49 h 126"/>
                  <a:gd name="T42" fmla="*/ 118 w 119"/>
                  <a:gd name="T43" fmla="*/ 42 h 126"/>
                  <a:gd name="T44" fmla="*/ 113 w 119"/>
                  <a:gd name="T45" fmla="*/ 37 h 126"/>
                  <a:gd name="T46" fmla="*/ 99 w 119"/>
                  <a:gd name="T47" fmla="*/ 40 h 126"/>
                  <a:gd name="T48" fmla="*/ 110 w 119"/>
                  <a:gd name="T49" fmla="*/ 31 h 126"/>
                  <a:gd name="T50" fmla="*/ 111 w 119"/>
                  <a:gd name="T51" fmla="*/ 25 h 126"/>
                  <a:gd name="T52" fmla="*/ 104 w 119"/>
                  <a:gd name="T53" fmla="*/ 25 h 126"/>
                  <a:gd name="T54" fmla="*/ 99 w 119"/>
                  <a:gd name="T55" fmla="*/ 25 h 126"/>
                  <a:gd name="T56" fmla="*/ 101 w 119"/>
                  <a:gd name="T57" fmla="*/ 15 h 126"/>
                  <a:gd name="T58" fmla="*/ 85 w 119"/>
                  <a:gd name="T59" fmla="*/ 17 h 126"/>
                  <a:gd name="T60" fmla="*/ 81 w 119"/>
                  <a:gd name="T61" fmla="*/ 20 h 126"/>
                  <a:gd name="T62" fmla="*/ 63 w 119"/>
                  <a:gd name="T63" fmla="*/ 16 h 126"/>
                  <a:gd name="T64" fmla="*/ 50 w 119"/>
                  <a:gd name="T65" fmla="*/ 14 h 126"/>
                  <a:gd name="T66" fmla="*/ 44 w 119"/>
                  <a:gd name="T67" fmla="*/ 7 h 126"/>
                  <a:gd name="T68" fmla="*/ 31 w 119"/>
                  <a:gd name="T69" fmla="*/ 1 h 126"/>
                  <a:gd name="T70" fmla="*/ 36 w 119"/>
                  <a:gd name="T71" fmla="*/ 8 h 126"/>
                  <a:gd name="T72" fmla="*/ 24 w 119"/>
                  <a:gd name="T73" fmla="*/ 20 h 126"/>
                  <a:gd name="T74" fmla="*/ 27 w 119"/>
                  <a:gd name="T75" fmla="*/ 30 h 126"/>
                  <a:gd name="T76" fmla="*/ 19 w 119"/>
                  <a:gd name="T77" fmla="*/ 31 h 126"/>
                  <a:gd name="T78" fmla="*/ 21 w 119"/>
                  <a:gd name="T79" fmla="*/ 15 h 126"/>
                  <a:gd name="T80" fmla="*/ 18 w 119"/>
                  <a:gd name="T81" fmla="*/ 10 h 126"/>
                  <a:gd name="T82" fmla="*/ 19 w 119"/>
                  <a:gd name="T83" fmla="*/ 6 h 126"/>
                  <a:gd name="T84" fmla="*/ 88 w 119"/>
                  <a:gd name="T85" fmla="*/ 1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 h="126">
                    <a:moveTo>
                      <a:pt x="115" y="33"/>
                    </a:moveTo>
                    <a:cubicBezTo>
                      <a:pt x="115" y="35"/>
                      <a:pt x="115" y="35"/>
                      <a:pt x="115" y="35"/>
                    </a:cubicBezTo>
                    <a:cubicBezTo>
                      <a:pt x="119" y="35"/>
                      <a:pt x="118" y="34"/>
                      <a:pt x="115" y="33"/>
                    </a:cubicBezTo>
                    <a:close/>
                    <a:moveTo>
                      <a:pt x="20" y="4"/>
                    </a:moveTo>
                    <a:cubicBezTo>
                      <a:pt x="18" y="4"/>
                      <a:pt x="15" y="5"/>
                      <a:pt x="15" y="5"/>
                    </a:cubicBezTo>
                    <a:cubicBezTo>
                      <a:pt x="10" y="11"/>
                      <a:pt x="10" y="11"/>
                      <a:pt x="10" y="11"/>
                    </a:cubicBezTo>
                    <a:cubicBezTo>
                      <a:pt x="7" y="20"/>
                      <a:pt x="7" y="20"/>
                      <a:pt x="7" y="20"/>
                    </a:cubicBezTo>
                    <a:cubicBezTo>
                      <a:pt x="3" y="21"/>
                      <a:pt x="3" y="21"/>
                      <a:pt x="3" y="21"/>
                    </a:cubicBezTo>
                    <a:cubicBezTo>
                      <a:pt x="3" y="21"/>
                      <a:pt x="5" y="24"/>
                      <a:pt x="3" y="27"/>
                    </a:cubicBezTo>
                    <a:cubicBezTo>
                      <a:pt x="2" y="30"/>
                      <a:pt x="4" y="30"/>
                      <a:pt x="2" y="34"/>
                    </a:cubicBezTo>
                    <a:cubicBezTo>
                      <a:pt x="0" y="39"/>
                      <a:pt x="3" y="38"/>
                      <a:pt x="3" y="38"/>
                    </a:cubicBezTo>
                    <a:cubicBezTo>
                      <a:pt x="6" y="37"/>
                      <a:pt x="6" y="37"/>
                      <a:pt x="6" y="37"/>
                    </a:cubicBezTo>
                    <a:cubicBezTo>
                      <a:pt x="10" y="45"/>
                      <a:pt x="10" y="45"/>
                      <a:pt x="10" y="45"/>
                    </a:cubicBezTo>
                    <a:cubicBezTo>
                      <a:pt x="10" y="45"/>
                      <a:pt x="8" y="45"/>
                      <a:pt x="8" y="48"/>
                    </a:cubicBezTo>
                    <a:cubicBezTo>
                      <a:pt x="9" y="50"/>
                      <a:pt x="10" y="51"/>
                      <a:pt x="12" y="54"/>
                    </a:cubicBezTo>
                    <a:cubicBezTo>
                      <a:pt x="14" y="56"/>
                      <a:pt x="13" y="59"/>
                      <a:pt x="13" y="59"/>
                    </a:cubicBezTo>
                    <a:cubicBezTo>
                      <a:pt x="19" y="60"/>
                      <a:pt x="19" y="60"/>
                      <a:pt x="19" y="60"/>
                    </a:cubicBezTo>
                    <a:cubicBezTo>
                      <a:pt x="19" y="60"/>
                      <a:pt x="24" y="61"/>
                      <a:pt x="27" y="60"/>
                    </a:cubicBezTo>
                    <a:cubicBezTo>
                      <a:pt x="29" y="59"/>
                      <a:pt x="31" y="60"/>
                      <a:pt x="32" y="62"/>
                    </a:cubicBezTo>
                    <a:cubicBezTo>
                      <a:pt x="33" y="64"/>
                      <a:pt x="36" y="69"/>
                      <a:pt x="36" y="69"/>
                    </a:cubicBezTo>
                    <a:cubicBezTo>
                      <a:pt x="36" y="69"/>
                      <a:pt x="41" y="68"/>
                      <a:pt x="43" y="68"/>
                    </a:cubicBezTo>
                    <a:cubicBezTo>
                      <a:pt x="45" y="68"/>
                      <a:pt x="49" y="69"/>
                      <a:pt x="49" y="69"/>
                    </a:cubicBezTo>
                    <a:cubicBezTo>
                      <a:pt x="48" y="75"/>
                      <a:pt x="48" y="75"/>
                      <a:pt x="48" y="75"/>
                    </a:cubicBezTo>
                    <a:cubicBezTo>
                      <a:pt x="48" y="75"/>
                      <a:pt x="45" y="76"/>
                      <a:pt x="46" y="79"/>
                    </a:cubicBezTo>
                    <a:cubicBezTo>
                      <a:pt x="47" y="83"/>
                      <a:pt x="51" y="84"/>
                      <a:pt x="51" y="86"/>
                    </a:cubicBezTo>
                    <a:cubicBezTo>
                      <a:pt x="51" y="88"/>
                      <a:pt x="54" y="90"/>
                      <a:pt x="55" y="92"/>
                    </a:cubicBezTo>
                    <a:cubicBezTo>
                      <a:pt x="57" y="93"/>
                      <a:pt x="64" y="97"/>
                      <a:pt x="64" y="97"/>
                    </a:cubicBezTo>
                    <a:cubicBezTo>
                      <a:pt x="64" y="97"/>
                      <a:pt x="62" y="101"/>
                      <a:pt x="62" y="103"/>
                    </a:cubicBezTo>
                    <a:cubicBezTo>
                      <a:pt x="61" y="105"/>
                      <a:pt x="58" y="108"/>
                      <a:pt x="58" y="108"/>
                    </a:cubicBezTo>
                    <a:cubicBezTo>
                      <a:pt x="58" y="108"/>
                      <a:pt x="57" y="113"/>
                      <a:pt x="59" y="111"/>
                    </a:cubicBezTo>
                    <a:cubicBezTo>
                      <a:pt x="62" y="110"/>
                      <a:pt x="61" y="112"/>
                      <a:pt x="61" y="114"/>
                    </a:cubicBezTo>
                    <a:cubicBezTo>
                      <a:pt x="62" y="116"/>
                      <a:pt x="63" y="118"/>
                      <a:pt x="63" y="118"/>
                    </a:cubicBezTo>
                    <a:cubicBezTo>
                      <a:pt x="63" y="123"/>
                      <a:pt x="63" y="123"/>
                      <a:pt x="63" y="123"/>
                    </a:cubicBezTo>
                    <a:cubicBezTo>
                      <a:pt x="67" y="126"/>
                      <a:pt x="67" y="126"/>
                      <a:pt x="67" y="126"/>
                    </a:cubicBezTo>
                    <a:cubicBezTo>
                      <a:pt x="67" y="126"/>
                      <a:pt x="70" y="123"/>
                      <a:pt x="73" y="123"/>
                    </a:cubicBezTo>
                    <a:cubicBezTo>
                      <a:pt x="75" y="123"/>
                      <a:pt x="76" y="119"/>
                      <a:pt x="78" y="119"/>
                    </a:cubicBezTo>
                    <a:cubicBezTo>
                      <a:pt x="80" y="119"/>
                      <a:pt x="80" y="117"/>
                      <a:pt x="82" y="117"/>
                    </a:cubicBezTo>
                    <a:cubicBezTo>
                      <a:pt x="84" y="117"/>
                      <a:pt x="85" y="111"/>
                      <a:pt x="87" y="111"/>
                    </a:cubicBezTo>
                    <a:cubicBezTo>
                      <a:pt x="89" y="111"/>
                      <a:pt x="90" y="110"/>
                      <a:pt x="90" y="110"/>
                    </a:cubicBezTo>
                    <a:cubicBezTo>
                      <a:pt x="90" y="110"/>
                      <a:pt x="89" y="106"/>
                      <a:pt x="87" y="107"/>
                    </a:cubicBezTo>
                    <a:cubicBezTo>
                      <a:pt x="85" y="108"/>
                      <a:pt x="82" y="109"/>
                      <a:pt x="81" y="108"/>
                    </a:cubicBezTo>
                    <a:cubicBezTo>
                      <a:pt x="79" y="107"/>
                      <a:pt x="78" y="107"/>
                      <a:pt x="77" y="105"/>
                    </a:cubicBezTo>
                    <a:cubicBezTo>
                      <a:pt x="77" y="103"/>
                      <a:pt x="79" y="99"/>
                      <a:pt x="78" y="97"/>
                    </a:cubicBezTo>
                    <a:cubicBezTo>
                      <a:pt x="78" y="96"/>
                      <a:pt x="78" y="95"/>
                      <a:pt x="76" y="93"/>
                    </a:cubicBezTo>
                    <a:cubicBezTo>
                      <a:pt x="74" y="91"/>
                      <a:pt x="76" y="89"/>
                      <a:pt x="74" y="88"/>
                    </a:cubicBezTo>
                    <a:cubicBezTo>
                      <a:pt x="72" y="87"/>
                      <a:pt x="72" y="86"/>
                      <a:pt x="75" y="87"/>
                    </a:cubicBezTo>
                    <a:cubicBezTo>
                      <a:pt x="79" y="87"/>
                      <a:pt x="81" y="89"/>
                      <a:pt x="81" y="89"/>
                    </a:cubicBezTo>
                    <a:cubicBezTo>
                      <a:pt x="81" y="89"/>
                      <a:pt x="86" y="89"/>
                      <a:pt x="87" y="90"/>
                    </a:cubicBezTo>
                    <a:cubicBezTo>
                      <a:pt x="88" y="92"/>
                      <a:pt x="92" y="92"/>
                      <a:pt x="92" y="92"/>
                    </a:cubicBezTo>
                    <a:cubicBezTo>
                      <a:pt x="92" y="92"/>
                      <a:pt x="90" y="91"/>
                      <a:pt x="91" y="89"/>
                    </a:cubicBezTo>
                    <a:cubicBezTo>
                      <a:pt x="92" y="87"/>
                      <a:pt x="94" y="88"/>
                      <a:pt x="94" y="88"/>
                    </a:cubicBezTo>
                    <a:cubicBezTo>
                      <a:pt x="94" y="88"/>
                      <a:pt x="97" y="88"/>
                      <a:pt x="99" y="88"/>
                    </a:cubicBezTo>
                    <a:cubicBezTo>
                      <a:pt x="101" y="88"/>
                      <a:pt x="101" y="86"/>
                      <a:pt x="103" y="86"/>
                    </a:cubicBezTo>
                    <a:cubicBezTo>
                      <a:pt x="105" y="86"/>
                      <a:pt x="105" y="82"/>
                      <a:pt x="107" y="82"/>
                    </a:cubicBezTo>
                    <a:cubicBezTo>
                      <a:pt x="108" y="82"/>
                      <a:pt x="111" y="82"/>
                      <a:pt x="111" y="82"/>
                    </a:cubicBezTo>
                    <a:cubicBezTo>
                      <a:pt x="112" y="79"/>
                      <a:pt x="112" y="79"/>
                      <a:pt x="112" y="79"/>
                    </a:cubicBezTo>
                    <a:cubicBezTo>
                      <a:pt x="112" y="76"/>
                      <a:pt x="112" y="76"/>
                      <a:pt x="112" y="76"/>
                    </a:cubicBezTo>
                    <a:cubicBezTo>
                      <a:pt x="104" y="64"/>
                      <a:pt x="104" y="64"/>
                      <a:pt x="104" y="64"/>
                    </a:cubicBezTo>
                    <a:cubicBezTo>
                      <a:pt x="107" y="63"/>
                      <a:pt x="107" y="63"/>
                      <a:pt x="107" y="63"/>
                    </a:cubicBezTo>
                    <a:cubicBezTo>
                      <a:pt x="107" y="63"/>
                      <a:pt x="106" y="59"/>
                      <a:pt x="108" y="59"/>
                    </a:cubicBezTo>
                    <a:cubicBezTo>
                      <a:pt x="110" y="59"/>
                      <a:pt x="115" y="58"/>
                      <a:pt x="115" y="56"/>
                    </a:cubicBezTo>
                    <a:cubicBezTo>
                      <a:pt x="115" y="54"/>
                      <a:pt x="112" y="54"/>
                      <a:pt x="112" y="54"/>
                    </a:cubicBezTo>
                    <a:cubicBezTo>
                      <a:pt x="112" y="54"/>
                      <a:pt x="112" y="50"/>
                      <a:pt x="110" y="49"/>
                    </a:cubicBezTo>
                    <a:cubicBezTo>
                      <a:pt x="109" y="49"/>
                      <a:pt x="108" y="46"/>
                      <a:pt x="110" y="46"/>
                    </a:cubicBezTo>
                    <a:cubicBezTo>
                      <a:pt x="112" y="46"/>
                      <a:pt x="114" y="45"/>
                      <a:pt x="116" y="44"/>
                    </a:cubicBezTo>
                    <a:cubicBezTo>
                      <a:pt x="118" y="42"/>
                      <a:pt x="118" y="42"/>
                      <a:pt x="118" y="42"/>
                    </a:cubicBezTo>
                    <a:cubicBezTo>
                      <a:pt x="118" y="38"/>
                      <a:pt x="118" y="38"/>
                      <a:pt x="118" y="38"/>
                    </a:cubicBezTo>
                    <a:cubicBezTo>
                      <a:pt x="118" y="37"/>
                      <a:pt x="117" y="36"/>
                      <a:pt x="117" y="36"/>
                    </a:cubicBezTo>
                    <a:cubicBezTo>
                      <a:pt x="115" y="36"/>
                      <a:pt x="113" y="37"/>
                      <a:pt x="113" y="37"/>
                    </a:cubicBezTo>
                    <a:cubicBezTo>
                      <a:pt x="111" y="38"/>
                      <a:pt x="111" y="36"/>
                      <a:pt x="108" y="37"/>
                    </a:cubicBezTo>
                    <a:cubicBezTo>
                      <a:pt x="107" y="38"/>
                      <a:pt x="107" y="38"/>
                      <a:pt x="107" y="38"/>
                    </a:cubicBezTo>
                    <a:cubicBezTo>
                      <a:pt x="103" y="39"/>
                      <a:pt x="102" y="39"/>
                      <a:pt x="99" y="40"/>
                    </a:cubicBezTo>
                    <a:cubicBezTo>
                      <a:pt x="99" y="39"/>
                      <a:pt x="99" y="38"/>
                      <a:pt x="100" y="37"/>
                    </a:cubicBezTo>
                    <a:cubicBezTo>
                      <a:pt x="103" y="36"/>
                      <a:pt x="107" y="35"/>
                      <a:pt x="110" y="35"/>
                    </a:cubicBezTo>
                    <a:cubicBezTo>
                      <a:pt x="110" y="34"/>
                      <a:pt x="109" y="32"/>
                      <a:pt x="110" y="31"/>
                    </a:cubicBezTo>
                    <a:cubicBezTo>
                      <a:pt x="110" y="30"/>
                      <a:pt x="112" y="29"/>
                      <a:pt x="112" y="28"/>
                    </a:cubicBezTo>
                    <a:cubicBezTo>
                      <a:pt x="112" y="28"/>
                      <a:pt x="111" y="25"/>
                      <a:pt x="111" y="26"/>
                    </a:cubicBezTo>
                    <a:cubicBezTo>
                      <a:pt x="111" y="25"/>
                      <a:pt x="111" y="25"/>
                      <a:pt x="111" y="25"/>
                    </a:cubicBezTo>
                    <a:cubicBezTo>
                      <a:pt x="110" y="25"/>
                      <a:pt x="108" y="25"/>
                      <a:pt x="106" y="25"/>
                    </a:cubicBezTo>
                    <a:cubicBezTo>
                      <a:pt x="107" y="25"/>
                      <a:pt x="107" y="26"/>
                      <a:pt x="107" y="26"/>
                    </a:cubicBezTo>
                    <a:cubicBezTo>
                      <a:pt x="106" y="26"/>
                      <a:pt x="105" y="25"/>
                      <a:pt x="104" y="25"/>
                    </a:cubicBezTo>
                    <a:cubicBezTo>
                      <a:pt x="104" y="24"/>
                      <a:pt x="103" y="23"/>
                      <a:pt x="102" y="23"/>
                    </a:cubicBezTo>
                    <a:cubicBezTo>
                      <a:pt x="102" y="23"/>
                      <a:pt x="101" y="24"/>
                      <a:pt x="101" y="25"/>
                    </a:cubicBezTo>
                    <a:cubicBezTo>
                      <a:pt x="99" y="25"/>
                      <a:pt x="99" y="25"/>
                      <a:pt x="99" y="25"/>
                    </a:cubicBezTo>
                    <a:cubicBezTo>
                      <a:pt x="98" y="22"/>
                      <a:pt x="98" y="20"/>
                      <a:pt x="96" y="18"/>
                    </a:cubicBezTo>
                    <a:cubicBezTo>
                      <a:pt x="98" y="18"/>
                      <a:pt x="99" y="18"/>
                      <a:pt x="101" y="17"/>
                    </a:cubicBezTo>
                    <a:cubicBezTo>
                      <a:pt x="101" y="17"/>
                      <a:pt x="101" y="15"/>
                      <a:pt x="101" y="15"/>
                    </a:cubicBezTo>
                    <a:cubicBezTo>
                      <a:pt x="96" y="15"/>
                      <a:pt x="93" y="16"/>
                      <a:pt x="88" y="16"/>
                    </a:cubicBezTo>
                    <a:cubicBezTo>
                      <a:pt x="88" y="16"/>
                      <a:pt x="90" y="17"/>
                      <a:pt x="90" y="17"/>
                    </a:cubicBezTo>
                    <a:cubicBezTo>
                      <a:pt x="88" y="17"/>
                      <a:pt x="86" y="17"/>
                      <a:pt x="85" y="17"/>
                    </a:cubicBezTo>
                    <a:cubicBezTo>
                      <a:pt x="85" y="17"/>
                      <a:pt x="85" y="17"/>
                      <a:pt x="85" y="17"/>
                    </a:cubicBezTo>
                    <a:cubicBezTo>
                      <a:pt x="84" y="18"/>
                      <a:pt x="83" y="18"/>
                      <a:pt x="81" y="19"/>
                    </a:cubicBezTo>
                    <a:cubicBezTo>
                      <a:pt x="81" y="20"/>
                      <a:pt x="81" y="20"/>
                      <a:pt x="81" y="20"/>
                    </a:cubicBezTo>
                    <a:cubicBezTo>
                      <a:pt x="80" y="20"/>
                      <a:pt x="77" y="21"/>
                      <a:pt x="77" y="21"/>
                    </a:cubicBezTo>
                    <a:cubicBezTo>
                      <a:pt x="74" y="21"/>
                      <a:pt x="69" y="20"/>
                      <a:pt x="67" y="19"/>
                    </a:cubicBezTo>
                    <a:cubicBezTo>
                      <a:pt x="65" y="18"/>
                      <a:pt x="70" y="17"/>
                      <a:pt x="63" y="16"/>
                    </a:cubicBezTo>
                    <a:cubicBezTo>
                      <a:pt x="60" y="15"/>
                      <a:pt x="56" y="15"/>
                      <a:pt x="53" y="16"/>
                    </a:cubicBezTo>
                    <a:cubicBezTo>
                      <a:pt x="52" y="16"/>
                      <a:pt x="52" y="18"/>
                      <a:pt x="50" y="17"/>
                    </a:cubicBezTo>
                    <a:cubicBezTo>
                      <a:pt x="47" y="17"/>
                      <a:pt x="49" y="15"/>
                      <a:pt x="50" y="14"/>
                    </a:cubicBezTo>
                    <a:cubicBezTo>
                      <a:pt x="49" y="12"/>
                      <a:pt x="48" y="10"/>
                      <a:pt x="47" y="9"/>
                    </a:cubicBezTo>
                    <a:cubicBezTo>
                      <a:pt x="47" y="9"/>
                      <a:pt x="46" y="9"/>
                      <a:pt x="45" y="9"/>
                    </a:cubicBezTo>
                    <a:cubicBezTo>
                      <a:pt x="45" y="9"/>
                      <a:pt x="45" y="7"/>
                      <a:pt x="44" y="7"/>
                    </a:cubicBezTo>
                    <a:cubicBezTo>
                      <a:pt x="41" y="6"/>
                      <a:pt x="39" y="7"/>
                      <a:pt x="37" y="6"/>
                    </a:cubicBezTo>
                    <a:cubicBezTo>
                      <a:pt x="35" y="5"/>
                      <a:pt x="35" y="2"/>
                      <a:pt x="34" y="0"/>
                    </a:cubicBezTo>
                    <a:cubicBezTo>
                      <a:pt x="33" y="1"/>
                      <a:pt x="32" y="1"/>
                      <a:pt x="31" y="1"/>
                    </a:cubicBezTo>
                    <a:cubicBezTo>
                      <a:pt x="31" y="1"/>
                      <a:pt x="31" y="3"/>
                      <a:pt x="31" y="4"/>
                    </a:cubicBezTo>
                    <a:cubicBezTo>
                      <a:pt x="32" y="5"/>
                      <a:pt x="33" y="5"/>
                      <a:pt x="35" y="6"/>
                    </a:cubicBezTo>
                    <a:cubicBezTo>
                      <a:pt x="35" y="6"/>
                      <a:pt x="36" y="8"/>
                      <a:pt x="36" y="8"/>
                    </a:cubicBezTo>
                    <a:cubicBezTo>
                      <a:pt x="30" y="9"/>
                      <a:pt x="27" y="10"/>
                      <a:pt x="23" y="12"/>
                    </a:cubicBezTo>
                    <a:cubicBezTo>
                      <a:pt x="22" y="15"/>
                      <a:pt x="22" y="16"/>
                      <a:pt x="22" y="19"/>
                    </a:cubicBezTo>
                    <a:cubicBezTo>
                      <a:pt x="23" y="19"/>
                      <a:pt x="24" y="19"/>
                      <a:pt x="24" y="20"/>
                    </a:cubicBezTo>
                    <a:cubicBezTo>
                      <a:pt x="24" y="20"/>
                      <a:pt x="26" y="22"/>
                      <a:pt x="26" y="22"/>
                    </a:cubicBezTo>
                    <a:cubicBezTo>
                      <a:pt x="26" y="23"/>
                      <a:pt x="25" y="24"/>
                      <a:pt x="25" y="24"/>
                    </a:cubicBezTo>
                    <a:cubicBezTo>
                      <a:pt x="25" y="26"/>
                      <a:pt x="26" y="28"/>
                      <a:pt x="27" y="30"/>
                    </a:cubicBezTo>
                    <a:cubicBezTo>
                      <a:pt x="24" y="32"/>
                      <a:pt x="22" y="32"/>
                      <a:pt x="20" y="33"/>
                    </a:cubicBezTo>
                    <a:cubicBezTo>
                      <a:pt x="20" y="33"/>
                      <a:pt x="20" y="32"/>
                      <a:pt x="20" y="31"/>
                    </a:cubicBezTo>
                    <a:cubicBezTo>
                      <a:pt x="19" y="31"/>
                      <a:pt x="19" y="31"/>
                      <a:pt x="19" y="31"/>
                    </a:cubicBezTo>
                    <a:cubicBezTo>
                      <a:pt x="18" y="28"/>
                      <a:pt x="15" y="25"/>
                      <a:pt x="16" y="21"/>
                    </a:cubicBezTo>
                    <a:cubicBezTo>
                      <a:pt x="17" y="19"/>
                      <a:pt x="19" y="19"/>
                      <a:pt x="21" y="17"/>
                    </a:cubicBezTo>
                    <a:cubicBezTo>
                      <a:pt x="20" y="17"/>
                      <a:pt x="21" y="16"/>
                      <a:pt x="21" y="15"/>
                    </a:cubicBezTo>
                    <a:cubicBezTo>
                      <a:pt x="20" y="14"/>
                      <a:pt x="20" y="14"/>
                      <a:pt x="19" y="14"/>
                    </a:cubicBezTo>
                    <a:cubicBezTo>
                      <a:pt x="19" y="12"/>
                      <a:pt x="19" y="13"/>
                      <a:pt x="19" y="12"/>
                    </a:cubicBezTo>
                    <a:cubicBezTo>
                      <a:pt x="19" y="11"/>
                      <a:pt x="18" y="11"/>
                      <a:pt x="18" y="10"/>
                    </a:cubicBezTo>
                    <a:cubicBezTo>
                      <a:pt x="17" y="10"/>
                      <a:pt x="16" y="10"/>
                      <a:pt x="15" y="10"/>
                    </a:cubicBezTo>
                    <a:cubicBezTo>
                      <a:pt x="15" y="10"/>
                      <a:pt x="15" y="8"/>
                      <a:pt x="15" y="8"/>
                    </a:cubicBezTo>
                    <a:cubicBezTo>
                      <a:pt x="16" y="8"/>
                      <a:pt x="18" y="6"/>
                      <a:pt x="19" y="6"/>
                    </a:cubicBezTo>
                    <a:cubicBezTo>
                      <a:pt x="20" y="6"/>
                      <a:pt x="20" y="6"/>
                      <a:pt x="20" y="6"/>
                    </a:cubicBezTo>
                    <a:cubicBezTo>
                      <a:pt x="20" y="5"/>
                      <a:pt x="20" y="4"/>
                      <a:pt x="20" y="4"/>
                    </a:cubicBezTo>
                    <a:close/>
                    <a:moveTo>
                      <a:pt x="88" y="11"/>
                    </a:moveTo>
                    <a:cubicBezTo>
                      <a:pt x="86" y="11"/>
                      <a:pt x="89" y="12"/>
                      <a:pt x="89" y="12"/>
                    </a:cubicBezTo>
                    <a:cubicBezTo>
                      <a:pt x="89" y="12"/>
                      <a:pt x="91" y="10"/>
                      <a:pt x="88" y="1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41" name="Freeform 20">
                <a:extLst>
                  <a:ext uri="{FF2B5EF4-FFF2-40B4-BE49-F238E27FC236}">
                    <a16:creationId xmlns:a16="http://schemas.microsoft.com/office/drawing/2014/main" id="{8FC9FE41-6254-3C18-4085-B4FECED3383E}"/>
                  </a:ext>
                </a:extLst>
              </p:cNvPr>
              <p:cNvSpPr>
                <a:spLocks noEditPoints="1"/>
              </p:cNvSpPr>
              <p:nvPr/>
            </p:nvSpPr>
            <p:spPr bwMode="auto">
              <a:xfrm>
                <a:off x="1864" y="1999"/>
                <a:ext cx="234" cy="248"/>
              </a:xfrm>
              <a:custGeom>
                <a:avLst/>
                <a:gdLst>
                  <a:gd name="T0" fmla="*/ 115 w 119"/>
                  <a:gd name="T1" fmla="*/ 33 h 126"/>
                  <a:gd name="T2" fmla="*/ 10 w 119"/>
                  <a:gd name="T3" fmla="*/ 11 h 126"/>
                  <a:gd name="T4" fmla="*/ 3 w 119"/>
                  <a:gd name="T5" fmla="*/ 27 h 126"/>
                  <a:gd name="T6" fmla="*/ 6 w 119"/>
                  <a:gd name="T7" fmla="*/ 37 h 126"/>
                  <a:gd name="T8" fmla="*/ 12 w 119"/>
                  <a:gd name="T9" fmla="*/ 54 h 126"/>
                  <a:gd name="T10" fmla="*/ 27 w 119"/>
                  <a:gd name="T11" fmla="*/ 60 h 126"/>
                  <a:gd name="T12" fmla="*/ 43 w 119"/>
                  <a:gd name="T13" fmla="*/ 68 h 126"/>
                  <a:gd name="T14" fmla="*/ 46 w 119"/>
                  <a:gd name="T15" fmla="*/ 79 h 126"/>
                  <a:gd name="T16" fmla="*/ 64 w 119"/>
                  <a:gd name="T17" fmla="*/ 97 h 126"/>
                  <a:gd name="T18" fmla="*/ 59 w 119"/>
                  <a:gd name="T19" fmla="*/ 111 h 126"/>
                  <a:gd name="T20" fmla="*/ 63 w 119"/>
                  <a:gd name="T21" fmla="*/ 123 h 126"/>
                  <a:gd name="T22" fmla="*/ 78 w 119"/>
                  <a:gd name="T23" fmla="*/ 119 h 126"/>
                  <a:gd name="T24" fmla="*/ 90 w 119"/>
                  <a:gd name="T25" fmla="*/ 110 h 126"/>
                  <a:gd name="T26" fmla="*/ 77 w 119"/>
                  <a:gd name="T27" fmla="*/ 105 h 126"/>
                  <a:gd name="T28" fmla="*/ 74 w 119"/>
                  <a:gd name="T29" fmla="*/ 88 h 126"/>
                  <a:gd name="T30" fmla="*/ 87 w 119"/>
                  <a:gd name="T31" fmla="*/ 90 h 126"/>
                  <a:gd name="T32" fmla="*/ 94 w 119"/>
                  <a:gd name="T33" fmla="*/ 88 h 126"/>
                  <a:gd name="T34" fmla="*/ 107 w 119"/>
                  <a:gd name="T35" fmla="*/ 82 h 126"/>
                  <a:gd name="T36" fmla="*/ 112 w 119"/>
                  <a:gd name="T37" fmla="*/ 76 h 126"/>
                  <a:gd name="T38" fmla="*/ 108 w 119"/>
                  <a:gd name="T39" fmla="*/ 59 h 126"/>
                  <a:gd name="T40" fmla="*/ 110 w 119"/>
                  <a:gd name="T41" fmla="*/ 49 h 126"/>
                  <a:gd name="T42" fmla="*/ 118 w 119"/>
                  <a:gd name="T43" fmla="*/ 42 h 126"/>
                  <a:gd name="T44" fmla="*/ 113 w 119"/>
                  <a:gd name="T45" fmla="*/ 37 h 126"/>
                  <a:gd name="T46" fmla="*/ 99 w 119"/>
                  <a:gd name="T47" fmla="*/ 40 h 126"/>
                  <a:gd name="T48" fmla="*/ 110 w 119"/>
                  <a:gd name="T49" fmla="*/ 31 h 126"/>
                  <a:gd name="T50" fmla="*/ 111 w 119"/>
                  <a:gd name="T51" fmla="*/ 25 h 126"/>
                  <a:gd name="T52" fmla="*/ 104 w 119"/>
                  <a:gd name="T53" fmla="*/ 25 h 126"/>
                  <a:gd name="T54" fmla="*/ 99 w 119"/>
                  <a:gd name="T55" fmla="*/ 25 h 126"/>
                  <a:gd name="T56" fmla="*/ 101 w 119"/>
                  <a:gd name="T57" fmla="*/ 15 h 126"/>
                  <a:gd name="T58" fmla="*/ 85 w 119"/>
                  <a:gd name="T59" fmla="*/ 17 h 126"/>
                  <a:gd name="T60" fmla="*/ 81 w 119"/>
                  <a:gd name="T61" fmla="*/ 20 h 126"/>
                  <a:gd name="T62" fmla="*/ 63 w 119"/>
                  <a:gd name="T63" fmla="*/ 16 h 126"/>
                  <a:gd name="T64" fmla="*/ 50 w 119"/>
                  <a:gd name="T65" fmla="*/ 14 h 126"/>
                  <a:gd name="T66" fmla="*/ 44 w 119"/>
                  <a:gd name="T67" fmla="*/ 7 h 126"/>
                  <a:gd name="T68" fmla="*/ 31 w 119"/>
                  <a:gd name="T69" fmla="*/ 1 h 126"/>
                  <a:gd name="T70" fmla="*/ 36 w 119"/>
                  <a:gd name="T71" fmla="*/ 8 h 126"/>
                  <a:gd name="T72" fmla="*/ 24 w 119"/>
                  <a:gd name="T73" fmla="*/ 20 h 126"/>
                  <a:gd name="T74" fmla="*/ 27 w 119"/>
                  <a:gd name="T75" fmla="*/ 30 h 126"/>
                  <a:gd name="T76" fmla="*/ 19 w 119"/>
                  <a:gd name="T77" fmla="*/ 31 h 126"/>
                  <a:gd name="T78" fmla="*/ 21 w 119"/>
                  <a:gd name="T79" fmla="*/ 15 h 126"/>
                  <a:gd name="T80" fmla="*/ 18 w 119"/>
                  <a:gd name="T81" fmla="*/ 10 h 126"/>
                  <a:gd name="T82" fmla="*/ 19 w 119"/>
                  <a:gd name="T83" fmla="*/ 6 h 126"/>
                  <a:gd name="T84" fmla="*/ 88 w 119"/>
                  <a:gd name="T85" fmla="*/ 1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 h="126">
                    <a:moveTo>
                      <a:pt x="115" y="33"/>
                    </a:moveTo>
                    <a:cubicBezTo>
                      <a:pt x="115" y="35"/>
                      <a:pt x="115" y="35"/>
                      <a:pt x="115" y="35"/>
                    </a:cubicBezTo>
                    <a:cubicBezTo>
                      <a:pt x="119" y="35"/>
                      <a:pt x="118" y="34"/>
                      <a:pt x="115" y="33"/>
                    </a:cubicBezTo>
                    <a:close/>
                    <a:moveTo>
                      <a:pt x="20" y="4"/>
                    </a:moveTo>
                    <a:cubicBezTo>
                      <a:pt x="18" y="4"/>
                      <a:pt x="15" y="5"/>
                      <a:pt x="15" y="5"/>
                    </a:cubicBezTo>
                    <a:cubicBezTo>
                      <a:pt x="10" y="11"/>
                      <a:pt x="10" y="11"/>
                      <a:pt x="10" y="11"/>
                    </a:cubicBezTo>
                    <a:cubicBezTo>
                      <a:pt x="7" y="20"/>
                      <a:pt x="7" y="20"/>
                      <a:pt x="7" y="20"/>
                    </a:cubicBezTo>
                    <a:cubicBezTo>
                      <a:pt x="3" y="21"/>
                      <a:pt x="3" y="21"/>
                      <a:pt x="3" y="21"/>
                    </a:cubicBezTo>
                    <a:cubicBezTo>
                      <a:pt x="3" y="21"/>
                      <a:pt x="5" y="24"/>
                      <a:pt x="3" y="27"/>
                    </a:cubicBezTo>
                    <a:cubicBezTo>
                      <a:pt x="2" y="30"/>
                      <a:pt x="4" y="30"/>
                      <a:pt x="2" y="34"/>
                    </a:cubicBezTo>
                    <a:cubicBezTo>
                      <a:pt x="0" y="39"/>
                      <a:pt x="3" y="38"/>
                      <a:pt x="3" y="38"/>
                    </a:cubicBezTo>
                    <a:cubicBezTo>
                      <a:pt x="6" y="37"/>
                      <a:pt x="6" y="37"/>
                      <a:pt x="6" y="37"/>
                    </a:cubicBezTo>
                    <a:cubicBezTo>
                      <a:pt x="10" y="45"/>
                      <a:pt x="10" y="45"/>
                      <a:pt x="10" y="45"/>
                    </a:cubicBezTo>
                    <a:cubicBezTo>
                      <a:pt x="10" y="45"/>
                      <a:pt x="8" y="45"/>
                      <a:pt x="8" y="48"/>
                    </a:cubicBezTo>
                    <a:cubicBezTo>
                      <a:pt x="9" y="50"/>
                      <a:pt x="10" y="51"/>
                      <a:pt x="12" y="54"/>
                    </a:cubicBezTo>
                    <a:cubicBezTo>
                      <a:pt x="14" y="56"/>
                      <a:pt x="13" y="59"/>
                      <a:pt x="13" y="59"/>
                    </a:cubicBezTo>
                    <a:cubicBezTo>
                      <a:pt x="19" y="60"/>
                      <a:pt x="19" y="60"/>
                      <a:pt x="19" y="60"/>
                    </a:cubicBezTo>
                    <a:cubicBezTo>
                      <a:pt x="19" y="60"/>
                      <a:pt x="24" y="61"/>
                      <a:pt x="27" y="60"/>
                    </a:cubicBezTo>
                    <a:cubicBezTo>
                      <a:pt x="29" y="59"/>
                      <a:pt x="31" y="60"/>
                      <a:pt x="32" y="62"/>
                    </a:cubicBezTo>
                    <a:cubicBezTo>
                      <a:pt x="33" y="64"/>
                      <a:pt x="36" y="69"/>
                      <a:pt x="36" y="69"/>
                    </a:cubicBezTo>
                    <a:cubicBezTo>
                      <a:pt x="36" y="69"/>
                      <a:pt x="41" y="68"/>
                      <a:pt x="43" y="68"/>
                    </a:cubicBezTo>
                    <a:cubicBezTo>
                      <a:pt x="45" y="68"/>
                      <a:pt x="49" y="69"/>
                      <a:pt x="49" y="69"/>
                    </a:cubicBezTo>
                    <a:cubicBezTo>
                      <a:pt x="48" y="75"/>
                      <a:pt x="48" y="75"/>
                      <a:pt x="48" y="75"/>
                    </a:cubicBezTo>
                    <a:cubicBezTo>
                      <a:pt x="48" y="75"/>
                      <a:pt x="45" y="76"/>
                      <a:pt x="46" y="79"/>
                    </a:cubicBezTo>
                    <a:cubicBezTo>
                      <a:pt x="47" y="83"/>
                      <a:pt x="51" y="84"/>
                      <a:pt x="51" y="86"/>
                    </a:cubicBezTo>
                    <a:cubicBezTo>
                      <a:pt x="51" y="88"/>
                      <a:pt x="54" y="90"/>
                      <a:pt x="55" y="92"/>
                    </a:cubicBezTo>
                    <a:cubicBezTo>
                      <a:pt x="57" y="93"/>
                      <a:pt x="64" y="97"/>
                      <a:pt x="64" y="97"/>
                    </a:cubicBezTo>
                    <a:cubicBezTo>
                      <a:pt x="64" y="97"/>
                      <a:pt x="62" y="101"/>
                      <a:pt x="62" y="103"/>
                    </a:cubicBezTo>
                    <a:cubicBezTo>
                      <a:pt x="61" y="105"/>
                      <a:pt x="58" y="108"/>
                      <a:pt x="58" y="108"/>
                    </a:cubicBezTo>
                    <a:cubicBezTo>
                      <a:pt x="58" y="108"/>
                      <a:pt x="57" y="113"/>
                      <a:pt x="59" y="111"/>
                    </a:cubicBezTo>
                    <a:cubicBezTo>
                      <a:pt x="62" y="110"/>
                      <a:pt x="61" y="112"/>
                      <a:pt x="61" y="114"/>
                    </a:cubicBezTo>
                    <a:cubicBezTo>
                      <a:pt x="62" y="116"/>
                      <a:pt x="63" y="118"/>
                      <a:pt x="63" y="118"/>
                    </a:cubicBezTo>
                    <a:cubicBezTo>
                      <a:pt x="63" y="123"/>
                      <a:pt x="63" y="123"/>
                      <a:pt x="63" y="123"/>
                    </a:cubicBezTo>
                    <a:cubicBezTo>
                      <a:pt x="67" y="126"/>
                      <a:pt x="67" y="126"/>
                      <a:pt x="67" y="126"/>
                    </a:cubicBezTo>
                    <a:cubicBezTo>
                      <a:pt x="67" y="126"/>
                      <a:pt x="70" y="123"/>
                      <a:pt x="73" y="123"/>
                    </a:cubicBezTo>
                    <a:cubicBezTo>
                      <a:pt x="75" y="123"/>
                      <a:pt x="76" y="119"/>
                      <a:pt x="78" y="119"/>
                    </a:cubicBezTo>
                    <a:cubicBezTo>
                      <a:pt x="80" y="119"/>
                      <a:pt x="80" y="117"/>
                      <a:pt x="82" y="117"/>
                    </a:cubicBezTo>
                    <a:cubicBezTo>
                      <a:pt x="84" y="117"/>
                      <a:pt x="85" y="111"/>
                      <a:pt x="87" y="111"/>
                    </a:cubicBezTo>
                    <a:cubicBezTo>
                      <a:pt x="89" y="111"/>
                      <a:pt x="90" y="110"/>
                      <a:pt x="90" y="110"/>
                    </a:cubicBezTo>
                    <a:cubicBezTo>
                      <a:pt x="90" y="110"/>
                      <a:pt x="89" y="106"/>
                      <a:pt x="87" y="107"/>
                    </a:cubicBezTo>
                    <a:cubicBezTo>
                      <a:pt x="85" y="108"/>
                      <a:pt x="82" y="109"/>
                      <a:pt x="81" y="108"/>
                    </a:cubicBezTo>
                    <a:cubicBezTo>
                      <a:pt x="79" y="107"/>
                      <a:pt x="78" y="107"/>
                      <a:pt x="77" y="105"/>
                    </a:cubicBezTo>
                    <a:cubicBezTo>
                      <a:pt x="77" y="103"/>
                      <a:pt x="79" y="99"/>
                      <a:pt x="78" y="97"/>
                    </a:cubicBezTo>
                    <a:cubicBezTo>
                      <a:pt x="78" y="96"/>
                      <a:pt x="78" y="95"/>
                      <a:pt x="76" y="93"/>
                    </a:cubicBezTo>
                    <a:cubicBezTo>
                      <a:pt x="74" y="91"/>
                      <a:pt x="76" y="89"/>
                      <a:pt x="74" y="88"/>
                    </a:cubicBezTo>
                    <a:cubicBezTo>
                      <a:pt x="72" y="87"/>
                      <a:pt x="72" y="86"/>
                      <a:pt x="75" y="87"/>
                    </a:cubicBezTo>
                    <a:cubicBezTo>
                      <a:pt x="79" y="87"/>
                      <a:pt x="81" y="89"/>
                      <a:pt x="81" y="89"/>
                    </a:cubicBezTo>
                    <a:cubicBezTo>
                      <a:pt x="81" y="89"/>
                      <a:pt x="86" y="89"/>
                      <a:pt x="87" y="90"/>
                    </a:cubicBezTo>
                    <a:cubicBezTo>
                      <a:pt x="88" y="92"/>
                      <a:pt x="92" y="92"/>
                      <a:pt x="92" y="92"/>
                    </a:cubicBezTo>
                    <a:cubicBezTo>
                      <a:pt x="92" y="92"/>
                      <a:pt x="90" y="91"/>
                      <a:pt x="91" y="89"/>
                    </a:cubicBezTo>
                    <a:cubicBezTo>
                      <a:pt x="92" y="87"/>
                      <a:pt x="94" y="88"/>
                      <a:pt x="94" y="88"/>
                    </a:cubicBezTo>
                    <a:cubicBezTo>
                      <a:pt x="94" y="88"/>
                      <a:pt x="97" y="88"/>
                      <a:pt x="99" y="88"/>
                    </a:cubicBezTo>
                    <a:cubicBezTo>
                      <a:pt x="101" y="88"/>
                      <a:pt x="101" y="86"/>
                      <a:pt x="103" y="86"/>
                    </a:cubicBezTo>
                    <a:cubicBezTo>
                      <a:pt x="105" y="86"/>
                      <a:pt x="105" y="82"/>
                      <a:pt x="107" y="82"/>
                    </a:cubicBezTo>
                    <a:cubicBezTo>
                      <a:pt x="108" y="82"/>
                      <a:pt x="111" y="82"/>
                      <a:pt x="111" y="82"/>
                    </a:cubicBezTo>
                    <a:cubicBezTo>
                      <a:pt x="112" y="79"/>
                      <a:pt x="112" y="79"/>
                      <a:pt x="112" y="79"/>
                    </a:cubicBezTo>
                    <a:cubicBezTo>
                      <a:pt x="112" y="76"/>
                      <a:pt x="112" y="76"/>
                      <a:pt x="112" y="76"/>
                    </a:cubicBezTo>
                    <a:cubicBezTo>
                      <a:pt x="104" y="64"/>
                      <a:pt x="104" y="64"/>
                      <a:pt x="104" y="64"/>
                    </a:cubicBezTo>
                    <a:cubicBezTo>
                      <a:pt x="107" y="63"/>
                      <a:pt x="107" y="63"/>
                      <a:pt x="107" y="63"/>
                    </a:cubicBezTo>
                    <a:cubicBezTo>
                      <a:pt x="107" y="63"/>
                      <a:pt x="106" y="59"/>
                      <a:pt x="108" y="59"/>
                    </a:cubicBezTo>
                    <a:cubicBezTo>
                      <a:pt x="110" y="59"/>
                      <a:pt x="115" y="58"/>
                      <a:pt x="115" y="56"/>
                    </a:cubicBezTo>
                    <a:cubicBezTo>
                      <a:pt x="115" y="54"/>
                      <a:pt x="112" y="54"/>
                      <a:pt x="112" y="54"/>
                    </a:cubicBezTo>
                    <a:cubicBezTo>
                      <a:pt x="112" y="54"/>
                      <a:pt x="112" y="50"/>
                      <a:pt x="110" y="49"/>
                    </a:cubicBezTo>
                    <a:cubicBezTo>
                      <a:pt x="109" y="49"/>
                      <a:pt x="108" y="46"/>
                      <a:pt x="110" y="46"/>
                    </a:cubicBezTo>
                    <a:cubicBezTo>
                      <a:pt x="112" y="46"/>
                      <a:pt x="114" y="45"/>
                      <a:pt x="116" y="44"/>
                    </a:cubicBezTo>
                    <a:cubicBezTo>
                      <a:pt x="118" y="42"/>
                      <a:pt x="118" y="42"/>
                      <a:pt x="118" y="42"/>
                    </a:cubicBezTo>
                    <a:cubicBezTo>
                      <a:pt x="118" y="38"/>
                      <a:pt x="118" y="38"/>
                      <a:pt x="118" y="38"/>
                    </a:cubicBezTo>
                    <a:cubicBezTo>
                      <a:pt x="118" y="37"/>
                      <a:pt x="117" y="36"/>
                      <a:pt x="117" y="36"/>
                    </a:cubicBezTo>
                    <a:cubicBezTo>
                      <a:pt x="115" y="36"/>
                      <a:pt x="113" y="37"/>
                      <a:pt x="113" y="37"/>
                    </a:cubicBezTo>
                    <a:cubicBezTo>
                      <a:pt x="111" y="38"/>
                      <a:pt x="111" y="36"/>
                      <a:pt x="108" y="37"/>
                    </a:cubicBezTo>
                    <a:cubicBezTo>
                      <a:pt x="107" y="38"/>
                      <a:pt x="107" y="38"/>
                      <a:pt x="107" y="38"/>
                    </a:cubicBezTo>
                    <a:cubicBezTo>
                      <a:pt x="103" y="39"/>
                      <a:pt x="102" y="39"/>
                      <a:pt x="99" y="40"/>
                    </a:cubicBezTo>
                    <a:cubicBezTo>
                      <a:pt x="99" y="39"/>
                      <a:pt x="99" y="38"/>
                      <a:pt x="100" y="37"/>
                    </a:cubicBezTo>
                    <a:cubicBezTo>
                      <a:pt x="103" y="36"/>
                      <a:pt x="107" y="35"/>
                      <a:pt x="110" y="35"/>
                    </a:cubicBezTo>
                    <a:cubicBezTo>
                      <a:pt x="110" y="34"/>
                      <a:pt x="109" y="32"/>
                      <a:pt x="110" y="31"/>
                    </a:cubicBezTo>
                    <a:cubicBezTo>
                      <a:pt x="110" y="30"/>
                      <a:pt x="112" y="29"/>
                      <a:pt x="112" y="28"/>
                    </a:cubicBezTo>
                    <a:cubicBezTo>
                      <a:pt x="112" y="28"/>
                      <a:pt x="111" y="25"/>
                      <a:pt x="111" y="26"/>
                    </a:cubicBezTo>
                    <a:cubicBezTo>
                      <a:pt x="111" y="25"/>
                      <a:pt x="111" y="25"/>
                      <a:pt x="111" y="25"/>
                    </a:cubicBezTo>
                    <a:cubicBezTo>
                      <a:pt x="110" y="25"/>
                      <a:pt x="108" y="25"/>
                      <a:pt x="106" y="25"/>
                    </a:cubicBezTo>
                    <a:cubicBezTo>
                      <a:pt x="107" y="25"/>
                      <a:pt x="107" y="26"/>
                      <a:pt x="107" y="26"/>
                    </a:cubicBezTo>
                    <a:cubicBezTo>
                      <a:pt x="106" y="26"/>
                      <a:pt x="105" y="25"/>
                      <a:pt x="104" y="25"/>
                    </a:cubicBezTo>
                    <a:cubicBezTo>
                      <a:pt x="104" y="24"/>
                      <a:pt x="103" y="23"/>
                      <a:pt x="102" y="23"/>
                    </a:cubicBezTo>
                    <a:cubicBezTo>
                      <a:pt x="102" y="23"/>
                      <a:pt x="101" y="24"/>
                      <a:pt x="101" y="25"/>
                    </a:cubicBezTo>
                    <a:cubicBezTo>
                      <a:pt x="99" y="25"/>
                      <a:pt x="99" y="25"/>
                      <a:pt x="99" y="25"/>
                    </a:cubicBezTo>
                    <a:cubicBezTo>
                      <a:pt x="98" y="22"/>
                      <a:pt x="98" y="20"/>
                      <a:pt x="96" y="18"/>
                    </a:cubicBezTo>
                    <a:cubicBezTo>
                      <a:pt x="98" y="18"/>
                      <a:pt x="99" y="18"/>
                      <a:pt x="101" y="17"/>
                    </a:cubicBezTo>
                    <a:cubicBezTo>
                      <a:pt x="101" y="17"/>
                      <a:pt x="101" y="15"/>
                      <a:pt x="101" y="15"/>
                    </a:cubicBezTo>
                    <a:cubicBezTo>
                      <a:pt x="96" y="15"/>
                      <a:pt x="93" y="16"/>
                      <a:pt x="88" y="16"/>
                    </a:cubicBezTo>
                    <a:cubicBezTo>
                      <a:pt x="88" y="16"/>
                      <a:pt x="90" y="17"/>
                      <a:pt x="90" y="17"/>
                    </a:cubicBezTo>
                    <a:cubicBezTo>
                      <a:pt x="88" y="17"/>
                      <a:pt x="86" y="17"/>
                      <a:pt x="85" y="17"/>
                    </a:cubicBezTo>
                    <a:cubicBezTo>
                      <a:pt x="85" y="17"/>
                      <a:pt x="85" y="17"/>
                      <a:pt x="85" y="17"/>
                    </a:cubicBezTo>
                    <a:cubicBezTo>
                      <a:pt x="84" y="18"/>
                      <a:pt x="83" y="18"/>
                      <a:pt x="81" y="19"/>
                    </a:cubicBezTo>
                    <a:cubicBezTo>
                      <a:pt x="81" y="20"/>
                      <a:pt x="81" y="20"/>
                      <a:pt x="81" y="20"/>
                    </a:cubicBezTo>
                    <a:cubicBezTo>
                      <a:pt x="80" y="20"/>
                      <a:pt x="77" y="21"/>
                      <a:pt x="77" y="21"/>
                    </a:cubicBezTo>
                    <a:cubicBezTo>
                      <a:pt x="74" y="21"/>
                      <a:pt x="69" y="20"/>
                      <a:pt x="67" y="19"/>
                    </a:cubicBezTo>
                    <a:cubicBezTo>
                      <a:pt x="65" y="18"/>
                      <a:pt x="70" y="17"/>
                      <a:pt x="63" y="16"/>
                    </a:cubicBezTo>
                    <a:cubicBezTo>
                      <a:pt x="60" y="15"/>
                      <a:pt x="56" y="15"/>
                      <a:pt x="53" y="16"/>
                    </a:cubicBezTo>
                    <a:cubicBezTo>
                      <a:pt x="52" y="16"/>
                      <a:pt x="52" y="18"/>
                      <a:pt x="50" y="17"/>
                    </a:cubicBezTo>
                    <a:cubicBezTo>
                      <a:pt x="47" y="17"/>
                      <a:pt x="49" y="15"/>
                      <a:pt x="50" y="14"/>
                    </a:cubicBezTo>
                    <a:cubicBezTo>
                      <a:pt x="49" y="12"/>
                      <a:pt x="48" y="10"/>
                      <a:pt x="47" y="9"/>
                    </a:cubicBezTo>
                    <a:cubicBezTo>
                      <a:pt x="47" y="9"/>
                      <a:pt x="46" y="9"/>
                      <a:pt x="45" y="9"/>
                    </a:cubicBezTo>
                    <a:cubicBezTo>
                      <a:pt x="45" y="9"/>
                      <a:pt x="45" y="7"/>
                      <a:pt x="44" y="7"/>
                    </a:cubicBezTo>
                    <a:cubicBezTo>
                      <a:pt x="41" y="6"/>
                      <a:pt x="39" y="7"/>
                      <a:pt x="37" y="6"/>
                    </a:cubicBezTo>
                    <a:cubicBezTo>
                      <a:pt x="35" y="5"/>
                      <a:pt x="35" y="2"/>
                      <a:pt x="34" y="0"/>
                    </a:cubicBezTo>
                    <a:cubicBezTo>
                      <a:pt x="33" y="1"/>
                      <a:pt x="32" y="1"/>
                      <a:pt x="31" y="1"/>
                    </a:cubicBezTo>
                    <a:cubicBezTo>
                      <a:pt x="31" y="1"/>
                      <a:pt x="31" y="3"/>
                      <a:pt x="31" y="4"/>
                    </a:cubicBezTo>
                    <a:cubicBezTo>
                      <a:pt x="32" y="5"/>
                      <a:pt x="33" y="5"/>
                      <a:pt x="35" y="6"/>
                    </a:cubicBezTo>
                    <a:cubicBezTo>
                      <a:pt x="35" y="6"/>
                      <a:pt x="36" y="8"/>
                      <a:pt x="36" y="8"/>
                    </a:cubicBezTo>
                    <a:cubicBezTo>
                      <a:pt x="30" y="9"/>
                      <a:pt x="27" y="10"/>
                      <a:pt x="23" y="12"/>
                    </a:cubicBezTo>
                    <a:cubicBezTo>
                      <a:pt x="22" y="15"/>
                      <a:pt x="22" y="16"/>
                      <a:pt x="22" y="19"/>
                    </a:cubicBezTo>
                    <a:cubicBezTo>
                      <a:pt x="23" y="19"/>
                      <a:pt x="24" y="19"/>
                      <a:pt x="24" y="20"/>
                    </a:cubicBezTo>
                    <a:cubicBezTo>
                      <a:pt x="24" y="20"/>
                      <a:pt x="26" y="22"/>
                      <a:pt x="26" y="22"/>
                    </a:cubicBezTo>
                    <a:cubicBezTo>
                      <a:pt x="26" y="23"/>
                      <a:pt x="25" y="24"/>
                      <a:pt x="25" y="24"/>
                    </a:cubicBezTo>
                    <a:cubicBezTo>
                      <a:pt x="25" y="26"/>
                      <a:pt x="26" y="28"/>
                      <a:pt x="27" y="30"/>
                    </a:cubicBezTo>
                    <a:cubicBezTo>
                      <a:pt x="24" y="32"/>
                      <a:pt x="22" y="32"/>
                      <a:pt x="20" y="33"/>
                    </a:cubicBezTo>
                    <a:cubicBezTo>
                      <a:pt x="20" y="33"/>
                      <a:pt x="20" y="32"/>
                      <a:pt x="20" y="31"/>
                    </a:cubicBezTo>
                    <a:cubicBezTo>
                      <a:pt x="19" y="31"/>
                      <a:pt x="19" y="31"/>
                      <a:pt x="19" y="31"/>
                    </a:cubicBezTo>
                    <a:cubicBezTo>
                      <a:pt x="18" y="28"/>
                      <a:pt x="15" y="25"/>
                      <a:pt x="16" y="21"/>
                    </a:cubicBezTo>
                    <a:cubicBezTo>
                      <a:pt x="17" y="19"/>
                      <a:pt x="19" y="19"/>
                      <a:pt x="21" y="17"/>
                    </a:cubicBezTo>
                    <a:cubicBezTo>
                      <a:pt x="20" y="17"/>
                      <a:pt x="21" y="16"/>
                      <a:pt x="21" y="15"/>
                    </a:cubicBezTo>
                    <a:cubicBezTo>
                      <a:pt x="20" y="14"/>
                      <a:pt x="20" y="14"/>
                      <a:pt x="19" y="14"/>
                    </a:cubicBezTo>
                    <a:cubicBezTo>
                      <a:pt x="19" y="12"/>
                      <a:pt x="19" y="13"/>
                      <a:pt x="19" y="12"/>
                    </a:cubicBezTo>
                    <a:cubicBezTo>
                      <a:pt x="19" y="11"/>
                      <a:pt x="18" y="11"/>
                      <a:pt x="18" y="10"/>
                    </a:cubicBezTo>
                    <a:cubicBezTo>
                      <a:pt x="17" y="10"/>
                      <a:pt x="16" y="10"/>
                      <a:pt x="15" y="10"/>
                    </a:cubicBezTo>
                    <a:cubicBezTo>
                      <a:pt x="15" y="10"/>
                      <a:pt x="15" y="8"/>
                      <a:pt x="15" y="8"/>
                    </a:cubicBezTo>
                    <a:cubicBezTo>
                      <a:pt x="16" y="8"/>
                      <a:pt x="18" y="6"/>
                      <a:pt x="19" y="6"/>
                    </a:cubicBezTo>
                    <a:cubicBezTo>
                      <a:pt x="20" y="6"/>
                      <a:pt x="20" y="6"/>
                      <a:pt x="20" y="6"/>
                    </a:cubicBezTo>
                    <a:cubicBezTo>
                      <a:pt x="20" y="5"/>
                      <a:pt x="20" y="4"/>
                      <a:pt x="20" y="4"/>
                    </a:cubicBezTo>
                    <a:close/>
                    <a:moveTo>
                      <a:pt x="88" y="11"/>
                    </a:moveTo>
                    <a:cubicBezTo>
                      <a:pt x="86" y="11"/>
                      <a:pt x="89" y="12"/>
                      <a:pt x="89" y="12"/>
                    </a:cubicBezTo>
                    <a:cubicBezTo>
                      <a:pt x="89" y="12"/>
                      <a:pt x="91" y="10"/>
                      <a:pt x="88" y="1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42" name="Freeform 21">
                <a:extLst>
                  <a:ext uri="{FF2B5EF4-FFF2-40B4-BE49-F238E27FC236}">
                    <a16:creationId xmlns:a16="http://schemas.microsoft.com/office/drawing/2014/main" id="{41C11CBA-9370-BA64-68D0-8DEAFCEC840C}"/>
                  </a:ext>
                </a:extLst>
              </p:cNvPr>
              <p:cNvSpPr>
                <a:spLocks noEditPoints="1"/>
              </p:cNvSpPr>
              <p:nvPr/>
            </p:nvSpPr>
            <p:spPr bwMode="auto">
              <a:xfrm>
                <a:off x="5949" y="2598"/>
                <a:ext cx="18" cy="41"/>
              </a:xfrm>
              <a:custGeom>
                <a:avLst/>
                <a:gdLst>
                  <a:gd name="T0" fmla="*/ 4 w 9"/>
                  <a:gd name="T1" fmla="*/ 14 h 21"/>
                  <a:gd name="T2" fmla="*/ 6 w 9"/>
                  <a:gd name="T3" fmla="*/ 21 h 21"/>
                  <a:gd name="T4" fmla="*/ 9 w 9"/>
                  <a:gd name="T5" fmla="*/ 21 h 21"/>
                  <a:gd name="T6" fmla="*/ 9 w 9"/>
                  <a:gd name="T7" fmla="*/ 19 h 21"/>
                  <a:gd name="T8" fmla="*/ 6 w 9"/>
                  <a:gd name="T9" fmla="*/ 17 h 21"/>
                  <a:gd name="T10" fmla="*/ 6 w 9"/>
                  <a:gd name="T11" fmla="*/ 14 h 21"/>
                  <a:gd name="T12" fmla="*/ 4 w 9"/>
                  <a:gd name="T13" fmla="*/ 14 h 21"/>
                  <a:gd name="T14" fmla="*/ 0 w 9"/>
                  <a:gd name="T15" fmla="*/ 0 h 21"/>
                  <a:gd name="T16" fmla="*/ 1 w 9"/>
                  <a:gd name="T17" fmla="*/ 11 h 21"/>
                  <a:gd name="T18" fmla="*/ 4 w 9"/>
                  <a:gd name="T19" fmla="*/ 10 h 21"/>
                  <a:gd name="T20" fmla="*/ 6 w 9"/>
                  <a:gd name="T21" fmla="*/ 11 h 21"/>
                  <a:gd name="T22" fmla="*/ 5 w 9"/>
                  <a:gd name="T23" fmla="*/ 6 h 21"/>
                  <a:gd name="T24" fmla="*/ 6 w 9"/>
                  <a:gd name="T25" fmla="*/ 5 h 21"/>
                  <a:gd name="T26" fmla="*/ 6 w 9"/>
                  <a:gd name="T27" fmla="*/ 2 h 21"/>
                  <a:gd name="T28" fmla="*/ 2 w 9"/>
                  <a:gd name="T29" fmla="*/ 4 h 21"/>
                  <a:gd name="T30" fmla="*/ 2 w 9"/>
                  <a:gd name="T31" fmla="*/ 2 h 21"/>
                  <a:gd name="T32" fmla="*/ 0 w 9"/>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21">
                    <a:moveTo>
                      <a:pt x="4" y="14"/>
                    </a:moveTo>
                    <a:cubicBezTo>
                      <a:pt x="5" y="17"/>
                      <a:pt x="5" y="18"/>
                      <a:pt x="6" y="21"/>
                    </a:cubicBezTo>
                    <a:cubicBezTo>
                      <a:pt x="7" y="21"/>
                      <a:pt x="8" y="21"/>
                      <a:pt x="9" y="21"/>
                    </a:cubicBezTo>
                    <a:cubicBezTo>
                      <a:pt x="9" y="21"/>
                      <a:pt x="9" y="19"/>
                      <a:pt x="9" y="19"/>
                    </a:cubicBezTo>
                    <a:cubicBezTo>
                      <a:pt x="8" y="18"/>
                      <a:pt x="7" y="18"/>
                      <a:pt x="6" y="17"/>
                    </a:cubicBezTo>
                    <a:cubicBezTo>
                      <a:pt x="5" y="16"/>
                      <a:pt x="6" y="15"/>
                      <a:pt x="6" y="14"/>
                    </a:cubicBezTo>
                    <a:lnTo>
                      <a:pt x="4" y="14"/>
                    </a:lnTo>
                    <a:close/>
                    <a:moveTo>
                      <a:pt x="0" y="0"/>
                    </a:moveTo>
                    <a:cubicBezTo>
                      <a:pt x="0" y="4"/>
                      <a:pt x="0" y="7"/>
                      <a:pt x="1" y="11"/>
                    </a:cubicBezTo>
                    <a:cubicBezTo>
                      <a:pt x="2" y="11"/>
                      <a:pt x="3" y="10"/>
                      <a:pt x="4" y="10"/>
                    </a:cubicBezTo>
                    <a:cubicBezTo>
                      <a:pt x="3" y="11"/>
                      <a:pt x="5" y="11"/>
                      <a:pt x="6" y="11"/>
                    </a:cubicBezTo>
                    <a:cubicBezTo>
                      <a:pt x="7" y="10"/>
                      <a:pt x="5" y="7"/>
                      <a:pt x="5" y="6"/>
                    </a:cubicBezTo>
                    <a:cubicBezTo>
                      <a:pt x="4" y="6"/>
                      <a:pt x="5" y="5"/>
                      <a:pt x="6" y="5"/>
                    </a:cubicBezTo>
                    <a:cubicBezTo>
                      <a:pt x="6" y="5"/>
                      <a:pt x="6" y="2"/>
                      <a:pt x="6" y="2"/>
                    </a:cubicBezTo>
                    <a:cubicBezTo>
                      <a:pt x="5" y="2"/>
                      <a:pt x="3" y="4"/>
                      <a:pt x="2" y="4"/>
                    </a:cubicBezTo>
                    <a:cubicBezTo>
                      <a:pt x="2" y="4"/>
                      <a:pt x="2" y="2"/>
                      <a:pt x="2" y="2"/>
                    </a:cubicBezTo>
                    <a:cubicBezTo>
                      <a:pt x="2" y="1"/>
                      <a:pt x="0" y="0"/>
                      <a:pt x="0"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43" name="Freeform 22">
                <a:extLst>
                  <a:ext uri="{FF2B5EF4-FFF2-40B4-BE49-F238E27FC236}">
                    <a16:creationId xmlns:a16="http://schemas.microsoft.com/office/drawing/2014/main" id="{90DB1388-56FC-861C-6049-2A25F2012090}"/>
                  </a:ext>
                </a:extLst>
              </p:cNvPr>
              <p:cNvSpPr>
                <a:spLocks noEditPoints="1"/>
              </p:cNvSpPr>
              <p:nvPr/>
            </p:nvSpPr>
            <p:spPr bwMode="auto">
              <a:xfrm>
                <a:off x="5949" y="2598"/>
                <a:ext cx="18" cy="41"/>
              </a:xfrm>
              <a:custGeom>
                <a:avLst/>
                <a:gdLst>
                  <a:gd name="T0" fmla="*/ 4 w 9"/>
                  <a:gd name="T1" fmla="*/ 14 h 21"/>
                  <a:gd name="T2" fmla="*/ 6 w 9"/>
                  <a:gd name="T3" fmla="*/ 21 h 21"/>
                  <a:gd name="T4" fmla="*/ 9 w 9"/>
                  <a:gd name="T5" fmla="*/ 21 h 21"/>
                  <a:gd name="T6" fmla="*/ 9 w 9"/>
                  <a:gd name="T7" fmla="*/ 19 h 21"/>
                  <a:gd name="T8" fmla="*/ 6 w 9"/>
                  <a:gd name="T9" fmla="*/ 17 h 21"/>
                  <a:gd name="T10" fmla="*/ 6 w 9"/>
                  <a:gd name="T11" fmla="*/ 14 h 21"/>
                  <a:gd name="T12" fmla="*/ 4 w 9"/>
                  <a:gd name="T13" fmla="*/ 14 h 21"/>
                  <a:gd name="T14" fmla="*/ 0 w 9"/>
                  <a:gd name="T15" fmla="*/ 0 h 21"/>
                  <a:gd name="T16" fmla="*/ 1 w 9"/>
                  <a:gd name="T17" fmla="*/ 11 h 21"/>
                  <a:gd name="T18" fmla="*/ 4 w 9"/>
                  <a:gd name="T19" fmla="*/ 10 h 21"/>
                  <a:gd name="T20" fmla="*/ 6 w 9"/>
                  <a:gd name="T21" fmla="*/ 11 h 21"/>
                  <a:gd name="T22" fmla="*/ 5 w 9"/>
                  <a:gd name="T23" fmla="*/ 6 h 21"/>
                  <a:gd name="T24" fmla="*/ 6 w 9"/>
                  <a:gd name="T25" fmla="*/ 5 h 21"/>
                  <a:gd name="T26" fmla="*/ 6 w 9"/>
                  <a:gd name="T27" fmla="*/ 2 h 21"/>
                  <a:gd name="T28" fmla="*/ 2 w 9"/>
                  <a:gd name="T29" fmla="*/ 4 h 21"/>
                  <a:gd name="T30" fmla="*/ 2 w 9"/>
                  <a:gd name="T31" fmla="*/ 2 h 21"/>
                  <a:gd name="T32" fmla="*/ 0 w 9"/>
                  <a:gd name="T3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21">
                    <a:moveTo>
                      <a:pt x="4" y="14"/>
                    </a:moveTo>
                    <a:cubicBezTo>
                      <a:pt x="5" y="17"/>
                      <a:pt x="5" y="18"/>
                      <a:pt x="6" y="21"/>
                    </a:cubicBezTo>
                    <a:cubicBezTo>
                      <a:pt x="7" y="21"/>
                      <a:pt x="8" y="21"/>
                      <a:pt x="9" y="21"/>
                    </a:cubicBezTo>
                    <a:cubicBezTo>
                      <a:pt x="9" y="21"/>
                      <a:pt x="9" y="19"/>
                      <a:pt x="9" y="19"/>
                    </a:cubicBezTo>
                    <a:cubicBezTo>
                      <a:pt x="8" y="18"/>
                      <a:pt x="7" y="18"/>
                      <a:pt x="6" y="17"/>
                    </a:cubicBezTo>
                    <a:cubicBezTo>
                      <a:pt x="5" y="16"/>
                      <a:pt x="6" y="15"/>
                      <a:pt x="6" y="14"/>
                    </a:cubicBezTo>
                    <a:lnTo>
                      <a:pt x="4" y="14"/>
                    </a:lnTo>
                    <a:close/>
                    <a:moveTo>
                      <a:pt x="0" y="0"/>
                    </a:moveTo>
                    <a:cubicBezTo>
                      <a:pt x="0" y="4"/>
                      <a:pt x="0" y="7"/>
                      <a:pt x="1" y="11"/>
                    </a:cubicBezTo>
                    <a:cubicBezTo>
                      <a:pt x="2" y="11"/>
                      <a:pt x="3" y="10"/>
                      <a:pt x="4" y="10"/>
                    </a:cubicBezTo>
                    <a:cubicBezTo>
                      <a:pt x="3" y="11"/>
                      <a:pt x="5" y="11"/>
                      <a:pt x="6" y="11"/>
                    </a:cubicBezTo>
                    <a:cubicBezTo>
                      <a:pt x="7" y="10"/>
                      <a:pt x="5" y="7"/>
                      <a:pt x="5" y="6"/>
                    </a:cubicBezTo>
                    <a:cubicBezTo>
                      <a:pt x="4" y="6"/>
                      <a:pt x="5" y="5"/>
                      <a:pt x="6" y="5"/>
                    </a:cubicBezTo>
                    <a:cubicBezTo>
                      <a:pt x="6" y="5"/>
                      <a:pt x="6" y="2"/>
                      <a:pt x="6" y="2"/>
                    </a:cubicBezTo>
                    <a:cubicBezTo>
                      <a:pt x="5" y="2"/>
                      <a:pt x="3" y="4"/>
                      <a:pt x="2" y="4"/>
                    </a:cubicBezTo>
                    <a:cubicBezTo>
                      <a:pt x="2" y="4"/>
                      <a:pt x="2" y="2"/>
                      <a:pt x="2" y="2"/>
                    </a:cubicBezTo>
                    <a:cubicBezTo>
                      <a:pt x="2" y="1"/>
                      <a:pt x="0" y="0"/>
                      <a:pt x="0"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44" name="Freeform 23">
                <a:extLst>
                  <a:ext uri="{FF2B5EF4-FFF2-40B4-BE49-F238E27FC236}">
                    <a16:creationId xmlns:a16="http://schemas.microsoft.com/office/drawing/2014/main" id="{516F560B-11D7-A541-9986-6B8FF30533C2}"/>
                  </a:ext>
                </a:extLst>
              </p:cNvPr>
              <p:cNvSpPr>
                <a:spLocks/>
              </p:cNvSpPr>
              <p:nvPr/>
            </p:nvSpPr>
            <p:spPr bwMode="auto">
              <a:xfrm>
                <a:off x="4065" y="1250"/>
                <a:ext cx="282" cy="200"/>
              </a:xfrm>
              <a:custGeom>
                <a:avLst/>
                <a:gdLst>
                  <a:gd name="T0" fmla="*/ 124 w 144"/>
                  <a:gd name="T1" fmla="*/ 39 h 102"/>
                  <a:gd name="T2" fmla="*/ 114 w 144"/>
                  <a:gd name="T3" fmla="*/ 42 h 102"/>
                  <a:gd name="T4" fmla="*/ 107 w 144"/>
                  <a:gd name="T5" fmla="*/ 50 h 102"/>
                  <a:gd name="T6" fmla="*/ 101 w 144"/>
                  <a:gd name="T7" fmla="*/ 54 h 102"/>
                  <a:gd name="T8" fmla="*/ 98 w 144"/>
                  <a:gd name="T9" fmla="*/ 51 h 102"/>
                  <a:gd name="T10" fmla="*/ 83 w 144"/>
                  <a:gd name="T11" fmla="*/ 47 h 102"/>
                  <a:gd name="T12" fmla="*/ 81 w 144"/>
                  <a:gd name="T13" fmla="*/ 42 h 102"/>
                  <a:gd name="T14" fmla="*/ 74 w 144"/>
                  <a:gd name="T15" fmla="*/ 38 h 102"/>
                  <a:gd name="T16" fmla="*/ 69 w 144"/>
                  <a:gd name="T17" fmla="*/ 35 h 102"/>
                  <a:gd name="T18" fmla="*/ 50 w 144"/>
                  <a:gd name="T19" fmla="*/ 33 h 102"/>
                  <a:gd name="T20" fmla="*/ 47 w 144"/>
                  <a:gd name="T21" fmla="*/ 18 h 102"/>
                  <a:gd name="T22" fmla="*/ 40 w 144"/>
                  <a:gd name="T23" fmla="*/ 25 h 102"/>
                  <a:gd name="T24" fmla="*/ 32 w 144"/>
                  <a:gd name="T25" fmla="*/ 22 h 102"/>
                  <a:gd name="T26" fmla="*/ 26 w 144"/>
                  <a:gd name="T27" fmla="*/ 28 h 102"/>
                  <a:gd name="T28" fmla="*/ 28 w 144"/>
                  <a:gd name="T29" fmla="*/ 26 h 102"/>
                  <a:gd name="T30" fmla="*/ 26 w 144"/>
                  <a:gd name="T31" fmla="*/ 20 h 102"/>
                  <a:gd name="T32" fmla="*/ 19 w 144"/>
                  <a:gd name="T33" fmla="*/ 19 h 102"/>
                  <a:gd name="T34" fmla="*/ 19 w 144"/>
                  <a:gd name="T35" fmla="*/ 16 h 102"/>
                  <a:gd name="T36" fmla="*/ 19 w 144"/>
                  <a:gd name="T37" fmla="*/ 9 h 102"/>
                  <a:gd name="T38" fmla="*/ 22 w 144"/>
                  <a:gd name="T39" fmla="*/ 1 h 102"/>
                  <a:gd name="T40" fmla="*/ 10 w 144"/>
                  <a:gd name="T41" fmla="*/ 1 h 102"/>
                  <a:gd name="T42" fmla="*/ 0 w 144"/>
                  <a:gd name="T43" fmla="*/ 46 h 102"/>
                  <a:gd name="T44" fmla="*/ 9 w 144"/>
                  <a:gd name="T45" fmla="*/ 45 h 102"/>
                  <a:gd name="T46" fmla="*/ 7 w 144"/>
                  <a:gd name="T47" fmla="*/ 40 h 102"/>
                  <a:gd name="T48" fmla="*/ 14 w 144"/>
                  <a:gd name="T49" fmla="*/ 39 h 102"/>
                  <a:gd name="T50" fmla="*/ 18 w 144"/>
                  <a:gd name="T51" fmla="*/ 33 h 102"/>
                  <a:gd name="T52" fmla="*/ 23 w 144"/>
                  <a:gd name="T53" fmla="*/ 34 h 102"/>
                  <a:gd name="T54" fmla="*/ 26 w 144"/>
                  <a:gd name="T55" fmla="*/ 45 h 102"/>
                  <a:gd name="T56" fmla="*/ 31 w 144"/>
                  <a:gd name="T57" fmla="*/ 52 h 102"/>
                  <a:gd name="T58" fmla="*/ 31 w 144"/>
                  <a:gd name="T59" fmla="*/ 55 h 102"/>
                  <a:gd name="T60" fmla="*/ 38 w 144"/>
                  <a:gd name="T61" fmla="*/ 54 h 102"/>
                  <a:gd name="T62" fmla="*/ 46 w 144"/>
                  <a:gd name="T63" fmla="*/ 53 h 102"/>
                  <a:gd name="T64" fmla="*/ 53 w 144"/>
                  <a:gd name="T65" fmla="*/ 57 h 102"/>
                  <a:gd name="T66" fmla="*/ 55 w 144"/>
                  <a:gd name="T67" fmla="*/ 64 h 102"/>
                  <a:gd name="T68" fmla="*/ 60 w 144"/>
                  <a:gd name="T69" fmla="*/ 72 h 102"/>
                  <a:gd name="T70" fmla="*/ 65 w 144"/>
                  <a:gd name="T71" fmla="*/ 76 h 102"/>
                  <a:gd name="T72" fmla="*/ 72 w 144"/>
                  <a:gd name="T73" fmla="*/ 83 h 102"/>
                  <a:gd name="T74" fmla="*/ 80 w 144"/>
                  <a:gd name="T75" fmla="*/ 85 h 102"/>
                  <a:gd name="T76" fmla="*/ 87 w 144"/>
                  <a:gd name="T77" fmla="*/ 87 h 102"/>
                  <a:gd name="T78" fmla="*/ 91 w 144"/>
                  <a:gd name="T79" fmla="*/ 89 h 102"/>
                  <a:gd name="T80" fmla="*/ 86 w 144"/>
                  <a:gd name="T81" fmla="*/ 94 h 102"/>
                  <a:gd name="T82" fmla="*/ 90 w 144"/>
                  <a:gd name="T83" fmla="*/ 99 h 102"/>
                  <a:gd name="T84" fmla="*/ 97 w 144"/>
                  <a:gd name="T85" fmla="*/ 102 h 102"/>
                  <a:gd name="T86" fmla="*/ 101 w 144"/>
                  <a:gd name="T87" fmla="*/ 97 h 102"/>
                  <a:gd name="T88" fmla="*/ 104 w 144"/>
                  <a:gd name="T89" fmla="*/ 89 h 102"/>
                  <a:gd name="T90" fmla="*/ 101 w 144"/>
                  <a:gd name="T91" fmla="*/ 83 h 102"/>
                  <a:gd name="T92" fmla="*/ 98 w 144"/>
                  <a:gd name="T93" fmla="*/ 75 h 102"/>
                  <a:gd name="T94" fmla="*/ 108 w 144"/>
                  <a:gd name="T95" fmla="*/ 72 h 102"/>
                  <a:gd name="T96" fmla="*/ 110 w 144"/>
                  <a:gd name="T97" fmla="*/ 65 h 102"/>
                  <a:gd name="T98" fmla="*/ 110 w 144"/>
                  <a:gd name="T99" fmla="*/ 58 h 102"/>
                  <a:gd name="T100" fmla="*/ 117 w 144"/>
                  <a:gd name="T101" fmla="*/ 60 h 102"/>
                  <a:gd name="T102" fmla="*/ 125 w 144"/>
                  <a:gd name="T103" fmla="*/ 56 h 102"/>
                  <a:gd name="T104" fmla="*/ 123 w 144"/>
                  <a:gd name="T105" fmla="*/ 62 h 102"/>
                  <a:gd name="T106" fmla="*/ 125 w 144"/>
                  <a:gd name="T107" fmla="*/ 67 h 102"/>
                  <a:gd name="T108" fmla="*/ 134 w 144"/>
                  <a:gd name="T109" fmla="*/ 64 h 102"/>
                  <a:gd name="T110" fmla="*/ 139 w 144"/>
                  <a:gd name="T111" fmla="*/ 54 h 102"/>
                  <a:gd name="T112" fmla="*/ 131 w 144"/>
                  <a:gd name="T113" fmla="*/ 49 h 102"/>
                  <a:gd name="T114" fmla="*/ 123 w 144"/>
                  <a:gd name="T115" fmla="*/ 46 h 102"/>
                  <a:gd name="T116" fmla="*/ 129 w 144"/>
                  <a:gd name="T117" fmla="*/ 41 h 102"/>
                  <a:gd name="T118" fmla="*/ 124 w 144"/>
                  <a:gd name="T119" fmla="*/ 3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 h="102">
                    <a:moveTo>
                      <a:pt x="128" y="37"/>
                    </a:moveTo>
                    <a:cubicBezTo>
                      <a:pt x="128" y="37"/>
                      <a:pt x="126" y="37"/>
                      <a:pt x="124" y="39"/>
                    </a:cubicBezTo>
                    <a:cubicBezTo>
                      <a:pt x="122" y="40"/>
                      <a:pt x="122" y="40"/>
                      <a:pt x="119" y="40"/>
                    </a:cubicBezTo>
                    <a:cubicBezTo>
                      <a:pt x="117" y="41"/>
                      <a:pt x="115" y="40"/>
                      <a:pt x="114" y="42"/>
                    </a:cubicBezTo>
                    <a:cubicBezTo>
                      <a:pt x="114" y="44"/>
                      <a:pt x="111" y="44"/>
                      <a:pt x="109" y="44"/>
                    </a:cubicBezTo>
                    <a:cubicBezTo>
                      <a:pt x="108" y="45"/>
                      <a:pt x="107" y="50"/>
                      <a:pt x="107" y="50"/>
                    </a:cubicBezTo>
                    <a:cubicBezTo>
                      <a:pt x="107" y="50"/>
                      <a:pt x="104" y="51"/>
                      <a:pt x="101" y="51"/>
                    </a:cubicBezTo>
                    <a:cubicBezTo>
                      <a:pt x="101" y="54"/>
                      <a:pt x="101" y="54"/>
                      <a:pt x="101" y="54"/>
                    </a:cubicBezTo>
                    <a:cubicBezTo>
                      <a:pt x="101" y="54"/>
                      <a:pt x="99" y="55"/>
                      <a:pt x="98" y="55"/>
                    </a:cubicBezTo>
                    <a:cubicBezTo>
                      <a:pt x="97" y="55"/>
                      <a:pt x="99" y="53"/>
                      <a:pt x="98" y="51"/>
                    </a:cubicBezTo>
                    <a:cubicBezTo>
                      <a:pt x="97" y="49"/>
                      <a:pt x="92" y="48"/>
                      <a:pt x="91" y="49"/>
                    </a:cubicBezTo>
                    <a:cubicBezTo>
                      <a:pt x="90" y="50"/>
                      <a:pt x="85" y="48"/>
                      <a:pt x="83" y="47"/>
                    </a:cubicBezTo>
                    <a:cubicBezTo>
                      <a:pt x="81" y="46"/>
                      <a:pt x="83" y="45"/>
                      <a:pt x="83" y="44"/>
                    </a:cubicBezTo>
                    <a:cubicBezTo>
                      <a:pt x="83" y="42"/>
                      <a:pt x="81" y="44"/>
                      <a:pt x="81" y="42"/>
                    </a:cubicBezTo>
                    <a:cubicBezTo>
                      <a:pt x="81" y="39"/>
                      <a:pt x="80" y="39"/>
                      <a:pt x="78" y="40"/>
                    </a:cubicBezTo>
                    <a:cubicBezTo>
                      <a:pt x="76" y="40"/>
                      <a:pt x="75" y="39"/>
                      <a:pt x="74" y="38"/>
                    </a:cubicBezTo>
                    <a:cubicBezTo>
                      <a:pt x="73" y="37"/>
                      <a:pt x="71" y="33"/>
                      <a:pt x="71" y="33"/>
                    </a:cubicBezTo>
                    <a:cubicBezTo>
                      <a:pt x="69" y="35"/>
                      <a:pt x="69" y="35"/>
                      <a:pt x="69" y="35"/>
                    </a:cubicBezTo>
                    <a:cubicBezTo>
                      <a:pt x="69" y="35"/>
                      <a:pt x="62" y="34"/>
                      <a:pt x="59" y="33"/>
                    </a:cubicBezTo>
                    <a:cubicBezTo>
                      <a:pt x="56" y="32"/>
                      <a:pt x="50" y="33"/>
                      <a:pt x="50" y="33"/>
                    </a:cubicBezTo>
                    <a:cubicBezTo>
                      <a:pt x="50" y="33"/>
                      <a:pt x="49" y="25"/>
                      <a:pt x="49" y="23"/>
                    </a:cubicBezTo>
                    <a:cubicBezTo>
                      <a:pt x="49" y="21"/>
                      <a:pt x="47" y="18"/>
                      <a:pt x="47" y="18"/>
                    </a:cubicBezTo>
                    <a:cubicBezTo>
                      <a:pt x="46" y="17"/>
                      <a:pt x="46" y="17"/>
                      <a:pt x="46" y="17"/>
                    </a:cubicBezTo>
                    <a:cubicBezTo>
                      <a:pt x="44" y="19"/>
                      <a:pt x="41" y="25"/>
                      <a:pt x="40" y="25"/>
                    </a:cubicBezTo>
                    <a:cubicBezTo>
                      <a:pt x="38" y="26"/>
                      <a:pt x="35" y="26"/>
                      <a:pt x="33" y="27"/>
                    </a:cubicBezTo>
                    <a:cubicBezTo>
                      <a:pt x="33" y="25"/>
                      <a:pt x="34" y="23"/>
                      <a:pt x="32" y="22"/>
                    </a:cubicBezTo>
                    <a:cubicBezTo>
                      <a:pt x="31" y="22"/>
                      <a:pt x="29" y="28"/>
                      <a:pt x="28" y="30"/>
                    </a:cubicBezTo>
                    <a:cubicBezTo>
                      <a:pt x="27" y="29"/>
                      <a:pt x="27" y="29"/>
                      <a:pt x="26" y="28"/>
                    </a:cubicBezTo>
                    <a:cubicBezTo>
                      <a:pt x="26" y="28"/>
                      <a:pt x="27" y="28"/>
                      <a:pt x="28" y="27"/>
                    </a:cubicBezTo>
                    <a:cubicBezTo>
                      <a:pt x="28" y="26"/>
                      <a:pt x="28" y="26"/>
                      <a:pt x="28" y="26"/>
                    </a:cubicBezTo>
                    <a:cubicBezTo>
                      <a:pt x="28" y="24"/>
                      <a:pt x="28" y="21"/>
                      <a:pt x="28" y="21"/>
                    </a:cubicBezTo>
                    <a:cubicBezTo>
                      <a:pt x="27" y="21"/>
                      <a:pt x="26" y="20"/>
                      <a:pt x="26" y="20"/>
                    </a:cubicBezTo>
                    <a:cubicBezTo>
                      <a:pt x="24" y="21"/>
                      <a:pt x="22" y="22"/>
                      <a:pt x="19" y="23"/>
                    </a:cubicBezTo>
                    <a:cubicBezTo>
                      <a:pt x="19" y="22"/>
                      <a:pt x="19" y="20"/>
                      <a:pt x="19" y="19"/>
                    </a:cubicBezTo>
                    <a:cubicBezTo>
                      <a:pt x="19" y="19"/>
                      <a:pt x="18" y="17"/>
                      <a:pt x="18" y="17"/>
                    </a:cubicBezTo>
                    <a:cubicBezTo>
                      <a:pt x="19" y="17"/>
                      <a:pt x="19" y="17"/>
                      <a:pt x="19" y="16"/>
                    </a:cubicBezTo>
                    <a:cubicBezTo>
                      <a:pt x="18" y="15"/>
                      <a:pt x="17" y="15"/>
                      <a:pt x="17" y="13"/>
                    </a:cubicBezTo>
                    <a:cubicBezTo>
                      <a:pt x="17" y="12"/>
                      <a:pt x="19" y="10"/>
                      <a:pt x="19" y="9"/>
                    </a:cubicBezTo>
                    <a:cubicBezTo>
                      <a:pt x="19" y="9"/>
                      <a:pt x="18" y="5"/>
                      <a:pt x="19" y="3"/>
                    </a:cubicBezTo>
                    <a:cubicBezTo>
                      <a:pt x="19" y="2"/>
                      <a:pt x="21" y="2"/>
                      <a:pt x="22" y="1"/>
                    </a:cubicBezTo>
                    <a:cubicBezTo>
                      <a:pt x="21" y="0"/>
                      <a:pt x="19" y="0"/>
                      <a:pt x="17" y="0"/>
                    </a:cubicBezTo>
                    <a:cubicBezTo>
                      <a:pt x="15" y="0"/>
                      <a:pt x="12" y="1"/>
                      <a:pt x="10" y="1"/>
                    </a:cubicBezTo>
                    <a:cubicBezTo>
                      <a:pt x="8" y="1"/>
                      <a:pt x="1" y="5"/>
                      <a:pt x="1" y="5"/>
                    </a:cubicBezTo>
                    <a:cubicBezTo>
                      <a:pt x="0" y="46"/>
                      <a:pt x="0" y="46"/>
                      <a:pt x="0" y="46"/>
                    </a:cubicBezTo>
                    <a:cubicBezTo>
                      <a:pt x="9" y="47"/>
                      <a:pt x="9" y="47"/>
                      <a:pt x="9" y="47"/>
                    </a:cubicBezTo>
                    <a:cubicBezTo>
                      <a:pt x="9" y="45"/>
                      <a:pt x="9" y="45"/>
                      <a:pt x="9" y="45"/>
                    </a:cubicBezTo>
                    <a:cubicBezTo>
                      <a:pt x="7" y="44"/>
                      <a:pt x="7" y="44"/>
                      <a:pt x="7" y="44"/>
                    </a:cubicBezTo>
                    <a:cubicBezTo>
                      <a:pt x="7" y="40"/>
                      <a:pt x="7" y="40"/>
                      <a:pt x="7" y="40"/>
                    </a:cubicBezTo>
                    <a:cubicBezTo>
                      <a:pt x="9" y="38"/>
                      <a:pt x="9" y="38"/>
                      <a:pt x="9" y="38"/>
                    </a:cubicBezTo>
                    <a:cubicBezTo>
                      <a:pt x="14" y="39"/>
                      <a:pt x="14" y="39"/>
                      <a:pt x="14" y="39"/>
                    </a:cubicBezTo>
                    <a:cubicBezTo>
                      <a:pt x="16" y="36"/>
                      <a:pt x="16" y="36"/>
                      <a:pt x="16" y="36"/>
                    </a:cubicBezTo>
                    <a:cubicBezTo>
                      <a:pt x="18" y="33"/>
                      <a:pt x="18" y="33"/>
                      <a:pt x="18" y="33"/>
                    </a:cubicBezTo>
                    <a:cubicBezTo>
                      <a:pt x="20" y="34"/>
                      <a:pt x="20" y="34"/>
                      <a:pt x="20" y="34"/>
                    </a:cubicBezTo>
                    <a:cubicBezTo>
                      <a:pt x="23" y="34"/>
                      <a:pt x="23" y="34"/>
                      <a:pt x="23" y="34"/>
                    </a:cubicBezTo>
                    <a:cubicBezTo>
                      <a:pt x="24" y="39"/>
                      <a:pt x="24" y="39"/>
                      <a:pt x="24" y="39"/>
                    </a:cubicBezTo>
                    <a:cubicBezTo>
                      <a:pt x="26" y="45"/>
                      <a:pt x="26" y="45"/>
                      <a:pt x="26" y="45"/>
                    </a:cubicBezTo>
                    <a:cubicBezTo>
                      <a:pt x="30" y="47"/>
                      <a:pt x="30" y="47"/>
                      <a:pt x="30" y="47"/>
                    </a:cubicBezTo>
                    <a:cubicBezTo>
                      <a:pt x="31" y="52"/>
                      <a:pt x="31" y="52"/>
                      <a:pt x="31" y="52"/>
                    </a:cubicBezTo>
                    <a:cubicBezTo>
                      <a:pt x="29" y="54"/>
                      <a:pt x="29" y="54"/>
                      <a:pt x="29" y="54"/>
                    </a:cubicBezTo>
                    <a:cubicBezTo>
                      <a:pt x="31" y="55"/>
                      <a:pt x="31" y="55"/>
                      <a:pt x="31" y="55"/>
                    </a:cubicBezTo>
                    <a:cubicBezTo>
                      <a:pt x="34" y="56"/>
                      <a:pt x="34" y="56"/>
                      <a:pt x="34" y="56"/>
                    </a:cubicBezTo>
                    <a:cubicBezTo>
                      <a:pt x="38" y="54"/>
                      <a:pt x="38" y="54"/>
                      <a:pt x="38" y="54"/>
                    </a:cubicBezTo>
                    <a:cubicBezTo>
                      <a:pt x="41" y="53"/>
                      <a:pt x="41" y="53"/>
                      <a:pt x="41" y="53"/>
                    </a:cubicBezTo>
                    <a:cubicBezTo>
                      <a:pt x="46" y="53"/>
                      <a:pt x="46" y="53"/>
                      <a:pt x="46" y="53"/>
                    </a:cubicBezTo>
                    <a:cubicBezTo>
                      <a:pt x="50" y="52"/>
                      <a:pt x="50" y="52"/>
                      <a:pt x="50" y="52"/>
                    </a:cubicBezTo>
                    <a:cubicBezTo>
                      <a:pt x="53" y="57"/>
                      <a:pt x="53" y="57"/>
                      <a:pt x="53" y="57"/>
                    </a:cubicBezTo>
                    <a:cubicBezTo>
                      <a:pt x="53" y="62"/>
                      <a:pt x="53" y="62"/>
                      <a:pt x="53" y="62"/>
                    </a:cubicBezTo>
                    <a:cubicBezTo>
                      <a:pt x="55" y="64"/>
                      <a:pt x="55" y="64"/>
                      <a:pt x="55" y="64"/>
                    </a:cubicBezTo>
                    <a:cubicBezTo>
                      <a:pt x="58" y="67"/>
                      <a:pt x="58" y="67"/>
                      <a:pt x="58" y="67"/>
                    </a:cubicBezTo>
                    <a:cubicBezTo>
                      <a:pt x="60" y="72"/>
                      <a:pt x="60" y="72"/>
                      <a:pt x="60" y="72"/>
                    </a:cubicBezTo>
                    <a:cubicBezTo>
                      <a:pt x="62" y="74"/>
                      <a:pt x="62" y="74"/>
                      <a:pt x="62" y="74"/>
                    </a:cubicBezTo>
                    <a:cubicBezTo>
                      <a:pt x="65" y="76"/>
                      <a:pt x="65" y="76"/>
                      <a:pt x="65" y="76"/>
                    </a:cubicBezTo>
                    <a:cubicBezTo>
                      <a:pt x="69" y="80"/>
                      <a:pt x="69" y="80"/>
                      <a:pt x="69" y="80"/>
                    </a:cubicBezTo>
                    <a:cubicBezTo>
                      <a:pt x="72" y="83"/>
                      <a:pt x="72" y="83"/>
                      <a:pt x="72" y="83"/>
                    </a:cubicBezTo>
                    <a:cubicBezTo>
                      <a:pt x="77" y="82"/>
                      <a:pt x="77" y="82"/>
                      <a:pt x="77" y="82"/>
                    </a:cubicBezTo>
                    <a:cubicBezTo>
                      <a:pt x="80" y="85"/>
                      <a:pt x="80" y="85"/>
                      <a:pt x="80" y="85"/>
                    </a:cubicBezTo>
                    <a:cubicBezTo>
                      <a:pt x="84" y="85"/>
                      <a:pt x="84" y="85"/>
                      <a:pt x="84" y="85"/>
                    </a:cubicBezTo>
                    <a:cubicBezTo>
                      <a:pt x="87" y="87"/>
                      <a:pt x="87" y="87"/>
                      <a:pt x="87" y="87"/>
                    </a:cubicBezTo>
                    <a:cubicBezTo>
                      <a:pt x="90" y="87"/>
                      <a:pt x="90" y="87"/>
                      <a:pt x="90" y="87"/>
                    </a:cubicBezTo>
                    <a:cubicBezTo>
                      <a:pt x="91" y="89"/>
                      <a:pt x="91" y="89"/>
                      <a:pt x="91" y="89"/>
                    </a:cubicBezTo>
                    <a:cubicBezTo>
                      <a:pt x="87" y="91"/>
                      <a:pt x="87" y="91"/>
                      <a:pt x="87" y="91"/>
                    </a:cubicBezTo>
                    <a:cubicBezTo>
                      <a:pt x="86" y="94"/>
                      <a:pt x="86" y="94"/>
                      <a:pt x="86" y="94"/>
                    </a:cubicBezTo>
                    <a:cubicBezTo>
                      <a:pt x="86" y="98"/>
                      <a:pt x="86" y="98"/>
                      <a:pt x="86" y="98"/>
                    </a:cubicBezTo>
                    <a:cubicBezTo>
                      <a:pt x="90" y="99"/>
                      <a:pt x="90" y="99"/>
                      <a:pt x="90" y="99"/>
                    </a:cubicBezTo>
                    <a:cubicBezTo>
                      <a:pt x="93" y="102"/>
                      <a:pt x="93" y="102"/>
                      <a:pt x="93" y="102"/>
                    </a:cubicBezTo>
                    <a:cubicBezTo>
                      <a:pt x="97" y="102"/>
                      <a:pt x="97" y="102"/>
                      <a:pt x="97" y="102"/>
                    </a:cubicBezTo>
                    <a:cubicBezTo>
                      <a:pt x="100" y="101"/>
                      <a:pt x="100" y="101"/>
                      <a:pt x="100" y="101"/>
                    </a:cubicBezTo>
                    <a:cubicBezTo>
                      <a:pt x="100" y="101"/>
                      <a:pt x="101" y="98"/>
                      <a:pt x="101" y="97"/>
                    </a:cubicBezTo>
                    <a:cubicBezTo>
                      <a:pt x="101" y="95"/>
                      <a:pt x="104" y="95"/>
                      <a:pt x="105" y="93"/>
                    </a:cubicBezTo>
                    <a:cubicBezTo>
                      <a:pt x="106" y="92"/>
                      <a:pt x="106" y="90"/>
                      <a:pt x="104" y="89"/>
                    </a:cubicBezTo>
                    <a:cubicBezTo>
                      <a:pt x="102" y="88"/>
                      <a:pt x="104" y="85"/>
                      <a:pt x="105" y="83"/>
                    </a:cubicBezTo>
                    <a:cubicBezTo>
                      <a:pt x="106" y="81"/>
                      <a:pt x="103" y="83"/>
                      <a:pt x="101" y="83"/>
                    </a:cubicBezTo>
                    <a:cubicBezTo>
                      <a:pt x="98" y="83"/>
                      <a:pt x="99" y="82"/>
                      <a:pt x="97" y="80"/>
                    </a:cubicBezTo>
                    <a:cubicBezTo>
                      <a:pt x="94" y="77"/>
                      <a:pt x="96" y="76"/>
                      <a:pt x="98" y="75"/>
                    </a:cubicBezTo>
                    <a:cubicBezTo>
                      <a:pt x="99" y="74"/>
                      <a:pt x="102" y="74"/>
                      <a:pt x="102" y="75"/>
                    </a:cubicBezTo>
                    <a:cubicBezTo>
                      <a:pt x="102" y="78"/>
                      <a:pt x="106" y="73"/>
                      <a:pt x="108" y="72"/>
                    </a:cubicBezTo>
                    <a:cubicBezTo>
                      <a:pt x="109" y="72"/>
                      <a:pt x="110" y="68"/>
                      <a:pt x="109" y="70"/>
                    </a:cubicBezTo>
                    <a:cubicBezTo>
                      <a:pt x="108" y="72"/>
                      <a:pt x="108" y="65"/>
                      <a:pt x="110" y="65"/>
                    </a:cubicBezTo>
                    <a:cubicBezTo>
                      <a:pt x="112" y="65"/>
                      <a:pt x="112" y="62"/>
                      <a:pt x="112" y="62"/>
                    </a:cubicBezTo>
                    <a:cubicBezTo>
                      <a:pt x="112" y="62"/>
                      <a:pt x="110" y="60"/>
                      <a:pt x="110" y="58"/>
                    </a:cubicBezTo>
                    <a:cubicBezTo>
                      <a:pt x="110" y="56"/>
                      <a:pt x="114" y="56"/>
                      <a:pt x="114" y="56"/>
                    </a:cubicBezTo>
                    <a:cubicBezTo>
                      <a:pt x="114" y="56"/>
                      <a:pt x="115" y="59"/>
                      <a:pt x="117" y="60"/>
                    </a:cubicBezTo>
                    <a:cubicBezTo>
                      <a:pt x="119" y="60"/>
                      <a:pt x="120" y="58"/>
                      <a:pt x="120" y="58"/>
                    </a:cubicBezTo>
                    <a:cubicBezTo>
                      <a:pt x="122" y="56"/>
                      <a:pt x="125" y="56"/>
                      <a:pt x="125" y="56"/>
                    </a:cubicBezTo>
                    <a:cubicBezTo>
                      <a:pt x="127" y="61"/>
                      <a:pt x="127" y="61"/>
                      <a:pt x="127" y="61"/>
                    </a:cubicBezTo>
                    <a:cubicBezTo>
                      <a:pt x="123" y="62"/>
                      <a:pt x="123" y="62"/>
                      <a:pt x="123" y="62"/>
                    </a:cubicBezTo>
                    <a:cubicBezTo>
                      <a:pt x="123" y="66"/>
                      <a:pt x="123" y="66"/>
                      <a:pt x="123" y="66"/>
                    </a:cubicBezTo>
                    <a:cubicBezTo>
                      <a:pt x="123" y="66"/>
                      <a:pt x="125" y="65"/>
                      <a:pt x="125" y="67"/>
                    </a:cubicBezTo>
                    <a:cubicBezTo>
                      <a:pt x="126" y="69"/>
                      <a:pt x="130" y="64"/>
                      <a:pt x="130" y="64"/>
                    </a:cubicBezTo>
                    <a:cubicBezTo>
                      <a:pt x="130" y="64"/>
                      <a:pt x="131" y="64"/>
                      <a:pt x="134" y="64"/>
                    </a:cubicBezTo>
                    <a:cubicBezTo>
                      <a:pt x="137" y="64"/>
                      <a:pt x="140" y="58"/>
                      <a:pt x="142" y="56"/>
                    </a:cubicBezTo>
                    <a:cubicBezTo>
                      <a:pt x="144" y="54"/>
                      <a:pt x="142" y="56"/>
                      <a:pt x="139" y="54"/>
                    </a:cubicBezTo>
                    <a:cubicBezTo>
                      <a:pt x="135" y="52"/>
                      <a:pt x="136" y="52"/>
                      <a:pt x="133" y="52"/>
                    </a:cubicBezTo>
                    <a:cubicBezTo>
                      <a:pt x="130" y="52"/>
                      <a:pt x="131" y="52"/>
                      <a:pt x="131" y="49"/>
                    </a:cubicBezTo>
                    <a:cubicBezTo>
                      <a:pt x="131" y="47"/>
                      <a:pt x="130" y="48"/>
                      <a:pt x="127" y="49"/>
                    </a:cubicBezTo>
                    <a:cubicBezTo>
                      <a:pt x="125" y="51"/>
                      <a:pt x="126" y="47"/>
                      <a:pt x="123" y="46"/>
                    </a:cubicBezTo>
                    <a:cubicBezTo>
                      <a:pt x="119" y="46"/>
                      <a:pt x="124" y="45"/>
                      <a:pt x="125" y="44"/>
                    </a:cubicBezTo>
                    <a:cubicBezTo>
                      <a:pt x="127" y="43"/>
                      <a:pt x="126" y="43"/>
                      <a:pt x="129" y="41"/>
                    </a:cubicBezTo>
                    <a:cubicBezTo>
                      <a:pt x="131" y="39"/>
                      <a:pt x="128" y="37"/>
                      <a:pt x="128" y="37"/>
                    </a:cubicBezTo>
                    <a:cubicBezTo>
                      <a:pt x="128" y="37"/>
                      <a:pt x="126" y="37"/>
                      <a:pt x="124" y="39"/>
                    </a:cubicBezTo>
                    <a:lnTo>
                      <a:pt x="128" y="37"/>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45" name="Freeform 24">
                <a:extLst>
                  <a:ext uri="{FF2B5EF4-FFF2-40B4-BE49-F238E27FC236}">
                    <a16:creationId xmlns:a16="http://schemas.microsoft.com/office/drawing/2014/main" id="{40B70E5F-6397-467F-A62C-2E7C654EE758}"/>
                  </a:ext>
                </a:extLst>
              </p:cNvPr>
              <p:cNvSpPr>
                <a:spLocks/>
              </p:cNvSpPr>
              <p:nvPr/>
            </p:nvSpPr>
            <p:spPr bwMode="auto">
              <a:xfrm>
                <a:off x="4065" y="1250"/>
                <a:ext cx="282" cy="200"/>
              </a:xfrm>
              <a:custGeom>
                <a:avLst/>
                <a:gdLst>
                  <a:gd name="T0" fmla="*/ 124 w 144"/>
                  <a:gd name="T1" fmla="*/ 39 h 102"/>
                  <a:gd name="T2" fmla="*/ 114 w 144"/>
                  <a:gd name="T3" fmla="*/ 42 h 102"/>
                  <a:gd name="T4" fmla="*/ 107 w 144"/>
                  <a:gd name="T5" fmla="*/ 50 h 102"/>
                  <a:gd name="T6" fmla="*/ 101 w 144"/>
                  <a:gd name="T7" fmla="*/ 54 h 102"/>
                  <a:gd name="T8" fmla="*/ 98 w 144"/>
                  <a:gd name="T9" fmla="*/ 51 h 102"/>
                  <a:gd name="T10" fmla="*/ 83 w 144"/>
                  <a:gd name="T11" fmla="*/ 47 h 102"/>
                  <a:gd name="T12" fmla="*/ 81 w 144"/>
                  <a:gd name="T13" fmla="*/ 42 h 102"/>
                  <a:gd name="T14" fmla="*/ 74 w 144"/>
                  <a:gd name="T15" fmla="*/ 38 h 102"/>
                  <a:gd name="T16" fmla="*/ 69 w 144"/>
                  <a:gd name="T17" fmla="*/ 35 h 102"/>
                  <a:gd name="T18" fmla="*/ 50 w 144"/>
                  <a:gd name="T19" fmla="*/ 33 h 102"/>
                  <a:gd name="T20" fmla="*/ 47 w 144"/>
                  <a:gd name="T21" fmla="*/ 18 h 102"/>
                  <a:gd name="T22" fmla="*/ 40 w 144"/>
                  <a:gd name="T23" fmla="*/ 25 h 102"/>
                  <a:gd name="T24" fmla="*/ 32 w 144"/>
                  <a:gd name="T25" fmla="*/ 22 h 102"/>
                  <a:gd name="T26" fmla="*/ 26 w 144"/>
                  <a:gd name="T27" fmla="*/ 28 h 102"/>
                  <a:gd name="T28" fmla="*/ 28 w 144"/>
                  <a:gd name="T29" fmla="*/ 26 h 102"/>
                  <a:gd name="T30" fmla="*/ 26 w 144"/>
                  <a:gd name="T31" fmla="*/ 20 h 102"/>
                  <a:gd name="T32" fmla="*/ 19 w 144"/>
                  <a:gd name="T33" fmla="*/ 19 h 102"/>
                  <a:gd name="T34" fmla="*/ 19 w 144"/>
                  <a:gd name="T35" fmla="*/ 16 h 102"/>
                  <a:gd name="T36" fmla="*/ 19 w 144"/>
                  <a:gd name="T37" fmla="*/ 9 h 102"/>
                  <a:gd name="T38" fmla="*/ 22 w 144"/>
                  <a:gd name="T39" fmla="*/ 1 h 102"/>
                  <a:gd name="T40" fmla="*/ 10 w 144"/>
                  <a:gd name="T41" fmla="*/ 1 h 102"/>
                  <a:gd name="T42" fmla="*/ 0 w 144"/>
                  <a:gd name="T43" fmla="*/ 46 h 102"/>
                  <a:gd name="T44" fmla="*/ 9 w 144"/>
                  <a:gd name="T45" fmla="*/ 45 h 102"/>
                  <a:gd name="T46" fmla="*/ 7 w 144"/>
                  <a:gd name="T47" fmla="*/ 40 h 102"/>
                  <a:gd name="T48" fmla="*/ 14 w 144"/>
                  <a:gd name="T49" fmla="*/ 39 h 102"/>
                  <a:gd name="T50" fmla="*/ 18 w 144"/>
                  <a:gd name="T51" fmla="*/ 33 h 102"/>
                  <a:gd name="T52" fmla="*/ 23 w 144"/>
                  <a:gd name="T53" fmla="*/ 34 h 102"/>
                  <a:gd name="T54" fmla="*/ 26 w 144"/>
                  <a:gd name="T55" fmla="*/ 45 h 102"/>
                  <a:gd name="T56" fmla="*/ 31 w 144"/>
                  <a:gd name="T57" fmla="*/ 52 h 102"/>
                  <a:gd name="T58" fmla="*/ 31 w 144"/>
                  <a:gd name="T59" fmla="*/ 55 h 102"/>
                  <a:gd name="T60" fmla="*/ 38 w 144"/>
                  <a:gd name="T61" fmla="*/ 54 h 102"/>
                  <a:gd name="T62" fmla="*/ 46 w 144"/>
                  <a:gd name="T63" fmla="*/ 53 h 102"/>
                  <a:gd name="T64" fmla="*/ 53 w 144"/>
                  <a:gd name="T65" fmla="*/ 57 h 102"/>
                  <a:gd name="T66" fmla="*/ 55 w 144"/>
                  <a:gd name="T67" fmla="*/ 64 h 102"/>
                  <a:gd name="T68" fmla="*/ 60 w 144"/>
                  <a:gd name="T69" fmla="*/ 72 h 102"/>
                  <a:gd name="T70" fmla="*/ 65 w 144"/>
                  <a:gd name="T71" fmla="*/ 76 h 102"/>
                  <a:gd name="T72" fmla="*/ 72 w 144"/>
                  <a:gd name="T73" fmla="*/ 83 h 102"/>
                  <a:gd name="T74" fmla="*/ 80 w 144"/>
                  <a:gd name="T75" fmla="*/ 85 h 102"/>
                  <a:gd name="T76" fmla="*/ 87 w 144"/>
                  <a:gd name="T77" fmla="*/ 87 h 102"/>
                  <a:gd name="T78" fmla="*/ 91 w 144"/>
                  <a:gd name="T79" fmla="*/ 89 h 102"/>
                  <a:gd name="T80" fmla="*/ 86 w 144"/>
                  <a:gd name="T81" fmla="*/ 94 h 102"/>
                  <a:gd name="T82" fmla="*/ 90 w 144"/>
                  <a:gd name="T83" fmla="*/ 99 h 102"/>
                  <a:gd name="T84" fmla="*/ 97 w 144"/>
                  <a:gd name="T85" fmla="*/ 102 h 102"/>
                  <a:gd name="T86" fmla="*/ 101 w 144"/>
                  <a:gd name="T87" fmla="*/ 97 h 102"/>
                  <a:gd name="T88" fmla="*/ 104 w 144"/>
                  <a:gd name="T89" fmla="*/ 89 h 102"/>
                  <a:gd name="T90" fmla="*/ 101 w 144"/>
                  <a:gd name="T91" fmla="*/ 83 h 102"/>
                  <a:gd name="T92" fmla="*/ 98 w 144"/>
                  <a:gd name="T93" fmla="*/ 75 h 102"/>
                  <a:gd name="T94" fmla="*/ 108 w 144"/>
                  <a:gd name="T95" fmla="*/ 72 h 102"/>
                  <a:gd name="T96" fmla="*/ 110 w 144"/>
                  <a:gd name="T97" fmla="*/ 65 h 102"/>
                  <a:gd name="T98" fmla="*/ 110 w 144"/>
                  <a:gd name="T99" fmla="*/ 58 h 102"/>
                  <a:gd name="T100" fmla="*/ 117 w 144"/>
                  <a:gd name="T101" fmla="*/ 60 h 102"/>
                  <a:gd name="T102" fmla="*/ 125 w 144"/>
                  <a:gd name="T103" fmla="*/ 56 h 102"/>
                  <a:gd name="T104" fmla="*/ 123 w 144"/>
                  <a:gd name="T105" fmla="*/ 62 h 102"/>
                  <a:gd name="T106" fmla="*/ 125 w 144"/>
                  <a:gd name="T107" fmla="*/ 67 h 102"/>
                  <a:gd name="T108" fmla="*/ 134 w 144"/>
                  <a:gd name="T109" fmla="*/ 64 h 102"/>
                  <a:gd name="T110" fmla="*/ 139 w 144"/>
                  <a:gd name="T111" fmla="*/ 54 h 102"/>
                  <a:gd name="T112" fmla="*/ 131 w 144"/>
                  <a:gd name="T113" fmla="*/ 49 h 102"/>
                  <a:gd name="T114" fmla="*/ 123 w 144"/>
                  <a:gd name="T115" fmla="*/ 46 h 102"/>
                  <a:gd name="T116" fmla="*/ 129 w 144"/>
                  <a:gd name="T117" fmla="*/ 41 h 102"/>
                  <a:gd name="T118" fmla="*/ 124 w 144"/>
                  <a:gd name="T119" fmla="*/ 3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 h="102">
                    <a:moveTo>
                      <a:pt x="128" y="37"/>
                    </a:moveTo>
                    <a:cubicBezTo>
                      <a:pt x="128" y="37"/>
                      <a:pt x="126" y="37"/>
                      <a:pt x="124" y="39"/>
                    </a:cubicBezTo>
                    <a:cubicBezTo>
                      <a:pt x="122" y="40"/>
                      <a:pt x="122" y="40"/>
                      <a:pt x="119" y="40"/>
                    </a:cubicBezTo>
                    <a:cubicBezTo>
                      <a:pt x="117" y="41"/>
                      <a:pt x="115" y="40"/>
                      <a:pt x="114" y="42"/>
                    </a:cubicBezTo>
                    <a:cubicBezTo>
                      <a:pt x="114" y="44"/>
                      <a:pt x="111" y="44"/>
                      <a:pt x="109" y="44"/>
                    </a:cubicBezTo>
                    <a:cubicBezTo>
                      <a:pt x="108" y="45"/>
                      <a:pt x="107" y="50"/>
                      <a:pt x="107" y="50"/>
                    </a:cubicBezTo>
                    <a:cubicBezTo>
                      <a:pt x="107" y="50"/>
                      <a:pt x="104" y="51"/>
                      <a:pt x="101" y="51"/>
                    </a:cubicBezTo>
                    <a:cubicBezTo>
                      <a:pt x="101" y="54"/>
                      <a:pt x="101" y="54"/>
                      <a:pt x="101" y="54"/>
                    </a:cubicBezTo>
                    <a:cubicBezTo>
                      <a:pt x="101" y="54"/>
                      <a:pt x="99" y="55"/>
                      <a:pt x="98" y="55"/>
                    </a:cubicBezTo>
                    <a:cubicBezTo>
                      <a:pt x="97" y="55"/>
                      <a:pt x="99" y="53"/>
                      <a:pt x="98" y="51"/>
                    </a:cubicBezTo>
                    <a:cubicBezTo>
                      <a:pt x="97" y="49"/>
                      <a:pt x="92" y="48"/>
                      <a:pt x="91" y="49"/>
                    </a:cubicBezTo>
                    <a:cubicBezTo>
                      <a:pt x="90" y="50"/>
                      <a:pt x="85" y="48"/>
                      <a:pt x="83" y="47"/>
                    </a:cubicBezTo>
                    <a:cubicBezTo>
                      <a:pt x="81" y="46"/>
                      <a:pt x="83" y="45"/>
                      <a:pt x="83" y="44"/>
                    </a:cubicBezTo>
                    <a:cubicBezTo>
                      <a:pt x="83" y="42"/>
                      <a:pt x="81" y="44"/>
                      <a:pt x="81" y="42"/>
                    </a:cubicBezTo>
                    <a:cubicBezTo>
                      <a:pt x="81" y="39"/>
                      <a:pt x="80" y="39"/>
                      <a:pt x="78" y="40"/>
                    </a:cubicBezTo>
                    <a:cubicBezTo>
                      <a:pt x="76" y="40"/>
                      <a:pt x="75" y="39"/>
                      <a:pt x="74" y="38"/>
                    </a:cubicBezTo>
                    <a:cubicBezTo>
                      <a:pt x="73" y="37"/>
                      <a:pt x="71" y="33"/>
                      <a:pt x="71" y="33"/>
                    </a:cubicBezTo>
                    <a:cubicBezTo>
                      <a:pt x="69" y="35"/>
                      <a:pt x="69" y="35"/>
                      <a:pt x="69" y="35"/>
                    </a:cubicBezTo>
                    <a:cubicBezTo>
                      <a:pt x="69" y="35"/>
                      <a:pt x="62" y="34"/>
                      <a:pt x="59" y="33"/>
                    </a:cubicBezTo>
                    <a:cubicBezTo>
                      <a:pt x="56" y="32"/>
                      <a:pt x="50" y="33"/>
                      <a:pt x="50" y="33"/>
                    </a:cubicBezTo>
                    <a:cubicBezTo>
                      <a:pt x="50" y="33"/>
                      <a:pt x="49" y="25"/>
                      <a:pt x="49" y="23"/>
                    </a:cubicBezTo>
                    <a:cubicBezTo>
                      <a:pt x="49" y="21"/>
                      <a:pt x="47" y="18"/>
                      <a:pt x="47" y="18"/>
                    </a:cubicBezTo>
                    <a:cubicBezTo>
                      <a:pt x="46" y="17"/>
                      <a:pt x="46" y="17"/>
                      <a:pt x="46" y="17"/>
                    </a:cubicBezTo>
                    <a:cubicBezTo>
                      <a:pt x="44" y="19"/>
                      <a:pt x="41" y="25"/>
                      <a:pt x="40" y="25"/>
                    </a:cubicBezTo>
                    <a:cubicBezTo>
                      <a:pt x="38" y="26"/>
                      <a:pt x="35" y="26"/>
                      <a:pt x="33" y="27"/>
                    </a:cubicBezTo>
                    <a:cubicBezTo>
                      <a:pt x="33" y="25"/>
                      <a:pt x="34" y="23"/>
                      <a:pt x="32" y="22"/>
                    </a:cubicBezTo>
                    <a:cubicBezTo>
                      <a:pt x="31" y="22"/>
                      <a:pt x="29" y="28"/>
                      <a:pt x="28" y="30"/>
                    </a:cubicBezTo>
                    <a:cubicBezTo>
                      <a:pt x="27" y="29"/>
                      <a:pt x="27" y="29"/>
                      <a:pt x="26" y="28"/>
                    </a:cubicBezTo>
                    <a:cubicBezTo>
                      <a:pt x="26" y="28"/>
                      <a:pt x="27" y="28"/>
                      <a:pt x="28" y="27"/>
                    </a:cubicBezTo>
                    <a:cubicBezTo>
                      <a:pt x="28" y="26"/>
                      <a:pt x="28" y="26"/>
                      <a:pt x="28" y="26"/>
                    </a:cubicBezTo>
                    <a:cubicBezTo>
                      <a:pt x="28" y="24"/>
                      <a:pt x="28" y="21"/>
                      <a:pt x="28" y="21"/>
                    </a:cubicBezTo>
                    <a:cubicBezTo>
                      <a:pt x="27" y="21"/>
                      <a:pt x="26" y="20"/>
                      <a:pt x="26" y="20"/>
                    </a:cubicBezTo>
                    <a:cubicBezTo>
                      <a:pt x="24" y="21"/>
                      <a:pt x="22" y="22"/>
                      <a:pt x="19" y="23"/>
                    </a:cubicBezTo>
                    <a:cubicBezTo>
                      <a:pt x="19" y="22"/>
                      <a:pt x="19" y="20"/>
                      <a:pt x="19" y="19"/>
                    </a:cubicBezTo>
                    <a:cubicBezTo>
                      <a:pt x="19" y="19"/>
                      <a:pt x="18" y="17"/>
                      <a:pt x="18" y="17"/>
                    </a:cubicBezTo>
                    <a:cubicBezTo>
                      <a:pt x="19" y="17"/>
                      <a:pt x="19" y="17"/>
                      <a:pt x="19" y="16"/>
                    </a:cubicBezTo>
                    <a:cubicBezTo>
                      <a:pt x="18" y="15"/>
                      <a:pt x="17" y="15"/>
                      <a:pt x="17" y="13"/>
                    </a:cubicBezTo>
                    <a:cubicBezTo>
                      <a:pt x="17" y="12"/>
                      <a:pt x="19" y="10"/>
                      <a:pt x="19" y="9"/>
                    </a:cubicBezTo>
                    <a:cubicBezTo>
                      <a:pt x="19" y="9"/>
                      <a:pt x="18" y="5"/>
                      <a:pt x="19" y="3"/>
                    </a:cubicBezTo>
                    <a:cubicBezTo>
                      <a:pt x="19" y="2"/>
                      <a:pt x="21" y="2"/>
                      <a:pt x="22" y="1"/>
                    </a:cubicBezTo>
                    <a:cubicBezTo>
                      <a:pt x="21" y="0"/>
                      <a:pt x="19" y="0"/>
                      <a:pt x="17" y="0"/>
                    </a:cubicBezTo>
                    <a:cubicBezTo>
                      <a:pt x="15" y="0"/>
                      <a:pt x="12" y="1"/>
                      <a:pt x="10" y="1"/>
                    </a:cubicBezTo>
                    <a:cubicBezTo>
                      <a:pt x="8" y="1"/>
                      <a:pt x="1" y="5"/>
                      <a:pt x="1" y="5"/>
                    </a:cubicBezTo>
                    <a:cubicBezTo>
                      <a:pt x="0" y="46"/>
                      <a:pt x="0" y="46"/>
                      <a:pt x="0" y="46"/>
                    </a:cubicBezTo>
                    <a:cubicBezTo>
                      <a:pt x="9" y="47"/>
                      <a:pt x="9" y="47"/>
                      <a:pt x="9" y="47"/>
                    </a:cubicBezTo>
                    <a:cubicBezTo>
                      <a:pt x="9" y="45"/>
                      <a:pt x="9" y="45"/>
                      <a:pt x="9" y="45"/>
                    </a:cubicBezTo>
                    <a:cubicBezTo>
                      <a:pt x="7" y="44"/>
                      <a:pt x="7" y="44"/>
                      <a:pt x="7" y="44"/>
                    </a:cubicBezTo>
                    <a:cubicBezTo>
                      <a:pt x="7" y="40"/>
                      <a:pt x="7" y="40"/>
                      <a:pt x="7" y="40"/>
                    </a:cubicBezTo>
                    <a:cubicBezTo>
                      <a:pt x="9" y="38"/>
                      <a:pt x="9" y="38"/>
                      <a:pt x="9" y="38"/>
                    </a:cubicBezTo>
                    <a:cubicBezTo>
                      <a:pt x="14" y="39"/>
                      <a:pt x="14" y="39"/>
                      <a:pt x="14" y="39"/>
                    </a:cubicBezTo>
                    <a:cubicBezTo>
                      <a:pt x="16" y="36"/>
                      <a:pt x="16" y="36"/>
                      <a:pt x="16" y="36"/>
                    </a:cubicBezTo>
                    <a:cubicBezTo>
                      <a:pt x="18" y="33"/>
                      <a:pt x="18" y="33"/>
                      <a:pt x="18" y="33"/>
                    </a:cubicBezTo>
                    <a:cubicBezTo>
                      <a:pt x="20" y="34"/>
                      <a:pt x="20" y="34"/>
                      <a:pt x="20" y="34"/>
                    </a:cubicBezTo>
                    <a:cubicBezTo>
                      <a:pt x="23" y="34"/>
                      <a:pt x="23" y="34"/>
                      <a:pt x="23" y="34"/>
                    </a:cubicBezTo>
                    <a:cubicBezTo>
                      <a:pt x="24" y="39"/>
                      <a:pt x="24" y="39"/>
                      <a:pt x="24" y="39"/>
                    </a:cubicBezTo>
                    <a:cubicBezTo>
                      <a:pt x="26" y="45"/>
                      <a:pt x="26" y="45"/>
                      <a:pt x="26" y="45"/>
                    </a:cubicBezTo>
                    <a:cubicBezTo>
                      <a:pt x="30" y="47"/>
                      <a:pt x="30" y="47"/>
                      <a:pt x="30" y="47"/>
                    </a:cubicBezTo>
                    <a:cubicBezTo>
                      <a:pt x="31" y="52"/>
                      <a:pt x="31" y="52"/>
                      <a:pt x="31" y="52"/>
                    </a:cubicBezTo>
                    <a:cubicBezTo>
                      <a:pt x="29" y="54"/>
                      <a:pt x="29" y="54"/>
                      <a:pt x="29" y="54"/>
                    </a:cubicBezTo>
                    <a:cubicBezTo>
                      <a:pt x="31" y="55"/>
                      <a:pt x="31" y="55"/>
                      <a:pt x="31" y="55"/>
                    </a:cubicBezTo>
                    <a:cubicBezTo>
                      <a:pt x="34" y="56"/>
                      <a:pt x="34" y="56"/>
                      <a:pt x="34" y="56"/>
                    </a:cubicBezTo>
                    <a:cubicBezTo>
                      <a:pt x="38" y="54"/>
                      <a:pt x="38" y="54"/>
                      <a:pt x="38" y="54"/>
                    </a:cubicBezTo>
                    <a:cubicBezTo>
                      <a:pt x="41" y="53"/>
                      <a:pt x="41" y="53"/>
                      <a:pt x="41" y="53"/>
                    </a:cubicBezTo>
                    <a:cubicBezTo>
                      <a:pt x="46" y="53"/>
                      <a:pt x="46" y="53"/>
                      <a:pt x="46" y="53"/>
                    </a:cubicBezTo>
                    <a:cubicBezTo>
                      <a:pt x="50" y="52"/>
                      <a:pt x="50" y="52"/>
                      <a:pt x="50" y="52"/>
                    </a:cubicBezTo>
                    <a:cubicBezTo>
                      <a:pt x="53" y="57"/>
                      <a:pt x="53" y="57"/>
                      <a:pt x="53" y="57"/>
                    </a:cubicBezTo>
                    <a:cubicBezTo>
                      <a:pt x="53" y="62"/>
                      <a:pt x="53" y="62"/>
                      <a:pt x="53" y="62"/>
                    </a:cubicBezTo>
                    <a:cubicBezTo>
                      <a:pt x="55" y="64"/>
                      <a:pt x="55" y="64"/>
                      <a:pt x="55" y="64"/>
                    </a:cubicBezTo>
                    <a:cubicBezTo>
                      <a:pt x="58" y="67"/>
                      <a:pt x="58" y="67"/>
                      <a:pt x="58" y="67"/>
                    </a:cubicBezTo>
                    <a:cubicBezTo>
                      <a:pt x="60" y="72"/>
                      <a:pt x="60" y="72"/>
                      <a:pt x="60" y="72"/>
                    </a:cubicBezTo>
                    <a:cubicBezTo>
                      <a:pt x="62" y="74"/>
                      <a:pt x="62" y="74"/>
                      <a:pt x="62" y="74"/>
                    </a:cubicBezTo>
                    <a:cubicBezTo>
                      <a:pt x="65" y="76"/>
                      <a:pt x="65" y="76"/>
                      <a:pt x="65" y="76"/>
                    </a:cubicBezTo>
                    <a:cubicBezTo>
                      <a:pt x="69" y="80"/>
                      <a:pt x="69" y="80"/>
                      <a:pt x="69" y="80"/>
                    </a:cubicBezTo>
                    <a:cubicBezTo>
                      <a:pt x="72" y="83"/>
                      <a:pt x="72" y="83"/>
                      <a:pt x="72" y="83"/>
                    </a:cubicBezTo>
                    <a:cubicBezTo>
                      <a:pt x="77" y="82"/>
                      <a:pt x="77" y="82"/>
                      <a:pt x="77" y="82"/>
                    </a:cubicBezTo>
                    <a:cubicBezTo>
                      <a:pt x="80" y="85"/>
                      <a:pt x="80" y="85"/>
                      <a:pt x="80" y="85"/>
                    </a:cubicBezTo>
                    <a:cubicBezTo>
                      <a:pt x="84" y="85"/>
                      <a:pt x="84" y="85"/>
                      <a:pt x="84" y="85"/>
                    </a:cubicBezTo>
                    <a:cubicBezTo>
                      <a:pt x="87" y="87"/>
                      <a:pt x="87" y="87"/>
                      <a:pt x="87" y="87"/>
                    </a:cubicBezTo>
                    <a:cubicBezTo>
                      <a:pt x="90" y="87"/>
                      <a:pt x="90" y="87"/>
                      <a:pt x="90" y="87"/>
                    </a:cubicBezTo>
                    <a:cubicBezTo>
                      <a:pt x="91" y="89"/>
                      <a:pt x="91" y="89"/>
                      <a:pt x="91" y="89"/>
                    </a:cubicBezTo>
                    <a:cubicBezTo>
                      <a:pt x="87" y="91"/>
                      <a:pt x="87" y="91"/>
                      <a:pt x="87" y="91"/>
                    </a:cubicBezTo>
                    <a:cubicBezTo>
                      <a:pt x="86" y="94"/>
                      <a:pt x="86" y="94"/>
                      <a:pt x="86" y="94"/>
                    </a:cubicBezTo>
                    <a:cubicBezTo>
                      <a:pt x="86" y="98"/>
                      <a:pt x="86" y="98"/>
                      <a:pt x="86" y="98"/>
                    </a:cubicBezTo>
                    <a:cubicBezTo>
                      <a:pt x="90" y="99"/>
                      <a:pt x="90" y="99"/>
                      <a:pt x="90" y="99"/>
                    </a:cubicBezTo>
                    <a:cubicBezTo>
                      <a:pt x="93" y="102"/>
                      <a:pt x="93" y="102"/>
                      <a:pt x="93" y="102"/>
                    </a:cubicBezTo>
                    <a:cubicBezTo>
                      <a:pt x="97" y="102"/>
                      <a:pt x="97" y="102"/>
                      <a:pt x="97" y="102"/>
                    </a:cubicBezTo>
                    <a:cubicBezTo>
                      <a:pt x="100" y="101"/>
                      <a:pt x="100" y="101"/>
                      <a:pt x="100" y="101"/>
                    </a:cubicBezTo>
                    <a:cubicBezTo>
                      <a:pt x="100" y="101"/>
                      <a:pt x="101" y="98"/>
                      <a:pt x="101" y="97"/>
                    </a:cubicBezTo>
                    <a:cubicBezTo>
                      <a:pt x="101" y="95"/>
                      <a:pt x="104" y="95"/>
                      <a:pt x="105" y="93"/>
                    </a:cubicBezTo>
                    <a:cubicBezTo>
                      <a:pt x="106" y="92"/>
                      <a:pt x="106" y="90"/>
                      <a:pt x="104" y="89"/>
                    </a:cubicBezTo>
                    <a:cubicBezTo>
                      <a:pt x="102" y="88"/>
                      <a:pt x="104" y="85"/>
                      <a:pt x="105" y="83"/>
                    </a:cubicBezTo>
                    <a:cubicBezTo>
                      <a:pt x="106" y="81"/>
                      <a:pt x="103" y="83"/>
                      <a:pt x="101" y="83"/>
                    </a:cubicBezTo>
                    <a:cubicBezTo>
                      <a:pt x="98" y="83"/>
                      <a:pt x="99" y="82"/>
                      <a:pt x="97" y="80"/>
                    </a:cubicBezTo>
                    <a:cubicBezTo>
                      <a:pt x="94" y="77"/>
                      <a:pt x="96" y="76"/>
                      <a:pt x="98" y="75"/>
                    </a:cubicBezTo>
                    <a:cubicBezTo>
                      <a:pt x="99" y="74"/>
                      <a:pt x="102" y="74"/>
                      <a:pt x="102" y="75"/>
                    </a:cubicBezTo>
                    <a:cubicBezTo>
                      <a:pt x="102" y="78"/>
                      <a:pt x="106" y="73"/>
                      <a:pt x="108" y="72"/>
                    </a:cubicBezTo>
                    <a:cubicBezTo>
                      <a:pt x="109" y="72"/>
                      <a:pt x="110" y="68"/>
                      <a:pt x="109" y="70"/>
                    </a:cubicBezTo>
                    <a:cubicBezTo>
                      <a:pt x="108" y="72"/>
                      <a:pt x="108" y="65"/>
                      <a:pt x="110" y="65"/>
                    </a:cubicBezTo>
                    <a:cubicBezTo>
                      <a:pt x="112" y="65"/>
                      <a:pt x="112" y="62"/>
                      <a:pt x="112" y="62"/>
                    </a:cubicBezTo>
                    <a:cubicBezTo>
                      <a:pt x="112" y="62"/>
                      <a:pt x="110" y="60"/>
                      <a:pt x="110" y="58"/>
                    </a:cubicBezTo>
                    <a:cubicBezTo>
                      <a:pt x="110" y="56"/>
                      <a:pt x="114" y="56"/>
                      <a:pt x="114" y="56"/>
                    </a:cubicBezTo>
                    <a:cubicBezTo>
                      <a:pt x="114" y="56"/>
                      <a:pt x="115" y="59"/>
                      <a:pt x="117" y="60"/>
                    </a:cubicBezTo>
                    <a:cubicBezTo>
                      <a:pt x="119" y="60"/>
                      <a:pt x="120" y="58"/>
                      <a:pt x="120" y="58"/>
                    </a:cubicBezTo>
                    <a:cubicBezTo>
                      <a:pt x="122" y="56"/>
                      <a:pt x="125" y="56"/>
                      <a:pt x="125" y="56"/>
                    </a:cubicBezTo>
                    <a:cubicBezTo>
                      <a:pt x="127" y="61"/>
                      <a:pt x="127" y="61"/>
                      <a:pt x="127" y="61"/>
                    </a:cubicBezTo>
                    <a:cubicBezTo>
                      <a:pt x="123" y="62"/>
                      <a:pt x="123" y="62"/>
                      <a:pt x="123" y="62"/>
                    </a:cubicBezTo>
                    <a:cubicBezTo>
                      <a:pt x="123" y="66"/>
                      <a:pt x="123" y="66"/>
                      <a:pt x="123" y="66"/>
                    </a:cubicBezTo>
                    <a:cubicBezTo>
                      <a:pt x="123" y="66"/>
                      <a:pt x="125" y="65"/>
                      <a:pt x="125" y="67"/>
                    </a:cubicBezTo>
                    <a:cubicBezTo>
                      <a:pt x="126" y="69"/>
                      <a:pt x="130" y="64"/>
                      <a:pt x="130" y="64"/>
                    </a:cubicBezTo>
                    <a:cubicBezTo>
                      <a:pt x="130" y="64"/>
                      <a:pt x="131" y="64"/>
                      <a:pt x="134" y="64"/>
                    </a:cubicBezTo>
                    <a:cubicBezTo>
                      <a:pt x="137" y="64"/>
                      <a:pt x="140" y="58"/>
                      <a:pt x="142" y="56"/>
                    </a:cubicBezTo>
                    <a:cubicBezTo>
                      <a:pt x="144" y="54"/>
                      <a:pt x="142" y="56"/>
                      <a:pt x="139" y="54"/>
                    </a:cubicBezTo>
                    <a:cubicBezTo>
                      <a:pt x="135" y="52"/>
                      <a:pt x="136" y="52"/>
                      <a:pt x="133" y="52"/>
                    </a:cubicBezTo>
                    <a:cubicBezTo>
                      <a:pt x="130" y="52"/>
                      <a:pt x="131" y="52"/>
                      <a:pt x="131" y="49"/>
                    </a:cubicBezTo>
                    <a:cubicBezTo>
                      <a:pt x="131" y="47"/>
                      <a:pt x="130" y="48"/>
                      <a:pt x="127" y="49"/>
                    </a:cubicBezTo>
                    <a:cubicBezTo>
                      <a:pt x="125" y="51"/>
                      <a:pt x="126" y="47"/>
                      <a:pt x="123" y="46"/>
                    </a:cubicBezTo>
                    <a:cubicBezTo>
                      <a:pt x="119" y="46"/>
                      <a:pt x="124" y="45"/>
                      <a:pt x="125" y="44"/>
                    </a:cubicBezTo>
                    <a:cubicBezTo>
                      <a:pt x="127" y="43"/>
                      <a:pt x="126" y="43"/>
                      <a:pt x="129" y="41"/>
                    </a:cubicBezTo>
                    <a:cubicBezTo>
                      <a:pt x="131" y="39"/>
                      <a:pt x="128" y="37"/>
                      <a:pt x="128" y="37"/>
                    </a:cubicBezTo>
                    <a:cubicBezTo>
                      <a:pt x="128" y="37"/>
                      <a:pt x="126" y="37"/>
                      <a:pt x="124" y="39"/>
                    </a:cubicBezTo>
                    <a:lnTo>
                      <a:pt x="128" y="37"/>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46" name="Freeform 25">
                <a:extLst>
                  <a:ext uri="{FF2B5EF4-FFF2-40B4-BE49-F238E27FC236}">
                    <a16:creationId xmlns:a16="http://schemas.microsoft.com/office/drawing/2014/main" id="{C9915602-E296-A9A4-4C76-C58AD1466311}"/>
                  </a:ext>
                </a:extLst>
              </p:cNvPr>
              <p:cNvSpPr>
                <a:spLocks noEditPoints="1"/>
              </p:cNvSpPr>
              <p:nvPr/>
            </p:nvSpPr>
            <p:spPr bwMode="auto">
              <a:xfrm>
                <a:off x="1003" y="1148"/>
                <a:ext cx="979" cy="565"/>
              </a:xfrm>
              <a:custGeom>
                <a:avLst/>
                <a:gdLst>
                  <a:gd name="T0" fmla="*/ 20 w 499"/>
                  <a:gd name="T1" fmla="*/ 16 h 288"/>
                  <a:gd name="T2" fmla="*/ 17 w 499"/>
                  <a:gd name="T3" fmla="*/ 27 h 288"/>
                  <a:gd name="T4" fmla="*/ 109 w 499"/>
                  <a:gd name="T5" fmla="*/ 93 h 288"/>
                  <a:gd name="T6" fmla="*/ 449 w 499"/>
                  <a:gd name="T7" fmla="*/ 103 h 288"/>
                  <a:gd name="T8" fmla="*/ 287 w 499"/>
                  <a:gd name="T9" fmla="*/ 233 h 288"/>
                  <a:gd name="T10" fmla="*/ 299 w 499"/>
                  <a:gd name="T11" fmla="*/ 239 h 288"/>
                  <a:gd name="T12" fmla="*/ 425 w 499"/>
                  <a:gd name="T13" fmla="*/ 146 h 288"/>
                  <a:gd name="T14" fmla="*/ 288 w 499"/>
                  <a:gd name="T15" fmla="*/ 242 h 288"/>
                  <a:gd name="T16" fmla="*/ 308 w 499"/>
                  <a:gd name="T17" fmla="*/ 243 h 288"/>
                  <a:gd name="T18" fmla="*/ 305 w 499"/>
                  <a:gd name="T19" fmla="*/ 231 h 288"/>
                  <a:gd name="T20" fmla="*/ 318 w 499"/>
                  <a:gd name="T21" fmla="*/ 228 h 288"/>
                  <a:gd name="T22" fmla="*/ 332 w 499"/>
                  <a:gd name="T23" fmla="*/ 226 h 288"/>
                  <a:gd name="T24" fmla="*/ 357 w 499"/>
                  <a:gd name="T25" fmla="*/ 235 h 288"/>
                  <a:gd name="T26" fmla="*/ 371 w 499"/>
                  <a:gd name="T27" fmla="*/ 270 h 288"/>
                  <a:gd name="T28" fmla="*/ 383 w 499"/>
                  <a:gd name="T29" fmla="*/ 282 h 288"/>
                  <a:gd name="T30" fmla="*/ 379 w 499"/>
                  <a:gd name="T31" fmla="*/ 249 h 288"/>
                  <a:gd name="T32" fmla="*/ 377 w 499"/>
                  <a:gd name="T33" fmla="*/ 214 h 288"/>
                  <a:gd name="T34" fmla="*/ 393 w 499"/>
                  <a:gd name="T35" fmla="*/ 198 h 288"/>
                  <a:gd name="T36" fmla="*/ 414 w 499"/>
                  <a:gd name="T37" fmla="*/ 176 h 288"/>
                  <a:gd name="T38" fmla="*/ 415 w 499"/>
                  <a:gd name="T39" fmla="*/ 166 h 288"/>
                  <a:gd name="T40" fmla="*/ 417 w 499"/>
                  <a:gd name="T41" fmla="*/ 150 h 288"/>
                  <a:gd name="T42" fmla="*/ 418 w 499"/>
                  <a:gd name="T43" fmla="*/ 122 h 288"/>
                  <a:gd name="T44" fmla="*/ 417 w 499"/>
                  <a:gd name="T45" fmla="*/ 135 h 288"/>
                  <a:gd name="T46" fmla="*/ 429 w 499"/>
                  <a:gd name="T47" fmla="*/ 134 h 288"/>
                  <a:gd name="T48" fmla="*/ 438 w 499"/>
                  <a:gd name="T49" fmla="*/ 119 h 288"/>
                  <a:gd name="T50" fmla="*/ 446 w 499"/>
                  <a:gd name="T51" fmla="*/ 100 h 288"/>
                  <a:gd name="T52" fmla="*/ 466 w 499"/>
                  <a:gd name="T53" fmla="*/ 92 h 288"/>
                  <a:gd name="T54" fmla="*/ 473 w 499"/>
                  <a:gd name="T55" fmla="*/ 76 h 288"/>
                  <a:gd name="T56" fmla="*/ 484 w 499"/>
                  <a:gd name="T57" fmla="*/ 69 h 288"/>
                  <a:gd name="T58" fmla="*/ 498 w 499"/>
                  <a:gd name="T59" fmla="*/ 54 h 288"/>
                  <a:gd name="T60" fmla="*/ 479 w 499"/>
                  <a:gd name="T61" fmla="*/ 28 h 288"/>
                  <a:gd name="T62" fmla="*/ 424 w 499"/>
                  <a:gd name="T63" fmla="*/ 60 h 288"/>
                  <a:gd name="T64" fmla="*/ 407 w 499"/>
                  <a:gd name="T65" fmla="*/ 77 h 288"/>
                  <a:gd name="T66" fmla="*/ 366 w 499"/>
                  <a:gd name="T67" fmla="*/ 99 h 288"/>
                  <a:gd name="T68" fmla="*/ 365 w 499"/>
                  <a:gd name="T69" fmla="*/ 84 h 288"/>
                  <a:gd name="T70" fmla="*/ 357 w 499"/>
                  <a:gd name="T71" fmla="*/ 57 h 288"/>
                  <a:gd name="T72" fmla="*/ 341 w 499"/>
                  <a:gd name="T73" fmla="*/ 50 h 288"/>
                  <a:gd name="T74" fmla="*/ 323 w 499"/>
                  <a:gd name="T75" fmla="*/ 95 h 288"/>
                  <a:gd name="T76" fmla="*/ 318 w 499"/>
                  <a:gd name="T77" fmla="*/ 61 h 288"/>
                  <a:gd name="T78" fmla="*/ 344 w 499"/>
                  <a:gd name="T79" fmla="*/ 43 h 288"/>
                  <a:gd name="T80" fmla="*/ 320 w 499"/>
                  <a:gd name="T81" fmla="*/ 29 h 288"/>
                  <a:gd name="T82" fmla="*/ 306 w 499"/>
                  <a:gd name="T83" fmla="*/ 30 h 288"/>
                  <a:gd name="T84" fmla="*/ 292 w 499"/>
                  <a:gd name="T85" fmla="*/ 24 h 288"/>
                  <a:gd name="T86" fmla="*/ 278 w 499"/>
                  <a:gd name="T87" fmla="*/ 9 h 288"/>
                  <a:gd name="T88" fmla="*/ 18 w 499"/>
                  <a:gd name="T89" fmla="*/ 6 h 288"/>
                  <a:gd name="T90" fmla="*/ 6 w 499"/>
                  <a:gd name="T91" fmla="*/ 29 h 288"/>
                  <a:gd name="T92" fmla="*/ 6 w 499"/>
                  <a:gd name="T93" fmla="*/ 61 h 288"/>
                  <a:gd name="T94" fmla="*/ 4 w 499"/>
                  <a:gd name="T95" fmla="*/ 111 h 288"/>
                  <a:gd name="T96" fmla="*/ 16 w 499"/>
                  <a:gd name="T97" fmla="*/ 138 h 288"/>
                  <a:gd name="T98" fmla="*/ 20 w 499"/>
                  <a:gd name="T99" fmla="*/ 146 h 288"/>
                  <a:gd name="T100" fmla="*/ 34 w 499"/>
                  <a:gd name="T101" fmla="*/ 170 h 288"/>
                  <a:gd name="T102" fmla="*/ 64 w 499"/>
                  <a:gd name="T103" fmla="*/ 200 h 288"/>
                  <a:gd name="T104" fmla="*/ 162 w 499"/>
                  <a:gd name="T105" fmla="*/ 218 h 288"/>
                  <a:gd name="T106" fmla="*/ 182 w 499"/>
                  <a:gd name="T107" fmla="*/ 243 h 288"/>
                  <a:gd name="T108" fmla="*/ 207 w 499"/>
                  <a:gd name="T109" fmla="*/ 243 h 288"/>
                  <a:gd name="T110" fmla="*/ 222 w 499"/>
                  <a:gd name="T111" fmla="*/ 275 h 288"/>
                  <a:gd name="T112" fmla="*/ 236 w 499"/>
                  <a:gd name="T113" fmla="*/ 275 h 288"/>
                  <a:gd name="T114" fmla="*/ 242 w 499"/>
                  <a:gd name="T115" fmla="*/ 253 h 288"/>
                  <a:gd name="T116" fmla="*/ 257 w 499"/>
                  <a:gd name="T117" fmla="*/ 236 h 288"/>
                  <a:gd name="T118" fmla="*/ 288 w 499"/>
                  <a:gd name="T119"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9" h="288">
                    <a:moveTo>
                      <a:pt x="363" y="82"/>
                    </a:moveTo>
                    <a:cubicBezTo>
                      <a:pt x="367" y="81"/>
                      <a:pt x="363" y="87"/>
                      <a:pt x="362" y="87"/>
                    </a:cubicBezTo>
                    <a:cubicBezTo>
                      <a:pt x="360" y="88"/>
                      <a:pt x="362" y="82"/>
                      <a:pt x="363" y="82"/>
                    </a:cubicBezTo>
                    <a:close/>
                    <a:moveTo>
                      <a:pt x="22" y="9"/>
                    </a:moveTo>
                    <a:cubicBezTo>
                      <a:pt x="22" y="10"/>
                      <a:pt x="23" y="10"/>
                      <a:pt x="23" y="11"/>
                    </a:cubicBezTo>
                    <a:cubicBezTo>
                      <a:pt x="23" y="12"/>
                      <a:pt x="21" y="14"/>
                      <a:pt x="21" y="14"/>
                    </a:cubicBezTo>
                    <a:cubicBezTo>
                      <a:pt x="21" y="15"/>
                      <a:pt x="22" y="19"/>
                      <a:pt x="22" y="19"/>
                    </a:cubicBezTo>
                    <a:cubicBezTo>
                      <a:pt x="20" y="19"/>
                      <a:pt x="21" y="18"/>
                      <a:pt x="20" y="18"/>
                    </a:cubicBezTo>
                    <a:cubicBezTo>
                      <a:pt x="20" y="18"/>
                      <a:pt x="20" y="17"/>
                      <a:pt x="20" y="16"/>
                    </a:cubicBezTo>
                    <a:cubicBezTo>
                      <a:pt x="20" y="16"/>
                      <a:pt x="16" y="11"/>
                      <a:pt x="20" y="12"/>
                    </a:cubicBezTo>
                    <a:cubicBezTo>
                      <a:pt x="20" y="12"/>
                      <a:pt x="20" y="14"/>
                      <a:pt x="20" y="13"/>
                    </a:cubicBezTo>
                    <a:cubicBezTo>
                      <a:pt x="21" y="11"/>
                      <a:pt x="20" y="11"/>
                      <a:pt x="20" y="11"/>
                    </a:cubicBezTo>
                    <a:cubicBezTo>
                      <a:pt x="20" y="11"/>
                      <a:pt x="20" y="11"/>
                      <a:pt x="22" y="10"/>
                    </a:cubicBezTo>
                    <a:lnTo>
                      <a:pt x="22" y="9"/>
                    </a:lnTo>
                    <a:close/>
                    <a:moveTo>
                      <a:pt x="20" y="22"/>
                    </a:moveTo>
                    <a:cubicBezTo>
                      <a:pt x="19" y="22"/>
                      <a:pt x="20" y="23"/>
                      <a:pt x="20" y="23"/>
                    </a:cubicBezTo>
                    <a:cubicBezTo>
                      <a:pt x="20" y="24"/>
                      <a:pt x="19" y="24"/>
                      <a:pt x="18" y="25"/>
                    </a:cubicBezTo>
                    <a:cubicBezTo>
                      <a:pt x="17" y="25"/>
                      <a:pt x="17" y="26"/>
                      <a:pt x="17" y="27"/>
                    </a:cubicBezTo>
                    <a:cubicBezTo>
                      <a:pt x="16" y="26"/>
                      <a:pt x="15" y="26"/>
                      <a:pt x="16" y="25"/>
                    </a:cubicBezTo>
                    <a:cubicBezTo>
                      <a:pt x="17" y="24"/>
                      <a:pt x="18" y="23"/>
                      <a:pt x="20" y="22"/>
                    </a:cubicBezTo>
                    <a:close/>
                    <a:moveTo>
                      <a:pt x="446" y="57"/>
                    </a:moveTo>
                    <a:cubicBezTo>
                      <a:pt x="446" y="58"/>
                      <a:pt x="447" y="60"/>
                      <a:pt x="446" y="63"/>
                    </a:cubicBezTo>
                    <a:cubicBezTo>
                      <a:pt x="445" y="63"/>
                      <a:pt x="445" y="63"/>
                      <a:pt x="445" y="63"/>
                    </a:cubicBezTo>
                    <a:cubicBezTo>
                      <a:pt x="445" y="62"/>
                      <a:pt x="445" y="60"/>
                      <a:pt x="445" y="59"/>
                    </a:cubicBezTo>
                    <a:lnTo>
                      <a:pt x="446" y="57"/>
                    </a:lnTo>
                    <a:close/>
                    <a:moveTo>
                      <a:pt x="103" y="91"/>
                    </a:moveTo>
                    <a:cubicBezTo>
                      <a:pt x="105" y="96"/>
                      <a:pt x="104" y="95"/>
                      <a:pt x="109" y="93"/>
                    </a:cubicBezTo>
                    <a:cubicBezTo>
                      <a:pt x="108" y="95"/>
                      <a:pt x="108" y="95"/>
                      <a:pt x="109" y="96"/>
                    </a:cubicBezTo>
                    <a:cubicBezTo>
                      <a:pt x="109" y="96"/>
                      <a:pt x="109" y="97"/>
                      <a:pt x="110" y="97"/>
                    </a:cubicBezTo>
                    <a:cubicBezTo>
                      <a:pt x="111" y="97"/>
                      <a:pt x="109" y="100"/>
                      <a:pt x="109" y="100"/>
                    </a:cubicBezTo>
                    <a:cubicBezTo>
                      <a:pt x="109" y="100"/>
                      <a:pt x="107" y="101"/>
                      <a:pt x="107" y="101"/>
                    </a:cubicBezTo>
                    <a:cubicBezTo>
                      <a:pt x="105" y="99"/>
                      <a:pt x="101" y="95"/>
                      <a:pt x="101" y="92"/>
                    </a:cubicBezTo>
                    <a:lnTo>
                      <a:pt x="103" y="91"/>
                    </a:lnTo>
                    <a:close/>
                    <a:moveTo>
                      <a:pt x="459" y="102"/>
                    </a:moveTo>
                    <a:cubicBezTo>
                      <a:pt x="456" y="104"/>
                      <a:pt x="456" y="104"/>
                      <a:pt x="456" y="104"/>
                    </a:cubicBezTo>
                    <a:cubicBezTo>
                      <a:pt x="454" y="104"/>
                      <a:pt x="452" y="102"/>
                      <a:pt x="449" y="103"/>
                    </a:cubicBezTo>
                    <a:cubicBezTo>
                      <a:pt x="449" y="103"/>
                      <a:pt x="447" y="105"/>
                      <a:pt x="446" y="105"/>
                    </a:cubicBezTo>
                    <a:cubicBezTo>
                      <a:pt x="445" y="106"/>
                      <a:pt x="444" y="105"/>
                      <a:pt x="443" y="106"/>
                    </a:cubicBezTo>
                    <a:cubicBezTo>
                      <a:pt x="443" y="106"/>
                      <a:pt x="443" y="108"/>
                      <a:pt x="442" y="108"/>
                    </a:cubicBezTo>
                    <a:cubicBezTo>
                      <a:pt x="444" y="108"/>
                      <a:pt x="446" y="109"/>
                      <a:pt x="447" y="108"/>
                    </a:cubicBezTo>
                    <a:cubicBezTo>
                      <a:pt x="448" y="108"/>
                      <a:pt x="450" y="107"/>
                      <a:pt x="451" y="106"/>
                    </a:cubicBezTo>
                    <a:cubicBezTo>
                      <a:pt x="453" y="106"/>
                      <a:pt x="454" y="108"/>
                      <a:pt x="456" y="107"/>
                    </a:cubicBezTo>
                    <a:cubicBezTo>
                      <a:pt x="457" y="107"/>
                      <a:pt x="457" y="105"/>
                      <a:pt x="457" y="104"/>
                    </a:cubicBezTo>
                    <a:cubicBezTo>
                      <a:pt x="457" y="104"/>
                      <a:pt x="461" y="102"/>
                      <a:pt x="459" y="102"/>
                    </a:cubicBezTo>
                    <a:close/>
                    <a:moveTo>
                      <a:pt x="287" y="233"/>
                    </a:moveTo>
                    <a:cubicBezTo>
                      <a:pt x="288" y="233"/>
                      <a:pt x="288" y="235"/>
                      <a:pt x="287" y="235"/>
                    </a:cubicBezTo>
                    <a:cubicBezTo>
                      <a:pt x="287" y="235"/>
                      <a:pt x="286" y="232"/>
                      <a:pt x="287" y="233"/>
                    </a:cubicBezTo>
                    <a:close/>
                    <a:moveTo>
                      <a:pt x="299" y="239"/>
                    </a:moveTo>
                    <a:cubicBezTo>
                      <a:pt x="299" y="239"/>
                      <a:pt x="298" y="240"/>
                      <a:pt x="298" y="240"/>
                    </a:cubicBezTo>
                    <a:cubicBezTo>
                      <a:pt x="298" y="240"/>
                      <a:pt x="298" y="242"/>
                      <a:pt x="299" y="242"/>
                    </a:cubicBezTo>
                    <a:cubicBezTo>
                      <a:pt x="299" y="243"/>
                      <a:pt x="299" y="243"/>
                      <a:pt x="299" y="243"/>
                    </a:cubicBezTo>
                    <a:cubicBezTo>
                      <a:pt x="300" y="242"/>
                      <a:pt x="300" y="244"/>
                      <a:pt x="301" y="243"/>
                    </a:cubicBezTo>
                    <a:cubicBezTo>
                      <a:pt x="303" y="243"/>
                      <a:pt x="301" y="239"/>
                      <a:pt x="301" y="239"/>
                    </a:cubicBezTo>
                    <a:cubicBezTo>
                      <a:pt x="301" y="239"/>
                      <a:pt x="299" y="239"/>
                      <a:pt x="299" y="239"/>
                    </a:cubicBezTo>
                    <a:close/>
                    <a:moveTo>
                      <a:pt x="331" y="45"/>
                    </a:moveTo>
                    <a:cubicBezTo>
                      <a:pt x="331" y="45"/>
                      <a:pt x="331" y="47"/>
                      <a:pt x="331" y="47"/>
                    </a:cubicBezTo>
                    <a:cubicBezTo>
                      <a:pt x="334" y="46"/>
                      <a:pt x="332" y="45"/>
                      <a:pt x="332" y="45"/>
                    </a:cubicBezTo>
                    <a:cubicBezTo>
                      <a:pt x="331" y="45"/>
                      <a:pt x="333" y="44"/>
                      <a:pt x="331" y="45"/>
                    </a:cubicBezTo>
                    <a:close/>
                    <a:moveTo>
                      <a:pt x="475" y="91"/>
                    </a:moveTo>
                    <a:cubicBezTo>
                      <a:pt x="475" y="91"/>
                      <a:pt x="472" y="94"/>
                      <a:pt x="475" y="93"/>
                    </a:cubicBezTo>
                    <a:cubicBezTo>
                      <a:pt x="476" y="93"/>
                      <a:pt x="478" y="90"/>
                      <a:pt x="475" y="91"/>
                    </a:cubicBezTo>
                    <a:close/>
                    <a:moveTo>
                      <a:pt x="425" y="143"/>
                    </a:moveTo>
                    <a:cubicBezTo>
                      <a:pt x="425" y="143"/>
                      <a:pt x="425" y="145"/>
                      <a:pt x="425" y="146"/>
                    </a:cubicBezTo>
                    <a:cubicBezTo>
                      <a:pt x="426" y="146"/>
                      <a:pt x="426" y="146"/>
                      <a:pt x="426" y="146"/>
                    </a:cubicBezTo>
                    <a:cubicBezTo>
                      <a:pt x="426" y="145"/>
                      <a:pt x="425" y="142"/>
                      <a:pt x="425" y="143"/>
                    </a:cubicBezTo>
                    <a:close/>
                    <a:moveTo>
                      <a:pt x="415" y="180"/>
                    </a:moveTo>
                    <a:cubicBezTo>
                      <a:pt x="413" y="180"/>
                      <a:pt x="415" y="181"/>
                      <a:pt x="416" y="181"/>
                    </a:cubicBezTo>
                    <a:cubicBezTo>
                      <a:pt x="416" y="181"/>
                      <a:pt x="417" y="179"/>
                      <a:pt x="415" y="180"/>
                    </a:cubicBezTo>
                    <a:close/>
                    <a:moveTo>
                      <a:pt x="290" y="237"/>
                    </a:moveTo>
                    <a:cubicBezTo>
                      <a:pt x="290" y="238"/>
                      <a:pt x="290" y="238"/>
                      <a:pt x="290" y="238"/>
                    </a:cubicBezTo>
                    <a:cubicBezTo>
                      <a:pt x="287" y="239"/>
                      <a:pt x="289" y="237"/>
                      <a:pt x="290" y="237"/>
                    </a:cubicBezTo>
                    <a:close/>
                    <a:moveTo>
                      <a:pt x="288" y="242"/>
                    </a:moveTo>
                    <a:cubicBezTo>
                      <a:pt x="290" y="243"/>
                      <a:pt x="292" y="242"/>
                      <a:pt x="294" y="243"/>
                    </a:cubicBezTo>
                    <a:cubicBezTo>
                      <a:pt x="294" y="243"/>
                      <a:pt x="294" y="241"/>
                      <a:pt x="294" y="241"/>
                    </a:cubicBezTo>
                    <a:cubicBezTo>
                      <a:pt x="296" y="241"/>
                      <a:pt x="295" y="242"/>
                      <a:pt x="297" y="242"/>
                    </a:cubicBezTo>
                    <a:cubicBezTo>
                      <a:pt x="296" y="237"/>
                      <a:pt x="296" y="240"/>
                      <a:pt x="298" y="235"/>
                    </a:cubicBezTo>
                    <a:cubicBezTo>
                      <a:pt x="299" y="236"/>
                      <a:pt x="303" y="237"/>
                      <a:pt x="304" y="238"/>
                    </a:cubicBezTo>
                    <a:cubicBezTo>
                      <a:pt x="304" y="239"/>
                      <a:pt x="303" y="239"/>
                      <a:pt x="304" y="240"/>
                    </a:cubicBezTo>
                    <a:cubicBezTo>
                      <a:pt x="304" y="241"/>
                      <a:pt x="304" y="241"/>
                      <a:pt x="304" y="241"/>
                    </a:cubicBezTo>
                    <a:cubicBezTo>
                      <a:pt x="305" y="241"/>
                      <a:pt x="307" y="240"/>
                      <a:pt x="308" y="241"/>
                    </a:cubicBezTo>
                    <a:cubicBezTo>
                      <a:pt x="308" y="241"/>
                      <a:pt x="307" y="243"/>
                      <a:pt x="308" y="243"/>
                    </a:cubicBezTo>
                    <a:cubicBezTo>
                      <a:pt x="308" y="244"/>
                      <a:pt x="309" y="243"/>
                      <a:pt x="310" y="243"/>
                    </a:cubicBezTo>
                    <a:cubicBezTo>
                      <a:pt x="310" y="239"/>
                      <a:pt x="310" y="239"/>
                      <a:pt x="310" y="239"/>
                    </a:cubicBezTo>
                    <a:cubicBezTo>
                      <a:pt x="309" y="239"/>
                      <a:pt x="308" y="240"/>
                      <a:pt x="307" y="239"/>
                    </a:cubicBezTo>
                    <a:cubicBezTo>
                      <a:pt x="306" y="239"/>
                      <a:pt x="306" y="236"/>
                      <a:pt x="307" y="237"/>
                    </a:cubicBezTo>
                    <a:cubicBezTo>
                      <a:pt x="308" y="236"/>
                      <a:pt x="308" y="236"/>
                      <a:pt x="310" y="235"/>
                    </a:cubicBezTo>
                    <a:cubicBezTo>
                      <a:pt x="310" y="234"/>
                      <a:pt x="310" y="234"/>
                      <a:pt x="310" y="234"/>
                    </a:cubicBezTo>
                    <a:cubicBezTo>
                      <a:pt x="309" y="234"/>
                      <a:pt x="308" y="233"/>
                      <a:pt x="308" y="233"/>
                    </a:cubicBezTo>
                    <a:cubicBezTo>
                      <a:pt x="308" y="233"/>
                      <a:pt x="307" y="234"/>
                      <a:pt x="306" y="234"/>
                    </a:cubicBezTo>
                    <a:cubicBezTo>
                      <a:pt x="305" y="231"/>
                      <a:pt x="305" y="231"/>
                      <a:pt x="305" y="231"/>
                    </a:cubicBezTo>
                    <a:cubicBezTo>
                      <a:pt x="303" y="231"/>
                      <a:pt x="302" y="232"/>
                      <a:pt x="302" y="232"/>
                    </a:cubicBezTo>
                    <a:cubicBezTo>
                      <a:pt x="302" y="231"/>
                      <a:pt x="302" y="231"/>
                      <a:pt x="302" y="231"/>
                    </a:cubicBezTo>
                    <a:cubicBezTo>
                      <a:pt x="300" y="230"/>
                      <a:pt x="300" y="231"/>
                      <a:pt x="300" y="230"/>
                    </a:cubicBezTo>
                    <a:cubicBezTo>
                      <a:pt x="300" y="230"/>
                      <a:pt x="301" y="229"/>
                      <a:pt x="300" y="229"/>
                    </a:cubicBezTo>
                    <a:cubicBezTo>
                      <a:pt x="302" y="229"/>
                      <a:pt x="304" y="230"/>
                      <a:pt x="306" y="229"/>
                    </a:cubicBezTo>
                    <a:cubicBezTo>
                      <a:pt x="306" y="229"/>
                      <a:pt x="307" y="227"/>
                      <a:pt x="307" y="227"/>
                    </a:cubicBezTo>
                    <a:cubicBezTo>
                      <a:pt x="307" y="227"/>
                      <a:pt x="310" y="226"/>
                      <a:pt x="310" y="226"/>
                    </a:cubicBezTo>
                    <a:cubicBezTo>
                      <a:pt x="313" y="226"/>
                      <a:pt x="314" y="228"/>
                      <a:pt x="316" y="229"/>
                    </a:cubicBezTo>
                    <a:cubicBezTo>
                      <a:pt x="316" y="228"/>
                      <a:pt x="317" y="228"/>
                      <a:pt x="318" y="228"/>
                    </a:cubicBezTo>
                    <a:cubicBezTo>
                      <a:pt x="318" y="228"/>
                      <a:pt x="318" y="226"/>
                      <a:pt x="318" y="225"/>
                    </a:cubicBezTo>
                    <a:cubicBezTo>
                      <a:pt x="319" y="225"/>
                      <a:pt x="319" y="225"/>
                      <a:pt x="319" y="225"/>
                    </a:cubicBezTo>
                    <a:cubicBezTo>
                      <a:pt x="320" y="227"/>
                      <a:pt x="320" y="228"/>
                      <a:pt x="320" y="229"/>
                    </a:cubicBezTo>
                    <a:cubicBezTo>
                      <a:pt x="321" y="229"/>
                      <a:pt x="322" y="230"/>
                      <a:pt x="323" y="229"/>
                    </a:cubicBezTo>
                    <a:cubicBezTo>
                      <a:pt x="326" y="225"/>
                      <a:pt x="326" y="225"/>
                      <a:pt x="326" y="225"/>
                    </a:cubicBezTo>
                    <a:cubicBezTo>
                      <a:pt x="326" y="225"/>
                      <a:pt x="327" y="227"/>
                      <a:pt x="327" y="227"/>
                    </a:cubicBezTo>
                    <a:cubicBezTo>
                      <a:pt x="326" y="228"/>
                      <a:pt x="329" y="228"/>
                      <a:pt x="329" y="228"/>
                    </a:cubicBezTo>
                    <a:cubicBezTo>
                      <a:pt x="330" y="226"/>
                      <a:pt x="330" y="226"/>
                      <a:pt x="330" y="226"/>
                    </a:cubicBezTo>
                    <a:cubicBezTo>
                      <a:pt x="331" y="226"/>
                      <a:pt x="331" y="227"/>
                      <a:pt x="332" y="226"/>
                    </a:cubicBezTo>
                    <a:cubicBezTo>
                      <a:pt x="333" y="227"/>
                      <a:pt x="333" y="227"/>
                      <a:pt x="334" y="227"/>
                    </a:cubicBezTo>
                    <a:cubicBezTo>
                      <a:pt x="334" y="228"/>
                      <a:pt x="333" y="228"/>
                      <a:pt x="333" y="229"/>
                    </a:cubicBezTo>
                    <a:cubicBezTo>
                      <a:pt x="333" y="230"/>
                      <a:pt x="335" y="230"/>
                      <a:pt x="335" y="231"/>
                    </a:cubicBezTo>
                    <a:cubicBezTo>
                      <a:pt x="336" y="231"/>
                      <a:pt x="339" y="231"/>
                      <a:pt x="340" y="231"/>
                    </a:cubicBezTo>
                    <a:cubicBezTo>
                      <a:pt x="341" y="232"/>
                      <a:pt x="340" y="233"/>
                      <a:pt x="341" y="234"/>
                    </a:cubicBezTo>
                    <a:cubicBezTo>
                      <a:pt x="342" y="235"/>
                      <a:pt x="347" y="237"/>
                      <a:pt x="349" y="237"/>
                    </a:cubicBezTo>
                    <a:cubicBezTo>
                      <a:pt x="350" y="236"/>
                      <a:pt x="351" y="233"/>
                      <a:pt x="352" y="233"/>
                    </a:cubicBezTo>
                    <a:cubicBezTo>
                      <a:pt x="353" y="232"/>
                      <a:pt x="354" y="233"/>
                      <a:pt x="355" y="233"/>
                    </a:cubicBezTo>
                    <a:cubicBezTo>
                      <a:pt x="356" y="234"/>
                      <a:pt x="357" y="234"/>
                      <a:pt x="357" y="235"/>
                    </a:cubicBezTo>
                    <a:cubicBezTo>
                      <a:pt x="358" y="237"/>
                      <a:pt x="358" y="239"/>
                      <a:pt x="359" y="240"/>
                    </a:cubicBezTo>
                    <a:cubicBezTo>
                      <a:pt x="359" y="241"/>
                      <a:pt x="362" y="241"/>
                      <a:pt x="363" y="242"/>
                    </a:cubicBezTo>
                    <a:cubicBezTo>
                      <a:pt x="363" y="243"/>
                      <a:pt x="364" y="250"/>
                      <a:pt x="363" y="251"/>
                    </a:cubicBezTo>
                    <a:cubicBezTo>
                      <a:pt x="362" y="253"/>
                      <a:pt x="362" y="253"/>
                      <a:pt x="362" y="253"/>
                    </a:cubicBezTo>
                    <a:cubicBezTo>
                      <a:pt x="362" y="256"/>
                      <a:pt x="363" y="258"/>
                      <a:pt x="363" y="259"/>
                    </a:cubicBezTo>
                    <a:cubicBezTo>
                      <a:pt x="364" y="258"/>
                      <a:pt x="365" y="257"/>
                      <a:pt x="365" y="256"/>
                    </a:cubicBezTo>
                    <a:cubicBezTo>
                      <a:pt x="366" y="256"/>
                      <a:pt x="368" y="256"/>
                      <a:pt x="368" y="256"/>
                    </a:cubicBezTo>
                    <a:cubicBezTo>
                      <a:pt x="367" y="261"/>
                      <a:pt x="366" y="261"/>
                      <a:pt x="365" y="267"/>
                    </a:cubicBezTo>
                    <a:cubicBezTo>
                      <a:pt x="366" y="267"/>
                      <a:pt x="370" y="269"/>
                      <a:pt x="371" y="270"/>
                    </a:cubicBezTo>
                    <a:cubicBezTo>
                      <a:pt x="372" y="271"/>
                      <a:pt x="372" y="276"/>
                      <a:pt x="373" y="278"/>
                    </a:cubicBezTo>
                    <a:cubicBezTo>
                      <a:pt x="373" y="278"/>
                      <a:pt x="374" y="279"/>
                      <a:pt x="375" y="279"/>
                    </a:cubicBezTo>
                    <a:cubicBezTo>
                      <a:pt x="375" y="281"/>
                      <a:pt x="375" y="282"/>
                      <a:pt x="376" y="283"/>
                    </a:cubicBezTo>
                    <a:cubicBezTo>
                      <a:pt x="377" y="284"/>
                      <a:pt x="377" y="283"/>
                      <a:pt x="378" y="284"/>
                    </a:cubicBezTo>
                    <a:cubicBezTo>
                      <a:pt x="379" y="285"/>
                      <a:pt x="379" y="287"/>
                      <a:pt x="380" y="287"/>
                    </a:cubicBezTo>
                    <a:cubicBezTo>
                      <a:pt x="381" y="288"/>
                      <a:pt x="381" y="287"/>
                      <a:pt x="382" y="287"/>
                    </a:cubicBezTo>
                    <a:cubicBezTo>
                      <a:pt x="382" y="286"/>
                      <a:pt x="382" y="286"/>
                      <a:pt x="383" y="285"/>
                    </a:cubicBezTo>
                    <a:cubicBezTo>
                      <a:pt x="382" y="285"/>
                      <a:pt x="382" y="284"/>
                      <a:pt x="382" y="283"/>
                    </a:cubicBezTo>
                    <a:cubicBezTo>
                      <a:pt x="383" y="282"/>
                      <a:pt x="383" y="282"/>
                      <a:pt x="383" y="282"/>
                    </a:cubicBezTo>
                    <a:cubicBezTo>
                      <a:pt x="383" y="281"/>
                      <a:pt x="384" y="280"/>
                      <a:pt x="385" y="279"/>
                    </a:cubicBezTo>
                    <a:cubicBezTo>
                      <a:pt x="385" y="278"/>
                      <a:pt x="384" y="275"/>
                      <a:pt x="385" y="273"/>
                    </a:cubicBezTo>
                    <a:cubicBezTo>
                      <a:pt x="386" y="270"/>
                      <a:pt x="386" y="270"/>
                      <a:pt x="386" y="270"/>
                    </a:cubicBezTo>
                    <a:cubicBezTo>
                      <a:pt x="385" y="270"/>
                      <a:pt x="386" y="267"/>
                      <a:pt x="385" y="266"/>
                    </a:cubicBezTo>
                    <a:cubicBezTo>
                      <a:pt x="384" y="265"/>
                      <a:pt x="384" y="265"/>
                      <a:pt x="384" y="265"/>
                    </a:cubicBezTo>
                    <a:cubicBezTo>
                      <a:pt x="383" y="263"/>
                      <a:pt x="384" y="261"/>
                      <a:pt x="383" y="259"/>
                    </a:cubicBezTo>
                    <a:cubicBezTo>
                      <a:pt x="383" y="258"/>
                      <a:pt x="381" y="256"/>
                      <a:pt x="381" y="255"/>
                    </a:cubicBezTo>
                    <a:cubicBezTo>
                      <a:pt x="380" y="254"/>
                      <a:pt x="382" y="254"/>
                      <a:pt x="381" y="252"/>
                    </a:cubicBezTo>
                    <a:cubicBezTo>
                      <a:pt x="381" y="251"/>
                      <a:pt x="379" y="250"/>
                      <a:pt x="379" y="249"/>
                    </a:cubicBezTo>
                    <a:cubicBezTo>
                      <a:pt x="379" y="249"/>
                      <a:pt x="379" y="246"/>
                      <a:pt x="379" y="246"/>
                    </a:cubicBezTo>
                    <a:cubicBezTo>
                      <a:pt x="379" y="244"/>
                      <a:pt x="376" y="241"/>
                      <a:pt x="376" y="239"/>
                    </a:cubicBezTo>
                    <a:cubicBezTo>
                      <a:pt x="375" y="236"/>
                      <a:pt x="377" y="233"/>
                      <a:pt x="375" y="231"/>
                    </a:cubicBezTo>
                    <a:cubicBezTo>
                      <a:pt x="375" y="230"/>
                      <a:pt x="373" y="230"/>
                      <a:pt x="373" y="229"/>
                    </a:cubicBezTo>
                    <a:cubicBezTo>
                      <a:pt x="373" y="228"/>
                      <a:pt x="373" y="228"/>
                      <a:pt x="373" y="228"/>
                    </a:cubicBezTo>
                    <a:cubicBezTo>
                      <a:pt x="373" y="228"/>
                      <a:pt x="375" y="227"/>
                      <a:pt x="375" y="226"/>
                    </a:cubicBezTo>
                    <a:cubicBezTo>
                      <a:pt x="376" y="224"/>
                      <a:pt x="374" y="223"/>
                      <a:pt x="375" y="221"/>
                    </a:cubicBezTo>
                    <a:cubicBezTo>
                      <a:pt x="376" y="221"/>
                      <a:pt x="376" y="221"/>
                      <a:pt x="376" y="221"/>
                    </a:cubicBezTo>
                    <a:cubicBezTo>
                      <a:pt x="376" y="219"/>
                      <a:pt x="378" y="212"/>
                      <a:pt x="377" y="214"/>
                    </a:cubicBezTo>
                    <a:cubicBezTo>
                      <a:pt x="377" y="212"/>
                      <a:pt x="377" y="212"/>
                      <a:pt x="377" y="212"/>
                    </a:cubicBezTo>
                    <a:cubicBezTo>
                      <a:pt x="381" y="210"/>
                      <a:pt x="381" y="210"/>
                      <a:pt x="381" y="210"/>
                    </a:cubicBezTo>
                    <a:cubicBezTo>
                      <a:pt x="380" y="208"/>
                      <a:pt x="380" y="208"/>
                      <a:pt x="380" y="208"/>
                    </a:cubicBezTo>
                    <a:cubicBezTo>
                      <a:pt x="381" y="207"/>
                      <a:pt x="382" y="208"/>
                      <a:pt x="383" y="207"/>
                    </a:cubicBezTo>
                    <a:cubicBezTo>
                      <a:pt x="384" y="206"/>
                      <a:pt x="384" y="204"/>
                      <a:pt x="385" y="203"/>
                    </a:cubicBezTo>
                    <a:cubicBezTo>
                      <a:pt x="386" y="202"/>
                      <a:pt x="386" y="204"/>
                      <a:pt x="388" y="203"/>
                    </a:cubicBezTo>
                    <a:cubicBezTo>
                      <a:pt x="388" y="203"/>
                      <a:pt x="391" y="200"/>
                      <a:pt x="391" y="200"/>
                    </a:cubicBezTo>
                    <a:cubicBezTo>
                      <a:pt x="391" y="200"/>
                      <a:pt x="390" y="198"/>
                      <a:pt x="391" y="198"/>
                    </a:cubicBezTo>
                    <a:cubicBezTo>
                      <a:pt x="391" y="198"/>
                      <a:pt x="393" y="199"/>
                      <a:pt x="393" y="198"/>
                    </a:cubicBezTo>
                    <a:cubicBezTo>
                      <a:pt x="393" y="198"/>
                      <a:pt x="395" y="193"/>
                      <a:pt x="395" y="193"/>
                    </a:cubicBezTo>
                    <a:cubicBezTo>
                      <a:pt x="396" y="193"/>
                      <a:pt x="395" y="194"/>
                      <a:pt x="397" y="194"/>
                    </a:cubicBezTo>
                    <a:cubicBezTo>
                      <a:pt x="398" y="193"/>
                      <a:pt x="399" y="191"/>
                      <a:pt x="400" y="191"/>
                    </a:cubicBezTo>
                    <a:cubicBezTo>
                      <a:pt x="401" y="190"/>
                      <a:pt x="403" y="191"/>
                      <a:pt x="404" y="190"/>
                    </a:cubicBezTo>
                    <a:cubicBezTo>
                      <a:pt x="409" y="185"/>
                      <a:pt x="409" y="185"/>
                      <a:pt x="409" y="185"/>
                    </a:cubicBezTo>
                    <a:cubicBezTo>
                      <a:pt x="409" y="184"/>
                      <a:pt x="408" y="183"/>
                      <a:pt x="409" y="183"/>
                    </a:cubicBezTo>
                    <a:cubicBezTo>
                      <a:pt x="409" y="182"/>
                      <a:pt x="412" y="181"/>
                      <a:pt x="413" y="181"/>
                    </a:cubicBezTo>
                    <a:cubicBezTo>
                      <a:pt x="412" y="179"/>
                      <a:pt x="411" y="178"/>
                      <a:pt x="411" y="176"/>
                    </a:cubicBezTo>
                    <a:cubicBezTo>
                      <a:pt x="412" y="176"/>
                      <a:pt x="413" y="177"/>
                      <a:pt x="414" y="176"/>
                    </a:cubicBezTo>
                    <a:cubicBezTo>
                      <a:pt x="414" y="175"/>
                      <a:pt x="414" y="175"/>
                      <a:pt x="414" y="175"/>
                    </a:cubicBezTo>
                    <a:cubicBezTo>
                      <a:pt x="415" y="175"/>
                      <a:pt x="415" y="175"/>
                      <a:pt x="415" y="175"/>
                    </a:cubicBezTo>
                    <a:cubicBezTo>
                      <a:pt x="414" y="174"/>
                      <a:pt x="414" y="172"/>
                      <a:pt x="413" y="171"/>
                    </a:cubicBezTo>
                    <a:cubicBezTo>
                      <a:pt x="414" y="171"/>
                      <a:pt x="416" y="170"/>
                      <a:pt x="417" y="170"/>
                    </a:cubicBezTo>
                    <a:cubicBezTo>
                      <a:pt x="417" y="172"/>
                      <a:pt x="417" y="172"/>
                      <a:pt x="417" y="172"/>
                    </a:cubicBezTo>
                    <a:cubicBezTo>
                      <a:pt x="418" y="172"/>
                      <a:pt x="419" y="172"/>
                      <a:pt x="420" y="172"/>
                    </a:cubicBezTo>
                    <a:cubicBezTo>
                      <a:pt x="420" y="172"/>
                      <a:pt x="425" y="167"/>
                      <a:pt x="421" y="170"/>
                    </a:cubicBezTo>
                    <a:cubicBezTo>
                      <a:pt x="420" y="170"/>
                      <a:pt x="421" y="168"/>
                      <a:pt x="421" y="168"/>
                    </a:cubicBezTo>
                    <a:cubicBezTo>
                      <a:pt x="415" y="166"/>
                      <a:pt x="415" y="166"/>
                      <a:pt x="415" y="166"/>
                    </a:cubicBezTo>
                    <a:cubicBezTo>
                      <a:pt x="415" y="166"/>
                      <a:pt x="415" y="164"/>
                      <a:pt x="415" y="164"/>
                    </a:cubicBezTo>
                    <a:cubicBezTo>
                      <a:pt x="417" y="164"/>
                      <a:pt x="419" y="164"/>
                      <a:pt x="420" y="163"/>
                    </a:cubicBezTo>
                    <a:cubicBezTo>
                      <a:pt x="420" y="163"/>
                      <a:pt x="420" y="161"/>
                      <a:pt x="421" y="161"/>
                    </a:cubicBezTo>
                    <a:cubicBezTo>
                      <a:pt x="420" y="160"/>
                      <a:pt x="419" y="161"/>
                      <a:pt x="419" y="159"/>
                    </a:cubicBezTo>
                    <a:cubicBezTo>
                      <a:pt x="419" y="159"/>
                      <a:pt x="420" y="158"/>
                      <a:pt x="420" y="157"/>
                    </a:cubicBezTo>
                    <a:cubicBezTo>
                      <a:pt x="414" y="154"/>
                      <a:pt x="414" y="154"/>
                      <a:pt x="414" y="154"/>
                    </a:cubicBezTo>
                    <a:cubicBezTo>
                      <a:pt x="414" y="154"/>
                      <a:pt x="414" y="153"/>
                      <a:pt x="414" y="152"/>
                    </a:cubicBezTo>
                    <a:cubicBezTo>
                      <a:pt x="414" y="152"/>
                      <a:pt x="412" y="151"/>
                      <a:pt x="412" y="150"/>
                    </a:cubicBezTo>
                    <a:cubicBezTo>
                      <a:pt x="414" y="150"/>
                      <a:pt x="415" y="150"/>
                      <a:pt x="417" y="150"/>
                    </a:cubicBezTo>
                    <a:cubicBezTo>
                      <a:pt x="416" y="148"/>
                      <a:pt x="415" y="146"/>
                      <a:pt x="413" y="144"/>
                    </a:cubicBezTo>
                    <a:cubicBezTo>
                      <a:pt x="414" y="144"/>
                      <a:pt x="415" y="144"/>
                      <a:pt x="415" y="144"/>
                    </a:cubicBezTo>
                    <a:cubicBezTo>
                      <a:pt x="415" y="143"/>
                      <a:pt x="415" y="143"/>
                      <a:pt x="415" y="143"/>
                    </a:cubicBezTo>
                    <a:cubicBezTo>
                      <a:pt x="414" y="142"/>
                      <a:pt x="412" y="141"/>
                      <a:pt x="411" y="140"/>
                    </a:cubicBezTo>
                    <a:cubicBezTo>
                      <a:pt x="412" y="139"/>
                      <a:pt x="411" y="139"/>
                      <a:pt x="413" y="138"/>
                    </a:cubicBezTo>
                    <a:cubicBezTo>
                      <a:pt x="412" y="138"/>
                      <a:pt x="412" y="134"/>
                      <a:pt x="412" y="134"/>
                    </a:cubicBezTo>
                    <a:cubicBezTo>
                      <a:pt x="413" y="134"/>
                      <a:pt x="413" y="134"/>
                      <a:pt x="413" y="134"/>
                    </a:cubicBezTo>
                    <a:cubicBezTo>
                      <a:pt x="415" y="129"/>
                      <a:pt x="415" y="127"/>
                      <a:pt x="415" y="123"/>
                    </a:cubicBezTo>
                    <a:cubicBezTo>
                      <a:pt x="416" y="123"/>
                      <a:pt x="416" y="123"/>
                      <a:pt x="418" y="122"/>
                    </a:cubicBezTo>
                    <a:cubicBezTo>
                      <a:pt x="419" y="121"/>
                      <a:pt x="419" y="121"/>
                      <a:pt x="419" y="121"/>
                    </a:cubicBezTo>
                    <a:cubicBezTo>
                      <a:pt x="419" y="121"/>
                      <a:pt x="421" y="122"/>
                      <a:pt x="422" y="122"/>
                    </a:cubicBezTo>
                    <a:cubicBezTo>
                      <a:pt x="423" y="120"/>
                      <a:pt x="422" y="120"/>
                      <a:pt x="423" y="119"/>
                    </a:cubicBezTo>
                    <a:cubicBezTo>
                      <a:pt x="423" y="119"/>
                      <a:pt x="424" y="121"/>
                      <a:pt x="424" y="122"/>
                    </a:cubicBezTo>
                    <a:cubicBezTo>
                      <a:pt x="422" y="123"/>
                      <a:pt x="420" y="125"/>
                      <a:pt x="419" y="127"/>
                    </a:cubicBezTo>
                    <a:cubicBezTo>
                      <a:pt x="420" y="129"/>
                      <a:pt x="420" y="129"/>
                      <a:pt x="420" y="129"/>
                    </a:cubicBezTo>
                    <a:cubicBezTo>
                      <a:pt x="419" y="130"/>
                      <a:pt x="417" y="131"/>
                      <a:pt x="417" y="132"/>
                    </a:cubicBezTo>
                    <a:cubicBezTo>
                      <a:pt x="416" y="133"/>
                      <a:pt x="417" y="134"/>
                      <a:pt x="418" y="134"/>
                    </a:cubicBezTo>
                    <a:cubicBezTo>
                      <a:pt x="419" y="135"/>
                      <a:pt x="417" y="135"/>
                      <a:pt x="417" y="135"/>
                    </a:cubicBezTo>
                    <a:cubicBezTo>
                      <a:pt x="417" y="136"/>
                      <a:pt x="417" y="140"/>
                      <a:pt x="418" y="140"/>
                    </a:cubicBezTo>
                    <a:cubicBezTo>
                      <a:pt x="418" y="141"/>
                      <a:pt x="418" y="141"/>
                      <a:pt x="418" y="141"/>
                    </a:cubicBezTo>
                    <a:cubicBezTo>
                      <a:pt x="420" y="140"/>
                      <a:pt x="420" y="140"/>
                      <a:pt x="423" y="140"/>
                    </a:cubicBezTo>
                    <a:cubicBezTo>
                      <a:pt x="423" y="140"/>
                      <a:pt x="422" y="143"/>
                      <a:pt x="423" y="144"/>
                    </a:cubicBezTo>
                    <a:cubicBezTo>
                      <a:pt x="424" y="143"/>
                      <a:pt x="426" y="142"/>
                      <a:pt x="428" y="142"/>
                    </a:cubicBezTo>
                    <a:cubicBezTo>
                      <a:pt x="428" y="140"/>
                      <a:pt x="428" y="140"/>
                      <a:pt x="428" y="140"/>
                    </a:cubicBezTo>
                    <a:cubicBezTo>
                      <a:pt x="428" y="140"/>
                      <a:pt x="427" y="140"/>
                      <a:pt x="427" y="138"/>
                    </a:cubicBezTo>
                    <a:cubicBezTo>
                      <a:pt x="427" y="138"/>
                      <a:pt x="428" y="138"/>
                      <a:pt x="428" y="137"/>
                    </a:cubicBezTo>
                    <a:cubicBezTo>
                      <a:pt x="429" y="138"/>
                      <a:pt x="429" y="135"/>
                      <a:pt x="429" y="134"/>
                    </a:cubicBezTo>
                    <a:cubicBezTo>
                      <a:pt x="428" y="134"/>
                      <a:pt x="428" y="134"/>
                      <a:pt x="428" y="134"/>
                    </a:cubicBezTo>
                    <a:cubicBezTo>
                      <a:pt x="428" y="133"/>
                      <a:pt x="430" y="131"/>
                      <a:pt x="429" y="130"/>
                    </a:cubicBezTo>
                    <a:cubicBezTo>
                      <a:pt x="428" y="130"/>
                      <a:pt x="428" y="130"/>
                      <a:pt x="428" y="130"/>
                    </a:cubicBezTo>
                    <a:cubicBezTo>
                      <a:pt x="428" y="129"/>
                      <a:pt x="426" y="127"/>
                      <a:pt x="426" y="126"/>
                    </a:cubicBezTo>
                    <a:cubicBezTo>
                      <a:pt x="426" y="126"/>
                      <a:pt x="426" y="126"/>
                      <a:pt x="426" y="126"/>
                    </a:cubicBezTo>
                    <a:cubicBezTo>
                      <a:pt x="426" y="125"/>
                      <a:pt x="427" y="123"/>
                      <a:pt x="427" y="123"/>
                    </a:cubicBezTo>
                    <a:cubicBezTo>
                      <a:pt x="428" y="123"/>
                      <a:pt x="430" y="125"/>
                      <a:pt x="431" y="126"/>
                    </a:cubicBezTo>
                    <a:cubicBezTo>
                      <a:pt x="432" y="126"/>
                      <a:pt x="433" y="125"/>
                      <a:pt x="434" y="126"/>
                    </a:cubicBezTo>
                    <a:cubicBezTo>
                      <a:pt x="436" y="124"/>
                      <a:pt x="436" y="121"/>
                      <a:pt x="438" y="119"/>
                    </a:cubicBezTo>
                    <a:cubicBezTo>
                      <a:pt x="440" y="120"/>
                      <a:pt x="440" y="120"/>
                      <a:pt x="440" y="120"/>
                    </a:cubicBezTo>
                    <a:cubicBezTo>
                      <a:pt x="440" y="119"/>
                      <a:pt x="441" y="117"/>
                      <a:pt x="441" y="116"/>
                    </a:cubicBezTo>
                    <a:cubicBezTo>
                      <a:pt x="442" y="115"/>
                      <a:pt x="441" y="109"/>
                      <a:pt x="441" y="109"/>
                    </a:cubicBezTo>
                    <a:cubicBezTo>
                      <a:pt x="441" y="109"/>
                      <a:pt x="440" y="109"/>
                      <a:pt x="439" y="109"/>
                    </a:cubicBezTo>
                    <a:cubicBezTo>
                      <a:pt x="439" y="109"/>
                      <a:pt x="439" y="107"/>
                      <a:pt x="439" y="107"/>
                    </a:cubicBezTo>
                    <a:cubicBezTo>
                      <a:pt x="440" y="107"/>
                      <a:pt x="440" y="107"/>
                      <a:pt x="440" y="107"/>
                    </a:cubicBezTo>
                    <a:cubicBezTo>
                      <a:pt x="440" y="106"/>
                      <a:pt x="440" y="106"/>
                      <a:pt x="440" y="106"/>
                    </a:cubicBezTo>
                    <a:cubicBezTo>
                      <a:pt x="441" y="105"/>
                      <a:pt x="445" y="101"/>
                      <a:pt x="446" y="101"/>
                    </a:cubicBezTo>
                    <a:cubicBezTo>
                      <a:pt x="446" y="100"/>
                      <a:pt x="446" y="100"/>
                      <a:pt x="446" y="100"/>
                    </a:cubicBezTo>
                    <a:cubicBezTo>
                      <a:pt x="446" y="99"/>
                      <a:pt x="448" y="100"/>
                      <a:pt x="448" y="100"/>
                    </a:cubicBezTo>
                    <a:cubicBezTo>
                      <a:pt x="449" y="100"/>
                      <a:pt x="449" y="98"/>
                      <a:pt x="450" y="98"/>
                    </a:cubicBezTo>
                    <a:cubicBezTo>
                      <a:pt x="450" y="98"/>
                      <a:pt x="452" y="99"/>
                      <a:pt x="453" y="99"/>
                    </a:cubicBezTo>
                    <a:cubicBezTo>
                      <a:pt x="454" y="98"/>
                      <a:pt x="454" y="96"/>
                      <a:pt x="454" y="96"/>
                    </a:cubicBezTo>
                    <a:cubicBezTo>
                      <a:pt x="456" y="95"/>
                      <a:pt x="458" y="96"/>
                      <a:pt x="460" y="96"/>
                    </a:cubicBezTo>
                    <a:cubicBezTo>
                      <a:pt x="460" y="97"/>
                      <a:pt x="460" y="97"/>
                      <a:pt x="460" y="97"/>
                    </a:cubicBezTo>
                    <a:cubicBezTo>
                      <a:pt x="461" y="98"/>
                      <a:pt x="462" y="96"/>
                      <a:pt x="462" y="97"/>
                    </a:cubicBezTo>
                    <a:cubicBezTo>
                      <a:pt x="461" y="96"/>
                      <a:pt x="462" y="93"/>
                      <a:pt x="462" y="91"/>
                    </a:cubicBezTo>
                    <a:cubicBezTo>
                      <a:pt x="463" y="92"/>
                      <a:pt x="465" y="91"/>
                      <a:pt x="466" y="92"/>
                    </a:cubicBezTo>
                    <a:cubicBezTo>
                      <a:pt x="466" y="92"/>
                      <a:pt x="466" y="94"/>
                      <a:pt x="466" y="94"/>
                    </a:cubicBezTo>
                    <a:cubicBezTo>
                      <a:pt x="466" y="94"/>
                      <a:pt x="467" y="95"/>
                      <a:pt x="468" y="95"/>
                    </a:cubicBezTo>
                    <a:cubicBezTo>
                      <a:pt x="469" y="94"/>
                      <a:pt x="470" y="93"/>
                      <a:pt x="470" y="93"/>
                    </a:cubicBezTo>
                    <a:cubicBezTo>
                      <a:pt x="470" y="92"/>
                      <a:pt x="472" y="93"/>
                      <a:pt x="472" y="93"/>
                    </a:cubicBezTo>
                    <a:cubicBezTo>
                      <a:pt x="472" y="92"/>
                      <a:pt x="472" y="91"/>
                      <a:pt x="471" y="91"/>
                    </a:cubicBezTo>
                    <a:cubicBezTo>
                      <a:pt x="470" y="90"/>
                      <a:pt x="466" y="89"/>
                      <a:pt x="466" y="88"/>
                    </a:cubicBezTo>
                    <a:cubicBezTo>
                      <a:pt x="465" y="87"/>
                      <a:pt x="466" y="87"/>
                      <a:pt x="466" y="86"/>
                    </a:cubicBezTo>
                    <a:cubicBezTo>
                      <a:pt x="467" y="85"/>
                      <a:pt x="468" y="85"/>
                      <a:pt x="470" y="85"/>
                    </a:cubicBezTo>
                    <a:cubicBezTo>
                      <a:pt x="467" y="79"/>
                      <a:pt x="469" y="80"/>
                      <a:pt x="473" y="76"/>
                    </a:cubicBezTo>
                    <a:cubicBezTo>
                      <a:pt x="473" y="75"/>
                      <a:pt x="473" y="75"/>
                      <a:pt x="473" y="75"/>
                    </a:cubicBezTo>
                    <a:cubicBezTo>
                      <a:pt x="472" y="75"/>
                      <a:pt x="472" y="75"/>
                      <a:pt x="472" y="75"/>
                    </a:cubicBezTo>
                    <a:cubicBezTo>
                      <a:pt x="473" y="73"/>
                      <a:pt x="473" y="71"/>
                      <a:pt x="474" y="69"/>
                    </a:cubicBezTo>
                    <a:cubicBezTo>
                      <a:pt x="475" y="70"/>
                      <a:pt x="475" y="70"/>
                      <a:pt x="476" y="70"/>
                    </a:cubicBezTo>
                    <a:cubicBezTo>
                      <a:pt x="475" y="72"/>
                      <a:pt x="478" y="69"/>
                      <a:pt x="478" y="69"/>
                    </a:cubicBezTo>
                    <a:cubicBezTo>
                      <a:pt x="480" y="69"/>
                      <a:pt x="478" y="70"/>
                      <a:pt x="479" y="71"/>
                    </a:cubicBezTo>
                    <a:cubicBezTo>
                      <a:pt x="480" y="71"/>
                      <a:pt x="480" y="71"/>
                      <a:pt x="480" y="71"/>
                    </a:cubicBezTo>
                    <a:cubicBezTo>
                      <a:pt x="480" y="70"/>
                      <a:pt x="480" y="69"/>
                      <a:pt x="480" y="69"/>
                    </a:cubicBezTo>
                    <a:cubicBezTo>
                      <a:pt x="481" y="68"/>
                      <a:pt x="482" y="70"/>
                      <a:pt x="484" y="69"/>
                    </a:cubicBezTo>
                    <a:cubicBezTo>
                      <a:pt x="484" y="66"/>
                      <a:pt x="484" y="65"/>
                      <a:pt x="486" y="62"/>
                    </a:cubicBezTo>
                    <a:cubicBezTo>
                      <a:pt x="486" y="63"/>
                      <a:pt x="487" y="65"/>
                      <a:pt x="487" y="66"/>
                    </a:cubicBezTo>
                    <a:cubicBezTo>
                      <a:pt x="489" y="65"/>
                      <a:pt x="489" y="65"/>
                      <a:pt x="489" y="65"/>
                    </a:cubicBezTo>
                    <a:cubicBezTo>
                      <a:pt x="489" y="65"/>
                      <a:pt x="489" y="63"/>
                      <a:pt x="489" y="63"/>
                    </a:cubicBezTo>
                    <a:cubicBezTo>
                      <a:pt x="490" y="63"/>
                      <a:pt x="491" y="65"/>
                      <a:pt x="492" y="65"/>
                    </a:cubicBezTo>
                    <a:cubicBezTo>
                      <a:pt x="493" y="66"/>
                      <a:pt x="493" y="64"/>
                      <a:pt x="494" y="65"/>
                    </a:cubicBezTo>
                    <a:cubicBezTo>
                      <a:pt x="495" y="64"/>
                      <a:pt x="495" y="63"/>
                      <a:pt x="496" y="62"/>
                    </a:cubicBezTo>
                    <a:cubicBezTo>
                      <a:pt x="497" y="61"/>
                      <a:pt x="498" y="61"/>
                      <a:pt x="499" y="61"/>
                    </a:cubicBezTo>
                    <a:cubicBezTo>
                      <a:pt x="498" y="58"/>
                      <a:pt x="498" y="57"/>
                      <a:pt x="498" y="54"/>
                    </a:cubicBezTo>
                    <a:cubicBezTo>
                      <a:pt x="498" y="54"/>
                      <a:pt x="497" y="54"/>
                      <a:pt x="497" y="54"/>
                    </a:cubicBezTo>
                    <a:cubicBezTo>
                      <a:pt x="497" y="53"/>
                      <a:pt x="498" y="53"/>
                      <a:pt x="498" y="53"/>
                    </a:cubicBezTo>
                    <a:cubicBezTo>
                      <a:pt x="498" y="53"/>
                      <a:pt x="497" y="52"/>
                      <a:pt x="496" y="52"/>
                    </a:cubicBezTo>
                    <a:cubicBezTo>
                      <a:pt x="495" y="52"/>
                      <a:pt x="496" y="50"/>
                      <a:pt x="496" y="47"/>
                    </a:cubicBezTo>
                    <a:cubicBezTo>
                      <a:pt x="496" y="45"/>
                      <a:pt x="492" y="46"/>
                      <a:pt x="492" y="46"/>
                    </a:cubicBezTo>
                    <a:cubicBezTo>
                      <a:pt x="492" y="46"/>
                      <a:pt x="492" y="39"/>
                      <a:pt x="492" y="34"/>
                    </a:cubicBezTo>
                    <a:cubicBezTo>
                      <a:pt x="493" y="29"/>
                      <a:pt x="490" y="28"/>
                      <a:pt x="486" y="27"/>
                    </a:cubicBezTo>
                    <a:cubicBezTo>
                      <a:pt x="483" y="26"/>
                      <a:pt x="482" y="33"/>
                      <a:pt x="482" y="29"/>
                    </a:cubicBezTo>
                    <a:cubicBezTo>
                      <a:pt x="481" y="25"/>
                      <a:pt x="479" y="28"/>
                      <a:pt x="479" y="28"/>
                    </a:cubicBezTo>
                    <a:cubicBezTo>
                      <a:pt x="476" y="33"/>
                      <a:pt x="476" y="33"/>
                      <a:pt x="476" y="33"/>
                    </a:cubicBezTo>
                    <a:cubicBezTo>
                      <a:pt x="476" y="33"/>
                      <a:pt x="473" y="38"/>
                      <a:pt x="474" y="40"/>
                    </a:cubicBezTo>
                    <a:cubicBezTo>
                      <a:pt x="474" y="41"/>
                      <a:pt x="468" y="47"/>
                      <a:pt x="466" y="47"/>
                    </a:cubicBezTo>
                    <a:cubicBezTo>
                      <a:pt x="464" y="48"/>
                      <a:pt x="463" y="51"/>
                      <a:pt x="463" y="51"/>
                    </a:cubicBezTo>
                    <a:cubicBezTo>
                      <a:pt x="463" y="51"/>
                      <a:pt x="441" y="54"/>
                      <a:pt x="438" y="54"/>
                    </a:cubicBezTo>
                    <a:cubicBezTo>
                      <a:pt x="436" y="53"/>
                      <a:pt x="436" y="52"/>
                      <a:pt x="429" y="56"/>
                    </a:cubicBezTo>
                    <a:cubicBezTo>
                      <a:pt x="422" y="60"/>
                      <a:pt x="421" y="62"/>
                      <a:pt x="421" y="62"/>
                    </a:cubicBezTo>
                    <a:cubicBezTo>
                      <a:pt x="421" y="62"/>
                      <a:pt x="421" y="63"/>
                      <a:pt x="421" y="63"/>
                    </a:cubicBezTo>
                    <a:cubicBezTo>
                      <a:pt x="424" y="60"/>
                      <a:pt x="424" y="60"/>
                      <a:pt x="424" y="60"/>
                    </a:cubicBezTo>
                    <a:cubicBezTo>
                      <a:pt x="423" y="61"/>
                      <a:pt x="424" y="63"/>
                      <a:pt x="423" y="65"/>
                    </a:cubicBezTo>
                    <a:cubicBezTo>
                      <a:pt x="423" y="65"/>
                      <a:pt x="421" y="65"/>
                      <a:pt x="421" y="66"/>
                    </a:cubicBezTo>
                    <a:cubicBezTo>
                      <a:pt x="420" y="67"/>
                      <a:pt x="422" y="67"/>
                      <a:pt x="421" y="69"/>
                    </a:cubicBezTo>
                    <a:cubicBezTo>
                      <a:pt x="421" y="69"/>
                      <a:pt x="419" y="70"/>
                      <a:pt x="419" y="71"/>
                    </a:cubicBezTo>
                    <a:cubicBezTo>
                      <a:pt x="420" y="71"/>
                      <a:pt x="419" y="73"/>
                      <a:pt x="419" y="74"/>
                    </a:cubicBezTo>
                    <a:cubicBezTo>
                      <a:pt x="417" y="74"/>
                      <a:pt x="415" y="74"/>
                      <a:pt x="414" y="75"/>
                    </a:cubicBezTo>
                    <a:cubicBezTo>
                      <a:pt x="414" y="75"/>
                      <a:pt x="413" y="76"/>
                      <a:pt x="413" y="77"/>
                    </a:cubicBezTo>
                    <a:cubicBezTo>
                      <a:pt x="411" y="77"/>
                      <a:pt x="410" y="76"/>
                      <a:pt x="408" y="76"/>
                    </a:cubicBezTo>
                    <a:cubicBezTo>
                      <a:pt x="407" y="77"/>
                      <a:pt x="407" y="77"/>
                      <a:pt x="407" y="77"/>
                    </a:cubicBezTo>
                    <a:cubicBezTo>
                      <a:pt x="402" y="76"/>
                      <a:pt x="399" y="77"/>
                      <a:pt x="394" y="77"/>
                    </a:cubicBezTo>
                    <a:cubicBezTo>
                      <a:pt x="394" y="78"/>
                      <a:pt x="393" y="77"/>
                      <a:pt x="393" y="79"/>
                    </a:cubicBezTo>
                    <a:cubicBezTo>
                      <a:pt x="393" y="79"/>
                      <a:pt x="395" y="80"/>
                      <a:pt x="395" y="81"/>
                    </a:cubicBezTo>
                    <a:cubicBezTo>
                      <a:pt x="393" y="83"/>
                      <a:pt x="391" y="87"/>
                      <a:pt x="388" y="89"/>
                    </a:cubicBezTo>
                    <a:cubicBezTo>
                      <a:pt x="386" y="89"/>
                      <a:pt x="385" y="88"/>
                      <a:pt x="384" y="89"/>
                    </a:cubicBezTo>
                    <a:cubicBezTo>
                      <a:pt x="383" y="90"/>
                      <a:pt x="382" y="92"/>
                      <a:pt x="381" y="92"/>
                    </a:cubicBezTo>
                    <a:cubicBezTo>
                      <a:pt x="378" y="93"/>
                      <a:pt x="376" y="92"/>
                      <a:pt x="374" y="93"/>
                    </a:cubicBezTo>
                    <a:cubicBezTo>
                      <a:pt x="374" y="94"/>
                      <a:pt x="374" y="94"/>
                      <a:pt x="374" y="94"/>
                    </a:cubicBezTo>
                    <a:cubicBezTo>
                      <a:pt x="373" y="96"/>
                      <a:pt x="369" y="99"/>
                      <a:pt x="366" y="99"/>
                    </a:cubicBezTo>
                    <a:cubicBezTo>
                      <a:pt x="361" y="100"/>
                      <a:pt x="358" y="97"/>
                      <a:pt x="362" y="98"/>
                    </a:cubicBezTo>
                    <a:cubicBezTo>
                      <a:pt x="362" y="97"/>
                      <a:pt x="362" y="97"/>
                      <a:pt x="362" y="97"/>
                    </a:cubicBezTo>
                    <a:cubicBezTo>
                      <a:pt x="362" y="96"/>
                      <a:pt x="360" y="97"/>
                      <a:pt x="360" y="97"/>
                    </a:cubicBezTo>
                    <a:cubicBezTo>
                      <a:pt x="360" y="96"/>
                      <a:pt x="360" y="95"/>
                      <a:pt x="359" y="95"/>
                    </a:cubicBezTo>
                    <a:cubicBezTo>
                      <a:pt x="359" y="94"/>
                      <a:pt x="356" y="95"/>
                      <a:pt x="357" y="95"/>
                    </a:cubicBezTo>
                    <a:cubicBezTo>
                      <a:pt x="356" y="93"/>
                      <a:pt x="356" y="93"/>
                      <a:pt x="356" y="93"/>
                    </a:cubicBezTo>
                    <a:cubicBezTo>
                      <a:pt x="357" y="92"/>
                      <a:pt x="359" y="91"/>
                      <a:pt x="360" y="90"/>
                    </a:cubicBezTo>
                    <a:cubicBezTo>
                      <a:pt x="360" y="90"/>
                      <a:pt x="360" y="89"/>
                      <a:pt x="360" y="89"/>
                    </a:cubicBezTo>
                    <a:cubicBezTo>
                      <a:pt x="362" y="87"/>
                      <a:pt x="365" y="86"/>
                      <a:pt x="365" y="84"/>
                    </a:cubicBezTo>
                    <a:cubicBezTo>
                      <a:pt x="365" y="81"/>
                      <a:pt x="365" y="79"/>
                      <a:pt x="366" y="78"/>
                    </a:cubicBezTo>
                    <a:cubicBezTo>
                      <a:pt x="365" y="78"/>
                      <a:pt x="365" y="79"/>
                      <a:pt x="365" y="79"/>
                    </a:cubicBezTo>
                    <a:cubicBezTo>
                      <a:pt x="365" y="79"/>
                      <a:pt x="366" y="78"/>
                      <a:pt x="365" y="75"/>
                    </a:cubicBezTo>
                    <a:cubicBezTo>
                      <a:pt x="363" y="68"/>
                      <a:pt x="365" y="69"/>
                      <a:pt x="358" y="67"/>
                    </a:cubicBezTo>
                    <a:cubicBezTo>
                      <a:pt x="358" y="68"/>
                      <a:pt x="357" y="69"/>
                      <a:pt x="357" y="70"/>
                    </a:cubicBezTo>
                    <a:cubicBezTo>
                      <a:pt x="357" y="70"/>
                      <a:pt x="355" y="70"/>
                      <a:pt x="355" y="71"/>
                    </a:cubicBezTo>
                    <a:cubicBezTo>
                      <a:pt x="355" y="71"/>
                      <a:pt x="353" y="71"/>
                      <a:pt x="353" y="69"/>
                    </a:cubicBezTo>
                    <a:cubicBezTo>
                      <a:pt x="355" y="68"/>
                      <a:pt x="355" y="68"/>
                      <a:pt x="355" y="68"/>
                    </a:cubicBezTo>
                    <a:cubicBezTo>
                      <a:pt x="356" y="66"/>
                      <a:pt x="358" y="61"/>
                      <a:pt x="357" y="57"/>
                    </a:cubicBezTo>
                    <a:cubicBezTo>
                      <a:pt x="357" y="56"/>
                      <a:pt x="355" y="55"/>
                      <a:pt x="355" y="55"/>
                    </a:cubicBezTo>
                    <a:cubicBezTo>
                      <a:pt x="355" y="53"/>
                      <a:pt x="356" y="52"/>
                      <a:pt x="356" y="51"/>
                    </a:cubicBezTo>
                    <a:cubicBezTo>
                      <a:pt x="356" y="51"/>
                      <a:pt x="354" y="49"/>
                      <a:pt x="354" y="49"/>
                    </a:cubicBezTo>
                    <a:cubicBezTo>
                      <a:pt x="353" y="49"/>
                      <a:pt x="352" y="49"/>
                      <a:pt x="351" y="49"/>
                    </a:cubicBezTo>
                    <a:cubicBezTo>
                      <a:pt x="349" y="47"/>
                      <a:pt x="349" y="46"/>
                      <a:pt x="347" y="45"/>
                    </a:cubicBezTo>
                    <a:cubicBezTo>
                      <a:pt x="347" y="45"/>
                      <a:pt x="346" y="45"/>
                      <a:pt x="345" y="45"/>
                    </a:cubicBezTo>
                    <a:cubicBezTo>
                      <a:pt x="345" y="45"/>
                      <a:pt x="344" y="46"/>
                      <a:pt x="343" y="47"/>
                    </a:cubicBezTo>
                    <a:cubicBezTo>
                      <a:pt x="343" y="47"/>
                      <a:pt x="344" y="49"/>
                      <a:pt x="343" y="49"/>
                    </a:cubicBezTo>
                    <a:cubicBezTo>
                      <a:pt x="343" y="50"/>
                      <a:pt x="342" y="49"/>
                      <a:pt x="341" y="50"/>
                    </a:cubicBezTo>
                    <a:cubicBezTo>
                      <a:pt x="340" y="51"/>
                      <a:pt x="339" y="53"/>
                      <a:pt x="339" y="55"/>
                    </a:cubicBezTo>
                    <a:cubicBezTo>
                      <a:pt x="337" y="55"/>
                      <a:pt x="336" y="55"/>
                      <a:pt x="334" y="55"/>
                    </a:cubicBezTo>
                    <a:cubicBezTo>
                      <a:pt x="334" y="58"/>
                      <a:pt x="333" y="60"/>
                      <a:pt x="333" y="64"/>
                    </a:cubicBezTo>
                    <a:cubicBezTo>
                      <a:pt x="333" y="64"/>
                      <a:pt x="331" y="64"/>
                      <a:pt x="331" y="65"/>
                    </a:cubicBezTo>
                    <a:cubicBezTo>
                      <a:pt x="330" y="67"/>
                      <a:pt x="331" y="73"/>
                      <a:pt x="331" y="75"/>
                    </a:cubicBezTo>
                    <a:cubicBezTo>
                      <a:pt x="333" y="77"/>
                      <a:pt x="333" y="77"/>
                      <a:pt x="333" y="77"/>
                    </a:cubicBezTo>
                    <a:cubicBezTo>
                      <a:pt x="333" y="78"/>
                      <a:pt x="333" y="81"/>
                      <a:pt x="333" y="83"/>
                    </a:cubicBezTo>
                    <a:cubicBezTo>
                      <a:pt x="327" y="94"/>
                      <a:pt x="327" y="94"/>
                      <a:pt x="327" y="94"/>
                    </a:cubicBezTo>
                    <a:cubicBezTo>
                      <a:pt x="325" y="95"/>
                      <a:pt x="325" y="94"/>
                      <a:pt x="323" y="95"/>
                    </a:cubicBezTo>
                    <a:cubicBezTo>
                      <a:pt x="322" y="94"/>
                      <a:pt x="321" y="93"/>
                      <a:pt x="321" y="93"/>
                    </a:cubicBezTo>
                    <a:cubicBezTo>
                      <a:pt x="320" y="91"/>
                      <a:pt x="321" y="90"/>
                      <a:pt x="321" y="89"/>
                    </a:cubicBezTo>
                    <a:cubicBezTo>
                      <a:pt x="319" y="87"/>
                      <a:pt x="319" y="87"/>
                      <a:pt x="319" y="87"/>
                    </a:cubicBezTo>
                    <a:cubicBezTo>
                      <a:pt x="318" y="79"/>
                      <a:pt x="318" y="73"/>
                      <a:pt x="320" y="67"/>
                    </a:cubicBezTo>
                    <a:cubicBezTo>
                      <a:pt x="321" y="65"/>
                      <a:pt x="323" y="63"/>
                      <a:pt x="323" y="61"/>
                    </a:cubicBezTo>
                    <a:cubicBezTo>
                      <a:pt x="325" y="58"/>
                      <a:pt x="324" y="57"/>
                      <a:pt x="325" y="54"/>
                    </a:cubicBezTo>
                    <a:cubicBezTo>
                      <a:pt x="324" y="55"/>
                      <a:pt x="321" y="55"/>
                      <a:pt x="321" y="57"/>
                    </a:cubicBezTo>
                    <a:cubicBezTo>
                      <a:pt x="321" y="57"/>
                      <a:pt x="321" y="59"/>
                      <a:pt x="321" y="59"/>
                    </a:cubicBezTo>
                    <a:cubicBezTo>
                      <a:pt x="320" y="60"/>
                      <a:pt x="319" y="60"/>
                      <a:pt x="318" y="61"/>
                    </a:cubicBezTo>
                    <a:cubicBezTo>
                      <a:pt x="318" y="59"/>
                      <a:pt x="317" y="58"/>
                      <a:pt x="318" y="57"/>
                    </a:cubicBezTo>
                    <a:cubicBezTo>
                      <a:pt x="318" y="56"/>
                      <a:pt x="321" y="55"/>
                      <a:pt x="321" y="54"/>
                    </a:cubicBezTo>
                    <a:cubicBezTo>
                      <a:pt x="322" y="53"/>
                      <a:pt x="322" y="52"/>
                      <a:pt x="322" y="51"/>
                    </a:cubicBezTo>
                    <a:cubicBezTo>
                      <a:pt x="323" y="49"/>
                      <a:pt x="325" y="46"/>
                      <a:pt x="326" y="44"/>
                    </a:cubicBezTo>
                    <a:cubicBezTo>
                      <a:pt x="328" y="44"/>
                      <a:pt x="328" y="46"/>
                      <a:pt x="329" y="45"/>
                    </a:cubicBezTo>
                    <a:cubicBezTo>
                      <a:pt x="330" y="43"/>
                      <a:pt x="330" y="43"/>
                      <a:pt x="330" y="43"/>
                    </a:cubicBezTo>
                    <a:cubicBezTo>
                      <a:pt x="333" y="43"/>
                      <a:pt x="334" y="44"/>
                      <a:pt x="337" y="43"/>
                    </a:cubicBezTo>
                    <a:cubicBezTo>
                      <a:pt x="337" y="43"/>
                      <a:pt x="338" y="40"/>
                      <a:pt x="338" y="40"/>
                    </a:cubicBezTo>
                    <a:cubicBezTo>
                      <a:pt x="341" y="39"/>
                      <a:pt x="342" y="43"/>
                      <a:pt x="344" y="43"/>
                    </a:cubicBezTo>
                    <a:cubicBezTo>
                      <a:pt x="349" y="43"/>
                      <a:pt x="345" y="41"/>
                      <a:pt x="347" y="41"/>
                    </a:cubicBezTo>
                    <a:cubicBezTo>
                      <a:pt x="347" y="40"/>
                      <a:pt x="348" y="41"/>
                      <a:pt x="349" y="41"/>
                    </a:cubicBezTo>
                    <a:cubicBezTo>
                      <a:pt x="349" y="42"/>
                      <a:pt x="349" y="42"/>
                      <a:pt x="349" y="42"/>
                    </a:cubicBezTo>
                    <a:cubicBezTo>
                      <a:pt x="350" y="42"/>
                      <a:pt x="351" y="42"/>
                      <a:pt x="352" y="43"/>
                    </a:cubicBezTo>
                    <a:cubicBezTo>
                      <a:pt x="352" y="43"/>
                      <a:pt x="352" y="41"/>
                      <a:pt x="352" y="41"/>
                    </a:cubicBezTo>
                    <a:cubicBezTo>
                      <a:pt x="350" y="37"/>
                      <a:pt x="349" y="37"/>
                      <a:pt x="343" y="37"/>
                    </a:cubicBezTo>
                    <a:cubicBezTo>
                      <a:pt x="343" y="35"/>
                      <a:pt x="343" y="33"/>
                      <a:pt x="343" y="31"/>
                    </a:cubicBezTo>
                    <a:cubicBezTo>
                      <a:pt x="336" y="34"/>
                      <a:pt x="329" y="37"/>
                      <a:pt x="322" y="35"/>
                    </a:cubicBezTo>
                    <a:cubicBezTo>
                      <a:pt x="321" y="33"/>
                      <a:pt x="321" y="31"/>
                      <a:pt x="320" y="29"/>
                    </a:cubicBezTo>
                    <a:cubicBezTo>
                      <a:pt x="318" y="30"/>
                      <a:pt x="315" y="31"/>
                      <a:pt x="314" y="31"/>
                    </a:cubicBezTo>
                    <a:cubicBezTo>
                      <a:pt x="310" y="30"/>
                      <a:pt x="315" y="28"/>
                      <a:pt x="313" y="27"/>
                    </a:cubicBezTo>
                    <a:cubicBezTo>
                      <a:pt x="314" y="26"/>
                      <a:pt x="314" y="28"/>
                      <a:pt x="316" y="27"/>
                    </a:cubicBezTo>
                    <a:cubicBezTo>
                      <a:pt x="317" y="27"/>
                      <a:pt x="319" y="24"/>
                      <a:pt x="319" y="23"/>
                    </a:cubicBezTo>
                    <a:cubicBezTo>
                      <a:pt x="318" y="23"/>
                      <a:pt x="318" y="22"/>
                      <a:pt x="316" y="22"/>
                    </a:cubicBezTo>
                    <a:cubicBezTo>
                      <a:pt x="315" y="23"/>
                      <a:pt x="315" y="23"/>
                      <a:pt x="315" y="23"/>
                    </a:cubicBezTo>
                    <a:cubicBezTo>
                      <a:pt x="314" y="24"/>
                      <a:pt x="312" y="24"/>
                      <a:pt x="311" y="25"/>
                    </a:cubicBezTo>
                    <a:cubicBezTo>
                      <a:pt x="311" y="26"/>
                      <a:pt x="311" y="26"/>
                      <a:pt x="311" y="26"/>
                    </a:cubicBezTo>
                    <a:cubicBezTo>
                      <a:pt x="306" y="30"/>
                      <a:pt x="306" y="30"/>
                      <a:pt x="306" y="30"/>
                    </a:cubicBezTo>
                    <a:cubicBezTo>
                      <a:pt x="305" y="31"/>
                      <a:pt x="303" y="31"/>
                      <a:pt x="302" y="31"/>
                    </a:cubicBezTo>
                    <a:cubicBezTo>
                      <a:pt x="300" y="32"/>
                      <a:pt x="300" y="33"/>
                      <a:pt x="300" y="33"/>
                    </a:cubicBezTo>
                    <a:cubicBezTo>
                      <a:pt x="297" y="34"/>
                      <a:pt x="295" y="32"/>
                      <a:pt x="294" y="31"/>
                    </a:cubicBezTo>
                    <a:cubicBezTo>
                      <a:pt x="294" y="30"/>
                      <a:pt x="294" y="30"/>
                      <a:pt x="294" y="30"/>
                    </a:cubicBezTo>
                    <a:cubicBezTo>
                      <a:pt x="291" y="29"/>
                      <a:pt x="288" y="31"/>
                      <a:pt x="287" y="31"/>
                    </a:cubicBezTo>
                    <a:cubicBezTo>
                      <a:pt x="286" y="31"/>
                      <a:pt x="285" y="31"/>
                      <a:pt x="284" y="31"/>
                    </a:cubicBezTo>
                    <a:cubicBezTo>
                      <a:pt x="284" y="30"/>
                      <a:pt x="288" y="27"/>
                      <a:pt x="288" y="27"/>
                    </a:cubicBezTo>
                    <a:cubicBezTo>
                      <a:pt x="289" y="26"/>
                      <a:pt x="288" y="25"/>
                      <a:pt x="289" y="25"/>
                    </a:cubicBezTo>
                    <a:cubicBezTo>
                      <a:pt x="290" y="24"/>
                      <a:pt x="291" y="24"/>
                      <a:pt x="292" y="24"/>
                    </a:cubicBezTo>
                    <a:cubicBezTo>
                      <a:pt x="293" y="23"/>
                      <a:pt x="295" y="21"/>
                      <a:pt x="296" y="20"/>
                    </a:cubicBezTo>
                    <a:cubicBezTo>
                      <a:pt x="297" y="20"/>
                      <a:pt x="298" y="20"/>
                      <a:pt x="298" y="20"/>
                    </a:cubicBezTo>
                    <a:cubicBezTo>
                      <a:pt x="299" y="20"/>
                      <a:pt x="300" y="18"/>
                      <a:pt x="300" y="18"/>
                    </a:cubicBezTo>
                    <a:cubicBezTo>
                      <a:pt x="302" y="17"/>
                      <a:pt x="303" y="16"/>
                      <a:pt x="304" y="16"/>
                    </a:cubicBezTo>
                    <a:cubicBezTo>
                      <a:pt x="303" y="15"/>
                      <a:pt x="301" y="15"/>
                      <a:pt x="300" y="14"/>
                    </a:cubicBezTo>
                    <a:cubicBezTo>
                      <a:pt x="298" y="12"/>
                      <a:pt x="297" y="14"/>
                      <a:pt x="295" y="13"/>
                    </a:cubicBezTo>
                    <a:cubicBezTo>
                      <a:pt x="293" y="13"/>
                      <a:pt x="292" y="12"/>
                      <a:pt x="290" y="13"/>
                    </a:cubicBezTo>
                    <a:cubicBezTo>
                      <a:pt x="288" y="13"/>
                      <a:pt x="287" y="12"/>
                      <a:pt x="285" y="12"/>
                    </a:cubicBezTo>
                    <a:cubicBezTo>
                      <a:pt x="282" y="12"/>
                      <a:pt x="280" y="10"/>
                      <a:pt x="278" y="9"/>
                    </a:cubicBezTo>
                    <a:cubicBezTo>
                      <a:pt x="277" y="8"/>
                      <a:pt x="274" y="9"/>
                      <a:pt x="274" y="11"/>
                    </a:cubicBezTo>
                    <a:cubicBezTo>
                      <a:pt x="273" y="13"/>
                      <a:pt x="271" y="9"/>
                      <a:pt x="268" y="9"/>
                    </a:cubicBezTo>
                    <a:cubicBezTo>
                      <a:pt x="265" y="9"/>
                      <a:pt x="264" y="8"/>
                      <a:pt x="264" y="8"/>
                    </a:cubicBezTo>
                    <a:cubicBezTo>
                      <a:pt x="264" y="8"/>
                      <a:pt x="262" y="0"/>
                      <a:pt x="260" y="0"/>
                    </a:cubicBezTo>
                    <a:cubicBezTo>
                      <a:pt x="258" y="0"/>
                      <a:pt x="258" y="5"/>
                      <a:pt x="258" y="5"/>
                    </a:cubicBezTo>
                    <a:cubicBezTo>
                      <a:pt x="20" y="2"/>
                      <a:pt x="20" y="2"/>
                      <a:pt x="20" y="2"/>
                    </a:cubicBezTo>
                    <a:cubicBezTo>
                      <a:pt x="21" y="2"/>
                      <a:pt x="20" y="3"/>
                      <a:pt x="20" y="3"/>
                    </a:cubicBezTo>
                    <a:cubicBezTo>
                      <a:pt x="20" y="4"/>
                      <a:pt x="18" y="4"/>
                      <a:pt x="18" y="5"/>
                    </a:cubicBezTo>
                    <a:cubicBezTo>
                      <a:pt x="18" y="6"/>
                      <a:pt x="18" y="6"/>
                      <a:pt x="18" y="6"/>
                    </a:cubicBezTo>
                    <a:cubicBezTo>
                      <a:pt x="18" y="7"/>
                      <a:pt x="20" y="8"/>
                      <a:pt x="20" y="9"/>
                    </a:cubicBezTo>
                    <a:cubicBezTo>
                      <a:pt x="19" y="10"/>
                      <a:pt x="18" y="10"/>
                      <a:pt x="16" y="11"/>
                    </a:cubicBezTo>
                    <a:cubicBezTo>
                      <a:pt x="16" y="11"/>
                      <a:pt x="16" y="11"/>
                      <a:pt x="16" y="11"/>
                    </a:cubicBezTo>
                    <a:cubicBezTo>
                      <a:pt x="13" y="12"/>
                      <a:pt x="3" y="10"/>
                      <a:pt x="0" y="9"/>
                    </a:cubicBezTo>
                    <a:cubicBezTo>
                      <a:pt x="0" y="11"/>
                      <a:pt x="0" y="13"/>
                      <a:pt x="0" y="15"/>
                    </a:cubicBezTo>
                    <a:cubicBezTo>
                      <a:pt x="1" y="17"/>
                      <a:pt x="4" y="18"/>
                      <a:pt x="4" y="19"/>
                    </a:cubicBezTo>
                    <a:cubicBezTo>
                      <a:pt x="6" y="21"/>
                      <a:pt x="5" y="23"/>
                      <a:pt x="6" y="25"/>
                    </a:cubicBezTo>
                    <a:cubicBezTo>
                      <a:pt x="7" y="25"/>
                      <a:pt x="7" y="25"/>
                      <a:pt x="7" y="25"/>
                    </a:cubicBezTo>
                    <a:cubicBezTo>
                      <a:pt x="7" y="27"/>
                      <a:pt x="6" y="27"/>
                      <a:pt x="6" y="29"/>
                    </a:cubicBezTo>
                    <a:cubicBezTo>
                      <a:pt x="7" y="29"/>
                      <a:pt x="8" y="28"/>
                      <a:pt x="8" y="29"/>
                    </a:cubicBezTo>
                    <a:cubicBezTo>
                      <a:pt x="8" y="30"/>
                      <a:pt x="8" y="32"/>
                      <a:pt x="8" y="33"/>
                    </a:cubicBezTo>
                    <a:cubicBezTo>
                      <a:pt x="6" y="33"/>
                      <a:pt x="6" y="33"/>
                      <a:pt x="6" y="33"/>
                    </a:cubicBezTo>
                    <a:cubicBezTo>
                      <a:pt x="6" y="35"/>
                      <a:pt x="6" y="36"/>
                      <a:pt x="8" y="37"/>
                    </a:cubicBezTo>
                    <a:cubicBezTo>
                      <a:pt x="9" y="38"/>
                      <a:pt x="6" y="39"/>
                      <a:pt x="6" y="39"/>
                    </a:cubicBezTo>
                    <a:cubicBezTo>
                      <a:pt x="7" y="45"/>
                      <a:pt x="7" y="49"/>
                      <a:pt x="7" y="55"/>
                    </a:cubicBezTo>
                    <a:cubicBezTo>
                      <a:pt x="6" y="57"/>
                      <a:pt x="6" y="57"/>
                      <a:pt x="6" y="57"/>
                    </a:cubicBezTo>
                    <a:cubicBezTo>
                      <a:pt x="6" y="57"/>
                      <a:pt x="6" y="60"/>
                      <a:pt x="6" y="60"/>
                    </a:cubicBezTo>
                    <a:cubicBezTo>
                      <a:pt x="6" y="60"/>
                      <a:pt x="7" y="61"/>
                      <a:pt x="6" y="61"/>
                    </a:cubicBezTo>
                    <a:cubicBezTo>
                      <a:pt x="5" y="64"/>
                      <a:pt x="6" y="71"/>
                      <a:pt x="5" y="73"/>
                    </a:cubicBezTo>
                    <a:cubicBezTo>
                      <a:pt x="5" y="73"/>
                      <a:pt x="4" y="74"/>
                      <a:pt x="4" y="74"/>
                    </a:cubicBezTo>
                    <a:cubicBezTo>
                      <a:pt x="4" y="76"/>
                      <a:pt x="4" y="79"/>
                      <a:pt x="4" y="81"/>
                    </a:cubicBezTo>
                    <a:cubicBezTo>
                      <a:pt x="4" y="86"/>
                      <a:pt x="5" y="87"/>
                      <a:pt x="8" y="90"/>
                    </a:cubicBezTo>
                    <a:cubicBezTo>
                      <a:pt x="7" y="91"/>
                      <a:pt x="7" y="92"/>
                      <a:pt x="6" y="92"/>
                    </a:cubicBezTo>
                    <a:cubicBezTo>
                      <a:pt x="6" y="95"/>
                      <a:pt x="8" y="97"/>
                      <a:pt x="8" y="99"/>
                    </a:cubicBezTo>
                    <a:cubicBezTo>
                      <a:pt x="8" y="102"/>
                      <a:pt x="7" y="105"/>
                      <a:pt x="7" y="108"/>
                    </a:cubicBezTo>
                    <a:cubicBezTo>
                      <a:pt x="6" y="109"/>
                      <a:pt x="5" y="108"/>
                      <a:pt x="4" y="110"/>
                    </a:cubicBezTo>
                    <a:cubicBezTo>
                      <a:pt x="4" y="111"/>
                      <a:pt x="4" y="111"/>
                      <a:pt x="4" y="111"/>
                    </a:cubicBezTo>
                    <a:cubicBezTo>
                      <a:pt x="6" y="114"/>
                      <a:pt x="7" y="115"/>
                      <a:pt x="8" y="118"/>
                    </a:cubicBezTo>
                    <a:cubicBezTo>
                      <a:pt x="8" y="118"/>
                      <a:pt x="9" y="118"/>
                      <a:pt x="9" y="118"/>
                    </a:cubicBezTo>
                    <a:cubicBezTo>
                      <a:pt x="9" y="119"/>
                      <a:pt x="9" y="120"/>
                      <a:pt x="9" y="121"/>
                    </a:cubicBezTo>
                    <a:cubicBezTo>
                      <a:pt x="10" y="122"/>
                      <a:pt x="10" y="122"/>
                      <a:pt x="10" y="122"/>
                    </a:cubicBezTo>
                    <a:cubicBezTo>
                      <a:pt x="11" y="124"/>
                      <a:pt x="10" y="126"/>
                      <a:pt x="11" y="129"/>
                    </a:cubicBezTo>
                    <a:cubicBezTo>
                      <a:pt x="11" y="130"/>
                      <a:pt x="13" y="129"/>
                      <a:pt x="13" y="130"/>
                    </a:cubicBezTo>
                    <a:cubicBezTo>
                      <a:pt x="14" y="130"/>
                      <a:pt x="14" y="133"/>
                      <a:pt x="14" y="133"/>
                    </a:cubicBezTo>
                    <a:cubicBezTo>
                      <a:pt x="16" y="133"/>
                      <a:pt x="16" y="133"/>
                      <a:pt x="16" y="133"/>
                    </a:cubicBezTo>
                    <a:cubicBezTo>
                      <a:pt x="16" y="135"/>
                      <a:pt x="16" y="137"/>
                      <a:pt x="16" y="138"/>
                    </a:cubicBezTo>
                    <a:cubicBezTo>
                      <a:pt x="16" y="138"/>
                      <a:pt x="18" y="139"/>
                      <a:pt x="18" y="139"/>
                    </a:cubicBezTo>
                    <a:cubicBezTo>
                      <a:pt x="21" y="139"/>
                      <a:pt x="19" y="136"/>
                      <a:pt x="19" y="136"/>
                    </a:cubicBezTo>
                    <a:cubicBezTo>
                      <a:pt x="20" y="136"/>
                      <a:pt x="21" y="136"/>
                      <a:pt x="22" y="136"/>
                    </a:cubicBezTo>
                    <a:cubicBezTo>
                      <a:pt x="21" y="137"/>
                      <a:pt x="23" y="136"/>
                      <a:pt x="23" y="136"/>
                    </a:cubicBezTo>
                    <a:cubicBezTo>
                      <a:pt x="23" y="137"/>
                      <a:pt x="22" y="137"/>
                      <a:pt x="22" y="138"/>
                    </a:cubicBezTo>
                    <a:cubicBezTo>
                      <a:pt x="22" y="139"/>
                      <a:pt x="24" y="144"/>
                      <a:pt x="23" y="144"/>
                    </a:cubicBezTo>
                    <a:cubicBezTo>
                      <a:pt x="23" y="144"/>
                      <a:pt x="21" y="142"/>
                      <a:pt x="21" y="142"/>
                    </a:cubicBezTo>
                    <a:cubicBezTo>
                      <a:pt x="21" y="142"/>
                      <a:pt x="20" y="142"/>
                      <a:pt x="20" y="142"/>
                    </a:cubicBezTo>
                    <a:cubicBezTo>
                      <a:pt x="20" y="143"/>
                      <a:pt x="19" y="145"/>
                      <a:pt x="20" y="146"/>
                    </a:cubicBezTo>
                    <a:cubicBezTo>
                      <a:pt x="20" y="147"/>
                      <a:pt x="25" y="148"/>
                      <a:pt x="26" y="149"/>
                    </a:cubicBezTo>
                    <a:cubicBezTo>
                      <a:pt x="27" y="152"/>
                      <a:pt x="27" y="152"/>
                      <a:pt x="27" y="152"/>
                    </a:cubicBezTo>
                    <a:cubicBezTo>
                      <a:pt x="26" y="152"/>
                      <a:pt x="25" y="152"/>
                      <a:pt x="24" y="152"/>
                    </a:cubicBezTo>
                    <a:cubicBezTo>
                      <a:pt x="25" y="156"/>
                      <a:pt x="23" y="153"/>
                      <a:pt x="26" y="157"/>
                    </a:cubicBezTo>
                    <a:cubicBezTo>
                      <a:pt x="26" y="158"/>
                      <a:pt x="26" y="159"/>
                      <a:pt x="27" y="160"/>
                    </a:cubicBezTo>
                    <a:cubicBezTo>
                      <a:pt x="28" y="161"/>
                      <a:pt x="28" y="161"/>
                      <a:pt x="28" y="161"/>
                    </a:cubicBezTo>
                    <a:cubicBezTo>
                      <a:pt x="29" y="163"/>
                      <a:pt x="29" y="165"/>
                      <a:pt x="30" y="166"/>
                    </a:cubicBezTo>
                    <a:cubicBezTo>
                      <a:pt x="30" y="166"/>
                      <a:pt x="31" y="166"/>
                      <a:pt x="32" y="166"/>
                    </a:cubicBezTo>
                    <a:cubicBezTo>
                      <a:pt x="33" y="167"/>
                      <a:pt x="34" y="169"/>
                      <a:pt x="34" y="170"/>
                    </a:cubicBezTo>
                    <a:cubicBezTo>
                      <a:pt x="33" y="170"/>
                      <a:pt x="34" y="172"/>
                      <a:pt x="34" y="172"/>
                    </a:cubicBezTo>
                    <a:cubicBezTo>
                      <a:pt x="35" y="173"/>
                      <a:pt x="35" y="173"/>
                      <a:pt x="36" y="173"/>
                    </a:cubicBezTo>
                    <a:cubicBezTo>
                      <a:pt x="37" y="175"/>
                      <a:pt x="37" y="177"/>
                      <a:pt x="36" y="180"/>
                    </a:cubicBezTo>
                    <a:cubicBezTo>
                      <a:pt x="42" y="180"/>
                      <a:pt x="46" y="183"/>
                      <a:pt x="52" y="184"/>
                    </a:cubicBezTo>
                    <a:cubicBezTo>
                      <a:pt x="52" y="186"/>
                      <a:pt x="52" y="187"/>
                      <a:pt x="53" y="188"/>
                    </a:cubicBezTo>
                    <a:cubicBezTo>
                      <a:pt x="54" y="188"/>
                      <a:pt x="55" y="188"/>
                      <a:pt x="56" y="187"/>
                    </a:cubicBezTo>
                    <a:cubicBezTo>
                      <a:pt x="58" y="189"/>
                      <a:pt x="59" y="192"/>
                      <a:pt x="61" y="194"/>
                    </a:cubicBezTo>
                    <a:cubicBezTo>
                      <a:pt x="62" y="194"/>
                      <a:pt x="64" y="194"/>
                      <a:pt x="64" y="196"/>
                    </a:cubicBezTo>
                    <a:cubicBezTo>
                      <a:pt x="65" y="197"/>
                      <a:pt x="64" y="198"/>
                      <a:pt x="64" y="200"/>
                    </a:cubicBezTo>
                    <a:cubicBezTo>
                      <a:pt x="66" y="201"/>
                      <a:pt x="66" y="201"/>
                      <a:pt x="66" y="201"/>
                    </a:cubicBezTo>
                    <a:cubicBezTo>
                      <a:pt x="66" y="202"/>
                      <a:pt x="66" y="203"/>
                      <a:pt x="66" y="203"/>
                    </a:cubicBezTo>
                    <a:cubicBezTo>
                      <a:pt x="90" y="202"/>
                      <a:pt x="90" y="202"/>
                      <a:pt x="90" y="202"/>
                    </a:cubicBezTo>
                    <a:cubicBezTo>
                      <a:pt x="90" y="205"/>
                      <a:pt x="90" y="205"/>
                      <a:pt x="90" y="205"/>
                    </a:cubicBezTo>
                    <a:cubicBezTo>
                      <a:pt x="113" y="217"/>
                      <a:pt x="113" y="217"/>
                      <a:pt x="113" y="217"/>
                    </a:cubicBezTo>
                    <a:cubicBezTo>
                      <a:pt x="141" y="218"/>
                      <a:pt x="141" y="218"/>
                      <a:pt x="141" y="218"/>
                    </a:cubicBezTo>
                    <a:cubicBezTo>
                      <a:pt x="141" y="213"/>
                      <a:pt x="141" y="213"/>
                      <a:pt x="141" y="213"/>
                    </a:cubicBezTo>
                    <a:cubicBezTo>
                      <a:pt x="159" y="213"/>
                      <a:pt x="159" y="213"/>
                      <a:pt x="159" y="213"/>
                    </a:cubicBezTo>
                    <a:cubicBezTo>
                      <a:pt x="162" y="218"/>
                      <a:pt x="162" y="218"/>
                      <a:pt x="162" y="218"/>
                    </a:cubicBezTo>
                    <a:cubicBezTo>
                      <a:pt x="166" y="220"/>
                      <a:pt x="166" y="220"/>
                      <a:pt x="166" y="220"/>
                    </a:cubicBezTo>
                    <a:cubicBezTo>
                      <a:pt x="167" y="222"/>
                      <a:pt x="167" y="222"/>
                      <a:pt x="167" y="222"/>
                    </a:cubicBezTo>
                    <a:cubicBezTo>
                      <a:pt x="169" y="224"/>
                      <a:pt x="169" y="224"/>
                      <a:pt x="169" y="224"/>
                    </a:cubicBezTo>
                    <a:cubicBezTo>
                      <a:pt x="173" y="228"/>
                      <a:pt x="173" y="228"/>
                      <a:pt x="173" y="228"/>
                    </a:cubicBezTo>
                    <a:cubicBezTo>
                      <a:pt x="174" y="232"/>
                      <a:pt x="174" y="232"/>
                      <a:pt x="174" y="232"/>
                    </a:cubicBezTo>
                    <a:cubicBezTo>
                      <a:pt x="175" y="234"/>
                      <a:pt x="175" y="234"/>
                      <a:pt x="175" y="234"/>
                    </a:cubicBezTo>
                    <a:cubicBezTo>
                      <a:pt x="177" y="238"/>
                      <a:pt x="177" y="238"/>
                      <a:pt x="177" y="238"/>
                    </a:cubicBezTo>
                    <a:cubicBezTo>
                      <a:pt x="179" y="241"/>
                      <a:pt x="179" y="241"/>
                      <a:pt x="179" y="241"/>
                    </a:cubicBezTo>
                    <a:cubicBezTo>
                      <a:pt x="182" y="243"/>
                      <a:pt x="182" y="243"/>
                      <a:pt x="182" y="243"/>
                    </a:cubicBezTo>
                    <a:cubicBezTo>
                      <a:pt x="185" y="243"/>
                      <a:pt x="185" y="243"/>
                      <a:pt x="185" y="243"/>
                    </a:cubicBezTo>
                    <a:cubicBezTo>
                      <a:pt x="188" y="243"/>
                      <a:pt x="188" y="243"/>
                      <a:pt x="188" y="243"/>
                    </a:cubicBezTo>
                    <a:cubicBezTo>
                      <a:pt x="190" y="241"/>
                      <a:pt x="190" y="241"/>
                      <a:pt x="190" y="241"/>
                    </a:cubicBezTo>
                    <a:cubicBezTo>
                      <a:pt x="193" y="237"/>
                      <a:pt x="193" y="237"/>
                      <a:pt x="193" y="237"/>
                    </a:cubicBezTo>
                    <a:cubicBezTo>
                      <a:pt x="196" y="236"/>
                      <a:pt x="196" y="236"/>
                      <a:pt x="196" y="236"/>
                    </a:cubicBezTo>
                    <a:cubicBezTo>
                      <a:pt x="199" y="236"/>
                      <a:pt x="199" y="236"/>
                      <a:pt x="199" y="236"/>
                    </a:cubicBezTo>
                    <a:cubicBezTo>
                      <a:pt x="202" y="238"/>
                      <a:pt x="202" y="238"/>
                      <a:pt x="202" y="238"/>
                    </a:cubicBezTo>
                    <a:cubicBezTo>
                      <a:pt x="205" y="240"/>
                      <a:pt x="205" y="240"/>
                      <a:pt x="205" y="240"/>
                    </a:cubicBezTo>
                    <a:cubicBezTo>
                      <a:pt x="207" y="243"/>
                      <a:pt x="207" y="243"/>
                      <a:pt x="207" y="243"/>
                    </a:cubicBezTo>
                    <a:cubicBezTo>
                      <a:pt x="208" y="246"/>
                      <a:pt x="208" y="246"/>
                      <a:pt x="208" y="246"/>
                    </a:cubicBezTo>
                    <a:cubicBezTo>
                      <a:pt x="209" y="248"/>
                      <a:pt x="209" y="248"/>
                      <a:pt x="209" y="248"/>
                    </a:cubicBezTo>
                    <a:cubicBezTo>
                      <a:pt x="211" y="252"/>
                      <a:pt x="211" y="252"/>
                      <a:pt x="211" y="252"/>
                    </a:cubicBezTo>
                    <a:cubicBezTo>
                      <a:pt x="213" y="256"/>
                      <a:pt x="213" y="256"/>
                      <a:pt x="213" y="256"/>
                    </a:cubicBezTo>
                    <a:cubicBezTo>
                      <a:pt x="215" y="260"/>
                      <a:pt x="215" y="260"/>
                      <a:pt x="215" y="260"/>
                    </a:cubicBezTo>
                    <a:cubicBezTo>
                      <a:pt x="218" y="262"/>
                      <a:pt x="218" y="262"/>
                      <a:pt x="218" y="262"/>
                    </a:cubicBezTo>
                    <a:cubicBezTo>
                      <a:pt x="219" y="265"/>
                      <a:pt x="219" y="265"/>
                      <a:pt x="219" y="265"/>
                    </a:cubicBezTo>
                    <a:cubicBezTo>
                      <a:pt x="221" y="271"/>
                      <a:pt x="221" y="271"/>
                      <a:pt x="221" y="271"/>
                    </a:cubicBezTo>
                    <a:cubicBezTo>
                      <a:pt x="222" y="275"/>
                      <a:pt x="222" y="275"/>
                      <a:pt x="222" y="275"/>
                    </a:cubicBezTo>
                    <a:cubicBezTo>
                      <a:pt x="224" y="276"/>
                      <a:pt x="224" y="276"/>
                      <a:pt x="224" y="276"/>
                    </a:cubicBezTo>
                    <a:cubicBezTo>
                      <a:pt x="228" y="278"/>
                      <a:pt x="228" y="278"/>
                      <a:pt x="228" y="278"/>
                    </a:cubicBezTo>
                    <a:cubicBezTo>
                      <a:pt x="232" y="278"/>
                      <a:pt x="232" y="278"/>
                      <a:pt x="232" y="278"/>
                    </a:cubicBezTo>
                    <a:cubicBezTo>
                      <a:pt x="234" y="281"/>
                      <a:pt x="234" y="281"/>
                      <a:pt x="234" y="281"/>
                    </a:cubicBezTo>
                    <a:cubicBezTo>
                      <a:pt x="238" y="281"/>
                      <a:pt x="238" y="281"/>
                      <a:pt x="238" y="281"/>
                    </a:cubicBezTo>
                    <a:cubicBezTo>
                      <a:pt x="237" y="280"/>
                      <a:pt x="237" y="280"/>
                      <a:pt x="237" y="280"/>
                    </a:cubicBezTo>
                    <a:cubicBezTo>
                      <a:pt x="237" y="280"/>
                      <a:pt x="236" y="278"/>
                      <a:pt x="237" y="277"/>
                    </a:cubicBezTo>
                    <a:cubicBezTo>
                      <a:pt x="237" y="278"/>
                      <a:pt x="237" y="276"/>
                      <a:pt x="237" y="275"/>
                    </a:cubicBezTo>
                    <a:cubicBezTo>
                      <a:pt x="236" y="275"/>
                      <a:pt x="236" y="275"/>
                      <a:pt x="236" y="275"/>
                    </a:cubicBezTo>
                    <a:cubicBezTo>
                      <a:pt x="235" y="274"/>
                      <a:pt x="236" y="274"/>
                      <a:pt x="235" y="273"/>
                    </a:cubicBezTo>
                    <a:cubicBezTo>
                      <a:pt x="234" y="273"/>
                      <a:pt x="234" y="273"/>
                      <a:pt x="234" y="273"/>
                    </a:cubicBezTo>
                    <a:cubicBezTo>
                      <a:pt x="233" y="269"/>
                      <a:pt x="233" y="266"/>
                      <a:pt x="234" y="263"/>
                    </a:cubicBezTo>
                    <a:cubicBezTo>
                      <a:pt x="232" y="262"/>
                      <a:pt x="233" y="263"/>
                      <a:pt x="232" y="261"/>
                    </a:cubicBezTo>
                    <a:cubicBezTo>
                      <a:pt x="234" y="261"/>
                      <a:pt x="234" y="261"/>
                      <a:pt x="235" y="261"/>
                    </a:cubicBezTo>
                    <a:cubicBezTo>
                      <a:pt x="235" y="261"/>
                      <a:pt x="235" y="256"/>
                      <a:pt x="236" y="255"/>
                    </a:cubicBezTo>
                    <a:cubicBezTo>
                      <a:pt x="236" y="255"/>
                      <a:pt x="238" y="255"/>
                      <a:pt x="238" y="255"/>
                    </a:cubicBezTo>
                    <a:cubicBezTo>
                      <a:pt x="238" y="255"/>
                      <a:pt x="239" y="253"/>
                      <a:pt x="239" y="253"/>
                    </a:cubicBezTo>
                    <a:cubicBezTo>
                      <a:pt x="240" y="252"/>
                      <a:pt x="241" y="253"/>
                      <a:pt x="242" y="253"/>
                    </a:cubicBezTo>
                    <a:cubicBezTo>
                      <a:pt x="246" y="250"/>
                      <a:pt x="244" y="249"/>
                      <a:pt x="244" y="248"/>
                    </a:cubicBezTo>
                    <a:cubicBezTo>
                      <a:pt x="245" y="248"/>
                      <a:pt x="246" y="248"/>
                      <a:pt x="246" y="248"/>
                    </a:cubicBezTo>
                    <a:cubicBezTo>
                      <a:pt x="247" y="246"/>
                      <a:pt x="247" y="246"/>
                      <a:pt x="247" y="246"/>
                    </a:cubicBezTo>
                    <a:cubicBezTo>
                      <a:pt x="249" y="246"/>
                      <a:pt x="249" y="246"/>
                      <a:pt x="251" y="247"/>
                    </a:cubicBezTo>
                    <a:cubicBezTo>
                      <a:pt x="251" y="246"/>
                      <a:pt x="253" y="244"/>
                      <a:pt x="253" y="244"/>
                    </a:cubicBezTo>
                    <a:cubicBezTo>
                      <a:pt x="254" y="244"/>
                      <a:pt x="253" y="246"/>
                      <a:pt x="254" y="245"/>
                    </a:cubicBezTo>
                    <a:cubicBezTo>
                      <a:pt x="255" y="244"/>
                      <a:pt x="254" y="242"/>
                      <a:pt x="254" y="241"/>
                    </a:cubicBezTo>
                    <a:cubicBezTo>
                      <a:pt x="255" y="241"/>
                      <a:pt x="257" y="241"/>
                      <a:pt x="257" y="240"/>
                    </a:cubicBezTo>
                    <a:cubicBezTo>
                      <a:pt x="257" y="239"/>
                      <a:pt x="257" y="237"/>
                      <a:pt x="257" y="236"/>
                    </a:cubicBezTo>
                    <a:cubicBezTo>
                      <a:pt x="262" y="239"/>
                      <a:pt x="262" y="237"/>
                      <a:pt x="267" y="235"/>
                    </a:cubicBezTo>
                    <a:cubicBezTo>
                      <a:pt x="267" y="235"/>
                      <a:pt x="267" y="233"/>
                      <a:pt x="267" y="233"/>
                    </a:cubicBezTo>
                    <a:cubicBezTo>
                      <a:pt x="268" y="233"/>
                      <a:pt x="268" y="235"/>
                      <a:pt x="268" y="235"/>
                    </a:cubicBezTo>
                    <a:cubicBezTo>
                      <a:pt x="270" y="235"/>
                      <a:pt x="271" y="233"/>
                      <a:pt x="272" y="233"/>
                    </a:cubicBezTo>
                    <a:cubicBezTo>
                      <a:pt x="273" y="233"/>
                      <a:pt x="273" y="234"/>
                      <a:pt x="274" y="235"/>
                    </a:cubicBezTo>
                    <a:cubicBezTo>
                      <a:pt x="277" y="237"/>
                      <a:pt x="279" y="236"/>
                      <a:pt x="282" y="234"/>
                    </a:cubicBezTo>
                    <a:cubicBezTo>
                      <a:pt x="283" y="235"/>
                      <a:pt x="282" y="236"/>
                      <a:pt x="282" y="237"/>
                    </a:cubicBezTo>
                    <a:cubicBezTo>
                      <a:pt x="286" y="239"/>
                      <a:pt x="285" y="238"/>
                      <a:pt x="288" y="238"/>
                    </a:cubicBezTo>
                    <a:cubicBezTo>
                      <a:pt x="287" y="239"/>
                      <a:pt x="287" y="242"/>
                      <a:pt x="288" y="24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47" name="Freeform 26">
                <a:extLst>
                  <a:ext uri="{FF2B5EF4-FFF2-40B4-BE49-F238E27FC236}">
                    <a16:creationId xmlns:a16="http://schemas.microsoft.com/office/drawing/2014/main" id="{90CE6B3B-BCB4-40BD-C96B-2418C91BB695}"/>
                  </a:ext>
                </a:extLst>
              </p:cNvPr>
              <p:cNvSpPr>
                <a:spLocks noEditPoints="1"/>
              </p:cNvSpPr>
              <p:nvPr/>
            </p:nvSpPr>
            <p:spPr bwMode="auto">
              <a:xfrm>
                <a:off x="1003" y="1148"/>
                <a:ext cx="979" cy="565"/>
              </a:xfrm>
              <a:custGeom>
                <a:avLst/>
                <a:gdLst>
                  <a:gd name="T0" fmla="*/ 20 w 499"/>
                  <a:gd name="T1" fmla="*/ 16 h 288"/>
                  <a:gd name="T2" fmla="*/ 17 w 499"/>
                  <a:gd name="T3" fmla="*/ 27 h 288"/>
                  <a:gd name="T4" fmla="*/ 109 w 499"/>
                  <a:gd name="T5" fmla="*/ 93 h 288"/>
                  <a:gd name="T6" fmla="*/ 449 w 499"/>
                  <a:gd name="T7" fmla="*/ 103 h 288"/>
                  <a:gd name="T8" fmla="*/ 287 w 499"/>
                  <a:gd name="T9" fmla="*/ 233 h 288"/>
                  <a:gd name="T10" fmla="*/ 299 w 499"/>
                  <a:gd name="T11" fmla="*/ 239 h 288"/>
                  <a:gd name="T12" fmla="*/ 425 w 499"/>
                  <a:gd name="T13" fmla="*/ 146 h 288"/>
                  <a:gd name="T14" fmla="*/ 288 w 499"/>
                  <a:gd name="T15" fmla="*/ 242 h 288"/>
                  <a:gd name="T16" fmla="*/ 308 w 499"/>
                  <a:gd name="T17" fmla="*/ 243 h 288"/>
                  <a:gd name="T18" fmla="*/ 305 w 499"/>
                  <a:gd name="T19" fmla="*/ 231 h 288"/>
                  <a:gd name="T20" fmla="*/ 318 w 499"/>
                  <a:gd name="T21" fmla="*/ 228 h 288"/>
                  <a:gd name="T22" fmla="*/ 332 w 499"/>
                  <a:gd name="T23" fmla="*/ 226 h 288"/>
                  <a:gd name="T24" fmla="*/ 357 w 499"/>
                  <a:gd name="T25" fmla="*/ 235 h 288"/>
                  <a:gd name="T26" fmla="*/ 371 w 499"/>
                  <a:gd name="T27" fmla="*/ 270 h 288"/>
                  <a:gd name="T28" fmla="*/ 383 w 499"/>
                  <a:gd name="T29" fmla="*/ 282 h 288"/>
                  <a:gd name="T30" fmla="*/ 379 w 499"/>
                  <a:gd name="T31" fmla="*/ 249 h 288"/>
                  <a:gd name="T32" fmla="*/ 377 w 499"/>
                  <a:gd name="T33" fmla="*/ 214 h 288"/>
                  <a:gd name="T34" fmla="*/ 393 w 499"/>
                  <a:gd name="T35" fmla="*/ 198 h 288"/>
                  <a:gd name="T36" fmla="*/ 414 w 499"/>
                  <a:gd name="T37" fmla="*/ 176 h 288"/>
                  <a:gd name="T38" fmla="*/ 415 w 499"/>
                  <a:gd name="T39" fmla="*/ 166 h 288"/>
                  <a:gd name="T40" fmla="*/ 417 w 499"/>
                  <a:gd name="T41" fmla="*/ 150 h 288"/>
                  <a:gd name="T42" fmla="*/ 418 w 499"/>
                  <a:gd name="T43" fmla="*/ 122 h 288"/>
                  <a:gd name="T44" fmla="*/ 417 w 499"/>
                  <a:gd name="T45" fmla="*/ 135 h 288"/>
                  <a:gd name="T46" fmla="*/ 429 w 499"/>
                  <a:gd name="T47" fmla="*/ 134 h 288"/>
                  <a:gd name="T48" fmla="*/ 438 w 499"/>
                  <a:gd name="T49" fmla="*/ 119 h 288"/>
                  <a:gd name="T50" fmla="*/ 446 w 499"/>
                  <a:gd name="T51" fmla="*/ 100 h 288"/>
                  <a:gd name="T52" fmla="*/ 466 w 499"/>
                  <a:gd name="T53" fmla="*/ 92 h 288"/>
                  <a:gd name="T54" fmla="*/ 473 w 499"/>
                  <a:gd name="T55" fmla="*/ 76 h 288"/>
                  <a:gd name="T56" fmla="*/ 484 w 499"/>
                  <a:gd name="T57" fmla="*/ 69 h 288"/>
                  <a:gd name="T58" fmla="*/ 498 w 499"/>
                  <a:gd name="T59" fmla="*/ 54 h 288"/>
                  <a:gd name="T60" fmla="*/ 479 w 499"/>
                  <a:gd name="T61" fmla="*/ 28 h 288"/>
                  <a:gd name="T62" fmla="*/ 424 w 499"/>
                  <a:gd name="T63" fmla="*/ 60 h 288"/>
                  <a:gd name="T64" fmla="*/ 407 w 499"/>
                  <a:gd name="T65" fmla="*/ 77 h 288"/>
                  <a:gd name="T66" fmla="*/ 366 w 499"/>
                  <a:gd name="T67" fmla="*/ 99 h 288"/>
                  <a:gd name="T68" fmla="*/ 365 w 499"/>
                  <a:gd name="T69" fmla="*/ 84 h 288"/>
                  <a:gd name="T70" fmla="*/ 357 w 499"/>
                  <a:gd name="T71" fmla="*/ 57 h 288"/>
                  <a:gd name="T72" fmla="*/ 341 w 499"/>
                  <a:gd name="T73" fmla="*/ 50 h 288"/>
                  <a:gd name="T74" fmla="*/ 323 w 499"/>
                  <a:gd name="T75" fmla="*/ 95 h 288"/>
                  <a:gd name="T76" fmla="*/ 318 w 499"/>
                  <a:gd name="T77" fmla="*/ 61 h 288"/>
                  <a:gd name="T78" fmla="*/ 344 w 499"/>
                  <a:gd name="T79" fmla="*/ 43 h 288"/>
                  <a:gd name="T80" fmla="*/ 320 w 499"/>
                  <a:gd name="T81" fmla="*/ 29 h 288"/>
                  <a:gd name="T82" fmla="*/ 306 w 499"/>
                  <a:gd name="T83" fmla="*/ 30 h 288"/>
                  <a:gd name="T84" fmla="*/ 292 w 499"/>
                  <a:gd name="T85" fmla="*/ 24 h 288"/>
                  <a:gd name="T86" fmla="*/ 278 w 499"/>
                  <a:gd name="T87" fmla="*/ 9 h 288"/>
                  <a:gd name="T88" fmla="*/ 18 w 499"/>
                  <a:gd name="T89" fmla="*/ 6 h 288"/>
                  <a:gd name="T90" fmla="*/ 6 w 499"/>
                  <a:gd name="T91" fmla="*/ 29 h 288"/>
                  <a:gd name="T92" fmla="*/ 6 w 499"/>
                  <a:gd name="T93" fmla="*/ 61 h 288"/>
                  <a:gd name="T94" fmla="*/ 4 w 499"/>
                  <a:gd name="T95" fmla="*/ 111 h 288"/>
                  <a:gd name="T96" fmla="*/ 16 w 499"/>
                  <a:gd name="T97" fmla="*/ 138 h 288"/>
                  <a:gd name="T98" fmla="*/ 20 w 499"/>
                  <a:gd name="T99" fmla="*/ 146 h 288"/>
                  <a:gd name="T100" fmla="*/ 34 w 499"/>
                  <a:gd name="T101" fmla="*/ 170 h 288"/>
                  <a:gd name="T102" fmla="*/ 64 w 499"/>
                  <a:gd name="T103" fmla="*/ 200 h 288"/>
                  <a:gd name="T104" fmla="*/ 162 w 499"/>
                  <a:gd name="T105" fmla="*/ 218 h 288"/>
                  <a:gd name="T106" fmla="*/ 182 w 499"/>
                  <a:gd name="T107" fmla="*/ 243 h 288"/>
                  <a:gd name="T108" fmla="*/ 207 w 499"/>
                  <a:gd name="T109" fmla="*/ 243 h 288"/>
                  <a:gd name="T110" fmla="*/ 222 w 499"/>
                  <a:gd name="T111" fmla="*/ 275 h 288"/>
                  <a:gd name="T112" fmla="*/ 236 w 499"/>
                  <a:gd name="T113" fmla="*/ 275 h 288"/>
                  <a:gd name="T114" fmla="*/ 242 w 499"/>
                  <a:gd name="T115" fmla="*/ 253 h 288"/>
                  <a:gd name="T116" fmla="*/ 257 w 499"/>
                  <a:gd name="T117" fmla="*/ 236 h 288"/>
                  <a:gd name="T118" fmla="*/ 288 w 499"/>
                  <a:gd name="T119" fmla="*/ 24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9" h="288">
                    <a:moveTo>
                      <a:pt x="363" y="82"/>
                    </a:moveTo>
                    <a:cubicBezTo>
                      <a:pt x="367" y="81"/>
                      <a:pt x="363" y="87"/>
                      <a:pt x="362" y="87"/>
                    </a:cubicBezTo>
                    <a:cubicBezTo>
                      <a:pt x="360" y="88"/>
                      <a:pt x="362" y="82"/>
                      <a:pt x="363" y="82"/>
                    </a:cubicBezTo>
                    <a:close/>
                    <a:moveTo>
                      <a:pt x="22" y="9"/>
                    </a:moveTo>
                    <a:cubicBezTo>
                      <a:pt x="22" y="10"/>
                      <a:pt x="23" y="10"/>
                      <a:pt x="23" y="11"/>
                    </a:cubicBezTo>
                    <a:cubicBezTo>
                      <a:pt x="23" y="12"/>
                      <a:pt x="21" y="14"/>
                      <a:pt x="21" y="14"/>
                    </a:cubicBezTo>
                    <a:cubicBezTo>
                      <a:pt x="21" y="15"/>
                      <a:pt x="22" y="19"/>
                      <a:pt x="22" y="19"/>
                    </a:cubicBezTo>
                    <a:cubicBezTo>
                      <a:pt x="20" y="19"/>
                      <a:pt x="21" y="18"/>
                      <a:pt x="20" y="18"/>
                    </a:cubicBezTo>
                    <a:cubicBezTo>
                      <a:pt x="20" y="18"/>
                      <a:pt x="20" y="17"/>
                      <a:pt x="20" y="16"/>
                    </a:cubicBezTo>
                    <a:cubicBezTo>
                      <a:pt x="20" y="16"/>
                      <a:pt x="16" y="11"/>
                      <a:pt x="20" y="12"/>
                    </a:cubicBezTo>
                    <a:cubicBezTo>
                      <a:pt x="20" y="12"/>
                      <a:pt x="20" y="14"/>
                      <a:pt x="20" y="13"/>
                    </a:cubicBezTo>
                    <a:cubicBezTo>
                      <a:pt x="21" y="11"/>
                      <a:pt x="20" y="11"/>
                      <a:pt x="20" y="11"/>
                    </a:cubicBezTo>
                    <a:cubicBezTo>
                      <a:pt x="20" y="11"/>
                      <a:pt x="20" y="11"/>
                      <a:pt x="22" y="10"/>
                    </a:cubicBezTo>
                    <a:lnTo>
                      <a:pt x="22" y="9"/>
                    </a:lnTo>
                    <a:close/>
                    <a:moveTo>
                      <a:pt x="20" y="22"/>
                    </a:moveTo>
                    <a:cubicBezTo>
                      <a:pt x="19" y="22"/>
                      <a:pt x="20" y="23"/>
                      <a:pt x="20" y="23"/>
                    </a:cubicBezTo>
                    <a:cubicBezTo>
                      <a:pt x="20" y="24"/>
                      <a:pt x="19" y="24"/>
                      <a:pt x="18" y="25"/>
                    </a:cubicBezTo>
                    <a:cubicBezTo>
                      <a:pt x="17" y="25"/>
                      <a:pt x="17" y="26"/>
                      <a:pt x="17" y="27"/>
                    </a:cubicBezTo>
                    <a:cubicBezTo>
                      <a:pt x="16" y="26"/>
                      <a:pt x="15" y="26"/>
                      <a:pt x="16" y="25"/>
                    </a:cubicBezTo>
                    <a:cubicBezTo>
                      <a:pt x="17" y="24"/>
                      <a:pt x="18" y="23"/>
                      <a:pt x="20" y="22"/>
                    </a:cubicBezTo>
                    <a:close/>
                    <a:moveTo>
                      <a:pt x="446" y="57"/>
                    </a:moveTo>
                    <a:cubicBezTo>
                      <a:pt x="446" y="58"/>
                      <a:pt x="447" y="60"/>
                      <a:pt x="446" y="63"/>
                    </a:cubicBezTo>
                    <a:cubicBezTo>
                      <a:pt x="445" y="63"/>
                      <a:pt x="445" y="63"/>
                      <a:pt x="445" y="63"/>
                    </a:cubicBezTo>
                    <a:cubicBezTo>
                      <a:pt x="445" y="62"/>
                      <a:pt x="445" y="60"/>
                      <a:pt x="445" y="59"/>
                    </a:cubicBezTo>
                    <a:lnTo>
                      <a:pt x="446" y="57"/>
                    </a:lnTo>
                    <a:close/>
                    <a:moveTo>
                      <a:pt x="103" y="91"/>
                    </a:moveTo>
                    <a:cubicBezTo>
                      <a:pt x="105" y="96"/>
                      <a:pt x="104" y="95"/>
                      <a:pt x="109" y="93"/>
                    </a:cubicBezTo>
                    <a:cubicBezTo>
                      <a:pt x="108" y="95"/>
                      <a:pt x="108" y="95"/>
                      <a:pt x="109" y="96"/>
                    </a:cubicBezTo>
                    <a:cubicBezTo>
                      <a:pt x="109" y="96"/>
                      <a:pt x="109" y="97"/>
                      <a:pt x="110" y="97"/>
                    </a:cubicBezTo>
                    <a:cubicBezTo>
                      <a:pt x="111" y="97"/>
                      <a:pt x="109" y="100"/>
                      <a:pt x="109" y="100"/>
                    </a:cubicBezTo>
                    <a:cubicBezTo>
                      <a:pt x="109" y="100"/>
                      <a:pt x="107" y="101"/>
                      <a:pt x="107" y="101"/>
                    </a:cubicBezTo>
                    <a:cubicBezTo>
                      <a:pt x="105" y="99"/>
                      <a:pt x="101" y="95"/>
                      <a:pt x="101" y="92"/>
                    </a:cubicBezTo>
                    <a:lnTo>
                      <a:pt x="103" y="91"/>
                    </a:lnTo>
                    <a:close/>
                    <a:moveTo>
                      <a:pt x="459" y="102"/>
                    </a:moveTo>
                    <a:cubicBezTo>
                      <a:pt x="456" y="104"/>
                      <a:pt x="456" y="104"/>
                      <a:pt x="456" y="104"/>
                    </a:cubicBezTo>
                    <a:cubicBezTo>
                      <a:pt x="454" y="104"/>
                      <a:pt x="452" y="102"/>
                      <a:pt x="449" y="103"/>
                    </a:cubicBezTo>
                    <a:cubicBezTo>
                      <a:pt x="449" y="103"/>
                      <a:pt x="447" y="105"/>
                      <a:pt x="446" y="105"/>
                    </a:cubicBezTo>
                    <a:cubicBezTo>
                      <a:pt x="445" y="106"/>
                      <a:pt x="444" y="105"/>
                      <a:pt x="443" y="106"/>
                    </a:cubicBezTo>
                    <a:cubicBezTo>
                      <a:pt x="443" y="106"/>
                      <a:pt x="443" y="108"/>
                      <a:pt x="442" y="108"/>
                    </a:cubicBezTo>
                    <a:cubicBezTo>
                      <a:pt x="444" y="108"/>
                      <a:pt x="446" y="109"/>
                      <a:pt x="447" y="108"/>
                    </a:cubicBezTo>
                    <a:cubicBezTo>
                      <a:pt x="448" y="108"/>
                      <a:pt x="450" y="107"/>
                      <a:pt x="451" y="106"/>
                    </a:cubicBezTo>
                    <a:cubicBezTo>
                      <a:pt x="453" y="106"/>
                      <a:pt x="454" y="108"/>
                      <a:pt x="456" y="107"/>
                    </a:cubicBezTo>
                    <a:cubicBezTo>
                      <a:pt x="457" y="107"/>
                      <a:pt x="457" y="105"/>
                      <a:pt x="457" y="104"/>
                    </a:cubicBezTo>
                    <a:cubicBezTo>
                      <a:pt x="457" y="104"/>
                      <a:pt x="461" y="102"/>
                      <a:pt x="459" y="102"/>
                    </a:cubicBezTo>
                    <a:close/>
                    <a:moveTo>
                      <a:pt x="287" y="233"/>
                    </a:moveTo>
                    <a:cubicBezTo>
                      <a:pt x="288" y="233"/>
                      <a:pt x="288" y="235"/>
                      <a:pt x="287" y="235"/>
                    </a:cubicBezTo>
                    <a:cubicBezTo>
                      <a:pt x="287" y="235"/>
                      <a:pt x="286" y="232"/>
                      <a:pt x="287" y="233"/>
                    </a:cubicBezTo>
                    <a:close/>
                    <a:moveTo>
                      <a:pt x="299" y="239"/>
                    </a:moveTo>
                    <a:cubicBezTo>
                      <a:pt x="299" y="239"/>
                      <a:pt x="298" y="240"/>
                      <a:pt x="298" y="240"/>
                    </a:cubicBezTo>
                    <a:cubicBezTo>
                      <a:pt x="298" y="240"/>
                      <a:pt x="298" y="242"/>
                      <a:pt x="299" y="242"/>
                    </a:cubicBezTo>
                    <a:cubicBezTo>
                      <a:pt x="299" y="243"/>
                      <a:pt x="299" y="243"/>
                      <a:pt x="299" y="243"/>
                    </a:cubicBezTo>
                    <a:cubicBezTo>
                      <a:pt x="300" y="242"/>
                      <a:pt x="300" y="244"/>
                      <a:pt x="301" y="243"/>
                    </a:cubicBezTo>
                    <a:cubicBezTo>
                      <a:pt x="303" y="243"/>
                      <a:pt x="301" y="239"/>
                      <a:pt x="301" y="239"/>
                    </a:cubicBezTo>
                    <a:cubicBezTo>
                      <a:pt x="301" y="239"/>
                      <a:pt x="299" y="239"/>
                      <a:pt x="299" y="239"/>
                    </a:cubicBezTo>
                    <a:close/>
                    <a:moveTo>
                      <a:pt x="331" y="45"/>
                    </a:moveTo>
                    <a:cubicBezTo>
                      <a:pt x="331" y="45"/>
                      <a:pt x="331" y="47"/>
                      <a:pt x="331" y="47"/>
                    </a:cubicBezTo>
                    <a:cubicBezTo>
                      <a:pt x="334" y="46"/>
                      <a:pt x="332" y="45"/>
                      <a:pt x="332" y="45"/>
                    </a:cubicBezTo>
                    <a:cubicBezTo>
                      <a:pt x="331" y="45"/>
                      <a:pt x="333" y="44"/>
                      <a:pt x="331" y="45"/>
                    </a:cubicBezTo>
                    <a:close/>
                    <a:moveTo>
                      <a:pt x="475" y="91"/>
                    </a:moveTo>
                    <a:cubicBezTo>
                      <a:pt x="475" y="91"/>
                      <a:pt x="472" y="94"/>
                      <a:pt x="475" y="93"/>
                    </a:cubicBezTo>
                    <a:cubicBezTo>
                      <a:pt x="476" y="93"/>
                      <a:pt x="478" y="90"/>
                      <a:pt x="475" y="91"/>
                    </a:cubicBezTo>
                    <a:close/>
                    <a:moveTo>
                      <a:pt x="425" y="143"/>
                    </a:moveTo>
                    <a:cubicBezTo>
                      <a:pt x="425" y="143"/>
                      <a:pt x="425" y="145"/>
                      <a:pt x="425" y="146"/>
                    </a:cubicBezTo>
                    <a:cubicBezTo>
                      <a:pt x="426" y="146"/>
                      <a:pt x="426" y="146"/>
                      <a:pt x="426" y="146"/>
                    </a:cubicBezTo>
                    <a:cubicBezTo>
                      <a:pt x="426" y="145"/>
                      <a:pt x="425" y="142"/>
                      <a:pt x="425" y="143"/>
                    </a:cubicBezTo>
                    <a:close/>
                    <a:moveTo>
                      <a:pt x="415" y="180"/>
                    </a:moveTo>
                    <a:cubicBezTo>
                      <a:pt x="413" y="180"/>
                      <a:pt x="415" y="181"/>
                      <a:pt x="416" y="181"/>
                    </a:cubicBezTo>
                    <a:cubicBezTo>
                      <a:pt x="416" y="181"/>
                      <a:pt x="417" y="179"/>
                      <a:pt x="415" y="180"/>
                    </a:cubicBezTo>
                    <a:close/>
                    <a:moveTo>
                      <a:pt x="290" y="237"/>
                    </a:moveTo>
                    <a:cubicBezTo>
                      <a:pt x="290" y="238"/>
                      <a:pt x="290" y="238"/>
                      <a:pt x="290" y="238"/>
                    </a:cubicBezTo>
                    <a:cubicBezTo>
                      <a:pt x="287" y="239"/>
                      <a:pt x="289" y="237"/>
                      <a:pt x="290" y="237"/>
                    </a:cubicBezTo>
                    <a:close/>
                    <a:moveTo>
                      <a:pt x="288" y="242"/>
                    </a:moveTo>
                    <a:cubicBezTo>
                      <a:pt x="290" y="243"/>
                      <a:pt x="292" y="242"/>
                      <a:pt x="294" y="243"/>
                    </a:cubicBezTo>
                    <a:cubicBezTo>
                      <a:pt x="294" y="243"/>
                      <a:pt x="294" y="241"/>
                      <a:pt x="294" y="241"/>
                    </a:cubicBezTo>
                    <a:cubicBezTo>
                      <a:pt x="296" y="241"/>
                      <a:pt x="295" y="242"/>
                      <a:pt x="297" y="242"/>
                    </a:cubicBezTo>
                    <a:cubicBezTo>
                      <a:pt x="296" y="237"/>
                      <a:pt x="296" y="240"/>
                      <a:pt x="298" y="235"/>
                    </a:cubicBezTo>
                    <a:cubicBezTo>
                      <a:pt x="299" y="236"/>
                      <a:pt x="303" y="237"/>
                      <a:pt x="304" y="238"/>
                    </a:cubicBezTo>
                    <a:cubicBezTo>
                      <a:pt x="304" y="239"/>
                      <a:pt x="303" y="239"/>
                      <a:pt x="304" y="240"/>
                    </a:cubicBezTo>
                    <a:cubicBezTo>
                      <a:pt x="304" y="241"/>
                      <a:pt x="304" y="241"/>
                      <a:pt x="304" y="241"/>
                    </a:cubicBezTo>
                    <a:cubicBezTo>
                      <a:pt x="305" y="241"/>
                      <a:pt x="307" y="240"/>
                      <a:pt x="308" y="241"/>
                    </a:cubicBezTo>
                    <a:cubicBezTo>
                      <a:pt x="308" y="241"/>
                      <a:pt x="307" y="243"/>
                      <a:pt x="308" y="243"/>
                    </a:cubicBezTo>
                    <a:cubicBezTo>
                      <a:pt x="308" y="244"/>
                      <a:pt x="309" y="243"/>
                      <a:pt x="310" y="243"/>
                    </a:cubicBezTo>
                    <a:cubicBezTo>
                      <a:pt x="310" y="239"/>
                      <a:pt x="310" y="239"/>
                      <a:pt x="310" y="239"/>
                    </a:cubicBezTo>
                    <a:cubicBezTo>
                      <a:pt x="309" y="239"/>
                      <a:pt x="308" y="240"/>
                      <a:pt x="307" y="239"/>
                    </a:cubicBezTo>
                    <a:cubicBezTo>
                      <a:pt x="306" y="239"/>
                      <a:pt x="306" y="236"/>
                      <a:pt x="307" y="237"/>
                    </a:cubicBezTo>
                    <a:cubicBezTo>
                      <a:pt x="308" y="236"/>
                      <a:pt x="308" y="236"/>
                      <a:pt x="310" y="235"/>
                    </a:cubicBezTo>
                    <a:cubicBezTo>
                      <a:pt x="310" y="234"/>
                      <a:pt x="310" y="234"/>
                      <a:pt x="310" y="234"/>
                    </a:cubicBezTo>
                    <a:cubicBezTo>
                      <a:pt x="309" y="234"/>
                      <a:pt x="308" y="233"/>
                      <a:pt x="308" y="233"/>
                    </a:cubicBezTo>
                    <a:cubicBezTo>
                      <a:pt x="308" y="233"/>
                      <a:pt x="307" y="234"/>
                      <a:pt x="306" y="234"/>
                    </a:cubicBezTo>
                    <a:cubicBezTo>
                      <a:pt x="305" y="231"/>
                      <a:pt x="305" y="231"/>
                      <a:pt x="305" y="231"/>
                    </a:cubicBezTo>
                    <a:cubicBezTo>
                      <a:pt x="303" y="231"/>
                      <a:pt x="302" y="232"/>
                      <a:pt x="302" y="232"/>
                    </a:cubicBezTo>
                    <a:cubicBezTo>
                      <a:pt x="302" y="231"/>
                      <a:pt x="302" y="231"/>
                      <a:pt x="302" y="231"/>
                    </a:cubicBezTo>
                    <a:cubicBezTo>
                      <a:pt x="300" y="230"/>
                      <a:pt x="300" y="231"/>
                      <a:pt x="300" y="230"/>
                    </a:cubicBezTo>
                    <a:cubicBezTo>
                      <a:pt x="300" y="230"/>
                      <a:pt x="301" y="229"/>
                      <a:pt x="300" y="229"/>
                    </a:cubicBezTo>
                    <a:cubicBezTo>
                      <a:pt x="302" y="229"/>
                      <a:pt x="304" y="230"/>
                      <a:pt x="306" y="229"/>
                    </a:cubicBezTo>
                    <a:cubicBezTo>
                      <a:pt x="306" y="229"/>
                      <a:pt x="307" y="227"/>
                      <a:pt x="307" y="227"/>
                    </a:cubicBezTo>
                    <a:cubicBezTo>
                      <a:pt x="307" y="227"/>
                      <a:pt x="310" y="226"/>
                      <a:pt x="310" y="226"/>
                    </a:cubicBezTo>
                    <a:cubicBezTo>
                      <a:pt x="313" y="226"/>
                      <a:pt x="314" y="228"/>
                      <a:pt x="316" y="229"/>
                    </a:cubicBezTo>
                    <a:cubicBezTo>
                      <a:pt x="316" y="228"/>
                      <a:pt x="317" y="228"/>
                      <a:pt x="318" y="228"/>
                    </a:cubicBezTo>
                    <a:cubicBezTo>
                      <a:pt x="318" y="228"/>
                      <a:pt x="318" y="226"/>
                      <a:pt x="318" y="225"/>
                    </a:cubicBezTo>
                    <a:cubicBezTo>
                      <a:pt x="319" y="225"/>
                      <a:pt x="319" y="225"/>
                      <a:pt x="319" y="225"/>
                    </a:cubicBezTo>
                    <a:cubicBezTo>
                      <a:pt x="320" y="227"/>
                      <a:pt x="320" y="228"/>
                      <a:pt x="320" y="229"/>
                    </a:cubicBezTo>
                    <a:cubicBezTo>
                      <a:pt x="321" y="229"/>
                      <a:pt x="322" y="230"/>
                      <a:pt x="323" y="229"/>
                    </a:cubicBezTo>
                    <a:cubicBezTo>
                      <a:pt x="326" y="225"/>
                      <a:pt x="326" y="225"/>
                      <a:pt x="326" y="225"/>
                    </a:cubicBezTo>
                    <a:cubicBezTo>
                      <a:pt x="326" y="225"/>
                      <a:pt x="327" y="227"/>
                      <a:pt x="327" y="227"/>
                    </a:cubicBezTo>
                    <a:cubicBezTo>
                      <a:pt x="326" y="228"/>
                      <a:pt x="329" y="228"/>
                      <a:pt x="329" y="228"/>
                    </a:cubicBezTo>
                    <a:cubicBezTo>
                      <a:pt x="330" y="226"/>
                      <a:pt x="330" y="226"/>
                      <a:pt x="330" y="226"/>
                    </a:cubicBezTo>
                    <a:cubicBezTo>
                      <a:pt x="331" y="226"/>
                      <a:pt x="331" y="227"/>
                      <a:pt x="332" y="226"/>
                    </a:cubicBezTo>
                    <a:cubicBezTo>
                      <a:pt x="333" y="227"/>
                      <a:pt x="333" y="227"/>
                      <a:pt x="334" y="227"/>
                    </a:cubicBezTo>
                    <a:cubicBezTo>
                      <a:pt x="334" y="228"/>
                      <a:pt x="333" y="228"/>
                      <a:pt x="333" y="229"/>
                    </a:cubicBezTo>
                    <a:cubicBezTo>
                      <a:pt x="333" y="230"/>
                      <a:pt x="335" y="230"/>
                      <a:pt x="335" y="231"/>
                    </a:cubicBezTo>
                    <a:cubicBezTo>
                      <a:pt x="336" y="231"/>
                      <a:pt x="339" y="231"/>
                      <a:pt x="340" y="231"/>
                    </a:cubicBezTo>
                    <a:cubicBezTo>
                      <a:pt x="341" y="232"/>
                      <a:pt x="340" y="233"/>
                      <a:pt x="341" y="234"/>
                    </a:cubicBezTo>
                    <a:cubicBezTo>
                      <a:pt x="342" y="235"/>
                      <a:pt x="347" y="237"/>
                      <a:pt x="349" y="237"/>
                    </a:cubicBezTo>
                    <a:cubicBezTo>
                      <a:pt x="350" y="236"/>
                      <a:pt x="351" y="233"/>
                      <a:pt x="352" y="233"/>
                    </a:cubicBezTo>
                    <a:cubicBezTo>
                      <a:pt x="353" y="232"/>
                      <a:pt x="354" y="233"/>
                      <a:pt x="355" y="233"/>
                    </a:cubicBezTo>
                    <a:cubicBezTo>
                      <a:pt x="356" y="234"/>
                      <a:pt x="357" y="234"/>
                      <a:pt x="357" y="235"/>
                    </a:cubicBezTo>
                    <a:cubicBezTo>
                      <a:pt x="358" y="237"/>
                      <a:pt x="358" y="239"/>
                      <a:pt x="359" y="240"/>
                    </a:cubicBezTo>
                    <a:cubicBezTo>
                      <a:pt x="359" y="241"/>
                      <a:pt x="362" y="241"/>
                      <a:pt x="363" y="242"/>
                    </a:cubicBezTo>
                    <a:cubicBezTo>
                      <a:pt x="363" y="243"/>
                      <a:pt x="364" y="250"/>
                      <a:pt x="363" y="251"/>
                    </a:cubicBezTo>
                    <a:cubicBezTo>
                      <a:pt x="362" y="253"/>
                      <a:pt x="362" y="253"/>
                      <a:pt x="362" y="253"/>
                    </a:cubicBezTo>
                    <a:cubicBezTo>
                      <a:pt x="362" y="256"/>
                      <a:pt x="363" y="258"/>
                      <a:pt x="363" y="259"/>
                    </a:cubicBezTo>
                    <a:cubicBezTo>
                      <a:pt x="364" y="258"/>
                      <a:pt x="365" y="257"/>
                      <a:pt x="365" y="256"/>
                    </a:cubicBezTo>
                    <a:cubicBezTo>
                      <a:pt x="366" y="256"/>
                      <a:pt x="368" y="256"/>
                      <a:pt x="368" y="256"/>
                    </a:cubicBezTo>
                    <a:cubicBezTo>
                      <a:pt x="367" y="261"/>
                      <a:pt x="366" y="261"/>
                      <a:pt x="365" y="267"/>
                    </a:cubicBezTo>
                    <a:cubicBezTo>
                      <a:pt x="366" y="267"/>
                      <a:pt x="370" y="269"/>
                      <a:pt x="371" y="270"/>
                    </a:cubicBezTo>
                    <a:cubicBezTo>
                      <a:pt x="372" y="271"/>
                      <a:pt x="372" y="276"/>
                      <a:pt x="373" y="278"/>
                    </a:cubicBezTo>
                    <a:cubicBezTo>
                      <a:pt x="373" y="278"/>
                      <a:pt x="374" y="279"/>
                      <a:pt x="375" y="279"/>
                    </a:cubicBezTo>
                    <a:cubicBezTo>
                      <a:pt x="375" y="281"/>
                      <a:pt x="375" y="282"/>
                      <a:pt x="376" y="283"/>
                    </a:cubicBezTo>
                    <a:cubicBezTo>
                      <a:pt x="377" y="284"/>
                      <a:pt x="377" y="283"/>
                      <a:pt x="378" y="284"/>
                    </a:cubicBezTo>
                    <a:cubicBezTo>
                      <a:pt x="379" y="285"/>
                      <a:pt x="379" y="287"/>
                      <a:pt x="380" y="287"/>
                    </a:cubicBezTo>
                    <a:cubicBezTo>
                      <a:pt x="381" y="288"/>
                      <a:pt x="381" y="287"/>
                      <a:pt x="382" y="287"/>
                    </a:cubicBezTo>
                    <a:cubicBezTo>
                      <a:pt x="382" y="286"/>
                      <a:pt x="382" y="286"/>
                      <a:pt x="383" y="285"/>
                    </a:cubicBezTo>
                    <a:cubicBezTo>
                      <a:pt x="382" y="285"/>
                      <a:pt x="382" y="284"/>
                      <a:pt x="382" y="283"/>
                    </a:cubicBezTo>
                    <a:cubicBezTo>
                      <a:pt x="383" y="282"/>
                      <a:pt x="383" y="282"/>
                      <a:pt x="383" y="282"/>
                    </a:cubicBezTo>
                    <a:cubicBezTo>
                      <a:pt x="383" y="281"/>
                      <a:pt x="384" y="280"/>
                      <a:pt x="385" y="279"/>
                    </a:cubicBezTo>
                    <a:cubicBezTo>
                      <a:pt x="385" y="278"/>
                      <a:pt x="384" y="275"/>
                      <a:pt x="385" y="273"/>
                    </a:cubicBezTo>
                    <a:cubicBezTo>
                      <a:pt x="386" y="270"/>
                      <a:pt x="386" y="270"/>
                      <a:pt x="386" y="270"/>
                    </a:cubicBezTo>
                    <a:cubicBezTo>
                      <a:pt x="385" y="270"/>
                      <a:pt x="386" y="267"/>
                      <a:pt x="385" y="266"/>
                    </a:cubicBezTo>
                    <a:cubicBezTo>
                      <a:pt x="384" y="265"/>
                      <a:pt x="384" y="265"/>
                      <a:pt x="384" y="265"/>
                    </a:cubicBezTo>
                    <a:cubicBezTo>
                      <a:pt x="383" y="263"/>
                      <a:pt x="384" y="261"/>
                      <a:pt x="383" y="259"/>
                    </a:cubicBezTo>
                    <a:cubicBezTo>
                      <a:pt x="383" y="258"/>
                      <a:pt x="381" y="256"/>
                      <a:pt x="381" y="255"/>
                    </a:cubicBezTo>
                    <a:cubicBezTo>
                      <a:pt x="380" y="254"/>
                      <a:pt x="382" y="254"/>
                      <a:pt x="381" y="252"/>
                    </a:cubicBezTo>
                    <a:cubicBezTo>
                      <a:pt x="381" y="251"/>
                      <a:pt x="379" y="250"/>
                      <a:pt x="379" y="249"/>
                    </a:cubicBezTo>
                    <a:cubicBezTo>
                      <a:pt x="379" y="249"/>
                      <a:pt x="379" y="246"/>
                      <a:pt x="379" y="246"/>
                    </a:cubicBezTo>
                    <a:cubicBezTo>
                      <a:pt x="379" y="244"/>
                      <a:pt x="376" y="241"/>
                      <a:pt x="376" y="239"/>
                    </a:cubicBezTo>
                    <a:cubicBezTo>
                      <a:pt x="375" y="236"/>
                      <a:pt x="377" y="233"/>
                      <a:pt x="375" y="231"/>
                    </a:cubicBezTo>
                    <a:cubicBezTo>
                      <a:pt x="375" y="230"/>
                      <a:pt x="373" y="230"/>
                      <a:pt x="373" y="229"/>
                    </a:cubicBezTo>
                    <a:cubicBezTo>
                      <a:pt x="373" y="228"/>
                      <a:pt x="373" y="228"/>
                      <a:pt x="373" y="228"/>
                    </a:cubicBezTo>
                    <a:cubicBezTo>
                      <a:pt x="373" y="228"/>
                      <a:pt x="375" y="227"/>
                      <a:pt x="375" y="226"/>
                    </a:cubicBezTo>
                    <a:cubicBezTo>
                      <a:pt x="376" y="224"/>
                      <a:pt x="374" y="223"/>
                      <a:pt x="375" y="221"/>
                    </a:cubicBezTo>
                    <a:cubicBezTo>
                      <a:pt x="376" y="221"/>
                      <a:pt x="376" y="221"/>
                      <a:pt x="376" y="221"/>
                    </a:cubicBezTo>
                    <a:cubicBezTo>
                      <a:pt x="376" y="219"/>
                      <a:pt x="378" y="212"/>
                      <a:pt x="377" y="214"/>
                    </a:cubicBezTo>
                    <a:cubicBezTo>
                      <a:pt x="377" y="212"/>
                      <a:pt x="377" y="212"/>
                      <a:pt x="377" y="212"/>
                    </a:cubicBezTo>
                    <a:cubicBezTo>
                      <a:pt x="381" y="210"/>
                      <a:pt x="381" y="210"/>
                      <a:pt x="381" y="210"/>
                    </a:cubicBezTo>
                    <a:cubicBezTo>
                      <a:pt x="380" y="208"/>
                      <a:pt x="380" y="208"/>
                      <a:pt x="380" y="208"/>
                    </a:cubicBezTo>
                    <a:cubicBezTo>
                      <a:pt x="381" y="207"/>
                      <a:pt x="382" y="208"/>
                      <a:pt x="383" y="207"/>
                    </a:cubicBezTo>
                    <a:cubicBezTo>
                      <a:pt x="384" y="206"/>
                      <a:pt x="384" y="204"/>
                      <a:pt x="385" y="203"/>
                    </a:cubicBezTo>
                    <a:cubicBezTo>
                      <a:pt x="386" y="202"/>
                      <a:pt x="386" y="204"/>
                      <a:pt x="388" y="203"/>
                    </a:cubicBezTo>
                    <a:cubicBezTo>
                      <a:pt x="388" y="203"/>
                      <a:pt x="391" y="200"/>
                      <a:pt x="391" y="200"/>
                    </a:cubicBezTo>
                    <a:cubicBezTo>
                      <a:pt x="391" y="200"/>
                      <a:pt x="390" y="198"/>
                      <a:pt x="391" y="198"/>
                    </a:cubicBezTo>
                    <a:cubicBezTo>
                      <a:pt x="391" y="198"/>
                      <a:pt x="393" y="199"/>
                      <a:pt x="393" y="198"/>
                    </a:cubicBezTo>
                    <a:cubicBezTo>
                      <a:pt x="393" y="198"/>
                      <a:pt x="395" y="193"/>
                      <a:pt x="395" y="193"/>
                    </a:cubicBezTo>
                    <a:cubicBezTo>
                      <a:pt x="396" y="193"/>
                      <a:pt x="395" y="194"/>
                      <a:pt x="397" y="194"/>
                    </a:cubicBezTo>
                    <a:cubicBezTo>
                      <a:pt x="398" y="193"/>
                      <a:pt x="399" y="191"/>
                      <a:pt x="400" y="191"/>
                    </a:cubicBezTo>
                    <a:cubicBezTo>
                      <a:pt x="401" y="190"/>
                      <a:pt x="403" y="191"/>
                      <a:pt x="404" y="190"/>
                    </a:cubicBezTo>
                    <a:cubicBezTo>
                      <a:pt x="409" y="185"/>
                      <a:pt x="409" y="185"/>
                      <a:pt x="409" y="185"/>
                    </a:cubicBezTo>
                    <a:cubicBezTo>
                      <a:pt x="409" y="184"/>
                      <a:pt x="408" y="183"/>
                      <a:pt x="409" y="183"/>
                    </a:cubicBezTo>
                    <a:cubicBezTo>
                      <a:pt x="409" y="182"/>
                      <a:pt x="412" y="181"/>
                      <a:pt x="413" y="181"/>
                    </a:cubicBezTo>
                    <a:cubicBezTo>
                      <a:pt x="412" y="179"/>
                      <a:pt x="411" y="178"/>
                      <a:pt x="411" y="176"/>
                    </a:cubicBezTo>
                    <a:cubicBezTo>
                      <a:pt x="412" y="176"/>
                      <a:pt x="413" y="177"/>
                      <a:pt x="414" y="176"/>
                    </a:cubicBezTo>
                    <a:cubicBezTo>
                      <a:pt x="414" y="175"/>
                      <a:pt x="414" y="175"/>
                      <a:pt x="414" y="175"/>
                    </a:cubicBezTo>
                    <a:cubicBezTo>
                      <a:pt x="415" y="175"/>
                      <a:pt x="415" y="175"/>
                      <a:pt x="415" y="175"/>
                    </a:cubicBezTo>
                    <a:cubicBezTo>
                      <a:pt x="414" y="174"/>
                      <a:pt x="414" y="172"/>
                      <a:pt x="413" y="171"/>
                    </a:cubicBezTo>
                    <a:cubicBezTo>
                      <a:pt x="414" y="171"/>
                      <a:pt x="416" y="170"/>
                      <a:pt x="417" y="170"/>
                    </a:cubicBezTo>
                    <a:cubicBezTo>
                      <a:pt x="417" y="172"/>
                      <a:pt x="417" y="172"/>
                      <a:pt x="417" y="172"/>
                    </a:cubicBezTo>
                    <a:cubicBezTo>
                      <a:pt x="418" y="172"/>
                      <a:pt x="419" y="172"/>
                      <a:pt x="420" y="172"/>
                    </a:cubicBezTo>
                    <a:cubicBezTo>
                      <a:pt x="420" y="172"/>
                      <a:pt x="425" y="167"/>
                      <a:pt x="421" y="170"/>
                    </a:cubicBezTo>
                    <a:cubicBezTo>
                      <a:pt x="420" y="170"/>
                      <a:pt x="421" y="168"/>
                      <a:pt x="421" y="168"/>
                    </a:cubicBezTo>
                    <a:cubicBezTo>
                      <a:pt x="415" y="166"/>
                      <a:pt x="415" y="166"/>
                      <a:pt x="415" y="166"/>
                    </a:cubicBezTo>
                    <a:cubicBezTo>
                      <a:pt x="415" y="166"/>
                      <a:pt x="415" y="164"/>
                      <a:pt x="415" y="164"/>
                    </a:cubicBezTo>
                    <a:cubicBezTo>
                      <a:pt x="417" y="164"/>
                      <a:pt x="419" y="164"/>
                      <a:pt x="420" y="163"/>
                    </a:cubicBezTo>
                    <a:cubicBezTo>
                      <a:pt x="420" y="163"/>
                      <a:pt x="420" y="161"/>
                      <a:pt x="421" y="161"/>
                    </a:cubicBezTo>
                    <a:cubicBezTo>
                      <a:pt x="420" y="160"/>
                      <a:pt x="419" y="161"/>
                      <a:pt x="419" y="159"/>
                    </a:cubicBezTo>
                    <a:cubicBezTo>
                      <a:pt x="419" y="159"/>
                      <a:pt x="420" y="158"/>
                      <a:pt x="420" y="157"/>
                    </a:cubicBezTo>
                    <a:cubicBezTo>
                      <a:pt x="414" y="154"/>
                      <a:pt x="414" y="154"/>
                      <a:pt x="414" y="154"/>
                    </a:cubicBezTo>
                    <a:cubicBezTo>
                      <a:pt x="414" y="154"/>
                      <a:pt x="414" y="153"/>
                      <a:pt x="414" y="152"/>
                    </a:cubicBezTo>
                    <a:cubicBezTo>
                      <a:pt x="414" y="152"/>
                      <a:pt x="412" y="151"/>
                      <a:pt x="412" y="150"/>
                    </a:cubicBezTo>
                    <a:cubicBezTo>
                      <a:pt x="414" y="150"/>
                      <a:pt x="415" y="150"/>
                      <a:pt x="417" y="150"/>
                    </a:cubicBezTo>
                    <a:cubicBezTo>
                      <a:pt x="416" y="148"/>
                      <a:pt x="415" y="146"/>
                      <a:pt x="413" y="144"/>
                    </a:cubicBezTo>
                    <a:cubicBezTo>
                      <a:pt x="414" y="144"/>
                      <a:pt x="415" y="144"/>
                      <a:pt x="415" y="144"/>
                    </a:cubicBezTo>
                    <a:cubicBezTo>
                      <a:pt x="415" y="143"/>
                      <a:pt x="415" y="143"/>
                      <a:pt x="415" y="143"/>
                    </a:cubicBezTo>
                    <a:cubicBezTo>
                      <a:pt x="414" y="142"/>
                      <a:pt x="412" y="141"/>
                      <a:pt x="411" y="140"/>
                    </a:cubicBezTo>
                    <a:cubicBezTo>
                      <a:pt x="412" y="139"/>
                      <a:pt x="411" y="139"/>
                      <a:pt x="413" y="138"/>
                    </a:cubicBezTo>
                    <a:cubicBezTo>
                      <a:pt x="412" y="138"/>
                      <a:pt x="412" y="134"/>
                      <a:pt x="412" y="134"/>
                    </a:cubicBezTo>
                    <a:cubicBezTo>
                      <a:pt x="413" y="134"/>
                      <a:pt x="413" y="134"/>
                      <a:pt x="413" y="134"/>
                    </a:cubicBezTo>
                    <a:cubicBezTo>
                      <a:pt x="415" y="129"/>
                      <a:pt x="415" y="127"/>
                      <a:pt x="415" y="123"/>
                    </a:cubicBezTo>
                    <a:cubicBezTo>
                      <a:pt x="416" y="123"/>
                      <a:pt x="416" y="123"/>
                      <a:pt x="418" y="122"/>
                    </a:cubicBezTo>
                    <a:cubicBezTo>
                      <a:pt x="419" y="121"/>
                      <a:pt x="419" y="121"/>
                      <a:pt x="419" y="121"/>
                    </a:cubicBezTo>
                    <a:cubicBezTo>
                      <a:pt x="419" y="121"/>
                      <a:pt x="421" y="122"/>
                      <a:pt x="422" y="122"/>
                    </a:cubicBezTo>
                    <a:cubicBezTo>
                      <a:pt x="423" y="120"/>
                      <a:pt x="422" y="120"/>
                      <a:pt x="423" y="119"/>
                    </a:cubicBezTo>
                    <a:cubicBezTo>
                      <a:pt x="423" y="119"/>
                      <a:pt x="424" y="121"/>
                      <a:pt x="424" y="122"/>
                    </a:cubicBezTo>
                    <a:cubicBezTo>
                      <a:pt x="422" y="123"/>
                      <a:pt x="420" y="125"/>
                      <a:pt x="419" y="127"/>
                    </a:cubicBezTo>
                    <a:cubicBezTo>
                      <a:pt x="420" y="129"/>
                      <a:pt x="420" y="129"/>
                      <a:pt x="420" y="129"/>
                    </a:cubicBezTo>
                    <a:cubicBezTo>
                      <a:pt x="419" y="130"/>
                      <a:pt x="417" y="131"/>
                      <a:pt x="417" y="132"/>
                    </a:cubicBezTo>
                    <a:cubicBezTo>
                      <a:pt x="416" y="133"/>
                      <a:pt x="417" y="134"/>
                      <a:pt x="418" y="134"/>
                    </a:cubicBezTo>
                    <a:cubicBezTo>
                      <a:pt x="419" y="135"/>
                      <a:pt x="417" y="135"/>
                      <a:pt x="417" y="135"/>
                    </a:cubicBezTo>
                    <a:cubicBezTo>
                      <a:pt x="417" y="136"/>
                      <a:pt x="417" y="140"/>
                      <a:pt x="418" y="140"/>
                    </a:cubicBezTo>
                    <a:cubicBezTo>
                      <a:pt x="418" y="141"/>
                      <a:pt x="418" y="141"/>
                      <a:pt x="418" y="141"/>
                    </a:cubicBezTo>
                    <a:cubicBezTo>
                      <a:pt x="420" y="140"/>
                      <a:pt x="420" y="140"/>
                      <a:pt x="423" y="140"/>
                    </a:cubicBezTo>
                    <a:cubicBezTo>
                      <a:pt x="423" y="140"/>
                      <a:pt x="422" y="143"/>
                      <a:pt x="423" y="144"/>
                    </a:cubicBezTo>
                    <a:cubicBezTo>
                      <a:pt x="424" y="143"/>
                      <a:pt x="426" y="142"/>
                      <a:pt x="428" y="142"/>
                    </a:cubicBezTo>
                    <a:cubicBezTo>
                      <a:pt x="428" y="140"/>
                      <a:pt x="428" y="140"/>
                      <a:pt x="428" y="140"/>
                    </a:cubicBezTo>
                    <a:cubicBezTo>
                      <a:pt x="428" y="140"/>
                      <a:pt x="427" y="140"/>
                      <a:pt x="427" y="138"/>
                    </a:cubicBezTo>
                    <a:cubicBezTo>
                      <a:pt x="427" y="138"/>
                      <a:pt x="428" y="138"/>
                      <a:pt x="428" y="137"/>
                    </a:cubicBezTo>
                    <a:cubicBezTo>
                      <a:pt x="429" y="138"/>
                      <a:pt x="429" y="135"/>
                      <a:pt x="429" y="134"/>
                    </a:cubicBezTo>
                    <a:cubicBezTo>
                      <a:pt x="428" y="134"/>
                      <a:pt x="428" y="134"/>
                      <a:pt x="428" y="134"/>
                    </a:cubicBezTo>
                    <a:cubicBezTo>
                      <a:pt x="428" y="133"/>
                      <a:pt x="430" y="131"/>
                      <a:pt x="429" y="130"/>
                    </a:cubicBezTo>
                    <a:cubicBezTo>
                      <a:pt x="428" y="130"/>
                      <a:pt x="428" y="130"/>
                      <a:pt x="428" y="130"/>
                    </a:cubicBezTo>
                    <a:cubicBezTo>
                      <a:pt x="428" y="129"/>
                      <a:pt x="426" y="127"/>
                      <a:pt x="426" y="126"/>
                    </a:cubicBezTo>
                    <a:cubicBezTo>
                      <a:pt x="426" y="126"/>
                      <a:pt x="426" y="126"/>
                      <a:pt x="426" y="126"/>
                    </a:cubicBezTo>
                    <a:cubicBezTo>
                      <a:pt x="426" y="125"/>
                      <a:pt x="427" y="123"/>
                      <a:pt x="427" y="123"/>
                    </a:cubicBezTo>
                    <a:cubicBezTo>
                      <a:pt x="428" y="123"/>
                      <a:pt x="430" y="125"/>
                      <a:pt x="431" y="126"/>
                    </a:cubicBezTo>
                    <a:cubicBezTo>
                      <a:pt x="432" y="126"/>
                      <a:pt x="433" y="125"/>
                      <a:pt x="434" y="126"/>
                    </a:cubicBezTo>
                    <a:cubicBezTo>
                      <a:pt x="436" y="124"/>
                      <a:pt x="436" y="121"/>
                      <a:pt x="438" y="119"/>
                    </a:cubicBezTo>
                    <a:cubicBezTo>
                      <a:pt x="440" y="120"/>
                      <a:pt x="440" y="120"/>
                      <a:pt x="440" y="120"/>
                    </a:cubicBezTo>
                    <a:cubicBezTo>
                      <a:pt x="440" y="119"/>
                      <a:pt x="441" y="117"/>
                      <a:pt x="441" y="116"/>
                    </a:cubicBezTo>
                    <a:cubicBezTo>
                      <a:pt x="442" y="115"/>
                      <a:pt x="441" y="109"/>
                      <a:pt x="441" y="109"/>
                    </a:cubicBezTo>
                    <a:cubicBezTo>
                      <a:pt x="441" y="109"/>
                      <a:pt x="440" y="109"/>
                      <a:pt x="439" y="109"/>
                    </a:cubicBezTo>
                    <a:cubicBezTo>
                      <a:pt x="439" y="109"/>
                      <a:pt x="439" y="107"/>
                      <a:pt x="439" y="107"/>
                    </a:cubicBezTo>
                    <a:cubicBezTo>
                      <a:pt x="440" y="107"/>
                      <a:pt x="440" y="107"/>
                      <a:pt x="440" y="107"/>
                    </a:cubicBezTo>
                    <a:cubicBezTo>
                      <a:pt x="440" y="106"/>
                      <a:pt x="440" y="106"/>
                      <a:pt x="440" y="106"/>
                    </a:cubicBezTo>
                    <a:cubicBezTo>
                      <a:pt x="441" y="105"/>
                      <a:pt x="445" y="101"/>
                      <a:pt x="446" y="101"/>
                    </a:cubicBezTo>
                    <a:cubicBezTo>
                      <a:pt x="446" y="100"/>
                      <a:pt x="446" y="100"/>
                      <a:pt x="446" y="100"/>
                    </a:cubicBezTo>
                    <a:cubicBezTo>
                      <a:pt x="446" y="99"/>
                      <a:pt x="448" y="100"/>
                      <a:pt x="448" y="100"/>
                    </a:cubicBezTo>
                    <a:cubicBezTo>
                      <a:pt x="449" y="100"/>
                      <a:pt x="449" y="98"/>
                      <a:pt x="450" y="98"/>
                    </a:cubicBezTo>
                    <a:cubicBezTo>
                      <a:pt x="450" y="98"/>
                      <a:pt x="452" y="99"/>
                      <a:pt x="453" y="99"/>
                    </a:cubicBezTo>
                    <a:cubicBezTo>
                      <a:pt x="454" y="98"/>
                      <a:pt x="454" y="96"/>
                      <a:pt x="454" y="96"/>
                    </a:cubicBezTo>
                    <a:cubicBezTo>
                      <a:pt x="456" y="95"/>
                      <a:pt x="458" y="96"/>
                      <a:pt x="460" y="96"/>
                    </a:cubicBezTo>
                    <a:cubicBezTo>
                      <a:pt x="460" y="97"/>
                      <a:pt x="460" y="97"/>
                      <a:pt x="460" y="97"/>
                    </a:cubicBezTo>
                    <a:cubicBezTo>
                      <a:pt x="461" y="98"/>
                      <a:pt x="462" y="96"/>
                      <a:pt x="462" y="97"/>
                    </a:cubicBezTo>
                    <a:cubicBezTo>
                      <a:pt x="461" y="96"/>
                      <a:pt x="462" y="93"/>
                      <a:pt x="462" y="91"/>
                    </a:cubicBezTo>
                    <a:cubicBezTo>
                      <a:pt x="463" y="92"/>
                      <a:pt x="465" y="91"/>
                      <a:pt x="466" y="92"/>
                    </a:cubicBezTo>
                    <a:cubicBezTo>
                      <a:pt x="466" y="92"/>
                      <a:pt x="466" y="94"/>
                      <a:pt x="466" y="94"/>
                    </a:cubicBezTo>
                    <a:cubicBezTo>
                      <a:pt x="466" y="94"/>
                      <a:pt x="467" y="95"/>
                      <a:pt x="468" y="95"/>
                    </a:cubicBezTo>
                    <a:cubicBezTo>
                      <a:pt x="469" y="94"/>
                      <a:pt x="470" y="93"/>
                      <a:pt x="470" y="93"/>
                    </a:cubicBezTo>
                    <a:cubicBezTo>
                      <a:pt x="470" y="92"/>
                      <a:pt x="472" y="93"/>
                      <a:pt x="472" y="93"/>
                    </a:cubicBezTo>
                    <a:cubicBezTo>
                      <a:pt x="472" y="92"/>
                      <a:pt x="472" y="91"/>
                      <a:pt x="471" y="91"/>
                    </a:cubicBezTo>
                    <a:cubicBezTo>
                      <a:pt x="470" y="90"/>
                      <a:pt x="466" y="89"/>
                      <a:pt x="466" y="88"/>
                    </a:cubicBezTo>
                    <a:cubicBezTo>
                      <a:pt x="465" y="87"/>
                      <a:pt x="466" y="87"/>
                      <a:pt x="466" y="86"/>
                    </a:cubicBezTo>
                    <a:cubicBezTo>
                      <a:pt x="467" y="85"/>
                      <a:pt x="468" y="85"/>
                      <a:pt x="470" y="85"/>
                    </a:cubicBezTo>
                    <a:cubicBezTo>
                      <a:pt x="467" y="79"/>
                      <a:pt x="469" y="80"/>
                      <a:pt x="473" y="76"/>
                    </a:cubicBezTo>
                    <a:cubicBezTo>
                      <a:pt x="473" y="75"/>
                      <a:pt x="473" y="75"/>
                      <a:pt x="473" y="75"/>
                    </a:cubicBezTo>
                    <a:cubicBezTo>
                      <a:pt x="472" y="75"/>
                      <a:pt x="472" y="75"/>
                      <a:pt x="472" y="75"/>
                    </a:cubicBezTo>
                    <a:cubicBezTo>
                      <a:pt x="473" y="73"/>
                      <a:pt x="473" y="71"/>
                      <a:pt x="474" y="69"/>
                    </a:cubicBezTo>
                    <a:cubicBezTo>
                      <a:pt x="475" y="70"/>
                      <a:pt x="475" y="70"/>
                      <a:pt x="476" y="70"/>
                    </a:cubicBezTo>
                    <a:cubicBezTo>
                      <a:pt x="475" y="72"/>
                      <a:pt x="478" y="69"/>
                      <a:pt x="478" y="69"/>
                    </a:cubicBezTo>
                    <a:cubicBezTo>
                      <a:pt x="480" y="69"/>
                      <a:pt x="478" y="70"/>
                      <a:pt x="479" y="71"/>
                    </a:cubicBezTo>
                    <a:cubicBezTo>
                      <a:pt x="480" y="71"/>
                      <a:pt x="480" y="71"/>
                      <a:pt x="480" y="71"/>
                    </a:cubicBezTo>
                    <a:cubicBezTo>
                      <a:pt x="480" y="70"/>
                      <a:pt x="480" y="69"/>
                      <a:pt x="480" y="69"/>
                    </a:cubicBezTo>
                    <a:cubicBezTo>
                      <a:pt x="481" y="68"/>
                      <a:pt x="482" y="70"/>
                      <a:pt x="484" y="69"/>
                    </a:cubicBezTo>
                    <a:cubicBezTo>
                      <a:pt x="484" y="66"/>
                      <a:pt x="484" y="65"/>
                      <a:pt x="486" y="62"/>
                    </a:cubicBezTo>
                    <a:cubicBezTo>
                      <a:pt x="486" y="63"/>
                      <a:pt x="487" y="65"/>
                      <a:pt x="487" y="66"/>
                    </a:cubicBezTo>
                    <a:cubicBezTo>
                      <a:pt x="489" y="65"/>
                      <a:pt x="489" y="65"/>
                      <a:pt x="489" y="65"/>
                    </a:cubicBezTo>
                    <a:cubicBezTo>
                      <a:pt x="489" y="65"/>
                      <a:pt x="489" y="63"/>
                      <a:pt x="489" y="63"/>
                    </a:cubicBezTo>
                    <a:cubicBezTo>
                      <a:pt x="490" y="63"/>
                      <a:pt x="491" y="65"/>
                      <a:pt x="492" y="65"/>
                    </a:cubicBezTo>
                    <a:cubicBezTo>
                      <a:pt x="493" y="66"/>
                      <a:pt x="493" y="64"/>
                      <a:pt x="494" y="65"/>
                    </a:cubicBezTo>
                    <a:cubicBezTo>
                      <a:pt x="495" y="64"/>
                      <a:pt x="495" y="63"/>
                      <a:pt x="496" y="62"/>
                    </a:cubicBezTo>
                    <a:cubicBezTo>
                      <a:pt x="497" y="61"/>
                      <a:pt x="498" y="61"/>
                      <a:pt x="499" y="61"/>
                    </a:cubicBezTo>
                    <a:cubicBezTo>
                      <a:pt x="498" y="58"/>
                      <a:pt x="498" y="57"/>
                      <a:pt x="498" y="54"/>
                    </a:cubicBezTo>
                    <a:cubicBezTo>
                      <a:pt x="498" y="54"/>
                      <a:pt x="497" y="54"/>
                      <a:pt x="497" y="54"/>
                    </a:cubicBezTo>
                    <a:cubicBezTo>
                      <a:pt x="497" y="53"/>
                      <a:pt x="498" y="53"/>
                      <a:pt x="498" y="53"/>
                    </a:cubicBezTo>
                    <a:cubicBezTo>
                      <a:pt x="498" y="53"/>
                      <a:pt x="497" y="52"/>
                      <a:pt x="496" y="52"/>
                    </a:cubicBezTo>
                    <a:cubicBezTo>
                      <a:pt x="495" y="52"/>
                      <a:pt x="496" y="50"/>
                      <a:pt x="496" y="47"/>
                    </a:cubicBezTo>
                    <a:cubicBezTo>
                      <a:pt x="496" y="45"/>
                      <a:pt x="492" y="46"/>
                      <a:pt x="492" y="46"/>
                    </a:cubicBezTo>
                    <a:cubicBezTo>
                      <a:pt x="492" y="46"/>
                      <a:pt x="492" y="39"/>
                      <a:pt x="492" y="34"/>
                    </a:cubicBezTo>
                    <a:cubicBezTo>
                      <a:pt x="493" y="29"/>
                      <a:pt x="490" y="28"/>
                      <a:pt x="486" y="27"/>
                    </a:cubicBezTo>
                    <a:cubicBezTo>
                      <a:pt x="483" y="26"/>
                      <a:pt x="482" y="33"/>
                      <a:pt x="482" y="29"/>
                    </a:cubicBezTo>
                    <a:cubicBezTo>
                      <a:pt x="481" y="25"/>
                      <a:pt x="479" y="28"/>
                      <a:pt x="479" y="28"/>
                    </a:cubicBezTo>
                    <a:cubicBezTo>
                      <a:pt x="476" y="33"/>
                      <a:pt x="476" y="33"/>
                      <a:pt x="476" y="33"/>
                    </a:cubicBezTo>
                    <a:cubicBezTo>
                      <a:pt x="476" y="33"/>
                      <a:pt x="473" y="38"/>
                      <a:pt x="474" y="40"/>
                    </a:cubicBezTo>
                    <a:cubicBezTo>
                      <a:pt x="474" y="41"/>
                      <a:pt x="468" y="47"/>
                      <a:pt x="466" y="47"/>
                    </a:cubicBezTo>
                    <a:cubicBezTo>
                      <a:pt x="464" y="48"/>
                      <a:pt x="463" y="51"/>
                      <a:pt x="463" y="51"/>
                    </a:cubicBezTo>
                    <a:cubicBezTo>
                      <a:pt x="463" y="51"/>
                      <a:pt x="441" y="54"/>
                      <a:pt x="438" y="54"/>
                    </a:cubicBezTo>
                    <a:cubicBezTo>
                      <a:pt x="436" y="53"/>
                      <a:pt x="436" y="52"/>
                      <a:pt x="429" y="56"/>
                    </a:cubicBezTo>
                    <a:cubicBezTo>
                      <a:pt x="422" y="60"/>
                      <a:pt x="421" y="62"/>
                      <a:pt x="421" y="62"/>
                    </a:cubicBezTo>
                    <a:cubicBezTo>
                      <a:pt x="421" y="62"/>
                      <a:pt x="421" y="63"/>
                      <a:pt x="421" y="63"/>
                    </a:cubicBezTo>
                    <a:cubicBezTo>
                      <a:pt x="424" y="60"/>
                      <a:pt x="424" y="60"/>
                      <a:pt x="424" y="60"/>
                    </a:cubicBezTo>
                    <a:cubicBezTo>
                      <a:pt x="423" y="61"/>
                      <a:pt x="424" y="63"/>
                      <a:pt x="423" y="65"/>
                    </a:cubicBezTo>
                    <a:cubicBezTo>
                      <a:pt x="423" y="65"/>
                      <a:pt x="421" y="65"/>
                      <a:pt x="421" y="66"/>
                    </a:cubicBezTo>
                    <a:cubicBezTo>
                      <a:pt x="420" y="67"/>
                      <a:pt x="422" y="67"/>
                      <a:pt x="421" y="69"/>
                    </a:cubicBezTo>
                    <a:cubicBezTo>
                      <a:pt x="421" y="69"/>
                      <a:pt x="419" y="70"/>
                      <a:pt x="419" y="71"/>
                    </a:cubicBezTo>
                    <a:cubicBezTo>
                      <a:pt x="420" y="71"/>
                      <a:pt x="419" y="73"/>
                      <a:pt x="419" y="74"/>
                    </a:cubicBezTo>
                    <a:cubicBezTo>
                      <a:pt x="417" y="74"/>
                      <a:pt x="415" y="74"/>
                      <a:pt x="414" y="75"/>
                    </a:cubicBezTo>
                    <a:cubicBezTo>
                      <a:pt x="414" y="75"/>
                      <a:pt x="413" y="76"/>
                      <a:pt x="413" y="77"/>
                    </a:cubicBezTo>
                    <a:cubicBezTo>
                      <a:pt x="411" y="77"/>
                      <a:pt x="410" y="76"/>
                      <a:pt x="408" y="76"/>
                    </a:cubicBezTo>
                    <a:cubicBezTo>
                      <a:pt x="407" y="77"/>
                      <a:pt x="407" y="77"/>
                      <a:pt x="407" y="77"/>
                    </a:cubicBezTo>
                    <a:cubicBezTo>
                      <a:pt x="402" y="76"/>
                      <a:pt x="399" y="77"/>
                      <a:pt x="394" y="77"/>
                    </a:cubicBezTo>
                    <a:cubicBezTo>
                      <a:pt x="394" y="78"/>
                      <a:pt x="393" y="77"/>
                      <a:pt x="393" y="79"/>
                    </a:cubicBezTo>
                    <a:cubicBezTo>
                      <a:pt x="393" y="79"/>
                      <a:pt x="395" y="80"/>
                      <a:pt x="395" y="81"/>
                    </a:cubicBezTo>
                    <a:cubicBezTo>
                      <a:pt x="393" y="83"/>
                      <a:pt x="391" y="87"/>
                      <a:pt x="388" y="89"/>
                    </a:cubicBezTo>
                    <a:cubicBezTo>
                      <a:pt x="386" y="89"/>
                      <a:pt x="385" y="88"/>
                      <a:pt x="384" y="89"/>
                    </a:cubicBezTo>
                    <a:cubicBezTo>
                      <a:pt x="383" y="90"/>
                      <a:pt x="382" y="92"/>
                      <a:pt x="381" y="92"/>
                    </a:cubicBezTo>
                    <a:cubicBezTo>
                      <a:pt x="378" y="93"/>
                      <a:pt x="376" y="92"/>
                      <a:pt x="374" y="93"/>
                    </a:cubicBezTo>
                    <a:cubicBezTo>
                      <a:pt x="374" y="94"/>
                      <a:pt x="374" y="94"/>
                      <a:pt x="374" y="94"/>
                    </a:cubicBezTo>
                    <a:cubicBezTo>
                      <a:pt x="373" y="96"/>
                      <a:pt x="369" y="99"/>
                      <a:pt x="366" y="99"/>
                    </a:cubicBezTo>
                    <a:cubicBezTo>
                      <a:pt x="361" y="100"/>
                      <a:pt x="358" y="97"/>
                      <a:pt x="362" y="98"/>
                    </a:cubicBezTo>
                    <a:cubicBezTo>
                      <a:pt x="362" y="97"/>
                      <a:pt x="362" y="97"/>
                      <a:pt x="362" y="97"/>
                    </a:cubicBezTo>
                    <a:cubicBezTo>
                      <a:pt x="362" y="96"/>
                      <a:pt x="360" y="97"/>
                      <a:pt x="360" y="97"/>
                    </a:cubicBezTo>
                    <a:cubicBezTo>
                      <a:pt x="360" y="96"/>
                      <a:pt x="360" y="95"/>
                      <a:pt x="359" y="95"/>
                    </a:cubicBezTo>
                    <a:cubicBezTo>
                      <a:pt x="359" y="94"/>
                      <a:pt x="356" y="95"/>
                      <a:pt x="357" y="95"/>
                    </a:cubicBezTo>
                    <a:cubicBezTo>
                      <a:pt x="356" y="93"/>
                      <a:pt x="356" y="93"/>
                      <a:pt x="356" y="93"/>
                    </a:cubicBezTo>
                    <a:cubicBezTo>
                      <a:pt x="357" y="92"/>
                      <a:pt x="359" y="91"/>
                      <a:pt x="360" y="90"/>
                    </a:cubicBezTo>
                    <a:cubicBezTo>
                      <a:pt x="360" y="90"/>
                      <a:pt x="360" y="89"/>
                      <a:pt x="360" y="89"/>
                    </a:cubicBezTo>
                    <a:cubicBezTo>
                      <a:pt x="362" y="87"/>
                      <a:pt x="365" y="86"/>
                      <a:pt x="365" y="84"/>
                    </a:cubicBezTo>
                    <a:cubicBezTo>
                      <a:pt x="365" y="81"/>
                      <a:pt x="365" y="79"/>
                      <a:pt x="366" y="78"/>
                    </a:cubicBezTo>
                    <a:cubicBezTo>
                      <a:pt x="365" y="78"/>
                      <a:pt x="365" y="79"/>
                      <a:pt x="365" y="79"/>
                    </a:cubicBezTo>
                    <a:cubicBezTo>
                      <a:pt x="365" y="79"/>
                      <a:pt x="366" y="78"/>
                      <a:pt x="365" y="75"/>
                    </a:cubicBezTo>
                    <a:cubicBezTo>
                      <a:pt x="363" y="68"/>
                      <a:pt x="365" y="69"/>
                      <a:pt x="358" y="67"/>
                    </a:cubicBezTo>
                    <a:cubicBezTo>
                      <a:pt x="358" y="68"/>
                      <a:pt x="357" y="69"/>
                      <a:pt x="357" y="70"/>
                    </a:cubicBezTo>
                    <a:cubicBezTo>
                      <a:pt x="357" y="70"/>
                      <a:pt x="355" y="70"/>
                      <a:pt x="355" y="71"/>
                    </a:cubicBezTo>
                    <a:cubicBezTo>
                      <a:pt x="355" y="71"/>
                      <a:pt x="353" y="71"/>
                      <a:pt x="353" y="69"/>
                    </a:cubicBezTo>
                    <a:cubicBezTo>
                      <a:pt x="355" y="68"/>
                      <a:pt x="355" y="68"/>
                      <a:pt x="355" y="68"/>
                    </a:cubicBezTo>
                    <a:cubicBezTo>
                      <a:pt x="356" y="66"/>
                      <a:pt x="358" y="61"/>
                      <a:pt x="357" y="57"/>
                    </a:cubicBezTo>
                    <a:cubicBezTo>
                      <a:pt x="357" y="56"/>
                      <a:pt x="355" y="55"/>
                      <a:pt x="355" y="55"/>
                    </a:cubicBezTo>
                    <a:cubicBezTo>
                      <a:pt x="355" y="53"/>
                      <a:pt x="356" y="52"/>
                      <a:pt x="356" y="51"/>
                    </a:cubicBezTo>
                    <a:cubicBezTo>
                      <a:pt x="356" y="51"/>
                      <a:pt x="354" y="49"/>
                      <a:pt x="354" y="49"/>
                    </a:cubicBezTo>
                    <a:cubicBezTo>
                      <a:pt x="353" y="49"/>
                      <a:pt x="352" y="49"/>
                      <a:pt x="351" y="49"/>
                    </a:cubicBezTo>
                    <a:cubicBezTo>
                      <a:pt x="349" y="47"/>
                      <a:pt x="349" y="46"/>
                      <a:pt x="347" y="45"/>
                    </a:cubicBezTo>
                    <a:cubicBezTo>
                      <a:pt x="347" y="45"/>
                      <a:pt x="346" y="45"/>
                      <a:pt x="345" y="45"/>
                    </a:cubicBezTo>
                    <a:cubicBezTo>
                      <a:pt x="345" y="45"/>
                      <a:pt x="344" y="46"/>
                      <a:pt x="343" y="47"/>
                    </a:cubicBezTo>
                    <a:cubicBezTo>
                      <a:pt x="343" y="47"/>
                      <a:pt x="344" y="49"/>
                      <a:pt x="343" y="49"/>
                    </a:cubicBezTo>
                    <a:cubicBezTo>
                      <a:pt x="343" y="50"/>
                      <a:pt x="342" y="49"/>
                      <a:pt x="341" y="50"/>
                    </a:cubicBezTo>
                    <a:cubicBezTo>
                      <a:pt x="340" y="51"/>
                      <a:pt x="339" y="53"/>
                      <a:pt x="339" y="55"/>
                    </a:cubicBezTo>
                    <a:cubicBezTo>
                      <a:pt x="337" y="55"/>
                      <a:pt x="336" y="55"/>
                      <a:pt x="334" y="55"/>
                    </a:cubicBezTo>
                    <a:cubicBezTo>
                      <a:pt x="334" y="58"/>
                      <a:pt x="333" y="60"/>
                      <a:pt x="333" y="64"/>
                    </a:cubicBezTo>
                    <a:cubicBezTo>
                      <a:pt x="333" y="64"/>
                      <a:pt x="331" y="64"/>
                      <a:pt x="331" y="65"/>
                    </a:cubicBezTo>
                    <a:cubicBezTo>
                      <a:pt x="330" y="67"/>
                      <a:pt x="331" y="73"/>
                      <a:pt x="331" y="75"/>
                    </a:cubicBezTo>
                    <a:cubicBezTo>
                      <a:pt x="333" y="77"/>
                      <a:pt x="333" y="77"/>
                      <a:pt x="333" y="77"/>
                    </a:cubicBezTo>
                    <a:cubicBezTo>
                      <a:pt x="333" y="78"/>
                      <a:pt x="333" y="81"/>
                      <a:pt x="333" y="83"/>
                    </a:cubicBezTo>
                    <a:cubicBezTo>
                      <a:pt x="327" y="94"/>
                      <a:pt x="327" y="94"/>
                      <a:pt x="327" y="94"/>
                    </a:cubicBezTo>
                    <a:cubicBezTo>
                      <a:pt x="325" y="95"/>
                      <a:pt x="325" y="94"/>
                      <a:pt x="323" y="95"/>
                    </a:cubicBezTo>
                    <a:cubicBezTo>
                      <a:pt x="322" y="94"/>
                      <a:pt x="321" y="93"/>
                      <a:pt x="321" y="93"/>
                    </a:cubicBezTo>
                    <a:cubicBezTo>
                      <a:pt x="320" y="91"/>
                      <a:pt x="321" y="90"/>
                      <a:pt x="321" y="89"/>
                    </a:cubicBezTo>
                    <a:cubicBezTo>
                      <a:pt x="319" y="87"/>
                      <a:pt x="319" y="87"/>
                      <a:pt x="319" y="87"/>
                    </a:cubicBezTo>
                    <a:cubicBezTo>
                      <a:pt x="318" y="79"/>
                      <a:pt x="318" y="73"/>
                      <a:pt x="320" y="67"/>
                    </a:cubicBezTo>
                    <a:cubicBezTo>
                      <a:pt x="321" y="65"/>
                      <a:pt x="323" y="63"/>
                      <a:pt x="323" y="61"/>
                    </a:cubicBezTo>
                    <a:cubicBezTo>
                      <a:pt x="325" y="58"/>
                      <a:pt x="324" y="57"/>
                      <a:pt x="325" y="54"/>
                    </a:cubicBezTo>
                    <a:cubicBezTo>
                      <a:pt x="324" y="55"/>
                      <a:pt x="321" y="55"/>
                      <a:pt x="321" y="57"/>
                    </a:cubicBezTo>
                    <a:cubicBezTo>
                      <a:pt x="321" y="57"/>
                      <a:pt x="321" y="59"/>
                      <a:pt x="321" y="59"/>
                    </a:cubicBezTo>
                    <a:cubicBezTo>
                      <a:pt x="320" y="60"/>
                      <a:pt x="319" y="60"/>
                      <a:pt x="318" y="61"/>
                    </a:cubicBezTo>
                    <a:cubicBezTo>
                      <a:pt x="318" y="59"/>
                      <a:pt x="317" y="58"/>
                      <a:pt x="318" y="57"/>
                    </a:cubicBezTo>
                    <a:cubicBezTo>
                      <a:pt x="318" y="56"/>
                      <a:pt x="321" y="55"/>
                      <a:pt x="321" y="54"/>
                    </a:cubicBezTo>
                    <a:cubicBezTo>
                      <a:pt x="322" y="53"/>
                      <a:pt x="322" y="52"/>
                      <a:pt x="322" y="51"/>
                    </a:cubicBezTo>
                    <a:cubicBezTo>
                      <a:pt x="323" y="49"/>
                      <a:pt x="325" y="46"/>
                      <a:pt x="326" y="44"/>
                    </a:cubicBezTo>
                    <a:cubicBezTo>
                      <a:pt x="328" y="44"/>
                      <a:pt x="328" y="46"/>
                      <a:pt x="329" y="45"/>
                    </a:cubicBezTo>
                    <a:cubicBezTo>
                      <a:pt x="330" y="43"/>
                      <a:pt x="330" y="43"/>
                      <a:pt x="330" y="43"/>
                    </a:cubicBezTo>
                    <a:cubicBezTo>
                      <a:pt x="333" y="43"/>
                      <a:pt x="334" y="44"/>
                      <a:pt x="337" y="43"/>
                    </a:cubicBezTo>
                    <a:cubicBezTo>
                      <a:pt x="337" y="43"/>
                      <a:pt x="338" y="40"/>
                      <a:pt x="338" y="40"/>
                    </a:cubicBezTo>
                    <a:cubicBezTo>
                      <a:pt x="341" y="39"/>
                      <a:pt x="342" y="43"/>
                      <a:pt x="344" y="43"/>
                    </a:cubicBezTo>
                    <a:cubicBezTo>
                      <a:pt x="349" y="43"/>
                      <a:pt x="345" y="41"/>
                      <a:pt x="347" y="41"/>
                    </a:cubicBezTo>
                    <a:cubicBezTo>
                      <a:pt x="347" y="40"/>
                      <a:pt x="348" y="41"/>
                      <a:pt x="349" y="41"/>
                    </a:cubicBezTo>
                    <a:cubicBezTo>
                      <a:pt x="349" y="42"/>
                      <a:pt x="349" y="42"/>
                      <a:pt x="349" y="42"/>
                    </a:cubicBezTo>
                    <a:cubicBezTo>
                      <a:pt x="350" y="42"/>
                      <a:pt x="351" y="42"/>
                      <a:pt x="352" y="43"/>
                    </a:cubicBezTo>
                    <a:cubicBezTo>
                      <a:pt x="352" y="43"/>
                      <a:pt x="352" y="41"/>
                      <a:pt x="352" y="41"/>
                    </a:cubicBezTo>
                    <a:cubicBezTo>
                      <a:pt x="350" y="37"/>
                      <a:pt x="349" y="37"/>
                      <a:pt x="343" y="37"/>
                    </a:cubicBezTo>
                    <a:cubicBezTo>
                      <a:pt x="343" y="35"/>
                      <a:pt x="343" y="33"/>
                      <a:pt x="343" y="31"/>
                    </a:cubicBezTo>
                    <a:cubicBezTo>
                      <a:pt x="336" y="34"/>
                      <a:pt x="329" y="37"/>
                      <a:pt x="322" y="35"/>
                    </a:cubicBezTo>
                    <a:cubicBezTo>
                      <a:pt x="321" y="33"/>
                      <a:pt x="321" y="31"/>
                      <a:pt x="320" y="29"/>
                    </a:cubicBezTo>
                    <a:cubicBezTo>
                      <a:pt x="318" y="30"/>
                      <a:pt x="315" y="31"/>
                      <a:pt x="314" y="31"/>
                    </a:cubicBezTo>
                    <a:cubicBezTo>
                      <a:pt x="310" y="30"/>
                      <a:pt x="315" y="28"/>
                      <a:pt x="313" y="27"/>
                    </a:cubicBezTo>
                    <a:cubicBezTo>
                      <a:pt x="314" y="26"/>
                      <a:pt x="314" y="28"/>
                      <a:pt x="316" y="27"/>
                    </a:cubicBezTo>
                    <a:cubicBezTo>
                      <a:pt x="317" y="27"/>
                      <a:pt x="319" y="24"/>
                      <a:pt x="319" y="23"/>
                    </a:cubicBezTo>
                    <a:cubicBezTo>
                      <a:pt x="318" y="23"/>
                      <a:pt x="318" y="22"/>
                      <a:pt x="316" y="22"/>
                    </a:cubicBezTo>
                    <a:cubicBezTo>
                      <a:pt x="315" y="23"/>
                      <a:pt x="315" y="23"/>
                      <a:pt x="315" y="23"/>
                    </a:cubicBezTo>
                    <a:cubicBezTo>
                      <a:pt x="314" y="24"/>
                      <a:pt x="312" y="24"/>
                      <a:pt x="311" y="25"/>
                    </a:cubicBezTo>
                    <a:cubicBezTo>
                      <a:pt x="311" y="26"/>
                      <a:pt x="311" y="26"/>
                      <a:pt x="311" y="26"/>
                    </a:cubicBezTo>
                    <a:cubicBezTo>
                      <a:pt x="306" y="30"/>
                      <a:pt x="306" y="30"/>
                      <a:pt x="306" y="30"/>
                    </a:cubicBezTo>
                    <a:cubicBezTo>
                      <a:pt x="305" y="31"/>
                      <a:pt x="303" y="31"/>
                      <a:pt x="302" y="31"/>
                    </a:cubicBezTo>
                    <a:cubicBezTo>
                      <a:pt x="300" y="32"/>
                      <a:pt x="300" y="33"/>
                      <a:pt x="300" y="33"/>
                    </a:cubicBezTo>
                    <a:cubicBezTo>
                      <a:pt x="297" y="34"/>
                      <a:pt x="295" y="32"/>
                      <a:pt x="294" y="31"/>
                    </a:cubicBezTo>
                    <a:cubicBezTo>
                      <a:pt x="294" y="30"/>
                      <a:pt x="294" y="30"/>
                      <a:pt x="294" y="30"/>
                    </a:cubicBezTo>
                    <a:cubicBezTo>
                      <a:pt x="291" y="29"/>
                      <a:pt x="288" y="31"/>
                      <a:pt x="287" y="31"/>
                    </a:cubicBezTo>
                    <a:cubicBezTo>
                      <a:pt x="286" y="31"/>
                      <a:pt x="285" y="31"/>
                      <a:pt x="284" y="31"/>
                    </a:cubicBezTo>
                    <a:cubicBezTo>
                      <a:pt x="284" y="30"/>
                      <a:pt x="288" y="27"/>
                      <a:pt x="288" y="27"/>
                    </a:cubicBezTo>
                    <a:cubicBezTo>
                      <a:pt x="289" y="26"/>
                      <a:pt x="288" y="25"/>
                      <a:pt x="289" y="25"/>
                    </a:cubicBezTo>
                    <a:cubicBezTo>
                      <a:pt x="290" y="24"/>
                      <a:pt x="291" y="24"/>
                      <a:pt x="292" y="24"/>
                    </a:cubicBezTo>
                    <a:cubicBezTo>
                      <a:pt x="293" y="23"/>
                      <a:pt x="295" y="21"/>
                      <a:pt x="296" y="20"/>
                    </a:cubicBezTo>
                    <a:cubicBezTo>
                      <a:pt x="297" y="20"/>
                      <a:pt x="298" y="20"/>
                      <a:pt x="298" y="20"/>
                    </a:cubicBezTo>
                    <a:cubicBezTo>
                      <a:pt x="299" y="20"/>
                      <a:pt x="300" y="18"/>
                      <a:pt x="300" y="18"/>
                    </a:cubicBezTo>
                    <a:cubicBezTo>
                      <a:pt x="302" y="17"/>
                      <a:pt x="303" y="16"/>
                      <a:pt x="304" y="16"/>
                    </a:cubicBezTo>
                    <a:cubicBezTo>
                      <a:pt x="303" y="15"/>
                      <a:pt x="301" y="15"/>
                      <a:pt x="300" y="14"/>
                    </a:cubicBezTo>
                    <a:cubicBezTo>
                      <a:pt x="298" y="12"/>
                      <a:pt x="297" y="14"/>
                      <a:pt x="295" y="13"/>
                    </a:cubicBezTo>
                    <a:cubicBezTo>
                      <a:pt x="293" y="13"/>
                      <a:pt x="292" y="12"/>
                      <a:pt x="290" y="13"/>
                    </a:cubicBezTo>
                    <a:cubicBezTo>
                      <a:pt x="288" y="13"/>
                      <a:pt x="287" y="12"/>
                      <a:pt x="285" y="12"/>
                    </a:cubicBezTo>
                    <a:cubicBezTo>
                      <a:pt x="282" y="12"/>
                      <a:pt x="280" y="10"/>
                      <a:pt x="278" y="9"/>
                    </a:cubicBezTo>
                    <a:cubicBezTo>
                      <a:pt x="277" y="8"/>
                      <a:pt x="274" y="9"/>
                      <a:pt x="274" y="11"/>
                    </a:cubicBezTo>
                    <a:cubicBezTo>
                      <a:pt x="273" y="13"/>
                      <a:pt x="271" y="9"/>
                      <a:pt x="268" y="9"/>
                    </a:cubicBezTo>
                    <a:cubicBezTo>
                      <a:pt x="265" y="9"/>
                      <a:pt x="264" y="8"/>
                      <a:pt x="264" y="8"/>
                    </a:cubicBezTo>
                    <a:cubicBezTo>
                      <a:pt x="264" y="8"/>
                      <a:pt x="262" y="0"/>
                      <a:pt x="260" y="0"/>
                    </a:cubicBezTo>
                    <a:cubicBezTo>
                      <a:pt x="258" y="0"/>
                      <a:pt x="258" y="5"/>
                      <a:pt x="258" y="5"/>
                    </a:cubicBezTo>
                    <a:cubicBezTo>
                      <a:pt x="20" y="2"/>
                      <a:pt x="20" y="2"/>
                      <a:pt x="20" y="2"/>
                    </a:cubicBezTo>
                    <a:cubicBezTo>
                      <a:pt x="21" y="2"/>
                      <a:pt x="20" y="3"/>
                      <a:pt x="20" y="3"/>
                    </a:cubicBezTo>
                    <a:cubicBezTo>
                      <a:pt x="20" y="4"/>
                      <a:pt x="18" y="4"/>
                      <a:pt x="18" y="5"/>
                    </a:cubicBezTo>
                    <a:cubicBezTo>
                      <a:pt x="18" y="6"/>
                      <a:pt x="18" y="6"/>
                      <a:pt x="18" y="6"/>
                    </a:cubicBezTo>
                    <a:cubicBezTo>
                      <a:pt x="18" y="7"/>
                      <a:pt x="20" y="8"/>
                      <a:pt x="20" y="9"/>
                    </a:cubicBezTo>
                    <a:cubicBezTo>
                      <a:pt x="19" y="10"/>
                      <a:pt x="18" y="10"/>
                      <a:pt x="16" y="11"/>
                    </a:cubicBezTo>
                    <a:cubicBezTo>
                      <a:pt x="16" y="11"/>
                      <a:pt x="16" y="11"/>
                      <a:pt x="16" y="11"/>
                    </a:cubicBezTo>
                    <a:cubicBezTo>
                      <a:pt x="13" y="12"/>
                      <a:pt x="3" y="10"/>
                      <a:pt x="0" y="9"/>
                    </a:cubicBezTo>
                    <a:cubicBezTo>
                      <a:pt x="0" y="11"/>
                      <a:pt x="0" y="13"/>
                      <a:pt x="0" y="15"/>
                    </a:cubicBezTo>
                    <a:cubicBezTo>
                      <a:pt x="1" y="17"/>
                      <a:pt x="4" y="18"/>
                      <a:pt x="4" y="19"/>
                    </a:cubicBezTo>
                    <a:cubicBezTo>
                      <a:pt x="6" y="21"/>
                      <a:pt x="5" y="23"/>
                      <a:pt x="6" y="25"/>
                    </a:cubicBezTo>
                    <a:cubicBezTo>
                      <a:pt x="7" y="25"/>
                      <a:pt x="7" y="25"/>
                      <a:pt x="7" y="25"/>
                    </a:cubicBezTo>
                    <a:cubicBezTo>
                      <a:pt x="7" y="27"/>
                      <a:pt x="6" y="27"/>
                      <a:pt x="6" y="29"/>
                    </a:cubicBezTo>
                    <a:cubicBezTo>
                      <a:pt x="7" y="29"/>
                      <a:pt x="8" y="28"/>
                      <a:pt x="8" y="29"/>
                    </a:cubicBezTo>
                    <a:cubicBezTo>
                      <a:pt x="8" y="30"/>
                      <a:pt x="8" y="32"/>
                      <a:pt x="8" y="33"/>
                    </a:cubicBezTo>
                    <a:cubicBezTo>
                      <a:pt x="6" y="33"/>
                      <a:pt x="6" y="33"/>
                      <a:pt x="6" y="33"/>
                    </a:cubicBezTo>
                    <a:cubicBezTo>
                      <a:pt x="6" y="35"/>
                      <a:pt x="6" y="36"/>
                      <a:pt x="8" y="37"/>
                    </a:cubicBezTo>
                    <a:cubicBezTo>
                      <a:pt x="9" y="38"/>
                      <a:pt x="6" y="39"/>
                      <a:pt x="6" y="39"/>
                    </a:cubicBezTo>
                    <a:cubicBezTo>
                      <a:pt x="7" y="45"/>
                      <a:pt x="7" y="49"/>
                      <a:pt x="7" y="55"/>
                    </a:cubicBezTo>
                    <a:cubicBezTo>
                      <a:pt x="6" y="57"/>
                      <a:pt x="6" y="57"/>
                      <a:pt x="6" y="57"/>
                    </a:cubicBezTo>
                    <a:cubicBezTo>
                      <a:pt x="6" y="57"/>
                      <a:pt x="6" y="60"/>
                      <a:pt x="6" y="60"/>
                    </a:cubicBezTo>
                    <a:cubicBezTo>
                      <a:pt x="6" y="60"/>
                      <a:pt x="7" y="61"/>
                      <a:pt x="6" y="61"/>
                    </a:cubicBezTo>
                    <a:cubicBezTo>
                      <a:pt x="5" y="64"/>
                      <a:pt x="6" y="71"/>
                      <a:pt x="5" y="73"/>
                    </a:cubicBezTo>
                    <a:cubicBezTo>
                      <a:pt x="5" y="73"/>
                      <a:pt x="4" y="74"/>
                      <a:pt x="4" y="74"/>
                    </a:cubicBezTo>
                    <a:cubicBezTo>
                      <a:pt x="4" y="76"/>
                      <a:pt x="4" y="79"/>
                      <a:pt x="4" y="81"/>
                    </a:cubicBezTo>
                    <a:cubicBezTo>
                      <a:pt x="4" y="86"/>
                      <a:pt x="5" y="87"/>
                      <a:pt x="8" y="90"/>
                    </a:cubicBezTo>
                    <a:cubicBezTo>
                      <a:pt x="7" y="91"/>
                      <a:pt x="7" y="92"/>
                      <a:pt x="6" y="92"/>
                    </a:cubicBezTo>
                    <a:cubicBezTo>
                      <a:pt x="6" y="95"/>
                      <a:pt x="8" y="97"/>
                      <a:pt x="8" y="99"/>
                    </a:cubicBezTo>
                    <a:cubicBezTo>
                      <a:pt x="8" y="102"/>
                      <a:pt x="7" y="105"/>
                      <a:pt x="7" y="108"/>
                    </a:cubicBezTo>
                    <a:cubicBezTo>
                      <a:pt x="6" y="109"/>
                      <a:pt x="5" y="108"/>
                      <a:pt x="4" y="110"/>
                    </a:cubicBezTo>
                    <a:cubicBezTo>
                      <a:pt x="4" y="111"/>
                      <a:pt x="4" y="111"/>
                      <a:pt x="4" y="111"/>
                    </a:cubicBezTo>
                    <a:cubicBezTo>
                      <a:pt x="6" y="114"/>
                      <a:pt x="7" y="115"/>
                      <a:pt x="8" y="118"/>
                    </a:cubicBezTo>
                    <a:cubicBezTo>
                      <a:pt x="8" y="118"/>
                      <a:pt x="9" y="118"/>
                      <a:pt x="9" y="118"/>
                    </a:cubicBezTo>
                    <a:cubicBezTo>
                      <a:pt x="9" y="119"/>
                      <a:pt x="9" y="120"/>
                      <a:pt x="9" y="121"/>
                    </a:cubicBezTo>
                    <a:cubicBezTo>
                      <a:pt x="10" y="122"/>
                      <a:pt x="10" y="122"/>
                      <a:pt x="10" y="122"/>
                    </a:cubicBezTo>
                    <a:cubicBezTo>
                      <a:pt x="11" y="124"/>
                      <a:pt x="10" y="126"/>
                      <a:pt x="11" y="129"/>
                    </a:cubicBezTo>
                    <a:cubicBezTo>
                      <a:pt x="11" y="130"/>
                      <a:pt x="13" y="129"/>
                      <a:pt x="13" y="130"/>
                    </a:cubicBezTo>
                    <a:cubicBezTo>
                      <a:pt x="14" y="130"/>
                      <a:pt x="14" y="133"/>
                      <a:pt x="14" y="133"/>
                    </a:cubicBezTo>
                    <a:cubicBezTo>
                      <a:pt x="16" y="133"/>
                      <a:pt x="16" y="133"/>
                      <a:pt x="16" y="133"/>
                    </a:cubicBezTo>
                    <a:cubicBezTo>
                      <a:pt x="16" y="135"/>
                      <a:pt x="16" y="137"/>
                      <a:pt x="16" y="138"/>
                    </a:cubicBezTo>
                    <a:cubicBezTo>
                      <a:pt x="16" y="138"/>
                      <a:pt x="18" y="139"/>
                      <a:pt x="18" y="139"/>
                    </a:cubicBezTo>
                    <a:cubicBezTo>
                      <a:pt x="21" y="139"/>
                      <a:pt x="19" y="136"/>
                      <a:pt x="19" y="136"/>
                    </a:cubicBezTo>
                    <a:cubicBezTo>
                      <a:pt x="20" y="136"/>
                      <a:pt x="21" y="136"/>
                      <a:pt x="22" y="136"/>
                    </a:cubicBezTo>
                    <a:cubicBezTo>
                      <a:pt x="21" y="137"/>
                      <a:pt x="23" y="136"/>
                      <a:pt x="23" y="136"/>
                    </a:cubicBezTo>
                    <a:cubicBezTo>
                      <a:pt x="23" y="137"/>
                      <a:pt x="22" y="137"/>
                      <a:pt x="22" y="138"/>
                    </a:cubicBezTo>
                    <a:cubicBezTo>
                      <a:pt x="22" y="139"/>
                      <a:pt x="24" y="144"/>
                      <a:pt x="23" y="144"/>
                    </a:cubicBezTo>
                    <a:cubicBezTo>
                      <a:pt x="23" y="144"/>
                      <a:pt x="21" y="142"/>
                      <a:pt x="21" y="142"/>
                    </a:cubicBezTo>
                    <a:cubicBezTo>
                      <a:pt x="21" y="142"/>
                      <a:pt x="20" y="142"/>
                      <a:pt x="20" y="142"/>
                    </a:cubicBezTo>
                    <a:cubicBezTo>
                      <a:pt x="20" y="143"/>
                      <a:pt x="19" y="145"/>
                      <a:pt x="20" y="146"/>
                    </a:cubicBezTo>
                    <a:cubicBezTo>
                      <a:pt x="20" y="147"/>
                      <a:pt x="25" y="148"/>
                      <a:pt x="26" y="149"/>
                    </a:cubicBezTo>
                    <a:cubicBezTo>
                      <a:pt x="27" y="152"/>
                      <a:pt x="27" y="152"/>
                      <a:pt x="27" y="152"/>
                    </a:cubicBezTo>
                    <a:cubicBezTo>
                      <a:pt x="26" y="152"/>
                      <a:pt x="25" y="152"/>
                      <a:pt x="24" y="152"/>
                    </a:cubicBezTo>
                    <a:cubicBezTo>
                      <a:pt x="25" y="156"/>
                      <a:pt x="23" y="153"/>
                      <a:pt x="26" y="157"/>
                    </a:cubicBezTo>
                    <a:cubicBezTo>
                      <a:pt x="26" y="158"/>
                      <a:pt x="26" y="159"/>
                      <a:pt x="27" y="160"/>
                    </a:cubicBezTo>
                    <a:cubicBezTo>
                      <a:pt x="28" y="161"/>
                      <a:pt x="28" y="161"/>
                      <a:pt x="28" y="161"/>
                    </a:cubicBezTo>
                    <a:cubicBezTo>
                      <a:pt x="29" y="163"/>
                      <a:pt x="29" y="165"/>
                      <a:pt x="30" y="166"/>
                    </a:cubicBezTo>
                    <a:cubicBezTo>
                      <a:pt x="30" y="166"/>
                      <a:pt x="31" y="166"/>
                      <a:pt x="32" y="166"/>
                    </a:cubicBezTo>
                    <a:cubicBezTo>
                      <a:pt x="33" y="167"/>
                      <a:pt x="34" y="169"/>
                      <a:pt x="34" y="170"/>
                    </a:cubicBezTo>
                    <a:cubicBezTo>
                      <a:pt x="33" y="170"/>
                      <a:pt x="34" y="172"/>
                      <a:pt x="34" y="172"/>
                    </a:cubicBezTo>
                    <a:cubicBezTo>
                      <a:pt x="35" y="173"/>
                      <a:pt x="35" y="173"/>
                      <a:pt x="36" y="173"/>
                    </a:cubicBezTo>
                    <a:cubicBezTo>
                      <a:pt x="37" y="175"/>
                      <a:pt x="37" y="177"/>
                      <a:pt x="36" y="180"/>
                    </a:cubicBezTo>
                    <a:cubicBezTo>
                      <a:pt x="42" y="180"/>
                      <a:pt x="46" y="183"/>
                      <a:pt x="52" y="184"/>
                    </a:cubicBezTo>
                    <a:cubicBezTo>
                      <a:pt x="52" y="186"/>
                      <a:pt x="52" y="187"/>
                      <a:pt x="53" y="188"/>
                    </a:cubicBezTo>
                    <a:cubicBezTo>
                      <a:pt x="54" y="188"/>
                      <a:pt x="55" y="188"/>
                      <a:pt x="56" y="187"/>
                    </a:cubicBezTo>
                    <a:cubicBezTo>
                      <a:pt x="58" y="189"/>
                      <a:pt x="59" y="192"/>
                      <a:pt x="61" y="194"/>
                    </a:cubicBezTo>
                    <a:cubicBezTo>
                      <a:pt x="62" y="194"/>
                      <a:pt x="64" y="194"/>
                      <a:pt x="64" y="196"/>
                    </a:cubicBezTo>
                    <a:cubicBezTo>
                      <a:pt x="65" y="197"/>
                      <a:pt x="64" y="198"/>
                      <a:pt x="64" y="200"/>
                    </a:cubicBezTo>
                    <a:cubicBezTo>
                      <a:pt x="66" y="201"/>
                      <a:pt x="66" y="201"/>
                      <a:pt x="66" y="201"/>
                    </a:cubicBezTo>
                    <a:cubicBezTo>
                      <a:pt x="66" y="202"/>
                      <a:pt x="66" y="203"/>
                      <a:pt x="66" y="203"/>
                    </a:cubicBezTo>
                    <a:cubicBezTo>
                      <a:pt x="90" y="202"/>
                      <a:pt x="90" y="202"/>
                      <a:pt x="90" y="202"/>
                    </a:cubicBezTo>
                    <a:cubicBezTo>
                      <a:pt x="90" y="205"/>
                      <a:pt x="90" y="205"/>
                      <a:pt x="90" y="205"/>
                    </a:cubicBezTo>
                    <a:cubicBezTo>
                      <a:pt x="113" y="217"/>
                      <a:pt x="113" y="217"/>
                      <a:pt x="113" y="217"/>
                    </a:cubicBezTo>
                    <a:cubicBezTo>
                      <a:pt x="141" y="218"/>
                      <a:pt x="141" y="218"/>
                      <a:pt x="141" y="218"/>
                    </a:cubicBezTo>
                    <a:cubicBezTo>
                      <a:pt x="141" y="213"/>
                      <a:pt x="141" y="213"/>
                      <a:pt x="141" y="213"/>
                    </a:cubicBezTo>
                    <a:cubicBezTo>
                      <a:pt x="159" y="213"/>
                      <a:pt x="159" y="213"/>
                      <a:pt x="159" y="213"/>
                    </a:cubicBezTo>
                    <a:cubicBezTo>
                      <a:pt x="162" y="218"/>
                      <a:pt x="162" y="218"/>
                      <a:pt x="162" y="218"/>
                    </a:cubicBezTo>
                    <a:cubicBezTo>
                      <a:pt x="166" y="220"/>
                      <a:pt x="166" y="220"/>
                      <a:pt x="166" y="220"/>
                    </a:cubicBezTo>
                    <a:cubicBezTo>
                      <a:pt x="167" y="222"/>
                      <a:pt x="167" y="222"/>
                      <a:pt x="167" y="222"/>
                    </a:cubicBezTo>
                    <a:cubicBezTo>
                      <a:pt x="169" y="224"/>
                      <a:pt x="169" y="224"/>
                      <a:pt x="169" y="224"/>
                    </a:cubicBezTo>
                    <a:cubicBezTo>
                      <a:pt x="173" y="228"/>
                      <a:pt x="173" y="228"/>
                      <a:pt x="173" y="228"/>
                    </a:cubicBezTo>
                    <a:cubicBezTo>
                      <a:pt x="174" y="232"/>
                      <a:pt x="174" y="232"/>
                      <a:pt x="174" y="232"/>
                    </a:cubicBezTo>
                    <a:cubicBezTo>
                      <a:pt x="175" y="234"/>
                      <a:pt x="175" y="234"/>
                      <a:pt x="175" y="234"/>
                    </a:cubicBezTo>
                    <a:cubicBezTo>
                      <a:pt x="177" y="238"/>
                      <a:pt x="177" y="238"/>
                      <a:pt x="177" y="238"/>
                    </a:cubicBezTo>
                    <a:cubicBezTo>
                      <a:pt x="179" y="241"/>
                      <a:pt x="179" y="241"/>
                      <a:pt x="179" y="241"/>
                    </a:cubicBezTo>
                    <a:cubicBezTo>
                      <a:pt x="182" y="243"/>
                      <a:pt x="182" y="243"/>
                      <a:pt x="182" y="243"/>
                    </a:cubicBezTo>
                    <a:cubicBezTo>
                      <a:pt x="185" y="243"/>
                      <a:pt x="185" y="243"/>
                      <a:pt x="185" y="243"/>
                    </a:cubicBezTo>
                    <a:cubicBezTo>
                      <a:pt x="188" y="243"/>
                      <a:pt x="188" y="243"/>
                      <a:pt x="188" y="243"/>
                    </a:cubicBezTo>
                    <a:cubicBezTo>
                      <a:pt x="190" y="241"/>
                      <a:pt x="190" y="241"/>
                      <a:pt x="190" y="241"/>
                    </a:cubicBezTo>
                    <a:cubicBezTo>
                      <a:pt x="193" y="237"/>
                      <a:pt x="193" y="237"/>
                      <a:pt x="193" y="237"/>
                    </a:cubicBezTo>
                    <a:cubicBezTo>
                      <a:pt x="196" y="236"/>
                      <a:pt x="196" y="236"/>
                      <a:pt x="196" y="236"/>
                    </a:cubicBezTo>
                    <a:cubicBezTo>
                      <a:pt x="199" y="236"/>
                      <a:pt x="199" y="236"/>
                      <a:pt x="199" y="236"/>
                    </a:cubicBezTo>
                    <a:cubicBezTo>
                      <a:pt x="202" y="238"/>
                      <a:pt x="202" y="238"/>
                      <a:pt x="202" y="238"/>
                    </a:cubicBezTo>
                    <a:cubicBezTo>
                      <a:pt x="205" y="240"/>
                      <a:pt x="205" y="240"/>
                      <a:pt x="205" y="240"/>
                    </a:cubicBezTo>
                    <a:cubicBezTo>
                      <a:pt x="207" y="243"/>
                      <a:pt x="207" y="243"/>
                      <a:pt x="207" y="243"/>
                    </a:cubicBezTo>
                    <a:cubicBezTo>
                      <a:pt x="208" y="246"/>
                      <a:pt x="208" y="246"/>
                      <a:pt x="208" y="246"/>
                    </a:cubicBezTo>
                    <a:cubicBezTo>
                      <a:pt x="209" y="248"/>
                      <a:pt x="209" y="248"/>
                      <a:pt x="209" y="248"/>
                    </a:cubicBezTo>
                    <a:cubicBezTo>
                      <a:pt x="211" y="252"/>
                      <a:pt x="211" y="252"/>
                      <a:pt x="211" y="252"/>
                    </a:cubicBezTo>
                    <a:cubicBezTo>
                      <a:pt x="213" y="256"/>
                      <a:pt x="213" y="256"/>
                      <a:pt x="213" y="256"/>
                    </a:cubicBezTo>
                    <a:cubicBezTo>
                      <a:pt x="215" y="260"/>
                      <a:pt x="215" y="260"/>
                      <a:pt x="215" y="260"/>
                    </a:cubicBezTo>
                    <a:cubicBezTo>
                      <a:pt x="218" y="262"/>
                      <a:pt x="218" y="262"/>
                      <a:pt x="218" y="262"/>
                    </a:cubicBezTo>
                    <a:cubicBezTo>
                      <a:pt x="219" y="265"/>
                      <a:pt x="219" y="265"/>
                      <a:pt x="219" y="265"/>
                    </a:cubicBezTo>
                    <a:cubicBezTo>
                      <a:pt x="221" y="271"/>
                      <a:pt x="221" y="271"/>
                      <a:pt x="221" y="271"/>
                    </a:cubicBezTo>
                    <a:cubicBezTo>
                      <a:pt x="222" y="275"/>
                      <a:pt x="222" y="275"/>
                      <a:pt x="222" y="275"/>
                    </a:cubicBezTo>
                    <a:cubicBezTo>
                      <a:pt x="224" y="276"/>
                      <a:pt x="224" y="276"/>
                      <a:pt x="224" y="276"/>
                    </a:cubicBezTo>
                    <a:cubicBezTo>
                      <a:pt x="228" y="278"/>
                      <a:pt x="228" y="278"/>
                      <a:pt x="228" y="278"/>
                    </a:cubicBezTo>
                    <a:cubicBezTo>
                      <a:pt x="232" y="278"/>
                      <a:pt x="232" y="278"/>
                      <a:pt x="232" y="278"/>
                    </a:cubicBezTo>
                    <a:cubicBezTo>
                      <a:pt x="234" y="281"/>
                      <a:pt x="234" y="281"/>
                      <a:pt x="234" y="281"/>
                    </a:cubicBezTo>
                    <a:cubicBezTo>
                      <a:pt x="238" y="281"/>
                      <a:pt x="238" y="281"/>
                      <a:pt x="238" y="281"/>
                    </a:cubicBezTo>
                    <a:cubicBezTo>
                      <a:pt x="237" y="280"/>
                      <a:pt x="237" y="280"/>
                      <a:pt x="237" y="280"/>
                    </a:cubicBezTo>
                    <a:cubicBezTo>
                      <a:pt x="237" y="280"/>
                      <a:pt x="236" y="278"/>
                      <a:pt x="237" y="277"/>
                    </a:cubicBezTo>
                    <a:cubicBezTo>
                      <a:pt x="237" y="278"/>
                      <a:pt x="237" y="276"/>
                      <a:pt x="237" y="275"/>
                    </a:cubicBezTo>
                    <a:cubicBezTo>
                      <a:pt x="236" y="275"/>
                      <a:pt x="236" y="275"/>
                      <a:pt x="236" y="275"/>
                    </a:cubicBezTo>
                    <a:cubicBezTo>
                      <a:pt x="235" y="274"/>
                      <a:pt x="236" y="274"/>
                      <a:pt x="235" y="273"/>
                    </a:cubicBezTo>
                    <a:cubicBezTo>
                      <a:pt x="234" y="273"/>
                      <a:pt x="234" y="273"/>
                      <a:pt x="234" y="273"/>
                    </a:cubicBezTo>
                    <a:cubicBezTo>
                      <a:pt x="233" y="269"/>
                      <a:pt x="233" y="266"/>
                      <a:pt x="234" y="263"/>
                    </a:cubicBezTo>
                    <a:cubicBezTo>
                      <a:pt x="232" y="262"/>
                      <a:pt x="233" y="263"/>
                      <a:pt x="232" y="261"/>
                    </a:cubicBezTo>
                    <a:cubicBezTo>
                      <a:pt x="234" y="261"/>
                      <a:pt x="234" y="261"/>
                      <a:pt x="235" y="261"/>
                    </a:cubicBezTo>
                    <a:cubicBezTo>
                      <a:pt x="235" y="261"/>
                      <a:pt x="235" y="256"/>
                      <a:pt x="236" y="255"/>
                    </a:cubicBezTo>
                    <a:cubicBezTo>
                      <a:pt x="236" y="255"/>
                      <a:pt x="238" y="255"/>
                      <a:pt x="238" y="255"/>
                    </a:cubicBezTo>
                    <a:cubicBezTo>
                      <a:pt x="238" y="255"/>
                      <a:pt x="239" y="253"/>
                      <a:pt x="239" y="253"/>
                    </a:cubicBezTo>
                    <a:cubicBezTo>
                      <a:pt x="240" y="252"/>
                      <a:pt x="241" y="253"/>
                      <a:pt x="242" y="253"/>
                    </a:cubicBezTo>
                    <a:cubicBezTo>
                      <a:pt x="246" y="250"/>
                      <a:pt x="244" y="249"/>
                      <a:pt x="244" y="248"/>
                    </a:cubicBezTo>
                    <a:cubicBezTo>
                      <a:pt x="245" y="248"/>
                      <a:pt x="246" y="248"/>
                      <a:pt x="246" y="248"/>
                    </a:cubicBezTo>
                    <a:cubicBezTo>
                      <a:pt x="247" y="246"/>
                      <a:pt x="247" y="246"/>
                      <a:pt x="247" y="246"/>
                    </a:cubicBezTo>
                    <a:cubicBezTo>
                      <a:pt x="249" y="246"/>
                      <a:pt x="249" y="246"/>
                      <a:pt x="251" y="247"/>
                    </a:cubicBezTo>
                    <a:cubicBezTo>
                      <a:pt x="251" y="246"/>
                      <a:pt x="253" y="244"/>
                      <a:pt x="253" y="244"/>
                    </a:cubicBezTo>
                    <a:cubicBezTo>
                      <a:pt x="254" y="244"/>
                      <a:pt x="253" y="246"/>
                      <a:pt x="254" y="245"/>
                    </a:cubicBezTo>
                    <a:cubicBezTo>
                      <a:pt x="255" y="244"/>
                      <a:pt x="254" y="242"/>
                      <a:pt x="254" y="241"/>
                    </a:cubicBezTo>
                    <a:cubicBezTo>
                      <a:pt x="255" y="241"/>
                      <a:pt x="257" y="241"/>
                      <a:pt x="257" y="240"/>
                    </a:cubicBezTo>
                    <a:cubicBezTo>
                      <a:pt x="257" y="239"/>
                      <a:pt x="257" y="237"/>
                      <a:pt x="257" y="236"/>
                    </a:cubicBezTo>
                    <a:cubicBezTo>
                      <a:pt x="262" y="239"/>
                      <a:pt x="262" y="237"/>
                      <a:pt x="267" y="235"/>
                    </a:cubicBezTo>
                    <a:cubicBezTo>
                      <a:pt x="267" y="235"/>
                      <a:pt x="267" y="233"/>
                      <a:pt x="267" y="233"/>
                    </a:cubicBezTo>
                    <a:cubicBezTo>
                      <a:pt x="268" y="233"/>
                      <a:pt x="268" y="235"/>
                      <a:pt x="268" y="235"/>
                    </a:cubicBezTo>
                    <a:cubicBezTo>
                      <a:pt x="270" y="235"/>
                      <a:pt x="271" y="233"/>
                      <a:pt x="272" y="233"/>
                    </a:cubicBezTo>
                    <a:cubicBezTo>
                      <a:pt x="273" y="233"/>
                      <a:pt x="273" y="234"/>
                      <a:pt x="274" y="235"/>
                    </a:cubicBezTo>
                    <a:cubicBezTo>
                      <a:pt x="277" y="237"/>
                      <a:pt x="279" y="236"/>
                      <a:pt x="282" y="234"/>
                    </a:cubicBezTo>
                    <a:cubicBezTo>
                      <a:pt x="283" y="235"/>
                      <a:pt x="282" y="236"/>
                      <a:pt x="282" y="237"/>
                    </a:cubicBezTo>
                    <a:cubicBezTo>
                      <a:pt x="286" y="239"/>
                      <a:pt x="285" y="238"/>
                      <a:pt x="288" y="238"/>
                    </a:cubicBezTo>
                    <a:cubicBezTo>
                      <a:pt x="287" y="239"/>
                      <a:pt x="287" y="242"/>
                      <a:pt x="288" y="24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48" name="Freeform 27">
                <a:extLst>
                  <a:ext uri="{FF2B5EF4-FFF2-40B4-BE49-F238E27FC236}">
                    <a16:creationId xmlns:a16="http://schemas.microsoft.com/office/drawing/2014/main" id="{FC4EF24E-78E8-EE13-3346-105EF41928C1}"/>
                  </a:ext>
                </a:extLst>
              </p:cNvPr>
              <p:cNvSpPr>
                <a:spLocks/>
              </p:cNvSpPr>
              <p:nvPr/>
            </p:nvSpPr>
            <p:spPr bwMode="auto">
              <a:xfrm>
                <a:off x="2123" y="2904"/>
                <a:ext cx="92" cy="104"/>
              </a:xfrm>
              <a:custGeom>
                <a:avLst/>
                <a:gdLst>
                  <a:gd name="T0" fmla="*/ 44 w 47"/>
                  <a:gd name="T1" fmla="*/ 37 h 53"/>
                  <a:gd name="T2" fmla="*/ 43 w 47"/>
                  <a:gd name="T3" fmla="*/ 35 h 53"/>
                  <a:gd name="T4" fmla="*/ 47 w 47"/>
                  <a:gd name="T5" fmla="*/ 29 h 53"/>
                  <a:gd name="T6" fmla="*/ 44 w 47"/>
                  <a:gd name="T7" fmla="*/ 27 h 53"/>
                  <a:gd name="T8" fmla="*/ 40 w 47"/>
                  <a:gd name="T9" fmla="*/ 21 h 53"/>
                  <a:gd name="T10" fmla="*/ 34 w 47"/>
                  <a:gd name="T11" fmla="*/ 17 h 53"/>
                  <a:gd name="T12" fmla="*/ 29 w 47"/>
                  <a:gd name="T13" fmla="*/ 13 h 53"/>
                  <a:gd name="T14" fmla="*/ 23 w 47"/>
                  <a:gd name="T15" fmla="*/ 9 h 53"/>
                  <a:gd name="T16" fmla="*/ 21 w 47"/>
                  <a:gd name="T17" fmla="*/ 5 h 53"/>
                  <a:gd name="T18" fmla="*/ 13 w 47"/>
                  <a:gd name="T19" fmla="*/ 0 h 53"/>
                  <a:gd name="T20" fmla="*/ 7 w 47"/>
                  <a:gd name="T21" fmla="*/ 2 h 53"/>
                  <a:gd name="T22" fmla="*/ 5 w 47"/>
                  <a:gd name="T23" fmla="*/ 8 h 53"/>
                  <a:gd name="T24" fmla="*/ 3 w 47"/>
                  <a:gd name="T25" fmla="*/ 15 h 53"/>
                  <a:gd name="T26" fmla="*/ 1 w 47"/>
                  <a:gd name="T27" fmla="*/ 23 h 53"/>
                  <a:gd name="T28" fmla="*/ 1 w 47"/>
                  <a:gd name="T29" fmla="*/ 30 h 53"/>
                  <a:gd name="T30" fmla="*/ 2 w 47"/>
                  <a:gd name="T31" fmla="*/ 30 h 53"/>
                  <a:gd name="T32" fmla="*/ 3 w 47"/>
                  <a:gd name="T33" fmla="*/ 45 h 53"/>
                  <a:gd name="T34" fmla="*/ 4 w 47"/>
                  <a:gd name="T35" fmla="*/ 45 h 53"/>
                  <a:gd name="T36" fmla="*/ 6 w 47"/>
                  <a:gd name="T37" fmla="*/ 47 h 53"/>
                  <a:gd name="T38" fmla="*/ 9 w 47"/>
                  <a:gd name="T39" fmla="*/ 47 h 53"/>
                  <a:gd name="T40" fmla="*/ 12 w 47"/>
                  <a:gd name="T41" fmla="*/ 51 h 53"/>
                  <a:gd name="T42" fmla="*/ 12 w 47"/>
                  <a:gd name="T43" fmla="*/ 51 h 53"/>
                  <a:gd name="T44" fmla="*/ 16 w 47"/>
                  <a:gd name="T45" fmla="*/ 52 h 53"/>
                  <a:gd name="T46" fmla="*/ 17 w 47"/>
                  <a:gd name="T47" fmla="*/ 53 h 53"/>
                  <a:gd name="T48" fmla="*/ 22 w 47"/>
                  <a:gd name="T49" fmla="*/ 52 h 53"/>
                  <a:gd name="T50" fmla="*/ 27 w 47"/>
                  <a:gd name="T51" fmla="*/ 53 h 53"/>
                  <a:gd name="T52" fmla="*/ 38 w 47"/>
                  <a:gd name="T53" fmla="*/ 50 h 53"/>
                  <a:gd name="T54" fmla="*/ 38 w 47"/>
                  <a:gd name="T55" fmla="*/ 48 h 53"/>
                  <a:gd name="T56" fmla="*/ 42 w 47"/>
                  <a:gd name="T57" fmla="*/ 44 h 53"/>
                  <a:gd name="T58" fmla="*/ 42 w 47"/>
                  <a:gd name="T59" fmla="*/ 40 h 53"/>
                  <a:gd name="T60" fmla="*/ 45 w 47"/>
                  <a:gd name="T61" fmla="*/ 38 h 53"/>
                  <a:gd name="T62" fmla="*/ 44 w 47"/>
                  <a:gd name="T63"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53">
                    <a:moveTo>
                      <a:pt x="44" y="37"/>
                    </a:moveTo>
                    <a:cubicBezTo>
                      <a:pt x="43" y="35"/>
                      <a:pt x="43" y="35"/>
                      <a:pt x="43" y="35"/>
                    </a:cubicBezTo>
                    <a:cubicBezTo>
                      <a:pt x="47" y="29"/>
                      <a:pt x="47" y="29"/>
                      <a:pt x="47" y="29"/>
                    </a:cubicBezTo>
                    <a:cubicBezTo>
                      <a:pt x="47" y="29"/>
                      <a:pt x="46" y="28"/>
                      <a:pt x="44" y="27"/>
                    </a:cubicBezTo>
                    <a:cubicBezTo>
                      <a:pt x="41" y="26"/>
                      <a:pt x="40" y="24"/>
                      <a:pt x="40" y="21"/>
                    </a:cubicBezTo>
                    <a:cubicBezTo>
                      <a:pt x="39" y="18"/>
                      <a:pt x="37" y="19"/>
                      <a:pt x="34" y="17"/>
                    </a:cubicBezTo>
                    <a:cubicBezTo>
                      <a:pt x="31" y="15"/>
                      <a:pt x="30" y="15"/>
                      <a:pt x="29" y="13"/>
                    </a:cubicBezTo>
                    <a:cubicBezTo>
                      <a:pt x="27" y="10"/>
                      <a:pt x="24" y="11"/>
                      <a:pt x="23" y="9"/>
                    </a:cubicBezTo>
                    <a:cubicBezTo>
                      <a:pt x="22" y="7"/>
                      <a:pt x="21" y="5"/>
                      <a:pt x="21" y="5"/>
                    </a:cubicBezTo>
                    <a:cubicBezTo>
                      <a:pt x="13" y="0"/>
                      <a:pt x="13" y="0"/>
                      <a:pt x="13" y="0"/>
                    </a:cubicBezTo>
                    <a:cubicBezTo>
                      <a:pt x="7" y="2"/>
                      <a:pt x="7" y="2"/>
                      <a:pt x="7" y="2"/>
                    </a:cubicBezTo>
                    <a:cubicBezTo>
                      <a:pt x="7" y="2"/>
                      <a:pt x="4" y="5"/>
                      <a:pt x="5" y="8"/>
                    </a:cubicBezTo>
                    <a:cubicBezTo>
                      <a:pt x="6" y="12"/>
                      <a:pt x="2" y="11"/>
                      <a:pt x="3" y="15"/>
                    </a:cubicBezTo>
                    <a:cubicBezTo>
                      <a:pt x="4" y="19"/>
                      <a:pt x="0" y="21"/>
                      <a:pt x="1" y="23"/>
                    </a:cubicBezTo>
                    <a:cubicBezTo>
                      <a:pt x="2" y="25"/>
                      <a:pt x="1" y="30"/>
                      <a:pt x="1" y="30"/>
                    </a:cubicBezTo>
                    <a:cubicBezTo>
                      <a:pt x="2" y="30"/>
                      <a:pt x="2" y="30"/>
                      <a:pt x="2" y="30"/>
                    </a:cubicBezTo>
                    <a:cubicBezTo>
                      <a:pt x="1" y="35"/>
                      <a:pt x="0" y="42"/>
                      <a:pt x="3" y="45"/>
                    </a:cubicBezTo>
                    <a:cubicBezTo>
                      <a:pt x="4" y="45"/>
                      <a:pt x="4" y="45"/>
                      <a:pt x="4" y="45"/>
                    </a:cubicBezTo>
                    <a:cubicBezTo>
                      <a:pt x="4" y="45"/>
                      <a:pt x="6" y="47"/>
                      <a:pt x="6" y="47"/>
                    </a:cubicBezTo>
                    <a:cubicBezTo>
                      <a:pt x="7" y="47"/>
                      <a:pt x="8" y="47"/>
                      <a:pt x="9" y="47"/>
                    </a:cubicBezTo>
                    <a:cubicBezTo>
                      <a:pt x="10" y="48"/>
                      <a:pt x="11" y="50"/>
                      <a:pt x="12" y="51"/>
                    </a:cubicBezTo>
                    <a:cubicBezTo>
                      <a:pt x="12" y="51"/>
                      <a:pt x="12" y="51"/>
                      <a:pt x="12" y="51"/>
                    </a:cubicBezTo>
                    <a:cubicBezTo>
                      <a:pt x="14" y="52"/>
                      <a:pt x="15" y="51"/>
                      <a:pt x="16" y="52"/>
                    </a:cubicBezTo>
                    <a:cubicBezTo>
                      <a:pt x="17" y="53"/>
                      <a:pt x="17" y="53"/>
                      <a:pt x="17" y="53"/>
                    </a:cubicBezTo>
                    <a:cubicBezTo>
                      <a:pt x="20" y="53"/>
                      <a:pt x="21" y="52"/>
                      <a:pt x="22" y="52"/>
                    </a:cubicBezTo>
                    <a:cubicBezTo>
                      <a:pt x="25" y="51"/>
                      <a:pt x="27" y="53"/>
                      <a:pt x="27" y="53"/>
                    </a:cubicBezTo>
                    <a:cubicBezTo>
                      <a:pt x="30" y="53"/>
                      <a:pt x="37" y="51"/>
                      <a:pt x="38" y="50"/>
                    </a:cubicBezTo>
                    <a:cubicBezTo>
                      <a:pt x="38" y="48"/>
                      <a:pt x="38" y="48"/>
                      <a:pt x="38" y="48"/>
                    </a:cubicBezTo>
                    <a:cubicBezTo>
                      <a:pt x="39" y="47"/>
                      <a:pt x="41" y="46"/>
                      <a:pt x="42" y="44"/>
                    </a:cubicBezTo>
                    <a:cubicBezTo>
                      <a:pt x="42" y="43"/>
                      <a:pt x="42" y="42"/>
                      <a:pt x="42" y="40"/>
                    </a:cubicBezTo>
                    <a:cubicBezTo>
                      <a:pt x="43" y="40"/>
                      <a:pt x="44" y="39"/>
                      <a:pt x="45" y="38"/>
                    </a:cubicBezTo>
                    <a:lnTo>
                      <a:pt x="44" y="37"/>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49" name="Freeform 28">
                <a:extLst>
                  <a:ext uri="{FF2B5EF4-FFF2-40B4-BE49-F238E27FC236}">
                    <a16:creationId xmlns:a16="http://schemas.microsoft.com/office/drawing/2014/main" id="{6285EE3D-04D9-C0AC-6A21-297C04362757}"/>
                  </a:ext>
                </a:extLst>
              </p:cNvPr>
              <p:cNvSpPr>
                <a:spLocks/>
              </p:cNvSpPr>
              <p:nvPr/>
            </p:nvSpPr>
            <p:spPr bwMode="auto">
              <a:xfrm>
                <a:off x="2123" y="2904"/>
                <a:ext cx="92" cy="104"/>
              </a:xfrm>
              <a:custGeom>
                <a:avLst/>
                <a:gdLst>
                  <a:gd name="T0" fmla="*/ 44 w 47"/>
                  <a:gd name="T1" fmla="*/ 37 h 53"/>
                  <a:gd name="T2" fmla="*/ 43 w 47"/>
                  <a:gd name="T3" fmla="*/ 35 h 53"/>
                  <a:gd name="T4" fmla="*/ 47 w 47"/>
                  <a:gd name="T5" fmla="*/ 29 h 53"/>
                  <a:gd name="T6" fmla="*/ 44 w 47"/>
                  <a:gd name="T7" fmla="*/ 27 h 53"/>
                  <a:gd name="T8" fmla="*/ 40 w 47"/>
                  <a:gd name="T9" fmla="*/ 21 h 53"/>
                  <a:gd name="T10" fmla="*/ 34 w 47"/>
                  <a:gd name="T11" fmla="*/ 17 h 53"/>
                  <a:gd name="T12" fmla="*/ 29 w 47"/>
                  <a:gd name="T13" fmla="*/ 13 h 53"/>
                  <a:gd name="T14" fmla="*/ 23 w 47"/>
                  <a:gd name="T15" fmla="*/ 9 h 53"/>
                  <a:gd name="T16" fmla="*/ 21 w 47"/>
                  <a:gd name="T17" fmla="*/ 5 h 53"/>
                  <a:gd name="T18" fmla="*/ 13 w 47"/>
                  <a:gd name="T19" fmla="*/ 0 h 53"/>
                  <a:gd name="T20" fmla="*/ 7 w 47"/>
                  <a:gd name="T21" fmla="*/ 2 h 53"/>
                  <a:gd name="T22" fmla="*/ 5 w 47"/>
                  <a:gd name="T23" fmla="*/ 8 h 53"/>
                  <a:gd name="T24" fmla="*/ 3 w 47"/>
                  <a:gd name="T25" fmla="*/ 15 h 53"/>
                  <a:gd name="T26" fmla="*/ 1 w 47"/>
                  <a:gd name="T27" fmla="*/ 23 h 53"/>
                  <a:gd name="T28" fmla="*/ 1 w 47"/>
                  <a:gd name="T29" fmla="*/ 30 h 53"/>
                  <a:gd name="T30" fmla="*/ 2 w 47"/>
                  <a:gd name="T31" fmla="*/ 30 h 53"/>
                  <a:gd name="T32" fmla="*/ 3 w 47"/>
                  <a:gd name="T33" fmla="*/ 45 h 53"/>
                  <a:gd name="T34" fmla="*/ 4 w 47"/>
                  <a:gd name="T35" fmla="*/ 45 h 53"/>
                  <a:gd name="T36" fmla="*/ 6 w 47"/>
                  <a:gd name="T37" fmla="*/ 47 h 53"/>
                  <a:gd name="T38" fmla="*/ 9 w 47"/>
                  <a:gd name="T39" fmla="*/ 47 h 53"/>
                  <a:gd name="T40" fmla="*/ 12 w 47"/>
                  <a:gd name="T41" fmla="*/ 51 h 53"/>
                  <a:gd name="T42" fmla="*/ 12 w 47"/>
                  <a:gd name="T43" fmla="*/ 51 h 53"/>
                  <a:gd name="T44" fmla="*/ 16 w 47"/>
                  <a:gd name="T45" fmla="*/ 52 h 53"/>
                  <a:gd name="T46" fmla="*/ 17 w 47"/>
                  <a:gd name="T47" fmla="*/ 53 h 53"/>
                  <a:gd name="T48" fmla="*/ 22 w 47"/>
                  <a:gd name="T49" fmla="*/ 52 h 53"/>
                  <a:gd name="T50" fmla="*/ 27 w 47"/>
                  <a:gd name="T51" fmla="*/ 53 h 53"/>
                  <a:gd name="T52" fmla="*/ 38 w 47"/>
                  <a:gd name="T53" fmla="*/ 50 h 53"/>
                  <a:gd name="T54" fmla="*/ 38 w 47"/>
                  <a:gd name="T55" fmla="*/ 48 h 53"/>
                  <a:gd name="T56" fmla="*/ 42 w 47"/>
                  <a:gd name="T57" fmla="*/ 44 h 53"/>
                  <a:gd name="T58" fmla="*/ 42 w 47"/>
                  <a:gd name="T59" fmla="*/ 40 h 53"/>
                  <a:gd name="T60" fmla="*/ 45 w 47"/>
                  <a:gd name="T61" fmla="*/ 38 h 53"/>
                  <a:gd name="T62" fmla="*/ 44 w 47"/>
                  <a:gd name="T63" fmla="*/ 3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53">
                    <a:moveTo>
                      <a:pt x="44" y="37"/>
                    </a:moveTo>
                    <a:cubicBezTo>
                      <a:pt x="43" y="35"/>
                      <a:pt x="43" y="35"/>
                      <a:pt x="43" y="35"/>
                    </a:cubicBezTo>
                    <a:cubicBezTo>
                      <a:pt x="47" y="29"/>
                      <a:pt x="47" y="29"/>
                      <a:pt x="47" y="29"/>
                    </a:cubicBezTo>
                    <a:cubicBezTo>
                      <a:pt x="47" y="29"/>
                      <a:pt x="46" y="28"/>
                      <a:pt x="44" y="27"/>
                    </a:cubicBezTo>
                    <a:cubicBezTo>
                      <a:pt x="41" y="26"/>
                      <a:pt x="40" y="24"/>
                      <a:pt x="40" y="21"/>
                    </a:cubicBezTo>
                    <a:cubicBezTo>
                      <a:pt x="39" y="18"/>
                      <a:pt x="37" y="19"/>
                      <a:pt x="34" y="17"/>
                    </a:cubicBezTo>
                    <a:cubicBezTo>
                      <a:pt x="31" y="15"/>
                      <a:pt x="30" y="15"/>
                      <a:pt x="29" y="13"/>
                    </a:cubicBezTo>
                    <a:cubicBezTo>
                      <a:pt x="27" y="10"/>
                      <a:pt x="24" y="11"/>
                      <a:pt x="23" y="9"/>
                    </a:cubicBezTo>
                    <a:cubicBezTo>
                      <a:pt x="22" y="7"/>
                      <a:pt x="21" y="5"/>
                      <a:pt x="21" y="5"/>
                    </a:cubicBezTo>
                    <a:cubicBezTo>
                      <a:pt x="13" y="0"/>
                      <a:pt x="13" y="0"/>
                      <a:pt x="13" y="0"/>
                    </a:cubicBezTo>
                    <a:cubicBezTo>
                      <a:pt x="7" y="2"/>
                      <a:pt x="7" y="2"/>
                      <a:pt x="7" y="2"/>
                    </a:cubicBezTo>
                    <a:cubicBezTo>
                      <a:pt x="7" y="2"/>
                      <a:pt x="4" y="5"/>
                      <a:pt x="5" y="8"/>
                    </a:cubicBezTo>
                    <a:cubicBezTo>
                      <a:pt x="6" y="12"/>
                      <a:pt x="2" y="11"/>
                      <a:pt x="3" y="15"/>
                    </a:cubicBezTo>
                    <a:cubicBezTo>
                      <a:pt x="4" y="19"/>
                      <a:pt x="0" y="21"/>
                      <a:pt x="1" y="23"/>
                    </a:cubicBezTo>
                    <a:cubicBezTo>
                      <a:pt x="2" y="25"/>
                      <a:pt x="1" y="30"/>
                      <a:pt x="1" y="30"/>
                    </a:cubicBezTo>
                    <a:cubicBezTo>
                      <a:pt x="2" y="30"/>
                      <a:pt x="2" y="30"/>
                      <a:pt x="2" y="30"/>
                    </a:cubicBezTo>
                    <a:cubicBezTo>
                      <a:pt x="1" y="35"/>
                      <a:pt x="0" y="42"/>
                      <a:pt x="3" y="45"/>
                    </a:cubicBezTo>
                    <a:cubicBezTo>
                      <a:pt x="4" y="45"/>
                      <a:pt x="4" y="45"/>
                      <a:pt x="4" y="45"/>
                    </a:cubicBezTo>
                    <a:cubicBezTo>
                      <a:pt x="4" y="45"/>
                      <a:pt x="6" y="47"/>
                      <a:pt x="6" y="47"/>
                    </a:cubicBezTo>
                    <a:cubicBezTo>
                      <a:pt x="7" y="47"/>
                      <a:pt x="8" y="47"/>
                      <a:pt x="9" y="47"/>
                    </a:cubicBezTo>
                    <a:cubicBezTo>
                      <a:pt x="10" y="48"/>
                      <a:pt x="11" y="50"/>
                      <a:pt x="12" y="51"/>
                    </a:cubicBezTo>
                    <a:cubicBezTo>
                      <a:pt x="12" y="51"/>
                      <a:pt x="12" y="51"/>
                      <a:pt x="12" y="51"/>
                    </a:cubicBezTo>
                    <a:cubicBezTo>
                      <a:pt x="14" y="52"/>
                      <a:pt x="15" y="51"/>
                      <a:pt x="16" y="52"/>
                    </a:cubicBezTo>
                    <a:cubicBezTo>
                      <a:pt x="17" y="53"/>
                      <a:pt x="17" y="53"/>
                      <a:pt x="17" y="53"/>
                    </a:cubicBezTo>
                    <a:cubicBezTo>
                      <a:pt x="20" y="53"/>
                      <a:pt x="21" y="52"/>
                      <a:pt x="22" y="52"/>
                    </a:cubicBezTo>
                    <a:cubicBezTo>
                      <a:pt x="25" y="51"/>
                      <a:pt x="27" y="53"/>
                      <a:pt x="27" y="53"/>
                    </a:cubicBezTo>
                    <a:cubicBezTo>
                      <a:pt x="30" y="53"/>
                      <a:pt x="37" y="51"/>
                      <a:pt x="38" y="50"/>
                    </a:cubicBezTo>
                    <a:cubicBezTo>
                      <a:pt x="38" y="48"/>
                      <a:pt x="38" y="48"/>
                      <a:pt x="38" y="48"/>
                    </a:cubicBezTo>
                    <a:cubicBezTo>
                      <a:pt x="39" y="47"/>
                      <a:pt x="41" y="46"/>
                      <a:pt x="42" y="44"/>
                    </a:cubicBezTo>
                    <a:cubicBezTo>
                      <a:pt x="42" y="43"/>
                      <a:pt x="42" y="42"/>
                      <a:pt x="42" y="40"/>
                    </a:cubicBezTo>
                    <a:cubicBezTo>
                      <a:pt x="43" y="40"/>
                      <a:pt x="44" y="39"/>
                      <a:pt x="45" y="38"/>
                    </a:cubicBezTo>
                    <a:lnTo>
                      <a:pt x="44" y="37"/>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50" name="Freeform 29">
                <a:extLst>
                  <a:ext uri="{FF2B5EF4-FFF2-40B4-BE49-F238E27FC236}">
                    <a16:creationId xmlns:a16="http://schemas.microsoft.com/office/drawing/2014/main" id="{088D0F6C-AD6D-EA59-0F37-F1C97701C5E4}"/>
                  </a:ext>
                </a:extLst>
              </p:cNvPr>
              <p:cNvSpPr>
                <a:spLocks noEditPoints="1"/>
              </p:cNvSpPr>
              <p:nvPr/>
            </p:nvSpPr>
            <p:spPr bwMode="auto">
              <a:xfrm>
                <a:off x="2982" y="838"/>
                <a:ext cx="171" cy="296"/>
              </a:xfrm>
              <a:custGeom>
                <a:avLst/>
                <a:gdLst>
                  <a:gd name="T0" fmla="*/ 3 w 87"/>
                  <a:gd name="T1" fmla="*/ 94 h 151"/>
                  <a:gd name="T2" fmla="*/ 14 w 87"/>
                  <a:gd name="T3" fmla="*/ 97 h 151"/>
                  <a:gd name="T4" fmla="*/ 16 w 87"/>
                  <a:gd name="T5" fmla="*/ 88 h 151"/>
                  <a:gd name="T6" fmla="*/ 10 w 87"/>
                  <a:gd name="T7" fmla="*/ 83 h 151"/>
                  <a:gd name="T8" fmla="*/ 37 w 87"/>
                  <a:gd name="T9" fmla="*/ 41 h 151"/>
                  <a:gd name="T10" fmla="*/ 32 w 87"/>
                  <a:gd name="T11" fmla="*/ 32 h 151"/>
                  <a:gd name="T12" fmla="*/ 30 w 87"/>
                  <a:gd name="T13" fmla="*/ 31 h 151"/>
                  <a:gd name="T14" fmla="*/ 24 w 87"/>
                  <a:gd name="T15" fmla="*/ 42 h 151"/>
                  <a:gd name="T16" fmla="*/ 20 w 87"/>
                  <a:gd name="T17" fmla="*/ 46 h 151"/>
                  <a:gd name="T18" fmla="*/ 21 w 87"/>
                  <a:gd name="T19" fmla="*/ 58 h 151"/>
                  <a:gd name="T20" fmla="*/ 24 w 87"/>
                  <a:gd name="T21" fmla="*/ 66 h 151"/>
                  <a:gd name="T22" fmla="*/ 20 w 87"/>
                  <a:gd name="T23" fmla="*/ 74 h 151"/>
                  <a:gd name="T24" fmla="*/ 26 w 87"/>
                  <a:gd name="T25" fmla="*/ 70 h 151"/>
                  <a:gd name="T26" fmla="*/ 28 w 87"/>
                  <a:gd name="T27" fmla="*/ 88 h 151"/>
                  <a:gd name="T28" fmla="*/ 45 w 87"/>
                  <a:gd name="T29" fmla="*/ 93 h 151"/>
                  <a:gd name="T30" fmla="*/ 42 w 87"/>
                  <a:gd name="T31" fmla="*/ 105 h 151"/>
                  <a:gd name="T32" fmla="*/ 34 w 87"/>
                  <a:gd name="T33" fmla="*/ 103 h 151"/>
                  <a:gd name="T34" fmla="*/ 33 w 87"/>
                  <a:gd name="T35" fmla="*/ 107 h 151"/>
                  <a:gd name="T36" fmla="*/ 28 w 87"/>
                  <a:gd name="T37" fmla="*/ 122 h 151"/>
                  <a:gd name="T38" fmla="*/ 26 w 87"/>
                  <a:gd name="T39" fmla="*/ 128 h 151"/>
                  <a:gd name="T40" fmla="*/ 28 w 87"/>
                  <a:gd name="T41" fmla="*/ 128 h 151"/>
                  <a:gd name="T42" fmla="*/ 37 w 87"/>
                  <a:gd name="T43" fmla="*/ 128 h 151"/>
                  <a:gd name="T44" fmla="*/ 44 w 87"/>
                  <a:gd name="T45" fmla="*/ 134 h 151"/>
                  <a:gd name="T46" fmla="*/ 23 w 87"/>
                  <a:gd name="T47" fmla="*/ 143 h 151"/>
                  <a:gd name="T48" fmla="*/ 23 w 87"/>
                  <a:gd name="T49" fmla="*/ 151 h 151"/>
                  <a:gd name="T50" fmla="*/ 35 w 87"/>
                  <a:gd name="T51" fmla="*/ 144 h 151"/>
                  <a:gd name="T52" fmla="*/ 51 w 87"/>
                  <a:gd name="T53" fmla="*/ 141 h 151"/>
                  <a:gd name="T54" fmla="*/ 68 w 87"/>
                  <a:gd name="T55" fmla="*/ 138 h 151"/>
                  <a:gd name="T56" fmla="*/ 77 w 87"/>
                  <a:gd name="T57" fmla="*/ 137 h 151"/>
                  <a:gd name="T58" fmla="*/ 74 w 87"/>
                  <a:gd name="T59" fmla="*/ 132 h 151"/>
                  <a:gd name="T60" fmla="*/ 81 w 87"/>
                  <a:gd name="T61" fmla="*/ 128 h 151"/>
                  <a:gd name="T62" fmla="*/ 76 w 87"/>
                  <a:gd name="T63" fmla="*/ 112 h 151"/>
                  <a:gd name="T64" fmla="*/ 73 w 87"/>
                  <a:gd name="T65" fmla="*/ 111 h 151"/>
                  <a:gd name="T66" fmla="*/ 72 w 87"/>
                  <a:gd name="T67" fmla="*/ 103 h 151"/>
                  <a:gd name="T68" fmla="*/ 65 w 87"/>
                  <a:gd name="T69" fmla="*/ 96 h 151"/>
                  <a:gd name="T70" fmla="*/ 56 w 87"/>
                  <a:gd name="T71" fmla="*/ 80 h 151"/>
                  <a:gd name="T72" fmla="*/ 48 w 87"/>
                  <a:gd name="T73" fmla="*/ 71 h 151"/>
                  <a:gd name="T74" fmla="*/ 44 w 87"/>
                  <a:gd name="T75" fmla="*/ 62 h 151"/>
                  <a:gd name="T76" fmla="*/ 50 w 87"/>
                  <a:gd name="T77" fmla="*/ 52 h 151"/>
                  <a:gd name="T78" fmla="*/ 41 w 87"/>
                  <a:gd name="T79" fmla="*/ 45 h 151"/>
                  <a:gd name="T80" fmla="*/ 33 w 87"/>
                  <a:gd name="T81" fmla="*/ 48 h 151"/>
                  <a:gd name="T82" fmla="*/ 20 w 87"/>
                  <a:gd name="T83" fmla="*/ 76 h 151"/>
                  <a:gd name="T84" fmla="*/ 15 w 87"/>
                  <a:gd name="T85" fmla="*/ 76 h 151"/>
                  <a:gd name="T86" fmla="*/ 17 w 87"/>
                  <a:gd name="T87" fmla="*/ 72 h 151"/>
                  <a:gd name="T88" fmla="*/ 13 w 87"/>
                  <a:gd name="T89" fmla="*/ 70 h 151"/>
                  <a:gd name="T90" fmla="*/ 14 w 87"/>
                  <a:gd name="T91" fmla="*/ 66 h 151"/>
                  <a:gd name="T92" fmla="*/ 16 w 87"/>
                  <a:gd name="T93" fmla="*/ 62 h 151"/>
                  <a:gd name="T94" fmla="*/ 3 w 87"/>
                  <a:gd name="T95" fmla="*/ 50 h 151"/>
                  <a:gd name="T96" fmla="*/ 14 w 87"/>
                  <a:gd name="T97" fmla="*/ 57 h 151"/>
                  <a:gd name="T98" fmla="*/ 17 w 87"/>
                  <a:gd name="T99" fmla="*/ 57 h 151"/>
                  <a:gd name="T100" fmla="*/ 14 w 87"/>
                  <a:gd name="T101" fmla="*/ 46 h 151"/>
                  <a:gd name="T102" fmla="*/ 15 w 87"/>
                  <a:gd name="T103" fmla="*/ 32 h 151"/>
                  <a:gd name="T104" fmla="*/ 10 w 87"/>
                  <a:gd name="T105" fmla="*/ 40 h 151"/>
                  <a:gd name="T106" fmla="*/ 14 w 87"/>
                  <a:gd name="T107" fmla="*/ 43 h 151"/>
                  <a:gd name="T108" fmla="*/ 58 w 87"/>
                  <a:gd name="T109" fmla="*/ 9 h 151"/>
                  <a:gd name="T110" fmla="*/ 60 w 87"/>
                  <a:gd name="T111" fmla="*/ 13 h 151"/>
                  <a:gd name="T112" fmla="*/ 60 w 87"/>
                  <a:gd name="T113" fmla="*/ 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 h="151">
                    <a:moveTo>
                      <a:pt x="10" y="83"/>
                    </a:moveTo>
                    <a:cubicBezTo>
                      <a:pt x="10" y="83"/>
                      <a:pt x="4" y="85"/>
                      <a:pt x="5" y="88"/>
                    </a:cubicBezTo>
                    <a:cubicBezTo>
                      <a:pt x="6" y="91"/>
                      <a:pt x="0" y="89"/>
                      <a:pt x="1" y="92"/>
                    </a:cubicBezTo>
                    <a:cubicBezTo>
                      <a:pt x="2" y="94"/>
                      <a:pt x="0" y="94"/>
                      <a:pt x="3" y="94"/>
                    </a:cubicBezTo>
                    <a:cubicBezTo>
                      <a:pt x="6" y="94"/>
                      <a:pt x="4" y="99"/>
                      <a:pt x="6" y="97"/>
                    </a:cubicBezTo>
                    <a:cubicBezTo>
                      <a:pt x="9" y="95"/>
                      <a:pt x="9" y="96"/>
                      <a:pt x="9" y="96"/>
                    </a:cubicBezTo>
                    <a:cubicBezTo>
                      <a:pt x="10" y="98"/>
                      <a:pt x="10" y="98"/>
                      <a:pt x="10" y="98"/>
                    </a:cubicBezTo>
                    <a:cubicBezTo>
                      <a:pt x="14" y="97"/>
                      <a:pt x="14" y="97"/>
                      <a:pt x="14" y="97"/>
                    </a:cubicBezTo>
                    <a:cubicBezTo>
                      <a:pt x="14" y="97"/>
                      <a:pt x="14" y="96"/>
                      <a:pt x="14" y="96"/>
                    </a:cubicBezTo>
                    <a:cubicBezTo>
                      <a:pt x="15" y="95"/>
                      <a:pt x="19" y="96"/>
                      <a:pt x="21" y="95"/>
                    </a:cubicBezTo>
                    <a:cubicBezTo>
                      <a:pt x="19" y="92"/>
                      <a:pt x="20" y="93"/>
                      <a:pt x="19" y="88"/>
                    </a:cubicBezTo>
                    <a:cubicBezTo>
                      <a:pt x="19" y="88"/>
                      <a:pt x="17" y="89"/>
                      <a:pt x="16" y="88"/>
                    </a:cubicBezTo>
                    <a:cubicBezTo>
                      <a:pt x="17" y="87"/>
                      <a:pt x="18" y="86"/>
                      <a:pt x="18" y="84"/>
                    </a:cubicBezTo>
                    <a:cubicBezTo>
                      <a:pt x="13" y="81"/>
                      <a:pt x="14" y="84"/>
                      <a:pt x="9" y="86"/>
                    </a:cubicBezTo>
                    <a:cubicBezTo>
                      <a:pt x="7" y="86"/>
                      <a:pt x="8" y="85"/>
                      <a:pt x="10" y="84"/>
                    </a:cubicBezTo>
                    <a:lnTo>
                      <a:pt x="10" y="83"/>
                    </a:lnTo>
                    <a:close/>
                    <a:moveTo>
                      <a:pt x="33" y="48"/>
                    </a:moveTo>
                    <a:cubicBezTo>
                      <a:pt x="34" y="48"/>
                      <a:pt x="32" y="45"/>
                      <a:pt x="33" y="43"/>
                    </a:cubicBezTo>
                    <a:cubicBezTo>
                      <a:pt x="33" y="42"/>
                      <a:pt x="35" y="42"/>
                      <a:pt x="36" y="41"/>
                    </a:cubicBezTo>
                    <a:cubicBezTo>
                      <a:pt x="37" y="41"/>
                      <a:pt x="37" y="41"/>
                      <a:pt x="37" y="41"/>
                    </a:cubicBezTo>
                    <a:cubicBezTo>
                      <a:pt x="37" y="40"/>
                      <a:pt x="38" y="39"/>
                      <a:pt x="38" y="38"/>
                    </a:cubicBezTo>
                    <a:cubicBezTo>
                      <a:pt x="39" y="37"/>
                      <a:pt x="41" y="37"/>
                      <a:pt x="41" y="36"/>
                    </a:cubicBezTo>
                    <a:cubicBezTo>
                      <a:pt x="43" y="32"/>
                      <a:pt x="39" y="29"/>
                      <a:pt x="35" y="30"/>
                    </a:cubicBezTo>
                    <a:cubicBezTo>
                      <a:pt x="32" y="32"/>
                      <a:pt x="32" y="32"/>
                      <a:pt x="32" y="32"/>
                    </a:cubicBezTo>
                    <a:cubicBezTo>
                      <a:pt x="32" y="32"/>
                      <a:pt x="32" y="32"/>
                      <a:pt x="32" y="32"/>
                    </a:cubicBezTo>
                    <a:cubicBezTo>
                      <a:pt x="31" y="32"/>
                      <a:pt x="31" y="32"/>
                      <a:pt x="31" y="32"/>
                    </a:cubicBezTo>
                    <a:cubicBezTo>
                      <a:pt x="31" y="32"/>
                      <a:pt x="31" y="34"/>
                      <a:pt x="31" y="34"/>
                    </a:cubicBezTo>
                    <a:cubicBezTo>
                      <a:pt x="28" y="35"/>
                      <a:pt x="32" y="32"/>
                      <a:pt x="30" y="31"/>
                    </a:cubicBezTo>
                    <a:cubicBezTo>
                      <a:pt x="29" y="31"/>
                      <a:pt x="28" y="31"/>
                      <a:pt x="27" y="31"/>
                    </a:cubicBezTo>
                    <a:cubicBezTo>
                      <a:pt x="27" y="33"/>
                      <a:pt x="27" y="34"/>
                      <a:pt x="27" y="36"/>
                    </a:cubicBezTo>
                    <a:cubicBezTo>
                      <a:pt x="27" y="37"/>
                      <a:pt x="24" y="39"/>
                      <a:pt x="24" y="40"/>
                    </a:cubicBezTo>
                    <a:cubicBezTo>
                      <a:pt x="24" y="40"/>
                      <a:pt x="24" y="43"/>
                      <a:pt x="24" y="42"/>
                    </a:cubicBezTo>
                    <a:cubicBezTo>
                      <a:pt x="25" y="42"/>
                      <a:pt x="23" y="43"/>
                      <a:pt x="25" y="42"/>
                    </a:cubicBezTo>
                    <a:cubicBezTo>
                      <a:pt x="25" y="43"/>
                      <a:pt x="24" y="44"/>
                      <a:pt x="24" y="44"/>
                    </a:cubicBezTo>
                    <a:cubicBezTo>
                      <a:pt x="23" y="44"/>
                      <a:pt x="22" y="44"/>
                      <a:pt x="20" y="44"/>
                    </a:cubicBezTo>
                    <a:cubicBezTo>
                      <a:pt x="21" y="45"/>
                      <a:pt x="20" y="45"/>
                      <a:pt x="20" y="46"/>
                    </a:cubicBezTo>
                    <a:cubicBezTo>
                      <a:pt x="21" y="45"/>
                      <a:pt x="21" y="47"/>
                      <a:pt x="21" y="48"/>
                    </a:cubicBezTo>
                    <a:cubicBezTo>
                      <a:pt x="20" y="48"/>
                      <a:pt x="19" y="48"/>
                      <a:pt x="18" y="48"/>
                    </a:cubicBezTo>
                    <a:cubicBezTo>
                      <a:pt x="20" y="50"/>
                      <a:pt x="23" y="53"/>
                      <a:pt x="19" y="54"/>
                    </a:cubicBezTo>
                    <a:cubicBezTo>
                      <a:pt x="18" y="55"/>
                      <a:pt x="22" y="58"/>
                      <a:pt x="21" y="58"/>
                    </a:cubicBezTo>
                    <a:cubicBezTo>
                      <a:pt x="20" y="57"/>
                      <a:pt x="19" y="62"/>
                      <a:pt x="19" y="63"/>
                    </a:cubicBezTo>
                    <a:cubicBezTo>
                      <a:pt x="19" y="64"/>
                      <a:pt x="19" y="64"/>
                      <a:pt x="19" y="64"/>
                    </a:cubicBezTo>
                    <a:cubicBezTo>
                      <a:pt x="20" y="64"/>
                      <a:pt x="25" y="63"/>
                      <a:pt x="24" y="64"/>
                    </a:cubicBezTo>
                    <a:cubicBezTo>
                      <a:pt x="25" y="63"/>
                      <a:pt x="24" y="65"/>
                      <a:pt x="24" y="66"/>
                    </a:cubicBezTo>
                    <a:cubicBezTo>
                      <a:pt x="24" y="66"/>
                      <a:pt x="22" y="66"/>
                      <a:pt x="22" y="66"/>
                    </a:cubicBezTo>
                    <a:cubicBezTo>
                      <a:pt x="22" y="66"/>
                      <a:pt x="19" y="68"/>
                      <a:pt x="21" y="68"/>
                    </a:cubicBezTo>
                    <a:cubicBezTo>
                      <a:pt x="21" y="68"/>
                      <a:pt x="21" y="70"/>
                      <a:pt x="21" y="70"/>
                    </a:cubicBezTo>
                    <a:cubicBezTo>
                      <a:pt x="20" y="69"/>
                      <a:pt x="20" y="73"/>
                      <a:pt x="20" y="74"/>
                    </a:cubicBezTo>
                    <a:cubicBezTo>
                      <a:pt x="21" y="73"/>
                      <a:pt x="21" y="72"/>
                      <a:pt x="22" y="71"/>
                    </a:cubicBezTo>
                    <a:cubicBezTo>
                      <a:pt x="22" y="71"/>
                      <a:pt x="23" y="70"/>
                      <a:pt x="24" y="70"/>
                    </a:cubicBezTo>
                    <a:cubicBezTo>
                      <a:pt x="24" y="70"/>
                      <a:pt x="23" y="72"/>
                      <a:pt x="25" y="71"/>
                    </a:cubicBezTo>
                    <a:cubicBezTo>
                      <a:pt x="25" y="71"/>
                      <a:pt x="25" y="70"/>
                      <a:pt x="26" y="70"/>
                    </a:cubicBezTo>
                    <a:cubicBezTo>
                      <a:pt x="26" y="70"/>
                      <a:pt x="28" y="74"/>
                      <a:pt x="26" y="73"/>
                    </a:cubicBezTo>
                    <a:cubicBezTo>
                      <a:pt x="27" y="79"/>
                      <a:pt x="26" y="80"/>
                      <a:pt x="24" y="86"/>
                    </a:cubicBezTo>
                    <a:cubicBezTo>
                      <a:pt x="25" y="87"/>
                      <a:pt x="25" y="86"/>
                      <a:pt x="26" y="86"/>
                    </a:cubicBezTo>
                    <a:cubicBezTo>
                      <a:pt x="27" y="86"/>
                      <a:pt x="27" y="88"/>
                      <a:pt x="28" y="88"/>
                    </a:cubicBezTo>
                    <a:cubicBezTo>
                      <a:pt x="28" y="88"/>
                      <a:pt x="29" y="89"/>
                      <a:pt x="29" y="89"/>
                    </a:cubicBezTo>
                    <a:cubicBezTo>
                      <a:pt x="30" y="88"/>
                      <a:pt x="29" y="87"/>
                      <a:pt x="30" y="86"/>
                    </a:cubicBezTo>
                    <a:cubicBezTo>
                      <a:pt x="33" y="89"/>
                      <a:pt x="40" y="84"/>
                      <a:pt x="42" y="86"/>
                    </a:cubicBezTo>
                    <a:cubicBezTo>
                      <a:pt x="35" y="92"/>
                      <a:pt x="38" y="93"/>
                      <a:pt x="45" y="93"/>
                    </a:cubicBezTo>
                    <a:cubicBezTo>
                      <a:pt x="45" y="96"/>
                      <a:pt x="45" y="97"/>
                      <a:pt x="45" y="99"/>
                    </a:cubicBezTo>
                    <a:cubicBezTo>
                      <a:pt x="45" y="99"/>
                      <a:pt x="43" y="101"/>
                      <a:pt x="43" y="102"/>
                    </a:cubicBezTo>
                    <a:cubicBezTo>
                      <a:pt x="43" y="103"/>
                      <a:pt x="44" y="104"/>
                      <a:pt x="44" y="105"/>
                    </a:cubicBezTo>
                    <a:cubicBezTo>
                      <a:pt x="43" y="105"/>
                      <a:pt x="42" y="105"/>
                      <a:pt x="42" y="105"/>
                    </a:cubicBezTo>
                    <a:cubicBezTo>
                      <a:pt x="42" y="106"/>
                      <a:pt x="42" y="106"/>
                      <a:pt x="42" y="106"/>
                    </a:cubicBezTo>
                    <a:cubicBezTo>
                      <a:pt x="35" y="106"/>
                      <a:pt x="35" y="106"/>
                      <a:pt x="35" y="106"/>
                    </a:cubicBezTo>
                    <a:cubicBezTo>
                      <a:pt x="35" y="106"/>
                      <a:pt x="35" y="105"/>
                      <a:pt x="34" y="105"/>
                    </a:cubicBezTo>
                    <a:cubicBezTo>
                      <a:pt x="34" y="105"/>
                      <a:pt x="34" y="103"/>
                      <a:pt x="34" y="103"/>
                    </a:cubicBezTo>
                    <a:cubicBezTo>
                      <a:pt x="33" y="102"/>
                      <a:pt x="31" y="103"/>
                      <a:pt x="30" y="102"/>
                    </a:cubicBezTo>
                    <a:cubicBezTo>
                      <a:pt x="30" y="103"/>
                      <a:pt x="30" y="104"/>
                      <a:pt x="29" y="104"/>
                    </a:cubicBezTo>
                    <a:cubicBezTo>
                      <a:pt x="29" y="104"/>
                      <a:pt x="30" y="107"/>
                      <a:pt x="30" y="107"/>
                    </a:cubicBezTo>
                    <a:cubicBezTo>
                      <a:pt x="31" y="107"/>
                      <a:pt x="32" y="107"/>
                      <a:pt x="33" y="107"/>
                    </a:cubicBezTo>
                    <a:cubicBezTo>
                      <a:pt x="32" y="108"/>
                      <a:pt x="28" y="113"/>
                      <a:pt x="26" y="114"/>
                    </a:cubicBezTo>
                    <a:cubicBezTo>
                      <a:pt x="24" y="114"/>
                      <a:pt x="31" y="113"/>
                      <a:pt x="32" y="113"/>
                    </a:cubicBezTo>
                    <a:cubicBezTo>
                      <a:pt x="32" y="120"/>
                      <a:pt x="33" y="117"/>
                      <a:pt x="29" y="120"/>
                    </a:cubicBezTo>
                    <a:cubicBezTo>
                      <a:pt x="29" y="120"/>
                      <a:pt x="29" y="122"/>
                      <a:pt x="28" y="122"/>
                    </a:cubicBezTo>
                    <a:cubicBezTo>
                      <a:pt x="27" y="123"/>
                      <a:pt x="25" y="123"/>
                      <a:pt x="23" y="124"/>
                    </a:cubicBezTo>
                    <a:cubicBezTo>
                      <a:pt x="23" y="126"/>
                      <a:pt x="23" y="125"/>
                      <a:pt x="24" y="127"/>
                    </a:cubicBezTo>
                    <a:cubicBezTo>
                      <a:pt x="22" y="127"/>
                      <a:pt x="23" y="128"/>
                      <a:pt x="23" y="128"/>
                    </a:cubicBezTo>
                    <a:cubicBezTo>
                      <a:pt x="23" y="128"/>
                      <a:pt x="25" y="128"/>
                      <a:pt x="26" y="128"/>
                    </a:cubicBezTo>
                    <a:cubicBezTo>
                      <a:pt x="26" y="128"/>
                      <a:pt x="23" y="131"/>
                      <a:pt x="26" y="130"/>
                    </a:cubicBezTo>
                    <a:cubicBezTo>
                      <a:pt x="28" y="130"/>
                      <a:pt x="26" y="130"/>
                      <a:pt x="28" y="130"/>
                    </a:cubicBezTo>
                    <a:cubicBezTo>
                      <a:pt x="28" y="129"/>
                      <a:pt x="28" y="129"/>
                      <a:pt x="28" y="129"/>
                    </a:cubicBezTo>
                    <a:cubicBezTo>
                      <a:pt x="29" y="128"/>
                      <a:pt x="28" y="129"/>
                      <a:pt x="28" y="128"/>
                    </a:cubicBezTo>
                    <a:cubicBezTo>
                      <a:pt x="29" y="128"/>
                      <a:pt x="30" y="128"/>
                      <a:pt x="31" y="128"/>
                    </a:cubicBezTo>
                    <a:cubicBezTo>
                      <a:pt x="31" y="128"/>
                      <a:pt x="31" y="130"/>
                      <a:pt x="31" y="130"/>
                    </a:cubicBezTo>
                    <a:cubicBezTo>
                      <a:pt x="29" y="129"/>
                      <a:pt x="31" y="132"/>
                      <a:pt x="34" y="131"/>
                    </a:cubicBezTo>
                    <a:cubicBezTo>
                      <a:pt x="34" y="131"/>
                      <a:pt x="36" y="129"/>
                      <a:pt x="37" y="128"/>
                    </a:cubicBezTo>
                    <a:cubicBezTo>
                      <a:pt x="35" y="127"/>
                      <a:pt x="39" y="128"/>
                      <a:pt x="38" y="129"/>
                    </a:cubicBezTo>
                    <a:cubicBezTo>
                      <a:pt x="39" y="129"/>
                      <a:pt x="40" y="130"/>
                      <a:pt x="41" y="131"/>
                    </a:cubicBezTo>
                    <a:cubicBezTo>
                      <a:pt x="42" y="130"/>
                      <a:pt x="41" y="129"/>
                      <a:pt x="42" y="128"/>
                    </a:cubicBezTo>
                    <a:cubicBezTo>
                      <a:pt x="49" y="127"/>
                      <a:pt x="46" y="127"/>
                      <a:pt x="44" y="134"/>
                    </a:cubicBezTo>
                    <a:cubicBezTo>
                      <a:pt x="40" y="134"/>
                      <a:pt x="32" y="132"/>
                      <a:pt x="30" y="133"/>
                    </a:cubicBezTo>
                    <a:cubicBezTo>
                      <a:pt x="30" y="134"/>
                      <a:pt x="30" y="134"/>
                      <a:pt x="30" y="134"/>
                    </a:cubicBezTo>
                    <a:cubicBezTo>
                      <a:pt x="28" y="135"/>
                      <a:pt x="28" y="138"/>
                      <a:pt x="26" y="140"/>
                    </a:cubicBezTo>
                    <a:cubicBezTo>
                      <a:pt x="26" y="141"/>
                      <a:pt x="24" y="142"/>
                      <a:pt x="23" y="143"/>
                    </a:cubicBezTo>
                    <a:cubicBezTo>
                      <a:pt x="22" y="144"/>
                      <a:pt x="23" y="145"/>
                      <a:pt x="22" y="146"/>
                    </a:cubicBezTo>
                    <a:cubicBezTo>
                      <a:pt x="20" y="147"/>
                      <a:pt x="18" y="147"/>
                      <a:pt x="17" y="147"/>
                    </a:cubicBezTo>
                    <a:cubicBezTo>
                      <a:pt x="17" y="148"/>
                      <a:pt x="17" y="149"/>
                      <a:pt x="17" y="149"/>
                    </a:cubicBezTo>
                    <a:cubicBezTo>
                      <a:pt x="21" y="151"/>
                      <a:pt x="20" y="150"/>
                      <a:pt x="23" y="151"/>
                    </a:cubicBezTo>
                    <a:cubicBezTo>
                      <a:pt x="24" y="150"/>
                      <a:pt x="25" y="148"/>
                      <a:pt x="26" y="146"/>
                    </a:cubicBezTo>
                    <a:cubicBezTo>
                      <a:pt x="26" y="146"/>
                      <a:pt x="27" y="147"/>
                      <a:pt x="27" y="147"/>
                    </a:cubicBezTo>
                    <a:cubicBezTo>
                      <a:pt x="28" y="146"/>
                      <a:pt x="27" y="146"/>
                      <a:pt x="28" y="145"/>
                    </a:cubicBezTo>
                    <a:cubicBezTo>
                      <a:pt x="30" y="144"/>
                      <a:pt x="32" y="144"/>
                      <a:pt x="35" y="144"/>
                    </a:cubicBezTo>
                    <a:cubicBezTo>
                      <a:pt x="35" y="145"/>
                      <a:pt x="35" y="146"/>
                      <a:pt x="36" y="146"/>
                    </a:cubicBezTo>
                    <a:cubicBezTo>
                      <a:pt x="38" y="145"/>
                      <a:pt x="40" y="141"/>
                      <a:pt x="43" y="141"/>
                    </a:cubicBezTo>
                    <a:cubicBezTo>
                      <a:pt x="46" y="140"/>
                      <a:pt x="48" y="143"/>
                      <a:pt x="51" y="143"/>
                    </a:cubicBezTo>
                    <a:cubicBezTo>
                      <a:pt x="51" y="143"/>
                      <a:pt x="51" y="141"/>
                      <a:pt x="51" y="141"/>
                    </a:cubicBezTo>
                    <a:cubicBezTo>
                      <a:pt x="52" y="140"/>
                      <a:pt x="53" y="140"/>
                      <a:pt x="54" y="140"/>
                    </a:cubicBezTo>
                    <a:cubicBezTo>
                      <a:pt x="54" y="139"/>
                      <a:pt x="54" y="139"/>
                      <a:pt x="54" y="139"/>
                    </a:cubicBezTo>
                    <a:cubicBezTo>
                      <a:pt x="58" y="138"/>
                      <a:pt x="57" y="140"/>
                      <a:pt x="60" y="140"/>
                    </a:cubicBezTo>
                    <a:cubicBezTo>
                      <a:pt x="62" y="140"/>
                      <a:pt x="65" y="138"/>
                      <a:pt x="68" y="138"/>
                    </a:cubicBezTo>
                    <a:cubicBezTo>
                      <a:pt x="70" y="138"/>
                      <a:pt x="71" y="141"/>
                      <a:pt x="72" y="141"/>
                    </a:cubicBezTo>
                    <a:cubicBezTo>
                      <a:pt x="73" y="139"/>
                      <a:pt x="73" y="139"/>
                      <a:pt x="73" y="139"/>
                    </a:cubicBezTo>
                    <a:cubicBezTo>
                      <a:pt x="74" y="139"/>
                      <a:pt x="75" y="139"/>
                      <a:pt x="76" y="139"/>
                    </a:cubicBezTo>
                    <a:cubicBezTo>
                      <a:pt x="76" y="139"/>
                      <a:pt x="76" y="137"/>
                      <a:pt x="77" y="137"/>
                    </a:cubicBezTo>
                    <a:cubicBezTo>
                      <a:pt x="78" y="136"/>
                      <a:pt x="78" y="136"/>
                      <a:pt x="80" y="136"/>
                    </a:cubicBezTo>
                    <a:cubicBezTo>
                      <a:pt x="80" y="136"/>
                      <a:pt x="79" y="134"/>
                      <a:pt x="80" y="134"/>
                    </a:cubicBezTo>
                    <a:cubicBezTo>
                      <a:pt x="83" y="133"/>
                      <a:pt x="75" y="133"/>
                      <a:pt x="74" y="134"/>
                    </a:cubicBezTo>
                    <a:cubicBezTo>
                      <a:pt x="74" y="133"/>
                      <a:pt x="73" y="132"/>
                      <a:pt x="74" y="132"/>
                    </a:cubicBezTo>
                    <a:cubicBezTo>
                      <a:pt x="74" y="132"/>
                      <a:pt x="73" y="130"/>
                      <a:pt x="73" y="130"/>
                    </a:cubicBezTo>
                    <a:cubicBezTo>
                      <a:pt x="74" y="129"/>
                      <a:pt x="75" y="130"/>
                      <a:pt x="76" y="130"/>
                    </a:cubicBezTo>
                    <a:cubicBezTo>
                      <a:pt x="76" y="128"/>
                      <a:pt x="76" y="128"/>
                      <a:pt x="76" y="128"/>
                    </a:cubicBezTo>
                    <a:cubicBezTo>
                      <a:pt x="77" y="128"/>
                      <a:pt x="80" y="128"/>
                      <a:pt x="81" y="128"/>
                    </a:cubicBezTo>
                    <a:cubicBezTo>
                      <a:pt x="81" y="127"/>
                      <a:pt x="81" y="126"/>
                      <a:pt x="81" y="126"/>
                    </a:cubicBezTo>
                    <a:cubicBezTo>
                      <a:pt x="82" y="126"/>
                      <a:pt x="82" y="126"/>
                      <a:pt x="82" y="126"/>
                    </a:cubicBezTo>
                    <a:cubicBezTo>
                      <a:pt x="84" y="123"/>
                      <a:pt x="87" y="115"/>
                      <a:pt x="83" y="113"/>
                    </a:cubicBezTo>
                    <a:cubicBezTo>
                      <a:pt x="81" y="112"/>
                      <a:pt x="78" y="112"/>
                      <a:pt x="76" y="112"/>
                    </a:cubicBezTo>
                    <a:cubicBezTo>
                      <a:pt x="75" y="112"/>
                      <a:pt x="74" y="114"/>
                      <a:pt x="75" y="114"/>
                    </a:cubicBezTo>
                    <a:cubicBezTo>
                      <a:pt x="76" y="114"/>
                      <a:pt x="73" y="116"/>
                      <a:pt x="73" y="116"/>
                    </a:cubicBezTo>
                    <a:cubicBezTo>
                      <a:pt x="73" y="116"/>
                      <a:pt x="72" y="114"/>
                      <a:pt x="72" y="112"/>
                    </a:cubicBezTo>
                    <a:cubicBezTo>
                      <a:pt x="72" y="112"/>
                      <a:pt x="72" y="111"/>
                      <a:pt x="73" y="111"/>
                    </a:cubicBezTo>
                    <a:cubicBezTo>
                      <a:pt x="73" y="110"/>
                      <a:pt x="72" y="107"/>
                      <a:pt x="72" y="107"/>
                    </a:cubicBezTo>
                    <a:cubicBezTo>
                      <a:pt x="70" y="105"/>
                      <a:pt x="69" y="103"/>
                      <a:pt x="67" y="100"/>
                    </a:cubicBezTo>
                    <a:cubicBezTo>
                      <a:pt x="70" y="103"/>
                      <a:pt x="70" y="103"/>
                      <a:pt x="70" y="103"/>
                    </a:cubicBezTo>
                    <a:cubicBezTo>
                      <a:pt x="71" y="103"/>
                      <a:pt x="72" y="103"/>
                      <a:pt x="72" y="103"/>
                    </a:cubicBezTo>
                    <a:cubicBezTo>
                      <a:pt x="72" y="102"/>
                      <a:pt x="72" y="102"/>
                      <a:pt x="72" y="101"/>
                    </a:cubicBezTo>
                    <a:cubicBezTo>
                      <a:pt x="72" y="101"/>
                      <a:pt x="72" y="101"/>
                      <a:pt x="72" y="101"/>
                    </a:cubicBezTo>
                    <a:cubicBezTo>
                      <a:pt x="70" y="100"/>
                      <a:pt x="69" y="97"/>
                      <a:pt x="68" y="96"/>
                    </a:cubicBezTo>
                    <a:cubicBezTo>
                      <a:pt x="67" y="96"/>
                      <a:pt x="66" y="96"/>
                      <a:pt x="65" y="96"/>
                    </a:cubicBezTo>
                    <a:cubicBezTo>
                      <a:pt x="63" y="94"/>
                      <a:pt x="63" y="91"/>
                      <a:pt x="62" y="90"/>
                    </a:cubicBezTo>
                    <a:cubicBezTo>
                      <a:pt x="61" y="89"/>
                      <a:pt x="60" y="90"/>
                      <a:pt x="60" y="90"/>
                    </a:cubicBezTo>
                    <a:cubicBezTo>
                      <a:pt x="59" y="89"/>
                      <a:pt x="56" y="86"/>
                      <a:pt x="56" y="86"/>
                    </a:cubicBezTo>
                    <a:cubicBezTo>
                      <a:pt x="56" y="84"/>
                      <a:pt x="56" y="82"/>
                      <a:pt x="56" y="80"/>
                    </a:cubicBezTo>
                    <a:cubicBezTo>
                      <a:pt x="55" y="80"/>
                      <a:pt x="54" y="80"/>
                      <a:pt x="54" y="80"/>
                    </a:cubicBezTo>
                    <a:cubicBezTo>
                      <a:pt x="53" y="79"/>
                      <a:pt x="54" y="78"/>
                      <a:pt x="54" y="78"/>
                    </a:cubicBezTo>
                    <a:cubicBezTo>
                      <a:pt x="53" y="76"/>
                      <a:pt x="49" y="75"/>
                      <a:pt x="49" y="74"/>
                    </a:cubicBezTo>
                    <a:cubicBezTo>
                      <a:pt x="48" y="73"/>
                      <a:pt x="49" y="72"/>
                      <a:pt x="48" y="71"/>
                    </a:cubicBezTo>
                    <a:cubicBezTo>
                      <a:pt x="46" y="71"/>
                      <a:pt x="44" y="71"/>
                      <a:pt x="43" y="71"/>
                    </a:cubicBezTo>
                    <a:cubicBezTo>
                      <a:pt x="44" y="71"/>
                      <a:pt x="44" y="69"/>
                      <a:pt x="45" y="68"/>
                    </a:cubicBezTo>
                    <a:cubicBezTo>
                      <a:pt x="46" y="68"/>
                      <a:pt x="46" y="69"/>
                      <a:pt x="47" y="68"/>
                    </a:cubicBezTo>
                    <a:cubicBezTo>
                      <a:pt x="46" y="65"/>
                      <a:pt x="46" y="65"/>
                      <a:pt x="44" y="62"/>
                    </a:cubicBezTo>
                    <a:cubicBezTo>
                      <a:pt x="46" y="62"/>
                      <a:pt x="46" y="62"/>
                      <a:pt x="46" y="62"/>
                    </a:cubicBezTo>
                    <a:cubicBezTo>
                      <a:pt x="46" y="62"/>
                      <a:pt x="46" y="60"/>
                      <a:pt x="46" y="60"/>
                    </a:cubicBezTo>
                    <a:cubicBezTo>
                      <a:pt x="47" y="59"/>
                      <a:pt x="50" y="58"/>
                      <a:pt x="50" y="56"/>
                    </a:cubicBezTo>
                    <a:cubicBezTo>
                      <a:pt x="51" y="55"/>
                      <a:pt x="50" y="54"/>
                      <a:pt x="50" y="52"/>
                    </a:cubicBezTo>
                    <a:cubicBezTo>
                      <a:pt x="50" y="51"/>
                      <a:pt x="52" y="48"/>
                      <a:pt x="52" y="47"/>
                    </a:cubicBezTo>
                    <a:cubicBezTo>
                      <a:pt x="52" y="47"/>
                      <a:pt x="50" y="45"/>
                      <a:pt x="50" y="45"/>
                    </a:cubicBezTo>
                    <a:cubicBezTo>
                      <a:pt x="48" y="45"/>
                      <a:pt x="46" y="47"/>
                      <a:pt x="45" y="46"/>
                    </a:cubicBezTo>
                    <a:cubicBezTo>
                      <a:pt x="45" y="46"/>
                      <a:pt x="42" y="45"/>
                      <a:pt x="41" y="45"/>
                    </a:cubicBezTo>
                    <a:cubicBezTo>
                      <a:pt x="41" y="45"/>
                      <a:pt x="40" y="46"/>
                      <a:pt x="40" y="46"/>
                    </a:cubicBezTo>
                    <a:cubicBezTo>
                      <a:pt x="38" y="47"/>
                      <a:pt x="38" y="47"/>
                      <a:pt x="36" y="47"/>
                    </a:cubicBezTo>
                    <a:cubicBezTo>
                      <a:pt x="37" y="47"/>
                      <a:pt x="34" y="48"/>
                      <a:pt x="34" y="48"/>
                    </a:cubicBezTo>
                    <a:cubicBezTo>
                      <a:pt x="35" y="49"/>
                      <a:pt x="34" y="48"/>
                      <a:pt x="33" y="48"/>
                    </a:cubicBezTo>
                    <a:close/>
                    <a:moveTo>
                      <a:pt x="55" y="141"/>
                    </a:moveTo>
                    <a:cubicBezTo>
                      <a:pt x="53" y="141"/>
                      <a:pt x="56" y="142"/>
                      <a:pt x="56" y="142"/>
                    </a:cubicBezTo>
                    <a:cubicBezTo>
                      <a:pt x="56" y="142"/>
                      <a:pt x="57" y="140"/>
                      <a:pt x="55" y="141"/>
                    </a:cubicBezTo>
                    <a:close/>
                    <a:moveTo>
                      <a:pt x="20" y="76"/>
                    </a:moveTo>
                    <a:cubicBezTo>
                      <a:pt x="20" y="76"/>
                      <a:pt x="20" y="79"/>
                      <a:pt x="20" y="80"/>
                    </a:cubicBezTo>
                    <a:cubicBezTo>
                      <a:pt x="21" y="80"/>
                      <a:pt x="21" y="80"/>
                      <a:pt x="21" y="80"/>
                    </a:cubicBezTo>
                    <a:cubicBezTo>
                      <a:pt x="21" y="79"/>
                      <a:pt x="21" y="76"/>
                      <a:pt x="20" y="76"/>
                    </a:cubicBezTo>
                    <a:close/>
                    <a:moveTo>
                      <a:pt x="15" y="76"/>
                    </a:moveTo>
                    <a:cubicBezTo>
                      <a:pt x="16" y="78"/>
                      <a:pt x="16" y="78"/>
                      <a:pt x="16" y="78"/>
                    </a:cubicBezTo>
                    <a:cubicBezTo>
                      <a:pt x="15" y="77"/>
                      <a:pt x="16" y="76"/>
                      <a:pt x="15" y="76"/>
                    </a:cubicBezTo>
                    <a:close/>
                    <a:moveTo>
                      <a:pt x="18" y="68"/>
                    </a:moveTo>
                    <a:cubicBezTo>
                      <a:pt x="17" y="69"/>
                      <a:pt x="17" y="72"/>
                      <a:pt x="17" y="72"/>
                    </a:cubicBezTo>
                    <a:cubicBezTo>
                      <a:pt x="17" y="72"/>
                      <a:pt x="17" y="73"/>
                      <a:pt x="18" y="72"/>
                    </a:cubicBezTo>
                    <a:cubicBezTo>
                      <a:pt x="19" y="72"/>
                      <a:pt x="19" y="67"/>
                      <a:pt x="18" y="68"/>
                    </a:cubicBezTo>
                    <a:close/>
                    <a:moveTo>
                      <a:pt x="12" y="68"/>
                    </a:moveTo>
                    <a:cubicBezTo>
                      <a:pt x="13" y="70"/>
                      <a:pt x="13" y="70"/>
                      <a:pt x="13" y="70"/>
                    </a:cubicBezTo>
                    <a:cubicBezTo>
                      <a:pt x="13" y="69"/>
                      <a:pt x="14" y="68"/>
                      <a:pt x="12" y="68"/>
                    </a:cubicBezTo>
                    <a:close/>
                    <a:moveTo>
                      <a:pt x="14" y="62"/>
                    </a:moveTo>
                    <a:cubicBezTo>
                      <a:pt x="14" y="64"/>
                      <a:pt x="14" y="64"/>
                      <a:pt x="14" y="64"/>
                    </a:cubicBezTo>
                    <a:cubicBezTo>
                      <a:pt x="15" y="63"/>
                      <a:pt x="14" y="66"/>
                      <a:pt x="14" y="66"/>
                    </a:cubicBezTo>
                    <a:cubicBezTo>
                      <a:pt x="11" y="66"/>
                      <a:pt x="15" y="67"/>
                      <a:pt x="16" y="68"/>
                    </a:cubicBezTo>
                    <a:cubicBezTo>
                      <a:pt x="16" y="67"/>
                      <a:pt x="16" y="67"/>
                      <a:pt x="16" y="67"/>
                    </a:cubicBezTo>
                    <a:cubicBezTo>
                      <a:pt x="18" y="66"/>
                      <a:pt x="17" y="65"/>
                      <a:pt x="18" y="64"/>
                    </a:cubicBezTo>
                    <a:cubicBezTo>
                      <a:pt x="17" y="64"/>
                      <a:pt x="16" y="63"/>
                      <a:pt x="16" y="62"/>
                    </a:cubicBezTo>
                    <a:cubicBezTo>
                      <a:pt x="15" y="62"/>
                      <a:pt x="14" y="63"/>
                      <a:pt x="14" y="62"/>
                    </a:cubicBezTo>
                    <a:close/>
                    <a:moveTo>
                      <a:pt x="3" y="50"/>
                    </a:moveTo>
                    <a:cubicBezTo>
                      <a:pt x="4" y="53"/>
                      <a:pt x="4" y="53"/>
                      <a:pt x="4" y="53"/>
                    </a:cubicBezTo>
                    <a:cubicBezTo>
                      <a:pt x="5" y="53"/>
                      <a:pt x="7" y="49"/>
                      <a:pt x="3" y="50"/>
                    </a:cubicBezTo>
                    <a:close/>
                    <a:moveTo>
                      <a:pt x="14" y="46"/>
                    </a:moveTo>
                    <a:cubicBezTo>
                      <a:pt x="14" y="46"/>
                      <a:pt x="14" y="48"/>
                      <a:pt x="14" y="48"/>
                    </a:cubicBezTo>
                    <a:cubicBezTo>
                      <a:pt x="14" y="48"/>
                      <a:pt x="12" y="48"/>
                      <a:pt x="12" y="48"/>
                    </a:cubicBezTo>
                    <a:cubicBezTo>
                      <a:pt x="13" y="52"/>
                      <a:pt x="13" y="54"/>
                      <a:pt x="14" y="57"/>
                    </a:cubicBezTo>
                    <a:cubicBezTo>
                      <a:pt x="16" y="57"/>
                      <a:pt x="16" y="57"/>
                      <a:pt x="16" y="57"/>
                    </a:cubicBezTo>
                    <a:cubicBezTo>
                      <a:pt x="16" y="57"/>
                      <a:pt x="16" y="59"/>
                      <a:pt x="16" y="59"/>
                    </a:cubicBezTo>
                    <a:cubicBezTo>
                      <a:pt x="17" y="59"/>
                      <a:pt x="17" y="59"/>
                      <a:pt x="17" y="59"/>
                    </a:cubicBezTo>
                    <a:cubicBezTo>
                      <a:pt x="17" y="59"/>
                      <a:pt x="17" y="57"/>
                      <a:pt x="17" y="57"/>
                    </a:cubicBezTo>
                    <a:cubicBezTo>
                      <a:pt x="18" y="58"/>
                      <a:pt x="18" y="55"/>
                      <a:pt x="18" y="55"/>
                    </a:cubicBezTo>
                    <a:cubicBezTo>
                      <a:pt x="17" y="55"/>
                      <a:pt x="16" y="55"/>
                      <a:pt x="15" y="54"/>
                    </a:cubicBezTo>
                    <a:cubicBezTo>
                      <a:pt x="14" y="50"/>
                      <a:pt x="15" y="53"/>
                      <a:pt x="15" y="48"/>
                    </a:cubicBezTo>
                    <a:cubicBezTo>
                      <a:pt x="15" y="48"/>
                      <a:pt x="15" y="46"/>
                      <a:pt x="14" y="46"/>
                    </a:cubicBezTo>
                    <a:close/>
                    <a:moveTo>
                      <a:pt x="4" y="46"/>
                    </a:moveTo>
                    <a:cubicBezTo>
                      <a:pt x="4" y="48"/>
                      <a:pt x="4" y="48"/>
                      <a:pt x="4" y="48"/>
                    </a:cubicBezTo>
                    <a:cubicBezTo>
                      <a:pt x="8" y="47"/>
                      <a:pt x="7" y="47"/>
                      <a:pt x="4" y="46"/>
                    </a:cubicBezTo>
                    <a:close/>
                    <a:moveTo>
                      <a:pt x="15" y="32"/>
                    </a:moveTo>
                    <a:cubicBezTo>
                      <a:pt x="11" y="34"/>
                      <a:pt x="11" y="34"/>
                      <a:pt x="11" y="34"/>
                    </a:cubicBezTo>
                    <a:cubicBezTo>
                      <a:pt x="10" y="35"/>
                      <a:pt x="11" y="36"/>
                      <a:pt x="10" y="37"/>
                    </a:cubicBezTo>
                    <a:cubicBezTo>
                      <a:pt x="10" y="37"/>
                      <a:pt x="9" y="36"/>
                      <a:pt x="9" y="36"/>
                    </a:cubicBezTo>
                    <a:cubicBezTo>
                      <a:pt x="9" y="38"/>
                      <a:pt x="11" y="40"/>
                      <a:pt x="10" y="40"/>
                    </a:cubicBezTo>
                    <a:cubicBezTo>
                      <a:pt x="8" y="42"/>
                      <a:pt x="9" y="42"/>
                      <a:pt x="8" y="46"/>
                    </a:cubicBezTo>
                    <a:cubicBezTo>
                      <a:pt x="9" y="45"/>
                      <a:pt x="10" y="44"/>
                      <a:pt x="11" y="44"/>
                    </a:cubicBezTo>
                    <a:cubicBezTo>
                      <a:pt x="11" y="43"/>
                      <a:pt x="11" y="43"/>
                      <a:pt x="11" y="43"/>
                    </a:cubicBezTo>
                    <a:cubicBezTo>
                      <a:pt x="11" y="43"/>
                      <a:pt x="13" y="43"/>
                      <a:pt x="14" y="43"/>
                    </a:cubicBezTo>
                    <a:cubicBezTo>
                      <a:pt x="15" y="42"/>
                      <a:pt x="14" y="40"/>
                      <a:pt x="14" y="38"/>
                    </a:cubicBezTo>
                    <a:cubicBezTo>
                      <a:pt x="15" y="37"/>
                      <a:pt x="19" y="32"/>
                      <a:pt x="15" y="32"/>
                    </a:cubicBezTo>
                    <a:close/>
                    <a:moveTo>
                      <a:pt x="60" y="5"/>
                    </a:moveTo>
                    <a:cubicBezTo>
                      <a:pt x="59" y="5"/>
                      <a:pt x="58" y="9"/>
                      <a:pt x="58" y="9"/>
                    </a:cubicBezTo>
                    <a:cubicBezTo>
                      <a:pt x="58" y="9"/>
                      <a:pt x="56" y="9"/>
                      <a:pt x="56" y="9"/>
                    </a:cubicBezTo>
                    <a:cubicBezTo>
                      <a:pt x="56" y="11"/>
                      <a:pt x="58" y="12"/>
                      <a:pt x="58" y="11"/>
                    </a:cubicBezTo>
                    <a:cubicBezTo>
                      <a:pt x="58" y="11"/>
                      <a:pt x="59" y="11"/>
                      <a:pt x="59" y="11"/>
                    </a:cubicBezTo>
                    <a:cubicBezTo>
                      <a:pt x="58" y="11"/>
                      <a:pt x="60" y="13"/>
                      <a:pt x="60" y="13"/>
                    </a:cubicBezTo>
                    <a:cubicBezTo>
                      <a:pt x="60" y="13"/>
                      <a:pt x="61" y="12"/>
                      <a:pt x="61" y="12"/>
                    </a:cubicBezTo>
                    <a:cubicBezTo>
                      <a:pt x="61" y="10"/>
                      <a:pt x="59" y="7"/>
                      <a:pt x="61" y="6"/>
                    </a:cubicBezTo>
                    <a:cubicBezTo>
                      <a:pt x="61" y="5"/>
                      <a:pt x="61" y="5"/>
                      <a:pt x="61" y="5"/>
                    </a:cubicBezTo>
                    <a:lnTo>
                      <a:pt x="60" y="5"/>
                    </a:lnTo>
                    <a:close/>
                    <a:moveTo>
                      <a:pt x="65" y="0"/>
                    </a:moveTo>
                    <a:cubicBezTo>
                      <a:pt x="66" y="1"/>
                      <a:pt x="66" y="1"/>
                      <a:pt x="66" y="1"/>
                    </a:cubicBezTo>
                    <a:cubicBezTo>
                      <a:pt x="65" y="0"/>
                      <a:pt x="66" y="0"/>
                      <a:pt x="65"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51" name="Freeform 30">
                <a:extLst>
                  <a:ext uri="{FF2B5EF4-FFF2-40B4-BE49-F238E27FC236}">
                    <a16:creationId xmlns:a16="http://schemas.microsoft.com/office/drawing/2014/main" id="{88D94FFA-80C4-E85E-94AF-E75991391DE5}"/>
                  </a:ext>
                </a:extLst>
              </p:cNvPr>
              <p:cNvSpPr>
                <a:spLocks noEditPoints="1"/>
              </p:cNvSpPr>
              <p:nvPr/>
            </p:nvSpPr>
            <p:spPr bwMode="auto">
              <a:xfrm>
                <a:off x="2982" y="838"/>
                <a:ext cx="171" cy="296"/>
              </a:xfrm>
              <a:custGeom>
                <a:avLst/>
                <a:gdLst>
                  <a:gd name="T0" fmla="*/ 3 w 87"/>
                  <a:gd name="T1" fmla="*/ 94 h 151"/>
                  <a:gd name="T2" fmla="*/ 14 w 87"/>
                  <a:gd name="T3" fmla="*/ 97 h 151"/>
                  <a:gd name="T4" fmla="*/ 16 w 87"/>
                  <a:gd name="T5" fmla="*/ 88 h 151"/>
                  <a:gd name="T6" fmla="*/ 10 w 87"/>
                  <a:gd name="T7" fmla="*/ 83 h 151"/>
                  <a:gd name="T8" fmla="*/ 37 w 87"/>
                  <a:gd name="T9" fmla="*/ 41 h 151"/>
                  <a:gd name="T10" fmla="*/ 32 w 87"/>
                  <a:gd name="T11" fmla="*/ 32 h 151"/>
                  <a:gd name="T12" fmla="*/ 30 w 87"/>
                  <a:gd name="T13" fmla="*/ 31 h 151"/>
                  <a:gd name="T14" fmla="*/ 24 w 87"/>
                  <a:gd name="T15" fmla="*/ 42 h 151"/>
                  <a:gd name="T16" fmla="*/ 20 w 87"/>
                  <a:gd name="T17" fmla="*/ 46 h 151"/>
                  <a:gd name="T18" fmla="*/ 21 w 87"/>
                  <a:gd name="T19" fmla="*/ 58 h 151"/>
                  <a:gd name="T20" fmla="*/ 24 w 87"/>
                  <a:gd name="T21" fmla="*/ 66 h 151"/>
                  <a:gd name="T22" fmla="*/ 20 w 87"/>
                  <a:gd name="T23" fmla="*/ 74 h 151"/>
                  <a:gd name="T24" fmla="*/ 26 w 87"/>
                  <a:gd name="T25" fmla="*/ 70 h 151"/>
                  <a:gd name="T26" fmla="*/ 28 w 87"/>
                  <a:gd name="T27" fmla="*/ 88 h 151"/>
                  <a:gd name="T28" fmla="*/ 45 w 87"/>
                  <a:gd name="T29" fmla="*/ 93 h 151"/>
                  <a:gd name="T30" fmla="*/ 42 w 87"/>
                  <a:gd name="T31" fmla="*/ 105 h 151"/>
                  <a:gd name="T32" fmla="*/ 34 w 87"/>
                  <a:gd name="T33" fmla="*/ 103 h 151"/>
                  <a:gd name="T34" fmla="*/ 33 w 87"/>
                  <a:gd name="T35" fmla="*/ 107 h 151"/>
                  <a:gd name="T36" fmla="*/ 28 w 87"/>
                  <a:gd name="T37" fmla="*/ 122 h 151"/>
                  <a:gd name="T38" fmla="*/ 26 w 87"/>
                  <a:gd name="T39" fmla="*/ 128 h 151"/>
                  <a:gd name="T40" fmla="*/ 28 w 87"/>
                  <a:gd name="T41" fmla="*/ 128 h 151"/>
                  <a:gd name="T42" fmla="*/ 37 w 87"/>
                  <a:gd name="T43" fmla="*/ 128 h 151"/>
                  <a:gd name="T44" fmla="*/ 44 w 87"/>
                  <a:gd name="T45" fmla="*/ 134 h 151"/>
                  <a:gd name="T46" fmla="*/ 23 w 87"/>
                  <a:gd name="T47" fmla="*/ 143 h 151"/>
                  <a:gd name="T48" fmla="*/ 23 w 87"/>
                  <a:gd name="T49" fmla="*/ 151 h 151"/>
                  <a:gd name="T50" fmla="*/ 35 w 87"/>
                  <a:gd name="T51" fmla="*/ 144 h 151"/>
                  <a:gd name="T52" fmla="*/ 51 w 87"/>
                  <a:gd name="T53" fmla="*/ 141 h 151"/>
                  <a:gd name="T54" fmla="*/ 68 w 87"/>
                  <a:gd name="T55" fmla="*/ 138 h 151"/>
                  <a:gd name="T56" fmla="*/ 77 w 87"/>
                  <a:gd name="T57" fmla="*/ 137 h 151"/>
                  <a:gd name="T58" fmla="*/ 74 w 87"/>
                  <a:gd name="T59" fmla="*/ 132 h 151"/>
                  <a:gd name="T60" fmla="*/ 81 w 87"/>
                  <a:gd name="T61" fmla="*/ 128 h 151"/>
                  <a:gd name="T62" fmla="*/ 76 w 87"/>
                  <a:gd name="T63" fmla="*/ 112 h 151"/>
                  <a:gd name="T64" fmla="*/ 73 w 87"/>
                  <a:gd name="T65" fmla="*/ 111 h 151"/>
                  <a:gd name="T66" fmla="*/ 72 w 87"/>
                  <a:gd name="T67" fmla="*/ 103 h 151"/>
                  <a:gd name="T68" fmla="*/ 65 w 87"/>
                  <a:gd name="T69" fmla="*/ 96 h 151"/>
                  <a:gd name="T70" fmla="*/ 56 w 87"/>
                  <a:gd name="T71" fmla="*/ 80 h 151"/>
                  <a:gd name="T72" fmla="*/ 48 w 87"/>
                  <a:gd name="T73" fmla="*/ 71 h 151"/>
                  <a:gd name="T74" fmla="*/ 44 w 87"/>
                  <a:gd name="T75" fmla="*/ 62 h 151"/>
                  <a:gd name="T76" fmla="*/ 50 w 87"/>
                  <a:gd name="T77" fmla="*/ 52 h 151"/>
                  <a:gd name="T78" fmla="*/ 41 w 87"/>
                  <a:gd name="T79" fmla="*/ 45 h 151"/>
                  <a:gd name="T80" fmla="*/ 33 w 87"/>
                  <a:gd name="T81" fmla="*/ 48 h 151"/>
                  <a:gd name="T82" fmla="*/ 20 w 87"/>
                  <a:gd name="T83" fmla="*/ 76 h 151"/>
                  <a:gd name="T84" fmla="*/ 15 w 87"/>
                  <a:gd name="T85" fmla="*/ 76 h 151"/>
                  <a:gd name="T86" fmla="*/ 17 w 87"/>
                  <a:gd name="T87" fmla="*/ 72 h 151"/>
                  <a:gd name="T88" fmla="*/ 13 w 87"/>
                  <a:gd name="T89" fmla="*/ 70 h 151"/>
                  <a:gd name="T90" fmla="*/ 14 w 87"/>
                  <a:gd name="T91" fmla="*/ 66 h 151"/>
                  <a:gd name="T92" fmla="*/ 16 w 87"/>
                  <a:gd name="T93" fmla="*/ 62 h 151"/>
                  <a:gd name="T94" fmla="*/ 3 w 87"/>
                  <a:gd name="T95" fmla="*/ 50 h 151"/>
                  <a:gd name="T96" fmla="*/ 14 w 87"/>
                  <a:gd name="T97" fmla="*/ 57 h 151"/>
                  <a:gd name="T98" fmla="*/ 17 w 87"/>
                  <a:gd name="T99" fmla="*/ 57 h 151"/>
                  <a:gd name="T100" fmla="*/ 14 w 87"/>
                  <a:gd name="T101" fmla="*/ 46 h 151"/>
                  <a:gd name="T102" fmla="*/ 15 w 87"/>
                  <a:gd name="T103" fmla="*/ 32 h 151"/>
                  <a:gd name="T104" fmla="*/ 10 w 87"/>
                  <a:gd name="T105" fmla="*/ 40 h 151"/>
                  <a:gd name="T106" fmla="*/ 14 w 87"/>
                  <a:gd name="T107" fmla="*/ 43 h 151"/>
                  <a:gd name="T108" fmla="*/ 58 w 87"/>
                  <a:gd name="T109" fmla="*/ 9 h 151"/>
                  <a:gd name="T110" fmla="*/ 60 w 87"/>
                  <a:gd name="T111" fmla="*/ 13 h 151"/>
                  <a:gd name="T112" fmla="*/ 60 w 87"/>
                  <a:gd name="T113" fmla="*/ 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 h="151">
                    <a:moveTo>
                      <a:pt x="10" y="83"/>
                    </a:moveTo>
                    <a:cubicBezTo>
                      <a:pt x="10" y="83"/>
                      <a:pt x="4" y="85"/>
                      <a:pt x="5" y="88"/>
                    </a:cubicBezTo>
                    <a:cubicBezTo>
                      <a:pt x="6" y="91"/>
                      <a:pt x="0" y="89"/>
                      <a:pt x="1" y="92"/>
                    </a:cubicBezTo>
                    <a:cubicBezTo>
                      <a:pt x="2" y="94"/>
                      <a:pt x="0" y="94"/>
                      <a:pt x="3" y="94"/>
                    </a:cubicBezTo>
                    <a:cubicBezTo>
                      <a:pt x="6" y="94"/>
                      <a:pt x="4" y="99"/>
                      <a:pt x="6" y="97"/>
                    </a:cubicBezTo>
                    <a:cubicBezTo>
                      <a:pt x="9" y="95"/>
                      <a:pt x="9" y="96"/>
                      <a:pt x="9" y="96"/>
                    </a:cubicBezTo>
                    <a:cubicBezTo>
                      <a:pt x="10" y="98"/>
                      <a:pt x="10" y="98"/>
                      <a:pt x="10" y="98"/>
                    </a:cubicBezTo>
                    <a:cubicBezTo>
                      <a:pt x="14" y="97"/>
                      <a:pt x="14" y="97"/>
                      <a:pt x="14" y="97"/>
                    </a:cubicBezTo>
                    <a:cubicBezTo>
                      <a:pt x="14" y="97"/>
                      <a:pt x="14" y="96"/>
                      <a:pt x="14" y="96"/>
                    </a:cubicBezTo>
                    <a:cubicBezTo>
                      <a:pt x="15" y="95"/>
                      <a:pt x="19" y="96"/>
                      <a:pt x="21" y="95"/>
                    </a:cubicBezTo>
                    <a:cubicBezTo>
                      <a:pt x="19" y="92"/>
                      <a:pt x="20" y="93"/>
                      <a:pt x="19" y="88"/>
                    </a:cubicBezTo>
                    <a:cubicBezTo>
                      <a:pt x="19" y="88"/>
                      <a:pt x="17" y="89"/>
                      <a:pt x="16" y="88"/>
                    </a:cubicBezTo>
                    <a:cubicBezTo>
                      <a:pt x="17" y="87"/>
                      <a:pt x="18" y="86"/>
                      <a:pt x="18" y="84"/>
                    </a:cubicBezTo>
                    <a:cubicBezTo>
                      <a:pt x="13" y="81"/>
                      <a:pt x="14" y="84"/>
                      <a:pt x="9" y="86"/>
                    </a:cubicBezTo>
                    <a:cubicBezTo>
                      <a:pt x="7" y="86"/>
                      <a:pt x="8" y="85"/>
                      <a:pt x="10" y="84"/>
                    </a:cubicBezTo>
                    <a:lnTo>
                      <a:pt x="10" y="83"/>
                    </a:lnTo>
                    <a:close/>
                    <a:moveTo>
                      <a:pt x="33" y="48"/>
                    </a:moveTo>
                    <a:cubicBezTo>
                      <a:pt x="34" y="48"/>
                      <a:pt x="32" y="45"/>
                      <a:pt x="33" y="43"/>
                    </a:cubicBezTo>
                    <a:cubicBezTo>
                      <a:pt x="33" y="42"/>
                      <a:pt x="35" y="42"/>
                      <a:pt x="36" y="41"/>
                    </a:cubicBezTo>
                    <a:cubicBezTo>
                      <a:pt x="37" y="41"/>
                      <a:pt x="37" y="41"/>
                      <a:pt x="37" y="41"/>
                    </a:cubicBezTo>
                    <a:cubicBezTo>
                      <a:pt x="37" y="40"/>
                      <a:pt x="38" y="39"/>
                      <a:pt x="38" y="38"/>
                    </a:cubicBezTo>
                    <a:cubicBezTo>
                      <a:pt x="39" y="37"/>
                      <a:pt x="41" y="37"/>
                      <a:pt x="41" y="36"/>
                    </a:cubicBezTo>
                    <a:cubicBezTo>
                      <a:pt x="43" y="32"/>
                      <a:pt x="39" y="29"/>
                      <a:pt x="35" y="30"/>
                    </a:cubicBezTo>
                    <a:cubicBezTo>
                      <a:pt x="32" y="32"/>
                      <a:pt x="32" y="32"/>
                      <a:pt x="32" y="32"/>
                    </a:cubicBezTo>
                    <a:cubicBezTo>
                      <a:pt x="32" y="32"/>
                      <a:pt x="32" y="32"/>
                      <a:pt x="32" y="32"/>
                    </a:cubicBezTo>
                    <a:cubicBezTo>
                      <a:pt x="31" y="32"/>
                      <a:pt x="31" y="32"/>
                      <a:pt x="31" y="32"/>
                    </a:cubicBezTo>
                    <a:cubicBezTo>
                      <a:pt x="31" y="32"/>
                      <a:pt x="31" y="34"/>
                      <a:pt x="31" y="34"/>
                    </a:cubicBezTo>
                    <a:cubicBezTo>
                      <a:pt x="28" y="35"/>
                      <a:pt x="32" y="32"/>
                      <a:pt x="30" y="31"/>
                    </a:cubicBezTo>
                    <a:cubicBezTo>
                      <a:pt x="29" y="31"/>
                      <a:pt x="28" y="31"/>
                      <a:pt x="27" y="31"/>
                    </a:cubicBezTo>
                    <a:cubicBezTo>
                      <a:pt x="27" y="33"/>
                      <a:pt x="27" y="34"/>
                      <a:pt x="27" y="36"/>
                    </a:cubicBezTo>
                    <a:cubicBezTo>
                      <a:pt x="27" y="37"/>
                      <a:pt x="24" y="39"/>
                      <a:pt x="24" y="40"/>
                    </a:cubicBezTo>
                    <a:cubicBezTo>
                      <a:pt x="24" y="40"/>
                      <a:pt x="24" y="43"/>
                      <a:pt x="24" y="42"/>
                    </a:cubicBezTo>
                    <a:cubicBezTo>
                      <a:pt x="25" y="42"/>
                      <a:pt x="23" y="43"/>
                      <a:pt x="25" y="42"/>
                    </a:cubicBezTo>
                    <a:cubicBezTo>
                      <a:pt x="25" y="43"/>
                      <a:pt x="24" y="44"/>
                      <a:pt x="24" y="44"/>
                    </a:cubicBezTo>
                    <a:cubicBezTo>
                      <a:pt x="23" y="44"/>
                      <a:pt x="22" y="44"/>
                      <a:pt x="20" y="44"/>
                    </a:cubicBezTo>
                    <a:cubicBezTo>
                      <a:pt x="21" y="45"/>
                      <a:pt x="20" y="45"/>
                      <a:pt x="20" y="46"/>
                    </a:cubicBezTo>
                    <a:cubicBezTo>
                      <a:pt x="21" y="45"/>
                      <a:pt x="21" y="47"/>
                      <a:pt x="21" y="48"/>
                    </a:cubicBezTo>
                    <a:cubicBezTo>
                      <a:pt x="20" y="48"/>
                      <a:pt x="19" y="48"/>
                      <a:pt x="18" y="48"/>
                    </a:cubicBezTo>
                    <a:cubicBezTo>
                      <a:pt x="20" y="50"/>
                      <a:pt x="23" y="53"/>
                      <a:pt x="19" y="54"/>
                    </a:cubicBezTo>
                    <a:cubicBezTo>
                      <a:pt x="18" y="55"/>
                      <a:pt x="22" y="58"/>
                      <a:pt x="21" y="58"/>
                    </a:cubicBezTo>
                    <a:cubicBezTo>
                      <a:pt x="20" y="57"/>
                      <a:pt x="19" y="62"/>
                      <a:pt x="19" y="63"/>
                    </a:cubicBezTo>
                    <a:cubicBezTo>
                      <a:pt x="19" y="64"/>
                      <a:pt x="19" y="64"/>
                      <a:pt x="19" y="64"/>
                    </a:cubicBezTo>
                    <a:cubicBezTo>
                      <a:pt x="20" y="64"/>
                      <a:pt x="25" y="63"/>
                      <a:pt x="24" y="64"/>
                    </a:cubicBezTo>
                    <a:cubicBezTo>
                      <a:pt x="25" y="63"/>
                      <a:pt x="24" y="65"/>
                      <a:pt x="24" y="66"/>
                    </a:cubicBezTo>
                    <a:cubicBezTo>
                      <a:pt x="24" y="66"/>
                      <a:pt x="22" y="66"/>
                      <a:pt x="22" y="66"/>
                    </a:cubicBezTo>
                    <a:cubicBezTo>
                      <a:pt x="22" y="66"/>
                      <a:pt x="19" y="68"/>
                      <a:pt x="21" y="68"/>
                    </a:cubicBezTo>
                    <a:cubicBezTo>
                      <a:pt x="21" y="68"/>
                      <a:pt x="21" y="70"/>
                      <a:pt x="21" y="70"/>
                    </a:cubicBezTo>
                    <a:cubicBezTo>
                      <a:pt x="20" y="69"/>
                      <a:pt x="20" y="73"/>
                      <a:pt x="20" y="74"/>
                    </a:cubicBezTo>
                    <a:cubicBezTo>
                      <a:pt x="21" y="73"/>
                      <a:pt x="21" y="72"/>
                      <a:pt x="22" y="71"/>
                    </a:cubicBezTo>
                    <a:cubicBezTo>
                      <a:pt x="22" y="71"/>
                      <a:pt x="23" y="70"/>
                      <a:pt x="24" y="70"/>
                    </a:cubicBezTo>
                    <a:cubicBezTo>
                      <a:pt x="24" y="70"/>
                      <a:pt x="23" y="72"/>
                      <a:pt x="25" y="71"/>
                    </a:cubicBezTo>
                    <a:cubicBezTo>
                      <a:pt x="25" y="71"/>
                      <a:pt x="25" y="70"/>
                      <a:pt x="26" y="70"/>
                    </a:cubicBezTo>
                    <a:cubicBezTo>
                      <a:pt x="26" y="70"/>
                      <a:pt x="28" y="74"/>
                      <a:pt x="26" y="73"/>
                    </a:cubicBezTo>
                    <a:cubicBezTo>
                      <a:pt x="27" y="79"/>
                      <a:pt x="26" y="80"/>
                      <a:pt x="24" y="86"/>
                    </a:cubicBezTo>
                    <a:cubicBezTo>
                      <a:pt x="25" y="87"/>
                      <a:pt x="25" y="86"/>
                      <a:pt x="26" y="86"/>
                    </a:cubicBezTo>
                    <a:cubicBezTo>
                      <a:pt x="27" y="86"/>
                      <a:pt x="27" y="88"/>
                      <a:pt x="28" y="88"/>
                    </a:cubicBezTo>
                    <a:cubicBezTo>
                      <a:pt x="28" y="88"/>
                      <a:pt x="29" y="89"/>
                      <a:pt x="29" y="89"/>
                    </a:cubicBezTo>
                    <a:cubicBezTo>
                      <a:pt x="30" y="88"/>
                      <a:pt x="29" y="87"/>
                      <a:pt x="30" y="86"/>
                    </a:cubicBezTo>
                    <a:cubicBezTo>
                      <a:pt x="33" y="89"/>
                      <a:pt x="40" y="84"/>
                      <a:pt x="42" y="86"/>
                    </a:cubicBezTo>
                    <a:cubicBezTo>
                      <a:pt x="35" y="92"/>
                      <a:pt x="38" y="93"/>
                      <a:pt x="45" y="93"/>
                    </a:cubicBezTo>
                    <a:cubicBezTo>
                      <a:pt x="45" y="96"/>
                      <a:pt x="45" y="97"/>
                      <a:pt x="45" y="99"/>
                    </a:cubicBezTo>
                    <a:cubicBezTo>
                      <a:pt x="45" y="99"/>
                      <a:pt x="43" y="101"/>
                      <a:pt x="43" y="102"/>
                    </a:cubicBezTo>
                    <a:cubicBezTo>
                      <a:pt x="43" y="103"/>
                      <a:pt x="44" y="104"/>
                      <a:pt x="44" y="105"/>
                    </a:cubicBezTo>
                    <a:cubicBezTo>
                      <a:pt x="43" y="105"/>
                      <a:pt x="42" y="105"/>
                      <a:pt x="42" y="105"/>
                    </a:cubicBezTo>
                    <a:cubicBezTo>
                      <a:pt x="42" y="106"/>
                      <a:pt x="42" y="106"/>
                      <a:pt x="42" y="106"/>
                    </a:cubicBezTo>
                    <a:cubicBezTo>
                      <a:pt x="35" y="106"/>
                      <a:pt x="35" y="106"/>
                      <a:pt x="35" y="106"/>
                    </a:cubicBezTo>
                    <a:cubicBezTo>
                      <a:pt x="35" y="106"/>
                      <a:pt x="35" y="105"/>
                      <a:pt x="34" y="105"/>
                    </a:cubicBezTo>
                    <a:cubicBezTo>
                      <a:pt x="34" y="105"/>
                      <a:pt x="34" y="103"/>
                      <a:pt x="34" y="103"/>
                    </a:cubicBezTo>
                    <a:cubicBezTo>
                      <a:pt x="33" y="102"/>
                      <a:pt x="31" y="103"/>
                      <a:pt x="30" y="102"/>
                    </a:cubicBezTo>
                    <a:cubicBezTo>
                      <a:pt x="30" y="103"/>
                      <a:pt x="30" y="104"/>
                      <a:pt x="29" y="104"/>
                    </a:cubicBezTo>
                    <a:cubicBezTo>
                      <a:pt x="29" y="104"/>
                      <a:pt x="30" y="107"/>
                      <a:pt x="30" y="107"/>
                    </a:cubicBezTo>
                    <a:cubicBezTo>
                      <a:pt x="31" y="107"/>
                      <a:pt x="32" y="107"/>
                      <a:pt x="33" y="107"/>
                    </a:cubicBezTo>
                    <a:cubicBezTo>
                      <a:pt x="32" y="108"/>
                      <a:pt x="28" y="113"/>
                      <a:pt x="26" y="114"/>
                    </a:cubicBezTo>
                    <a:cubicBezTo>
                      <a:pt x="24" y="114"/>
                      <a:pt x="31" y="113"/>
                      <a:pt x="32" y="113"/>
                    </a:cubicBezTo>
                    <a:cubicBezTo>
                      <a:pt x="32" y="120"/>
                      <a:pt x="33" y="117"/>
                      <a:pt x="29" y="120"/>
                    </a:cubicBezTo>
                    <a:cubicBezTo>
                      <a:pt x="29" y="120"/>
                      <a:pt x="29" y="122"/>
                      <a:pt x="28" y="122"/>
                    </a:cubicBezTo>
                    <a:cubicBezTo>
                      <a:pt x="27" y="123"/>
                      <a:pt x="25" y="123"/>
                      <a:pt x="23" y="124"/>
                    </a:cubicBezTo>
                    <a:cubicBezTo>
                      <a:pt x="23" y="126"/>
                      <a:pt x="23" y="125"/>
                      <a:pt x="24" y="127"/>
                    </a:cubicBezTo>
                    <a:cubicBezTo>
                      <a:pt x="22" y="127"/>
                      <a:pt x="23" y="128"/>
                      <a:pt x="23" y="128"/>
                    </a:cubicBezTo>
                    <a:cubicBezTo>
                      <a:pt x="23" y="128"/>
                      <a:pt x="25" y="128"/>
                      <a:pt x="26" y="128"/>
                    </a:cubicBezTo>
                    <a:cubicBezTo>
                      <a:pt x="26" y="128"/>
                      <a:pt x="23" y="131"/>
                      <a:pt x="26" y="130"/>
                    </a:cubicBezTo>
                    <a:cubicBezTo>
                      <a:pt x="28" y="130"/>
                      <a:pt x="26" y="130"/>
                      <a:pt x="28" y="130"/>
                    </a:cubicBezTo>
                    <a:cubicBezTo>
                      <a:pt x="28" y="129"/>
                      <a:pt x="28" y="129"/>
                      <a:pt x="28" y="129"/>
                    </a:cubicBezTo>
                    <a:cubicBezTo>
                      <a:pt x="29" y="128"/>
                      <a:pt x="28" y="129"/>
                      <a:pt x="28" y="128"/>
                    </a:cubicBezTo>
                    <a:cubicBezTo>
                      <a:pt x="29" y="128"/>
                      <a:pt x="30" y="128"/>
                      <a:pt x="31" y="128"/>
                    </a:cubicBezTo>
                    <a:cubicBezTo>
                      <a:pt x="31" y="128"/>
                      <a:pt x="31" y="130"/>
                      <a:pt x="31" y="130"/>
                    </a:cubicBezTo>
                    <a:cubicBezTo>
                      <a:pt x="29" y="129"/>
                      <a:pt x="31" y="132"/>
                      <a:pt x="34" y="131"/>
                    </a:cubicBezTo>
                    <a:cubicBezTo>
                      <a:pt x="34" y="131"/>
                      <a:pt x="36" y="129"/>
                      <a:pt x="37" y="128"/>
                    </a:cubicBezTo>
                    <a:cubicBezTo>
                      <a:pt x="35" y="127"/>
                      <a:pt x="39" y="128"/>
                      <a:pt x="38" y="129"/>
                    </a:cubicBezTo>
                    <a:cubicBezTo>
                      <a:pt x="39" y="129"/>
                      <a:pt x="40" y="130"/>
                      <a:pt x="41" y="131"/>
                    </a:cubicBezTo>
                    <a:cubicBezTo>
                      <a:pt x="42" y="130"/>
                      <a:pt x="41" y="129"/>
                      <a:pt x="42" y="128"/>
                    </a:cubicBezTo>
                    <a:cubicBezTo>
                      <a:pt x="49" y="127"/>
                      <a:pt x="46" y="127"/>
                      <a:pt x="44" y="134"/>
                    </a:cubicBezTo>
                    <a:cubicBezTo>
                      <a:pt x="40" y="134"/>
                      <a:pt x="32" y="132"/>
                      <a:pt x="30" y="133"/>
                    </a:cubicBezTo>
                    <a:cubicBezTo>
                      <a:pt x="30" y="134"/>
                      <a:pt x="30" y="134"/>
                      <a:pt x="30" y="134"/>
                    </a:cubicBezTo>
                    <a:cubicBezTo>
                      <a:pt x="28" y="135"/>
                      <a:pt x="28" y="138"/>
                      <a:pt x="26" y="140"/>
                    </a:cubicBezTo>
                    <a:cubicBezTo>
                      <a:pt x="26" y="141"/>
                      <a:pt x="24" y="142"/>
                      <a:pt x="23" y="143"/>
                    </a:cubicBezTo>
                    <a:cubicBezTo>
                      <a:pt x="22" y="144"/>
                      <a:pt x="23" y="145"/>
                      <a:pt x="22" y="146"/>
                    </a:cubicBezTo>
                    <a:cubicBezTo>
                      <a:pt x="20" y="147"/>
                      <a:pt x="18" y="147"/>
                      <a:pt x="17" y="147"/>
                    </a:cubicBezTo>
                    <a:cubicBezTo>
                      <a:pt x="17" y="148"/>
                      <a:pt x="17" y="149"/>
                      <a:pt x="17" y="149"/>
                    </a:cubicBezTo>
                    <a:cubicBezTo>
                      <a:pt x="21" y="151"/>
                      <a:pt x="20" y="150"/>
                      <a:pt x="23" y="151"/>
                    </a:cubicBezTo>
                    <a:cubicBezTo>
                      <a:pt x="24" y="150"/>
                      <a:pt x="25" y="148"/>
                      <a:pt x="26" y="146"/>
                    </a:cubicBezTo>
                    <a:cubicBezTo>
                      <a:pt x="26" y="146"/>
                      <a:pt x="27" y="147"/>
                      <a:pt x="27" y="147"/>
                    </a:cubicBezTo>
                    <a:cubicBezTo>
                      <a:pt x="28" y="146"/>
                      <a:pt x="27" y="146"/>
                      <a:pt x="28" y="145"/>
                    </a:cubicBezTo>
                    <a:cubicBezTo>
                      <a:pt x="30" y="144"/>
                      <a:pt x="32" y="144"/>
                      <a:pt x="35" y="144"/>
                    </a:cubicBezTo>
                    <a:cubicBezTo>
                      <a:pt x="35" y="145"/>
                      <a:pt x="35" y="146"/>
                      <a:pt x="36" y="146"/>
                    </a:cubicBezTo>
                    <a:cubicBezTo>
                      <a:pt x="38" y="145"/>
                      <a:pt x="40" y="141"/>
                      <a:pt x="43" y="141"/>
                    </a:cubicBezTo>
                    <a:cubicBezTo>
                      <a:pt x="46" y="140"/>
                      <a:pt x="48" y="143"/>
                      <a:pt x="51" y="143"/>
                    </a:cubicBezTo>
                    <a:cubicBezTo>
                      <a:pt x="51" y="143"/>
                      <a:pt x="51" y="141"/>
                      <a:pt x="51" y="141"/>
                    </a:cubicBezTo>
                    <a:cubicBezTo>
                      <a:pt x="52" y="140"/>
                      <a:pt x="53" y="140"/>
                      <a:pt x="54" y="140"/>
                    </a:cubicBezTo>
                    <a:cubicBezTo>
                      <a:pt x="54" y="139"/>
                      <a:pt x="54" y="139"/>
                      <a:pt x="54" y="139"/>
                    </a:cubicBezTo>
                    <a:cubicBezTo>
                      <a:pt x="58" y="138"/>
                      <a:pt x="57" y="140"/>
                      <a:pt x="60" y="140"/>
                    </a:cubicBezTo>
                    <a:cubicBezTo>
                      <a:pt x="62" y="140"/>
                      <a:pt x="65" y="138"/>
                      <a:pt x="68" y="138"/>
                    </a:cubicBezTo>
                    <a:cubicBezTo>
                      <a:pt x="70" y="138"/>
                      <a:pt x="71" y="141"/>
                      <a:pt x="72" y="141"/>
                    </a:cubicBezTo>
                    <a:cubicBezTo>
                      <a:pt x="73" y="139"/>
                      <a:pt x="73" y="139"/>
                      <a:pt x="73" y="139"/>
                    </a:cubicBezTo>
                    <a:cubicBezTo>
                      <a:pt x="74" y="139"/>
                      <a:pt x="75" y="139"/>
                      <a:pt x="76" y="139"/>
                    </a:cubicBezTo>
                    <a:cubicBezTo>
                      <a:pt x="76" y="139"/>
                      <a:pt x="76" y="137"/>
                      <a:pt x="77" y="137"/>
                    </a:cubicBezTo>
                    <a:cubicBezTo>
                      <a:pt x="78" y="136"/>
                      <a:pt x="78" y="136"/>
                      <a:pt x="80" y="136"/>
                    </a:cubicBezTo>
                    <a:cubicBezTo>
                      <a:pt x="80" y="136"/>
                      <a:pt x="79" y="134"/>
                      <a:pt x="80" y="134"/>
                    </a:cubicBezTo>
                    <a:cubicBezTo>
                      <a:pt x="83" y="133"/>
                      <a:pt x="75" y="133"/>
                      <a:pt x="74" y="134"/>
                    </a:cubicBezTo>
                    <a:cubicBezTo>
                      <a:pt x="74" y="133"/>
                      <a:pt x="73" y="132"/>
                      <a:pt x="74" y="132"/>
                    </a:cubicBezTo>
                    <a:cubicBezTo>
                      <a:pt x="74" y="132"/>
                      <a:pt x="73" y="130"/>
                      <a:pt x="73" y="130"/>
                    </a:cubicBezTo>
                    <a:cubicBezTo>
                      <a:pt x="74" y="129"/>
                      <a:pt x="75" y="130"/>
                      <a:pt x="76" y="130"/>
                    </a:cubicBezTo>
                    <a:cubicBezTo>
                      <a:pt x="76" y="128"/>
                      <a:pt x="76" y="128"/>
                      <a:pt x="76" y="128"/>
                    </a:cubicBezTo>
                    <a:cubicBezTo>
                      <a:pt x="77" y="128"/>
                      <a:pt x="80" y="128"/>
                      <a:pt x="81" y="128"/>
                    </a:cubicBezTo>
                    <a:cubicBezTo>
                      <a:pt x="81" y="127"/>
                      <a:pt x="81" y="126"/>
                      <a:pt x="81" y="126"/>
                    </a:cubicBezTo>
                    <a:cubicBezTo>
                      <a:pt x="82" y="126"/>
                      <a:pt x="82" y="126"/>
                      <a:pt x="82" y="126"/>
                    </a:cubicBezTo>
                    <a:cubicBezTo>
                      <a:pt x="84" y="123"/>
                      <a:pt x="87" y="115"/>
                      <a:pt x="83" y="113"/>
                    </a:cubicBezTo>
                    <a:cubicBezTo>
                      <a:pt x="81" y="112"/>
                      <a:pt x="78" y="112"/>
                      <a:pt x="76" y="112"/>
                    </a:cubicBezTo>
                    <a:cubicBezTo>
                      <a:pt x="75" y="112"/>
                      <a:pt x="74" y="114"/>
                      <a:pt x="75" y="114"/>
                    </a:cubicBezTo>
                    <a:cubicBezTo>
                      <a:pt x="76" y="114"/>
                      <a:pt x="73" y="116"/>
                      <a:pt x="73" y="116"/>
                    </a:cubicBezTo>
                    <a:cubicBezTo>
                      <a:pt x="73" y="116"/>
                      <a:pt x="72" y="114"/>
                      <a:pt x="72" y="112"/>
                    </a:cubicBezTo>
                    <a:cubicBezTo>
                      <a:pt x="72" y="112"/>
                      <a:pt x="72" y="111"/>
                      <a:pt x="73" y="111"/>
                    </a:cubicBezTo>
                    <a:cubicBezTo>
                      <a:pt x="73" y="110"/>
                      <a:pt x="72" y="107"/>
                      <a:pt x="72" y="107"/>
                    </a:cubicBezTo>
                    <a:cubicBezTo>
                      <a:pt x="70" y="105"/>
                      <a:pt x="69" y="103"/>
                      <a:pt x="67" y="100"/>
                    </a:cubicBezTo>
                    <a:cubicBezTo>
                      <a:pt x="70" y="103"/>
                      <a:pt x="70" y="103"/>
                      <a:pt x="70" y="103"/>
                    </a:cubicBezTo>
                    <a:cubicBezTo>
                      <a:pt x="71" y="103"/>
                      <a:pt x="72" y="103"/>
                      <a:pt x="72" y="103"/>
                    </a:cubicBezTo>
                    <a:cubicBezTo>
                      <a:pt x="72" y="102"/>
                      <a:pt x="72" y="102"/>
                      <a:pt x="72" y="101"/>
                    </a:cubicBezTo>
                    <a:cubicBezTo>
                      <a:pt x="72" y="101"/>
                      <a:pt x="72" y="101"/>
                      <a:pt x="72" y="101"/>
                    </a:cubicBezTo>
                    <a:cubicBezTo>
                      <a:pt x="70" y="100"/>
                      <a:pt x="69" y="97"/>
                      <a:pt x="68" y="96"/>
                    </a:cubicBezTo>
                    <a:cubicBezTo>
                      <a:pt x="67" y="96"/>
                      <a:pt x="66" y="96"/>
                      <a:pt x="65" y="96"/>
                    </a:cubicBezTo>
                    <a:cubicBezTo>
                      <a:pt x="63" y="94"/>
                      <a:pt x="63" y="91"/>
                      <a:pt x="62" y="90"/>
                    </a:cubicBezTo>
                    <a:cubicBezTo>
                      <a:pt x="61" y="89"/>
                      <a:pt x="60" y="90"/>
                      <a:pt x="60" y="90"/>
                    </a:cubicBezTo>
                    <a:cubicBezTo>
                      <a:pt x="59" y="89"/>
                      <a:pt x="56" y="86"/>
                      <a:pt x="56" y="86"/>
                    </a:cubicBezTo>
                    <a:cubicBezTo>
                      <a:pt x="56" y="84"/>
                      <a:pt x="56" y="82"/>
                      <a:pt x="56" y="80"/>
                    </a:cubicBezTo>
                    <a:cubicBezTo>
                      <a:pt x="55" y="80"/>
                      <a:pt x="54" y="80"/>
                      <a:pt x="54" y="80"/>
                    </a:cubicBezTo>
                    <a:cubicBezTo>
                      <a:pt x="53" y="79"/>
                      <a:pt x="54" y="78"/>
                      <a:pt x="54" y="78"/>
                    </a:cubicBezTo>
                    <a:cubicBezTo>
                      <a:pt x="53" y="76"/>
                      <a:pt x="49" y="75"/>
                      <a:pt x="49" y="74"/>
                    </a:cubicBezTo>
                    <a:cubicBezTo>
                      <a:pt x="48" y="73"/>
                      <a:pt x="49" y="72"/>
                      <a:pt x="48" y="71"/>
                    </a:cubicBezTo>
                    <a:cubicBezTo>
                      <a:pt x="46" y="71"/>
                      <a:pt x="44" y="71"/>
                      <a:pt x="43" y="71"/>
                    </a:cubicBezTo>
                    <a:cubicBezTo>
                      <a:pt x="44" y="71"/>
                      <a:pt x="44" y="69"/>
                      <a:pt x="45" y="68"/>
                    </a:cubicBezTo>
                    <a:cubicBezTo>
                      <a:pt x="46" y="68"/>
                      <a:pt x="46" y="69"/>
                      <a:pt x="47" y="68"/>
                    </a:cubicBezTo>
                    <a:cubicBezTo>
                      <a:pt x="46" y="65"/>
                      <a:pt x="46" y="65"/>
                      <a:pt x="44" y="62"/>
                    </a:cubicBezTo>
                    <a:cubicBezTo>
                      <a:pt x="46" y="62"/>
                      <a:pt x="46" y="62"/>
                      <a:pt x="46" y="62"/>
                    </a:cubicBezTo>
                    <a:cubicBezTo>
                      <a:pt x="46" y="62"/>
                      <a:pt x="46" y="60"/>
                      <a:pt x="46" y="60"/>
                    </a:cubicBezTo>
                    <a:cubicBezTo>
                      <a:pt x="47" y="59"/>
                      <a:pt x="50" y="58"/>
                      <a:pt x="50" y="56"/>
                    </a:cubicBezTo>
                    <a:cubicBezTo>
                      <a:pt x="51" y="55"/>
                      <a:pt x="50" y="54"/>
                      <a:pt x="50" y="52"/>
                    </a:cubicBezTo>
                    <a:cubicBezTo>
                      <a:pt x="50" y="51"/>
                      <a:pt x="52" y="48"/>
                      <a:pt x="52" y="47"/>
                    </a:cubicBezTo>
                    <a:cubicBezTo>
                      <a:pt x="52" y="47"/>
                      <a:pt x="50" y="45"/>
                      <a:pt x="50" y="45"/>
                    </a:cubicBezTo>
                    <a:cubicBezTo>
                      <a:pt x="48" y="45"/>
                      <a:pt x="46" y="47"/>
                      <a:pt x="45" y="46"/>
                    </a:cubicBezTo>
                    <a:cubicBezTo>
                      <a:pt x="45" y="46"/>
                      <a:pt x="42" y="45"/>
                      <a:pt x="41" y="45"/>
                    </a:cubicBezTo>
                    <a:cubicBezTo>
                      <a:pt x="41" y="45"/>
                      <a:pt x="40" y="46"/>
                      <a:pt x="40" y="46"/>
                    </a:cubicBezTo>
                    <a:cubicBezTo>
                      <a:pt x="38" y="47"/>
                      <a:pt x="38" y="47"/>
                      <a:pt x="36" y="47"/>
                    </a:cubicBezTo>
                    <a:cubicBezTo>
                      <a:pt x="37" y="47"/>
                      <a:pt x="34" y="48"/>
                      <a:pt x="34" y="48"/>
                    </a:cubicBezTo>
                    <a:cubicBezTo>
                      <a:pt x="35" y="49"/>
                      <a:pt x="34" y="48"/>
                      <a:pt x="33" y="48"/>
                    </a:cubicBezTo>
                    <a:close/>
                    <a:moveTo>
                      <a:pt x="55" y="141"/>
                    </a:moveTo>
                    <a:cubicBezTo>
                      <a:pt x="53" y="141"/>
                      <a:pt x="56" y="142"/>
                      <a:pt x="56" y="142"/>
                    </a:cubicBezTo>
                    <a:cubicBezTo>
                      <a:pt x="56" y="142"/>
                      <a:pt x="57" y="140"/>
                      <a:pt x="55" y="141"/>
                    </a:cubicBezTo>
                    <a:close/>
                    <a:moveTo>
                      <a:pt x="20" y="76"/>
                    </a:moveTo>
                    <a:cubicBezTo>
                      <a:pt x="20" y="76"/>
                      <a:pt x="20" y="79"/>
                      <a:pt x="20" y="80"/>
                    </a:cubicBezTo>
                    <a:cubicBezTo>
                      <a:pt x="21" y="80"/>
                      <a:pt x="21" y="80"/>
                      <a:pt x="21" y="80"/>
                    </a:cubicBezTo>
                    <a:cubicBezTo>
                      <a:pt x="21" y="79"/>
                      <a:pt x="21" y="76"/>
                      <a:pt x="20" y="76"/>
                    </a:cubicBezTo>
                    <a:close/>
                    <a:moveTo>
                      <a:pt x="15" y="76"/>
                    </a:moveTo>
                    <a:cubicBezTo>
                      <a:pt x="16" y="78"/>
                      <a:pt x="16" y="78"/>
                      <a:pt x="16" y="78"/>
                    </a:cubicBezTo>
                    <a:cubicBezTo>
                      <a:pt x="15" y="77"/>
                      <a:pt x="16" y="76"/>
                      <a:pt x="15" y="76"/>
                    </a:cubicBezTo>
                    <a:close/>
                    <a:moveTo>
                      <a:pt x="18" y="68"/>
                    </a:moveTo>
                    <a:cubicBezTo>
                      <a:pt x="17" y="69"/>
                      <a:pt x="17" y="72"/>
                      <a:pt x="17" y="72"/>
                    </a:cubicBezTo>
                    <a:cubicBezTo>
                      <a:pt x="17" y="72"/>
                      <a:pt x="17" y="73"/>
                      <a:pt x="18" y="72"/>
                    </a:cubicBezTo>
                    <a:cubicBezTo>
                      <a:pt x="19" y="72"/>
                      <a:pt x="19" y="67"/>
                      <a:pt x="18" y="68"/>
                    </a:cubicBezTo>
                    <a:close/>
                    <a:moveTo>
                      <a:pt x="12" y="68"/>
                    </a:moveTo>
                    <a:cubicBezTo>
                      <a:pt x="13" y="70"/>
                      <a:pt x="13" y="70"/>
                      <a:pt x="13" y="70"/>
                    </a:cubicBezTo>
                    <a:cubicBezTo>
                      <a:pt x="13" y="69"/>
                      <a:pt x="14" y="68"/>
                      <a:pt x="12" y="68"/>
                    </a:cubicBezTo>
                    <a:close/>
                    <a:moveTo>
                      <a:pt x="14" y="62"/>
                    </a:moveTo>
                    <a:cubicBezTo>
                      <a:pt x="14" y="64"/>
                      <a:pt x="14" y="64"/>
                      <a:pt x="14" y="64"/>
                    </a:cubicBezTo>
                    <a:cubicBezTo>
                      <a:pt x="15" y="63"/>
                      <a:pt x="14" y="66"/>
                      <a:pt x="14" y="66"/>
                    </a:cubicBezTo>
                    <a:cubicBezTo>
                      <a:pt x="11" y="66"/>
                      <a:pt x="15" y="67"/>
                      <a:pt x="16" y="68"/>
                    </a:cubicBezTo>
                    <a:cubicBezTo>
                      <a:pt x="16" y="67"/>
                      <a:pt x="16" y="67"/>
                      <a:pt x="16" y="67"/>
                    </a:cubicBezTo>
                    <a:cubicBezTo>
                      <a:pt x="18" y="66"/>
                      <a:pt x="17" y="65"/>
                      <a:pt x="18" y="64"/>
                    </a:cubicBezTo>
                    <a:cubicBezTo>
                      <a:pt x="17" y="64"/>
                      <a:pt x="16" y="63"/>
                      <a:pt x="16" y="62"/>
                    </a:cubicBezTo>
                    <a:cubicBezTo>
                      <a:pt x="15" y="62"/>
                      <a:pt x="14" y="63"/>
                      <a:pt x="14" y="62"/>
                    </a:cubicBezTo>
                    <a:close/>
                    <a:moveTo>
                      <a:pt x="3" y="50"/>
                    </a:moveTo>
                    <a:cubicBezTo>
                      <a:pt x="4" y="53"/>
                      <a:pt x="4" y="53"/>
                      <a:pt x="4" y="53"/>
                    </a:cubicBezTo>
                    <a:cubicBezTo>
                      <a:pt x="5" y="53"/>
                      <a:pt x="7" y="49"/>
                      <a:pt x="3" y="50"/>
                    </a:cubicBezTo>
                    <a:close/>
                    <a:moveTo>
                      <a:pt x="14" y="46"/>
                    </a:moveTo>
                    <a:cubicBezTo>
                      <a:pt x="14" y="46"/>
                      <a:pt x="14" y="48"/>
                      <a:pt x="14" y="48"/>
                    </a:cubicBezTo>
                    <a:cubicBezTo>
                      <a:pt x="14" y="48"/>
                      <a:pt x="12" y="48"/>
                      <a:pt x="12" y="48"/>
                    </a:cubicBezTo>
                    <a:cubicBezTo>
                      <a:pt x="13" y="52"/>
                      <a:pt x="13" y="54"/>
                      <a:pt x="14" y="57"/>
                    </a:cubicBezTo>
                    <a:cubicBezTo>
                      <a:pt x="16" y="57"/>
                      <a:pt x="16" y="57"/>
                      <a:pt x="16" y="57"/>
                    </a:cubicBezTo>
                    <a:cubicBezTo>
                      <a:pt x="16" y="57"/>
                      <a:pt x="16" y="59"/>
                      <a:pt x="16" y="59"/>
                    </a:cubicBezTo>
                    <a:cubicBezTo>
                      <a:pt x="17" y="59"/>
                      <a:pt x="17" y="59"/>
                      <a:pt x="17" y="59"/>
                    </a:cubicBezTo>
                    <a:cubicBezTo>
                      <a:pt x="17" y="59"/>
                      <a:pt x="17" y="57"/>
                      <a:pt x="17" y="57"/>
                    </a:cubicBezTo>
                    <a:cubicBezTo>
                      <a:pt x="18" y="58"/>
                      <a:pt x="18" y="55"/>
                      <a:pt x="18" y="55"/>
                    </a:cubicBezTo>
                    <a:cubicBezTo>
                      <a:pt x="17" y="55"/>
                      <a:pt x="16" y="55"/>
                      <a:pt x="15" y="54"/>
                    </a:cubicBezTo>
                    <a:cubicBezTo>
                      <a:pt x="14" y="50"/>
                      <a:pt x="15" y="53"/>
                      <a:pt x="15" y="48"/>
                    </a:cubicBezTo>
                    <a:cubicBezTo>
                      <a:pt x="15" y="48"/>
                      <a:pt x="15" y="46"/>
                      <a:pt x="14" y="46"/>
                    </a:cubicBezTo>
                    <a:close/>
                    <a:moveTo>
                      <a:pt x="4" y="46"/>
                    </a:moveTo>
                    <a:cubicBezTo>
                      <a:pt x="4" y="48"/>
                      <a:pt x="4" y="48"/>
                      <a:pt x="4" y="48"/>
                    </a:cubicBezTo>
                    <a:cubicBezTo>
                      <a:pt x="8" y="47"/>
                      <a:pt x="7" y="47"/>
                      <a:pt x="4" y="46"/>
                    </a:cubicBezTo>
                    <a:close/>
                    <a:moveTo>
                      <a:pt x="15" y="32"/>
                    </a:moveTo>
                    <a:cubicBezTo>
                      <a:pt x="11" y="34"/>
                      <a:pt x="11" y="34"/>
                      <a:pt x="11" y="34"/>
                    </a:cubicBezTo>
                    <a:cubicBezTo>
                      <a:pt x="10" y="35"/>
                      <a:pt x="11" y="36"/>
                      <a:pt x="10" y="37"/>
                    </a:cubicBezTo>
                    <a:cubicBezTo>
                      <a:pt x="10" y="37"/>
                      <a:pt x="9" y="36"/>
                      <a:pt x="9" y="36"/>
                    </a:cubicBezTo>
                    <a:cubicBezTo>
                      <a:pt x="9" y="38"/>
                      <a:pt x="11" y="40"/>
                      <a:pt x="10" y="40"/>
                    </a:cubicBezTo>
                    <a:cubicBezTo>
                      <a:pt x="8" y="42"/>
                      <a:pt x="9" y="42"/>
                      <a:pt x="8" y="46"/>
                    </a:cubicBezTo>
                    <a:cubicBezTo>
                      <a:pt x="9" y="45"/>
                      <a:pt x="10" y="44"/>
                      <a:pt x="11" y="44"/>
                    </a:cubicBezTo>
                    <a:cubicBezTo>
                      <a:pt x="11" y="43"/>
                      <a:pt x="11" y="43"/>
                      <a:pt x="11" y="43"/>
                    </a:cubicBezTo>
                    <a:cubicBezTo>
                      <a:pt x="11" y="43"/>
                      <a:pt x="13" y="43"/>
                      <a:pt x="14" y="43"/>
                    </a:cubicBezTo>
                    <a:cubicBezTo>
                      <a:pt x="15" y="42"/>
                      <a:pt x="14" y="40"/>
                      <a:pt x="14" y="38"/>
                    </a:cubicBezTo>
                    <a:cubicBezTo>
                      <a:pt x="15" y="37"/>
                      <a:pt x="19" y="32"/>
                      <a:pt x="15" y="32"/>
                    </a:cubicBezTo>
                    <a:close/>
                    <a:moveTo>
                      <a:pt x="60" y="5"/>
                    </a:moveTo>
                    <a:cubicBezTo>
                      <a:pt x="59" y="5"/>
                      <a:pt x="58" y="9"/>
                      <a:pt x="58" y="9"/>
                    </a:cubicBezTo>
                    <a:cubicBezTo>
                      <a:pt x="58" y="9"/>
                      <a:pt x="56" y="9"/>
                      <a:pt x="56" y="9"/>
                    </a:cubicBezTo>
                    <a:cubicBezTo>
                      <a:pt x="56" y="11"/>
                      <a:pt x="58" y="12"/>
                      <a:pt x="58" y="11"/>
                    </a:cubicBezTo>
                    <a:cubicBezTo>
                      <a:pt x="58" y="11"/>
                      <a:pt x="59" y="11"/>
                      <a:pt x="59" y="11"/>
                    </a:cubicBezTo>
                    <a:cubicBezTo>
                      <a:pt x="58" y="11"/>
                      <a:pt x="60" y="13"/>
                      <a:pt x="60" y="13"/>
                    </a:cubicBezTo>
                    <a:cubicBezTo>
                      <a:pt x="60" y="13"/>
                      <a:pt x="61" y="12"/>
                      <a:pt x="61" y="12"/>
                    </a:cubicBezTo>
                    <a:cubicBezTo>
                      <a:pt x="61" y="10"/>
                      <a:pt x="59" y="7"/>
                      <a:pt x="61" y="6"/>
                    </a:cubicBezTo>
                    <a:cubicBezTo>
                      <a:pt x="61" y="5"/>
                      <a:pt x="61" y="5"/>
                      <a:pt x="61" y="5"/>
                    </a:cubicBezTo>
                    <a:lnTo>
                      <a:pt x="60" y="5"/>
                    </a:lnTo>
                    <a:close/>
                    <a:moveTo>
                      <a:pt x="65" y="0"/>
                    </a:moveTo>
                    <a:cubicBezTo>
                      <a:pt x="66" y="1"/>
                      <a:pt x="66" y="1"/>
                      <a:pt x="66" y="1"/>
                    </a:cubicBezTo>
                    <a:cubicBezTo>
                      <a:pt x="65" y="0"/>
                      <a:pt x="66" y="0"/>
                      <a:pt x="65"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52" name="Freeform 31">
                <a:extLst>
                  <a:ext uri="{FF2B5EF4-FFF2-40B4-BE49-F238E27FC236}">
                    <a16:creationId xmlns:a16="http://schemas.microsoft.com/office/drawing/2014/main" id="{8E928032-BE54-CE58-84C4-877386160F8A}"/>
                  </a:ext>
                </a:extLst>
              </p:cNvPr>
              <p:cNvSpPr>
                <a:spLocks/>
              </p:cNvSpPr>
              <p:nvPr/>
            </p:nvSpPr>
            <p:spPr bwMode="auto">
              <a:xfrm>
                <a:off x="3978" y="1703"/>
                <a:ext cx="90" cy="63"/>
              </a:xfrm>
              <a:custGeom>
                <a:avLst/>
                <a:gdLst>
                  <a:gd name="T0" fmla="*/ 46 w 46"/>
                  <a:gd name="T1" fmla="*/ 9 h 32"/>
                  <a:gd name="T2" fmla="*/ 46 w 46"/>
                  <a:gd name="T3" fmla="*/ 4 h 32"/>
                  <a:gd name="T4" fmla="*/ 43 w 46"/>
                  <a:gd name="T5" fmla="*/ 4 h 32"/>
                  <a:gd name="T6" fmla="*/ 43 w 46"/>
                  <a:gd name="T7" fmla="*/ 1 h 32"/>
                  <a:gd name="T8" fmla="*/ 42 w 46"/>
                  <a:gd name="T9" fmla="*/ 0 h 32"/>
                  <a:gd name="T10" fmla="*/ 42 w 46"/>
                  <a:gd name="T11" fmla="*/ 1 h 32"/>
                  <a:gd name="T12" fmla="*/ 37 w 46"/>
                  <a:gd name="T13" fmla="*/ 5 h 32"/>
                  <a:gd name="T14" fmla="*/ 33 w 46"/>
                  <a:gd name="T15" fmla="*/ 12 h 32"/>
                  <a:gd name="T16" fmla="*/ 27 w 46"/>
                  <a:gd name="T17" fmla="*/ 15 h 32"/>
                  <a:gd name="T18" fmla="*/ 26 w 46"/>
                  <a:gd name="T19" fmla="*/ 16 h 32"/>
                  <a:gd name="T20" fmla="*/ 24 w 46"/>
                  <a:gd name="T21" fmla="*/ 16 h 32"/>
                  <a:gd name="T22" fmla="*/ 24 w 46"/>
                  <a:gd name="T23" fmla="*/ 18 h 32"/>
                  <a:gd name="T24" fmla="*/ 15 w 46"/>
                  <a:gd name="T25" fmla="*/ 15 h 32"/>
                  <a:gd name="T26" fmla="*/ 12 w 46"/>
                  <a:gd name="T27" fmla="*/ 18 h 32"/>
                  <a:gd name="T28" fmla="*/ 6 w 46"/>
                  <a:gd name="T29" fmla="*/ 17 h 32"/>
                  <a:gd name="T30" fmla="*/ 6 w 46"/>
                  <a:gd name="T31" fmla="*/ 15 h 32"/>
                  <a:gd name="T32" fmla="*/ 2 w 46"/>
                  <a:gd name="T33" fmla="*/ 14 h 32"/>
                  <a:gd name="T34" fmla="*/ 3 w 46"/>
                  <a:gd name="T35" fmla="*/ 10 h 32"/>
                  <a:gd name="T36" fmla="*/ 0 w 46"/>
                  <a:gd name="T37" fmla="*/ 9 h 32"/>
                  <a:gd name="T38" fmla="*/ 0 w 46"/>
                  <a:gd name="T39" fmla="*/ 13 h 32"/>
                  <a:gd name="T40" fmla="*/ 5 w 46"/>
                  <a:gd name="T41" fmla="*/ 18 h 32"/>
                  <a:gd name="T42" fmla="*/ 5 w 46"/>
                  <a:gd name="T43" fmla="*/ 27 h 32"/>
                  <a:gd name="T44" fmla="*/ 34 w 46"/>
                  <a:gd name="T45" fmla="*/ 32 h 32"/>
                  <a:gd name="T46" fmla="*/ 37 w 46"/>
                  <a:gd name="T47" fmla="*/ 31 h 32"/>
                  <a:gd name="T48" fmla="*/ 39 w 46"/>
                  <a:gd name="T49" fmla="*/ 25 h 32"/>
                  <a:gd name="T50" fmla="*/ 40 w 46"/>
                  <a:gd name="T51" fmla="*/ 18 h 32"/>
                  <a:gd name="T52" fmla="*/ 39 w 46"/>
                  <a:gd name="T53" fmla="*/ 15 h 32"/>
                  <a:gd name="T54" fmla="*/ 42 w 46"/>
                  <a:gd name="T55" fmla="*/ 13 h 32"/>
                  <a:gd name="T56" fmla="*/ 40 w 46"/>
                  <a:gd name="T57" fmla="*/ 11 h 32"/>
                  <a:gd name="T58" fmla="*/ 42 w 46"/>
                  <a:gd name="T59" fmla="*/ 9 h 32"/>
                  <a:gd name="T60" fmla="*/ 44 w 46"/>
                  <a:gd name="T61" fmla="*/ 11 h 32"/>
                  <a:gd name="T62" fmla="*/ 46 w 46"/>
                  <a:gd name="T63"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2">
                    <a:moveTo>
                      <a:pt x="46" y="9"/>
                    </a:moveTo>
                    <a:cubicBezTo>
                      <a:pt x="46" y="8"/>
                      <a:pt x="46" y="6"/>
                      <a:pt x="46" y="4"/>
                    </a:cubicBezTo>
                    <a:cubicBezTo>
                      <a:pt x="43" y="4"/>
                      <a:pt x="43" y="4"/>
                      <a:pt x="43" y="4"/>
                    </a:cubicBezTo>
                    <a:cubicBezTo>
                      <a:pt x="43" y="1"/>
                      <a:pt x="43" y="1"/>
                      <a:pt x="43" y="1"/>
                    </a:cubicBezTo>
                    <a:cubicBezTo>
                      <a:pt x="42" y="0"/>
                      <a:pt x="42" y="0"/>
                      <a:pt x="42" y="0"/>
                    </a:cubicBezTo>
                    <a:cubicBezTo>
                      <a:pt x="42" y="1"/>
                      <a:pt x="42" y="1"/>
                      <a:pt x="42" y="1"/>
                    </a:cubicBezTo>
                    <a:cubicBezTo>
                      <a:pt x="41" y="2"/>
                      <a:pt x="39" y="4"/>
                      <a:pt x="37" y="5"/>
                    </a:cubicBezTo>
                    <a:cubicBezTo>
                      <a:pt x="36" y="7"/>
                      <a:pt x="35" y="10"/>
                      <a:pt x="33" y="12"/>
                    </a:cubicBezTo>
                    <a:cubicBezTo>
                      <a:pt x="31" y="13"/>
                      <a:pt x="29" y="14"/>
                      <a:pt x="27" y="15"/>
                    </a:cubicBezTo>
                    <a:cubicBezTo>
                      <a:pt x="26" y="16"/>
                      <a:pt x="26" y="16"/>
                      <a:pt x="26" y="16"/>
                    </a:cubicBezTo>
                    <a:cubicBezTo>
                      <a:pt x="25" y="17"/>
                      <a:pt x="25" y="16"/>
                      <a:pt x="24" y="16"/>
                    </a:cubicBezTo>
                    <a:cubicBezTo>
                      <a:pt x="24" y="16"/>
                      <a:pt x="24" y="18"/>
                      <a:pt x="24" y="18"/>
                    </a:cubicBezTo>
                    <a:cubicBezTo>
                      <a:pt x="21" y="19"/>
                      <a:pt x="17" y="15"/>
                      <a:pt x="15" y="15"/>
                    </a:cubicBezTo>
                    <a:cubicBezTo>
                      <a:pt x="12" y="15"/>
                      <a:pt x="13" y="17"/>
                      <a:pt x="12" y="18"/>
                    </a:cubicBezTo>
                    <a:cubicBezTo>
                      <a:pt x="9" y="18"/>
                      <a:pt x="8" y="17"/>
                      <a:pt x="6" y="17"/>
                    </a:cubicBezTo>
                    <a:cubicBezTo>
                      <a:pt x="6" y="16"/>
                      <a:pt x="6" y="15"/>
                      <a:pt x="6" y="15"/>
                    </a:cubicBezTo>
                    <a:cubicBezTo>
                      <a:pt x="4" y="14"/>
                      <a:pt x="3" y="15"/>
                      <a:pt x="2" y="14"/>
                    </a:cubicBezTo>
                    <a:cubicBezTo>
                      <a:pt x="3" y="13"/>
                      <a:pt x="3" y="11"/>
                      <a:pt x="3" y="10"/>
                    </a:cubicBezTo>
                    <a:cubicBezTo>
                      <a:pt x="0" y="9"/>
                      <a:pt x="0" y="9"/>
                      <a:pt x="0" y="9"/>
                    </a:cubicBezTo>
                    <a:cubicBezTo>
                      <a:pt x="0" y="13"/>
                      <a:pt x="0" y="13"/>
                      <a:pt x="0" y="13"/>
                    </a:cubicBezTo>
                    <a:cubicBezTo>
                      <a:pt x="5" y="18"/>
                      <a:pt x="5" y="18"/>
                      <a:pt x="5" y="18"/>
                    </a:cubicBezTo>
                    <a:cubicBezTo>
                      <a:pt x="5" y="27"/>
                      <a:pt x="5" y="27"/>
                      <a:pt x="5" y="27"/>
                    </a:cubicBezTo>
                    <a:cubicBezTo>
                      <a:pt x="5" y="27"/>
                      <a:pt x="32" y="32"/>
                      <a:pt x="34" y="32"/>
                    </a:cubicBezTo>
                    <a:cubicBezTo>
                      <a:pt x="36" y="32"/>
                      <a:pt x="37" y="31"/>
                      <a:pt x="37" y="31"/>
                    </a:cubicBezTo>
                    <a:cubicBezTo>
                      <a:pt x="37" y="31"/>
                      <a:pt x="37" y="28"/>
                      <a:pt x="39" y="25"/>
                    </a:cubicBezTo>
                    <a:cubicBezTo>
                      <a:pt x="41" y="22"/>
                      <a:pt x="40" y="18"/>
                      <a:pt x="40" y="18"/>
                    </a:cubicBezTo>
                    <a:cubicBezTo>
                      <a:pt x="38" y="19"/>
                      <a:pt x="38" y="17"/>
                      <a:pt x="39" y="15"/>
                    </a:cubicBezTo>
                    <a:cubicBezTo>
                      <a:pt x="41" y="14"/>
                      <a:pt x="42" y="13"/>
                      <a:pt x="42" y="13"/>
                    </a:cubicBezTo>
                    <a:cubicBezTo>
                      <a:pt x="42" y="13"/>
                      <a:pt x="40" y="12"/>
                      <a:pt x="40" y="11"/>
                    </a:cubicBezTo>
                    <a:cubicBezTo>
                      <a:pt x="40" y="9"/>
                      <a:pt x="41" y="8"/>
                      <a:pt x="42" y="9"/>
                    </a:cubicBezTo>
                    <a:cubicBezTo>
                      <a:pt x="43" y="10"/>
                      <a:pt x="43" y="12"/>
                      <a:pt x="44" y="11"/>
                    </a:cubicBezTo>
                    <a:cubicBezTo>
                      <a:pt x="44" y="9"/>
                      <a:pt x="46" y="9"/>
                      <a:pt x="46" y="9"/>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53" name="Freeform 32">
                <a:extLst>
                  <a:ext uri="{FF2B5EF4-FFF2-40B4-BE49-F238E27FC236}">
                    <a16:creationId xmlns:a16="http://schemas.microsoft.com/office/drawing/2014/main" id="{38B0C02F-9868-4555-7F9D-84291DC4A030}"/>
                  </a:ext>
                </a:extLst>
              </p:cNvPr>
              <p:cNvSpPr>
                <a:spLocks/>
              </p:cNvSpPr>
              <p:nvPr/>
            </p:nvSpPr>
            <p:spPr bwMode="auto">
              <a:xfrm>
                <a:off x="3978" y="1703"/>
                <a:ext cx="90" cy="63"/>
              </a:xfrm>
              <a:custGeom>
                <a:avLst/>
                <a:gdLst>
                  <a:gd name="T0" fmla="*/ 46 w 46"/>
                  <a:gd name="T1" fmla="*/ 9 h 32"/>
                  <a:gd name="T2" fmla="*/ 46 w 46"/>
                  <a:gd name="T3" fmla="*/ 4 h 32"/>
                  <a:gd name="T4" fmla="*/ 43 w 46"/>
                  <a:gd name="T5" fmla="*/ 4 h 32"/>
                  <a:gd name="T6" fmla="*/ 43 w 46"/>
                  <a:gd name="T7" fmla="*/ 1 h 32"/>
                  <a:gd name="T8" fmla="*/ 42 w 46"/>
                  <a:gd name="T9" fmla="*/ 0 h 32"/>
                  <a:gd name="T10" fmla="*/ 42 w 46"/>
                  <a:gd name="T11" fmla="*/ 1 h 32"/>
                  <a:gd name="T12" fmla="*/ 37 w 46"/>
                  <a:gd name="T13" fmla="*/ 5 h 32"/>
                  <a:gd name="T14" fmla="*/ 33 w 46"/>
                  <a:gd name="T15" fmla="*/ 12 h 32"/>
                  <a:gd name="T16" fmla="*/ 27 w 46"/>
                  <a:gd name="T17" fmla="*/ 15 h 32"/>
                  <a:gd name="T18" fmla="*/ 26 w 46"/>
                  <a:gd name="T19" fmla="*/ 16 h 32"/>
                  <a:gd name="T20" fmla="*/ 24 w 46"/>
                  <a:gd name="T21" fmla="*/ 16 h 32"/>
                  <a:gd name="T22" fmla="*/ 24 w 46"/>
                  <a:gd name="T23" fmla="*/ 18 h 32"/>
                  <a:gd name="T24" fmla="*/ 15 w 46"/>
                  <a:gd name="T25" fmla="*/ 15 h 32"/>
                  <a:gd name="T26" fmla="*/ 12 w 46"/>
                  <a:gd name="T27" fmla="*/ 18 h 32"/>
                  <a:gd name="T28" fmla="*/ 6 w 46"/>
                  <a:gd name="T29" fmla="*/ 17 h 32"/>
                  <a:gd name="T30" fmla="*/ 6 w 46"/>
                  <a:gd name="T31" fmla="*/ 15 h 32"/>
                  <a:gd name="T32" fmla="*/ 2 w 46"/>
                  <a:gd name="T33" fmla="*/ 14 h 32"/>
                  <a:gd name="T34" fmla="*/ 3 w 46"/>
                  <a:gd name="T35" fmla="*/ 10 h 32"/>
                  <a:gd name="T36" fmla="*/ 0 w 46"/>
                  <a:gd name="T37" fmla="*/ 9 h 32"/>
                  <a:gd name="T38" fmla="*/ 0 w 46"/>
                  <a:gd name="T39" fmla="*/ 13 h 32"/>
                  <a:gd name="T40" fmla="*/ 5 w 46"/>
                  <a:gd name="T41" fmla="*/ 18 h 32"/>
                  <a:gd name="T42" fmla="*/ 5 w 46"/>
                  <a:gd name="T43" fmla="*/ 27 h 32"/>
                  <a:gd name="T44" fmla="*/ 34 w 46"/>
                  <a:gd name="T45" fmla="*/ 32 h 32"/>
                  <a:gd name="T46" fmla="*/ 37 w 46"/>
                  <a:gd name="T47" fmla="*/ 31 h 32"/>
                  <a:gd name="T48" fmla="*/ 39 w 46"/>
                  <a:gd name="T49" fmla="*/ 25 h 32"/>
                  <a:gd name="T50" fmla="*/ 40 w 46"/>
                  <a:gd name="T51" fmla="*/ 18 h 32"/>
                  <a:gd name="T52" fmla="*/ 39 w 46"/>
                  <a:gd name="T53" fmla="*/ 15 h 32"/>
                  <a:gd name="T54" fmla="*/ 42 w 46"/>
                  <a:gd name="T55" fmla="*/ 13 h 32"/>
                  <a:gd name="T56" fmla="*/ 40 w 46"/>
                  <a:gd name="T57" fmla="*/ 11 h 32"/>
                  <a:gd name="T58" fmla="*/ 42 w 46"/>
                  <a:gd name="T59" fmla="*/ 9 h 32"/>
                  <a:gd name="T60" fmla="*/ 44 w 46"/>
                  <a:gd name="T61" fmla="*/ 11 h 32"/>
                  <a:gd name="T62" fmla="*/ 46 w 46"/>
                  <a:gd name="T63"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 h="32">
                    <a:moveTo>
                      <a:pt x="46" y="9"/>
                    </a:moveTo>
                    <a:cubicBezTo>
                      <a:pt x="46" y="8"/>
                      <a:pt x="46" y="6"/>
                      <a:pt x="46" y="4"/>
                    </a:cubicBezTo>
                    <a:cubicBezTo>
                      <a:pt x="43" y="4"/>
                      <a:pt x="43" y="4"/>
                      <a:pt x="43" y="4"/>
                    </a:cubicBezTo>
                    <a:cubicBezTo>
                      <a:pt x="43" y="1"/>
                      <a:pt x="43" y="1"/>
                      <a:pt x="43" y="1"/>
                    </a:cubicBezTo>
                    <a:cubicBezTo>
                      <a:pt x="42" y="0"/>
                      <a:pt x="42" y="0"/>
                      <a:pt x="42" y="0"/>
                    </a:cubicBezTo>
                    <a:cubicBezTo>
                      <a:pt x="42" y="1"/>
                      <a:pt x="42" y="1"/>
                      <a:pt x="42" y="1"/>
                    </a:cubicBezTo>
                    <a:cubicBezTo>
                      <a:pt x="41" y="2"/>
                      <a:pt x="39" y="4"/>
                      <a:pt x="37" y="5"/>
                    </a:cubicBezTo>
                    <a:cubicBezTo>
                      <a:pt x="36" y="7"/>
                      <a:pt x="35" y="10"/>
                      <a:pt x="33" y="12"/>
                    </a:cubicBezTo>
                    <a:cubicBezTo>
                      <a:pt x="31" y="13"/>
                      <a:pt x="29" y="14"/>
                      <a:pt x="27" y="15"/>
                    </a:cubicBezTo>
                    <a:cubicBezTo>
                      <a:pt x="26" y="16"/>
                      <a:pt x="26" y="16"/>
                      <a:pt x="26" y="16"/>
                    </a:cubicBezTo>
                    <a:cubicBezTo>
                      <a:pt x="25" y="17"/>
                      <a:pt x="25" y="16"/>
                      <a:pt x="24" y="16"/>
                    </a:cubicBezTo>
                    <a:cubicBezTo>
                      <a:pt x="24" y="16"/>
                      <a:pt x="24" y="18"/>
                      <a:pt x="24" y="18"/>
                    </a:cubicBezTo>
                    <a:cubicBezTo>
                      <a:pt x="21" y="19"/>
                      <a:pt x="17" y="15"/>
                      <a:pt x="15" y="15"/>
                    </a:cubicBezTo>
                    <a:cubicBezTo>
                      <a:pt x="12" y="15"/>
                      <a:pt x="13" y="17"/>
                      <a:pt x="12" y="18"/>
                    </a:cubicBezTo>
                    <a:cubicBezTo>
                      <a:pt x="9" y="18"/>
                      <a:pt x="8" y="17"/>
                      <a:pt x="6" y="17"/>
                    </a:cubicBezTo>
                    <a:cubicBezTo>
                      <a:pt x="6" y="16"/>
                      <a:pt x="6" y="15"/>
                      <a:pt x="6" y="15"/>
                    </a:cubicBezTo>
                    <a:cubicBezTo>
                      <a:pt x="4" y="14"/>
                      <a:pt x="3" y="15"/>
                      <a:pt x="2" y="14"/>
                    </a:cubicBezTo>
                    <a:cubicBezTo>
                      <a:pt x="3" y="13"/>
                      <a:pt x="3" y="11"/>
                      <a:pt x="3" y="10"/>
                    </a:cubicBezTo>
                    <a:cubicBezTo>
                      <a:pt x="0" y="9"/>
                      <a:pt x="0" y="9"/>
                      <a:pt x="0" y="9"/>
                    </a:cubicBezTo>
                    <a:cubicBezTo>
                      <a:pt x="0" y="13"/>
                      <a:pt x="0" y="13"/>
                      <a:pt x="0" y="13"/>
                    </a:cubicBezTo>
                    <a:cubicBezTo>
                      <a:pt x="5" y="18"/>
                      <a:pt x="5" y="18"/>
                      <a:pt x="5" y="18"/>
                    </a:cubicBezTo>
                    <a:cubicBezTo>
                      <a:pt x="5" y="27"/>
                      <a:pt x="5" y="27"/>
                      <a:pt x="5" y="27"/>
                    </a:cubicBezTo>
                    <a:cubicBezTo>
                      <a:pt x="5" y="27"/>
                      <a:pt x="32" y="32"/>
                      <a:pt x="34" y="32"/>
                    </a:cubicBezTo>
                    <a:cubicBezTo>
                      <a:pt x="36" y="32"/>
                      <a:pt x="37" y="31"/>
                      <a:pt x="37" y="31"/>
                    </a:cubicBezTo>
                    <a:cubicBezTo>
                      <a:pt x="37" y="31"/>
                      <a:pt x="37" y="28"/>
                      <a:pt x="39" y="25"/>
                    </a:cubicBezTo>
                    <a:cubicBezTo>
                      <a:pt x="41" y="22"/>
                      <a:pt x="40" y="18"/>
                      <a:pt x="40" y="18"/>
                    </a:cubicBezTo>
                    <a:cubicBezTo>
                      <a:pt x="38" y="19"/>
                      <a:pt x="38" y="17"/>
                      <a:pt x="39" y="15"/>
                    </a:cubicBezTo>
                    <a:cubicBezTo>
                      <a:pt x="41" y="14"/>
                      <a:pt x="42" y="13"/>
                      <a:pt x="42" y="13"/>
                    </a:cubicBezTo>
                    <a:cubicBezTo>
                      <a:pt x="42" y="13"/>
                      <a:pt x="40" y="12"/>
                      <a:pt x="40" y="11"/>
                    </a:cubicBezTo>
                    <a:cubicBezTo>
                      <a:pt x="40" y="9"/>
                      <a:pt x="41" y="8"/>
                      <a:pt x="42" y="9"/>
                    </a:cubicBezTo>
                    <a:cubicBezTo>
                      <a:pt x="43" y="10"/>
                      <a:pt x="43" y="12"/>
                      <a:pt x="44" y="11"/>
                    </a:cubicBezTo>
                    <a:cubicBezTo>
                      <a:pt x="44" y="9"/>
                      <a:pt x="46" y="9"/>
                      <a:pt x="46" y="9"/>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54" name="Freeform 33">
                <a:extLst>
                  <a:ext uri="{FF2B5EF4-FFF2-40B4-BE49-F238E27FC236}">
                    <a16:creationId xmlns:a16="http://schemas.microsoft.com/office/drawing/2014/main" id="{7F9507C9-0027-73F7-F0EB-3FC21FA997DD}"/>
                  </a:ext>
                </a:extLst>
              </p:cNvPr>
              <p:cNvSpPr>
                <a:spLocks noEditPoints="1"/>
              </p:cNvSpPr>
              <p:nvPr/>
            </p:nvSpPr>
            <p:spPr bwMode="auto">
              <a:xfrm>
                <a:off x="3512" y="1071"/>
                <a:ext cx="292" cy="210"/>
              </a:xfrm>
              <a:custGeom>
                <a:avLst/>
                <a:gdLst>
                  <a:gd name="T0" fmla="*/ 131 w 149"/>
                  <a:gd name="T1" fmla="*/ 71 h 107"/>
                  <a:gd name="T2" fmla="*/ 122 w 149"/>
                  <a:gd name="T3" fmla="*/ 75 h 107"/>
                  <a:gd name="T4" fmla="*/ 114 w 149"/>
                  <a:gd name="T5" fmla="*/ 80 h 107"/>
                  <a:gd name="T6" fmla="*/ 105 w 149"/>
                  <a:gd name="T7" fmla="*/ 82 h 107"/>
                  <a:gd name="T8" fmla="*/ 98 w 149"/>
                  <a:gd name="T9" fmla="*/ 82 h 107"/>
                  <a:gd name="T10" fmla="*/ 95 w 149"/>
                  <a:gd name="T11" fmla="*/ 87 h 107"/>
                  <a:gd name="T12" fmla="*/ 101 w 149"/>
                  <a:gd name="T13" fmla="*/ 90 h 107"/>
                  <a:gd name="T14" fmla="*/ 107 w 149"/>
                  <a:gd name="T15" fmla="*/ 94 h 107"/>
                  <a:gd name="T16" fmla="*/ 115 w 149"/>
                  <a:gd name="T17" fmla="*/ 94 h 107"/>
                  <a:gd name="T18" fmla="*/ 103 w 149"/>
                  <a:gd name="T19" fmla="*/ 102 h 107"/>
                  <a:gd name="T20" fmla="*/ 85 w 149"/>
                  <a:gd name="T21" fmla="*/ 95 h 107"/>
                  <a:gd name="T22" fmla="*/ 83 w 149"/>
                  <a:gd name="T23" fmla="*/ 92 h 107"/>
                  <a:gd name="T24" fmla="*/ 92 w 149"/>
                  <a:gd name="T25" fmla="*/ 88 h 107"/>
                  <a:gd name="T26" fmla="*/ 88 w 149"/>
                  <a:gd name="T27" fmla="*/ 84 h 107"/>
                  <a:gd name="T28" fmla="*/ 81 w 149"/>
                  <a:gd name="T29" fmla="*/ 87 h 107"/>
                  <a:gd name="T30" fmla="*/ 76 w 149"/>
                  <a:gd name="T31" fmla="*/ 83 h 107"/>
                  <a:gd name="T32" fmla="*/ 78 w 149"/>
                  <a:gd name="T33" fmla="*/ 81 h 107"/>
                  <a:gd name="T34" fmla="*/ 74 w 149"/>
                  <a:gd name="T35" fmla="*/ 79 h 107"/>
                  <a:gd name="T36" fmla="*/ 65 w 149"/>
                  <a:gd name="T37" fmla="*/ 80 h 107"/>
                  <a:gd name="T38" fmla="*/ 55 w 149"/>
                  <a:gd name="T39" fmla="*/ 71 h 107"/>
                  <a:gd name="T40" fmla="*/ 49 w 149"/>
                  <a:gd name="T41" fmla="*/ 56 h 107"/>
                  <a:gd name="T42" fmla="*/ 35 w 149"/>
                  <a:gd name="T43" fmla="*/ 50 h 107"/>
                  <a:gd name="T44" fmla="*/ 23 w 149"/>
                  <a:gd name="T45" fmla="*/ 58 h 107"/>
                  <a:gd name="T46" fmla="*/ 9 w 149"/>
                  <a:gd name="T47" fmla="*/ 58 h 107"/>
                  <a:gd name="T48" fmla="*/ 2 w 149"/>
                  <a:gd name="T49" fmla="*/ 50 h 107"/>
                  <a:gd name="T50" fmla="*/ 9 w 149"/>
                  <a:gd name="T51" fmla="*/ 39 h 107"/>
                  <a:gd name="T52" fmla="*/ 10 w 149"/>
                  <a:gd name="T53" fmla="*/ 22 h 107"/>
                  <a:gd name="T54" fmla="*/ 12 w 149"/>
                  <a:gd name="T55" fmla="*/ 7 h 107"/>
                  <a:gd name="T56" fmla="*/ 26 w 149"/>
                  <a:gd name="T57" fmla="*/ 5 h 107"/>
                  <a:gd name="T58" fmla="*/ 46 w 149"/>
                  <a:gd name="T59" fmla="*/ 7 h 107"/>
                  <a:gd name="T60" fmla="*/ 52 w 149"/>
                  <a:gd name="T61" fmla="*/ 8 h 107"/>
                  <a:gd name="T62" fmla="*/ 66 w 149"/>
                  <a:gd name="T63" fmla="*/ 5 h 107"/>
                  <a:gd name="T64" fmla="*/ 77 w 149"/>
                  <a:gd name="T65" fmla="*/ 2 h 107"/>
                  <a:gd name="T66" fmla="*/ 86 w 149"/>
                  <a:gd name="T67" fmla="*/ 8 h 107"/>
                  <a:gd name="T68" fmla="*/ 96 w 149"/>
                  <a:gd name="T69" fmla="*/ 16 h 107"/>
                  <a:gd name="T70" fmla="*/ 109 w 149"/>
                  <a:gd name="T71" fmla="*/ 22 h 107"/>
                  <a:gd name="T72" fmla="*/ 119 w 149"/>
                  <a:gd name="T73" fmla="*/ 25 h 107"/>
                  <a:gd name="T74" fmla="*/ 131 w 149"/>
                  <a:gd name="T75" fmla="*/ 31 h 107"/>
                  <a:gd name="T76" fmla="*/ 146 w 149"/>
                  <a:gd name="T77" fmla="*/ 43 h 107"/>
                  <a:gd name="T78" fmla="*/ 147 w 149"/>
                  <a:gd name="T79" fmla="*/ 57 h 107"/>
                  <a:gd name="T80" fmla="*/ 137 w 149"/>
                  <a:gd name="T81" fmla="*/ 68 h 107"/>
                  <a:gd name="T82" fmla="*/ 57 w 149"/>
                  <a:gd name="T83" fmla="*/ 81 h 107"/>
                  <a:gd name="T84" fmla="*/ 46 w 149"/>
                  <a:gd name="T85" fmla="*/ 91 h 107"/>
                  <a:gd name="T86" fmla="*/ 56 w 149"/>
                  <a:gd name="T87" fmla="*/ 92 h 107"/>
                  <a:gd name="T88" fmla="*/ 63 w 149"/>
                  <a:gd name="T89" fmla="*/ 8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107">
                    <a:moveTo>
                      <a:pt x="136" y="71"/>
                    </a:moveTo>
                    <a:cubicBezTo>
                      <a:pt x="134" y="71"/>
                      <a:pt x="133" y="71"/>
                      <a:pt x="132" y="71"/>
                    </a:cubicBezTo>
                    <a:cubicBezTo>
                      <a:pt x="132" y="71"/>
                      <a:pt x="131" y="71"/>
                      <a:pt x="131" y="71"/>
                    </a:cubicBezTo>
                    <a:cubicBezTo>
                      <a:pt x="130" y="72"/>
                      <a:pt x="129" y="73"/>
                      <a:pt x="128" y="74"/>
                    </a:cubicBezTo>
                    <a:cubicBezTo>
                      <a:pt x="127" y="74"/>
                      <a:pt x="127" y="73"/>
                      <a:pt x="126" y="74"/>
                    </a:cubicBezTo>
                    <a:cubicBezTo>
                      <a:pt x="125" y="74"/>
                      <a:pt x="123" y="74"/>
                      <a:pt x="122" y="75"/>
                    </a:cubicBezTo>
                    <a:cubicBezTo>
                      <a:pt x="121" y="75"/>
                      <a:pt x="121" y="77"/>
                      <a:pt x="121" y="77"/>
                    </a:cubicBezTo>
                    <a:cubicBezTo>
                      <a:pt x="119" y="78"/>
                      <a:pt x="118" y="77"/>
                      <a:pt x="116" y="78"/>
                    </a:cubicBezTo>
                    <a:cubicBezTo>
                      <a:pt x="116" y="78"/>
                      <a:pt x="114" y="80"/>
                      <a:pt x="114" y="80"/>
                    </a:cubicBezTo>
                    <a:cubicBezTo>
                      <a:pt x="111" y="80"/>
                      <a:pt x="112" y="78"/>
                      <a:pt x="111" y="78"/>
                    </a:cubicBezTo>
                    <a:cubicBezTo>
                      <a:pt x="111" y="79"/>
                      <a:pt x="111" y="79"/>
                      <a:pt x="111" y="79"/>
                    </a:cubicBezTo>
                    <a:cubicBezTo>
                      <a:pt x="109" y="80"/>
                      <a:pt x="107" y="81"/>
                      <a:pt x="105" y="82"/>
                    </a:cubicBezTo>
                    <a:cubicBezTo>
                      <a:pt x="105" y="84"/>
                      <a:pt x="105" y="84"/>
                      <a:pt x="105" y="84"/>
                    </a:cubicBezTo>
                    <a:cubicBezTo>
                      <a:pt x="103" y="84"/>
                      <a:pt x="100" y="84"/>
                      <a:pt x="98" y="84"/>
                    </a:cubicBezTo>
                    <a:cubicBezTo>
                      <a:pt x="98" y="82"/>
                      <a:pt x="98" y="82"/>
                      <a:pt x="98" y="82"/>
                    </a:cubicBezTo>
                    <a:cubicBezTo>
                      <a:pt x="97" y="82"/>
                      <a:pt x="95" y="82"/>
                      <a:pt x="93" y="82"/>
                    </a:cubicBezTo>
                    <a:cubicBezTo>
                      <a:pt x="94" y="83"/>
                      <a:pt x="93" y="84"/>
                      <a:pt x="93" y="85"/>
                    </a:cubicBezTo>
                    <a:cubicBezTo>
                      <a:pt x="93" y="85"/>
                      <a:pt x="95" y="86"/>
                      <a:pt x="95" y="87"/>
                    </a:cubicBezTo>
                    <a:cubicBezTo>
                      <a:pt x="96" y="87"/>
                      <a:pt x="97" y="87"/>
                      <a:pt x="97" y="87"/>
                    </a:cubicBezTo>
                    <a:cubicBezTo>
                      <a:pt x="98" y="87"/>
                      <a:pt x="98" y="89"/>
                      <a:pt x="98" y="89"/>
                    </a:cubicBezTo>
                    <a:cubicBezTo>
                      <a:pt x="99" y="90"/>
                      <a:pt x="101" y="89"/>
                      <a:pt x="101" y="90"/>
                    </a:cubicBezTo>
                    <a:cubicBezTo>
                      <a:pt x="102" y="91"/>
                      <a:pt x="99" y="92"/>
                      <a:pt x="102" y="94"/>
                    </a:cubicBezTo>
                    <a:cubicBezTo>
                      <a:pt x="102" y="95"/>
                      <a:pt x="102" y="95"/>
                      <a:pt x="102" y="95"/>
                    </a:cubicBezTo>
                    <a:cubicBezTo>
                      <a:pt x="104" y="95"/>
                      <a:pt x="105" y="94"/>
                      <a:pt x="107" y="94"/>
                    </a:cubicBezTo>
                    <a:cubicBezTo>
                      <a:pt x="107" y="94"/>
                      <a:pt x="110" y="95"/>
                      <a:pt x="111" y="95"/>
                    </a:cubicBezTo>
                    <a:cubicBezTo>
                      <a:pt x="112" y="95"/>
                      <a:pt x="113" y="94"/>
                      <a:pt x="114" y="94"/>
                    </a:cubicBezTo>
                    <a:cubicBezTo>
                      <a:pt x="114" y="94"/>
                      <a:pt x="116" y="94"/>
                      <a:pt x="115" y="94"/>
                    </a:cubicBezTo>
                    <a:cubicBezTo>
                      <a:pt x="115" y="94"/>
                      <a:pt x="116" y="97"/>
                      <a:pt x="115" y="98"/>
                    </a:cubicBezTo>
                    <a:cubicBezTo>
                      <a:pt x="113" y="100"/>
                      <a:pt x="108" y="99"/>
                      <a:pt x="107" y="99"/>
                    </a:cubicBezTo>
                    <a:cubicBezTo>
                      <a:pt x="106" y="99"/>
                      <a:pt x="104" y="101"/>
                      <a:pt x="103" y="102"/>
                    </a:cubicBezTo>
                    <a:cubicBezTo>
                      <a:pt x="98" y="104"/>
                      <a:pt x="93" y="105"/>
                      <a:pt x="89" y="107"/>
                    </a:cubicBezTo>
                    <a:cubicBezTo>
                      <a:pt x="91" y="103"/>
                      <a:pt x="90" y="102"/>
                      <a:pt x="89" y="97"/>
                    </a:cubicBezTo>
                    <a:cubicBezTo>
                      <a:pt x="88" y="96"/>
                      <a:pt x="86" y="95"/>
                      <a:pt x="85" y="95"/>
                    </a:cubicBezTo>
                    <a:cubicBezTo>
                      <a:pt x="81" y="96"/>
                      <a:pt x="81" y="96"/>
                      <a:pt x="81" y="96"/>
                    </a:cubicBezTo>
                    <a:cubicBezTo>
                      <a:pt x="81" y="94"/>
                      <a:pt x="81" y="94"/>
                      <a:pt x="81" y="94"/>
                    </a:cubicBezTo>
                    <a:cubicBezTo>
                      <a:pt x="82" y="93"/>
                      <a:pt x="83" y="93"/>
                      <a:pt x="83" y="92"/>
                    </a:cubicBezTo>
                    <a:cubicBezTo>
                      <a:pt x="89" y="89"/>
                      <a:pt x="89" y="89"/>
                      <a:pt x="89" y="89"/>
                    </a:cubicBezTo>
                    <a:cubicBezTo>
                      <a:pt x="91" y="89"/>
                      <a:pt x="91" y="90"/>
                      <a:pt x="93" y="90"/>
                    </a:cubicBezTo>
                    <a:cubicBezTo>
                      <a:pt x="92" y="88"/>
                      <a:pt x="93" y="88"/>
                      <a:pt x="92" y="88"/>
                    </a:cubicBezTo>
                    <a:cubicBezTo>
                      <a:pt x="91" y="85"/>
                      <a:pt x="91" y="85"/>
                      <a:pt x="91" y="85"/>
                    </a:cubicBezTo>
                    <a:cubicBezTo>
                      <a:pt x="90" y="85"/>
                      <a:pt x="90" y="86"/>
                      <a:pt x="89" y="86"/>
                    </a:cubicBezTo>
                    <a:cubicBezTo>
                      <a:pt x="88" y="84"/>
                      <a:pt x="88" y="84"/>
                      <a:pt x="88" y="84"/>
                    </a:cubicBezTo>
                    <a:cubicBezTo>
                      <a:pt x="87" y="84"/>
                      <a:pt x="85" y="84"/>
                      <a:pt x="83" y="84"/>
                    </a:cubicBezTo>
                    <a:cubicBezTo>
                      <a:pt x="82" y="85"/>
                      <a:pt x="83" y="87"/>
                      <a:pt x="82" y="87"/>
                    </a:cubicBezTo>
                    <a:cubicBezTo>
                      <a:pt x="81" y="87"/>
                      <a:pt x="81" y="87"/>
                      <a:pt x="81" y="87"/>
                    </a:cubicBezTo>
                    <a:cubicBezTo>
                      <a:pt x="80" y="87"/>
                      <a:pt x="79" y="85"/>
                      <a:pt x="79" y="84"/>
                    </a:cubicBezTo>
                    <a:cubicBezTo>
                      <a:pt x="78" y="84"/>
                      <a:pt x="77" y="85"/>
                      <a:pt x="76" y="84"/>
                    </a:cubicBezTo>
                    <a:cubicBezTo>
                      <a:pt x="76" y="83"/>
                      <a:pt x="76" y="83"/>
                      <a:pt x="76" y="83"/>
                    </a:cubicBezTo>
                    <a:cubicBezTo>
                      <a:pt x="75" y="83"/>
                      <a:pt x="74" y="83"/>
                      <a:pt x="73" y="82"/>
                    </a:cubicBezTo>
                    <a:cubicBezTo>
                      <a:pt x="73" y="81"/>
                      <a:pt x="73" y="81"/>
                      <a:pt x="73" y="81"/>
                    </a:cubicBezTo>
                    <a:cubicBezTo>
                      <a:pt x="75" y="81"/>
                      <a:pt x="77" y="81"/>
                      <a:pt x="78" y="81"/>
                    </a:cubicBezTo>
                    <a:cubicBezTo>
                      <a:pt x="78" y="81"/>
                      <a:pt x="79" y="79"/>
                      <a:pt x="76" y="80"/>
                    </a:cubicBezTo>
                    <a:cubicBezTo>
                      <a:pt x="76" y="79"/>
                      <a:pt x="75" y="77"/>
                      <a:pt x="75" y="77"/>
                    </a:cubicBezTo>
                    <a:cubicBezTo>
                      <a:pt x="74" y="77"/>
                      <a:pt x="74" y="78"/>
                      <a:pt x="74" y="79"/>
                    </a:cubicBezTo>
                    <a:cubicBezTo>
                      <a:pt x="72" y="79"/>
                      <a:pt x="69" y="79"/>
                      <a:pt x="67" y="79"/>
                    </a:cubicBezTo>
                    <a:cubicBezTo>
                      <a:pt x="66" y="80"/>
                      <a:pt x="66" y="80"/>
                      <a:pt x="66" y="80"/>
                    </a:cubicBezTo>
                    <a:cubicBezTo>
                      <a:pt x="65" y="80"/>
                      <a:pt x="65" y="80"/>
                      <a:pt x="65" y="80"/>
                    </a:cubicBezTo>
                    <a:cubicBezTo>
                      <a:pt x="64" y="81"/>
                      <a:pt x="64" y="82"/>
                      <a:pt x="63" y="84"/>
                    </a:cubicBezTo>
                    <a:cubicBezTo>
                      <a:pt x="58" y="77"/>
                      <a:pt x="58" y="77"/>
                      <a:pt x="58" y="77"/>
                    </a:cubicBezTo>
                    <a:cubicBezTo>
                      <a:pt x="58" y="77"/>
                      <a:pt x="54" y="75"/>
                      <a:pt x="55" y="71"/>
                    </a:cubicBezTo>
                    <a:cubicBezTo>
                      <a:pt x="55" y="69"/>
                      <a:pt x="55" y="69"/>
                      <a:pt x="54" y="66"/>
                    </a:cubicBezTo>
                    <a:cubicBezTo>
                      <a:pt x="52" y="64"/>
                      <a:pt x="51" y="65"/>
                      <a:pt x="52" y="62"/>
                    </a:cubicBezTo>
                    <a:cubicBezTo>
                      <a:pt x="52" y="59"/>
                      <a:pt x="50" y="57"/>
                      <a:pt x="49" y="56"/>
                    </a:cubicBezTo>
                    <a:cubicBezTo>
                      <a:pt x="47" y="55"/>
                      <a:pt x="46" y="54"/>
                      <a:pt x="45" y="53"/>
                    </a:cubicBezTo>
                    <a:cubicBezTo>
                      <a:pt x="43" y="52"/>
                      <a:pt x="42" y="51"/>
                      <a:pt x="40" y="50"/>
                    </a:cubicBezTo>
                    <a:cubicBezTo>
                      <a:pt x="39" y="50"/>
                      <a:pt x="36" y="49"/>
                      <a:pt x="35" y="50"/>
                    </a:cubicBezTo>
                    <a:cubicBezTo>
                      <a:pt x="34" y="51"/>
                      <a:pt x="30" y="50"/>
                      <a:pt x="30" y="53"/>
                    </a:cubicBezTo>
                    <a:cubicBezTo>
                      <a:pt x="30" y="53"/>
                      <a:pt x="27" y="54"/>
                      <a:pt x="27" y="56"/>
                    </a:cubicBezTo>
                    <a:cubicBezTo>
                      <a:pt x="26" y="58"/>
                      <a:pt x="25" y="58"/>
                      <a:pt x="23" y="58"/>
                    </a:cubicBezTo>
                    <a:cubicBezTo>
                      <a:pt x="21" y="58"/>
                      <a:pt x="21" y="60"/>
                      <a:pt x="18" y="61"/>
                    </a:cubicBezTo>
                    <a:cubicBezTo>
                      <a:pt x="16" y="62"/>
                      <a:pt x="16" y="62"/>
                      <a:pt x="15" y="60"/>
                    </a:cubicBezTo>
                    <a:cubicBezTo>
                      <a:pt x="13" y="58"/>
                      <a:pt x="12" y="58"/>
                      <a:pt x="9" y="58"/>
                    </a:cubicBezTo>
                    <a:cubicBezTo>
                      <a:pt x="6" y="58"/>
                      <a:pt x="5" y="58"/>
                      <a:pt x="4" y="56"/>
                    </a:cubicBezTo>
                    <a:cubicBezTo>
                      <a:pt x="3" y="54"/>
                      <a:pt x="0" y="55"/>
                      <a:pt x="0" y="55"/>
                    </a:cubicBezTo>
                    <a:cubicBezTo>
                      <a:pt x="2" y="50"/>
                      <a:pt x="2" y="50"/>
                      <a:pt x="2" y="50"/>
                    </a:cubicBezTo>
                    <a:cubicBezTo>
                      <a:pt x="5" y="49"/>
                      <a:pt x="5" y="49"/>
                      <a:pt x="5" y="49"/>
                    </a:cubicBezTo>
                    <a:cubicBezTo>
                      <a:pt x="5" y="49"/>
                      <a:pt x="10" y="47"/>
                      <a:pt x="10" y="45"/>
                    </a:cubicBezTo>
                    <a:cubicBezTo>
                      <a:pt x="9" y="43"/>
                      <a:pt x="7" y="41"/>
                      <a:pt x="9" y="39"/>
                    </a:cubicBezTo>
                    <a:cubicBezTo>
                      <a:pt x="10" y="37"/>
                      <a:pt x="10" y="36"/>
                      <a:pt x="11" y="34"/>
                    </a:cubicBezTo>
                    <a:cubicBezTo>
                      <a:pt x="12" y="32"/>
                      <a:pt x="13" y="29"/>
                      <a:pt x="13" y="29"/>
                    </a:cubicBezTo>
                    <a:cubicBezTo>
                      <a:pt x="13" y="29"/>
                      <a:pt x="9" y="24"/>
                      <a:pt x="10" y="22"/>
                    </a:cubicBezTo>
                    <a:cubicBezTo>
                      <a:pt x="11" y="20"/>
                      <a:pt x="12" y="19"/>
                      <a:pt x="12" y="16"/>
                    </a:cubicBezTo>
                    <a:cubicBezTo>
                      <a:pt x="11" y="13"/>
                      <a:pt x="13" y="14"/>
                      <a:pt x="12" y="13"/>
                    </a:cubicBezTo>
                    <a:cubicBezTo>
                      <a:pt x="11" y="11"/>
                      <a:pt x="9" y="8"/>
                      <a:pt x="12" y="7"/>
                    </a:cubicBezTo>
                    <a:cubicBezTo>
                      <a:pt x="12" y="7"/>
                      <a:pt x="15" y="4"/>
                      <a:pt x="16" y="8"/>
                    </a:cubicBezTo>
                    <a:cubicBezTo>
                      <a:pt x="17" y="11"/>
                      <a:pt x="20" y="6"/>
                      <a:pt x="20" y="6"/>
                    </a:cubicBezTo>
                    <a:cubicBezTo>
                      <a:pt x="20" y="6"/>
                      <a:pt x="24" y="5"/>
                      <a:pt x="26" y="5"/>
                    </a:cubicBezTo>
                    <a:cubicBezTo>
                      <a:pt x="29" y="6"/>
                      <a:pt x="33" y="6"/>
                      <a:pt x="35" y="7"/>
                    </a:cubicBezTo>
                    <a:cubicBezTo>
                      <a:pt x="38" y="8"/>
                      <a:pt x="40" y="7"/>
                      <a:pt x="43" y="7"/>
                    </a:cubicBezTo>
                    <a:cubicBezTo>
                      <a:pt x="45" y="7"/>
                      <a:pt x="46" y="7"/>
                      <a:pt x="46" y="7"/>
                    </a:cubicBezTo>
                    <a:cubicBezTo>
                      <a:pt x="47" y="9"/>
                      <a:pt x="47" y="9"/>
                      <a:pt x="47" y="9"/>
                    </a:cubicBezTo>
                    <a:cubicBezTo>
                      <a:pt x="47" y="9"/>
                      <a:pt x="48" y="7"/>
                      <a:pt x="48" y="6"/>
                    </a:cubicBezTo>
                    <a:cubicBezTo>
                      <a:pt x="49" y="6"/>
                      <a:pt x="50" y="9"/>
                      <a:pt x="52" y="8"/>
                    </a:cubicBezTo>
                    <a:cubicBezTo>
                      <a:pt x="54" y="6"/>
                      <a:pt x="54" y="8"/>
                      <a:pt x="56" y="8"/>
                    </a:cubicBezTo>
                    <a:cubicBezTo>
                      <a:pt x="58" y="7"/>
                      <a:pt x="61" y="8"/>
                      <a:pt x="63" y="8"/>
                    </a:cubicBezTo>
                    <a:cubicBezTo>
                      <a:pt x="66" y="9"/>
                      <a:pt x="65" y="8"/>
                      <a:pt x="66" y="5"/>
                    </a:cubicBezTo>
                    <a:cubicBezTo>
                      <a:pt x="66" y="2"/>
                      <a:pt x="66" y="2"/>
                      <a:pt x="68" y="2"/>
                    </a:cubicBezTo>
                    <a:cubicBezTo>
                      <a:pt x="70" y="2"/>
                      <a:pt x="71" y="2"/>
                      <a:pt x="71" y="2"/>
                    </a:cubicBezTo>
                    <a:cubicBezTo>
                      <a:pt x="71" y="2"/>
                      <a:pt x="74" y="7"/>
                      <a:pt x="77" y="2"/>
                    </a:cubicBezTo>
                    <a:cubicBezTo>
                      <a:pt x="78" y="0"/>
                      <a:pt x="78" y="2"/>
                      <a:pt x="80" y="3"/>
                    </a:cubicBezTo>
                    <a:cubicBezTo>
                      <a:pt x="83" y="4"/>
                      <a:pt x="85" y="2"/>
                      <a:pt x="85" y="4"/>
                    </a:cubicBezTo>
                    <a:cubicBezTo>
                      <a:pt x="85" y="6"/>
                      <a:pt x="86" y="8"/>
                      <a:pt x="86" y="8"/>
                    </a:cubicBezTo>
                    <a:cubicBezTo>
                      <a:pt x="86" y="8"/>
                      <a:pt x="86" y="12"/>
                      <a:pt x="88" y="12"/>
                    </a:cubicBezTo>
                    <a:cubicBezTo>
                      <a:pt x="89" y="12"/>
                      <a:pt x="88" y="16"/>
                      <a:pt x="90" y="16"/>
                    </a:cubicBezTo>
                    <a:cubicBezTo>
                      <a:pt x="92" y="16"/>
                      <a:pt x="95" y="15"/>
                      <a:pt x="96" y="16"/>
                    </a:cubicBezTo>
                    <a:cubicBezTo>
                      <a:pt x="99" y="18"/>
                      <a:pt x="100" y="18"/>
                      <a:pt x="102" y="17"/>
                    </a:cubicBezTo>
                    <a:cubicBezTo>
                      <a:pt x="104" y="17"/>
                      <a:pt x="104" y="20"/>
                      <a:pt x="105" y="21"/>
                    </a:cubicBezTo>
                    <a:cubicBezTo>
                      <a:pt x="108" y="22"/>
                      <a:pt x="107" y="22"/>
                      <a:pt x="109" y="22"/>
                    </a:cubicBezTo>
                    <a:cubicBezTo>
                      <a:pt x="111" y="23"/>
                      <a:pt x="111" y="28"/>
                      <a:pt x="111" y="28"/>
                    </a:cubicBezTo>
                    <a:cubicBezTo>
                      <a:pt x="111" y="28"/>
                      <a:pt x="114" y="27"/>
                      <a:pt x="116" y="27"/>
                    </a:cubicBezTo>
                    <a:cubicBezTo>
                      <a:pt x="118" y="26"/>
                      <a:pt x="119" y="25"/>
                      <a:pt x="119" y="25"/>
                    </a:cubicBezTo>
                    <a:cubicBezTo>
                      <a:pt x="119" y="25"/>
                      <a:pt x="123" y="25"/>
                      <a:pt x="124" y="26"/>
                    </a:cubicBezTo>
                    <a:cubicBezTo>
                      <a:pt x="125" y="28"/>
                      <a:pt x="123" y="28"/>
                      <a:pt x="126" y="28"/>
                    </a:cubicBezTo>
                    <a:cubicBezTo>
                      <a:pt x="129" y="28"/>
                      <a:pt x="128" y="30"/>
                      <a:pt x="131" y="31"/>
                    </a:cubicBezTo>
                    <a:cubicBezTo>
                      <a:pt x="133" y="31"/>
                      <a:pt x="140" y="34"/>
                      <a:pt x="142" y="36"/>
                    </a:cubicBezTo>
                    <a:cubicBezTo>
                      <a:pt x="145" y="38"/>
                      <a:pt x="141" y="39"/>
                      <a:pt x="143" y="40"/>
                    </a:cubicBezTo>
                    <a:cubicBezTo>
                      <a:pt x="144" y="42"/>
                      <a:pt x="147" y="41"/>
                      <a:pt x="146" y="43"/>
                    </a:cubicBezTo>
                    <a:cubicBezTo>
                      <a:pt x="145" y="45"/>
                      <a:pt x="143" y="46"/>
                      <a:pt x="145" y="46"/>
                    </a:cubicBezTo>
                    <a:cubicBezTo>
                      <a:pt x="149" y="47"/>
                      <a:pt x="145" y="51"/>
                      <a:pt x="146" y="53"/>
                    </a:cubicBezTo>
                    <a:cubicBezTo>
                      <a:pt x="147" y="54"/>
                      <a:pt x="147" y="55"/>
                      <a:pt x="147" y="57"/>
                    </a:cubicBezTo>
                    <a:cubicBezTo>
                      <a:pt x="147" y="59"/>
                      <a:pt x="146" y="61"/>
                      <a:pt x="146" y="63"/>
                    </a:cubicBezTo>
                    <a:cubicBezTo>
                      <a:pt x="145" y="65"/>
                      <a:pt x="141" y="66"/>
                      <a:pt x="139" y="66"/>
                    </a:cubicBezTo>
                    <a:cubicBezTo>
                      <a:pt x="137" y="68"/>
                      <a:pt x="137" y="68"/>
                      <a:pt x="137" y="68"/>
                    </a:cubicBezTo>
                    <a:lnTo>
                      <a:pt x="136" y="71"/>
                    </a:lnTo>
                    <a:close/>
                    <a:moveTo>
                      <a:pt x="63" y="84"/>
                    </a:moveTo>
                    <a:cubicBezTo>
                      <a:pt x="63" y="84"/>
                      <a:pt x="59" y="81"/>
                      <a:pt x="57" y="81"/>
                    </a:cubicBezTo>
                    <a:cubicBezTo>
                      <a:pt x="55" y="81"/>
                      <a:pt x="53" y="78"/>
                      <a:pt x="53" y="80"/>
                    </a:cubicBezTo>
                    <a:cubicBezTo>
                      <a:pt x="53" y="82"/>
                      <a:pt x="49" y="84"/>
                      <a:pt x="49" y="85"/>
                    </a:cubicBezTo>
                    <a:cubicBezTo>
                      <a:pt x="49" y="87"/>
                      <a:pt x="46" y="91"/>
                      <a:pt x="46" y="91"/>
                    </a:cubicBezTo>
                    <a:cubicBezTo>
                      <a:pt x="48" y="92"/>
                      <a:pt x="48" y="92"/>
                      <a:pt x="48" y="92"/>
                    </a:cubicBezTo>
                    <a:cubicBezTo>
                      <a:pt x="48" y="92"/>
                      <a:pt x="51" y="94"/>
                      <a:pt x="51" y="92"/>
                    </a:cubicBezTo>
                    <a:cubicBezTo>
                      <a:pt x="52" y="91"/>
                      <a:pt x="56" y="92"/>
                      <a:pt x="56" y="92"/>
                    </a:cubicBezTo>
                    <a:cubicBezTo>
                      <a:pt x="56" y="92"/>
                      <a:pt x="56" y="90"/>
                      <a:pt x="56" y="90"/>
                    </a:cubicBezTo>
                    <a:cubicBezTo>
                      <a:pt x="58" y="89"/>
                      <a:pt x="60" y="89"/>
                      <a:pt x="61" y="87"/>
                    </a:cubicBezTo>
                    <a:cubicBezTo>
                      <a:pt x="62" y="86"/>
                      <a:pt x="62" y="85"/>
                      <a:pt x="63" y="8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55" name="Freeform 34">
                <a:extLst>
                  <a:ext uri="{FF2B5EF4-FFF2-40B4-BE49-F238E27FC236}">
                    <a16:creationId xmlns:a16="http://schemas.microsoft.com/office/drawing/2014/main" id="{C3360E08-2906-1615-D4DE-A912DA570F95}"/>
                  </a:ext>
                </a:extLst>
              </p:cNvPr>
              <p:cNvSpPr>
                <a:spLocks noEditPoints="1"/>
              </p:cNvSpPr>
              <p:nvPr/>
            </p:nvSpPr>
            <p:spPr bwMode="auto">
              <a:xfrm>
                <a:off x="3512" y="1071"/>
                <a:ext cx="292" cy="210"/>
              </a:xfrm>
              <a:custGeom>
                <a:avLst/>
                <a:gdLst>
                  <a:gd name="T0" fmla="*/ 131 w 149"/>
                  <a:gd name="T1" fmla="*/ 71 h 107"/>
                  <a:gd name="T2" fmla="*/ 122 w 149"/>
                  <a:gd name="T3" fmla="*/ 75 h 107"/>
                  <a:gd name="T4" fmla="*/ 114 w 149"/>
                  <a:gd name="T5" fmla="*/ 80 h 107"/>
                  <a:gd name="T6" fmla="*/ 105 w 149"/>
                  <a:gd name="T7" fmla="*/ 82 h 107"/>
                  <a:gd name="T8" fmla="*/ 98 w 149"/>
                  <a:gd name="T9" fmla="*/ 82 h 107"/>
                  <a:gd name="T10" fmla="*/ 95 w 149"/>
                  <a:gd name="T11" fmla="*/ 87 h 107"/>
                  <a:gd name="T12" fmla="*/ 101 w 149"/>
                  <a:gd name="T13" fmla="*/ 90 h 107"/>
                  <a:gd name="T14" fmla="*/ 107 w 149"/>
                  <a:gd name="T15" fmla="*/ 94 h 107"/>
                  <a:gd name="T16" fmla="*/ 115 w 149"/>
                  <a:gd name="T17" fmla="*/ 94 h 107"/>
                  <a:gd name="T18" fmla="*/ 103 w 149"/>
                  <a:gd name="T19" fmla="*/ 102 h 107"/>
                  <a:gd name="T20" fmla="*/ 85 w 149"/>
                  <a:gd name="T21" fmla="*/ 95 h 107"/>
                  <a:gd name="T22" fmla="*/ 83 w 149"/>
                  <a:gd name="T23" fmla="*/ 92 h 107"/>
                  <a:gd name="T24" fmla="*/ 92 w 149"/>
                  <a:gd name="T25" fmla="*/ 88 h 107"/>
                  <a:gd name="T26" fmla="*/ 88 w 149"/>
                  <a:gd name="T27" fmla="*/ 84 h 107"/>
                  <a:gd name="T28" fmla="*/ 81 w 149"/>
                  <a:gd name="T29" fmla="*/ 87 h 107"/>
                  <a:gd name="T30" fmla="*/ 76 w 149"/>
                  <a:gd name="T31" fmla="*/ 83 h 107"/>
                  <a:gd name="T32" fmla="*/ 78 w 149"/>
                  <a:gd name="T33" fmla="*/ 81 h 107"/>
                  <a:gd name="T34" fmla="*/ 74 w 149"/>
                  <a:gd name="T35" fmla="*/ 79 h 107"/>
                  <a:gd name="T36" fmla="*/ 65 w 149"/>
                  <a:gd name="T37" fmla="*/ 80 h 107"/>
                  <a:gd name="T38" fmla="*/ 55 w 149"/>
                  <a:gd name="T39" fmla="*/ 71 h 107"/>
                  <a:gd name="T40" fmla="*/ 49 w 149"/>
                  <a:gd name="T41" fmla="*/ 56 h 107"/>
                  <a:gd name="T42" fmla="*/ 35 w 149"/>
                  <a:gd name="T43" fmla="*/ 50 h 107"/>
                  <a:gd name="T44" fmla="*/ 23 w 149"/>
                  <a:gd name="T45" fmla="*/ 58 h 107"/>
                  <a:gd name="T46" fmla="*/ 9 w 149"/>
                  <a:gd name="T47" fmla="*/ 58 h 107"/>
                  <a:gd name="T48" fmla="*/ 2 w 149"/>
                  <a:gd name="T49" fmla="*/ 50 h 107"/>
                  <a:gd name="T50" fmla="*/ 9 w 149"/>
                  <a:gd name="T51" fmla="*/ 39 h 107"/>
                  <a:gd name="T52" fmla="*/ 10 w 149"/>
                  <a:gd name="T53" fmla="*/ 22 h 107"/>
                  <a:gd name="T54" fmla="*/ 12 w 149"/>
                  <a:gd name="T55" fmla="*/ 7 h 107"/>
                  <a:gd name="T56" fmla="*/ 26 w 149"/>
                  <a:gd name="T57" fmla="*/ 5 h 107"/>
                  <a:gd name="T58" fmla="*/ 46 w 149"/>
                  <a:gd name="T59" fmla="*/ 7 h 107"/>
                  <a:gd name="T60" fmla="*/ 52 w 149"/>
                  <a:gd name="T61" fmla="*/ 8 h 107"/>
                  <a:gd name="T62" fmla="*/ 66 w 149"/>
                  <a:gd name="T63" fmla="*/ 5 h 107"/>
                  <a:gd name="T64" fmla="*/ 77 w 149"/>
                  <a:gd name="T65" fmla="*/ 2 h 107"/>
                  <a:gd name="T66" fmla="*/ 86 w 149"/>
                  <a:gd name="T67" fmla="*/ 8 h 107"/>
                  <a:gd name="T68" fmla="*/ 96 w 149"/>
                  <a:gd name="T69" fmla="*/ 16 h 107"/>
                  <a:gd name="T70" fmla="*/ 109 w 149"/>
                  <a:gd name="T71" fmla="*/ 22 h 107"/>
                  <a:gd name="T72" fmla="*/ 119 w 149"/>
                  <a:gd name="T73" fmla="*/ 25 h 107"/>
                  <a:gd name="T74" fmla="*/ 131 w 149"/>
                  <a:gd name="T75" fmla="*/ 31 h 107"/>
                  <a:gd name="T76" fmla="*/ 146 w 149"/>
                  <a:gd name="T77" fmla="*/ 43 h 107"/>
                  <a:gd name="T78" fmla="*/ 147 w 149"/>
                  <a:gd name="T79" fmla="*/ 57 h 107"/>
                  <a:gd name="T80" fmla="*/ 137 w 149"/>
                  <a:gd name="T81" fmla="*/ 68 h 107"/>
                  <a:gd name="T82" fmla="*/ 57 w 149"/>
                  <a:gd name="T83" fmla="*/ 81 h 107"/>
                  <a:gd name="T84" fmla="*/ 46 w 149"/>
                  <a:gd name="T85" fmla="*/ 91 h 107"/>
                  <a:gd name="T86" fmla="*/ 56 w 149"/>
                  <a:gd name="T87" fmla="*/ 92 h 107"/>
                  <a:gd name="T88" fmla="*/ 63 w 149"/>
                  <a:gd name="T89" fmla="*/ 8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9" h="107">
                    <a:moveTo>
                      <a:pt x="136" y="71"/>
                    </a:moveTo>
                    <a:cubicBezTo>
                      <a:pt x="134" y="71"/>
                      <a:pt x="133" y="71"/>
                      <a:pt x="132" y="71"/>
                    </a:cubicBezTo>
                    <a:cubicBezTo>
                      <a:pt x="132" y="71"/>
                      <a:pt x="131" y="71"/>
                      <a:pt x="131" y="71"/>
                    </a:cubicBezTo>
                    <a:cubicBezTo>
                      <a:pt x="130" y="72"/>
                      <a:pt x="129" y="73"/>
                      <a:pt x="128" y="74"/>
                    </a:cubicBezTo>
                    <a:cubicBezTo>
                      <a:pt x="127" y="74"/>
                      <a:pt x="127" y="73"/>
                      <a:pt x="126" y="74"/>
                    </a:cubicBezTo>
                    <a:cubicBezTo>
                      <a:pt x="125" y="74"/>
                      <a:pt x="123" y="74"/>
                      <a:pt x="122" y="75"/>
                    </a:cubicBezTo>
                    <a:cubicBezTo>
                      <a:pt x="121" y="75"/>
                      <a:pt x="121" y="77"/>
                      <a:pt x="121" y="77"/>
                    </a:cubicBezTo>
                    <a:cubicBezTo>
                      <a:pt x="119" y="78"/>
                      <a:pt x="118" y="77"/>
                      <a:pt x="116" y="78"/>
                    </a:cubicBezTo>
                    <a:cubicBezTo>
                      <a:pt x="116" y="78"/>
                      <a:pt x="114" y="80"/>
                      <a:pt x="114" y="80"/>
                    </a:cubicBezTo>
                    <a:cubicBezTo>
                      <a:pt x="111" y="80"/>
                      <a:pt x="112" y="78"/>
                      <a:pt x="111" y="78"/>
                    </a:cubicBezTo>
                    <a:cubicBezTo>
                      <a:pt x="111" y="79"/>
                      <a:pt x="111" y="79"/>
                      <a:pt x="111" y="79"/>
                    </a:cubicBezTo>
                    <a:cubicBezTo>
                      <a:pt x="109" y="80"/>
                      <a:pt x="107" y="81"/>
                      <a:pt x="105" y="82"/>
                    </a:cubicBezTo>
                    <a:cubicBezTo>
                      <a:pt x="105" y="84"/>
                      <a:pt x="105" y="84"/>
                      <a:pt x="105" y="84"/>
                    </a:cubicBezTo>
                    <a:cubicBezTo>
                      <a:pt x="103" y="84"/>
                      <a:pt x="100" y="84"/>
                      <a:pt x="98" y="84"/>
                    </a:cubicBezTo>
                    <a:cubicBezTo>
                      <a:pt x="98" y="82"/>
                      <a:pt x="98" y="82"/>
                      <a:pt x="98" y="82"/>
                    </a:cubicBezTo>
                    <a:cubicBezTo>
                      <a:pt x="97" y="82"/>
                      <a:pt x="95" y="82"/>
                      <a:pt x="93" y="82"/>
                    </a:cubicBezTo>
                    <a:cubicBezTo>
                      <a:pt x="94" y="83"/>
                      <a:pt x="93" y="84"/>
                      <a:pt x="93" y="85"/>
                    </a:cubicBezTo>
                    <a:cubicBezTo>
                      <a:pt x="93" y="85"/>
                      <a:pt x="95" y="86"/>
                      <a:pt x="95" y="87"/>
                    </a:cubicBezTo>
                    <a:cubicBezTo>
                      <a:pt x="96" y="87"/>
                      <a:pt x="97" y="87"/>
                      <a:pt x="97" y="87"/>
                    </a:cubicBezTo>
                    <a:cubicBezTo>
                      <a:pt x="98" y="87"/>
                      <a:pt x="98" y="89"/>
                      <a:pt x="98" y="89"/>
                    </a:cubicBezTo>
                    <a:cubicBezTo>
                      <a:pt x="99" y="90"/>
                      <a:pt x="101" y="89"/>
                      <a:pt x="101" y="90"/>
                    </a:cubicBezTo>
                    <a:cubicBezTo>
                      <a:pt x="102" y="91"/>
                      <a:pt x="99" y="92"/>
                      <a:pt x="102" y="94"/>
                    </a:cubicBezTo>
                    <a:cubicBezTo>
                      <a:pt x="102" y="95"/>
                      <a:pt x="102" y="95"/>
                      <a:pt x="102" y="95"/>
                    </a:cubicBezTo>
                    <a:cubicBezTo>
                      <a:pt x="104" y="95"/>
                      <a:pt x="105" y="94"/>
                      <a:pt x="107" y="94"/>
                    </a:cubicBezTo>
                    <a:cubicBezTo>
                      <a:pt x="107" y="94"/>
                      <a:pt x="110" y="95"/>
                      <a:pt x="111" y="95"/>
                    </a:cubicBezTo>
                    <a:cubicBezTo>
                      <a:pt x="112" y="95"/>
                      <a:pt x="113" y="94"/>
                      <a:pt x="114" y="94"/>
                    </a:cubicBezTo>
                    <a:cubicBezTo>
                      <a:pt x="114" y="94"/>
                      <a:pt x="116" y="94"/>
                      <a:pt x="115" y="94"/>
                    </a:cubicBezTo>
                    <a:cubicBezTo>
                      <a:pt x="115" y="94"/>
                      <a:pt x="116" y="97"/>
                      <a:pt x="115" y="98"/>
                    </a:cubicBezTo>
                    <a:cubicBezTo>
                      <a:pt x="113" y="100"/>
                      <a:pt x="108" y="99"/>
                      <a:pt x="107" y="99"/>
                    </a:cubicBezTo>
                    <a:cubicBezTo>
                      <a:pt x="106" y="99"/>
                      <a:pt x="104" y="101"/>
                      <a:pt x="103" y="102"/>
                    </a:cubicBezTo>
                    <a:cubicBezTo>
                      <a:pt x="98" y="104"/>
                      <a:pt x="93" y="105"/>
                      <a:pt x="89" y="107"/>
                    </a:cubicBezTo>
                    <a:cubicBezTo>
                      <a:pt x="91" y="103"/>
                      <a:pt x="90" y="102"/>
                      <a:pt x="89" y="97"/>
                    </a:cubicBezTo>
                    <a:cubicBezTo>
                      <a:pt x="88" y="96"/>
                      <a:pt x="86" y="95"/>
                      <a:pt x="85" y="95"/>
                    </a:cubicBezTo>
                    <a:cubicBezTo>
                      <a:pt x="81" y="96"/>
                      <a:pt x="81" y="96"/>
                      <a:pt x="81" y="96"/>
                    </a:cubicBezTo>
                    <a:cubicBezTo>
                      <a:pt x="81" y="94"/>
                      <a:pt x="81" y="94"/>
                      <a:pt x="81" y="94"/>
                    </a:cubicBezTo>
                    <a:cubicBezTo>
                      <a:pt x="82" y="93"/>
                      <a:pt x="83" y="93"/>
                      <a:pt x="83" y="92"/>
                    </a:cubicBezTo>
                    <a:cubicBezTo>
                      <a:pt x="89" y="89"/>
                      <a:pt x="89" y="89"/>
                      <a:pt x="89" y="89"/>
                    </a:cubicBezTo>
                    <a:cubicBezTo>
                      <a:pt x="91" y="89"/>
                      <a:pt x="91" y="90"/>
                      <a:pt x="93" y="90"/>
                    </a:cubicBezTo>
                    <a:cubicBezTo>
                      <a:pt x="92" y="88"/>
                      <a:pt x="93" y="88"/>
                      <a:pt x="92" y="88"/>
                    </a:cubicBezTo>
                    <a:cubicBezTo>
                      <a:pt x="91" y="85"/>
                      <a:pt x="91" y="85"/>
                      <a:pt x="91" y="85"/>
                    </a:cubicBezTo>
                    <a:cubicBezTo>
                      <a:pt x="90" y="85"/>
                      <a:pt x="90" y="86"/>
                      <a:pt x="89" y="86"/>
                    </a:cubicBezTo>
                    <a:cubicBezTo>
                      <a:pt x="88" y="84"/>
                      <a:pt x="88" y="84"/>
                      <a:pt x="88" y="84"/>
                    </a:cubicBezTo>
                    <a:cubicBezTo>
                      <a:pt x="87" y="84"/>
                      <a:pt x="85" y="84"/>
                      <a:pt x="83" y="84"/>
                    </a:cubicBezTo>
                    <a:cubicBezTo>
                      <a:pt x="82" y="85"/>
                      <a:pt x="83" y="87"/>
                      <a:pt x="82" y="87"/>
                    </a:cubicBezTo>
                    <a:cubicBezTo>
                      <a:pt x="81" y="87"/>
                      <a:pt x="81" y="87"/>
                      <a:pt x="81" y="87"/>
                    </a:cubicBezTo>
                    <a:cubicBezTo>
                      <a:pt x="80" y="87"/>
                      <a:pt x="79" y="85"/>
                      <a:pt x="79" y="84"/>
                    </a:cubicBezTo>
                    <a:cubicBezTo>
                      <a:pt x="78" y="84"/>
                      <a:pt x="77" y="85"/>
                      <a:pt x="76" y="84"/>
                    </a:cubicBezTo>
                    <a:cubicBezTo>
                      <a:pt x="76" y="83"/>
                      <a:pt x="76" y="83"/>
                      <a:pt x="76" y="83"/>
                    </a:cubicBezTo>
                    <a:cubicBezTo>
                      <a:pt x="75" y="83"/>
                      <a:pt x="74" y="83"/>
                      <a:pt x="73" y="82"/>
                    </a:cubicBezTo>
                    <a:cubicBezTo>
                      <a:pt x="73" y="81"/>
                      <a:pt x="73" y="81"/>
                      <a:pt x="73" y="81"/>
                    </a:cubicBezTo>
                    <a:cubicBezTo>
                      <a:pt x="75" y="81"/>
                      <a:pt x="77" y="81"/>
                      <a:pt x="78" y="81"/>
                    </a:cubicBezTo>
                    <a:cubicBezTo>
                      <a:pt x="78" y="81"/>
                      <a:pt x="79" y="79"/>
                      <a:pt x="76" y="80"/>
                    </a:cubicBezTo>
                    <a:cubicBezTo>
                      <a:pt x="76" y="79"/>
                      <a:pt x="75" y="77"/>
                      <a:pt x="75" y="77"/>
                    </a:cubicBezTo>
                    <a:cubicBezTo>
                      <a:pt x="74" y="77"/>
                      <a:pt x="74" y="78"/>
                      <a:pt x="74" y="79"/>
                    </a:cubicBezTo>
                    <a:cubicBezTo>
                      <a:pt x="72" y="79"/>
                      <a:pt x="69" y="79"/>
                      <a:pt x="67" y="79"/>
                    </a:cubicBezTo>
                    <a:cubicBezTo>
                      <a:pt x="66" y="80"/>
                      <a:pt x="66" y="80"/>
                      <a:pt x="66" y="80"/>
                    </a:cubicBezTo>
                    <a:cubicBezTo>
                      <a:pt x="65" y="80"/>
                      <a:pt x="65" y="80"/>
                      <a:pt x="65" y="80"/>
                    </a:cubicBezTo>
                    <a:cubicBezTo>
                      <a:pt x="64" y="81"/>
                      <a:pt x="64" y="82"/>
                      <a:pt x="63" y="84"/>
                    </a:cubicBezTo>
                    <a:cubicBezTo>
                      <a:pt x="58" y="77"/>
                      <a:pt x="58" y="77"/>
                      <a:pt x="58" y="77"/>
                    </a:cubicBezTo>
                    <a:cubicBezTo>
                      <a:pt x="58" y="77"/>
                      <a:pt x="54" y="75"/>
                      <a:pt x="55" y="71"/>
                    </a:cubicBezTo>
                    <a:cubicBezTo>
                      <a:pt x="55" y="69"/>
                      <a:pt x="55" y="69"/>
                      <a:pt x="54" y="66"/>
                    </a:cubicBezTo>
                    <a:cubicBezTo>
                      <a:pt x="52" y="64"/>
                      <a:pt x="51" y="65"/>
                      <a:pt x="52" y="62"/>
                    </a:cubicBezTo>
                    <a:cubicBezTo>
                      <a:pt x="52" y="59"/>
                      <a:pt x="50" y="57"/>
                      <a:pt x="49" y="56"/>
                    </a:cubicBezTo>
                    <a:cubicBezTo>
                      <a:pt x="47" y="55"/>
                      <a:pt x="46" y="54"/>
                      <a:pt x="45" y="53"/>
                    </a:cubicBezTo>
                    <a:cubicBezTo>
                      <a:pt x="43" y="52"/>
                      <a:pt x="42" y="51"/>
                      <a:pt x="40" y="50"/>
                    </a:cubicBezTo>
                    <a:cubicBezTo>
                      <a:pt x="39" y="50"/>
                      <a:pt x="36" y="49"/>
                      <a:pt x="35" y="50"/>
                    </a:cubicBezTo>
                    <a:cubicBezTo>
                      <a:pt x="34" y="51"/>
                      <a:pt x="30" y="50"/>
                      <a:pt x="30" y="53"/>
                    </a:cubicBezTo>
                    <a:cubicBezTo>
                      <a:pt x="30" y="53"/>
                      <a:pt x="27" y="54"/>
                      <a:pt x="27" y="56"/>
                    </a:cubicBezTo>
                    <a:cubicBezTo>
                      <a:pt x="26" y="58"/>
                      <a:pt x="25" y="58"/>
                      <a:pt x="23" y="58"/>
                    </a:cubicBezTo>
                    <a:cubicBezTo>
                      <a:pt x="21" y="58"/>
                      <a:pt x="21" y="60"/>
                      <a:pt x="18" y="61"/>
                    </a:cubicBezTo>
                    <a:cubicBezTo>
                      <a:pt x="16" y="62"/>
                      <a:pt x="16" y="62"/>
                      <a:pt x="15" y="60"/>
                    </a:cubicBezTo>
                    <a:cubicBezTo>
                      <a:pt x="13" y="58"/>
                      <a:pt x="12" y="58"/>
                      <a:pt x="9" y="58"/>
                    </a:cubicBezTo>
                    <a:cubicBezTo>
                      <a:pt x="6" y="58"/>
                      <a:pt x="5" y="58"/>
                      <a:pt x="4" y="56"/>
                    </a:cubicBezTo>
                    <a:cubicBezTo>
                      <a:pt x="3" y="54"/>
                      <a:pt x="0" y="55"/>
                      <a:pt x="0" y="55"/>
                    </a:cubicBezTo>
                    <a:cubicBezTo>
                      <a:pt x="2" y="50"/>
                      <a:pt x="2" y="50"/>
                      <a:pt x="2" y="50"/>
                    </a:cubicBezTo>
                    <a:cubicBezTo>
                      <a:pt x="5" y="49"/>
                      <a:pt x="5" y="49"/>
                      <a:pt x="5" y="49"/>
                    </a:cubicBezTo>
                    <a:cubicBezTo>
                      <a:pt x="5" y="49"/>
                      <a:pt x="10" y="47"/>
                      <a:pt x="10" y="45"/>
                    </a:cubicBezTo>
                    <a:cubicBezTo>
                      <a:pt x="9" y="43"/>
                      <a:pt x="7" y="41"/>
                      <a:pt x="9" y="39"/>
                    </a:cubicBezTo>
                    <a:cubicBezTo>
                      <a:pt x="10" y="37"/>
                      <a:pt x="10" y="36"/>
                      <a:pt x="11" y="34"/>
                    </a:cubicBezTo>
                    <a:cubicBezTo>
                      <a:pt x="12" y="32"/>
                      <a:pt x="13" y="29"/>
                      <a:pt x="13" y="29"/>
                    </a:cubicBezTo>
                    <a:cubicBezTo>
                      <a:pt x="13" y="29"/>
                      <a:pt x="9" y="24"/>
                      <a:pt x="10" y="22"/>
                    </a:cubicBezTo>
                    <a:cubicBezTo>
                      <a:pt x="11" y="20"/>
                      <a:pt x="12" y="19"/>
                      <a:pt x="12" y="16"/>
                    </a:cubicBezTo>
                    <a:cubicBezTo>
                      <a:pt x="11" y="13"/>
                      <a:pt x="13" y="14"/>
                      <a:pt x="12" y="13"/>
                    </a:cubicBezTo>
                    <a:cubicBezTo>
                      <a:pt x="11" y="11"/>
                      <a:pt x="9" y="8"/>
                      <a:pt x="12" y="7"/>
                    </a:cubicBezTo>
                    <a:cubicBezTo>
                      <a:pt x="12" y="7"/>
                      <a:pt x="15" y="4"/>
                      <a:pt x="16" y="8"/>
                    </a:cubicBezTo>
                    <a:cubicBezTo>
                      <a:pt x="17" y="11"/>
                      <a:pt x="20" y="6"/>
                      <a:pt x="20" y="6"/>
                    </a:cubicBezTo>
                    <a:cubicBezTo>
                      <a:pt x="20" y="6"/>
                      <a:pt x="24" y="5"/>
                      <a:pt x="26" y="5"/>
                    </a:cubicBezTo>
                    <a:cubicBezTo>
                      <a:pt x="29" y="6"/>
                      <a:pt x="33" y="6"/>
                      <a:pt x="35" y="7"/>
                    </a:cubicBezTo>
                    <a:cubicBezTo>
                      <a:pt x="38" y="8"/>
                      <a:pt x="40" y="7"/>
                      <a:pt x="43" y="7"/>
                    </a:cubicBezTo>
                    <a:cubicBezTo>
                      <a:pt x="45" y="7"/>
                      <a:pt x="46" y="7"/>
                      <a:pt x="46" y="7"/>
                    </a:cubicBezTo>
                    <a:cubicBezTo>
                      <a:pt x="47" y="9"/>
                      <a:pt x="47" y="9"/>
                      <a:pt x="47" y="9"/>
                    </a:cubicBezTo>
                    <a:cubicBezTo>
                      <a:pt x="47" y="9"/>
                      <a:pt x="48" y="7"/>
                      <a:pt x="48" y="6"/>
                    </a:cubicBezTo>
                    <a:cubicBezTo>
                      <a:pt x="49" y="6"/>
                      <a:pt x="50" y="9"/>
                      <a:pt x="52" y="8"/>
                    </a:cubicBezTo>
                    <a:cubicBezTo>
                      <a:pt x="54" y="6"/>
                      <a:pt x="54" y="8"/>
                      <a:pt x="56" y="8"/>
                    </a:cubicBezTo>
                    <a:cubicBezTo>
                      <a:pt x="58" y="7"/>
                      <a:pt x="61" y="8"/>
                      <a:pt x="63" y="8"/>
                    </a:cubicBezTo>
                    <a:cubicBezTo>
                      <a:pt x="66" y="9"/>
                      <a:pt x="65" y="8"/>
                      <a:pt x="66" y="5"/>
                    </a:cubicBezTo>
                    <a:cubicBezTo>
                      <a:pt x="66" y="2"/>
                      <a:pt x="66" y="2"/>
                      <a:pt x="68" y="2"/>
                    </a:cubicBezTo>
                    <a:cubicBezTo>
                      <a:pt x="70" y="2"/>
                      <a:pt x="71" y="2"/>
                      <a:pt x="71" y="2"/>
                    </a:cubicBezTo>
                    <a:cubicBezTo>
                      <a:pt x="71" y="2"/>
                      <a:pt x="74" y="7"/>
                      <a:pt x="77" y="2"/>
                    </a:cubicBezTo>
                    <a:cubicBezTo>
                      <a:pt x="78" y="0"/>
                      <a:pt x="78" y="2"/>
                      <a:pt x="80" y="3"/>
                    </a:cubicBezTo>
                    <a:cubicBezTo>
                      <a:pt x="83" y="4"/>
                      <a:pt x="85" y="2"/>
                      <a:pt x="85" y="4"/>
                    </a:cubicBezTo>
                    <a:cubicBezTo>
                      <a:pt x="85" y="6"/>
                      <a:pt x="86" y="8"/>
                      <a:pt x="86" y="8"/>
                    </a:cubicBezTo>
                    <a:cubicBezTo>
                      <a:pt x="86" y="8"/>
                      <a:pt x="86" y="12"/>
                      <a:pt x="88" y="12"/>
                    </a:cubicBezTo>
                    <a:cubicBezTo>
                      <a:pt x="89" y="12"/>
                      <a:pt x="88" y="16"/>
                      <a:pt x="90" y="16"/>
                    </a:cubicBezTo>
                    <a:cubicBezTo>
                      <a:pt x="92" y="16"/>
                      <a:pt x="95" y="15"/>
                      <a:pt x="96" y="16"/>
                    </a:cubicBezTo>
                    <a:cubicBezTo>
                      <a:pt x="99" y="18"/>
                      <a:pt x="100" y="18"/>
                      <a:pt x="102" y="17"/>
                    </a:cubicBezTo>
                    <a:cubicBezTo>
                      <a:pt x="104" y="17"/>
                      <a:pt x="104" y="20"/>
                      <a:pt x="105" y="21"/>
                    </a:cubicBezTo>
                    <a:cubicBezTo>
                      <a:pt x="108" y="22"/>
                      <a:pt x="107" y="22"/>
                      <a:pt x="109" y="22"/>
                    </a:cubicBezTo>
                    <a:cubicBezTo>
                      <a:pt x="111" y="23"/>
                      <a:pt x="111" y="28"/>
                      <a:pt x="111" y="28"/>
                    </a:cubicBezTo>
                    <a:cubicBezTo>
                      <a:pt x="111" y="28"/>
                      <a:pt x="114" y="27"/>
                      <a:pt x="116" y="27"/>
                    </a:cubicBezTo>
                    <a:cubicBezTo>
                      <a:pt x="118" y="26"/>
                      <a:pt x="119" y="25"/>
                      <a:pt x="119" y="25"/>
                    </a:cubicBezTo>
                    <a:cubicBezTo>
                      <a:pt x="119" y="25"/>
                      <a:pt x="123" y="25"/>
                      <a:pt x="124" y="26"/>
                    </a:cubicBezTo>
                    <a:cubicBezTo>
                      <a:pt x="125" y="28"/>
                      <a:pt x="123" y="28"/>
                      <a:pt x="126" y="28"/>
                    </a:cubicBezTo>
                    <a:cubicBezTo>
                      <a:pt x="129" y="28"/>
                      <a:pt x="128" y="30"/>
                      <a:pt x="131" y="31"/>
                    </a:cubicBezTo>
                    <a:cubicBezTo>
                      <a:pt x="133" y="31"/>
                      <a:pt x="140" y="34"/>
                      <a:pt x="142" y="36"/>
                    </a:cubicBezTo>
                    <a:cubicBezTo>
                      <a:pt x="145" y="38"/>
                      <a:pt x="141" y="39"/>
                      <a:pt x="143" y="40"/>
                    </a:cubicBezTo>
                    <a:cubicBezTo>
                      <a:pt x="144" y="42"/>
                      <a:pt x="147" y="41"/>
                      <a:pt x="146" y="43"/>
                    </a:cubicBezTo>
                    <a:cubicBezTo>
                      <a:pt x="145" y="45"/>
                      <a:pt x="143" y="46"/>
                      <a:pt x="145" y="46"/>
                    </a:cubicBezTo>
                    <a:cubicBezTo>
                      <a:pt x="149" y="47"/>
                      <a:pt x="145" y="51"/>
                      <a:pt x="146" y="53"/>
                    </a:cubicBezTo>
                    <a:cubicBezTo>
                      <a:pt x="147" y="54"/>
                      <a:pt x="147" y="55"/>
                      <a:pt x="147" y="57"/>
                    </a:cubicBezTo>
                    <a:cubicBezTo>
                      <a:pt x="147" y="59"/>
                      <a:pt x="146" y="61"/>
                      <a:pt x="146" y="63"/>
                    </a:cubicBezTo>
                    <a:cubicBezTo>
                      <a:pt x="145" y="65"/>
                      <a:pt x="141" y="66"/>
                      <a:pt x="139" y="66"/>
                    </a:cubicBezTo>
                    <a:cubicBezTo>
                      <a:pt x="137" y="68"/>
                      <a:pt x="137" y="68"/>
                      <a:pt x="137" y="68"/>
                    </a:cubicBezTo>
                    <a:lnTo>
                      <a:pt x="136" y="71"/>
                    </a:lnTo>
                    <a:close/>
                    <a:moveTo>
                      <a:pt x="63" y="84"/>
                    </a:moveTo>
                    <a:cubicBezTo>
                      <a:pt x="63" y="84"/>
                      <a:pt x="59" y="81"/>
                      <a:pt x="57" y="81"/>
                    </a:cubicBezTo>
                    <a:cubicBezTo>
                      <a:pt x="55" y="81"/>
                      <a:pt x="53" y="78"/>
                      <a:pt x="53" y="80"/>
                    </a:cubicBezTo>
                    <a:cubicBezTo>
                      <a:pt x="53" y="82"/>
                      <a:pt x="49" y="84"/>
                      <a:pt x="49" y="85"/>
                    </a:cubicBezTo>
                    <a:cubicBezTo>
                      <a:pt x="49" y="87"/>
                      <a:pt x="46" y="91"/>
                      <a:pt x="46" y="91"/>
                    </a:cubicBezTo>
                    <a:cubicBezTo>
                      <a:pt x="48" y="92"/>
                      <a:pt x="48" y="92"/>
                      <a:pt x="48" y="92"/>
                    </a:cubicBezTo>
                    <a:cubicBezTo>
                      <a:pt x="48" y="92"/>
                      <a:pt x="51" y="94"/>
                      <a:pt x="51" y="92"/>
                    </a:cubicBezTo>
                    <a:cubicBezTo>
                      <a:pt x="52" y="91"/>
                      <a:pt x="56" y="92"/>
                      <a:pt x="56" y="92"/>
                    </a:cubicBezTo>
                    <a:cubicBezTo>
                      <a:pt x="56" y="92"/>
                      <a:pt x="56" y="90"/>
                      <a:pt x="56" y="90"/>
                    </a:cubicBezTo>
                    <a:cubicBezTo>
                      <a:pt x="58" y="89"/>
                      <a:pt x="60" y="89"/>
                      <a:pt x="61" y="87"/>
                    </a:cubicBezTo>
                    <a:cubicBezTo>
                      <a:pt x="62" y="86"/>
                      <a:pt x="62" y="85"/>
                      <a:pt x="63" y="8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56" name="Freeform 35">
                <a:extLst>
                  <a:ext uri="{FF2B5EF4-FFF2-40B4-BE49-F238E27FC236}">
                    <a16:creationId xmlns:a16="http://schemas.microsoft.com/office/drawing/2014/main" id="{BB6780A0-97EA-3F2D-118A-FF98980D8F22}"/>
                  </a:ext>
                </a:extLst>
              </p:cNvPr>
              <p:cNvSpPr>
                <a:spLocks noEditPoints="1"/>
              </p:cNvSpPr>
              <p:nvPr/>
            </p:nvSpPr>
            <p:spPr bwMode="auto">
              <a:xfrm>
                <a:off x="3602" y="2162"/>
                <a:ext cx="102" cy="138"/>
              </a:xfrm>
              <a:custGeom>
                <a:avLst/>
                <a:gdLst>
                  <a:gd name="T0" fmla="*/ 47 w 52"/>
                  <a:gd name="T1" fmla="*/ 51 h 70"/>
                  <a:gd name="T2" fmla="*/ 47 w 52"/>
                  <a:gd name="T3" fmla="*/ 48 h 70"/>
                  <a:gd name="T4" fmla="*/ 46 w 52"/>
                  <a:gd name="T5" fmla="*/ 40 h 70"/>
                  <a:gd name="T6" fmla="*/ 47 w 52"/>
                  <a:gd name="T7" fmla="*/ 33 h 70"/>
                  <a:gd name="T8" fmla="*/ 50 w 52"/>
                  <a:gd name="T9" fmla="*/ 29 h 70"/>
                  <a:gd name="T10" fmla="*/ 52 w 52"/>
                  <a:gd name="T11" fmla="*/ 24 h 70"/>
                  <a:gd name="T12" fmla="*/ 50 w 52"/>
                  <a:gd name="T13" fmla="*/ 19 h 70"/>
                  <a:gd name="T14" fmla="*/ 48 w 52"/>
                  <a:gd name="T15" fmla="*/ 13 h 70"/>
                  <a:gd name="T16" fmla="*/ 49 w 52"/>
                  <a:gd name="T17" fmla="*/ 7 h 70"/>
                  <a:gd name="T18" fmla="*/ 47 w 52"/>
                  <a:gd name="T19" fmla="*/ 5 h 70"/>
                  <a:gd name="T20" fmla="*/ 45 w 52"/>
                  <a:gd name="T21" fmla="*/ 3 h 70"/>
                  <a:gd name="T22" fmla="*/ 45 w 52"/>
                  <a:gd name="T23" fmla="*/ 0 h 70"/>
                  <a:gd name="T24" fmla="*/ 41 w 52"/>
                  <a:gd name="T25" fmla="*/ 3 h 70"/>
                  <a:gd name="T26" fmla="*/ 35 w 52"/>
                  <a:gd name="T27" fmla="*/ 1 h 70"/>
                  <a:gd name="T28" fmla="*/ 32 w 52"/>
                  <a:gd name="T29" fmla="*/ 2 h 70"/>
                  <a:gd name="T30" fmla="*/ 25 w 52"/>
                  <a:gd name="T31" fmla="*/ 6 h 70"/>
                  <a:gd name="T32" fmla="*/ 26 w 52"/>
                  <a:gd name="T33" fmla="*/ 10 h 70"/>
                  <a:gd name="T34" fmla="*/ 23 w 52"/>
                  <a:gd name="T35" fmla="*/ 16 h 70"/>
                  <a:gd name="T36" fmla="*/ 21 w 52"/>
                  <a:gd name="T37" fmla="*/ 20 h 70"/>
                  <a:gd name="T38" fmla="*/ 21 w 52"/>
                  <a:gd name="T39" fmla="*/ 25 h 70"/>
                  <a:gd name="T40" fmla="*/ 23 w 52"/>
                  <a:gd name="T41" fmla="*/ 28 h 70"/>
                  <a:gd name="T42" fmla="*/ 23 w 52"/>
                  <a:gd name="T43" fmla="*/ 30 h 70"/>
                  <a:gd name="T44" fmla="*/ 19 w 52"/>
                  <a:gd name="T45" fmla="*/ 36 h 70"/>
                  <a:gd name="T46" fmla="*/ 19 w 52"/>
                  <a:gd name="T47" fmla="*/ 36 h 70"/>
                  <a:gd name="T48" fmla="*/ 18 w 52"/>
                  <a:gd name="T49" fmla="*/ 37 h 70"/>
                  <a:gd name="T50" fmla="*/ 16 w 52"/>
                  <a:gd name="T51" fmla="*/ 36 h 70"/>
                  <a:gd name="T52" fmla="*/ 14 w 52"/>
                  <a:gd name="T53" fmla="*/ 38 h 70"/>
                  <a:gd name="T54" fmla="*/ 11 w 52"/>
                  <a:gd name="T55" fmla="*/ 40 h 70"/>
                  <a:gd name="T56" fmla="*/ 8 w 52"/>
                  <a:gd name="T57" fmla="*/ 45 h 70"/>
                  <a:gd name="T58" fmla="*/ 7 w 52"/>
                  <a:gd name="T59" fmla="*/ 52 h 70"/>
                  <a:gd name="T60" fmla="*/ 9 w 52"/>
                  <a:gd name="T61" fmla="*/ 51 h 70"/>
                  <a:gd name="T62" fmla="*/ 6 w 52"/>
                  <a:gd name="T63" fmla="*/ 57 h 70"/>
                  <a:gd name="T64" fmla="*/ 4 w 52"/>
                  <a:gd name="T65" fmla="*/ 58 h 70"/>
                  <a:gd name="T66" fmla="*/ 4 w 52"/>
                  <a:gd name="T67" fmla="*/ 59 h 70"/>
                  <a:gd name="T68" fmla="*/ 4 w 52"/>
                  <a:gd name="T69" fmla="*/ 65 h 70"/>
                  <a:gd name="T70" fmla="*/ 4 w 52"/>
                  <a:gd name="T71" fmla="*/ 66 h 70"/>
                  <a:gd name="T72" fmla="*/ 9 w 52"/>
                  <a:gd name="T73" fmla="*/ 69 h 70"/>
                  <a:gd name="T74" fmla="*/ 13 w 52"/>
                  <a:gd name="T75" fmla="*/ 69 h 70"/>
                  <a:gd name="T76" fmla="*/ 18 w 52"/>
                  <a:gd name="T77" fmla="*/ 66 h 70"/>
                  <a:gd name="T78" fmla="*/ 29 w 52"/>
                  <a:gd name="T79" fmla="*/ 66 h 70"/>
                  <a:gd name="T80" fmla="*/ 29 w 52"/>
                  <a:gd name="T81" fmla="*/ 64 h 70"/>
                  <a:gd name="T82" fmla="*/ 25 w 52"/>
                  <a:gd name="T83" fmla="*/ 61 h 70"/>
                  <a:gd name="T84" fmla="*/ 28 w 52"/>
                  <a:gd name="T85" fmla="*/ 57 h 70"/>
                  <a:gd name="T86" fmla="*/ 28 w 52"/>
                  <a:gd name="T87" fmla="*/ 51 h 70"/>
                  <a:gd name="T88" fmla="*/ 28 w 52"/>
                  <a:gd name="T89" fmla="*/ 50 h 70"/>
                  <a:gd name="T90" fmla="*/ 41 w 52"/>
                  <a:gd name="T91" fmla="*/ 48 h 70"/>
                  <a:gd name="T92" fmla="*/ 42 w 52"/>
                  <a:gd name="T93" fmla="*/ 45 h 70"/>
                  <a:gd name="T94" fmla="*/ 43 w 52"/>
                  <a:gd name="T95" fmla="*/ 45 h 70"/>
                  <a:gd name="T96" fmla="*/ 44 w 52"/>
                  <a:gd name="T97" fmla="*/ 47 h 70"/>
                  <a:gd name="T98" fmla="*/ 46 w 52"/>
                  <a:gd name="T99" fmla="*/ 47 h 70"/>
                  <a:gd name="T100" fmla="*/ 45 w 52"/>
                  <a:gd name="T101" fmla="*/ 51 h 70"/>
                  <a:gd name="T102" fmla="*/ 47 w 52"/>
                  <a:gd name="T103" fmla="*/ 51 h 70"/>
                  <a:gd name="T104" fmla="*/ 21 w 52"/>
                  <a:gd name="T105" fmla="*/ 30 h 70"/>
                  <a:gd name="T106" fmla="*/ 19 w 52"/>
                  <a:gd name="T107" fmla="*/ 32 h 70"/>
                  <a:gd name="T108" fmla="*/ 20 w 52"/>
                  <a:gd name="T109" fmla="*/ 32 h 70"/>
                  <a:gd name="T110" fmla="*/ 21 w 52"/>
                  <a:gd name="T111" fmla="*/ 30 h 70"/>
                  <a:gd name="T112" fmla="*/ 32 w 52"/>
                  <a:gd name="T113" fmla="*/ 31 h 70"/>
                  <a:gd name="T114" fmla="*/ 34 w 52"/>
                  <a:gd name="T115" fmla="*/ 31 h 70"/>
                  <a:gd name="T116" fmla="*/ 35 w 52"/>
                  <a:gd name="T117" fmla="*/ 34 h 70"/>
                  <a:gd name="T118" fmla="*/ 35 w 52"/>
                  <a:gd name="T119" fmla="*/ 34 h 70"/>
                  <a:gd name="T120" fmla="*/ 30 w 52"/>
                  <a:gd name="T121" fmla="*/ 34 h 70"/>
                  <a:gd name="T122" fmla="*/ 31 w 52"/>
                  <a:gd name="T123" fmla="*/ 32 h 70"/>
                  <a:gd name="T124" fmla="*/ 32 w 52"/>
                  <a:gd name="T125" fmla="*/ 3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 h="70">
                    <a:moveTo>
                      <a:pt x="47" y="51"/>
                    </a:moveTo>
                    <a:cubicBezTo>
                      <a:pt x="47" y="51"/>
                      <a:pt x="46" y="49"/>
                      <a:pt x="47" y="48"/>
                    </a:cubicBezTo>
                    <a:cubicBezTo>
                      <a:pt x="48" y="47"/>
                      <a:pt x="44" y="42"/>
                      <a:pt x="46" y="40"/>
                    </a:cubicBezTo>
                    <a:cubicBezTo>
                      <a:pt x="48" y="38"/>
                      <a:pt x="47" y="37"/>
                      <a:pt x="47" y="33"/>
                    </a:cubicBezTo>
                    <a:cubicBezTo>
                      <a:pt x="48" y="29"/>
                      <a:pt x="50" y="31"/>
                      <a:pt x="50" y="29"/>
                    </a:cubicBezTo>
                    <a:cubicBezTo>
                      <a:pt x="51" y="28"/>
                      <a:pt x="51" y="26"/>
                      <a:pt x="52" y="24"/>
                    </a:cubicBezTo>
                    <a:cubicBezTo>
                      <a:pt x="52" y="22"/>
                      <a:pt x="52" y="21"/>
                      <a:pt x="50" y="19"/>
                    </a:cubicBezTo>
                    <a:cubicBezTo>
                      <a:pt x="47" y="17"/>
                      <a:pt x="48" y="16"/>
                      <a:pt x="48" y="13"/>
                    </a:cubicBezTo>
                    <a:cubicBezTo>
                      <a:pt x="49" y="9"/>
                      <a:pt x="51" y="9"/>
                      <a:pt x="49" y="7"/>
                    </a:cubicBezTo>
                    <a:cubicBezTo>
                      <a:pt x="47" y="5"/>
                      <a:pt x="50" y="7"/>
                      <a:pt x="47" y="5"/>
                    </a:cubicBezTo>
                    <a:cubicBezTo>
                      <a:pt x="46" y="4"/>
                      <a:pt x="45" y="3"/>
                      <a:pt x="45" y="3"/>
                    </a:cubicBezTo>
                    <a:cubicBezTo>
                      <a:pt x="45" y="0"/>
                      <a:pt x="45" y="0"/>
                      <a:pt x="45" y="0"/>
                    </a:cubicBezTo>
                    <a:cubicBezTo>
                      <a:pt x="41" y="3"/>
                      <a:pt x="41" y="3"/>
                      <a:pt x="41" y="3"/>
                    </a:cubicBezTo>
                    <a:cubicBezTo>
                      <a:pt x="41" y="3"/>
                      <a:pt x="37" y="0"/>
                      <a:pt x="35" y="1"/>
                    </a:cubicBezTo>
                    <a:cubicBezTo>
                      <a:pt x="33" y="2"/>
                      <a:pt x="34" y="3"/>
                      <a:pt x="32" y="2"/>
                    </a:cubicBezTo>
                    <a:cubicBezTo>
                      <a:pt x="29" y="2"/>
                      <a:pt x="26" y="5"/>
                      <a:pt x="25" y="6"/>
                    </a:cubicBezTo>
                    <a:cubicBezTo>
                      <a:pt x="25" y="7"/>
                      <a:pt x="26" y="8"/>
                      <a:pt x="26" y="10"/>
                    </a:cubicBezTo>
                    <a:cubicBezTo>
                      <a:pt x="25" y="12"/>
                      <a:pt x="20" y="16"/>
                      <a:pt x="23" y="16"/>
                    </a:cubicBezTo>
                    <a:cubicBezTo>
                      <a:pt x="25" y="16"/>
                      <a:pt x="22" y="18"/>
                      <a:pt x="21" y="20"/>
                    </a:cubicBezTo>
                    <a:cubicBezTo>
                      <a:pt x="21" y="21"/>
                      <a:pt x="20" y="25"/>
                      <a:pt x="21" y="25"/>
                    </a:cubicBezTo>
                    <a:cubicBezTo>
                      <a:pt x="22" y="25"/>
                      <a:pt x="23" y="26"/>
                      <a:pt x="23" y="28"/>
                    </a:cubicBezTo>
                    <a:cubicBezTo>
                      <a:pt x="24" y="27"/>
                      <a:pt x="23" y="29"/>
                      <a:pt x="23" y="30"/>
                    </a:cubicBezTo>
                    <a:cubicBezTo>
                      <a:pt x="23" y="32"/>
                      <a:pt x="20" y="35"/>
                      <a:pt x="19" y="36"/>
                    </a:cubicBezTo>
                    <a:cubicBezTo>
                      <a:pt x="19" y="36"/>
                      <a:pt x="19" y="36"/>
                      <a:pt x="19" y="36"/>
                    </a:cubicBezTo>
                    <a:cubicBezTo>
                      <a:pt x="18" y="37"/>
                      <a:pt x="18" y="37"/>
                      <a:pt x="18" y="37"/>
                    </a:cubicBezTo>
                    <a:cubicBezTo>
                      <a:pt x="17" y="36"/>
                      <a:pt x="16" y="36"/>
                      <a:pt x="16" y="36"/>
                    </a:cubicBezTo>
                    <a:cubicBezTo>
                      <a:pt x="15" y="37"/>
                      <a:pt x="14" y="38"/>
                      <a:pt x="14" y="38"/>
                    </a:cubicBezTo>
                    <a:cubicBezTo>
                      <a:pt x="11" y="40"/>
                      <a:pt x="11" y="40"/>
                      <a:pt x="11" y="40"/>
                    </a:cubicBezTo>
                    <a:cubicBezTo>
                      <a:pt x="11" y="40"/>
                      <a:pt x="8" y="43"/>
                      <a:pt x="8" y="45"/>
                    </a:cubicBezTo>
                    <a:cubicBezTo>
                      <a:pt x="8" y="46"/>
                      <a:pt x="7" y="49"/>
                      <a:pt x="7" y="52"/>
                    </a:cubicBezTo>
                    <a:cubicBezTo>
                      <a:pt x="7" y="52"/>
                      <a:pt x="8" y="51"/>
                      <a:pt x="9" y="51"/>
                    </a:cubicBezTo>
                    <a:cubicBezTo>
                      <a:pt x="8" y="54"/>
                      <a:pt x="8" y="56"/>
                      <a:pt x="6" y="57"/>
                    </a:cubicBezTo>
                    <a:cubicBezTo>
                      <a:pt x="6" y="58"/>
                      <a:pt x="5" y="58"/>
                      <a:pt x="4" y="58"/>
                    </a:cubicBezTo>
                    <a:cubicBezTo>
                      <a:pt x="4" y="59"/>
                      <a:pt x="4" y="59"/>
                      <a:pt x="4" y="59"/>
                    </a:cubicBezTo>
                    <a:cubicBezTo>
                      <a:pt x="0" y="63"/>
                      <a:pt x="4" y="65"/>
                      <a:pt x="4" y="65"/>
                    </a:cubicBezTo>
                    <a:cubicBezTo>
                      <a:pt x="4" y="66"/>
                      <a:pt x="4" y="66"/>
                      <a:pt x="4" y="66"/>
                    </a:cubicBezTo>
                    <a:cubicBezTo>
                      <a:pt x="4" y="66"/>
                      <a:pt x="7" y="67"/>
                      <a:pt x="9" y="69"/>
                    </a:cubicBezTo>
                    <a:cubicBezTo>
                      <a:pt x="10" y="70"/>
                      <a:pt x="12" y="70"/>
                      <a:pt x="13" y="69"/>
                    </a:cubicBezTo>
                    <a:cubicBezTo>
                      <a:pt x="15" y="67"/>
                      <a:pt x="18" y="66"/>
                      <a:pt x="18" y="66"/>
                    </a:cubicBezTo>
                    <a:cubicBezTo>
                      <a:pt x="29" y="66"/>
                      <a:pt x="29" y="66"/>
                      <a:pt x="29" y="66"/>
                    </a:cubicBezTo>
                    <a:cubicBezTo>
                      <a:pt x="30" y="67"/>
                      <a:pt x="29" y="64"/>
                      <a:pt x="29" y="64"/>
                    </a:cubicBezTo>
                    <a:cubicBezTo>
                      <a:pt x="28" y="63"/>
                      <a:pt x="26" y="62"/>
                      <a:pt x="25" y="61"/>
                    </a:cubicBezTo>
                    <a:cubicBezTo>
                      <a:pt x="26" y="60"/>
                      <a:pt x="28" y="58"/>
                      <a:pt x="28" y="57"/>
                    </a:cubicBezTo>
                    <a:cubicBezTo>
                      <a:pt x="28" y="57"/>
                      <a:pt x="26" y="50"/>
                      <a:pt x="28" y="51"/>
                    </a:cubicBezTo>
                    <a:cubicBezTo>
                      <a:pt x="28" y="51"/>
                      <a:pt x="28" y="50"/>
                      <a:pt x="28" y="50"/>
                    </a:cubicBezTo>
                    <a:cubicBezTo>
                      <a:pt x="30" y="46"/>
                      <a:pt x="37" y="47"/>
                      <a:pt x="41" y="48"/>
                    </a:cubicBezTo>
                    <a:cubicBezTo>
                      <a:pt x="41" y="47"/>
                      <a:pt x="41" y="46"/>
                      <a:pt x="42" y="45"/>
                    </a:cubicBezTo>
                    <a:cubicBezTo>
                      <a:pt x="43" y="45"/>
                      <a:pt x="43" y="45"/>
                      <a:pt x="43" y="45"/>
                    </a:cubicBezTo>
                    <a:cubicBezTo>
                      <a:pt x="44" y="46"/>
                      <a:pt x="43" y="47"/>
                      <a:pt x="44" y="47"/>
                    </a:cubicBezTo>
                    <a:cubicBezTo>
                      <a:pt x="44" y="47"/>
                      <a:pt x="46" y="47"/>
                      <a:pt x="46" y="47"/>
                    </a:cubicBezTo>
                    <a:cubicBezTo>
                      <a:pt x="47" y="48"/>
                      <a:pt x="46" y="50"/>
                      <a:pt x="45" y="51"/>
                    </a:cubicBezTo>
                    <a:cubicBezTo>
                      <a:pt x="46" y="51"/>
                      <a:pt x="46" y="51"/>
                      <a:pt x="47" y="51"/>
                    </a:cubicBezTo>
                    <a:close/>
                    <a:moveTo>
                      <a:pt x="21" y="30"/>
                    </a:moveTo>
                    <a:cubicBezTo>
                      <a:pt x="20" y="31"/>
                      <a:pt x="20" y="32"/>
                      <a:pt x="19" y="32"/>
                    </a:cubicBezTo>
                    <a:cubicBezTo>
                      <a:pt x="19" y="32"/>
                      <a:pt x="20" y="32"/>
                      <a:pt x="20" y="32"/>
                    </a:cubicBezTo>
                    <a:cubicBezTo>
                      <a:pt x="20" y="31"/>
                      <a:pt x="21" y="31"/>
                      <a:pt x="21" y="30"/>
                    </a:cubicBezTo>
                    <a:close/>
                    <a:moveTo>
                      <a:pt x="32" y="31"/>
                    </a:moveTo>
                    <a:cubicBezTo>
                      <a:pt x="32" y="31"/>
                      <a:pt x="34" y="31"/>
                      <a:pt x="34" y="31"/>
                    </a:cubicBezTo>
                    <a:cubicBezTo>
                      <a:pt x="34" y="32"/>
                      <a:pt x="35" y="33"/>
                      <a:pt x="35" y="34"/>
                    </a:cubicBezTo>
                    <a:cubicBezTo>
                      <a:pt x="35" y="34"/>
                      <a:pt x="35" y="35"/>
                      <a:pt x="35" y="34"/>
                    </a:cubicBezTo>
                    <a:cubicBezTo>
                      <a:pt x="36" y="35"/>
                      <a:pt x="31" y="34"/>
                      <a:pt x="30" y="34"/>
                    </a:cubicBezTo>
                    <a:cubicBezTo>
                      <a:pt x="30" y="33"/>
                      <a:pt x="30" y="31"/>
                      <a:pt x="31" y="32"/>
                    </a:cubicBezTo>
                    <a:cubicBezTo>
                      <a:pt x="31" y="32"/>
                      <a:pt x="31" y="31"/>
                      <a:pt x="32" y="3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57" name="Freeform 36">
                <a:extLst>
                  <a:ext uri="{FF2B5EF4-FFF2-40B4-BE49-F238E27FC236}">
                    <a16:creationId xmlns:a16="http://schemas.microsoft.com/office/drawing/2014/main" id="{54A17F83-7239-DCCE-BE13-A2041EA96D30}"/>
                  </a:ext>
                </a:extLst>
              </p:cNvPr>
              <p:cNvSpPr>
                <a:spLocks noEditPoints="1"/>
              </p:cNvSpPr>
              <p:nvPr/>
            </p:nvSpPr>
            <p:spPr bwMode="auto">
              <a:xfrm>
                <a:off x="3602" y="2162"/>
                <a:ext cx="102" cy="138"/>
              </a:xfrm>
              <a:custGeom>
                <a:avLst/>
                <a:gdLst>
                  <a:gd name="T0" fmla="*/ 47 w 52"/>
                  <a:gd name="T1" fmla="*/ 51 h 70"/>
                  <a:gd name="T2" fmla="*/ 47 w 52"/>
                  <a:gd name="T3" fmla="*/ 48 h 70"/>
                  <a:gd name="T4" fmla="*/ 46 w 52"/>
                  <a:gd name="T5" fmla="*/ 40 h 70"/>
                  <a:gd name="T6" fmla="*/ 47 w 52"/>
                  <a:gd name="T7" fmla="*/ 33 h 70"/>
                  <a:gd name="T8" fmla="*/ 50 w 52"/>
                  <a:gd name="T9" fmla="*/ 29 h 70"/>
                  <a:gd name="T10" fmla="*/ 52 w 52"/>
                  <a:gd name="T11" fmla="*/ 24 h 70"/>
                  <a:gd name="T12" fmla="*/ 50 w 52"/>
                  <a:gd name="T13" fmla="*/ 19 h 70"/>
                  <a:gd name="T14" fmla="*/ 48 w 52"/>
                  <a:gd name="T15" fmla="*/ 13 h 70"/>
                  <a:gd name="T16" fmla="*/ 49 w 52"/>
                  <a:gd name="T17" fmla="*/ 7 h 70"/>
                  <a:gd name="T18" fmla="*/ 47 w 52"/>
                  <a:gd name="T19" fmla="*/ 5 h 70"/>
                  <a:gd name="T20" fmla="*/ 45 w 52"/>
                  <a:gd name="T21" fmla="*/ 3 h 70"/>
                  <a:gd name="T22" fmla="*/ 45 w 52"/>
                  <a:gd name="T23" fmla="*/ 0 h 70"/>
                  <a:gd name="T24" fmla="*/ 41 w 52"/>
                  <a:gd name="T25" fmla="*/ 3 h 70"/>
                  <a:gd name="T26" fmla="*/ 35 w 52"/>
                  <a:gd name="T27" fmla="*/ 1 h 70"/>
                  <a:gd name="T28" fmla="*/ 32 w 52"/>
                  <a:gd name="T29" fmla="*/ 2 h 70"/>
                  <a:gd name="T30" fmla="*/ 25 w 52"/>
                  <a:gd name="T31" fmla="*/ 6 h 70"/>
                  <a:gd name="T32" fmla="*/ 26 w 52"/>
                  <a:gd name="T33" fmla="*/ 10 h 70"/>
                  <a:gd name="T34" fmla="*/ 23 w 52"/>
                  <a:gd name="T35" fmla="*/ 16 h 70"/>
                  <a:gd name="T36" fmla="*/ 21 w 52"/>
                  <a:gd name="T37" fmla="*/ 20 h 70"/>
                  <a:gd name="T38" fmla="*/ 21 w 52"/>
                  <a:gd name="T39" fmla="*/ 25 h 70"/>
                  <a:gd name="T40" fmla="*/ 23 w 52"/>
                  <a:gd name="T41" fmla="*/ 28 h 70"/>
                  <a:gd name="T42" fmla="*/ 23 w 52"/>
                  <a:gd name="T43" fmla="*/ 30 h 70"/>
                  <a:gd name="T44" fmla="*/ 19 w 52"/>
                  <a:gd name="T45" fmla="*/ 36 h 70"/>
                  <a:gd name="T46" fmla="*/ 19 w 52"/>
                  <a:gd name="T47" fmla="*/ 36 h 70"/>
                  <a:gd name="T48" fmla="*/ 18 w 52"/>
                  <a:gd name="T49" fmla="*/ 37 h 70"/>
                  <a:gd name="T50" fmla="*/ 16 w 52"/>
                  <a:gd name="T51" fmla="*/ 36 h 70"/>
                  <a:gd name="T52" fmla="*/ 14 w 52"/>
                  <a:gd name="T53" fmla="*/ 38 h 70"/>
                  <a:gd name="T54" fmla="*/ 11 w 52"/>
                  <a:gd name="T55" fmla="*/ 40 h 70"/>
                  <a:gd name="T56" fmla="*/ 8 w 52"/>
                  <a:gd name="T57" fmla="*/ 45 h 70"/>
                  <a:gd name="T58" fmla="*/ 7 w 52"/>
                  <a:gd name="T59" fmla="*/ 52 h 70"/>
                  <a:gd name="T60" fmla="*/ 9 w 52"/>
                  <a:gd name="T61" fmla="*/ 51 h 70"/>
                  <a:gd name="T62" fmla="*/ 6 w 52"/>
                  <a:gd name="T63" fmla="*/ 57 h 70"/>
                  <a:gd name="T64" fmla="*/ 4 w 52"/>
                  <a:gd name="T65" fmla="*/ 58 h 70"/>
                  <a:gd name="T66" fmla="*/ 4 w 52"/>
                  <a:gd name="T67" fmla="*/ 59 h 70"/>
                  <a:gd name="T68" fmla="*/ 4 w 52"/>
                  <a:gd name="T69" fmla="*/ 65 h 70"/>
                  <a:gd name="T70" fmla="*/ 4 w 52"/>
                  <a:gd name="T71" fmla="*/ 66 h 70"/>
                  <a:gd name="T72" fmla="*/ 9 w 52"/>
                  <a:gd name="T73" fmla="*/ 69 h 70"/>
                  <a:gd name="T74" fmla="*/ 13 w 52"/>
                  <a:gd name="T75" fmla="*/ 69 h 70"/>
                  <a:gd name="T76" fmla="*/ 18 w 52"/>
                  <a:gd name="T77" fmla="*/ 66 h 70"/>
                  <a:gd name="T78" fmla="*/ 29 w 52"/>
                  <a:gd name="T79" fmla="*/ 66 h 70"/>
                  <a:gd name="T80" fmla="*/ 29 w 52"/>
                  <a:gd name="T81" fmla="*/ 64 h 70"/>
                  <a:gd name="T82" fmla="*/ 25 w 52"/>
                  <a:gd name="T83" fmla="*/ 61 h 70"/>
                  <a:gd name="T84" fmla="*/ 28 w 52"/>
                  <a:gd name="T85" fmla="*/ 57 h 70"/>
                  <a:gd name="T86" fmla="*/ 28 w 52"/>
                  <a:gd name="T87" fmla="*/ 51 h 70"/>
                  <a:gd name="T88" fmla="*/ 28 w 52"/>
                  <a:gd name="T89" fmla="*/ 50 h 70"/>
                  <a:gd name="T90" fmla="*/ 41 w 52"/>
                  <a:gd name="T91" fmla="*/ 48 h 70"/>
                  <a:gd name="T92" fmla="*/ 42 w 52"/>
                  <a:gd name="T93" fmla="*/ 45 h 70"/>
                  <a:gd name="T94" fmla="*/ 43 w 52"/>
                  <a:gd name="T95" fmla="*/ 45 h 70"/>
                  <a:gd name="T96" fmla="*/ 44 w 52"/>
                  <a:gd name="T97" fmla="*/ 47 h 70"/>
                  <a:gd name="T98" fmla="*/ 46 w 52"/>
                  <a:gd name="T99" fmla="*/ 47 h 70"/>
                  <a:gd name="T100" fmla="*/ 45 w 52"/>
                  <a:gd name="T101" fmla="*/ 51 h 70"/>
                  <a:gd name="T102" fmla="*/ 47 w 52"/>
                  <a:gd name="T103" fmla="*/ 51 h 70"/>
                  <a:gd name="T104" fmla="*/ 21 w 52"/>
                  <a:gd name="T105" fmla="*/ 30 h 70"/>
                  <a:gd name="T106" fmla="*/ 19 w 52"/>
                  <a:gd name="T107" fmla="*/ 32 h 70"/>
                  <a:gd name="T108" fmla="*/ 20 w 52"/>
                  <a:gd name="T109" fmla="*/ 32 h 70"/>
                  <a:gd name="T110" fmla="*/ 21 w 52"/>
                  <a:gd name="T111" fmla="*/ 30 h 70"/>
                  <a:gd name="T112" fmla="*/ 32 w 52"/>
                  <a:gd name="T113" fmla="*/ 31 h 70"/>
                  <a:gd name="T114" fmla="*/ 34 w 52"/>
                  <a:gd name="T115" fmla="*/ 31 h 70"/>
                  <a:gd name="T116" fmla="*/ 35 w 52"/>
                  <a:gd name="T117" fmla="*/ 34 h 70"/>
                  <a:gd name="T118" fmla="*/ 35 w 52"/>
                  <a:gd name="T119" fmla="*/ 34 h 70"/>
                  <a:gd name="T120" fmla="*/ 30 w 52"/>
                  <a:gd name="T121" fmla="*/ 34 h 70"/>
                  <a:gd name="T122" fmla="*/ 31 w 52"/>
                  <a:gd name="T123" fmla="*/ 32 h 70"/>
                  <a:gd name="T124" fmla="*/ 32 w 52"/>
                  <a:gd name="T125" fmla="*/ 3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 h="70">
                    <a:moveTo>
                      <a:pt x="47" y="51"/>
                    </a:moveTo>
                    <a:cubicBezTo>
                      <a:pt x="47" y="51"/>
                      <a:pt x="46" y="49"/>
                      <a:pt x="47" y="48"/>
                    </a:cubicBezTo>
                    <a:cubicBezTo>
                      <a:pt x="48" y="47"/>
                      <a:pt x="44" y="42"/>
                      <a:pt x="46" y="40"/>
                    </a:cubicBezTo>
                    <a:cubicBezTo>
                      <a:pt x="48" y="38"/>
                      <a:pt x="47" y="37"/>
                      <a:pt x="47" y="33"/>
                    </a:cubicBezTo>
                    <a:cubicBezTo>
                      <a:pt x="48" y="29"/>
                      <a:pt x="50" y="31"/>
                      <a:pt x="50" y="29"/>
                    </a:cubicBezTo>
                    <a:cubicBezTo>
                      <a:pt x="51" y="28"/>
                      <a:pt x="51" y="26"/>
                      <a:pt x="52" y="24"/>
                    </a:cubicBezTo>
                    <a:cubicBezTo>
                      <a:pt x="52" y="22"/>
                      <a:pt x="52" y="21"/>
                      <a:pt x="50" y="19"/>
                    </a:cubicBezTo>
                    <a:cubicBezTo>
                      <a:pt x="47" y="17"/>
                      <a:pt x="48" y="16"/>
                      <a:pt x="48" y="13"/>
                    </a:cubicBezTo>
                    <a:cubicBezTo>
                      <a:pt x="49" y="9"/>
                      <a:pt x="51" y="9"/>
                      <a:pt x="49" y="7"/>
                    </a:cubicBezTo>
                    <a:cubicBezTo>
                      <a:pt x="47" y="5"/>
                      <a:pt x="50" y="7"/>
                      <a:pt x="47" y="5"/>
                    </a:cubicBezTo>
                    <a:cubicBezTo>
                      <a:pt x="46" y="4"/>
                      <a:pt x="45" y="3"/>
                      <a:pt x="45" y="3"/>
                    </a:cubicBezTo>
                    <a:cubicBezTo>
                      <a:pt x="45" y="0"/>
                      <a:pt x="45" y="0"/>
                      <a:pt x="45" y="0"/>
                    </a:cubicBezTo>
                    <a:cubicBezTo>
                      <a:pt x="41" y="3"/>
                      <a:pt x="41" y="3"/>
                      <a:pt x="41" y="3"/>
                    </a:cubicBezTo>
                    <a:cubicBezTo>
                      <a:pt x="41" y="3"/>
                      <a:pt x="37" y="0"/>
                      <a:pt x="35" y="1"/>
                    </a:cubicBezTo>
                    <a:cubicBezTo>
                      <a:pt x="33" y="2"/>
                      <a:pt x="34" y="3"/>
                      <a:pt x="32" y="2"/>
                    </a:cubicBezTo>
                    <a:cubicBezTo>
                      <a:pt x="29" y="2"/>
                      <a:pt x="26" y="5"/>
                      <a:pt x="25" y="6"/>
                    </a:cubicBezTo>
                    <a:cubicBezTo>
                      <a:pt x="25" y="7"/>
                      <a:pt x="26" y="8"/>
                      <a:pt x="26" y="10"/>
                    </a:cubicBezTo>
                    <a:cubicBezTo>
                      <a:pt x="25" y="12"/>
                      <a:pt x="20" y="16"/>
                      <a:pt x="23" y="16"/>
                    </a:cubicBezTo>
                    <a:cubicBezTo>
                      <a:pt x="25" y="16"/>
                      <a:pt x="22" y="18"/>
                      <a:pt x="21" y="20"/>
                    </a:cubicBezTo>
                    <a:cubicBezTo>
                      <a:pt x="21" y="21"/>
                      <a:pt x="20" y="25"/>
                      <a:pt x="21" y="25"/>
                    </a:cubicBezTo>
                    <a:cubicBezTo>
                      <a:pt x="22" y="25"/>
                      <a:pt x="23" y="26"/>
                      <a:pt x="23" y="28"/>
                    </a:cubicBezTo>
                    <a:cubicBezTo>
                      <a:pt x="24" y="27"/>
                      <a:pt x="23" y="29"/>
                      <a:pt x="23" y="30"/>
                    </a:cubicBezTo>
                    <a:cubicBezTo>
                      <a:pt x="23" y="32"/>
                      <a:pt x="20" y="35"/>
                      <a:pt x="19" y="36"/>
                    </a:cubicBezTo>
                    <a:cubicBezTo>
                      <a:pt x="19" y="36"/>
                      <a:pt x="19" y="36"/>
                      <a:pt x="19" y="36"/>
                    </a:cubicBezTo>
                    <a:cubicBezTo>
                      <a:pt x="18" y="37"/>
                      <a:pt x="18" y="37"/>
                      <a:pt x="18" y="37"/>
                    </a:cubicBezTo>
                    <a:cubicBezTo>
                      <a:pt x="17" y="36"/>
                      <a:pt x="16" y="36"/>
                      <a:pt x="16" y="36"/>
                    </a:cubicBezTo>
                    <a:cubicBezTo>
                      <a:pt x="15" y="37"/>
                      <a:pt x="14" y="38"/>
                      <a:pt x="14" y="38"/>
                    </a:cubicBezTo>
                    <a:cubicBezTo>
                      <a:pt x="11" y="40"/>
                      <a:pt x="11" y="40"/>
                      <a:pt x="11" y="40"/>
                    </a:cubicBezTo>
                    <a:cubicBezTo>
                      <a:pt x="11" y="40"/>
                      <a:pt x="8" y="43"/>
                      <a:pt x="8" y="45"/>
                    </a:cubicBezTo>
                    <a:cubicBezTo>
                      <a:pt x="8" y="46"/>
                      <a:pt x="7" y="49"/>
                      <a:pt x="7" y="52"/>
                    </a:cubicBezTo>
                    <a:cubicBezTo>
                      <a:pt x="7" y="52"/>
                      <a:pt x="8" y="51"/>
                      <a:pt x="9" y="51"/>
                    </a:cubicBezTo>
                    <a:cubicBezTo>
                      <a:pt x="8" y="54"/>
                      <a:pt x="8" y="56"/>
                      <a:pt x="6" y="57"/>
                    </a:cubicBezTo>
                    <a:cubicBezTo>
                      <a:pt x="6" y="58"/>
                      <a:pt x="5" y="58"/>
                      <a:pt x="4" y="58"/>
                    </a:cubicBezTo>
                    <a:cubicBezTo>
                      <a:pt x="4" y="59"/>
                      <a:pt x="4" y="59"/>
                      <a:pt x="4" y="59"/>
                    </a:cubicBezTo>
                    <a:cubicBezTo>
                      <a:pt x="0" y="63"/>
                      <a:pt x="4" y="65"/>
                      <a:pt x="4" y="65"/>
                    </a:cubicBezTo>
                    <a:cubicBezTo>
                      <a:pt x="4" y="66"/>
                      <a:pt x="4" y="66"/>
                      <a:pt x="4" y="66"/>
                    </a:cubicBezTo>
                    <a:cubicBezTo>
                      <a:pt x="4" y="66"/>
                      <a:pt x="7" y="67"/>
                      <a:pt x="9" y="69"/>
                    </a:cubicBezTo>
                    <a:cubicBezTo>
                      <a:pt x="10" y="70"/>
                      <a:pt x="12" y="70"/>
                      <a:pt x="13" y="69"/>
                    </a:cubicBezTo>
                    <a:cubicBezTo>
                      <a:pt x="15" y="67"/>
                      <a:pt x="18" y="66"/>
                      <a:pt x="18" y="66"/>
                    </a:cubicBezTo>
                    <a:cubicBezTo>
                      <a:pt x="29" y="66"/>
                      <a:pt x="29" y="66"/>
                      <a:pt x="29" y="66"/>
                    </a:cubicBezTo>
                    <a:cubicBezTo>
                      <a:pt x="30" y="67"/>
                      <a:pt x="29" y="64"/>
                      <a:pt x="29" y="64"/>
                    </a:cubicBezTo>
                    <a:cubicBezTo>
                      <a:pt x="28" y="63"/>
                      <a:pt x="26" y="62"/>
                      <a:pt x="25" y="61"/>
                    </a:cubicBezTo>
                    <a:cubicBezTo>
                      <a:pt x="26" y="60"/>
                      <a:pt x="28" y="58"/>
                      <a:pt x="28" y="57"/>
                    </a:cubicBezTo>
                    <a:cubicBezTo>
                      <a:pt x="28" y="57"/>
                      <a:pt x="26" y="50"/>
                      <a:pt x="28" y="51"/>
                    </a:cubicBezTo>
                    <a:cubicBezTo>
                      <a:pt x="28" y="51"/>
                      <a:pt x="28" y="50"/>
                      <a:pt x="28" y="50"/>
                    </a:cubicBezTo>
                    <a:cubicBezTo>
                      <a:pt x="30" y="46"/>
                      <a:pt x="37" y="47"/>
                      <a:pt x="41" y="48"/>
                    </a:cubicBezTo>
                    <a:cubicBezTo>
                      <a:pt x="41" y="47"/>
                      <a:pt x="41" y="46"/>
                      <a:pt x="42" y="45"/>
                    </a:cubicBezTo>
                    <a:cubicBezTo>
                      <a:pt x="43" y="45"/>
                      <a:pt x="43" y="45"/>
                      <a:pt x="43" y="45"/>
                    </a:cubicBezTo>
                    <a:cubicBezTo>
                      <a:pt x="44" y="46"/>
                      <a:pt x="43" y="47"/>
                      <a:pt x="44" y="47"/>
                    </a:cubicBezTo>
                    <a:cubicBezTo>
                      <a:pt x="44" y="47"/>
                      <a:pt x="46" y="47"/>
                      <a:pt x="46" y="47"/>
                    </a:cubicBezTo>
                    <a:cubicBezTo>
                      <a:pt x="47" y="48"/>
                      <a:pt x="46" y="50"/>
                      <a:pt x="45" y="51"/>
                    </a:cubicBezTo>
                    <a:cubicBezTo>
                      <a:pt x="46" y="51"/>
                      <a:pt x="46" y="51"/>
                      <a:pt x="47" y="51"/>
                    </a:cubicBezTo>
                    <a:close/>
                    <a:moveTo>
                      <a:pt x="21" y="30"/>
                    </a:moveTo>
                    <a:cubicBezTo>
                      <a:pt x="20" y="31"/>
                      <a:pt x="20" y="32"/>
                      <a:pt x="19" y="32"/>
                    </a:cubicBezTo>
                    <a:cubicBezTo>
                      <a:pt x="19" y="32"/>
                      <a:pt x="20" y="32"/>
                      <a:pt x="20" y="32"/>
                    </a:cubicBezTo>
                    <a:cubicBezTo>
                      <a:pt x="20" y="31"/>
                      <a:pt x="21" y="31"/>
                      <a:pt x="21" y="30"/>
                    </a:cubicBezTo>
                    <a:close/>
                    <a:moveTo>
                      <a:pt x="32" y="31"/>
                    </a:moveTo>
                    <a:cubicBezTo>
                      <a:pt x="32" y="31"/>
                      <a:pt x="34" y="31"/>
                      <a:pt x="34" y="31"/>
                    </a:cubicBezTo>
                    <a:cubicBezTo>
                      <a:pt x="34" y="32"/>
                      <a:pt x="35" y="33"/>
                      <a:pt x="35" y="34"/>
                    </a:cubicBezTo>
                    <a:cubicBezTo>
                      <a:pt x="35" y="34"/>
                      <a:pt x="35" y="35"/>
                      <a:pt x="35" y="34"/>
                    </a:cubicBezTo>
                    <a:cubicBezTo>
                      <a:pt x="36" y="35"/>
                      <a:pt x="31" y="34"/>
                      <a:pt x="30" y="34"/>
                    </a:cubicBezTo>
                    <a:cubicBezTo>
                      <a:pt x="30" y="33"/>
                      <a:pt x="30" y="31"/>
                      <a:pt x="31" y="32"/>
                    </a:cubicBezTo>
                    <a:cubicBezTo>
                      <a:pt x="31" y="32"/>
                      <a:pt x="31" y="31"/>
                      <a:pt x="32" y="3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58" name="Freeform 37">
                <a:extLst>
                  <a:ext uri="{FF2B5EF4-FFF2-40B4-BE49-F238E27FC236}">
                    <a16:creationId xmlns:a16="http://schemas.microsoft.com/office/drawing/2014/main" id="{ABA154BF-46A7-5A45-8D4A-55227E54E40E}"/>
                  </a:ext>
                </a:extLst>
              </p:cNvPr>
              <p:cNvSpPr>
                <a:spLocks noEditPoints="1"/>
              </p:cNvSpPr>
              <p:nvPr/>
            </p:nvSpPr>
            <p:spPr bwMode="auto">
              <a:xfrm>
                <a:off x="4002" y="1314"/>
                <a:ext cx="241" cy="173"/>
              </a:xfrm>
              <a:custGeom>
                <a:avLst/>
                <a:gdLst>
                  <a:gd name="T0" fmla="*/ 3 w 123"/>
                  <a:gd name="T1" fmla="*/ 15 h 88"/>
                  <a:gd name="T2" fmla="*/ 4 w 123"/>
                  <a:gd name="T3" fmla="*/ 12 h 88"/>
                  <a:gd name="T4" fmla="*/ 8 w 123"/>
                  <a:gd name="T5" fmla="*/ 8 h 88"/>
                  <a:gd name="T6" fmla="*/ 14 w 123"/>
                  <a:gd name="T7" fmla="*/ 14 h 88"/>
                  <a:gd name="T8" fmla="*/ 19 w 123"/>
                  <a:gd name="T9" fmla="*/ 23 h 88"/>
                  <a:gd name="T10" fmla="*/ 17 w 123"/>
                  <a:gd name="T11" fmla="*/ 24 h 88"/>
                  <a:gd name="T12" fmla="*/ 7 w 123"/>
                  <a:gd name="T13" fmla="*/ 25 h 88"/>
                  <a:gd name="T14" fmla="*/ 4 w 123"/>
                  <a:gd name="T15" fmla="*/ 21 h 88"/>
                  <a:gd name="T16" fmla="*/ 2 w 123"/>
                  <a:gd name="T17" fmla="*/ 33 h 88"/>
                  <a:gd name="T18" fmla="*/ 4 w 123"/>
                  <a:gd name="T19" fmla="*/ 35 h 88"/>
                  <a:gd name="T20" fmla="*/ 13 w 123"/>
                  <a:gd name="T21" fmla="*/ 33 h 88"/>
                  <a:gd name="T22" fmla="*/ 8 w 123"/>
                  <a:gd name="T23" fmla="*/ 36 h 88"/>
                  <a:gd name="T24" fmla="*/ 15 w 123"/>
                  <a:gd name="T25" fmla="*/ 51 h 88"/>
                  <a:gd name="T26" fmla="*/ 13 w 123"/>
                  <a:gd name="T27" fmla="*/ 61 h 88"/>
                  <a:gd name="T28" fmla="*/ 19 w 123"/>
                  <a:gd name="T29" fmla="*/ 65 h 88"/>
                  <a:gd name="T30" fmla="*/ 22 w 123"/>
                  <a:gd name="T31" fmla="*/ 59 h 88"/>
                  <a:gd name="T32" fmla="*/ 26 w 123"/>
                  <a:gd name="T33" fmla="*/ 55 h 88"/>
                  <a:gd name="T34" fmla="*/ 34 w 123"/>
                  <a:gd name="T35" fmla="*/ 55 h 88"/>
                  <a:gd name="T36" fmla="*/ 48 w 123"/>
                  <a:gd name="T37" fmla="*/ 55 h 88"/>
                  <a:gd name="T38" fmla="*/ 56 w 123"/>
                  <a:gd name="T39" fmla="*/ 57 h 88"/>
                  <a:gd name="T40" fmla="*/ 68 w 123"/>
                  <a:gd name="T41" fmla="*/ 62 h 88"/>
                  <a:gd name="T42" fmla="*/ 76 w 123"/>
                  <a:gd name="T43" fmla="*/ 67 h 88"/>
                  <a:gd name="T44" fmla="*/ 79 w 123"/>
                  <a:gd name="T45" fmla="*/ 74 h 88"/>
                  <a:gd name="T46" fmla="*/ 84 w 123"/>
                  <a:gd name="T47" fmla="*/ 79 h 88"/>
                  <a:gd name="T48" fmla="*/ 84 w 123"/>
                  <a:gd name="T49" fmla="*/ 87 h 88"/>
                  <a:gd name="T50" fmla="*/ 90 w 123"/>
                  <a:gd name="T51" fmla="*/ 87 h 88"/>
                  <a:gd name="T52" fmla="*/ 100 w 123"/>
                  <a:gd name="T53" fmla="*/ 84 h 88"/>
                  <a:gd name="T54" fmla="*/ 104 w 123"/>
                  <a:gd name="T55" fmla="*/ 75 h 88"/>
                  <a:gd name="T56" fmla="*/ 105 w 123"/>
                  <a:gd name="T57" fmla="*/ 67 h 88"/>
                  <a:gd name="T58" fmla="*/ 108 w 123"/>
                  <a:gd name="T59" fmla="*/ 62 h 88"/>
                  <a:gd name="T60" fmla="*/ 114 w 123"/>
                  <a:gd name="T61" fmla="*/ 65 h 88"/>
                  <a:gd name="T62" fmla="*/ 118 w 123"/>
                  <a:gd name="T63" fmla="*/ 61 h 88"/>
                  <a:gd name="T64" fmla="*/ 123 w 123"/>
                  <a:gd name="T65" fmla="*/ 56 h 88"/>
                  <a:gd name="T66" fmla="*/ 119 w 123"/>
                  <a:gd name="T67" fmla="*/ 54 h 88"/>
                  <a:gd name="T68" fmla="*/ 112 w 123"/>
                  <a:gd name="T69" fmla="*/ 52 h 88"/>
                  <a:gd name="T70" fmla="*/ 104 w 123"/>
                  <a:gd name="T71" fmla="*/ 50 h 88"/>
                  <a:gd name="T72" fmla="*/ 97 w 123"/>
                  <a:gd name="T73" fmla="*/ 43 h 88"/>
                  <a:gd name="T74" fmla="*/ 92 w 123"/>
                  <a:gd name="T75" fmla="*/ 39 h 88"/>
                  <a:gd name="T76" fmla="*/ 87 w 123"/>
                  <a:gd name="T77" fmla="*/ 31 h 88"/>
                  <a:gd name="T78" fmla="*/ 85 w 123"/>
                  <a:gd name="T79" fmla="*/ 24 h 88"/>
                  <a:gd name="T80" fmla="*/ 78 w 123"/>
                  <a:gd name="T81" fmla="*/ 20 h 88"/>
                  <a:gd name="T82" fmla="*/ 70 w 123"/>
                  <a:gd name="T83" fmla="*/ 21 h 88"/>
                  <a:gd name="T84" fmla="*/ 63 w 123"/>
                  <a:gd name="T85" fmla="*/ 22 h 88"/>
                  <a:gd name="T86" fmla="*/ 63 w 123"/>
                  <a:gd name="T87" fmla="*/ 19 h 88"/>
                  <a:gd name="T88" fmla="*/ 58 w 123"/>
                  <a:gd name="T89" fmla="*/ 12 h 88"/>
                  <a:gd name="T90" fmla="*/ 55 w 123"/>
                  <a:gd name="T91" fmla="*/ 1 h 88"/>
                  <a:gd name="T92" fmla="*/ 50 w 123"/>
                  <a:gd name="T93" fmla="*/ 0 h 88"/>
                  <a:gd name="T94" fmla="*/ 46 w 123"/>
                  <a:gd name="T95" fmla="*/ 6 h 88"/>
                  <a:gd name="T96" fmla="*/ 39 w 123"/>
                  <a:gd name="T97" fmla="*/ 7 h 88"/>
                  <a:gd name="T98" fmla="*/ 41 w 123"/>
                  <a:gd name="T99" fmla="*/ 12 h 88"/>
                  <a:gd name="T100" fmla="*/ 32 w 123"/>
                  <a:gd name="T101" fmla="*/ 13 h 88"/>
                  <a:gd name="T102" fmla="*/ 12 w 123"/>
                  <a:gd name="T103" fmla="*/ 4 h 88"/>
                  <a:gd name="T104" fmla="*/ 0 w 123"/>
                  <a:gd name="T105" fmla="*/ 12 h 88"/>
                  <a:gd name="T106" fmla="*/ 6 w 123"/>
                  <a:gd name="T107" fmla="*/ 4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88">
                    <a:moveTo>
                      <a:pt x="0" y="12"/>
                    </a:moveTo>
                    <a:cubicBezTo>
                      <a:pt x="1" y="13"/>
                      <a:pt x="2" y="14"/>
                      <a:pt x="3" y="15"/>
                    </a:cubicBezTo>
                    <a:cubicBezTo>
                      <a:pt x="3" y="15"/>
                      <a:pt x="4" y="14"/>
                      <a:pt x="4" y="14"/>
                    </a:cubicBezTo>
                    <a:cubicBezTo>
                      <a:pt x="5" y="14"/>
                      <a:pt x="4" y="12"/>
                      <a:pt x="4" y="12"/>
                    </a:cubicBezTo>
                    <a:cubicBezTo>
                      <a:pt x="4" y="11"/>
                      <a:pt x="5" y="11"/>
                      <a:pt x="6" y="10"/>
                    </a:cubicBezTo>
                    <a:cubicBezTo>
                      <a:pt x="7" y="10"/>
                      <a:pt x="7" y="8"/>
                      <a:pt x="8" y="8"/>
                    </a:cubicBezTo>
                    <a:cubicBezTo>
                      <a:pt x="10" y="8"/>
                      <a:pt x="12" y="9"/>
                      <a:pt x="14" y="10"/>
                    </a:cubicBezTo>
                    <a:cubicBezTo>
                      <a:pt x="14" y="11"/>
                      <a:pt x="14" y="13"/>
                      <a:pt x="14" y="14"/>
                    </a:cubicBezTo>
                    <a:cubicBezTo>
                      <a:pt x="15" y="15"/>
                      <a:pt x="19" y="17"/>
                      <a:pt x="21" y="19"/>
                    </a:cubicBezTo>
                    <a:cubicBezTo>
                      <a:pt x="20" y="21"/>
                      <a:pt x="21" y="22"/>
                      <a:pt x="19" y="23"/>
                    </a:cubicBezTo>
                    <a:cubicBezTo>
                      <a:pt x="19" y="23"/>
                      <a:pt x="17" y="23"/>
                      <a:pt x="17" y="23"/>
                    </a:cubicBezTo>
                    <a:cubicBezTo>
                      <a:pt x="17" y="23"/>
                      <a:pt x="15" y="25"/>
                      <a:pt x="17" y="24"/>
                    </a:cubicBezTo>
                    <a:cubicBezTo>
                      <a:pt x="17" y="24"/>
                      <a:pt x="17" y="26"/>
                      <a:pt x="17" y="26"/>
                    </a:cubicBezTo>
                    <a:cubicBezTo>
                      <a:pt x="13" y="25"/>
                      <a:pt x="11" y="25"/>
                      <a:pt x="7" y="25"/>
                    </a:cubicBezTo>
                    <a:cubicBezTo>
                      <a:pt x="7" y="24"/>
                      <a:pt x="7" y="22"/>
                      <a:pt x="6" y="21"/>
                    </a:cubicBezTo>
                    <a:cubicBezTo>
                      <a:pt x="6" y="21"/>
                      <a:pt x="4" y="21"/>
                      <a:pt x="4" y="21"/>
                    </a:cubicBezTo>
                    <a:cubicBezTo>
                      <a:pt x="4" y="21"/>
                      <a:pt x="5" y="24"/>
                      <a:pt x="5" y="25"/>
                    </a:cubicBezTo>
                    <a:cubicBezTo>
                      <a:pt x="5" y="26"/>
                      <a:pt x="3" y="33"/>
                      <a:pt x="2" y="33"/>
                    </a:cubicBezTo>
                    <a:cubicBezTo>
                      <a:pt x="1" y="34"/>
                      <a:pt x="2" y="34"/>
                      <a:pt x="2" y="35"/>
                    </a:cubicBezTo>
                    <a:cubicBezTo>
                      <a:pt x="4" y="34"/>
                      <a:pt x="3" y="36"/>
                      <a:pt x="4" y="35"/>
                    </a:cubicBezTo>
                    <a:cubicBezTo>
                      <a:pt x="5" y="35"/>
                      <a:pt x="6" y="33"/>
                      <a:pt x="8" y="33"/>
                    </a:cubicBezTo>
                    <a:cubicBezTo>
                      <a:pt x="9" y="32"/>
                      <a:pt x="13" y="33"/>
                      <a:pt x="13" y="33"/>
                    </a:cubicBezTo>
                    <a:cubicBezTo>
                      <a:pt x="12" y="34"/>
                      <a:pt x="10" y="33"/>
                      <a:pt x="9" y="34"/>
                    </a:cubicBezTo>
                    <a:cubicBezTo>
                      <a:pt x="8" y="34"/>
                      <a:pt x="9" y="36"/>
                      <a:pt x="8" y="36"/>
                    </a:cubicBezTo>
                    <a:cubicBezTo>
                      <a:pt x="11" y="39"/>
                      <a:pt x="11" y="39"/>
                      <a:pt x="11" y="43"/>
                    </a:cubicBezTo>
                    <a:cubicBezTo>
                      <a:pt x="13" y="44"/>
                      <a:pt x="17" y="46"/>
                      <a:pt x="15" y="51"/>
                    </a:cubicBezTo>
                    <a:cubicBezTo>
                      <a:pt x="15" y="52"/>
                      <a:pt x="13" y="51"/>
                      <a:pt x="12" y="51"/>
                    </a:cubicBezTo>
                    <a:cubicBezTo>
                      <a:pt x="12" y="56"/>
                      <a:pt x="12" y="57"/>
                      <a:pt x="13" y="61"/>
                    </a:cubicBezTo>
                    <a:cubicBezTo>
                      <a:pt x="13" y="62"/>
                      <a:pt x="13" y="63"/>
                      <a:pt x="13" y="64"/>
                    </a:cubicBezTo>
                    <a:cubicBezTo>
                      <a:pt x="19" y="65"/>
                      <a:pt x="19" y="65"/>
                      <a:pt x="19" y="65"/>
                    </a:cubicBezTo>
                    <a:cubicBezTo>
                      <a:pt x="21" y="61"/>
                      <a:pt x="21" y="61"/>
                      <a:pt x="21" y="61"/>
                    </a:cubicBezTo>
                    <a:cubicBezTo>
                      <a:pt x="22" y="59"/>
                      <a:pt x="22" y="59"/>
                      <a:pt x="22" y="59"/>
                    </a:cubicBezTo>
                    <a:cubicBezTo>
                      <a:pt x="23" y="57"/>
                      <a:pt x="23" y="57"/>
                      <a:pt x="23" y="57"/>
                    </a:cubicBezTo>
                    <a:cubicBezTo>
                      <a:pt x="26" y="55"/>
                      <a:pt x="26" y="55"/>
                      <a:pt x="26" y="55"/>
                    </a:cubicBezTo>
                    <a:cubicBezTo>
                      <a:pt x="31" y="56"/>
                      <a:pt x="31" y="56"/>
                      <a:pt x="31" y="56"/>
                    </a:cubicBezTo>
                    <a:cubicBezTo>
                      <a:pt x="34" y="55"/>
                      <a:pt x="34" y="55"/>
                      <a:pt x="34" y="55"/>
                    </a:cubicBezTo>
                    <a:cubicBezTo>
                      <a:pt x="38" y="53"/>
                      <a:pt x="38" y="53"/>
                      <a:pt x="38" y="53"/>
                    </a:cubicBezTo>
                    <a:cubicBezTo>
                      <a:pt x="48" y="55"/>
                      <a:pt x="48" y="55"/>
                      <a:pt x="48" y="55"/>
                    </a:cubicBezTo>
                    <a:cubicBezTo>
                      <a:pt x="54" y="56"/>
                      <a:pt x="54" y="56"/>
                      <a:pt x="54" y="56"/>
                    </a:cubicBezTo>
                    <a:cubicBezTo>
                      <a:pt x="56" y="57"/>
                      <a:pt x="56" y="57"/>
                      <a:pt x="56" y="57"/>
                    </a:cubicBezTo>
                    <a:cubicBezTo>
                      <a:pt x="62" y="60"/>
                      <a:pt x="62" y="60"/>
                      <a:pt x="62" y="60"/>
                    </a:cubicBezTo>
                    <a:cubicBezTo>
                      <a:pt x="68" y="62"/>
                      <a:pt x="68" y="62"/>
                      <a:pt x="68" y="62"/>
                    </a:cubicBezTo>
                    <a:cubicBezTo>
                      <a:pt x="73" y="65"/>
                      <a:pt x="73" y="65"/>
                      <a:pt x="73" y="65"/>
                    </a:cubicBezTo>
                    <a:cubicBezTo>
                      <a:pt x="76" y="67"/>
                      <a:pt x="76" y="67"/>
                      <a:pt x="76" y="67"/>
                    </a:cubicBezTo>
                    <a:cubicBezTo>
                      <a:pt x="78" y="70"/>
                      <a:pt x="78" y="70"/>
                      <a:pt x="78" y="70"/>
                    </a:cubicBezTo>
                    <a:cubicBezTo>
                      <a:pt x="79" y="74"/>
                      <a:pt x="79" y="74"/>
                      <a:pt x="79" y="74"/>
                    </a:cubicBezTo>
                    <a:cubicBezTo>
                      <a:pt x="84" y="75"/>
                      <a:pt x="84" y="75"/>
                      <a:pt x="84" y="75"/>
                    </a:cubicBezTo>
                    <a:cubicBezTo>
                      <a:pt x="84" y="79"/>
                      <a:pt x="84" y="79"/>
                      <a:pt x="84" y="79"/>
                    </a:cubicBezTo>
                    <a:cubicBezTo>
                      <a:pt x="85" y="83"/>
                      <a:pt x="85" y="83"/>
                      <a:pt x="85" y="83"/>
                    </a:cubicBezTo>
                    <a:cubicBezTo>
                      <a:pt x="84" y="87"/>
                      <a:pt x="84" y="87"/>
                      <a:pt x="84" y="87"/>
                    </a:cubicBezTo>
                    <a:cubicBezTo>
                      <a:pt x="87" y="88"/>
                      <a:pt x="87" y="88"/>
                      <a:pt x="87" y="88"/>
                    </a:cubicBezTo>
                    <a:cubicBezTo>
                      <a:pt x="90" y="87"/>
                      <a:pt x="90" y="87"/>
                      <a:pt x="90" y="87"/>
                    </a:cubicBezTo>
                    <a:cubicBezTo>
                      <a:pt x="93" y="88"/>
                      <a:pt x="93" y="88"/>
                      <a:pt x="93" y="88"/>
                    </a:cubicBezTo>
                    <a:cubicBezTo>
                      <a:pt x="100" y="84"/>
                      <a:pt x="100" y="84"/>
                      <a:pt x="100" y="84"/>
                    </a:cubicBezTo>
                    <a:cubicBezTo>
                      <a:pt x="99" y="80"/>
                      <a:pt x="99" y="80"/>
                      <a:pt x="99" y="80"/>
                    </a:cubicBezTo>
                    <a:cubicBezTo>
                      <a:pt x="104" y="75"/>
                      <a:pt x="104" y="75"/>
                      <a:pt x="104" y="75"/>
                    </a:cubicBezTo>
                    <a:cubicBezTo>
                      <a:pt x="105" y="72"/>
                      <a:pt x="105" y="72"/>
                      <a:pt x="105" y="72"/>
                    </a:cubicBezTo>
                    <a:cubicBezTo>
                      <a:pt x="105" y="67"/>
                      <a:pt x="105" y="67"/>
                      <a:pt x="105" y="67"/>
                    </a:cubicBezTo>
                    <a:cubicBezTo>
                      <a:pt x="107" y="65"/>
                      <a:pt x="107" y="65"/>
                      <a:pt x="107" y="65"/>
                    </a:cubicBezTo>
                    <a:cubicBezTo>
                      <a:pt x="108" y="62"/>
                      <a:pt x="108" y="62"/>
                      <a:pt x="108" y="62"/>
                    </a:cubicBezTo>
                    <a:cubicBezTo>
                      <a:pt x="111" y="63"/>
                      <a:pt x="111" y="63"/>
                      <a:pt x="111" y="63"/>
                    </a:cubicBezTo>
                    <a:cubicBezTo>
                      <a:pt x="114" y="65"/>
                      <a:pt x="114" y="65"/>
                      <a:pt x="114" y="65"/>
                    </a:cubicBezTo>
                    <a:cubicBezTo>
                      <a:pt x="118" y="65"/>
                      <a:pt x="118" y="65"/>
                      <a:pt x="118" y="65"/>
                    </a:cubicBezTo>
                    <a:cubicBezTo>
                      <a:pt x="118" y="61"/>
                      <a:pt x="118" y="61"/>
                      <a:pt x="118" y="61"/>
                    </a:cubicBezTo>
                    <a:cubicBezTo>
                      <a:pt x="119" y="58"/>
                      <a:pt x="119" y="58"/>
                      <a:pt x="119" y="58"/>
                    </a:cubicBezTo>
                    <a:cubicBezTo>
                      <a:pt x="123" y="56"/>
                      <a:pt x="123" y="56"/>
                      <a:pt x="123" y="56"/>
                    </a:cubicBezTo>
                    <a:cubicBezTo>
                      <a:pt x="122" y="54"/>
                      <a:pt x="122" y="54"/>
                      <a:pt x="122" y="54"/>
                    </a:cubicBezTo>
                    <a:cubicBezTo>
                      <a:pt x="119" y="54"/>
                      <a:pt x="119" y="54"/>
                      <a:pt x="119" y="54"/>
                    </a:cubicBezTo>
                    <a:cubicBezTo>
                      <a:pt x="116" y="52"/>
                      <a:pt x="116" y="52"/>
                      <a:pt x="116" y="52"/>
                    </a:cubicBezTo>
                    <a:cubicBezTo>
                      <a:pt x="112" y="52"/>
                      <a:pt x="112" y="52"/>
                      <a:pt x="112" y="52"/>
                    </a:cubicBezTo>
                    <a:cubicBezTo>
                      <a:pt x="109" y="49"/>
                      <a:pt x="109" y="49"/>
                      <a:pt x="109" y="49"/>
                    </a:cubicBezTo>
                    <a:cubicBezTo>
                      <a:pt x="104" y="50"/>
                      <a:pt x="104" y="50"/>
                      <a:pt x="104" y="50"/>
                    </a:cubicBezTo>
                    <a:cubicBezTo>
                      <a:pt x="101" y="47"/>
                      <a:pt x="101" y="47"/>
                      <a:pt x="101" y="47"/>
                    </a:cubicBezTo>
                    <a:cubicBezTo>
                      <a:pt x="97" y="43"/>
                      <a:pt x="97" y="43"/>
                      <a:pt x="97" y="43"/>
                    </a:cubicBezTo>
                    <a:cubicBezTo>
                      <a:pt x="94" y="41"/>
                      <a:pt x="94" y="41"/>
                      <a:pt x="94" y="41"/>
                    </a:cubicBezTo>
                    <a:cubicBezTo>
                      <a:pt x="92" y="39"/>
                      <a:pt x="92" y="39"/>
                      <a:pt x="92" y="39"/>
                    </a:cubicBezTo>
                    <a:cubicBezTo>
                      <a:pt x="90" y="34"/>
                      <a:pt x="90" y="34"/>
                      <a:pt x="90" y="34"/>
                    </a:cubicBezTo>
                    <a:cubicBezTo>
                      <a:pt x="87" y="31"/>
                      <a:pt x="87" y="31"/>
                      <a:pt x="87" y="31"/>
                    </a:cubicBezTo>
                    <a:cubicBezTo>
                      <a:pt x="85" y="29"/>
                      <a:pt x="85" y="29"/>
                      <a:pt x="85" y="29"/>
                    </a:cubicBezTo>
                    <a:cubicBezTo>
                      <a:pt x="85" y="24"/>
                      <a:pt x="85" y="24"/>
                      <a:pt x="85" y="24"/>
                    </a:cubicBezTo>
                    <a:cubicBezTo>
                      <a:pt x="82" y="19"/>
                      <a:pt x="82" y="19"/>
                      <a:pt x="82" y="19"/>
                    </a:cubicBezTo>
                    <a:cubicBezTo>
                      <a:pt x="78" y="20"/>
                      <a:pt x="78" y="20"/>
                      <a:pt x="78" y="20"/>
                    </a:cubicBezTo>
                    <a:cubicBezTo>
                      <a:pt x="73" y="20"/>
                      <a:pt x="73" y="20"/>
                      <a:pt x="73" y="20"/>
                    </a:cubicBezTo>
                    <a:cubicBezTo>
                      <a:pt x="70" y="21"/>
                      <a:pt x="70" y="21"/>
                      <a:pt x="70" y="21"/>
                    </a:cubicBezTo>
                    <a:cubicBezTo>
                      <a:pt x="66" y="23"/>
                      <a:pt x="66" y="23"/>
                      <a:pt x="66" y="23"/>
                    </a:cubicBezTo>
                    <a:cubicBezTo>
                      <a:pt x="63" y="22"/>
                      <a:pt x="63" y="22"/>
                      <a:pt x="63" y="22"/>
                    </a:cubicBezTo>
                    <a:cubicBezTo>
                      <a:pt x="61" y="21"/>
                      <a:pt x="61" y="21"/>
                      <a:pt x="61" y="21"/>
                    </a:cubicBezTo>
                    <a:cubicBezTo>
                      <a:pt x="63" y="19"/>
                      <a:pt x="63" y="19"/>
                      <a:pt x="63" y="19"/>
                    </a:cubicBezTo>
                    <a:cubicBezTo>
                      <a:pt x="62" y="14"/>
                      <a:pt x="62" y="14"/>
                      <a:pt x="62" y="14"/>
                    </a:cubicBezTo>
                    <a:cubicBezTo>
                      <a:pt x="58" y="12"/>
                      <a:pt x="58" y="12"/>
                      <a:pt x="58" y="12"/>
                    </a:cubicBezTo>
                    <a:cubicBezTo>
                      <a:pt x="56" y="6"/>
                      <a:pt x="56" y="6"/>
                      <a:pt x="56" y="6"/>
                    </a:cubicBezTo>
                    <a:cubicBezTo>
                      <a:pt x="55" y="1"/>
                      <a:pt x="55" y="1"/>
                      <a:pt x="55" y="1"/>
                    </a:cubicBezTo>
                    <a:cubicBezTo>
                      <a:pt x="52" y="1"/>
                      <a:pt x="52" y="1"/>
                      <a:pt x="52" y="1"/>
                    </a:cubicBezTo>
                    <a:cubicBezTo>
                      <a:pt x="50" y="0"/>
                      <a:pt x="50" y="0"/>
                      <a:pt x="50" y="0"/>
                    </a:cubicBezTo>
                    <a:cubicBezTo>
                      <a:pt x="48" y="3"/>
                      <a:pt x="48" y="3"/>
                      <a:pt x="48" y="3"/>
                    </a:cubicBezTo>
                    <a:cubicBezTo>
                      <a:pt x="46" y="6"/>
                      <a:pt x="46" y="6"/>
                      <a:pt x="46" y="6"/>
                    </a:cubicBezTo>
                    <a:cubicBezTo>
                      <a:pt x="41" y="5"/>
                      <a:pt x="41" y="5"/>
                      <a:pt x="41" y="5"/>
                    </a:cubicBezTo>
                    <a:cubicBezTo>
                      <a:pt x="39" y="7"/>
                      <a:pt x="39" y="7"/>
                      <a:pt x="39" y="7"/>
                    </a:cubicBezTo>
                    <a:cubicBezTo>
                      <a:pt x="39" y="11"/>
                      <a:pt x="39" y="11"/>
                      <a:pt x="39" y="11"/>
                    </a:cubicBezTo>
                    <a:cubicBezTo>
                      <a:pt x="41" y="12"/>
                      <a:pt x="41" y="12"/>
                      <a:pt x="41" y="12"/>
                    </a:cubicBezTo>
                    <a:cubicBezTo>
                      <a:pt x="41" y="14"/>
                      <a:pt x="41" y="14"/>
                      <a:pt x="41" y="14"/>
                    </a:cubicBezTo>
                    <a:cubicBezTo>
                      <a:pt x="32" y="13"/>
                      <a:pt x="32" y="13"/>
                      <a:pt x="32" y="13"/>
                    </a:cubicBezTo>
                    <a:cubicBezTo>
                      <a:pt x="32" y="13"/>
                      <a:pt x="26" y="14"/>
                      <a:pt x="24" y="13"/>
                    </a:cubicBezTo>
                    <a:cubicBezTo>
                      <a:pt x="23" y="12"/>
                      <a:pt x="21" y="3"/>
                      <a:pt x="12" y="4"/>
                    </a:cubicBezTo>
                    <a:cubicBezTo>
                      <a:pt x="9" y="4"/>
                      <a:pt x="3" y="3"/>
                      <a:pt x="3" y="9"/>
                    </a:cubicBezTo>
                    <a:cubicBezTo>
                      <a:pt x="3" y="12"/>
                      <a:pt x="0" y="12"/>
                      <a:pt x="0" y="12"/>
                    </a:cubicBezTo>
                    <a:close/>
                    <a:moveTo>
                      <a:pt x="6" y="39"/>
                    </a:moveTo>
                    <a:cubicBezTo>
                      <a:pt x="6" y="39"/>
                      <a:pt x="4" y="43"/>
                      <a:pt x="6" y="42"/>
                    </a:cubicBezTo>
                    <a:cubicBezTo>
                      <a:pt x="7" y="42"/>
                      <a:pt x="8" y="38"/>
                      <a:pt x="6" y="39"/>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59" name="Freeform 38">
                <a:extLst>
                  <a:ext uri="{FF2B5EF4-FFF2-40B4-BE49-F238E27FC236}">
                    <a16:creationId xmlns:a16="http://schemas.microsoft.com/office/drawing/2014/main" id="{C58CCFA1-59FE-E7AC-5151-D08E7BF48094}"/>
                  </a:ext>
                </a:extLst>
              </p:cNvPr>
              <p:cNvSpPr>
                <a:spLocks noEditPoints="1"/>
              </p:cNvSpPr>
              <p:nvPr/>
            </p:nvSpPr>
            <p:spPr bwMode="auto">
              <a:xfrm>
                <a:off x="4002" y="1314"/>
                <a:ext cx="241" cy="173"/>
              </a:xfrm>
              <a:custGeom>
                <a:avLst/>
                <a:gdLst>
                  <a:gd name="T0" fmla="*/ 3 w 123"/>
                  <a:gd name="T1" fmla="*/ 15 h 88"/>
                  <a:gd name="T2" fmla="*/ 4 w 123"/>
                  <a:gd name="T3" fmla="*/ 12 h 88"/>
                  <a:gd name="T4" fmla="*/ 8 w 123"/>
                  <a:gd name="T5" fmla="*/ 8 h 88"/>
                  <a:gd name="T6" fmla="*/ 14 w 123"/>
                  <a:gd name="T7" fmla="*/ 14 h 88"/>
                  <a:gd name="T8" fmla="*/ 19 w 123"/>
                  <a:gd name="T9" fmla="*/ 23 h 88"/>
                  <a:gd name="T10" fmla="*/ 17 w 123"/>
                  <a:gd name="T11" fmla="*/ 24 h 88"/>
                  <a:gd name="T12" fmla="*/ 7 w 123"/>
                  <a:gd name="T13" fmla="*/ 25 h 88"/>
                  <a:gd name="T14" fmla="*/ 4 w 123"/>
                  <a:gd name="T15" fmla="*/ 21 h 88"/>
                  <a:gd name="T16" fmla="*/ 2 w 123"/>
                  <a:gd name="T17" fmla="*/ 33 h 88"/>
                  <a:gd name="T18" fmla="*/ 4 w 123"/>
                  <a:gd name="T19" fmla="*/ 35 h 88"/>
                  <a:gd name="T20" fmla="*/ 13 w 123"/>
                  <a:gd name="T21" fmla="*/ 33 h 88"/>
                  <a:gd name="T22" fmla="*/ 8 w 123"/>
                  <a:gd name="T23" fmla="*/ 36 h 88"/>
                  <a:gd name="T24" fmla="*/ 15 w 123"/>
                  <a:gd name="T25" fmla="*/ 51 h 88"/>
                  <a:gd name="T26" fmla="*/ 13 w 123"/>
                  <a:gd name="T27" fmla="*/ 61 h 88"/>
                  <a:gd name="T28" fmla="*/ 19 w 123"/>
                  <a:gd name="T29" fmla="*/ 65 h 88"/>
                  <a:gd name="T30" fmla="*/ 22 w 123"/>
                  <a:gd name="T31" fmla="*/ 59 h 88"/>
                  <a:gd name="T32" fmla="*/ 26 w 123"/>
                  <a:gd name="T33" fmla="*/ 55 h 88"/>
                  <a:gd name="T34" fmla="*/ 34 w 123"/>
                  <a:gd name="T35" fmla="*/ 55 h 88"/>
                  <a:gd name="T36" fmla="*/ 48 w 123"/>
                  <a:gd name="T37" fmla="*/ 55 h 88"/>
                  <a:gd name="T38" fmla="*/ 56 w 123"/>
                  <a:gd name="T39" fmla="*/ 57 h 88"/>
                  <a:gd name="T40" fmla="*/ 68 w 123"/>
                  <a:gd name="T41" fmla="*/ 62 h 88"/>
                  <a:gd name="T42" fmla="*/ 76 w 123"/>
                  <a:gd name="T43" fmla="*/ 67 h 88"/>
                  <a:gd name="T44" fmla="*/ 79 w 123"/>
                  <a:gd name="T45" fmla="*/ 74 h 88"/>
                  <a:gd name="T46" fmla="*/ 84 w 123"/>
                  <a:gd name="T47" fmla="*/ 79 h 88"/>
                  <a:gd name="T48" fmla="*/ 84 w 123"/>
                  <a:gd name="T49" fmla="*/ 87 h 88"/>
                  <a:gd name="T50" fmla="*/ 90 w 123"/>
                  <a:gd name="T51" fmla="*/ 87 h 88"/>
                  <a:gd name="T52" fmla="*/ 100 w 123"/>
                  <a:gd name="T53" fmla="*/ 84 h 88"/>
                  <a:gd name="T54" fmla="*/ 104 w 123"/>
                  <a:gd name="T55" fmla="*/ 75 h 88"/>
                  <a:gd name="T56" fmla="*/ 105 w 123"/>
                  <a:gd name="T57" fmla="*/ 67 h 88"/>
                  <a:gd name="T58" fmla="*/ 108 w 123"/>
                  <a:gd name="T59" fmla="*/ 62 h 88"/>
                  <a:gd name="T60" fmla="*/ 114 w 123"/>
                  <a:gd name="T61" fmla="*/ 65 h 88"/>
                  <a:gd name="T62" fmla="*/ 118 w 123"/>
                  <a:gd name="T63" fmla="*/ 61 h 88"/>
                  <a:gd name="T64" fmla="*/ 123 w 123"/>
                  <a:gd name="T65" fmla="*/ 56 h 88"/>
                  <a:gd name="T66" fmla="*/ 119 w 123"/>
                  <a:gd name="T67" fmla="*/ 54 h 88"/>
                  <a:gd name="T68" fmla="*/ 112 w 123"/>
                  <a:gd name="T69" fmla="*/ 52 h 88"/>
                  <a:gd name="T70" fmla="*/ 104 w 123"/>
                  <a:gd name="T71" fmla="*/ 50 h 88"/>
                  <a:gd name="T72" fmla="*/ 97 w 123"/>
                  <a:gd name="T73" fmla="*/ 43 h 88"/>
                  <a:gd name="T74" fmla="*/ 92 w 123"/>
                  <a:gd name="T75" fmla="*/ 39 h 88"/>
                  <a:gd name="T76" fmla="*/ 87 w 123"/>
                  <a:gd name="T77" fmla="*/ 31 h 88"/>
                  <a:gd name="T78" fmla="*/ 85 w 123"/>
                  <a:gd name="T79" fmla="*/ 24 h 88"/>
                  <a:gd name="T80" fmla="*/ 78 w 123"/>
                  <a:gd name="T81" fmla="*/ 20 h 88"/>
                  <a:gd name="T82" fmla="*/ 70 w 123"/>
                  <a:gd name="T83" fmla="*/ 21 h 88"/>
                  <a:gd name="T84" fmla="*/ 63 w 123"/>
                  <a:gd name="T85" fmla="*/ 22 h 88"/>
                  <a:gd name="T86" fmla="*/ 63 w 123"/>
                  <a:gd name="T87" fmla="*/ 19 h 88"/>
                  <a:gd name="T88" fmla="*/ 58 w 123"/>
                  <a:gd name="T89" fmla="*/ 12 h 88"/>
                  <a:gd name="T90" fmla="*/ 55 w 123"/>
                  <a:gd name="T91" fmla="*/ 1 h 88"/>
                  <a:gd name="T92" fmla="*/ 50 w 123"/>
                  <a:gd name="T93" fmla="*/ 0 h 88"/>
                  <a:gd name="T94" fmla="*/ 46 w 123"/>
                  <a:gd name="T95" fmla="*/ 6 h 88"/>
                  <a:gd name="T96" fmla="*/ 39 w 123"/>
                  <a:gd name="T97" fmla="*/ 7 h 88"/>
                  <a:gd name="T98" fmla="*/ 41 w 123"/>
                  <a:gd name="T99" fmla="*/ 12 h 88"/>
                  <a:gd name="T100" fmla="*/ 32 w 123"/>
                  <a:gd name="T101" fmla="*/ 13 h 88"/>
                  <a:gd name="T102" fmla="*/ 12 w 123"/>
                  <a:gd name="T103" fmla="*/ 4 h 88"/>
                  <a:gd name="T104" fmla="*/ 0 w 123"/>
                  <a:gd name="T105" fmla="*/ 12 h 88"/>
                  <a:gd name="T106" fmla="*/ 6 w 123"/>
                  <a:gd name="T107" fmla="*/ 4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88">
                    <a:moveTo>
                      <a:pt x="0" y="12"/>
                    </a:moveTo>
                    <a:cubicBezTo>
                      <a:pt x="1" y="13"/>
                      <a:pt x="2" y="14"/>
                      <a:pt x="3" y="15"/>
                    </a:cubicBezTo>
                    <a:cubicBezTo>
                      <a:pt x="3" y="15"/>
                      <a:pt x="4" y="14"/>
                      <a:pt x="4" y="14"/>
                    </a:cubicBezTo>
                    <a:cubicBezTo>
                      <a:pt x="5" y="14"/>
                      <a:pt x="4" y="12"/>
                      <a:pt x="4" y="12"/>
                    </a:cubicBezTo>
                    <a:cubicBezTo>
                      <a:pt x="4" y="11"/>
                      <a:pt x="5" y="11"/>
                      <a:pt x="6" y="10"/>
                    </a:cubicBezTo>
                    <a:cubicBezTo>
                      <a:pt x="7" y="10"/>
                      <a:pt x="7" y="8"/>
                      <a:pt x="8" y="8"/>
                    </a:cubicBezTo>
                    <a:cubicBezTo>
                      <a:pt x="10" y="8"/>
                      <a:pt x="12" y="9"/>
                      <a:pt x="14" y="10"/>
                    </a:cubicBezTo>
                    <a:cubicBezTo>
                      <a:pt x="14" y="11"/>
                      <a:pt x="14" y="13"/>
                      <a:pt x="14" y="14"/>
                    </a:cubicBezTo>
                    <a:cubicBezTo>
                      <a:pt x="15" y="15"/>
                      <a:pt x="19" y="17"/>
                      <a:pt x="21" y="19"/>
                    </a:cubicBezTo>
                    <a:cubicBezTo>
                      <a:pt x="20" y="21"/>
                      <a:pt x="21" y="22"/>
                      <a:pt x="19" y="23"/>
                    </a:cubicBezTo>
                    <a:cubicBezTo>
                      <a:pt x="19" y="23"/>
                      <a:pt x="17" y="23"/>
                      <a:pt x="17" y="23"/>
                    </a:cubicBezTo>
                    <a:cubicBezTo>
                      <a:pt x="17" y="23"/>
                      <a:pt x="15" y="25"/>
                      <a:pt x="17" y="24"/>
                    </a:cubicBezTo>
                    <a:cubicBezTo>
                      <a:pt x="17" y="24"/>
                      <a:pt x="17" y="26"/>
                      <a:pt x="17" y="26"/>
                    </a:cubicBezTo>
                    <a:cubicBezTo>
                      <a:pt x="13" y="25"/>
                      <a:pt x="11" y="25"/>
                      <a:pt x="7" y="25"/>
                    </a:cubicBezTo>
                    <a:cubicBezTo>
                      <a:pt x="7" y="24"/>
                      <a:pt x="7" y="22"/>
                      <a:pt x="6" y="21"/>
                    </a:cubicBezTo>
                    <a:cubicBezTo>
                      <a:pt x="6" y="21"/>
                      <a:pt x="4" y="21"/>
                      <a:pt x="4" y="21"/>
                    </a:cubicBezTo>
                    <a:cubicBezTo>
                      <a:pt x="4" y="21"/>
                      <a:pt x="5" y="24"/>
                      <a:pt x="5" y="25"/>
                    </a:cubicBezTo>
                    <a:cubicBezTo>
                      <a:pt x="5" y="26"/>
                      <a:pt x="3" y="33"/>
                      <a:pt x="2" y="33"/>
                    </a:cubicBezTo>
                    <a:cubicBezTo>
                      <a:pt x="1" y="34"/>
                      <a:pt x="2" y="34"/>
                      <a:pt x="2" y="35"/>
                    </a:cubicBezTo>
                    <a:cubicBezTo>
                      <a:pt x="4" y="34"/>
                      <a:pt x="3" y="36"/>
                      <a:pt x="4" y="35"/>
                    </a:cubicBezTo>
                    <a:cubicBezTo>
                      <a:pt x="5" y="35"/>
                      <a:pt x="6" y="33"/>
                      <a:pt x="8" y="33"/>
                    </a:cubicBezTo>
                    <a:cubicBezTo>
                      <a:pt x="9" y="32"/>
                      <a:pt x="13" y="33"/>
                      <a:pt x="13" y="33"/>
                    </a:cubicBezTo>
                    <a:cubicBezTo>
                      <a:pt x="12" y="34"/>
                      <a:pt x="10" y="33"/>
                      <a:pt x="9" y="34"/>
                    </a:cubicBezTo>
                    <a:cubicBezTo>
                      <a:pt x="8" y="34"/>
                      <a:pt x="9" y="36"/>
                      <a:pt x="8" y="36"/>
                    </a:cubicBezTo>
                    <a:cubicBezTo>
                      <a:pt x="11" y="39"/>
                      <a:pt x="11" y="39"/>
                      <a:pt x="11" y="43"/>
                    </a:cubicBezTo>
                    <a:cubicBezTo>
                      <a:pt x="13" y="44"/>
                      <a:pt x="17" y="46"/>
                      <a:pt x="15" y="51"/>
                    </a:cubicBezTo>
                    <a:cubicBezTo>
                      <a:pt x="15" y="52"/>
                      <a:pt x="13" y="51"/>
                      <a:pt x="12" y="51"/>
                    </a:cubicBezTo>
                    <a:cubicBezTo>
                      <a:pt x="12" y="56"/>
                      <a:pt x="12" y="57"/>
                      <a:pt x="13" y="61"/>
                    </a:cubicBezTo>
                    <a:cubicBezTo>
                      <a:pt x="13" y="62"/>
                      <a:pt x="13" y="63"/>
                      <a:pt x="13" y="64"/>
                    </a:cubicBezTo>
                    <a:cubicBezTo>
                      <a:pt x="19" y="65"/>
                      <a:pt x="19" y="65"/>
                      <a:pt x="19" y="65"/>
                    </a:cubicBezTo>
                    <a:cubicBezTo>
                      <a:pt x="21" y="61"/>
                      <a:pt x="21" y="61"/>
                      <a:pt x="21" y="61"/>
                    </a:cubicBezTo>
                    <a:cubicBezTo>
                      <a:pt x="22" y="59"/>
                      <a:pt x="22" y="59"/>
                      <a:pt x="22" y="59"/>
                    </a:cubicBezTo>
                    <a:cubicBezTo>
                      <a:pt x="23" y="57"/>
                      <a:pt x="23" y="57"/>
                      <a:pt x="23" y="57"/>
                    </a:cubicBezTo>
                    <a:cubicBezTo>
                      <a:pt x="26" y="55"/>
                      <a:pt x="26" y="55"/>
                      <a:pt x="26" y="55"/>
                    </a:cubicBezTo>
                    <a:cubicBezTo>
                      <a:pt x="31" y="56"/>
                      <a:pt x="31" y="56"/>
                      <a:pt x="31" y="56"/>
                    </a:cubicBezTo>
                    <a:cubicBezTo>
                      <a:pt x="34" y="55"/>
                      <a:pt x="34" y="55"/>
                      <a:pt x="34" y="55"/>
                    </a:cubicBezTo>
                    <a:cubicBezTo>
                      <a:pt x="38" y="53"/>
                      <a:pt x="38" y="53"/>
                      <a:pt x="38" y="53"/>
                    </a:cubicBezTo>
                    <a:cubicBezTo>
                      <a:pt x="48" y="55"/>
                      <a:pt x="48" y="55"/>
                      <a:pt x="48" y="55"/>
                    </a:cubicBezTo>
                    <a:cubicBezTo>
                      <a:pt x="54" y="56"/>
                      <a:pt x="54" y="56"/>
                      <a:pt x="54" y="56"/>
                    </a:cubicBezTo>
                    <a:cubicBezTo>
                      <a:pt x="56" y="57"/>
                      <a:pt x="56" y="57"/>
                      <a:pt x="56" y="57"/>
                    </a:cubicBezTo>
                    <a:cubicBezTo>
                      <a:pt x="62" y="60"/>
                      <a:pt x="62" y="60"/>
                      <a:pt x="62" y="60"/>
                    </a:cubicBezTo>
                    <a:cubicBezTo>
                      <a:pt x="68" y="62"/>
                      <a:pt x="68" y="62"/>
                      <a:pt x="68" y="62"/>
                    </a:cubicBezTo>
                    <a:cubicBezTo>
                      <a:pt x="73" y="65"/>
                      <a:pt x="73" y="65"/>
                      <a:pt x="73" y="65"/>
                    </a:cubicBezTo>
                    <a:cubicBezTo>
                      <a:pt x="76" y="67"/>
                      <a:pt x="76" y="67"/>
                      <a:pt x="76" y="67"/>
                    </a:cubicBezTo>
                    <a:cubicBezTo>
                      <a:pt x="78" y="70"/>
                      <a:pt x="78" y="70"/>
                      <a:pt x="78" y="70"/>
                    </a:cubicBezTo>
                    <a:cubicBezTo>
                      <a:pt x="79" y="74"/>
                      <a:pt x="79" y="74"/>
                      <a:pt x="79" y="74"/>
                    </a:cubicBezTo>
                    <a:cubicBezTo>
                      <a:pt x="84" y="75"/>
                      <a:pt x="84" y="75"/>
                      <a:pt x="84" y="75"/>
                    </a:cubicBezTo>
                    <a:cubicBezTo>
                      <a:pt x="84" y="79"/>
                      <a:pt x="84" y="79"/>
                      <a:pt x="84" y="79"/>
                    </a:cubicBezTo>
                    <a:cubicBezTo>
                      <a:pt x="85" y="83"/>
                      <a:pt x="85" y="83"/>
                      <a:pt x="85" y="83"/>
                    </a:cubicBezTo>
                    <a:cubicBezTo>
                      <a:pt x="84" y="87"/>
                      <a:pt x="84" y="87"/>
                      <a:pt x="84" y="87"/>
                    </a:cubicBezTo>
                    <a:cubicBezTo>
                      <a:pt x="87" y="88"/>
                      <a:pt x="87" y="88"/>
                      <a:pt x="87" y="88"/>
                    </a:cubicBezTo>
                    <a:cubicBezTo>
                      <a:pt x="90" y="87"/>
                      <a:pt x="90" y="87"/>
                      <a:pt x="90" y="87"/>
                    </a:cubicBezTo>
                    <a:cubicBezTo>
                      <a:pt x="93" y="88"/>
                      <a:pt x="93" y="88"/>
                      <a:pt x="93" y="88"/>
                    </a:cubicBezTo>
                    <a:cubicBezTo>
                      <a:pt x="100" y="84"/>
                      <a:pt x="100" y="84"/>
                      <a:pt x="100" y="84"/>
                    </a:cubicBezTo>
                    <a:cubicBezTo>
                      <a:pt x="99" y="80"/>
                      <a:pt x="99" y="80"/>
                      <a:pt x="99" y="80"/>
                    </a:cubicBezTo>
                    <a:cubicBezTo>
                      <a:pt x="104" y="75"/>
                      <a:pt x="104" y="75"/>
                      <a:pt x="104" y="75"/>
                    </a:cubicBezTo>
                    <a:cubicBezTo>
                      <a:pt x="105" y="72"/>
                      <a:pt x="105" y="72"/>
                      <a:pt x="105" y="72"/>
                    </a:cubicBezTo>
                    <a:cubicBezTo>
                      <a:pt x="105" y="67"/>
                      <a:pt x="105" y="67"/>
                      <a:pt x="105" y="67"/>
                    </a:cubicBezTo>
                    <a:cubicBezTo>
                      <a:pt x="107" y="65"/>
                      <a:pt x="107" y="65"/>
                      <a:pt x="107" y="65"/>
                    </a:cubicBezTo>
                    <a:cubicBezTo>
                      <a:pt x="108" y="62"/>
                      <a:pt x="108" y="62"/>
                      <a:pt x="108" y="62"/>
                    </a:cubicBezTo>
                    <a:cubicBezTo>
                      <a:pt x="111" y="63"/>
                      <a:pt x="111" y="63"/>
                      <a:pt x="111" y="63"/>
                    </a:cubicBezTo>
                    <a:cubicBezTo>
                      <a:pt x="114" y="65"/>
                      <a:pt x="114" y="65"/>
                      <a:pt x="114" y="65"/>
                    </a:cubicBezTo>
                    <a:cubicBezTo>
                      <a:pt x="118" y="65"/>
                      <a:pt x="118" y="65"/>
                      <a:pt x="118" y="65"/>
                    </a:cubicBezTo>
                    <a:cubicBezTo>
                      <a:pt x="118" y="61"/>
                      <a:pt x="118" y="61"/>
                      <a:pt x="118" y="61"/>
                    </a:cubicBezTo>
                    <a:cubicBezTo>
                      <a:pt x="119" y="58"/>
                      <a:pt x="119" y="58"/>
                      <a:pt x="119" y="58"/>
                    </a:cubicBezTo>
                    <a:cubicBezTo>
                      <a:pt x="123" y="56"/>
                      <a:pt x="123" y="56"/>
                      <a:pt x="123" y="56"/>
                    </a:cubicBezTo>
                    <a:cubicBezTo>
                      <a:pt x="122" y="54"/>
                      <a:pt x="122" y="54"/>
                      <a:pt x="122" y="54"/>
                    </a:cubicBezTo>
                    <a:cubicBezTo>
                      <a:pt x="119" y="54"/>
                      <a:pt x="119" y="54"/>
                      <a:pt x="119" y="54"/>
                    </a:cubicBezTo>
                    <a:cubicBezTo>
                      <a:pt x="116" y="52"/>
                      <a:pt x="116" y="52"/>
                      <a:pt x="116" y="52"/>
                    </a:cubicBezTo>
                    <a:cubicBezTo>
                      <a:pt x="112" y="52"/>
                      <a:pt x="112" y="52"/>
                      <a:pt x="112" y="52"/>
                    </a:cubicBezTo>
                    <a:cubicBezTo>
                      <a:pt x="109" y="49"/>
                      <a:pt x="109" y="49"/>
                      <a:pt x="109" y="49"/>
                    </a:cubicBezTo>
                    <a:cubicBezTo>
                      <a:pt x="104" y="50"/>
                      <a:pt x="104" y="50"/>
                      <a:pt x="104" y="50"/>
                    </a:cubicBezTo>
                    <a:cubicBezTo>
                      <a:pt x="101" y="47"/>
                      <a:pt x="101" y="47"/>
                      <a:pt x="101" y="47"/>
                    </a:cubicBezTo>
                    <a:cubicBezTo>
                      <a:pt x="97" y="43"/>
                      <a:pt x="97" y="43"/>
                      <a:pt x="97" y="43"/>
                    </a:cubicBezTo>
                    <a:cubicBezTo>
                      <a:pt x="94" y="41"/>
                      <a:pt x="94" y="41"/>
                      <a:pt x="94" y="41"/>
                    </a:cubicBezTo>
                    <a:cubicBezTo>
                      <a:pt x="92" y="39"/>
                      <a:pt x="92" y="39"/>
                      <a:pt x="92" y="39"/>
                    </a:cubicBezTo>
                    <a:cubicBezTo>
                      <a:pt x="90" y="34"/>
                      <a:pt x="90" y="34"/>
                      <a:pt x="90" y="34"/>
                    </a:cubicBezTo>
                    <a:cubicBezTo>
                      <a:pt x="87" y="31"/>
                      <a:pt x="87" y="31"/>
                      <a:pt x="87" y="31"/>
                    </a:cubicBezTo>
                    <a:cubicBezTo>
                      <a:pt x="85" y="29"/>
                      <a:pt x="85" y="29"/>
                      <a:pt x="85" y="29"/>
                    </a:cubicBezTo>
                    <a:cubicBezTo>
                      <a:pt x="85" y="24"/>
                      <a:pt x="85" y="24"/>
                      <a:pt x="85" y="24"/>
                    </a:cubicBezTo>
                    <a:cubicBezTo>
                      <a:pt x="82" y="19"/>
                      <a:pt x="82" y="19"/>
                      <a:pt x="82" y="19"/>
                    </a:cubicBezTo>
                    <a:cubicBezTo>
                      <a:pt x="78" y="20"/>
                      <a:pt x="78" y="20"/>
                      <a:pt x="78" y="20"/>
                    </a:cubicBezTo>
                    <a:cubicBezTo>
                      <a:pt x="73" y="20"/>
                      <a:pt x="73" y="20"/>
                      <a:pt x="73" y="20"/>
                    </a:cubicBezTo>
                    <a:cubicBezTo>
                      <a:pt x="70" y="21"/>
                      <a:pt x="70" y="21"/>
                      <a:pt x="70" y="21"/>
                    </a:cubicBezTo>
                    <a:cubicBezTo>
                      <a:pt x="66" y="23"/>
                      <a:pt x="66" y="23"/>
                      <a:pt x="66" y="23"/>
                    </a:cubicBezTo>
                    <a:cubicBezTo>
                      <a:pt x="63" y="22"/>
                      <a:pt x="63" y="22"/>
                      <a:pt x="63" y="22"/>
                    </a:cubicBezTo>
                    <a:cubicBezTo>
                      <a:pt x="61" y="21"/>
                      <a:pt x="61" y="21"/>
                      <a:pt x="61" y="21"/>
                    </a:cubicBezTo>
                    <a:cubicBezTo>
                      <a:pt x="63" y="19"/>
                      <a:pt x="63" y="19"/>
                      <a:pt x="63" y="19"/>
                    </a:cubicBezTo>
                    <a:cubicBezTo>
                      <a:pt x="62" y="14"/>
                      <a:pt x="62" y="14"/>
                      <a:pt x="62" y="14"/>
                    </a:cubicBezTo>
                    <a:cubicBezTo>
                      <a:pt x="58" y="12"/>
                      <a:pt x="58" y="12"/>
                      <a:pt x="58" y="12"/>
                    </a:cubicBezTo>
                    <a:cubicBezTo>
                      <a:pt x="56" y="6"/>
                      <a:pt x="56" y="6"/>
                      <a:pt x="56" y="6"/>
                    </a:cubicBezTo>
                    <a:cubicBezTo>
                      <a:pt x="55" y="1"/>
                      <a:pt x="55" y="1"/>
                      <a:pt x="55" y="1"/>
                    </a:cubicBezTo>
                    <a:cubicBezTo>
                      <a:pt x="52" y="1"/>
                      <a:pt x="52" y="1"/>
                      <a:pt x="52" y="1"/>
                    </a:cubicBezTo>
                    <a:cubicBezTo>
                      <a:pt x="50" y="0"/>
                      <a:pt x="50" y="0"/>
                      <a:pt x="50" y="0"/>
                    </a:cubicBezTo>
                    <a:cubicBezTo>
                      <a:pt x="48" y="3"/>
                      <a:pt x="48" y="3"/>
                      <a:pt x="48" y="3"/>
                    </a:cubicBezTo>
                    <a:cubicBezTo>
                      <a:pt x="46" y="6"/>
                      <a:pt x="46" y="6"/>
                      <a:pt x="46" y="6"/>
                    </a:cubicBezTo>
                    <a:cubicBezTo>
                      <a:pt x="41" y="5"/>
                      <a:pt x="41" y="5"/>
                      <a:pt x="41" y="5"/>
                    </a:cubicBezTo>
                    <a:cubicBezTo>
                      <a:pt x="39" y="7"/>
                      <a:pt x="39" y="7"/>
                      <a:pt x="39" y="7"/>
                    </a:cubicBezTo>
                    <a:cubicBezTo>
                      <a:pt x="39" y="11"/>
                      <a:pt x="39" y="11"/>
                      <a:pt x="39" y="11"/>
                    </a:cubicBezTo>
                    <a:cubicBezTo>
                      <a:pt x="41" y="12"/>
                      <a:pt x="41" y="12"/>
                      <a:pt x="41" y="12"/>
                    </a:cubicBezTo>
                    <a:cubicBezTo>
                      <a:pt x="41" y="14"/>
                      <a:pt x="41" y="14"/>
                      <a:pt x="41" y="14"/>
                    </a:cubicBezTo>
                    <a:cubicBezTo>
                      <a:pt x="32" y="13"/>
                      <a:pt x="32" y="13"/>
                      <a:pt x="32" y="13"/>
                    </a:cubicBezTo>
                    <a:cubicBezTo>
                      <a:pt x="32" y="13"/>
                      <a:pt x="26" y="14"/>
                      <a:pt x="24" y="13"/>
                    </a:cubicBezTo>
                    <a:cubicBezTo>
                      <a:pt x="23" y="12"/>
                      <a:pt x="21" y="3"/>
                      <a:pt x="12" y="4"/>
                    </a:cubicBezTo>
                    <a:cubicBezTo>
                      <a:pt x="9" y="4"/>
                      <a:pt x="3" y="3"/>
                      <a:pt x="3" y="9"/>
                    </a:cubicBezTo>
                    <a:cubicBezTo>
                      <a:pt x="3" y="12"/>
                      <a:pt x="0" y="12"/>
                      <a:pt x="0" y="12"/>
                    </a:cubicBezTo>
                    <a:close/>
                    <a:moveTo>
                      <a:pt x="6" y="39"/>
                    </a:moveTo>
                    <a:cubicBezTo>
                      <a:pt x="6" y="39"/>
                      <a:pt x="4" y="43"/>
                      <a:pt x="6" y="42"/>
                    </a:cubicBezTo>
                    <a:cubicBezTo>
                      <a:pt x="7" y="42"/>
                      <a:pt x="8" y="38"/>
                      <a:pt x="6" y="39"/>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60" name="Freeform 39">
                <a:extLst>
                  <a:ext uri="{FF2B5EF4-FFF2-40B4-BE49-F238E27FC236}">
                    <a16:creationId xmlns:a16="http://schemas.microsoft.com/office/drawing/2014/main" id="{2E0E076E-4E1A-B0AF-B4D3-D5F2A0876FF7}"/>
                  </a:ext>
                </a:extLst>
              </p:cNvPr>
              <p:cNvSpPr>
                <a:spLocks noEditPoints="1"/>
              </p:cNvSpPr>
              <p:nvPr/>
            </p:nvSpPr>
            <p:spPr bwMode="auto">
              <a:xfrm>
                <a:off x="3561" y="1332"/>
                <a:ext cx="321" cy="151"/>
              </a:xfrm>
              <a:custGeom>
                <a:avLst/>
                <a:gdLst>
                  <a:gd name="T0" fmla="*/ 7 w 164"/>
                  <a:gd name="T1" fmla="*/ 4 h 77"/>
                  <a:gd name="T2" fmla="*/ 9 w 164"/>
                  <a:gd name="T3" fmla="*/ 11 h 77"/>
                  <a:gd name="T4" fmla="*/ 2 w 164"/>
                  <a:gd name="T5" fmla="*/ 18 h 77"/>
                  <a:gd name="T6" fmla="*/ 3 w 164"/>
                  <a:gd name="T7" fmla="*/ 23 h 77"/>
                  <a:gd name="T8" fmla="*/ 14 w 164"/>
                  <a:gd name="T9" fmla="*/ 14 h 77"/>
                  <a:gd name="T10" fmla="*/ 16 w 164"/>
                  <a:gd name="T11" fmla="*/ 5 h 77"/>
                  <a:gd name="T12" fmla="*/ 86 w 164"/>
                  <a:gd name="T13" fmla="*/ 77 h 77"/>
                  <a:gd name="T14" fmla="*/ 92 w 164"/>
                  <a:gd name="T15" fmla="*/ 66 h 77"/>
                  <a:gd name="T16" fmla="*/ 106 w 164"/>
                  <a:gd name="T17" fmla="*/ 65 h 77"/>
                  <a:gd name="T18" fmla="*/ 136 w 164"/>
                  <a:gd name="T19" fmla="*/ 56 h 77"/>
                  <a:gd name="T20" fmla="*/ 141 w 164"/>
                  <a:gd name="T21" fmla="*/ 58 h 77"/>
                  <a:gd name="T22" fmla="*/ 151 w 164"/>
                  <a:gd name="T23" fmla="*/ 58 h 77"/>
                  <a:gd name="T24" fmla="*/ 158 w 164"/>
                  <a:gd name="T25" fmla="*/ 59 h 77"/>
                  <a:gd name="T26" fmla="*/ 154 w 164"/>
                  <a:gd name="T27" fmla="*/ 44 h 77"/>
                  <a:gd name="T28" fmla="*/ 156 w 164"/>
                  <a:gd name="T29" fmla="*/ 33 h 77"/>
                  <a:gd name="T30" fmla="*/ 163 w 164"/>
                  <a:gd name="T31" fmla="*/ 30 h 77"/>
                  <a:gd name="T32" fmla="*/ 153 w 164"/>
                  <a:gd name="T33" fmla="*/ 15 h 77"/>
                  <a:gd name="T34" fmla="*/ 150 w 164"/>
                  <a:gd name="T35" fmla="*/ 7 h 77"/>
                  <a:gd name="T36" fmla="*/ 136 w 164"/>
                  <a:gd name="T37" fmla="*/ 6 h 77"/>
                  <a:gd name="T38" fmla="*/ 130 w 164"/>
                  <a:gd name="T39" fmla="*/ 7 h 77"/>
                  <a:gd name="T40" fmla="*/ 119 w 164"/>
                  <a:gd name="T41" fmla="*/ 12 h 77"/>
                  <a:gd name="T42" fmla="*/ 104 w 164"/>
                  <a:gd name="T43" fmla="*/ 13 h 77"/>
                  <a:gd name="T44" fmla="*/ 97 w 164"/>
                  <a:gd name="T45" fmla="*/ 9 h 77"/>
                  <a:gd name="T46" fmla="*/ 88 w 164"/>
                  <a:gd name="T47" fmla="*/ 10 h 77"/>
                  <a:gd name="T48" fmla="*/ 78 w 164"/>
                  <a:gd name="T49" fmla="*/ 1 h 77"/>
                  <a:gd name="T50" fmla="*/ 62 w 164"/>
                  <a:gd name="T51" fmla="*/ 1 h 77"/>
                  <a:gd name="T52" fmla="*/ 48 w 164"/>
                  <a:gd name="T53" fmla="*/ 7 h 77"/>
                  <a:gd name="T54" fmla="*/ 37 w 164"/>
                  <a:gd name="T55" fmla="*/ 10 h 77"/>
                  <a:gd name="T56" fmla="*/ 27 w 164"/>
                  <a:gd name="T57" fmla="*/ 10 h 77"/>
                  <a:gd name="T58" fmla="*/ 26 w 164"/>
                  <a:gd name="T59" fmla="*/ 15 h 77"/>
                  <a:gd name="T60" fmla="*/ 21 w 164"/>
                  <a:gd name="T61" fmla="*/ 19 h 77"/>
                  <a:gd name="T62" fmla="*/ 2 w 164"/>
                  <a:gd name="T63" fmla="*/ 26 h 77"/>
                  <a:gd name="T64" fmla="*/ 7 w 164"/>
                  <a:gd name="T65" fmla="*/ 41 h 77"/>
                  <a:gd name="T66" fmla="*/ 7 w 164"/>
                  <a:gd name="T67" fmla="*/ 46 h 77"/>
                  <a:gd name="T68" fmla="*/ 3 w 164"/>
                  <a:gd name="T69" fmla="*/ 45 h 77"/>
                  <a:gd name="T70" fmla="*/ 10 w 164"/>
                  <a:gd name="T71" fmla="*/ 50 h 77"/>
                  <a:gd name="T72" fmla="*/ 17 w 164"/>
                  <a:gd name="T73" fmla="*/ 64 h 77"/>
                  <a:gd name="T74" fmla="*/ 26 w 164"/>
                  <a:gd name="T75" fmla="*/ 66 h 77"/>
                  <a:gd name="T76" fmla="*/ 40 w 164"/>
                  <a:gd name="T77" fmla="*/ 65 h 77"/>
                  <a:gd name="T78" fmla="*/ 70 w 164"/>
                  <a:gd name="T79" fmla="*/ 70 h 77"/>
                  <a:gd name="T80" fmla="*/ 82 w 164"/>
                  <a:gd name="T81" fmla="*/ 62 h 77"/>
                  <a:gd name="T82" fmla="*/ 82 w 164"/>
                  <a:gd name="T83" fmla="*/ 70 h 77"/>
                  <a:gd name="T84" fmla="*/ 83 w 164"/>
                  <a:gd name="T85" fmla="*/ 77 h 77"/>
                  <a:gd name="T86" fmla="*/ 147 w 164"/>
                  <a:gd name="T87" fmla="*/ 44 h 77"/>
                  <a:gd name="T88" fmla="*/ 135 w 164"/>
                  <a:gd name="T89" fmla="*/ 44 h 77"/>
                  <a:gd name="T90" fmla="*/ 146 w 164"/>
                  <a:gd name="T91"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4" h="77">
                    <a:moveTo>
                      <a:pt x="16" y="4"/>
                    </a:moveTo>
                    <a:cubicBezTo>
                      <a:pt x="16" y="4"/>
                      <a:pt x="12" y="5"/>
                      <a:pt x="11" y="4"/>
                    </a:cubicBezTo>
                    <a:cubicBezTo>
                      <a:pt x="10" y="3"/>
                      <a:pt x="8" y="3"/>
                      <a:pt x="7" y="4"/>
                    </a:cubicBezTo>
                    <a:cubicBezTo>
                      <a:pt x="6" y="5"/>
                      <a:pt x="6" y="6"/>
                      <a:pt x="6" y="6"/>
                    </a:cubicBezTo>
                    <a:cubicBezTo>
                      <a:pt x="9" y="7"/>
                      <a:pt x="9" y="7"/>
                      <a:pt x="9" y="7"/>
                    </a:cubicBezTo>
                    <a:cubicBezTo>
                      <a:pt x="9" y="7"/>
                      <a:pt x="11" y="10"/>
                      <a:pt x="9" y="11"/>
                    </a:cubicBezTo>
                    <a:cubicBezTo>
                      <a:pt x="7" y="13"/>
                      <a:pt x="4" y="10"/>
                      <a:pt x="4" y="12"/>
                    </a:cubicBezTo>
                    <a:cubicBezTo>
                      <a:pt x="4" y="14"/>
                      <a:pt x="1" y="17"/>
                      <a:pt x="1" y="17"/>
                    </a:cubicBezTo>
                    <a:cubicBezTo>
                      <a:pt x="2" y="18"/>
                      <a:pt x="2" y="18"/>
                      <a:pt x="2" y="18"/>
                    </a:cubicBezTo>
                    <a:cubicBezTo>
                      <a:pt x="4" y="18"/>
                      <a:pt x="4" y="18"/>
                      <a:pt x="4" y="18"/>
                    </a:cubicBezTo>
                    <a:cubicBezTo>
                      <a:pt x="1" y="20"/>
                      <a:pt x="1" y="20"/>
                      <a:pt x="1" y="20"/>
                    </a:cubicBezTo>
                    <a:cubicBezTo>
                      <a:pt x="1" y="21"/>
                      <a:pt x="0" y="23"/>
                      <a:pt x="3" y="23"/>
                    </a:cubicBezTo>
                    <a:cubicBezTo>
                      <a:pt x="3" y="23"/>
                      <a:pt x="7" y="19"/>
                      <a:pt x="8" y="18"/>
                    </a:cubicBezTo>
                    <a:cubicBezTo>
                      <a:pt x="9" y="18"/>
                      <a:pt x="11" y="18"/>
                      <a:pt x="13" y="17"/>
                    </a:cubicBezTo>
                    <a:cubicBezTo>
                      <a:pt x="13" y="17"/>
                      <a:pt x="14" y="15"/>
                      <a:pt x="14" y="14"/>
                    </a:cubicBezTo>
                    <a:cubicBezTo>
                      <a:pt x="17" y="13"/>
                      <a:pt x="21" y="14"/>
                      <a:pt x="24" y="13"/>
                    </a:cubicBezTo>
                    <a:cubicBezTo>
                      <a:pt x="24" y="13"/>
                      <a:pt x="25" y="11"/>
                      <a:pt x="25" y="10"/>
                    </a:cubicBezTo>
                    <a:cubicBezTo>
                      <a:pt x="22" y="9"/>
                      <a:pt x="18" y="8"/>
                      <a:pt x="16" y="5"/>
                    </a:cubicBezTo>
                    <a:cubicBezTo>
                      <a:pt x="16" y="4"/>
                      <a:pt x="16" y="5"/>
                      <a:pt x="16" y="4"/>
                    </a:cubicBezTo>
                    <a:close/>
                    <a:moveTo>
                      <a:pt x="83" y="77"/>
                    </a:moveTo>
                    <a:cubicBezTo>
                      <a:pt x="84" y="77"/>
                      <a:pt x="85" y="77"/>
                      <a:pt x="86" y="77"/>
                    </a:cubicBezTo>
                    <a:cubicBezTo>
                      <a:pt x="89" y="76"/>
                      <a:pt x="87" y="73"/>
                      <a:pt x="90" y="73"/>
                    </a:cubicBezTo>
                    <a:cubicBezTo>
                      <a:pt x="92" y="73"/>
                      <a:pt x="92" y="72"/>
                      <a:pt x="92" y="70"/>
                    </a:cubicBezTo>
                    <a:cubicBezTo>
                      <a:pt x="92" y="69"/>
                      <a:pt x="90" y="68"/>
                      <a:pt x="92" y="66"/>
                    </a:cubicBezTo>
                    <a:cubicBezTo>
                      <a:pt x="94" y="65"/>
                      <a:pt x="95" y="68"/>
                      <a:pt x="96" y="67"/>
                    </a:cubicBezTo>
                    <a:cubicBezTo>
                      <a:pt x="98" y="66"/>
                      <a:pt x="98" y="64"/>
                      <a:pt x="100" y="64"/>
                    </a:cubicBezTo>
                    <a:cubicBezTo>
                      <a:pt x="102" y="64"/>
                      <a:pt x="104" y="66"/>
                      <a:pt x="106" y="65"/>
                    </a:cubicBezTo>
                    <a:cubicBezTo>
                      <a:pt x="108" y="63"/>
                      <a:pt x="113" y="65"/>
                      <a:pt x="117" y="61"/>
                    </a:cubicBezTo>
                    <a:cubicBezTo>
                      <a:pt x="119" y="60"/>
                      <a:pt x="127" y="61"/>
                      <a:pt x="129" y="59"/>
                    </a:cubicBezTo>
                    <a:cubicBezTo>
                      <a:pt x="131" y="58"/>
                      <a:pt x="135" y="56"/>
                      <a:pt x="136" y="56"/>
                    </a:cubicBezTo>
                    <a:cubicBezTo>
                      <a:pt x="137" y="58"/>
                      <a:pt x="137" y="58"/>
                      <a:pt x="137" y="58"/>
                    </a:cubicBezTo>
                    <a:cubicBezTo>
                      <a:pt x="137" y="59"/>
                      <a:pt x="138" y="59"/>
                      <a:pt x="139" y="59"/>
                    </a:cubicBezTo>
                    <a:cubicBezTo>
                      <a:pt x="140" y="59"/>
                      <a:pt x="141" y="59"/>
                      <a:pt x="141" y="58"/>
                    </a:cubicBezTo>
                    <a:cubicBezTo>
                      <a:pt x="143" y="57"/>
                      <a:pt x="146" y="61"/>
                      <a:pt x="147" y="59"/>
                    </a:cubicBezTo>
                    <a:cubicBezTo>
                      <a:pt x="148" y="58"/>
                      <a:pt x="149" y="57"/>
                      <a:pt x="149" y="57"/>
                    </a:cubicBezTo>
                    <a:cubicBezTo>
                      <a:pt x="151" y="58"/>
                      <a:pt x="151" y="58"/>
                      <a:pt x="151" y="58"/>
                    </a:cubicBezTo>
                    <a:cubicBezTo>
                      <a:pt x="152" y="60"/>
                      <a:pt x="152" y="60"/>
                      <a:pt x="152" y="60"/>
                    </a:cubicBezTo>
                    <a:cubicBezTo>
                      <a:pt x="155" y="58"/>
                      <a:pt x="155" y="58"/>
                      <a:pt x="155" y="58"/>
                    </a:cubicBezTo>
                    <a:cubicBezTo>
                      <a:pt x="158" y="59"/>
                      <a:pt x="158" y="59"/>
                      <a:pt x="158" y="59"/>
                    </a:cubicBezTo>
                    <a:cubicBezTo>
                      <a:pt x="158" y="59"/>
                      <a:pt x="160" y="57"/>
                      <a:pt x="159" y="56"/>
                    </a:cubicBezTo>
                    <a:cubicBezTo>
                      <a:pt x="158" y="54"/>
                      <a:pt x="158" y="52"/>
                      <a:pt x="157" y="50"/>
                    </a:cubicBezTo>
                    <a:cubicBezTo>
                      <a:pt x="155" y="49"/>
                      <a:pt x="153" y="46"/>
                      <a:pt x="154" y="44"/>
                    </a:cubicBezTo>
                    <a:cubicBezTo>
                      <a:pt x="155" y="42"/>
                      <a:pt x="157" y="42"/>
                      <a:pt x="156" y="40"/>
                    </a:cubicBezTo>
                    <a:cubicBezTo>
                      <a:pt x="156" y="38"/>
                      <a:pt x="157" y="39"/>
                      <a:pt x="156" y="38"/>
                    </a:cubicBezTo>
                    <a:cubicBezTo>
                      <a:pt x="155" y="36"/>
                      <a:pt x="154" y="35"/>
                      <a:pt x="156" y="33"/>
                    </a:cubicBezTo>
                    <a:cubicBezTo>
                      <a:pt x="158" y="32"/>
                      <a:pt x="157" y="30"/>
                      <a:pt x="159" y="31"/>
                    </a:cubicBezTo>
                    <a:cubicBezTo>
                      <a:pt x="160" y="33"/>
                      <a:pt x="162" y="33"/>
                      <a:pt x="162" y="33"/>
                    </a:cubicBezTo>
                    <a:cubicBezTo>
                      <a:pt x="163" y="30"/>
                      <a:pt x="163" y="30"/>
                      <a:pt x="163" y="30"/>
                    </a:cubicBezTo>
                    <a:cubicBezTo>
                      <a:pt x="163" y="30"/>
                      <a:pt x="164" y="27"/>
                      <a:pt x="161" y="25"/>
                    </a:cubicBezTo>
                    <a:cubicBezTo>
                      <a:pt x="158" y="24"/>
                      <a:pt x="150" y="23"/>
                      <a:pt x="151" y="20"/>
                    </a:cubicBezTo>
                    <a:cubicBezTo>
                      <a:pt x="153" y="17"/>
                      <a:pt x="151" y="17"/>
                      <a:pt x="153" y="15"/>
                    </a:cubicBezTo>
                    <a:cubicBezTo>
                      <a:pt x="156" y="14"/>
                      <a:pt x="153" y="9"/>
                      <a:pt x="153" y="9"/>
                    </a:cubicBezTo>
                    <a:cubicBezTo>
                      <a:pt x="151" y="9"/>
                      <a:pt x="151" y="9"/>
                      <a:pt x="151" y="9"/>
                    </a:cubicBezTo>
                    <a:cubicBezTo>
                      <a:pt x="151" y="9"/>
                      <a:pt x="152" y="6"/>
                      <a:pt x="150" y="7"/>
                    </a:cubicBezTo>
                    <a:cubicBezTo>
                      <a:pt x="147" y="8"/>
                      <a:pt x="145" y="8"/>
                      <a:pt x="145" y="8"/>
                    </a:cubicBezTo>
                    <a:cubicBezTo>
                      <a:pt x="145" y="8"/>
                      <a:pt x="143" y="6"/>
                      <a:pt x="141" y="6"/>
                    </a:cubicBezTo>
                    <a:cubicBezTo>
                      <a:pt x="139" y="6"/>
                      <a:pt x="138" y="5"/>
                      <a:pt x="136" y="6"/>
                    </a:cubicBezTo>
                    <a:cubicBezTo>
                      <a:pt x="134" y="7"/>
                      <a:pt x="133" y="5"/>
                      <a:pt x="133" y="5"/>
                    </a:cubicBezTo>
                    <a:cubicBezTo>
                      <a:pt x="133" y="5"/>
                      <a:pt x="133" y="5"/>
                      <a:pt x="132" y="6"/>
                    </a:cubicBezTo>
                    <a:cubicBezTo>
                      <a:pt x="132" y="6"/>
                      <a:pt x="131" y="6"/>
                      <a:pt x="130" y="7"/>
                    </a:cubicBezTo>
                    <a:cubicBezTo>
                      <a:pt x="129" y="7"/>
                      <a:pt x="130" y="9"/>
                      <a:pt x="129" y="9"/>
                    </a:cubicBezTo>
                    <a:cubicBezTo>
                      <a:pt x="127" y="10"/>
                      <a:pt x="126" y="10"/>
                      <a:pt x="124" y="10"/>
                    </a:cubicBezTo>
                    <a:cubicBezTo>
                      <a:pt x="122" y="12"/>
                      <a:pt x="122" y="13"/>
                      <a:pt x="119" y="12"/>
                    </a:cubicBezTo>
                    <a:cubicBezTo>
                      <a:pt x="117" y="12"/>
                      <a:pt x="117" y="10"/>
                      <a:pt x="114" y="10"/>
                    </a:cubicBezTo>
                    <a:cubicBezTo>
                      <a:pt x="114" y="11"/>
                      <a:pt x="112" y="12"/>
                      <a:pt x="112" y="12"/>
                    </a:cubicBezTo>
                    <a:cubicBezTo>
                      <a:pt x="110" y="13"/>
                      <a:pt x="106" y="14"/>
                      <a:pt x="104" y="13"/>
                    </a:cubicBezTo>
                    <a:cubicBezTo>
                      <a:pt x="103" y="13"/>
                      <a:pt x="102" y="11"/>
                      <a:pt x="102" y="11"/>
                    </a:cubicBezTo>
                    <a:cubicBezTo>
                      <a:pt x="101" y="11"/>
                      <a:pt x="99" y="11"/>
                      <a:pt x="98" y="11"/>
                    </a:cubicBezTo>
                    <a:cubicBezTo>
                      <a:pt x="98" y="11"/>
                      <a:pt x="97" y="10"/>
                      <a:pt x="97" y="9"/>
                    </a:cubicBezTo>
                    <a:cubicBezTo>
                      <a:pt x="95" y="8"/>
                      <a:pt x="94" y="8"/>
                      <a:pt x="91" y="8"/>
                    </a:cubicBezTo>
                    <a:cubicBezTo>
                      <a:pt x="90" y="10"/>
                      <a:pt x="90" y="10"/>
                      <a:pt x="90" y="10"/>
                    </a:cubicBezTo>
                    <a:cubicBezTo>
                      <a:pt x="90" y="10"/>
                      <a:pt x="89" y="9"/>
                      <a:pt x="88" y="10"/>
                    </a:cubicBezTo>
                    <a:cubicBezTo>
                      <a:pt x="87" y="8"/>
                      <a:pt x="86" y="6"/>
                      <a:pt x="85" y="4"/>
                    </a:cubicBezTo>
                    <a:cubicBezTo>
                      <a:pt x="80" y="4"/>
                      <a:pt x="81" y="4"/>
                      <a:pt x="78" y="3"/>
                    </a:cubicBezTo>
                    <a:cubicBezTo>
                      <a:pt x="78" y="2"/>
                      <a:pt x="78" y="1"/>
                      <a:pt x="78" y="1"/>
                    </a:cubicBezTo>
                    <a:cubicBezTo>
                      <a:pt x="76" y="1"/>
                      <a:pt x="74" y="3"/>
                      <a:pt x="71" y="3"/>
                    </a:cubicBezTo>
                    <a:cubicBezTo>
                      <a:pt x="69" y="2"/>
                      <a:pt x="67" y="0"/>
                      <a:pt x="62" y="1"/>
                    </a:cubicBezTo>
                    <a:cubicBezTo>
                      <a:pt x="62" y="1"/>
                      <a:pt x="62" y="1"/>
                      <a:pt x="62" y="1"/>
                    </a:cubicBezTo>
                    <a:cubicBezTo>
                      <a:pt x="60" y="2"/>
                      <a:pt x="56" y="2"/>
                      <a:pt x="54" y="3"/>
                    </a:cubicBezTo>
                    <a:cubicBezTo>
                      <a:pt x="54" y="4"/>
                      <a:pt x="54" y="5"/>
                      <a:pt x="53" y="6"/>
                    </a:cubicBezTo>
                    <a:cubicBezTo>
                      <a:pt x="51" y="7"/>
                      <a:pt x="49" y="6"/>
                      <a:pt x="48" y="7"/>
                    </a:cubicBezTo>
                    <a:cubicBezTo>
                      <a:pt x="48" y="8"/>
                      <a:pt x="48" y="8"/>
                      <a:pt x="48" y="8"/>
                    </a:cubicBezTo>
                    <a:cubicBezTo>
                      <a:pt x="46" y="9"/>
                      <a:pt x="45" y="11"/>
                      <a:pt x="44" y="11"/>
                    </a:cubicBezTo>
                    <a:cubicBezTo>
                      <a:pt x="41" y="12"/>
                      <a:pt x="38" y="11"/>
                      <a:pt x="37" y="10"/>
                    </a:cubicBezTo>
                    <a:cubicBezTo>
                      <a:pt x="37" y="10"/>
                      <a:pt x="37" y="10"/>
                      <a:pt x="37" y="10"/>
                    </a:cubicBezTo>
                    <a:cubicBezTo>
                      <a:pt x="36" y="10"/>
                      <a:pt x="35" y="11"/>
                      <a:pt x="34" y="11"/>
                    </a:cubicBezTo>
                    <a:cubicBezTo>
                      <a:pt x="33" y="11"/>
                      <a:pt x="30" y="11"/>
                      <a:pt x="27" y="10"/>
                    </a:cubicBezTo>
                    <a:cubicBezTo>
                      <a:pt x="26" y="13"/>
                      <a:pt x="26" y="13"/>
                      <a:pt x="26" y="13"/>
                    </a:cubicBezTo>
                    <a:cubicBezTo>
                      <a:pt x="28" y="14"/>
                      <a:pt x="31" y="15"/>
                      <a:pt x="32" y="15"/>
                    </a:cubicBezTo>
                    <a:cubicBezTo>
                      <a:pt x="31" y="15"/>
                      <a:pt x="27" y="15"/>
                      <a:pt x="26" y="15"/>
                    </a:cubicBezTo>
                    <a:cubicBezTo>
                      <a:pt x="26" y="16"/>
                      <a:pt x="26" y="16"/>
                      <a:pt x="26" y="16"/>
                    </a:cubicBezTo>
                    <a:cubicBezTo>
                      <a:pt x="26" y="16"/>
                      <a:pt x="26" y="17"/>
                      <a:pt x="26" y="17"/>
                    </a:cubicBezTo>
                    <a:cubicBezTo>
                      <a:pt x="25" y="17"/>
                      <a:pt x="22" y="19"/>
                      <a:pt x="21" y="19"/>
                    </a:cubicBezTo>
                    <a:cubicBezTo>
                      <a:pt x="18" y="19"/>
                      <a:pt x="19" y="17"/>
                      <a:pt x="15" y="18"/>
                    </a:cubicBezTo>
                    <a:cubicBezTo>
                      <a:pt x="15" y="18"/>
                      <a:pt x="15" y="20"/>
                      <a:pt x="15" y="20"/>
                    </a:cubicBezTo>
                    <a:cubicBezTo>
                      <a:pt x="7" y="20"/>
                      <a:pt x="7" y="22"/>
                      <a:pt x="2" y="26"/>
                    </a:cubicBezTo>
                    <a:cubicBezTo>
                      <a:pt x="4" y="28"/>
                      <a:pt x="2" y="31"/>
                      <a:pt x="1" y="32"/>
                    </a:cubicBezTo>
                    <a:cubicBezTo>
                      <a:pt x="2" y="32"/>
                      <a:pt x="5" y="32"/>
                      <a:pt x="7" y="32"/>
                    </a:cubicBezTo>
                    <a:cubicBezTo>
                      <a:pt x="8" y="37"/>
                      <a:pt x="8" y="37"/>
                      <a:pt x="7" y="41"/>
                    </a:cubicBezTo>
                    <a:cubicBezTo>
                      <a:pt x="7" y="42"/>
                      <a:pt x="8" y="42"/>
                      <a:pt x="9" y="42"/>
                    </a:cubicBezTo>
                    <a:cubicBezTo>
                      <a:pt x="9" y="44"/>
                      <a:pt x="9" y="44"/>
                      <a:pt x="9" y="44"/>
                    </a:cubicBezTo>
                    <a:cubicBezTo>
                      <a:pt x="8" y="44"/>
                      <a:pt x="8" y="45"/>
                      <a:pt x="7" y="46"/>
                    </a:cubicBezTo>
                    <a:cubicBezTo>
                      <a:pt x="7" y="46"/>
                      <a:pt x="4" y="45"/>
                      <a:pt x="5" y="44"/>
                    </a:cubicBezTo>
                    <a:cubicBezTo>
                      <a:pt x="5" y="44"/>
                      <a:pt x="4" y="44"/>
                      <a:pt x="3" y="44"/>
                    </a:cubicBezTo>
                    <a:cubicBezTo>
                      <a:pt x="3" y="45"/>
                      <a:pt x="3" y="45"/>
                      <a:pt x="3" y="45"/>
                    </a:cubicBezTo>
                    <a:cubicBezTo>
                      <a:pt x="5" y="45"/>
                      <a:pt x="4" y="48"/>
                      <a:pt x="4" y="49"/>
                    </a:cubicBezTo>
                    <a:cubicBezTo>
                      <a:pt x="6" y="49"/>
                      <a:pt x="6" y="49"/>
                      <a:pt x="8" y="48"/>
                    </a:cubicBezTo>
                    <a:cubicBezTo>
                      <a:pt x="8" y="49"/>
                      <a:pt x="10" y="50"/>
                      <a:pt x="10" y="50"/>
                    </a:cubicBezTo>
                    <a:cubicBezTo>
                      <a:pt x="11" y="55"/>
                      <a:pt x="11" y="57"/>
                      <a:pt x="10" y="60"/>
                    </a:cubicBezTo>
                    <a:cubicBezTo>
                      <a:pt x="13" y="61"/>
                      <a:pt x="15" y="61"/>
                      <a:pt x="17" y="61"/>
                    </a:cubicBezTo>
                    <a:cubicBezTo>
                      <a:pt x="16" y="61"/>
                      <a:pt x="16" y="64"/>
                      <a:pt x="17" y="64"/>
                    </a:cubicBezTo>
                    <a:cubicBezTo>
                      <a:pt x="18" y="65"/>
                      <a:pt x="20" y="63"/>
                      <a:pt x="21" y="63"/>
                    </a:cubicBezTo>
                    <a:cubicBezTo>
                      <a:pt x="21" y="63"/>
                      <a:pt x="21" y="65"/>
                      <a:pt x="22" y="66"/>
                    </a:cubicBezTo>
                    <a:cubicBezTo>
                      <a:pt x="23" y="67"/>
                      <a:pt x="24" y="66"/>
                      <a:pt x="26" y="66"/>
                    </a:cubicBezTo>
                    <a:cubicBezTo>
                      <a:pt x="26" y="67"/>
                      <a:pt x="27" y="68"/>
                      <a:pt x="26" y="69"/>
                    </a:cubicBezTo>
                    <a:cubicBezTo>
                      <a:pt x="28" y="71"/>
                      <a:pt x="30" y="72"/>
                      <a:pt x="32" y="74"/>
                    </a:cubicBezTo>
                    <a:cubicBezTo>
                      <a:pt x="37" y="71"/>
                      <a:pt x="37" y="72"/>
                      <a:pt x="40" y="65"/>
                    </a:cubicBezTo>
                    <a:cubicBezTo>
                      <a:pt x="44" y="65"/>
                      <a:pt x="48" y="66"/>
                      <a:pt x="52" y="68"/>
                    </a:cubicBezTo>
                    <a:cubicBezTo>
                      <a:pt x="53" y="69"/>
                      <a:pt x="56" y="73"/>
                      <a:pt x="57" y="73"/>
                    </a:cubicBezTo>
                    <a:cubicBezTo>
                      <a:pt x="61" y="74"/>
                      <a:pt x="68" y="72"/>
                      <a:pt x="70" y="70"/>
                    </a:cubicBezTo>
                    <a:cubicBezTo>
                      <a:pt x="71" y="70"/>
                      <a:pt x="72" y="67"/>
                      <a:pt x="74" y="66"/>
                    </a:cubicBezTo>
                    <a:cubicBezTo>
                      <a:pt x="76" y="66"/>
                      <a:pt x="77" y="67"/>
                      <a:pt x="79" y="67"/>
                    </a:cubicBezTo>
                    <a:cubicBezTo>
                      <a:pt x="82" y="62"/>
                      <a:pt x="82" y="62"/>
                      <a:pt x="82" y="62"/>
                    </a:cubicBezTo>
                    <a:cubicBezTo>
                      <a:pt x="83" y="62"/>
                      <a:pt x="84" y="63"/>
                      <a:pt x="84" y="62"/>
                    </a:cubicBezTo>
                    <a:cubicBezTo>
                      <a:pt x="84" y="64"/>
                      <a:pt x="86" y="67"/>
                      <a:pt x="84" y="69"/>
                    </a:cubicBezTo>
                    <a:cubicBezTo>
                      <a:pt x="84" y="69"/>
                      <a:pt x="82" y="70"/>
                      <a:pt x="82" y="70"/>
                    </a:cubicBezTo>
                    <a:cubicBezTo>
                      <a:pt x="82" y="71"/>
                      <a:pt x="83" y="73"/>
                      <a:pt x="83" y="72"/>
                    </a:cubicBezTo>
                    <a:cubicBezTo>
                      <a:pt x="83" y="72"/>
                      <a:pt x="83" y="74"/>
                      <a:pt x="83" y="74"/>
                    </a:cubicBezTo>
                    <a:cubicBezTo>
                      <a:pt x="83" y="74"/>
                      <a:pt x="83" y="75"/>
                      <a:pt x="83" y="77"/>
                    </a:cubicBezTo>
                    <a:close/>
                    <a:moveTo>
                      <a:pt x="146" y="38"/>
                    </a:moveTo>
                    <a:cubicBezTo>
                      <a:pt x="149" y="37"/>
                      <a:pt x="145" y="42"/>
                      <a:pt x="145" y="42"/>
                    </a:cubicBezTo>
                    <a:cubicBezTo>
                      <a:pt x="145" y="43"/>
                      <a:pt x="147" y="43"/>
                      <a:pt x="147" y="44"/>
                    </a:cubicBezTo>
                    <a:cubicBezTo>
                      <a:pt x="147" y="45"/>
                      <a:pt x="146" y="45"/>
                      <a:pt x="146" y="46"/>
                    </a:cubicBezTo>
                    <a:cubicBezTo>
                      <a:pt x="142" y="44"/>
                      <a:pt x="141" y="45"/>
                      <a:pt x="135" y="46"/>
                    </a:cubicBezTo>
                    <a:cubicBezTo>
                      <a:pt x="135" y="46"/>
                      <a:pt x="136" y="44"/>
                      <a:pt x="135" y="44"/>
                    </a:cubicBezTo>
                    <a:cubicBezTo>
                      <a:pt x="135" y="44"/>
                      <a:pt x="137" y="42"/>
                      <a:pt x="137" y="42"/>
                    </a:cubicBezTo>
                    <a:cubicBezTo>
                      <a:pt x="139" y="41"/>
                      <a:pt x="142" y="41"/>
                      <a:pt x="145" y="41"/>
                    </a:cubicBezTo>
                    <a:cubicBezTo>
                      <a:pt x="145" y="40"/>
                      <a:pt x="145" y="39"/>
                      <a:pt x="146" y="3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61" name="Freeform 40">
                <a:extLst>
                  <a:ext uri="{FF2B5EF4-FFF2-40B4-BE49-F238E27FC236}">
                    <a16:creationId xmlns:a16="http://schemas.microsoft.com/office/drawing/2014/main" id="{9F1C207D-99BB-6951-EC6F-B2EBDB03F6D8}"/>
                  </a:ext>
                </a:extLst>
              </p:cNvPr>
              <p:cNvSpPr>
                <a:spLocks noEditPoints="1"/>
              </p:cNvSpPr>
              <p:nvPr/>
            </p:nvSpPr>
            <p:spPr bwMode="auto">
              <a:xfrm>
                <a:off x="3561" y="1332"/>
                <a:ext cx="321" cy="151"/>
              </a:xfrm>
              <a:custGeom>
                <a:avLst/>
                <a:gdLst>
                  <a:gd name="T0" fmla="*/ 7 w 164"/>
                  <a:gd name="T1" fmla="*/ 4 h 77"/>
                  <a:gd name="T2" fmla="*/ 9 w 164"/>
                  <a:gd name="T3" fmla="*/ 11 h 77"/>
                  <a:gd name="T4" fmla="*/ 2 w 164"/>
                  <a:gd name="T5" fmla="*/ 18 h 77"/>
                  <a:gd name="T6" fmla="*/ 3 w 164"/>
                  <a:gd name="T7" fmla="*/ 23 h 77"/>
                  <a:gd name="T8" fmla="*/ 14 w 164"/>
                  <a:gd name="T9" fmla="*/ 14 h 77"/>
                  <a:gd name="T10" fmla="*/ 16 w 164"/>
                  <a:gd name="T11" fmla="*/ 5 h 77"/>
                  <a:gd name="T12" fmla="*/ 86 w 164"/>
                  <a:gd name="T13" fmla="*/ 77 h 77"/>
                  <a:gd name="T14" fmla="*/ 92 w 164"/>
                  <a:gd name="T15" fmla="*/ 66 h 77"/>
                  <a:gd name="T16" fmla="*/ 106 w 164"/>
                  <a:gd name="T17" fmla="*/ 65 h 77"/>
                  <a:gd name="T18" fmla="*/ 136 w 164"/>
                  <a:gd name="T19" fmla="*/ 56 h 77"/>
                  <a:gd name="T20" fmla="*/ 141 w 164"/>
                  <a:gd name="T21" fmla="*/ 58 h 77"/>
                  <a:gd name="T22" fmla="*/ 151 w 164"/>
                  <a:gd name="T23" fmla="*/ 58 h 77"/>
                  <a:gd name="T24" fmla="*/ 158 w 164"/>
                  <a:gd name="T25" fmla="*/ 59 h 77"/>
                  <a:gd name="T26" fmla="*/ 154 w 164"/>
                  <a:gd name="T27" fmla="*/ 44 h 77"/>
                  <a:gd name="T28" fmla="*/ 156 w 164"/>
                  <a:gd name="T29" fmla="*/ 33 h 77"/>
                  <a:gd name="T30" fmla="*/ 163 w 164"/>
                  <a:gd name="T31" fmla="*/ 30 h 77"/>
                  <a:gd name="T32" fmla="*/ 153 w 164"/>
                  <a:gd name="T33" fmla="*/ 15 h 77"/>
                  <a:gd name="T34" fmla="*/ 150 w 164"/>
                  <a:gd name="T35" fmla="*/ 7 h 77"/>
                  <a:gd name="T36" fmla="*/ 136 w 164"/>
                  <a:gd name="T37" fmla="*/ 6 h 77"/>
                  <a:gd name="T38" fmla="*/ 130 w 164"/>
                  <a:gd name="T39" fmla="*/ 7 h 77"/>
                  <a:gd name="T40" fmla="*/ 119 w 164"/>
                  <a:gd name="T41" fmla="*/ 12 h 77"/>
                  <a:gd name="T42" fmla="*/ 104 w 164"/>
                  <a:gd name="T43" fmla="*/ 13 h 77"/>
                  <a:gd name="T44" fmla="*/ 97 w 164"/>
                  <a:gd name="T45" fmla="*/ 9 h 77"/>
                  <a:gd name="T46" fmla="*/ 88 w 164"/>
                  <a:gd name="T47" fmla="*/ 10 h 77"/>
                  <a:gd name="T48" fmla="*/ 78 w 164"/>
                  <a:gd name="T49" fmla="*/ 1 h 77"/>
                  <a:gd name="T50" fmla="*/ 62 w 164"/>
                  <a:gd name="T51" fmla="*/ 1 h 77"/>
                  <a:gd name="T52" fmla="*/ 48 w 164"/>
                  <a:gd name="T53" fmla="*/ 7 h 77"/>
                  <a:gd name="T54" fmla="*/ 37 w 164"/>
                  <a:gd name="T55" fmla="*/ 10 h 77"/>
                  <a:gd name="T56" fmla="*/ 27 w 164"/>
                  <a:gd name="T57" fmla="*/ 10 h 77"/>
                  <a:gd name="T58" fmla="*/ 26 w 164"/>
                  <a:gd name="T59" fmla="*/ 15 h 77"/>
                  <a:gd name="T60" fmla="*/ 21 w 164"/>
                  <a:gd name="T61" fmla="*/ 19 h 77"/>
                  <a:gd name="T62" fmla="*/ 2 w 164"/>
                  <a:gd name="T63" fmla="*/ 26 h 77"/>
                  <a:gd name="T64" fmla="*/ 7 w 164"/>
                  <a:gd name="T65" fmla="*/ 41 h 77"/>
                  <a:gd name="T66" fmla="*/ 7 w 164"/>
                  <a:gd name="T67" fmla="*/ 46 h 77"/>
                  <a:gd name="T68" fmla="*/ 3 w 164"/>
                  <a:gd name="T69" fmla="*/ 45 h 77"/>
                  <a:gd name="T70" fmla="*/ 10 w 164"/>
                  <a:gd name="T71" fmla="*/ 50 h 77"/>
                  <a:gd name="T72" fmla="*/ 17 w 164"/>
                  <a:gd name="T73" fmla="*/ 64 h 77"/>
                  <a:gd name="T74" fmla="*/ 26 w 164"/>
                  <a:gd name="T75" fmla="*/ 66 h 77"/>
                  <a:gd name="T76" fmla="*/ 40 w 164"/>
                  <a:gd name="T77" fmla="*/ 65 h 77"/>
                  <a:gd name="T78" fmla="*/ 70 w 164"/>
                  <a:gd name="T79" fmla="*/ 70 h 77"/>
                  <a:gd name="T80" fmla="*/ 82 w 164"/>
                  <a:gd name="T81" fmla="*/ 62 h 77"/>
                  <a:gd name="T82" fmla="*/ 82 w 164"/>
                  <a:gd name="T83" fmla="*/ 70 h 77"/>
                  <a:gd name="T84" fmla="*/ 83 w 164"/>
                  <a:gd name="T85" fmla="*/ 77 h 77"/>
                  <a:gd name="T86" fmla="*/ 147 w 164"/>
                  <a:gd name="T87" fmla="*/ 44 h 77"/>
                  <a:gd name="T88" fmla="*/ 135 w 164"/>
                  <a:gd name="T89" fmla="*/ 44 h 77"/>
                  <a:gd name="T90" fmla="*/ 146 w 164"/>
                  <a:gd name="T91" fmla="*/ 3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4" h="77">
                    <a:moveTo>
                      <a:pt x="16" y="4"/>
                    </a:moveTo>
                    <a:cubicBezTo>
                      <a:pt x="16" y="4"/>
                      <a:pt x="12" y="5"/>
                      <a:pt x="11" y="4"/>
                    </a:cubicBezTo>
                    <a:cubicBezTo>
                      <a:pt x="10" y="3"/>
                      <a:pt x="8" y="3"/>
                      <a:pt x="7" y="4"/>
                    </a:cubicBezTo>
                    <a:cubicBezTo>
                      <a:pt x="6" y="5"/>
                      <a:pt x="6" y="6"/>
                      <a:pt x="6" y="6"/>
                    </a:cubicBezTo>
                    <a:cubicBezTo>
                      <a:pt x="9" y="7"/>
                      <a:pt x="9" y="7"/>
                      <a:pt x="9" y="7"/>
                    </a:cubicBezTo>
                    <a:cubicBezTo>
                      <a:pt x="9" y="7"/>
                      <a:pt x="11" y="10"/>
                      <a:pt x="9" y="11"/>
                    </a:cubicBezTo>
                    <a:cubicBezTo>
                      <a:pt x="7" y="13"/>
                      <a:pt x="4" y="10"/>
                      <a:pt x="4" y="12"/>
                    </a:cubicBezTo>
                    <a:cubicBezTo>
                      <a:pt x="4" y="14"/>
                      <a:pt x="1" y="17"/>
                      <a:pt x="1" y="17"/>
                    </a:cubicBezTo>
                    <a:cubicBezTo>
                      <a:pt x="2" y="18"/>
                      <a:pt x="2" y="18"/>
                      <a:pt x="2" y="18"/>
                    </a:cubicBezTo>
                    <a:cubicBezTo>
                      <a:pt x="4" y="18"/>
                      <a:pt x="4" y="18"/>
                      <a:pt x="4" y="18"/>
                    </a:cubicBezTo>
                    <a:cubicBezTo>
                      <a:pt x="1" y="20"/>
                      <a:pt x="1" y="20"/>
                      <a:pt x="1" y="20"/>
                    </a:cubicBezTo>
                    <a:cubicBezTo>
                      <a:pt x="1" y="21"/>
                      <a:pt x="0" y="23"/>
                      <a:pt x="3" y="23"/>
                    </a:cubicBezTo>
                    <a:cubicBezTo>
                      <a:pt x="3" y="23"/>
                      <a:pt x="7" y="19"/>
                      <a:pt x="8" y="18"/>
                    </a:cubicBezTo>
                    <a:cubicBezTo>
                      <a:pt x="9" y="18"/>
                      <a:pt x="11" y="18"/>
                      <a:pt x="13" y="17"/>
                    </a:cubicBezTo>
                    <a:cubicBezTo>
                      <a:pt x="13" y="17"/>
                      <a:pt x="14" y="15"/>
                      <a:pt x="14" y="14"/>
                    </a:cubicBezTo>
                    <a:cubicBezTo>
                      <a:pt x="17" y="13"/>
                      <a:pt x="21" y="14"/>
                      <a:pt x="24" y="13"/>
                    </a:cubicBezTo>
                    <a:cubicBezTo>
                      <a:pt x="24" y="13"/>
                      <a:pt x="25" y="11"/>
                      <a:pt x="25" y="10"/>
                    </a:cubicBezTo>
                    <a:cubicBezTo>
                      <a:pt x="22" y="9"/>
                      <a:pt x="18" y="8"/>
                      <a:pt x="16" y="5"/>
                    </a:cubicBezTo>
                    <a:cubicBezTo>
                      <a:pt x="16" y="4"/>
                      <a:pt x="16" y="5"/>
                      <a:pt x="16" y="4"/>
                    </a:cubicBezTo>
                    <a:close/>
                    <a:moveTo>
                      <a:pt x="83" y="77"/>
                    </a:moveTo>
                    <a:cubicBezTo>
                      <a:pt x="84" y="77"/>
                      <a:pt x="85" y="77"/>
                      <a:pt x="86" y="77"/>
                    </a:cubicBezTo>
                    <a:cubicBezTo>
                      <a:pt x="89" y="76"/>
                      <a:pt x="87" y="73"/>
                      <a:pt x="90" y="73"/>
                    </a:cubicBezTo>
                    <a:cubicBezTo>
                      <a:pt x="92" y="73"/>
                      <a:pt x="92" y="72"/>
                      <a:pt x="92" y="70"/>
                    </a:cubicBezTo>
                    <a:cubicBezTo>
                      <a:pt x="92" y="69"/>
                      <a:pt x="90" y="68"/>
                      <a:pt x="92" y="66"/>
                    </a:cubicBezTo>
                    <a:cubicBezTo>
                      <a:pt x="94" y="65"/>
                      <a:pt x="95" y="68"/>
                      <a:pt x="96" y="67"/>
                    </a:cubicBezTo>
                    <a:cubicBezTo>
                      <a:pt x="98" y="66"/>
                      <a:pt x="98" y="64"/>
                      <a:pt x="100" y="64"/>
                    </a:cubicBezTo>
                    <a:cubicBezTo>
                      <a:pt x="102" y="64"/>
                      <a:pt x="104" y="66"/>
                      <a:pt x="106" y="65"/>
                    </a:cubicBezTo>
                    <a:cubicBezTo>
                      <a:pt x="108" y="63"/>
                      <a:pt x="113" y="65"/>
                      <a:pt x="117" y="61"/>
                    </a:cubicBezTo>
                    <a:cubicBezTo>
                      <a:pt x="119" y="60"/>
                      <a:pt x="127" y="61"/>
                      <a:pt x="129" y="59"/>
                    </a:cubicBezTo>
                    <a:cubicBezTo>
                      <a:pt x="131" y="58"/>
                      <a:pt x="135" y="56"/>
                      <a:pt x="136" y="56"/>
                    </a:cubicBezTo>
                    <a:cubicBezTo>
                      <a:pt x="137" y="58"/>
                      <a:pt x="137" y="58"/>
                      <a:pt x="137" y="58"/>
                    </a:cubicBezTo>
                    <a:cubicBezTo>
                      <a:pt x="137" y="59"/>
                      <a:pt x="138" y="59"/>
                      <a:pt x="139" y="59"/>
                    </a:cubicBezTo>
                    <a:cubicBezTo>
                      <a:pt x="140" y="59"/>
                      <a:pt x="141" y="59"/>
                      <a:pt x="141" y="58"/>
                    </a:cubicBezTo>
                    <a:cubicBezTo>
                      <a:pt x="143" y="57"/>
                      <a:pt x="146" y="61"/>
                      <a:pt x="147" y="59"/>
                    </a:cubicBezTo>
                    <a:cubicBezTo>
                      <a:pt x="148" y="58"/>
                      <a:pt x="149" y="57"/>
                      <a:pt x="149" y="57"/>
                    </a:cubicBezTo>
                    <a:cubicBezTo>
                      <a:pt x="151" y="58"/>
                      <a:pt x="151" y="58"/>
                      <a:pt x="151" y="58"/>
                    </a:cubicBezTo>
                    <a:cubicBezTo>
                      <a:pt x="152" y="60"/>
                      <a:pt x="152" y="60"/>
                      <a:pt x="152" y="60"/>
                    </a:cubicBezTo>
                    <a:cubicBezTo>
                      <a:pt x="155" y="58"/>
                      <a:pt x="155" y="58"/>
                      <a:pt x="155" y="58"/>
                    </a:cubicBezTo>
                    <a:cubicBezTo>
                      <a:pt x="158" y="59"/>
                      <a:pt x="158" y="59"/>
                      <a:pt x="158" y="59"/>
                    </a:cubicBezTo>
                    <a:cubicBezTo>
                      <a:pt x="158" y="59"/>
                      <a:pt x="160" y="57"/>
                      <a:pt x="159" y="56"/>
                    </a:cubicBezTo>
                    <a:cubicBezTo>
                      <a:pt x="158" y="54"/>
                      <a:pt x="158" y="52"/>
                      <a:pt x="157" y="50"/>
                    </a:cubicBezTo>
                    <a:cubicBezTo>
                      <a:pt x="155" y="49"/>
                      <a:pt x="153" y="46"/>
                      <a:pt x="154" y="44"/>
                    </a:cubicBezTo>
                    <a:cubicBezTo>
                      <a:pt x="155" y="42"/>
                      <a:pt x="157" y="42"/>
                      <a:pt x="156" y="40"/>
                    </a:cubicBezTo>
                    <a:cubicBezTo>
                      <a:pt x="156" y="38"/>
                      <a:pt x="157" y="39"/>
                      <a:pt x="156" y="38"/>
                    </a:cubicBezTo>
                    <a:cubicBezTo>
                      <a:pt x="155" y="36"/>
                      <a:pt x="154" y="35"/>
                      <a:pt x="156" y="33"/>
                    </a:cubicBezTo>
                    <a:cubicBezTo>
                      <a:pt x="158" y="32"/>
                      <a:pt x="157" y="30"/>
                      <a:pt x="159" y="31"/>
                    </a:cubicBezTo>
                    <a:cubicBezTo>
                      <a:pt x="160" y="33"/>
                      <a:pt x="162" y="33"/>
                      <a:pt x="162" y="33"/>
                    </a:cubicBezTo>
                    <a:cubicBezTo>
                      <a:pt x="163" y="30"/>
                      <a:pt x="163" y="30"/>
                      <a:pt x="163" y="30"/>
                    </a:cubicBezTo>
                    <a:cubicBezTo>
                      <a:pt x="163" y="30"/>
                      <a:pt x="164" y="27"/>
                      <a:pt x="161" y="25"/>
                    </a:cubicBezTo>
                    <a:cubicBezTo>
                      <a:pt x="158" y="24"/>
                      <a:pt x="150" y="23"/>
                      <a:pt x="151" y="20"/>
                    </a:cubicBezTo>
                    <a:cubicBezTo>
                      <a:pt x="153" y="17"/>
                      <a:pt x="151" y="17"/>
                      <a:pt x="153" y="15"/>
                    </a:cubicBezTo>
                    <a:cubicBezTo>
                      <a:pt x="156" y="14"/>
                      <a:pt x="153" y="9"/>
                      <a:pt x="153" y="9"/>
                    </a:cubicBezTo>
                    <a:cubicBezTo>
                      <a:pt x="151" y="9"/>
                      <a:pt x="151" y="9"/>
                      <a:pt x="151" y="9"/>
                    </a:cubicBezTo>
                    <a:cubicBezTo>
                      <a:pt x="151" y="9"/>
                      <a:pt x="152" y="6"/>
                      <a:pt x="150" y="7"/>
                    </a:cubicBezTo>
                    <a:cubicBezTo>
                      <a:pt x="147" y="8"/>
                      <a:pt x="145" y="8"/>
                      <a:pt x="145" y="8"/>
                    </a:cubicBezTo>
                    <a:cubicBezTo>
                      <a:pt x="145" y="8"/>
                      <a:pt x="143" y="6"/>
                      <a:pt x="141" y="6"/>
                    </a:cubicBezTo>
                    <a:cubicBezTo>
                      <a:pt x="139" y="6"/>
                      <a:pt x="138" y="5"/>
                      <a:pt x="136" y="6"/>
                    </a:cubicBezTo>
                    <a:cubicBezTo>
                      <a:pt x="134" y="7"/>
                      <a:pt x="133" y="5"/>
                      <a:pt x="133" y="5"/>
                    </a:cubicBezTo>
                    <a:cubicBezTo>
                      <a:pt x="133" y="5"/>
                      <a:pt x="133" y="5"/>
                      <a:pt x="132" y="6"/>
                    </a:cubicBezTo>
                    <a:cubicBezTo>
                      <a:pt x="132" y="6"/>
                      <a:pt x="131" y="6"/>
                      <a:pt x="130" y="7"/>
                    </a:cubicBezTo>
                    <a:cubicBezTo>
                      <a:pt x="129" y="7"/>
                      <a:pt x="130" y="9"/>
                      <a:pt x="129" y="9"/>
                    </a:cubicBezTo>
                    <a:cubicBezTo>
                      <a:pt x="127" y="10"/>
                      <a:pt x="126" y="10"/>
                      <a:pt x="124" y="10"/>
                    </a:cubicBezTo>
                    <a:cubicBezTo>
                      <a:pt x="122" y="12"/>
                      <a:pt x="122" y="13"/>
                      <a:pt x="119" y="12"/>
                    </a:cubicBezTo>
                    <a:cubicBezTo>
                      <a:pt x="117" y="12"/>
                      <a:pt x="117" y="10"/>
                      <a:pt x="114" y="10"/>
                    </a:cubicBezTo>
                    <a:cubicBezTo>
                      <a:pt x="114" y="11"/>
                      <a:pt x="112" y="12"/>
                      <a:pt x="112" y="12"/>
                    </a:cubicBezTo>
                    <a:cubicBezTo>
                      <a:pt x="110" y="13"/>
                      <a:pt x="106" y="14"/>
                      <a:pt x="104" y="13"/>
                    </a:cubicBezTo>
                    <a:cubicBezTo>
                      <a:pt x="103" y="13"/>
                      <a:pt x="102" y="11"/>
                      <a:pt x="102" y="11"/>
                    </a:cubicBezTo>
                    <a:cubicBezTo>
                      <a:pt x="101" y="11"/>
                      <a:pt x="99" y="11"/>
                      <a:pt x="98" y="11"/>
                    </a:cubicBezTo>
                    <a:cubicBezTo>
                      <a:pt x="98" y="11"/>
                      <a:pt x="97" y="10"/>
                      <a:pt x="97" y="9"/>
                    </a:cubicBezTo>
                    <a:cubicBezTo>
                      <a:pt x="95" y="8"/>
                      <a:pt x="94" y="8"/>
                      <a:pt x="91" y="8"/>
                    </a:cubicBezTo>
                    <a:cubicBezTo>
                      <a:pt x="90" y="10"/>
                      <a:pt x="90" y="10"/>
                      <a:pt x="90" y="10"/>
                    </a:cubicBezTo>
                    <a:cubicBezTo>
                      <a:pt x="90" y="10"/>
                      <a:pt x="89" y="9"/>
                      <a:pt x="88" y="10"/>
                    </a:cubicBezTo>
                    <a:cubicBezTo>
                      <a:pt x="87" y="8"/>
                      <a:pt x="86" y="6"/>
                      <a:pt x="85" y="4"/>
                    </a:cubicBezTo>
                    <a:cubicBezTo>
                      <a:pt x="80" y="4"/>
                      <a:pt x="81" y="4"/>
                      <a:pt x="78" y="3"/>
                    </a:cubicBezTo>
                    <a:cubicBezTo>
                      <a:pt x="78" y="2"/>
                      <a:pt x="78" y="1"/>
                      <a:pt x="78" y="1"/>
                    </a:cubicBezTo>
                    <a:cubicBezTo>
                      <a:pt x="76" y="1"/>
                      <a:pt x="74" y="3"/>
                      <a:pt x="71" y="3"/>
                    </a:cubicBezTo>
                    <a:cubicBezTo>
                      <a:pt x="69" y="2"/>
                      <a:pt x="67" y="0"/>
                      <a:pt x="62" y="1"/>
                    </a:cubicBezTo>
                    <a:cubicBezTo>
                      <a:pt x="62" y="1"/>
                      <a:pt x="62" y="1"/>
                      <a:pt x="62" y="1"/>
                    </a:cubicBezTo>
                    <a:cubicBezTo>
                      <a:pt x="60" y="2"/>
                      <a:pt x="56" y="2"/>
                      <a:pt x="54" y="3"/>
                    </a:cubicBezTo>
                    <a:cubicBezTo>
                      <a:pt x="54" y="4"/>
                      <a:pt x="54" y="5"/>
                      <a:pt x="53" y="6"/>
                    </a:cubicBezTo>
                    <a:cubicBezTo>
                      <a:pt x="51" y="7"/>
                      <a:pt x="49" y="6"/>
                      <a:pt x="48" y="7"/>
                    </a:cubicBezTo>
                    <a:cubicBezTo>
                      <a:pt x="48" y="8"/>
                      <a:pt x="48" y="8"/>
                      <a:pt x="48" y="8"/>
                    </a:cubicBezTo>
                    <a:cubicBezTo>
                      <a:pt x="46" y="9"/>
                      <a:pt x="45" y="11"/>
                      <a:pt x="44" y="11"/>
                    </a:cubicBezTo>
                    <a:cubicBezTo>
                      <a:pt x="41" y="12"/>
                      <a:pt x="38" y="11"/>
                      <a:pt x="37" y="10"/>
                    </a:cubicBezTo>
                    <a:cubicBezTo>
                      <a:pt x="37" y="10"/>
                      <a:pt x="37" y="10"/>
                      <a:pt x="37" y="10"/>
                    </a:cubicBezTo>
                    <a:cubicBezTo>
                      <a:pt x="36" y="10"/>
                      <a:pt x="35" y="11"/>
                      <a:pt x="34" y="11"/>
                    </a:cubicBezTo>
                    <a:cubicBezTo>
                      <a:pt x="33" y="11"/>
                      <a:pt x="30" y="11"/>
                      <a:pt x="27" y="10"/>
                    </a:cubicBezTo>
                    <a:cubicBezTo>
                      <a:pt x="26" y="13"/>
                      <a:pt x="26" y="13"/>
                      <a:pt x="26" y="13"/>
                    </a:cubicBezTo>
                    <a:cubicBezTo>
                      <a:pt x="28" y="14"/>
                      <a:pt x="31" y="15"/>
                      <a:pt x="32" y="15"/>
                    </a:cubicBezTo>
                    <a:cubicBezTo>
                      <a:pt x="31" y="15"/>
                      <a:pt x="27" y="15"/>
                      <a:pt x="26" y="15"/>
                    </a:cubicBezTo>
                    <a:cubicBezTo>
                      <a:pt x="26" y="16"/>
                      <a:pt x="26" y="16"/>
                      <a:pt x="26" y="16"/>
                    </a:cubicBezTo>
                    <a:cubicBezTo>
                      <a:pt x="26" y="16"/>
                      <a:pt x="26" y="17"/>
                      <a:pt x="26" y="17"/>
                    </a:cubicBezTo>
                    <a:cubicBezTo>
                      <a:pt x="25" y="17"/>
                      <a:pt x="22" y="19"/>
                      <a:pt x="21" y="19"/>
                    </a:cubicBezTo>
                    <a:cubicBezTo>
                      <a:pt x="18" y="19"/>
                      <a:pt x="19" y="17"/>
                      <a:pt x="15" y="18"/>
                    </a:cubicBezTo>
                    <a:cubicBezTo>
                      <a:pt x="15" y="18"/>
                      <a:pt x="15" y="20"/>
                      <a:pt x="15" y="20"/>
                    </a:cubicBezTo>
                    <a:cubicBezTo>
                      <a:pt x="7" y="20"/>
                      <a:pt x="7" y="22"/>
                      <a:pt x="2" y="26"/>
                    </a:cubicBezTo>
                    <a:cubicBezTo>
                      <a:pt x="4" y="28"/>
                      <a:pt x="2" y="31"/>
                      <a:pt x="1" y="32"/>
                    </a:cubicBezTo>
                    <a:cubicBezTo>
                      <a:pt x="2" y="32"/>
                      <a:pt x="5" y="32"/>
                      <a:pt x="7" y="32"/>
                    </a:cubicBezTo>
                    <a:cubicBezTo>
                      <a:pt x="8" y="37"/>
                      <a:pt x="8" y="37"/>
                      <a:pt x="7" y="41"/>
                    </a:cubicBezTo>
                    <a:cubicBezTo>
                      <a:pt x="7" y="42"/>
                      <a:pt x="8" y="42"/>
                      <a:pt x="9" y="42"/>
                    </a:cubicBezTo>
                    <a:cubicBezTo>
                      <a:pt x="9" y="44"/>
                      <a:pt x="9" y="44"/>
                      <a:pt x="9" y="44"/>
                    </a:cubicBezTo>
                    <a:cubicBezTo>
                      <a:pt x="8" y="44"/>
                      <a:pt x="8" y="45"/>
                      <a:pt x="7" y="46"/>
                    </a:cubicBezTo>
                    <a:cubicBezTo>
                      <a:pt x="7" y="46"/>
                      <a:pt x="4" y="45"/>
                      <a:pt x="5" y="44"/>
                    </a:cubicBezTo>
                    <a:cubicBezTo>
                      <a:pt x="5" y="44"/>
                      <a:pt x="4" y="44"/>
                      <a:pt x="3" y="44"/>
                    </a:cubicBezTo>
                    <a:cubicBezTo>
                      <a:pt x="3" y="45"/>
                      <a:pt x="3" y="45"/>
                      <a:pt x="3" y="45"/>
                    </a:cubicBezTo>
                    <a:cubicBezTo>
                      <a:pt x="5" y="45"/>
                      <a:pt x="4" y="48"/>
                      <a:pt x="4" y="49"/>
                    </a:cubicBezTo>
                    <a:cubicBezTo>
                      <a:pt x="6" y="49"/>
                      <a:pt x="6" y="49"/>
                      <a:pt x="8" y="48"/>
                    </a:cubicBezTo>
                    <a:cubicBezTo>
                      <a:pt x="8" y="49"/>
                      <a:pt x="10" y="50"/>
                      <a:pt x="10" y="50"/>
                    </a:cubicBezTo>
                    <a:cubicBezTo>
                      <a:pt x="11" y="55"/>
                      <a:pt x="11" y="57"/>
                      <a:pt x="10" y="60"/>
                    </a:cubicBezTo>
                    <a:cubicBezTo>
                      <a:pt x="13" y="61"/>
                      <a:pt x="15" y="61"/>
                      <a:pt x="17" y="61"/>
                    </a:cubicBezTo>
                    <a:cubicBezTo>
                      <a:pt x="16" y="61"/>
                      <a:pt x="16" y="64"/>
                      <a:pt x="17" y="64"/>
                    </a:cubicBezTo>
                    <a:cubicBezTo>
                      <a:pt x="18" y="65"/>
                      <a:pt x="20" y="63"/>
                      <a:pt x="21" y="63"/>
                    </a:cubicBezTo>
                    <a:cubicBezTo>
                      <a:pt x="21" y="63"/>
                      <a:pt x="21" y="65"/>
                      <a:pt x="22" y="66"/>
                    </a:cubicBezTo>
                    <a:cubicBezTo>
                      <a:pt x="23" y="67"/>
                      <a:pt x="24" y="66"/>
                      <a:pt x="26" y="66"/>
                    </a:cubicBezTo>
                    <a:cubicBezTo>
                      <a:pt x="26" y="67"/>
                      <a:pt x="27" y="68"/>
                      <a:pt x="26" y="69"/>
                    </a:cubicBezTo>
                    <a:cubicBezTo>
                      <a:pt x="28" y="71"/>
                      <a:pt x="30" y="72"/>
                      <a:pt x="32" y="74"/>
                    </a:cubicBezTo>
                    <a:cubicBezTo>
                      <a:pt x="37" y="71"/>
                      <a:pt x="37" y="72"/>
                      <a:pt x="40" y="65"/>
                    </a:cubicBezTo>
                    <a:cubicBezTo>
                      <a:pt x="44" y="65"/>
                      <a:pt x="48" y="66"/>
                      <a:pt x="52" y="68"/>
                    </a:cubicBezTo>
                    <a:cubicBezTo>
                      <a:pt x="53" y="69"/>
                      <a:pt x="56" y="73"/>
                      <a:pt x="57" y="73"/>
                    </a:cubicBezTo>
                    <a:cubicBezTo>
                      <a:pt x="61" y="74"/>
                      <a:pt x="68" y="72"/>
                      <a:pt x="70" y="70"/>
                    </a:cubicBezTo>
                    <a:cubicBezTo>
                      <a:pt x="71" y="70"/>
                      <a:pt x="72" y="67"/>
                      <a:pt x="74" y="66"/>
                    </a:cubicBezTo>
                    <a:cubicBezTo>
                      <a:pt x="76" y="66"/>
                      <a:pt x="77" y="67"/>
                      <a:pt x="79" y="67"/>
                    </a:cubicBezTo>
                    <a:cubicBezTo>
                      <a:pt x="82" y="62"/>
                      <a:pt x="82" y="62"/>
                      <a:pt x="82" y="62"/>
                    </a:cubicBezTo>
                    <a:cubicBezTo>
                      <a:pt x="83" y="62"/>
                      <a:pt x="84" y="63"/>
                      <a:pt x="84" y="62"/>
                    </a:cubicBezTo>
                    <a:cubicBezTo>
                      <a:pt x="84" y="64"/>
                      <a:pt x="86" y="67"/>
                      <a:pt x="84" y="69"/>
                    </a:cubicBezTo>
                    <a:cubicBezTo>
                      <a:pt x="84" y="69"/>
                      <a:pt x="82" y="70"/>
                      <a:pt x="82" y="70"/>
                    </a:cubicBezTo>
                    <a:cubicBezTo>
                      <a:pt x="82" y="71"/>
                      <a:pt x="83" y="73"/>
                      <a:pt x="83" y="72"/>
                    </a:cubicBezTo>
                    <a:cubicBezTo>
                      <a:pt x="83" y="72"/>
                      <a:pt x="83" y="74"/>
                      <a:pt x="83" y="74"/>
                    </a:cubicBezTo>
                    <a:cubicBezTo>
                      <a:pt x="83" y="74"/>
                      <a:pt x="83" y="75"/>
                      <a:pt x="83" y="77"/>
                    </a:cubicBezTo>
                    <a:close/>
                    <a:moveTo>
                      <a:pt x="146" y="38"/>
                    </a:moveTo>
                    <a:cubicBezTo>
                      <a:pt x="149" y="37"/>
                      <a:pt x="145" y="42"/>
                      <a:pt x="145" y="42"/>
                    </a:cubicBezTo>
                    <a:cubicBezTo>
                      <a:pt x="145" y="43"/>
                      <a:pt x="147" y="43"/>
                      <a:pt x="147" y="44"/>
                    </a:cubicBezTo>
                    <a:cubicBezTo>
                      <a:pt x="147" y="45"/>
                      <a:pt x="146" y="45"/>
                      <a:pt x="146" y="46"/>
                    </a:cubicBezTo>
                    <a:cubicBezTo>
                      <a:pt x="142" y="44"/>
                      <a:pt x="141" y="45"/>
                      <a:pt x="135" y="46"/>
                    </a:cubicBezTo>
                    <a:cubicBezTo>
                      <a:pt x="135" y="46"/>
                      <a:pt x="136" y="44"/>
                      <a:pt x="135" y="44"/>
                    </a:cubicBezTo>
                    <a:cubicBezTo>
                      <a:pt x="135" y="44"/>
                      <a:pt x="137" y="42"/>
                      <a:pt x="137" y="42"/>
                    </a:cubicBezTo>
                    <a:cubicBezTo>
                      <a:pt x="139" y="41"/>
                      <a:pt x="142" y="41"/>
                      <a:pt x="145" y="41"/>
                    </a:cubicBezTo>
                    <a:cubicBezTo>
                      <a:pt x="145" y="40"/>
                      <a:pt x="145" y="39"/>
                      <a:pt x="146" y="3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62" name="Freeform 41">
                <a:extLst>
                  <a:ext uri="{FF2B5EF4-FFF2-40B4-BE49-F238E27FC236}">
                    <a16:creationId xmlns:a16="http://schemas.microsoft.com/office/drawing/2014/main" id="{59A950D9-2F0A-FF04-EE21-EB78ADBB4AD3}"/>
                  </a:ext>
                </a:extLst>
              </p:cNvPr>
              <p:cNvSpPr>
                <a:spLocks/>
              </p:cNvSpPr>
              <p:nvPr/>
            </p:nvSpPr>
            <p:spPr bwMode="auto">
              <a:xfrm>
                <a:off x="3239" y="1446"/>
                <a:ext cx="76" cy="151"/>
              </a:xfrm>
              <a:custGeom>
                <a:avLst/>
                <a:gdLst>
                  <a:gd name="T0" fmla="*/ 34 w 39"/>
                  <a:gd name="T1" fmla="*/ 46 h 77"/>
                  <a:gd name="T2" fmla="*/ 31 w 39"/>
                  <a:gd name="T3" fmla="*/ 44 h 77"/>
                  <a:gd name="T4" fmla="*/ 27 w 39"/>
                  <a:gd name="T5" fmla="*/ 42 h 77"/>
                  <a:gd name="T6" fmla="*/ 27 w 39"/>
                  <a:gd name="T7" fmla="*/ 37 h 77"/>
                  <a:gd name="T8" fmla="*/ 31 w 39"/>
                  <a:gd name="T9" fmla="*/ 32 h 77"/>
                  <a:gd name="T10" fmla="*/ 31 w 39"/>
                  <a:gd name="T11" fmla="*/ 29 h 77"/>
                  <a:gd name="T12" fmla="*/ 33 w 39"/>
                  <a:gd name="T13" fmla="*/ 29 h 77"/>
                  <a:gd name="T14" fmla="*/ 32 w 39"/>
                  <a:gd name="T15" fmla="*/ 24 h 77"/>
                  <a:gd name="T16" fmla="*/ 33 w 39"/>
                  <a:gd name="T17" fmla="*/ 20 h 77"/>
                  <a:gd name="T18" fmla="*/ 30 w 39"/>
                  <a:gd name="T19" fmla="*/ 20 h 77"/>
                  <a:gd name="T20" fmla="*/ 30 w 39"/>
                  <a:gd name="T21" fmla="*/ 14 h 77"/>
                  <a:gd name="T22" fmla="*/ 30 w 39"/>
                  <a:gd name="T23" fmla="*/ 14 h 77"/>
                  <a:gd name="T24" fmla="*/ 34 w 39"/>
                  <a:gd name="T25" fmla="*/ 4 h 77"/>
                  <a:gd name="T26" fmla="*/ 31 w 39"/>
                  <a:gd name="T27" fmla="*/ 5 h 77"/>
                  <a:gd name="T28" fmla="*/ 28 w 39"/>
                  <a:gd name="T29" fmla="*/ 4 h 77"/>
                  <a:gd name="T30" fmla="*/ 28 w 39"/>
                  <a:gd name="T31" fmla="*/ 1 h 77"/>
                  <a:gd name="T32" fmla="*/ 26 w 39"/>
                  <a:gd name="T33" fmla="*/ 0 h 77"/>
                  <a:gd name="T34" fmla="*/ 25 w 39"/>
                  <a:gd name="T35" fmla="*/ 1 h 77"/>
                  <a:gd name="T36" fmla="*/ 24 w 39"/>
                  <a:gd name="T37" fmla="*/ 0 h 77"/>
                  <a:gd name="T38" fmla="*/ 18 w 39"/>
                  <a:gd name="T39" fmla="*/ 2 h 77"/>
                  <a:gd name="T40" fmla="*/ 5 w 39"/>
                  <a:gd name="T41" fmla="*/ 3 h 77"/>
                  <a:gd name="T42" fmla="*/ 6 w 39"/>
                  <a:gd name="T43" fmla="*/ 11 h 77"/>
                  <a:gd name="T44" fmla="*/ 7 w 39"/>
                  <a:gd name="T45" fmla="*/ 16 h 77"/>
                  <a:gd name="T46" fmla="*/ 9 w 39"/>
                  <a:gd name="T47" fmla="*/ 25 h 77"/>
                  <a:gd name="T48" fmla="*/ 7 w 39"/>
                  <a:gd name="T49" fmla="*/ 29 h 77"/>
                  <a:gd name="T50" fmla="*/ 3 w 39"/>
                  <a:gd name="T51" fmla="*/ 35 h 77"/>
                  <a:gd name="T52" fmla="*/ 0 w 39"/>
                  <a:gd name="T53" fmla="*/ 37 h 77"/>
                  <a:gd name="T54" fmla="*/ 1 w 39"/>
                  <a:gd name="T55" fmla="*/ 47 h 77"/>
                  <a:gd name="T56" fmla="*/ 5 w 39"/>
                  <a:gd name="T57" fmla="*/ 48 h 77"/>
                  <a:gd name="T58" fmla="*/ 7 w 39"/>
                  <a:gd name="T59" fmla="*/ 56 h 77"/>
                  <a:gd name="T60" fmla="*/ 12 w 39"/>
                  <a:gd name="T61" fmla="*/ 57 h 77"/>
                  <a:gd name="T62" fmla="*/ 15 w 39"/>
                  <a:gd name="T63" fmla="*/ 77 h 77"/>
                  <a:gd name="T64" fmla="*/ 16 w 39"/>
                  <a:gd name="T65" fmla="*/ 77 h 77"/>
                  <a:gd name="T66" fmla="*/ 20 w 39"/>
                  <a:gd name="T67" fmla="*/ 73 h 77"/>
                  <a:gd name="T68" fmla="*/ 22 w 39"/>
                  <a:gd name="T69" fmla="*/ 69 h 77"/>
                  <a:gd name="T70" fmla="*/ 21 w 39"/>
                  <a:gd name="T71" fmla="*/ 61 h 77"/>
                  <a:gd name="T72" fmla="*/ 25 w 39"/>
                  <a:gd name="T73" fmla="*/ 59 h 77"/>
                  <a:gd name="T74" fmla="*/ 31 w 39"/>
                  <a:gd name="T75" fmla="*/ 55 h 77"/>
                  <a:gd name="T76" fmla="*/ 32 w 39"/>
                  <a:gd name="T77" fmla="*/ 50 h 77"/>
                  <a:gd name="T78" fmla="*/ 34 w 39"/>
                  <a:gd name="T79" fmla="*/ 4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77">
                    <a:moveTo>
                      <a:pt x="34" y="46"/>
                    </a:moveTo>
                    <a:cubicBezTo>
                      <a:pt x="33" y="44"/>
                      <a:pt x="31" y="44"/>
                      <a:pt x="31" y="44"/>
                    </a:cubicBezTo>
                    <a:cubicBezTo>
                      <a:pt x="30" y="43"/>
                      <a:pt x="28" y="43"/>
                      <a:pt x="27" y="42"/>
                    </a:cubicBezTo>
                    <a:cubicBezTo>
                      <a:pt x="26" y="40"/>
                      <a:pt x="27" y="37"/>
                      <a:pt x="27" y="37"/>
                    </a:cubicBezTo>
                    <a:cubicBezTo>
                      <a:pt x="28" y="36"/>
                      <a:pt x="31" y="32"/>
                      <a:pt x="31" y="32"/>
                    </a:cubicBezTo>
                    <a:cubicBezTo>
                      <a:pt x="31" y="31"/>
                      <a:pt x="31" y="30"/>
                      <a:pt x="31" y="29"/>
                    </a:cubicBezTo>
                    <a:cubicBezTo>
                      <a:pt x="31" y="29"/>
                      <a:pt x="33" y="29"/>
                      <a:pt x="33" y="29"/>
                    </a:cubicBezTo>
                    <a:cubicBezTo>
                      <a:pt x="33" y="28"/>
                      <a:pt x="32" y="24"/>
                      <a:pt x="32" y="24"/>
                    </a:cubicBezTo>
                    <a:cubicBezTo>
                      <a:pt x="32" y="24"/>
                      <a:pt x="33" y="20"/>
                      <a:pt x="33" y="20"/>
                    </a:cubicBezTo>
                    <a:cubicBezTo>
                      <a:pt x="32" y="19"/>
                      <a:pt x="30" y="20"/>
                      <a:pt x="30" y="20"/>
                    </a:cubicBezTo>
                    <a:cubicBezTo>
                      <a:pt x="30" y="18"/>
                      <a:pt x="29" y="15"/>
                      <a:pt x="30" y="14"/>
                    </a:cubicBezTo>
                    <a:cubicBezTo>
                      <a:pt x="30" y="14"/>
                      <a:pt x="30" y="14"/>
                      <a:pt x="30" y="14"/>
                    </a:cubicBezTo>
                    <a:cubicBezTo>
                      <a:pt x="31" y="13"/>
                      <a:pt x="39" y="4"/>
                      <a:pt x="34" y="4"/>
                    </a:cubicBezTo>
                    <a:cubicBezTo>
                      <a:pt x="31" y="5"/>
                      <a:pt x="31" y="5"/>
                      <a:pt x="31" y="5"/>
                    </a:cubicBezTo>
                    <a:cubicBezTo>
                      <a:pt x="30" y="5"/>
                      <a:pt x="29" y="4"/>
                      <a:pt x="28" y="4"/>
                    </a:cubicBezTo>
                    <a:cubicBezTo>
                      <a:pt x="28" y="3"/>
                      <a:pt x="28" y="3"/>
                      <a:pt x="28" y="1"/>
                    </a:cubicBezTo>
                    <a:cubicBezTo>
                      <a:pt x="26" y="0"/>
                      <a:pt x="26" y="0"/>
                      <a:pt x="26" y="0"/>
                    </a:cubicBezTo>
                    <a:cubicBezTo>
                      <a:pt x="26" y="0"/>
                      <a:pt x="26" y="1"/>
                      <a:pt x="25" y="1"/>
                    </a:cubicBezTo>
                    <a:cubicBezTo>
                      <a:pt x="24" y="0"/>
                      <a:pt x="24" y="0"/>
                      <a:pt x="24" y="0"/>
                    </a:cubicBezTo>
                    <a:cubicBezTo>
                      <a:pt x="21" y="0"/>
                      <a:pt x="20" y="2"/>
                      <a:pt x="18" y="2"/>
                    </a:cubicBezTo>
                    <a:cubicBezTo>
                      <a:pt x="13" y="4"/>
                      <a:pt x="9" y="3"/>
                      <a:pt x="5" y="3"/>
                    </a:cubicBezTo>
                    <a:cubicBezTo>
                      <a:pt x="5" y="3"/>
                      <a:pt x="4" y="10"/>
                      <a:pt x="6" y="11"/>
                    </a:cubicBezTo>
                    <a:cubicBezTo>
                      <a:pt x="8" y="12"/>
                      <a:pt x="7" y="14"/>
                      <a:pt x="7" y="16"/>
                    </a:cubicBezTo>
                    <a:cubicBezTo>
                      <a:pt x="7" y="18"/>
                      <a:pt x="9" y="21"/>
                      <a:pt x="9" y="25"/>
                    </a:cubicBezTo>
                    <a:cubicBezTo>
                      <a:pt x="10" y="28"/>
                      <a:pt x="7" y="27"/>
                      <a:pt x="7" y="29"/>
                    </a:cubicBezTo>
                    <a:cubicBezTo>
                      <a:pt x="7" y="31"/>
                      <a:pt x="5" y="34"/>
                      <a:pt x="3" y="35"/>
                    </a:cubicBezTo>
                    <a:cubicBezTo>
                      <a:pt x="1" y="35"/>
                      <a:pt x="0" y="34"/>
                      <a:pt x="0" y="37"/>
                    </a:cubicBezTo>
                    <a:cubicBezTo>
                      <a:pt x="0" y="40"/>
                      <a:pt x="1" y="47"/>
                      <a:pt x="1" y="47"/>
                    </a:cubicBezTo>
                    <a:cubicBezTo>
                      <a:pt x="1" y="47"/>
                      <a:pt x="4" y="46"/>
                      <a:pt x="5" y="48"/>
                    </a:cubicBezTo>
                    <a:cubicBezTo>
                      <a:pt x="6" y="50"/>
                      <a:pt x="7" y="56"/>
                      <a:pt x="7" y="56"/>
                    </a:cubicBezTo>
                    <a:cubicBezTo>
                      <a:pt x="12" y="57"/>
                      <a:pt x="12" y="57"/>
                      <a:pt x="12" y="57"/>
                    </a:cubicBezTo>
                    <a:cubicBezTo>
                      <a:pt x="15" y="77"/>
                      <a:pt x="15" y="77"/>
                      <a:pt x="15" y="77"/>
                    </a:cubicBezTo>
                    <a:cubicBezTo>
                      <a:pt x="16" y="77"/>
                      <a:pt x="16" y="77"/>
                      <a:pt x="16" y="77"/>
                    </a:cubicBezTo>
                    <a:cubicBezTo>
                      <a:pt x="16" y="77"/>
                      <a:pt x="20" y="75"/>
                      <a:pt x="20" y="73"/>
                    </a:cubicBezTo>
                    <a:cubicBezTo>
                      <a:pt x="20" y="71"/>
                      <a:pt x="22" y="71"/>
                      <a:pt x="22" y="69"/>
                    </a:cubicBezTo>
                    <a:cubicBezTo>
                      <a:pt x="21" y="66"/>
                      <a:pt x="21" y="61"/>
                      <a:pt x="21" y="61"/>
                    </a:cubicBezTo>
                    <a:cubicBezTo>
                      <a:pt x="21" y="61"/>
                      <a:pt x="23" y="59"/>
                      <a:pt x="25" y="59"/>
                    </a:cubicBezTo>
                    <a:cubicBezTo>
                      <a:pt x="27" y="59"/>
                      <a:pt x="28" y="56"/>
                      <a:pt x="31" y="55"/>
                    </a:cubicBezTo>
                    <a:cubicBezTo>
                      <a:pt x="34" y="54"/>
                      <a:pt x="32" y="50"/>
                      <a:pt x="32" y="50"/>
                    </a:cubicBezTo>
                    <a:lnTo>
                      <a:pt x="34" y="46"/>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63" name="Freeform 42">
                <a:extLst>
                  <a:ext uri="{FF2B5EF4-FFF2-40B4-BE49-F238E27FC236}">
                    <a16:creationId xmlns:a16="http://schemas.microsoft.com/office/drawing/2014/main" id="{9D42A100-0F80-E3FA-56EC-10A8B4952325}"/>
                  </a:ext>
                </a:extLst>
              </p:cNvPr>
              <p:cNvSpPr>
                <a:spLocks/>
              </p:cNvSpPr>
              <p:nvPr/>
            </p:nvSpPr>
            <p:spPr bwMode="auto">
              <a:xfrm>
                <a:off x="3239" y="1446"/>
                <a:ext cx="76" cy="151"/>
              </a:xfrm>
              <a:custGeom>
                <a:avLst/>
                <a:gdLst>
                  <a:gd name="T0" fmla="*/ 34 w 39"/>
                  <a:gd name="T1" fmla="*/ 46 h 77"/>
                  <a:gd name="T2" fmla="*/ 31 w 39"/>
                  <a:gd name="T3" fmla="*/ 44 h 77"/>
                  <a:gd name="T4" fmla="*/ 27 w 39"/>
                  <a:gd name="T5" fmla="*/ 42 h 77"/>
                  <a:gd name="T6" fmla="*/ 27 w 39"/>
                  <a:gd name="T7" fmla="*/ 37 h 77"/>
                  <a:gd name="T8" fmla="*/ 31 w 39"/>
                  <a:gd name="T9" fmla="*/ 32 h 77"/>
                  <a:gd name="T10" fmla="*/ 31 w 39"/>
                  <a:gd name="T11" fmla="*/ 29 h 77"/>
                  <a:gd name="T12" fmla="*/ 33 w 39"/>
                  <a:gd name="T13" fmla="*/ 29 h 77"/>
                  <a:gd name="T14" fmla="*/ 32 w 39"/>
                  <a:gd name="T15" fmla="*/ 24 h 77"/>
                  <a:gd name="T16" fmla="*/ 33 w 39"/>
                  <a:gd name="T17" fmla="*/ 20 h 77"/>
                  <a:gd name="T18" fmla="*/ 30 w 39"/>
                  <a:gd name="T19" fmla="*/ 20 h 77"/>
                  <a:gd name="T20" fmla="*/ 30 w 39"/>
                  <a:gd name="T21" fmla="*/ 14 h 77"/>
                  <a:gd name="T22" fmla="*/ 30 w 39"/>
                  <a:gd name="T23" fmla="*/ 14 h 77"/>
                  <a:gd name="T24" fmla="*/ 34 w 39"/>
                  <a:gd name="T25" fmla="*/ 4 h 77"/>
                  <a:gd name="T26" fmla="*/ 31 w 39"/>
                  <a:gd name="T27" fmla="*/ 5 h 77"/>
                  <a:gd name="T28" fmla="*/ 28 w 39"/>
                  <a:gd name="T29" fmla="*/ 4 h 77"/>
                  <a:gd name="T30" fmla="*/ 28 w 39"/>
                  <a:gd name="T31" fmla="*/ 1 h 77"/>
                  <a:gd name="T32" fmla="*/ 26 w 39"/>
                  <a:gd name="T33" fmla="*/ 0 h 77"/>
                  <a:gd name="T34" fmla="*/ 25 w 39"/>
                  <a:gd name="T35" fmla="*/ 1 h 77"/>
                  <a:gd name="T36" fmla="*/ 24 w 39"/>
                  <a:gd name="T37" fmla="*/ 0 h 77"/>
                  <a:gd name="T38" fmla="*/ 18 w 39"/>
                  <a:gd name="T39" fmla="*/ 2 h 77"/>
                  <a:gd name="T40" fmla="*/ 5 w 39"/>
                  <a:gd name="T41" fmla="*/ 3 h 77"/>
                  <a:gd name="T42" fmla="*/ 6 w 39"/>
                  <a:gd name="T43" fmla="*/ 11 h 77"/>
                  <a:gd name="T44" fmla="*/ 7 w 39"/>
                  <a:gd name="T45" fmla="*/ 16 h 77"/>
                  <a:gd name="T46" fmla="*/ 9 w 39"/>
                  <a:gd name="T47" fmla="*/ 25 h 77"/>
                  <a:gd name="T48" fmla="*/ 7 w 39"/>
                  <a:gd name="T49" fmla="*/ 29 h 77"/>
                  <a:gd name="T50" fmla="*/ 3 w 39"/>
                  <a:gd name="T51" fmla="*/ 35 h 77"/>
                  <a:gd name="T52" fmla="*/ 0 w 39"/>
                  <a:gd name="T53" fmla="*/ 37 h 77"/>
                  <a:gd name="T54" fmla="*/ 1 w 39"/>
                  <a:gd name="T55" fmla="*/ 47 h 77"/>
                  <a:gd name="T56" fmla="*/ 5 w 39"/>
                  <a:gd name="T57" fmla="*/ 48 h 77"/>
                  <a:gd name="T58" fmla="*/ 7 w 39"/>
                  <a:gd name="T59" fmla="*/ 56 h 77"/>
                  <a:gd name="T60" fmla="*/ 12 w 39"/>
                  <a:gd name="T61" fmla="*/ 57 h 77"/>
                  <a:gd name="T62" fmla="*/ 15 w 39"/>
                  <a:gd name="T63" fmla="*/ 77 h 77"/>
                  <a:gd name="T64" fmla="*/ 16 w 39"/>
                  <a:gd name="T65" fmla="*/ 77 h 77"/>
                  <a:gd name="T66" fmla="*/ 20 w 39"/>
                  <a:gd name="T67" fmla="*/ 73 h 77"/>
                  <a:gd name="T68" fmla="*/ 22 w 39"/>
                  <a:gd name="T69" fmla="*/ 69 h 77"/>
                  <a:gd name="T70" fmla="*/ 21 w 39"/>
                  <a:gd name="T71" fmla="*/ 61 h 77"/>
                  <a:gd name="T72" fmla="*/ 25 w 39"/>
                  <a:gd name="T73" fmla="*/ 59 h 77"/>
                  <a:gd name="T74" fmla="*/ 31 w 39"/>
                  <a:gd name="T75" fmla="*/ 55 h 77"/>
                  <a:gd name="T76" fmla="*/ 32 w 39"/>
                  <a:gd name="T77" fmla="*/ 50 h 77"/>
                  <a:gd name="T78" fmla="*/ 34 w 39"/>
                  <a:gd name="T79" fmla="*/ 4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 h="77">
                    <a:moveTo>
                      <a:pt x="34" y="46"/>
                    </a:moveTo>
                    <a:cubicBezTo>
                      <a:pt x="33" y="44"/>
                      <a:pt x="31" y="44"/>
                      <a:pt x="31" y="44"/>
                    </a:cubicBezTo>
                    <a:cubicBezTo>
                      <a:pt x="30" y="43"/>
                      <a:pt x="28" y="43"/>
                      <a:pt x="27" y="42"/>
                    </a:cubicBezTo>
                    <a:cubicBezTo>
                      <a:pt x="26" y="40"/>
                      <a:pt x="27" y="37"/>
                      <a:pt x="27" y="37"/>
                    </a:cubicBezTo>
                    <a:cubicBezTo>
                      <a:pt x="28" y="36"/>
                      <a:pt x="31" y="32"/>
                      <a:pt x="31" y="32"/>
                    </a:cubicBezTo>
                    <a:cubicBezTo>
                      <a:pt x="31" y="31"/>
                      <a:pt x="31" y="30"/>
                      <a:pt x="31" y="29"/>
                    </a:cubicBezTo>
                    <a:cubicBezTo>
                      <a:pt x="31" y="29"/>
                      <a:pt x="33" y="29"/>
                      <a:pt x="33" y="29"/>
                    </a:cubicBezTo>
                    <a:cubicBezTo>
                      <a:pt x="33" y="28"/>
                      <a:pt x="32" y="24"/>
                      <a:pt x="32" y="24"/>
                    </a:cubicBezTo>
                    <a:cubicBezTo>
                      <a:pt x="32" y="24"/>
                      <a:pt x="33" y="20"/>
                      <a:pt x="33" y="20"/>
                    </a:cubicBezTo>
                    <a:cubicBezTo>
                      <a:pt x="32" y="19"/>
                      <a:pt x="30" y="20"/>
                      <a:pt x="30" y="20"/>
                    </a:cubicBezTo>
                    <a:cubicBezTo>
                      <a:pt x="30" y="18"/>
                      <a:pt x="29" y="15"/>
                      <a:pt x="30" y="14"/>
                    </a:cubicBezTo>
                    <a:cubicBezTo>
                      <a:pt x="30" y="14"/>
                      <a:pt x="30" y="14"/>
                      <a:pt x="30" y="14"/>
                    </a:cubicBezTo>
                    <a:cubicBezTo>
                      <a:pt x="31" y="13"/>
                      <a:pt x="39" y="4"/>
                      <a:pt x="34" y="4"/>
                    </a:cubicBezTo>
                    <a:cubicBezTo>
                      <a:pt x="31" y="5"/>
                      <a:pt x="31" y="5"/>
                      <a:pt x="31" y="5"/>
                    </a:cubicBezTo>
                    <a:cubicBezTo>
                      <a:pt x="30" y="5"/>
                      <a:pt x="29" y="4"/>
                      <a:pt x="28" y="4"/>
                    </a:cubicBezTo>
                    <a:cubicBezTo>
                      <a:pt x="28" y="3"/>
                      <a:pt x="28" y="3"/>
                      <a:pt x="28" y="1"/>
                    </a:cubicBezTo>
                    <a:cubicBezTo>
                      <a:pt x="26" y="0"/>
                      <a:pt x="26" y="0"/>
                      <a:pt x="26" y="0"/>
                    </a:cubicBezTo>
                    <a:cubicBezTo>
                      <a:pt x="26" y="0"/>
                      <a:pt x="26" y="1"/>
                      <a:pt x="25" y="1"/>
                    </a:cubicBezTo>
                    <a:cubicBezTo>
                      <a:pt x="24" y="0"/>
                      <a:pt x="24" y="0"/>
                      <a:pt x="24" y="0"/>
                    </a:cubicBezTo>
                    <a:cubicBezTo>
                      <a:pt x="21" y="0"/>
                      <a:pt x="20" y="2"/>
                      <a:pt x="18" y="2"/>
                    </a:cubicBezTo>
                    <a:cubicBezTo>
                      <a:pt x="13" y="4"/>
                      <a:pt x="9" y="3"/>
                      <a:pt x="5" y="3"/>
                    </a:cubicBezTo>
                    <a:cubicBezTo>
                      <a:pt x="5" y="3"/>
                      <a:pt x="4" y="10"/>
                      <a:pt x="6" y="11"/>
                    </a:cubicBezTo>
                    <a:cubicBezTo>
                      <a:pt x="8" y="12"/>
                      <a:pt x="7" y="14"/>
                      <a:pt x="7" y="16"/>
                    </a:cubicBezTo>
                    <a:cubicBezTo>
                      <a:pt x="7" y="18"/>
                      <a:pt x="9" y="21"/>
                      <a:pt x="9" y="25"/>
                    </a:cubicBezTo>
                    <a:cubicBezTo>
                      <a:pt x="10" y="28"/>
                      <a:pt x="7" y="27"/>
                      <a:pt x="7" y="29"/>
                    </a:cubicBezTo>
                    <a:cubicBezTo>
                      <a:pt x="7" y="31"/>
                      <a:pt x="5" y="34"/>
                      <a:pt x="3" y="35"/>
                    </a:cubicBezTo>
                    <a:cubicBezTo>
                      <a:pt x="1" y="35"/>
                      <a:pt x="0" y="34"/>
                      <a:pt x="0" y="37"/>
                    </a:cubicBezTo>
                    <a:cubicBezTo>
                      <a:pt x="0" y="40"/>
                      <a:pt x="1" y="47"/>
                      <a:pt x="1" y="47"/>
                    </a:cubicBezTo>
                    <a:cubicBezTo>
                      <a:pt x="1" y="47"/>
                      <a:pt x="4" y="46"/>
                      <a:pt x="5" y="48"/>
                    </a:cubicBezTo>
                    <a:cubicBezTo>
                      <a:pt x="6" y="50"/>
                      <a:pt x="7" y="56"/>
                      <a:pt x="7" y="56"/>
                    </a:cubicBezTo>
                    <a:cubicBezTo>
                      <a:pt x="12" y="57"/>
                      <a:pt x="12" y="57"/>
                      <a:pt x="12" y="57"/>
                    </a:cubicBezTo>
                    <a:cubicBezTo>
                      <a:pt x="15" y="77"/>
                      <a:pt x="15" y="77"/>
                      <a:pt x="15" y="77"/>
                    </a:cubicBezTo>
                    <a:cubicBezTo>
                      <a:pt x="16" y="77"/>
                      <a:pt x="16" y="77"/>
                      <a:pt x="16" y="77"/>
                    </a:cubicBezTo>
                    <a:cubicBezTo>
                      <a:pt x="16" y="77"/>
                      <a:pt x="20" y="75"/>
                      <a:pt x="20" y="73"/>
                    </a:cubicBezTo>
                    <a:cubicBezTo>
                      <a:pt x="20" y="71"/>
                      <a:pt x="22" y="71"/>
                      <a:pt x="22" y="69"/>
                    </a:cubicBezTo>
                    <a:cubicBezTo>
                      <a:pt x="21" y="66"/>
                      <a:pt x="21" y="61"/>
                      <a:pt x="21" y="61"/>
                    </a:cubicBezTo>
                    <a:cubicBezTo>
                      <a:pt x="21" y="61"/>
                      <a:pt x="23" y="59"/>
                      <a:pt x="25" y="59"/>
                    </a:cubicBezTo>
                    <a:cubicBezTo>
                      <a:pt x="27" y="59"/>
                      <a:pt x="28" y="56"/>
                      <a:pt x="31" y="55"/>
                    </a:cubicBezTo>
                    <a:cubicBezTo>
                      <a:pt x="34" y="54"/>
                      <a:pt x="32" y="50"/>
                      <a:pt x="32" y="50"/>
                    </a:cubicBezTo>
                    <a:lnTo>
                      <a:pt x="34" y="46"/>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64" name="Freeform 43">
                <a:extLst>
                  <a:ext uri="{FF2B5EF4-FFF2-40B4-BE49-F238E27FC236}">
                    <a16:creationId xmlns:a16="http://schemas.microsoft.com/office/drawing/2014/main" id="{CFD16021-FDF4-8290-F89F-463ACB175A18}"/>
                  </a:ext>
                </a:extLst>
              </p:cNvPr>
              <p:cNvSpPr>
                <a:spLocks/>
              </p:cNvSpPr>
              <p:nvPr/>
            </p:nvSpPr>
            <p:spPr bwMode="auto">
              <a:xfrm>
                <a:off x="2076" y="2023"/>
                <a:ext cx="10" cy="14"/>
              </a:xfrm>
              <a:custGeom>
                <a:avLst/>
                <a:gdLst>
                  <a:gd name="T0" fmla="*/ 1 w 5"/>
                  <a:gd name="T1" fmla="*/ 1 h 7"/>
                  <a:gd name="T2" fmla="*/ 0 w 5"/>
                  <a:gd name="T3" fmla="*/ 2 h 7"/>
                  <a:gd name="T4" fmla="*/ 1 w 5"/>
                  <a:gd name="T5" fmla="*/ 7 h 7"/>
                  <a:gd name="T6" fmla="*/ 4 w 5"/>
                  <a:gd name="T7" fmla="*/ 7 h 7"/>
                  <a:gd name="T8" fmla="*/ 5 w 5"/>
                  <a:gd name="T9" fmla="*/ 1 h 7"/>
                  <a:gd name="T10" fmla="*/ 1 w 5"/>
                  <a:gd name="T11" fmla="*/ 1 h 7"/>
                </a:gdLst>
                <a:ahLst/>
                <a:cxnLst>
                  <a:cxn ang="0">
                    <a:pos x="T0" y="T1"/>
                  </a:cxn>
                  <a:cxn ang="0">
                    <a:pos x="T2" y="T3"/>
                  </a:cxn>
                  <a:cxn ang="0">
                    <a:pos x="T4" y="T5"/>
                  </a:cxn>
                  <a:cxn ang="0">
                    <a:pos x="T6" y="T7"/>
                  </a:cxn>
                  <a:cxn ang="0">
                    <a:pos x="T8" y="T9"/>
                  </a:cxn>
                  <a:cxn ang="0">
                    <a:pos x="T10" y="T11"/>
                  </a:cxn>
                </a:cxnLst>
                <a:rect l="0" t="0" r="r" b="b"/>
                <a:pathLst>
                  <a:path w="5" h="7">
                    <a:moveTo>
                      <a:pt x="1" y="1"/>
                    </a:moveTo>
                    <a:cubicBezTo>
                      <a:pt x="1" y="1"/>
                      <a:pt x="0" y="2"/>
                      <a:pt x="0" y="2"/>
                    </a:cubicBezTo>
                    <a:cubicBezTo>
                      <a:pt x="0" y="3"/>
                      <a:pt x="1" y="5"/>
                      <a:pt x="1" y="7"/>
                    </a:cubicBezTo>
                    <a:cubicBezTo>
                      <a:pt x="2" y="7"/>
                      <a:pt x="3" y="7"/>
                      <a:pt x="4" y="7"/>
                    </a:cubicBezTo>
                    <a:cubicBezTo>
                      <a:pt x="5" y="1"/>
                      <a:pt x="5" y="1"/>
                      <a:pt x="5" y="1"/>
                    </a:cubicBezTo>
                    <a:cubicBezTo>
                      <a:pt x="4" y="0"/>
                      <a:pt x="2" y="1"/>
                      <a:pt x="1" y="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65" name="Freeform 44">
                <a:extLst>
                  <a:ext uri="{FF2B5EF4-FFF2-40B4-BE49-F238E27FC236}">
                    <a16:creationId xmlns:a16="http://schemas.microsoft.com/office/drawing/2014/main" id="{EB24750F-C43C-3CE1-ECA9-35F48AF10080}"/>
                  </a:ext>
                </a:extLst>
              </p:cNvPr>
              <p:cNvSpPr>
                <a:spLocks/>
              </p:cNvSpPr>
              <p:nvPr/>
            </p:nvSpPr>
            <p:spPr bwMode="auto">
              <a:xfrm>
                <a:off x="2076" y="2023"/>
                <a:ext cx="10" cy="14"/>
              </a:xfrm>
              <a:custGeom>
                <a:avLst/>
                <a:gdLst>
                  <a:gd name="T0" fmla="*/ 1 w 5"/>
                  <a:gd name="T1" fmla="*/ 1 h 7"/>
                  <a:gd name="T2" fmla="*/ 0 w 5"/>
                  <a:gd name="T3" fmla="*/ 2 h 7"/>
                  <a:gd name="T4" fmla="*/ 1 w 5"/>
                  <a:gd name="T5" fmla="*/ 7 h 7"/>
                  <a:gd name="T6" fmla="*/ 4 w 5"/>
                  <a:gd name="T7" fmla="*/ 7 h 7"/>
                  <a:gd name="T8" fmla="*/ 5 w 5"/>
                  <a:gd name="T9" fmla="*/ 1 h 7"/>
                  <a:gd name="T10" fmla="*/ 1 w 5"/>
                  <a:gd name="T11" fmla="*/ 1 h 7"/>
                </a:gdLst>
                <a:ahLst/>
                <a:cxnLst>
                  <a:cxn ang="0">
                    <a:pos x="T0" y="T1"/>
                  </a:cxn>
                  <a:cxn ang="0">
                    <a:pos x="T2" y="T3"/>
                  </a:cxn>
                  <a:cxn ang="0">
                    <a:pos x="T4" y="T5"/>
                  </a:cxn>
                  <a:cxn ang="0">
                    <a:pos x="T6" y="T7"/>
                  </a:cxn>
                  <a:cxn ang="0">
                    <a:pos x="T8" y="T9"/>
                  </a:cxn>
                  <a:cxn ang="0">
                    <a:pos x="T10" y="T11"/>
                  </a:cxn>
                </a:cxnLst>
                <a:rect l="0" t="0" r="r" b="b"/>
                <a:pathLst>
                  <a:path w="5" h="7">
                    <a:moveTo>
                      <a:pt x="1" y="1"/>
                    </a:moveTo>
                    <a:cubicBezTo>
                      <a:pt x="1" y="1"/>
                      <a:pt x="0" y="2"/>
                      <a:pt x="0" y="2"/>
                    </a:cubicBezTo>
                    <a:cubicBezTo>
                      <a:pt x="0" y="3"/>
                      <a:pt x="1" y="5"/>
                      <a:pt x="1" y="7"/>
                    </a:cubicBezTo>
                    <a:cubicBezTo>
                      <a:pt x="2" y="7"/>
                      <a:pt x="3" y="7"/>
                      <a:pt x="4" y="7"/>
                    </a:cubicBezTo>
                    <a:cubicBezTo>
                      <a:pt x="5" y="1"/>
                      <a:pt x="5" y="1"/>
                      <a:pt x="5" y="1"/>
                    </a:cubicBezTo>
                    <a:cubicBezTo>
                      <a:pt x="4" y="0"/>
                      <a:pt x="2" y="1"/>
                      <a:pt x="1" y="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66" name="Freeform 45">
                <a:extLst>
                  <a:ext uri="{FF2B5EF4-FFF2-40B4-BE49-F238E27FC236}">
                    <a16:creationId xmlns:a16="http://schemas.microsoft.com/office/drawing/2014/main" id="{CF625E61-FE17-373D-97A4-A7617EC428FF}"/>
                  </a:ext>
                </a:extLst>
              </p:cNvPr>
              <p:cNvSpPr>
                <a:spLocks/>
              </p:cNvSpPr>
              <p:nvPr/>
            </p:nvSpPr>
            <p:spPr bwMode="auto">
              <a:xfrm>
                <a:off x="3109" y="2005"/>
                <a:ext cx="38" cy="130"/>
              </a:xfrm>
              <a:custGeom>
                <a:avLst/>
                <a:gdLst>
                  <a:gd name="T0" fmla="*/ 12 w 19"/>
                  <a:gd name="T1" fmla="*/ 63 h 66"/>
                  <a:gd name="T2" fmla="*/ 14 w 19"/>
                  <a:gd name="T3" fmla="*/ 60 h 66"/>
                  <a:gd name="T4" fmla="*/ 15 w 19"/>
                  <a:gd name="T5" fmla="*/ 63 h 66"/>
                  <a:gd name="T6" fmla="*/ 15 w 19"/>
                  <a:gd name="T7" fmla="*/ 65 h 66"/>
                  <a:gd name="T8" fmla="*/ 16 w 19"/>
                  <a:gd name="T9" fmla="*/ 62 h 66"/>
                  <a:gd name="T10" fmla="*/ 19 w 19"/>
                  <a:gd name="T11" fmla="*/ 62 h 66"/>
                  <a:gd name="T12" fmla="*/ 17 w 19"/>
                  <a:gd name="T13" fmla="*/ 57 h 66"/>
                  <a:gd name="T14" fmla="*/ 16 w 19"/>
                  <a:gd name="T15" fmla="*/ 55 h 66"/>
                  <a:gd name="T16" fmla="*/ 16 w 19"/>
                  <a:gd name="T17" fmla="*/ 49 h 66"/>
                  <a:gd name="T18" fmla="*/ 16 w 19"/>
                  <a:gd name="T19" fmla="*/ 43 h 66"/>
                  <a:gd name="T20" fmla="*/ 17 w 19"/>
                  <a:gd name="T21" fmla="*/ 36 h 66"/>
                  <a:gd name="T22" fmla="*/ 17 w 19"/>
                  <a:gd name="T23" fmla="*/ 28 h 66"/>
                  <a:gd name="T24" fmla="*/ 17 w 19"/>
                  <a:gd name="T25" fmla="*/ 22 h 66"/>
                  <a:gd name="T26" fmla="*/ 16 w 19"/>
                  <a:gd name="T27" fmla="*/ 17 h 66"/>
                  <a:gd name="T28" fmla="*/ 16 w 19"/>
                  <a:gd name="T29" fmla="*/ 11 h 66"/>
                  <a:gd name="T30" fmla="*/ 9 w 19"/>
                  <a:gd name="T31" fmla="*/ 10 h 66"/>
                  <a:gd name="T32" fmla="*/ 10 w 19"/>
                  <a:gd name="T33" fmla="*/ 1 h 66"/>
                  <a:gd name="T34" fmla="*/ 6 w 19"/>
                  <a:gd name="T35" fmla="*/ 0 h 66"/>
                  <a:gd name="T36" fmla="*/ 2 w 19"/>
                  <a:gd name="T37" fmla="*/ 0 h 66"/>
                  <a:gd name="T38" fmla="*/ 2 w 19"/>
                  <a:gd name="T39" fmla="*/ 8 h 66"/>
                  <a:gd name="T40" fmla="*/ 5 w 19"/>
                  <a:gd name="T41" fmla="*/ 13 h 66"/>
                  <a:gd name="T42" fmla="*/ 4 w 19"/>
                  <a:gd name="T43" fmla="*/ 21 h 66"/>
                  <a:gd name="T44" fmla="*/ 6 w 19"/>
                  <a:gd name="T45" fmla="*/ 25 h 66"/>
                  <a:gd name="T46" fmla="*/ 5 w 19"/>
                  <a:gd name="T47" fmla="*/ 33 h 66"/>
                  <a:gd name="T48" fmla="*/ 7 w 19"/>
                  <a:gd name="T49" fmla="*/ 38 h 66"/>
                  <a:gd name="T50" fmla="*/ 6 w 19"/>
                  <a:gd name="T51" fmla="*/ 47 h 66"/>
                  <a:gd name="T52" fmla="*/ 7 w 19"/>
                  <a:gd name="T53" fmla="*/ 51 h 66"/>
                  <a:gd name="T54" fmla="*/ 7 w 19"/>
                  <a:gd name="T55" fmla="*/ 54 h 66"/>
                  <a:gd name="T56" fmla="*/ 12 w 19"/>
                  <a:gd name="T57"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66">
                    <a:moveTo>
                      <a:pt x="12" y="63"/>
                    </a:moveTo>
                    <a:cubicBezTo>
                      <a:pt x="13" y="62"/>
                      <a:pt x="13" y="61"/>
                      <a:pt x="14" y="60"/>
                    </a:cubicBezTo>
                    <a:cubicBezTo>
                      <a:pt x="13" y="61"/>
                      <a:pt x="14" y="63"/>
                      <a:pt x="15" y="63"/>
                    </a:cubicBezTo>
                    <a:cubicBezTo>
                      <a:pt x="13" y="63"/>
                      <a:pt x="12" y="66"/>
                      <a:pt x="15" y="65"/>
                    </a:cubicBezTo>
                    <a:cubicBezTo>
                      <a:pt x="15" y="65"/>
                      <a:pt x="15" y="63"/>
                      <a:pt x="16" y="62"/>
                    </a:cubicBezTo>
                    <a:cubicBezTo>
                      <a:pt x="16" y="62"/>
                      <a:pt x="18" y="63"/>
                      <a:pt x="19" y="62"/>
                    </a:cubicBezTo>
                    <a:cubicBezTo>
                      <a:pt x="19" y="62"/>
                      <a:pt x="19" y="59"/>
                      <a:pt x="17" y="57"/>
                    </a:cubicBezTo>
                    <a:cubicBezTo>
                      <a:pt x="16" y="55"/>
                      <a:pt x="16" y="55"/>
                      <a:pt x="16" y="55"/>
                    </a:cubicBezTo>
                    <a:cubicBezTo>
                      <a:pt x="16" y="55"/>
                      <a:pt x="17" y="52"/>
                      <a:pt x="16" y="49"/>
                    </a:cubicBezTo>
                    <a:cubicBezTo>
                      <a:pt x="15" y="47"/>
                      <a:pt x="15" y="46"/>
                      <a:pt x="16" y="43"/>
                    </a:cubicBezTo>
                    <a:cubicBezTo>
                      <a:pt x="17" y="40"/>
                      <a:pt x="17" y="40"/>
                      <a:pt x="17" y="36"/>
                    </a:cubicBezTo>
                    <a:cubicBezTo>
                      <a:pt x="17" y="33"/>
                      <a:pt x="15" y="33"/>
                      <a:pt x="17" y="28"/>
                    </a:cubicBezTo>
                    <a:cubicBezTo>
                      <a:pt x="18" y="24"/>
                      <a:pt x="17" y="22"/>
                      <a:pt x="17" y="22"/>
                    </a:cubicBezTo>
                    <a:cubicBezTo>
                      <a:pt x="17" y="22"/>
                      <a:pt x="15" y="19"/>
                      <a:pt x="16" y="17"/>
                    </a:cubicBezTo>
                    <a:cubicBezTo>
                      <a:pt x="17" y="15"/>
                      <a:pt x="16" y="11"/>
                      <a:pt x="16" y="11"/>
                    </a:cubicBezTo>
                    <a:cubicBezTo>
                      <a:pt x="9" y="10"/>
                      <a:pt x="9" y="10"/>
                      <a:pt x="9" y="10"/>
                    </a:cubicBezTo>
                    <a:cubicBezTo>
                      <a:pt x="10" y="1"/>
                      <a:pt x="10" y="1"/>
                      <a:pt x="10" y="1"/>
                    </a:cubicBezTo>
                    <a:cubicBezTo>
                      <a:pt x="10" y="1"/>
                      <a:pt x="7" y="1"/>
                      <a:pt x="6" y="0"/>
                    </a:cubicBezTo>
                    <a:cubicBezTo>
                      <a:pt x="4" y="0"/>
                      <a:pt x="2" y="0"/>
                      <a:pt x="2" y="0"/>
                    </a:cubicBezTo>
                    <a:cubicBezTo>
                      <a:pt x="2" y="0"/>
                      <a:pt x="0" y="7"/>
                      <a:pt x="2" y="8"/>
                    </a:cubicBezTo>
                    <a:cubicBezTo>
                      <a:pt x="3" y="8"/>
                      <a:pt x="5" y="10"/>
                      <a:pt x="5" y="13"/>
                    </a:cubicBezTo>
                    <a:cubicBezTo>
                      <a:pt x="5" y="16"/>
                      <a:pt x="6" y="19"/>
                      <a:pt x="4" y="21"/>
                    </a:cubicBezTo>
                    <a:cubicBezTo>
                      <a:pt x="3" y="23"/>
                      <a:pt x="6" y="24"/>
                      <a:pt x="6" y="25"/>
                    </a:cubicBezTo>
                    <a:cubicBezTo>
                      <a:pt x="5" y="27"/>
                      <a:pt x="3" y="29"/>
                      <a:pt x="5" y="33"/>
                    </a:cubicBezTo>
                    <a:cubicBezTo>
                      <a:pt x="7" y="36"/>
                      <a:pt x="7" y="36"/>
                      <a:pt x="7" y="38"/>
                    </a:cubicBezTo>
                    <a:cubicBezTo>
                      <a:pt x="7" y="41"/>
                      <a:pt x="6" y="46"/>
                      <a:pt x="6" y="47"/>
                    </a:cubicBezTo>
                    <a:cubicBezTo>
                      <a:pt x="6" y="48"/>
                      <a:pt x="5" y="50"/>
                      <a:pt x="7" y="51"/>
                    </a:cubicBezTo>
                    <a:cubicBezTo>
                      <a:pt x="8" y="52"/>
                      <a:pt x="5" y="52"/>
                      <a:pt x="7" y="54"/>
                    </a:cubicBezTo>
                    <a:cubicBezTo>
                      <a:pt x="8" y="55"/>
                      <a:pt x="12" y="63"/>
                      <a:pt x="12" y="6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67" name="Freeform 46">
                <a:extLst>
                  <a:ext uri="{FF2B5EF4-FFF2-40B4-BE49-F238E27FC236}">
                    <a16:creationId xmlns:a16="http://schemas.microsoft.com/office/drawing/2014/main" id="{DD029CB1-1728-EE08-9D2B-00DA3E7A8634}"/>
                  </a:ext>
                </a:extLst>
              </p:cNvPr>
              <p:cNvSpPr>
                <a:spLocks/>
              </p:cNvSpPr>
              <p:nvPr/>
            </p:nvSpPr>
            <p:spPr bwMode="auto">
              <a:xfrm>
                <a:off x="3109" y="2005"/>
                <a:ext cx="38" cy="130"/>
              </a:xfrm>
              <a:custGeom>
                <a:avLst/>
                <a:gdLst>
                  <a:gd name="T0" fmla="*/ 12 w 19"/>
                  <a:gd name="T1" fmla="*/ 63 h 66"/>
                  <a:gd name="T2" fmla="*/ 14 w 19"/>
                  <a:gd name="T3" fmla="*/ 60 h 66"/>
                  <a:gd name="T4" fmla="*/ 15 w 19"/>
                  <a:gd name="T5" fmla="*/ 63 h 66"/>
                  <a:gd name="T6" fmla="*/ 15 w 19"/>
                  <a:gd name="T7" fmla="*/ 65 h 66"/>
                  <a:gd name="T8" fmla="*/ 16 w 19"/>
                  <a:gd name="T9" fmla="*/ 62 h 66"/>
                  <a:gd name="T10" fmla="*/ 19 w 19"/>
                  <a:gd name="T11" fmla="*/ 62 h 66"/>
                  <a:gd name="T12" fmla="*/ 17 w 19"/>
                  <a:gd name="T13" fmla="*/ 57 h 66"/>
                  <a:gd name="T14" fmla="*/ 16 w 19"/>
                  <a:gd name="T15" fmla="*/ 55 h 66"/>
                  <a:gd name="T16" fmla="*/ 16 w 19"/>
                  <a:gd name="T17" fmla="*/ 49 h 66"/>
                  <a:gd name="T18" fmla="*/ 16 w 19"/>
                  <a:gd name="T19" fmla="*/ 43 h 66"/>
                  <a:gd name="T20" fmla="*/ 17 w 19"/>
                  <a:gd name="T21" fmla="*/ 36 h 66"/>
                  <a:gd name="T22" fmla="*/ 17 w 19"/>
                  <a:gd name="T23" fmla="*/ 28 h 66"/>
                  <a:gd name="T24" fmla="*/ 17 w 19"/>
                  <a:gd name="T25" fmla="*/ 22 h 66"/>
                  <a:gd name="T26" fmla="*/ 16 w 19"/>
                  <a:gd name="T27" fmla="*/ 17 h 66"/>
                  <a:gd name="T28" fmla="*/ 16 w 19"/>
                  <a:gd name="T29" fmla="*/ 11 h 66"/>
                  <a:gd name="T30" fmla="*/ 9 w 19"/>
                  <a:gd name="T31" fmla="*/ 10 h 66"/>
                  <a:gd name="T32" fmla="*/ 10 w 19"/>
                  <a:gd name="T33" fmla="*/ 1 h 66"/>
                  <a:gd name="T34" fmla="*/ 6 w 19"/>
                  <a:gd name="T35" fmla="*/ 0 h 66"/>
                  <a:gd name="T36" fmla="*/ 2 w 19"/>
                  <a:gd name="T37" fmla="*/ 0 h 66"/>
                  <a:gd name="T38" fmla="*/ 2 w 19"/>
                  <a:gd name="T39" fmla="*/ 8 h 66"/>
                  <a:gd name="T40" fmla="*/ 5 w 19"/>
                  <a:gd name="T41" fmla="*/ 13 h 66"/>
                  <a:gd name="T42" fmla="*/ 4 w 19"/>
                  <a:gd name="T43" fmla="*/ 21 h 66"/>
                  <a:gd name="T44" fmla="*/ 6 w 19"/>
                  <a:gd name="T45" fmla="*/ 25 h 66"/>
                  <a:gd name="T46" fmla="*/ 5 w 19"/>
                  <a:gd name="T47" fmla="*/ 33 h 66"/>
                  <a:gd name="T48" fmla="*/ 7 w 19"/>
                  <a:gd name="T49" fmla="*/ 38 h 66"/>
                  <a:gd name="T50" fmla="*/ 6 w 19"/>
                  <a:gd name="T51" fmla="*/ 47 h 66"/>
                  <a:gd name="T52" fmla="*/ 7 w 19"/>
                  <a:gd name="T53" fmla="*/ 51 h 66"/>
                  <a:gd name="T54" fmla="*/ 7 w 19"/>
                  <a:gd name="T55" fmla="*/ 54 h 66"/>
                  <a:gd name="T56" fmla="*/ 12 w 19"/>
                  <a:gd name="T57" fmla="*/ 6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66">
                    <a:moveTo>
                      <a:pt x="12" y="63"/>
                    </a:moveTo>
                    <a:cubicBezTo>
                      <a:pt x="13" y="62"/>
                      <a:pt x="13" y="61"/>
                      <a:pt x="14" y="60"/>
                    </a:cubicBezTo>
                    <a:cubicBezTo>
                      <a:pt x="13" y="61"/>
                      <a:pt x="14" y="63"/>
                      <a:pt x="15" y="63"/>
                    </a:cubicBezTo>
                    <a:cubicBezTo>
                      <a:pt x="13" y="63"/>
                      <a:pt x="12" y="66"/>
                      <a:pt x="15" y="65"/>
                    </a:cubicBezTo>
                    <a:cubicBezTo>
                      <a:pt x="15" y="65"/>
                      <a:pt x="15" y="63"/>
                      <a:pt x="16" y="62"/>
                    </a:cubicBezTo>
                    <a:cubicBezTo>
                      <a:pt x="16" y="62"/>
                      <a:pt x="18" y="63"/>
                      <a:pt x="19" y="62"/>
                    </a:cubicBezTo>
                    <a:cubicBezTo>
                      <a:pt x="19" y="62"/>
                      <a:pt x="19" y="59"/>
                      <a:pt x="17" y="57"/>
                    </a:cubicBezTo>
                    <a:cubicBezTo>
                      <a:pt x="16" y="55"/>
                      <a:pt x="16" y="55"/>
                      <a:pt x="16" y="55"/>
                    </a:cubicBezTo>
                    <a:cubicBezTo>
                      <a:pt x="16" y="55"/>
                      <a:pt x="17" y="52"/>
                      <a:pt x="16" y="49"/>
                    </a:cubicBezTo>
                    <a:cubicBezTo>
                      <a:pt x="15" y="47"/>
                      <a:pt x="15" y="46"/>
                      <a:pt x="16" y="43"/>
                    </a:cubicBezTo>
                    <a:cubicBezTo>
                      <a:pt x="17" y="40"/>
                      <a:pt x="17" y="40"/>
                      <a:pt x="17" y="36"/>
                    </a:cubicBezTo>
                    <a:cubicBezTo>
                      <a:pt x="17" y="33"/>
                      <a:pt x="15" y="33"/>
                      <a:pt x="17" y="28"/>
                    </a:cubicBezTo>
                    <a:cubicBezTo>
                      <a:pt x="18" y="24"/>
                      <a:pt x="17" y="22"/>
                      <a:pt x="17" y="22"/>
                    </a:cubicBezTo>
                    <a:cubicBezTo>
                      <a:pt x="17" y="22"/>
                      <a:pt x="15" y="19"/>
                      <a:pt x="16" y="17"/>
                    </a:cubicBezTo>
                    <a:cubicBezTo>
                      <a:pt x="17" y="15"/>
                      <a:pt x="16" y="11"/>
                      <a:pt x="16" y="11"/>
                    </a:cubicBezTo>
                    <a:cubicBezTo>
                      <a:pt x="9" y="10"/>
                      <a:pt x="9" y="10"/>
                      <a:pt x="9" y="10"/>
                    </a:cubicBezTo>
                    <a:cubicBezTo>
                      <a:pt x="10" y="1"/>
                      <a:pt x="10" y="1"/>
                      <a:pt x="10" y="1"/>
                    </a:cubicBezTo>
                    <a:cubicBezTo>
                      <a:pt x="10" y="1"/>
                      <a:pt x="7" y="1"/>
                      <a:pt x="6" y="0"/>
                    </a:cubicBezTo>
                    <a:cubicBezTo>
                      <a:pt x="4" y="0"/>
                      <a:pt x="2" y="0"/>
                      <a:pt x="2" y="0"/>
                    </a:cubicBezTo>
                    <a:cubicBezTo>
                      <a:pt x="2" y="0"/>
                      <a:pt x="0" y="7"/>
                      <a:pt x="2" y="8"/>
                    </a:cubicBezTo>
                    <a:cubicBezTo>
                      <a:pt x="3" y="8"/>
                      <a:pt x="5" y="10"/>
                      <a:pt x="5" y="13"/>
                    </a:cubicBezTo>
                    <a:cubicBezTo>
                      <a:pt x="5" y="16"/>
                      <a:pt x="6" y="19"/>
                      <a:pt x="4" y="21"/>
                    </a:cubicBezTo>
                    <a:cubicBezTo>
                      <a:pt x="3" y="23"/>
                      <a:pt x="6" y="24"/>
                      <a:pt x="6" y="25"/>
                    </a:cubicBezTo>
                    <a:cubicBezTo>
                      <a:pt x="5" y="27"/>
                      <a:pt x="3" y="29"/>
                      <a:pt x="5" y="33"/>
                    </a:cubicBezTo>
                    <a:cubicBezTo>
                      <a:pt x="7" y="36"/>
                      <a:pt x="7" y="36"/>
                      <a:pt x="7" y="38"/>
                    </a:cubicBezTo>
                    <a:cubicBezTo>
                      <a:pt x="7" y="41"/>
                      <a:pt x="6" y="46"/>
                      <a:pt x="6" y="47"/>
                    </a:cubicBezTo>
                    <a:cubicBezTo>
                      <a:pt x="6" y="48"/>
                      <a:pt x="5" y="50"/>
                      <a:pt x="7" y="51"/>
                    </a:cubicBezTo>
                    <a:cubicBezTo>
                      <a:pt x="8" y="52"/>
                      <a:pt x="5" y="52"/>
                      <a:pt x="7" y="54"/>
                    </a:cubicBezTo>
                    <a:cubicBezTo>
                      <a:pt x="8" y="55"/>
                      <a:pt x="12" y="63"/>
                      <a:pt x="12" y="6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68" name="Freeform 47">
                <a:extLst>
                  <a:ext uri="{FF2B5EF4-FFF2-40B4-BE49-F238E27FC236}">
                    <a16:creationId xmlns:a16="http://schemas.microsoft.com/office/drawing/2014/main" id="{3734CF63-1D82-2B87-4500-D042514F4C40}"/>
                  </a:ext>
                </a:extLst>
              </p:cNvPr>
              <p:cNvSpPr>
                <a:spLocks noEditPoints="1"/>
              </p:cNvSpPr>
              <p:nvPr/>
            </p:nvSpPr>
            <p:spPr bwMode="auto">
              <a:xfrm>
                <a:off x="4772" y="1831"/>
                <a:ext cx="124" cy="312"/>
              </a:xfrm>
              <a:custGeom>
                <a:avLst/>
                <a:gdLst>
                  <a:gd name="T0" fmla="*/ 22 w 63"/>
                  <a:gd name="T1" fmla="*/ 4 h 159"/>
                  <a:gd name="T2" fmla="*/ 28 w 63"/>
                  <a:gd name="T3" fmla="*/ 4 h 159"/>
                  <a:gd name="T4" fmla="*/ 26 w 63"/>
                  <a:gd name="T5" fmla="*/ 11 h 159"/>
                  <a:gd name="T6" fmla="*/ 27 w 63"/>
                  <a:gd name="T7" fmla="*/ 16 h 159"/>
                  <a:gd name="T8" fmla="*/ 30 w 63"/>
                  <a:gd name="T9" fmla="*/ 21 h 159"/>
                  <a:gd name="T10" fmla="*/ 31 w 63"/>
                  <a:gd name="T11" fmla="*/ 25 h 159"/>
                  <a:gd name="T12" fmla="*/ 35 w 63"/>
                  <a:gd name="T13" fmla="*/ 21 h 159"/>
                  <a:gd name="T14" fmla="*/ 43 w 63"/>
                  <a:gd name="T15" fmla="*/ 18 h 159"/>
                  <a:gd name="T16" fmla="*/ 45 w 63"/>
                  <a:gd name="T17" fmla="*/ 21 h 159"/>
                  <a:gd name="T18" fmla="*/ 51 w 63"/>
                  <a:gd name="T19" fmla="*/ 23 h 159"/>
                  <a:gd name="T20" fmla="*/ 56 w 63"/>
                  <a:gd name="T21" fmla="*/ 33 h 159"/>
                  <a:gd name="T22" fmla="*/ 58 w 63"/>
                  <a:gd name="T23" fmla="*/ 41 h 159"/>
                  <a:gd name="T24" fmla="*/ 62 w 63"/>
                  <a:gd name="T25" fmla="*/ 45 h 159"/>
                  <a:gd name="T26" fmla="*/ 63 w 63"/>
                  <a:gd name="T27" fmla="*/ 51 h 159"/>
                  <a:gd name="T28" fmla="*/ 61 w 63"/>
                  <a:gd name="T29" fmla="*/ 57 h 159"/>
                  <a:gd name="T30" fmla="*/ 56 w 63"/>
                  <a:gd name="T31" fmla="*/ 62 h 159"/>
                  <a:gd name="T32" fmla="*/ 49 w 63"/>
                  <a:gd name="T33" fmla="*/ 65 h 159"/>
                  <a:gd name="T34" fmla="*/ 42 w 63"/>
                  <a:gd name="T35" fmla="*/ 67 h 159"/>
                  <a:gd name="T36" fmla="*/ 38 w 63"/>
                  <a:gd name="T37" fmla="*/ 73 h 159"/>
                  <a:gd name="T38" fmla="*/ 42 w 63"/>
                  <a:gd name="T39" fmla="*/ 85 h 159"/>
                  <a:gd name="T40" fmla="*/ 43 w 63"/>
                  <a:gd name="T41" fmla="*/ 95 h 159"/>
                  <a:gd name="T42" fmla="*/ 41 w 63"/>
                  <a:gd name="T43" fmla="*/ 90 h 159"/>
                  <a:gd name="T44" fmla="*/ 34 w 63"/>
                  <a:gd name="T45" fmla="*/ 82 h 159"/>
                  <a:gd name="T46" fmla="*/ 21 w 63"/>
                  <a:gd name="T47" fmla="*/ 74 h 159"/>
                  <a:gd name="T48" fmla="*/ 19 w 63"/>
                  <a:gd name="T49" fmla="*/ 88 h 159"/>
                  <a:gd name="T50" fmla="*/ 18 w 63"/>
                  <a:gd name="T51" fmla="*/ 93 h 159"/>
                  <a:gd name="T52" fmla="*/ 16 w 63"/>
                  <a:gd name="T53" fmla="*/ 105 h 159"/>
                  <a:gd name="T54" fmla="*/ 17 w 63"/>
                  <a:gd name="T55" fmla="*/ 121 h 159"/>
                  <a:gd name="T56" fmla="*/ 21 w 63"/>
                  <a:gd name="T57" fmla="*/ 127 h 159"/>
                  <a:gd name="T58" fmla="*/ 31 w 63"/>
                  <a:gd name="T59" fmla="*/ 141 h 159"/>
                  <a:gd name="T60" fmla="*/ 35 w 63"/>
                  <a:gd name="T61" fmla="*/ 147 h 159"/>
                  <a:gd name="T62" fmla="*/ 35 w 63"/>
                  <a:gd name="T63" fmla="*/ 153 h 159"/>
                  <a:gd name="T64" fmla="*/ 32 w 63"/>
                  <a:gd name="T65" fmla="*/ 157 h 159"/>
                  <a:gd name="T66" fmla="*/ 29 w 63"/>
                  <a:gd name="T67" fmla="*/ 159 h 159"/>
                  <a:gd name="T68" fmla="*/ 24 w 63"/>
                  <a:gd name="T69" fmla="*/ 152 h 159"/>
                  <a:gd name="T70" fmla="*/ 20 w 63"/>
                  <a:gd name="T71" fmla="*/ 144 h 159"/>
                  <a:gd name="T72" fmla="*/ 17 w 63"/>
                  <a:gd name="T73" fmla="*/ 139 h 159"/>
                  <a:gd name="T74" fmla="*/ 6 w 63"/>
                  <a:gd name="T75" fmla="*/ 123 h 159"/>
                  <a:gd name="T76" fmla="*/ 10 w 63"/>
                  <a:gd name="T77" fmla="*/ 113 h 159"/>
                  <a:gd name="T78" fmla="*/ 11 w 63"/>
                  <a:gd name="T79" fmla="*/ 102 h 159"/>
                  <a:gd name="T80" fmla="*/ 11 w 63"/>
                  <a:gd name="T81" fmla="*/ 98 h 159"/>
                  <a:gd name="T82" fmla="*/ 13 w 63"/>
                  <a:gd name="T83" fmla="*/ 89 h 159"/>
                  <a:gd name="T84" fmla="*/ 17 w 63"/>
                  <a:gd name="T85" fmla="*/ 79 h 159"/>
                  <a:gd name="T86" fmla="*/ 9 w 63"/>
                  <a:gd name="T87" fmla="*/ 68 h 159"/>
                  <a:gd name="T88" fmla="*/ 5 w 63"/>
                  <a:gd name="T89" fmla="*/ 52 h 159"/>
                  <a:gd name="T90" fmla="*/ 9 w 63"/>
                  <a:gd name="T91" fmla="*/ 45 h 159"/>
                  <a:gd name="T92" fmla="*/ 1 w 63"/>
                  <a:gd name="T93" fmla="*/ 37 h 159"/>
                  <a:gd name="T94" fmla="*/ 1 w 63"/>
                  <a:gd name="T95" fmla="*/ 23 h 159"/>
                  <a:gd name="T96" fmla="*/ 0 w 63"/>
                  <a:gd name="T97" fmla="*/ 14 h 159"/>
                  <a:gd name="T98" fmla="*/ 4 w 63"/>
                  <a:gd name="T99" fmla="*/ 10 h 159"/>
                  <a:gd name="T100" fmla="*/ 10 w 63"/>
                  <a:gd name="T101" fmla="*/ 7 h 159"/>
                  <a:gd name="T102" fmla="*/ 11 w 63"/>
                  <a:gd name="T103" fmla="*/ 0 h 159"/>
                  <a:gd name="T104" fmla="*/ 16 w 63"/>
                  <a:gd name="T105" fmla="*/ 2 h 159"/>
                  <a:gd name="T106" fmla="*/ 15 w 63"/>
                  <a:gd name="T107" fmla="*/ 15 h 159"/>
                  <a:gd name="T108" fmla="*/ 15 w 63"/>
                  <a:gd name="T109" fmla="*/ 1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159">
                    <a:moveTo>
                      <a:pt x="22" y="2"/>
                    </a:moveTo>
                    <a:cubicBezTo>
                      <a:pt x="22" y="4"/>
                      <a:pt x="22" y="4"/>
                      <a:pt x="22" y="4"/>
                    </a:cubicBezTo>
                    <a:cubicBezTo>
                      <a:pt x="24" y="5"/>
                      <a:pt x="24" y="5"/>
                      <a:pt x="24" y="5"/>
                    </a:cubicBezTo>
                    <a:cubicBezTo>
                      <a:pt x="28" y="4"/>
                      <a:pt x="28" y="4"/>
                      <a:pt x="28" y="4"/>
                    </a:cubicBezTo>
                    <a:cubicBezTo>
                      <a:pt x="28" y="7"/>
                      <a:pt x="28" y="7"/>
                      <a:pt x="28" y="7"/>
                    </a:cubicBezTo>
                    <a:cubicBezTo>
                      <a:pt x="26" y="11"/>
                      <a:pt x="26" y="11"/>
                      <a:pt x="26" y="11"/>
                    </a:cubicBezTo>
                    <a:cubicBezTo>
                      <a:pt x="27" y="14"/>
                      <a:pt x="27" y="14"/>
                      <a:pt x="27" y="14"/>
                    </a:cubicBezTo>
                    <a:cubicBezTo>
                      <a:pt x="27" y="16"/>
                      <a:pt x="27" y="16"/>
                      <a:pt x="27" y="16"/>
                    </a:cubicBezTo>
                    <a:cubicBezTo>
                      <a:pt x="29" y="18"/>
                      <a:pt x="29" y="18"/>
                      <a:pt x="29" y="18"/>
                    </a:cubicBezTo>
                    <a:cubicBezTo>
                      <a:pt x="30" y="21"/>
                      <a:pt x="30" y="21"/>
                      <a:pt x="30" y="21"/>
                    </a:cubicBezTo>
                    <a:cubicBezTo>
                      <a:pt x="29" y="23"/>
                      <a:pt x="29" y="23"/>
                      <a:pt x="29" y="23"/>
                    </a:cubicBezTo>
                    <a:cubicBezTo>
                      <a:pt x="31" y="25"/>
                      <a:pt x="31" y="25"/>
                      <a:pt x="31" y="25"/>
                    </a:cubicBezTo>
                    <a:cubicBezTo>
                      <a:pt x="33" y="23"/>
                      <a:pt x="33" y="23"/>
                      <a:pt x="33" y="23"/>
                    </a:cubicBezTo>
                    <a:cubicBezTo>
                      <a:pt x="35" y="21"/>
                      <a:pt x="35" y="21"/>
                      <a:pt x="35" y="21"/>
                    </a:cubicBezTo>
                    <a:cubicBezTo>
                      <a:pt x="41" y="17"/>
                      <a:pt x="41" y="17"/>
                      <a:pt x="41" y="17"/>
                    </a:cubicBezTo>
                    <a:cubicBezTo>
                      <a:pt x="43" y="18"/>
                      <a:pt x="43" y="18"/>
                      <a:pt x="43" y="18"/>
                    </a:cubicBezTo>
                    <a:cubicBezTo>
                      <a:pt x="43" y="19"/>
                      <a:pt x="43" y="19"/>
                      <a:pt x="43" y="19"/>
                    </a:cubicBezTo>
                    <a:cubicBezTo>
                      <a:pt x="45" y="21"/>
                      <a:pt x="45" y="21"/>
                      <a:pt x="45" y="21"/>
                    </a:cubicBezTo>
                    <a:cubicBezTo>
                      <a:pt x="48" y="23"/>
                      <a:pt x="48" y="23"/>
                      <a:pt x="48" y="23"/>
                    </a:cubicBezTo>
                    <a:cubicBezTo>
                      <a:pt x="51" y="23"/>
                      <a:pt x="51" y="23"/>
                      <a:pt x="51" y="23"/>
                    </a:cubicBezTo>
                    <a:cubicBezTo>
                      <a:pt x="56" y="29"/>
                      <a:pt x="56" y="29"/>
                      <a:pt x="56" y="29"/>
                    </a:cubicBezTo>
                    <a:cubicBezTo>
                      <a:pt x="56" y="33"/>
                      <a:pt x="56" y="33"/>
                      <a:pt x="56" y="33"/>
                    </a:cubicBezTo>
                    <a:cubicBezTo>
                      <a:pt x="56" y="38"/>
                      <a:pt x="56" y="38"/>
                      <a:pt x="56" y="38"/>
                    </a:cubicBezTo>
                    <a:cubicBezTo>
                      <a:pt x="58" y="41"/>
                      <a:pt x="58" y="41"/>
                      <a:pt x="58" y="41"/>
                    </a:cubicBezTo>
                    <a:cubicBezTo>
                      <a:pt x="61" y="43"/>
                      <a:pt x="61" y="43"/>
                      <a:pt x="61" y="43"/>
                    </a:cubicBezTo>
                    <a:cubicBezTo>
                      <a:pt x="62" y="45"/>
                      <a:pt x="62" y="45"/>
                      <a:pt x="62" y="45"/>
                    </a:cubicBezTo>
                    <a:cubicBezTo>
                      <a:pt x="62" y="49"/>
                      <a:pt x="62" y="49"/>
                      <a:pt x="62" y="49"/>
                    </a:cubicBezTo>
                    <a:cubicBezTo>
                      <a:pt x="63" y="51"/>
                      <a:pt x="63" y="51"/>
                      <a:pt x="63" y="51"/>
                    </a:cubicBezTo>
                    <a:cubicBezTo>
                      <a:pt x="62" y="54"/>
                      <a:pt x="62" y="54"/>
                      <a:pt x="62" y="54"/>
                    </a:cubicBezTo>
                    <a:cubicBezTo>
                      <a:pt x="61" y="57"/>
                      <a:pt x="61" y="57"/>
                      <a:pt x="61" y="57"/>
                    </a:cubicBezTo>
                    <a:cubicBezTo>
                      <a:pt x="58" y="60"/>
                      <a:pt x="58" y="60"/>
                      <a:pt x="58" y="60"/>
                    </a:cubicBezTo>
                    <a:cubicBezTo>
                      <a:pt x="56" y="62"/>
                      <a:pt x="56" y="62"/>
                      <a:pt x="56" y="62"/>
                    </a:cubicBezTo>
                    <a:cubicBezTo>
                      <a:pt x="52" y="65"/>
                      <a:pt x="52" y="65"/>
                      <a:pt x="52" y="65"/>
                    </a:cubicBezTo>
                    <a:cubicBezTo>
                      <a:pt x="49" y="65"/>
                      <a:pt x="49" y="65"/>
                      <a:pt x="49" y="65"/>
                    </a:cubicBezTo>
                    <a:cubicBezTo>
                      <a:pt x="46" y="65"/>
                      <a:pt x="46" y="65"/>
                      <a:pt x="46" y="65"/>
                    </a:cubicBezTo>
                    <a:cubicBezTo>
                      <a:pt x="42" y="67"/>
                      <a:pt x="42" y="67"/>
                      <a:pt x="42" y="67"/>
                    </a:cubicBezTo>
                    <a:cubicBezTo>
                      <a:pt x="39" y="68"/>
                      <a:pt x="39" y="68"/>
                      <a:pt x="39" y="68"/>
                    </a:cubicBezTo>
                    <a:cubicBezTo>
                      <a:pt x="38" y="73"/>
                      <a:pt x="38" y="73"/>
                      <a:pt x="38" y="73"/>
                    </a:cubicBezTo>
                    <a:cubicBezTo>
                      <a:pt x="39" y="80"/>
                      <a:pt x="39" y="80"/>
                      <a:pt x="39" y="80"/>
                    </a:cubicBezTo>
                    <a:cubicBezTo>
                      <a:pt x="42" y="85"/>
                      <a:pt x="42" y="85"/>
                      <a:pt x="42" y="85"/>
                    </a:cubicBezTo>
                    <a:cubicBezTo>
                      <a:pt x="42" y="89"/>
                      <a:pt x="42" y="89"/>
                      <a:pt x="42" y="89"/>
                    </a:cubicBezTo>
                    <a:cubicBezTo>
                      <a:pt x="43" y="95"/>
                      <a:pt x="43" y="95"/>
                      <a:pt x="43" y="95"/>
                    </a:cubicBezTo>
                    <a:cubicBezTo>
                      <a:pt x="42" y="94"/>
                      <a:pt x="42" y="94"/>
                      <a:pt x="41" y="94"/>
                    </a:cubicBezTo>
                    <a:cubicBezTo>
                      <a:pt x="41" y="93"/>
                      <a:pt x="41" y="91"/>
                      <a:pt x="41" y="90"/>
                    </a:cubicBezTo>
                    <a:cubicBezTo>
                      <a:pt x="40" y="90"/>
                      <a:pt x="39" y="90"/>
                      <a:pt x="38" y="90"/>
                    </a:cubicBezTo>
                    <a:cubicBezTo>
                      <a:pt x="36" y="87"/>
                      <a:pt x="36" y="84"/>
                      <a:pt x="34" y="82"/>
                    </a:cubicBezTo>
                    <a:cubicBezTo>
                      <a:pt x="33" y="82"/>
                      <a:pt x="31" y="82"/>
                      <a:pt x="29" y="82"/>
                    </a:cubicBezTo>
                    <a:cubicBezTo>
                      <a:pt x="27" y="75"/>
                      <a:pt x="29" y="75"/>
                      <a:pt x="21" y="74"/>
                    </a:cubicBezTo>
                    <a:cubicBezTo>
                      <a:pt x="20" y="76"/>
                      <a:pt x="21" y="75"/>
                      <a:pt x="19" y="76"/>
                    </a:cubicBezTo>
                    <a:cubicBezTo>
                      <a:pt x="21" y="81"/>
                      <a:pt x="18" y="82"/>
                      <a:pt x="19" y="88"/>
                    </a:cubicBezTo>
                    <a:cubicBezTo>
                      <a:pt x="19" y="88"/>
                      <a:pt x="20" y="89"/>
                      <a:pt x="20" y="90"/>
                    </a:cubicBezTo>
                    <a:cubicBezTo>
                      <a:pt x="20" y="91"/>
                      <a:pt x="18" y="92"/>
                      <a:pt x="18" y="93"/>
                    </a:cubicBezTo>
                    <a:cubicBezTo>
                      <a:pt x="17" y="96"/>
                      <a:pt x="18" y="100"/>
                      <a:pt x="17" y="103"/>
                    </a:cubicBezTo>
                    <a:cubicBezTo>
                      <a:pt x="16" y="105"/>
                      <a:pt x="16" y="105"/>
                      <a:pt x="16" y="105"/>
                    </a:cubicBezTo>
                    <a:cubicBezTo>
                      <a:pt x="15" y="107"/>
                      <a:pt x="13" y="116"/>
                      <a:pt x="14" y="119"/>
                    </a:cubicBezTo>
                    <a:cubicBezTo>
                      <a:pt x="14" y="121"/>
                      <a:pt x="17" y="120"/>
                      <a:pt x="17" y="121"/>
                    </a:cubicBezTo>
                    <a:cubicBezTo>
                      <a:pt x="18" y="123"/>
                      <a:pt x="18" y="127"/>
                      <a:pt x="19" y="128"/>
                    </a:cubicBezTo>
                    <a:cubicBezTo>
                      <a:pt x="20" y="128"/>
                      <a:pt x="20" y="127"/>
                      <a:pt x="21" y="127"/>
                    </a:cubicBezTo>
                    <a:cubicBezTo>
                      <a:pt x="22" y="132"/>
                      <a:pt x="22" y="138"/>
                      <a:pt x="26" y="140"/>
                    </a:cubicBezTo>
                    <a:cubicBezTo>
                      <a:pt x="27" y="141"/>
                      <a:pt x="29" y="140"/>
                      <a:pt x="31" y="141"/>
                    </a:cubicBezTo>
                    <a:cubicBezTo>
                      <a:pt x="31" y="141"/>
                      <a:pt x="31" y="143"/>
                      <a:pt x="31" y="144"/>
                    </a:cubicBezTo>
                    <a:cubicBezTo>
                      <a:pt x="32" y="145"/>
                      <a:pt x="34" y="146"/>
                      <a:pt x="35" y="147"/>
                    </a:cubicBezTo>
                    <a:cubicBezTo>
                      <a:pt x="36" y="149"/>
                      <a:pt x="36" y="150"/>
                      <a:pt x="37" y="151"/>
                    </a:cubicBezTo>
                    <a:cubicBezTo>
                      <a:pt x="35" y="153"/>
                      <a:pt x="35" y="153"/>
                      <a:pt x="35" y="153"/>
                    </a:cubicBezTo>
                    <a:cubicBezTo>
                      <a:pt x="34" y="157"/>
                      <a:pt x="34" y="157"/>
                      <a:pt x="34" y="157"/>
                    </a:cubicBezTo>
                    <a:cubicBezTo>
                      <a:pt x="32" y="157"/>
                      <a:pt x="32" y="157"/>
                      <a:pt x="32" y="157"/>
                    </a:cubicBezTo>
                    <a:cubicBezTo>
                      <a:pt x="31" y="159"/>
                      <a:pt x="31" y="159"/>
                      <a:pt x="31" y="159"/>
                    </a:cubicBezTo>
                    <a:cubicBezTo>
                      <a:pt x="29" y="159"/>
                      <a:pt x="29" y="159"/>
                      <a:pt x="29" y="159"/>
                    </a:cubicBezTo>
                    <a:cubicBezTo>
                      <a:pt x="29" y="155"/>
                      <a:pt x="29" y="155"/>
                      <a:pt x="29" y="155"/>
                    </a:cubicBezTo>
                    <a:cubicBezTo>
                      <a:pt x="24" y="152"/>
                      <a:pt x="24" y="152"/>
                      <a:pt x="24" y="152"/>
                    </a:cubicBezTo>
                    <a:cubicBezTo>
                      <a:pt x="21" y="154"/>
                      <a:pt x="21" y="154"/>
                      <a:pt x="21" y="154"/>
                    </a:cubicBezTo>
                    <a:cubicBezTo>
                      <a:pt x="20" y="150"/>
                      <a:pt x="21" y="147"/>
                      <a:pt x="20" y="144"/>
                    </a:cubicBezTo>
                    <a:cubicBezTo>
                      <a:pt x="20" y="144"/>
                      <a:pt x="18" y="143"/>
                      <a:pt x="18" y="143"/>
                    </a:cubicBezTo>
                    <a:cubicBezTo>
                      <a:pt x="17" y="141"/>
                      <a:pt x="18" y="140"/>
                      <a:pt x="17" y="139"/>
                    </a:cubicBezTo>
                    <a:cubicBezTo>
                      <a:pt x="17" y="138"/>
                      <a:pt x="15" y="137"/>
                      <a:pt x="15" y="137"/>
                    </a:cubicBezTo>
                    <a:cubicBezTo>
                      <a:pt x="12" y="133"/>
                      <a:pt x="7" y="129"/>
                      <a:pt x="6" y="123"/>
                    </a:cubicBezTo>
                    <a:cubicBezTo>
                      <a:pt x="6" y="120"/>
                      <a:pt x="7" y="116"/>
                      <a:pt x="8" y="114"/>
                    </a:cubicBezTo>
                    <a:cubicBezTo>
                      <a:pt x="8" y="114"/>
                      <a:pt x="10" y="113"/>
                      <a:pt x="10" y="113"/>
                    </a:cubicBezTo>
                    <a:cubicBezTo>
                      <a:pt x="11" y="109"/>
                      <a:pt x="7" y="109"/>
                      <a:pt x="8" y="105"/>
                    </a:cubicBezTo>
                    <a:cubicBezTo>
                      <a:pt x="8" y="105"/>
                      <a:pt x="10" y="102"/>
                      <a:pt x="11" y="102"/>
                    </a:cubicBezTo>
                    <a:cubicBezTo>
                      <a:pt x="11" y="101"/>
                      <a:pt x="11" y="99"/>
                      <a:pt x="10" y="98"/>
                    </a:cubicBezTo>
                    <a:cubicBezTo>
                      <a:pt x="11" y="98"/>
                      <a:pt x="11" y="98"/>
                      <a:pt x="11" y="98"/>
                    </a:cubicBezTo>
                    <a:cubicBezTo>
                      <a:pt x="12" y="95"/>
                      <a:pt x="12" y="95"/>
                      <a:pt x="12" y="95"/>
                    </a:cubicBezTo>
                    <a:cubicBezTo>
                      <a:pt x="13" y="89"/>
                      <a:pt x="13" y="89"/>
                      <a:pt x="13" y="89"/>
                    </a:cubicBezTo>
                    <a:cubicBezTo>
                      <a:pt x="17" y="85"/>
                      <a:pt x="17" y="85"/>
                      <a:pt x="17" y="85"/>
                    </a:cubicBezTo>
                    <a:cubicBezTo>
                      <a:pt x="17" y="79"/>
                      <a:pt x="17" y="79"/>
                      <a:pt x="17" y="79"/>
                    </a:cubicBezTo>
                    <a:cubicBezTo>
                      <a:pt x="14" y="73"/>
                      <a:pt x="14" y="73"/>
                      <a:pt x="14" y="73"/>
                    </a:cubicBezTo>
                    <a:cubicBezTo>
                      <a:pt x="9" y="68"/>
                      <a:pt x="9" y="68"/>
                      <a:pt x="9" y="68"/>
                    </a:cubicBezTo>
                    <a:cubicBezTo>
                      <a:pt x="6" y="60"/>
                      <a:pt x="6" y="60"/>
                      <a:pt x="6" y="60"/>
                    </a:cubicBezTo>
                    <a:cubicBezTo>
                      <a:pt x="5" y="52"/>
                      <a:pt x="5" y="52"/>
                      <a:pt x="5" y="52"/>
                    </a:cubicBezTo>
                    <a:cubicBezTo>
                      <a:pt x="9" y="50"/>
                      <a:pt x="9" y="50"/>
                      <a:pt x="9" y="50"/>
                    </a:cubicBezTo>
                    <a:cubicBezTo>
                      <a:pt x="9" y="45"/>
                      <a:pt x="9" y="45"/>
                      <a:pt x="9" y="45"/>
                    </a:cubicBezTo>
                    <a:cubicBezTo>
                      <a:pt x="5" y="42"/>
                      <a:pt x="5" y="42"/>
                      <a:pt x="5" y="42"/>
                    </a:cubicBezTo>
                    <a:cubicBezTo>
                      <a:pt x="1" y="37"/>
                      <a:pt x="1" y="37"/>
                      <a:pt x="1" y="37"/>
                    </a:cubicBezTo>
                    <a:cubicBezTo>
                      <a:pt x="0" y="29"/>
                      <a:pt x="0" y="29"/>
                      <a:pt x="0" y="29"/>
                    </a:cubicBezTo>
                    <a:cubicBezTo>
                      <a:pt x="1" y="23"/>
                      <a:pt x="1" y="23"/>
                      <a:pt x="1" y="23"/>
                    </a:cubicBezTo>
                    <a:cubicBezTo>
                      <a:pt x="2" y="19"/>
                      <a:pt x="2" y="19"/>
                      <a:pt x="2" y="19"/>
                    </a:cubicBezTo>
                    <a:cubicBezTo>
                      <a:pt x="0" y="14"/>
                      <a:pt x="0" y="14"/>
                      <a:pt x="0" y="14"/>
                    </a:cubicBezTo>
                    <a:cubicBezTo>
                      <a:pt x="1" y="11"/>
                      <a:pt x="1" y="11"/>
                      <a:pt x="1" y="11"/>
                    </a:cubicBezTo>
                    <a:cubicBezTo>
                      <a:pt x="4" y="10"/>
                      <a:pt x="4" y="10"/>
                      <a:pt x="4" y="10"/>
                    </a:cubicBezTo>
                    <a:cubicBezTo>
                      <a:pt x="7" y="7"/>
                      <a:pt x="7" y="7"/>
                      <a:pt x="7" y="7"/>
                    </a:cubicBezTo>
                    <a:cubicBezTo>
                      <a:pt x="10" y="7"/>
                      <a:pt x="10" y="7"/>
                      <a:pt x="10" y="7"/>
                    </a:cubicBezTo>
                    <a:cubicBezTo>
                      <a:pt x="9" y="4"/>
                      <a:pt x="9" y="4"/>
                      <a:pt x="9" y="4"/>
                    </a:cubicBezTo>
                    <a:cubicBezTo>
                      <a:pt x="11" y="0"/>
                      <a:pt x="11" y="0"/>
                      <a:pt x="11" y="0"/>
                    </a:cubicBezTo>
                    <a:cubicBezTo>
                      <a:pt x="13" y="0"/>
                      <a:pt x="13" y="0"/>
                      <a:pt x="13" y="0"/>
                    </a:cubicBezTo>
                    <a:cubicBezTo>
                      <a:pt x="16" y="2"/>
                      <a:pt x="16" y="2"/>
                      <a:pt x="16" y="2"/>
                    </a:cubicBezTo>
                    <a:lnTo>
                      <a:pt x="22" y="2"/>
                    </a:lnTo>
                    <a:close/>
                    <a:moveTo>
                      <a:pt x="15" y="15"/>
                    </a:moveTo>
                    <a:cubicBezTo>
                      <a:pt x="17" y="15"/>
                      <a:pt x="15" y="18"/>
                      <a:pt x="15" y="18"/>
                    </a:cubicBezTo>
                    <a:cubicBezTo>
                      <a:pt x="13" y="18"/>
                      <a:pt x="13" y="15"/>
                      <a:pt x="15" y="1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69" name="Freeform 48">
                <a:extLst>
                  <a:ext uri="{FF2B5EF4-FFF2-40B4-BE49-F238E27FC236}">
                    <a16:creationId xmlns:a16="http://schemas.microsoft.com/office/drawing/2014/main" id="{FBF6DA09-35D3-BB19-C863-EF10E59A0A7A}"/>
                  </a:ext>
                </a:extLst>
              </p:cNvPr>
              <p:cNvSpPr>
                <a:spLocks noEditPoints="1"/>
              </p:cNvSpPr>
              <p:nvPr/>
            </p:nvSpPr>
            <p:spPr bwMode="auto">
              <a:xfrm>
                <a:off x="4772" y="1831"/>
                <a:ext cx="124" cy="312"/>
              </a:xfrm>
              <a:custGeom>
                <a:avLst/>
                <a:gdLst>
                  <a:gd name="T0" fmla="*/ 22 w 63"/>
                  <a:gd name="T1" fmla="*/ 4 h 159"/>
                  <a:gd name="T2" fmla="*/ 28 w 63"/>
                  <a:gd name="T3" fmla="*/ 4 h 159"/>
                  <a:gd name="T4" fmla="*/ 26 w 63"/>
                  <a:gd name="T5" fmla="*/ 11 h 159"/>
                  <a:gd name="T6" fmla="*/ 27 w 63"/>
                  <a:gd name="T7" fmla="*/ 16 h 159"/>
                  <a:gd name="T8" fmla="*/ 30 w 63"/>
                  <a:gd name="T9" fmla="*/ 21 h 159"/>
                  <a:gd name="T10" fmla="*/ 31 w 63"/>
                  <a:gd name="T11" fmla="*/ 25 h 159"/>
                  <a:gd name="T12" fmla="*/ 35 w 63"/>
                  <a:gd name="T13" fmla="*/ 21 h 159"/>
                  <a:gd name="T14" fmla="*/ 43 w 63"/>
                  <a:gd name="T15" fmla="*/ 18 h 159"/>
                  <a:gd name="T16" fmla="*/ 45 w 63"/>
                  <a:gd name="T17" fmla="*/ 21 h 159"/>
                  <a:gd name="T18" fmla="*/ 51 w 63"/>
                  <a:gd name="T19" fmla="*/ 23 h 159"/>
                  <a:gd name="T20" fmla="*/ 56 w 63"/>
                  <a:gd name="T21" fmla="*/ 33 h 159"/>
                  <a:gd name="T22" fmla="*/ 58 w 63"/>
                  <a:gd name="T23" fmla="*/ 41 h 159"/>
                  <a:gd name="T24" fmla="*/ 62 w 63"/>
                  <a:gd name="T25" fmla="*/ 45 h 159"/>
                  <a:gd name="T26" fmla="*/ 63 w 63"/>
                  <a:gd name="T27" fmla="*/ 51 h 159"/>
                  <a:gd name="T28" fmla="*/ 61 w 63"/>
                  <a:gd name="T29" fmla="*/ 57 h 159"/>
                  <a:gd name="T30" fmla="*/ 56 w 63"/>
                  <a:gd name="T31" fmla="*/ 62 h 159"/>
                  <a:gd name="T32" fmla="*/ 49 w 63"/>
                  <a:gd name="T33" fmla="*/ 65 h 159"/>
                  <a:gd name="T34" fmla="*/ 42 w 63"/>
                  <a:gd name="T35" fmla="*/ 67 h 159"/>
                  <a:gd name="T36" fmla="*/ 38 w 63"/>
                  <a:gd name="T37" fmla="*/ 73 h 159"/>
                  <a:gd name="T38" fmla="*/ 42 w 63"/>
                  <a:gd name="T39" fmla="*/ 85 h 159"/>
                  <a:gd name="T40" fmla="*/ 43 w 63"/>
                  <a:gd name="T41" fmla="*/ 95 h 159"/>
                  <a:gd name="T42" fmla="*/ 41 w 63"/>
                  <a:gd name="T43" fmla="*/ 90 h 159"/>
                  <a:gd name="T44" fmla="*/ 34 w 63"/>
                  <a:gd name="T45" fmla="*/ 82 h 159"/>
                  <a:gd name="T46" fmla="*/ 21 w 63"/>
                  <a:gd name="T47" fmla="*/ 74 h 159"/>
                  <a:gd name="T48" fmla="*/ 19 w 63"/>
                  <a:gd name="T49" fmla="*/ 88 h 159"/>
                  <a:gd name="T50" fmla="*/ 18 w 63"/>
                  <a:gd name="T51" fmla="*/ 93 h 159"/>
                  <a:gd name="T52" fmla="*/ 16 w 63"/>
                  <a:gd name="T53" fmla="*/ 105 h 159"/>
                  <a:gd name="T54" fmla="*/ 17 w 63"/>
                  <a:gd name="T55" fmla="*/ 121 h 159"/>
                  <a:gd name="T56" fmla="*/ 21 w 63"/>
                  <a:gd name="T57" fmla="*/ 127 h 159"/>
                  <a:gd name="T58" fmla="*/ 31 w 63"/>
                  <a:gd name="T59" fmla="*/ 141 h 159"/>
                  <a:gd name="T60" fmla="*/ 35 w 63"/>
                  <a:gd name="T61" fmla="*/ 147 h 159"/>
                  <a:gd name="T62" fmla="*/ 35 w 63"/>
                  <a:gd name="T63" fmla="*/ 153 h 159"/>
                  <a:gd name="T64" fmla="*/ 32 w 63"/>
                  <a:gd name="T65" fmla="*/ 157 h 159"/>
                  <a:gd name="T66" fmla="*/ 29 w 63"/>
                  <a:gd name="T67" fmla="*/ 159 h 159"/>
                  <a:gd name="T68" fmla="*/ 24 w 63"/>
                  <a:gd name="T69" fmla="*/ 152 h 159"/>
                  <a:gd name="T70" fmla="*/ 20 w 63"/>
                  <a:gd name="T71" fmla="*/ 144 h 159"/>
                  <a:gd name="T72" fmla="*/ 17 w 63"/>
                  <a:gd name="T73" fmla="*/ 139 h 159"/>
                  <a:gd name="T74" fmla="*/ 6 w 63"/>
                  <a:gd name="T75" fmla="*/ 123 h 159"/>
                  <a:gd name="T76" fmla="*/ 10 w 63"/>
                  <a:gd name="T77" fmla="*/ 113 h 159"/>
                  <a:gd name="T78" fmla="*/ 11 w 63"/>
                  <a:gd name="T79" fmla="*/ 102 h 159"/>
                  <a:gd name="T80" fmla="*/ 11 w 63"/>
                  <a:gd name="T81" fmla="*/ 98 h 159"/>
                  <a:gd name="T82" fmla="*/ 13 w 63"/>
                  <a:gd name="T83" fmla="*/ 89 h 159"/>
                  <a:gd name="T84" fmla="*/ 17 w 63"/>
                  <a:gd name="T85" fmla="*/ 79 h 159"/>
                  <a:gd name="T86" fmla="*/ 9 w 63"/>
                  <a:gd name="T87" fmla="*/ 68 h 159"/>
                  <a:gd name="T88" fmla="*/ 5 w 63"/>
                  <a:gd name="T89" fmla="*/ 52 h 159"/>
                  <a:gd name="T90" fmla="*/ 9 w 63"/>
                  <a:gd name="T91" fmla="*/ 45 h 159"/>
                  <a:gd name="T92" fmla="*/ 1 w 63"/>
                  <a:gd name="T93" fmla="*/ 37 h 159"/>
                  <a:gd name="T94" fmla="*/ 1 w 63"/>
                  <a:gd name="T95" fmla="*/ 23 h 159"/>
                  <a:gd name="T96" fmla="*/ 0 w 63"/>
                  <a:gd name="T97" fmla="*/ 14 h 159"/>
                  <a:gd name="T98" fmla="*/ 4 w 63"/>
                  <a:gd name="T99" fmla="*/ 10 h 159"/>
                  <a:gd name="T100" fmla="*/ 10 w 63"/>
                  <a:gd name="T101" fmla="*/ 7 h 159"/>
                  <a:gd name="T102" fmla="*/ 11 w 63"/>
                  <a:gd name="T103" fmla="*/ 0 h 159"/>
                  <a:gd name="T104" fmla="*/ 16 w 63"/>
                  <a:gd name="T105" fmla="*/ 2 h 159"/>
                  <a:gd name="T106" fmla="*/ 15 w 63"/>
                  <a:gd name="T107" fmla="*/ 15 h 159"/>
                  <a:gd name="T108" fmla="*/ 15 w 63"/>
                  <a:gd name="T109" fmla="*/ 1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 h="159">
                    <a:moveTo>
                      <a:pt x="22" y="2"/>
                    </a:moveTo>
                    <a:cubicBezTo>
                      <a:pt x="22" y="4"/>
                      <a:pt x="22" y="4"/>
                      <a:pt x="22" y="4"/>
                    </a:cubicBezTo>
                    <a:cubicBezTo>
                      <a:pt x="24" y="5"/>
                      <a:pt x="24" y="5"/>
                      <a:pt x="24" y="5"/>
                    </a:cubicBezTo>
                    <a:cubicBezTo>
                      <a:pt x="28" y="4"/>
                      <a:pt x="28" y="4"/>
                      <a:pt x="28" y="4"/>
                    </a:cubicBezTo>
                    <a:cubicBezTo>
                      <a:pt x="28" y="7"/>
                      <a:pt x="28" y="7"/>
                      <a:pt x="28" y="7"/>
                    </a:cubicBezTo>
                    <a:cubicBezTo>
                      <a:pt x="26" y="11"/>
                      <a:pt x="26" y="11"/>
                      <a:pt x="26" y="11"/>
                    </a:cubicBezTo>
                    <a:cubicBezTo>
                      <a:pt x="27" y="14"/>
                      <a:pt x="27" y="14"/>
                      <a:pt x="27" y="14"/>
                    </a:cubicBezTo>
                    <a:cubicBezTo>
                      <a:pt x="27" y="16"/>
                      <a:pt x="27" y="16"/>
                      <a:pt x="27" y="16"/>
                    </a:cubicBezTo>
                    <a:cubicBezTo>
                      <a:pt x="29" y="18"/>
                      <a:pt x="29" y="18"/>
                      <a:pt x="29" y="18"/>
                    </a:cubicBezTo>
                    <a:cubicBezTo>
                      <a:pt x="30" y="21"/>
                      <a:pt x="30" y="21"/>
                      <a:pt x="30" y="21"/>
                    </a:cubicBezTo>
                    <a:cubicBezTo>
                      <a:pt x="29" y="23"/>
                      <a:pt x="29" y="23"/>
                      <a:pt x="29" y="23"/>
                    </a:cubicBezTo>
                    <a:cubicBezTo>
                      <a:pt x="31" y="25"/>
                      <a:pt x="31" y="25"/>
                      <a:pt x="31" y="25"/>
                    </a:cubicBezTo>
                    <a:cubicBezTo>
                      <a:pt x="33" y="23"/>
                      <a:pt x="33" y="23"/>
                      <a:pt x="33" y="23"/>
                    </a:cubicBezTo>
                    <a:cubicBezTo>
                      <a:pt x="35" y="21"/>
                      <a:pt x="35" y="21"/>
                      <a:pt x="35" y="21"/>
                    </a:cubicBezTo>
                    <a:cubicBezTo>
                      <a:pt x="41" y="17"/>
                      <a:pt x="41" y="17"/>
                      <a:pt x="41" y="17"/>
                    </a:cubicBezTo>
                    <a:cubicBezTo>
                      <a:pt x="43" y="18"/>
                      <a:pt x="43" y="18"/>
                      <a:pt x="43" y="18"/>
                    </a:cubicBezTo>
                    <a:cubicBezTo>
                      <a:pt x="43" y="19"/>
                      <a:pt x="43" y="19"/>
                      <a:pt x="43" y="19"/>
                    </a:cubicBezTo>
                    <a:cubicBezTo>
                      <a:pt x="45" y="21"/>
                      <a:pt x="45" y="21"/>
                      <a:pt x="45" y="21"/>
                    </a:cubicBezTo>
                    <a:cubicBezTo>
                      <a:pt x="48" y="23"/>
                      <a:pt x="48" y="23"/>
                      <a:pt x="48" y="23"/>
                    </a:cubicBezTo>
                    <a:cubicBezTo>
                      <a:pt x="51" y="23"/>
                      <a:pt x="51" y="23"/>
                      <a:pt x="51" y="23"/>
                    </a:cubicBezTo>
                    <a:cubicBezTo>
                      <a:pt x="56" y="29"/>
                      <a:pt x="56" y="29"/>
                      <a:pt x="56" y="29"/>
                    </a:cubicBezTo>
                    <a:cubicBezTo>
                      <a:pt x="56" y="33"/>
                      <a:pt x="56" y="33"/>
                      <a:pt x="56" y="33"/>
                    </a:cubicBezTo>
                    <a:cubicBezTo>
                      <a:pt x="56" y="38"/>
                      <a:pt x="56" y="38"/>
                      <a:pt x="56" y="38"/>
                    </a:cubicBezTo>
                    <a:cubicBezTo>
                      <a:pt x="58" y="41"/>
                      <a:pt x="58" y="41"/>
                      <a:pt x="58" y="41"/>
                    </a:cubicBezTo>
                    <a:cubicBezTo>
                      <a:pt x="61" y="43"/>
                      <a:pt x="61" y="43"/>
                      <a:pt x="61" y="43"/>
                    </a:cubicBezTo>
                    <a:cubicBezTo>
                      <a:pt x="62" y="45"/>
                      <a:pt x="62" y="45"/>
                      <a:pt x="62" y="45"/>
                    </a:cubicBezTo>
                    <a:cubicBezTo>
                      <a:pt x="62" y="49"/>
                      <a:pt x="62" y="49"/>
                      <a:pt x="62" y="49"/>
                    </a:cubicBezTo>
                    <a:cubicBezTo>
                      <a:pt x="63" y="51"/>
                      <a:pt x="63" y="51"/>
                      <a:pt x="63" y="51"/>
                    </a:cubicBezTo>
                    <a:cubicBezTo>
                      <a:pt x="62" y="54"/>
                      <a:pt x="62" y="54"/>
                      <a:pt x="62" y="54"/>
                    </a:cubicBezTo>
                    <a:cubicBezTo>
                      <a:pt x="61" y="57"/>
                      <a:pt x="61" y="57"/>
                      <a:pt x="61" y="57"/>
                    </a:cubicBezTo>
                    <a:cubicBezTo>
                      <a:pt x="58" y="60"/>
                      <a:pt x="58" y="60"/>
                      <a:pt x="58" y="60"/>
                    </a:cubicBezTo>
                    <a:cubicBezTo>
                      <a:pt x="56" y="62"/>
                      <a:pt x="56" y="62"/>
                      <a:pt x="56" y="62"/>
                    </a:cubicBezTo>
                    <a:cubicBezTo>
                      <a:pt x="52" y="65"/>
                      <a:pt x="52" y="65"/>
                      <a:pt x="52" y="65"/>
                    </a:cubicBezTo>
                    <a:cubicBezTo>
                      <a:pt x="49" y="65"/>
                      <a:pt x="49" y="65"/>
                      <a:pt x="49" y="65"/>
                    </a:cubicBezTo>
                    <a:cubicBezTo>
                      <a:pt x="46" y="65"/>
                      <a:pt x="46" y="65"/>
                      <a:pt x="46" y="65"/>
                    </a:cubicBezTo>
                    <a:cubicBezTo>
                      <a:pt x="42" y="67"/>
                      <a:pt x="42" y="67"/>
                      <a:pt x="42" y="67"/>
                    </a:cubicBezTo>
                    <a:cubicBezTo>
                      <a:pt x="39" y="68"/>
                      <a:pt x="39" y="68"/>
                      <a:pt x="39" y="68"/>
                    </a:cubicBezTo>
                    <a:cubicBezTo>
                      <a:pt x="38" y="73"/>
                      <a:pt x="38" y="73"/>
                      <a:pt x="38" y="73"/>
                    </a:cubicBezTo>
                    <a:cubicBezTo>
                      <a:pt x="39" y="80"/>
                      <a:pt x="39" y="80"/>
                      <a:pt x="39" y="80"/>
                    </a:cubicBezTo>
                    <a:cubicBezTo>
                      <a:pt x="42" y="85"/>
                      <a:pt x="42" y="85"/>
                      <a:pt x="42" y="85"/>
                    </a:cubicBezTo>
                    <a:cubicBezTo>
                      <a:pt x="42" y="89"/>
                      <a:pt x="42" y="89"/>
                      <a:pt x="42" y="89"/>
                    </a:cubicBezTo>
                    <a:cubicBezTo>
                      <a:pt x="43" y="95"/>
                      <a:pt x="43" y="95"/>
                      <a:pt x="43" y="95"/>
                    </a:cubicBezTo>
                    <a:cubicBezTo>
                      <a:pt x="42" y="94"/>
                      <a:pt x="42" y="94"/>
                      <a:pt x="41" y="94"/>
                    </a:cubicBezTo>
                    <a:cubicBezTo>
                      <a:pt x="41" y="93"/>
                      <a:pt x="41" y="91"/>
                      <a:pt x="41" y="90"/>
                    </a:cubicBezTo>
                    <a:cubicBezTo>
                      <a:pt x="40" y="90"/>
                      <a:pt x="39" y="90"/>
                      <a:pt x="38" y="90"/>
                    </a:cubicBezTo>
                    <a:cubicBezTo>
                      <a:pt x="36" y="87"/>
                      <a:pt x="36" y="84"/>
                      <a:pt x="34" y="82"/>
                    </a:cubicBezTo>
                    <a:cubicBezTo>
                      <a:pt x="33" y="82"/>
                      <a:pt x="31" y="82"/>
                      <a:pt x="29" y="82"/>
                    </a:cubicBezTo>
                    <a:cubicBezTo>
                      <a:pt x="27" y="75"/>
                      <a:pt x="29" y="75"/>
                      <a:pt x="21" y="74"/>
                    </a:cubicBezTo>
                    <a:cubicBezTo>
                      <a:pt x="20" y="76"/>
                      <a:pt x="21" y="75"/>
                      <a:pt x="19" y="76"/>
                    </a:cubicBezTo>
                    <a:cubicBezTo>
                      <a:pt x="21" y="81"/>
                      <a:pt x="18" y="82"/>
                      <a:pt x="19" y="88"/>
                    </a:cubicBezTo>
                    <a:cubicBezTo>
                      <a:pt x="19" y="88"/>
                      <a:pt x="20" y="89"/>
                      <a:pt x="20" y="90"/>
                    </a:cubicBezTo>
                    <a:cubicBezTo>
                      <a:pt x="20" y="91"/>
                      <a:pt x="18" y="92"/>
                      <a:pt x="18" y="93"/>
                    </a:cubicBezTo>
                    <a:cubicBezTo>
                      <a:pt x="17" y="96"/>
                      <a:pt x="18" y="100"/>
                      <a:pt x="17" y="103"/>
                    </a:cubicBezTo>
                    <a:cubicBezTo>
                      <a:pt x="16" y="105"/>
                      <a:pt x="16" y="105"/>
                      <a:pt x="16" y="105"/>
                    </a:cubicBezTo>
                    <a:cubicBezTo>
                      <a:pt x="15" y="107"/>
                      <a:pt x="13" y="116"/>
                      <a:pt x="14" y="119"/>
                    </a:cubicBezTo>
                    <a:cubicBezTo>
                      <a:pt x="14" y="121"/>
                      <a:pt x="17" y="120"/>
                      <a:pt x="17" y="121"/>
                    </a:cubicBezTo>
                    <a:cubicBezTo>
                      <a:pt x="18" y="123"/>
                      <a:pt x="18" y="127"/>
                      <a:pt x="19" y="128"/>
                    </a:cubicBezTo>
                    <a:cubicBezTo>
                      <a:pt x="20" y="128"/>
                      <a:pt x="20" y="127"/>
                      <a:pt x="21" y="127"/>
                    </a:cubicBezTo>
                    <a:cubicBezTo>
                      <a:pt x="22" y="132"/>
                      <a:pt x="22" y="138"/>
                      <a:pt x="26" y="140"/>
                    </a:cubicBezTo>
                    <a:cubicBezTo>
                      <a:pt x="27" y="141"/>
                      <a:pt x="29" y="140"/>
                      <a:pt x="31" y="141"/>
                    </a:cubicBezTo>
                    <a:cubicBezTo>
                      <a:pt x="31" y="141"/>
                      <a:pt x="31" y="143"/>
                      <a:pt x="31" y="144"/>
                    </a:cubicBezTo>
                    <a:cubicBezTo>
                      <a:pt x="32" y="145"/>
                      <a:pt x="34" y="146"/>
                      <a:pt x="35" y="147"/>
                    </a:cubicBezTo>
                    <a:cubicBezTo>
                      <a:pt x="36" y="149"/>
                      <a:pt x="36" y="150"/>
                      <a:pt x="37" y="151"/>
                    </a:cubicBezTo>
                    <a:cubicBezTo>
                      <a:pt x="35" y="153"/>
                      <a:pt x="35" y="153"/>
                      <a:pt x="35" y="153"/>
                    </a:cubicBezTo>
                    <a:cubicBezTo>
                      <a:pt x="34" y="157"/>
                      <a:pt x="34" y="157"/>
                      <a:pt x="34" y="157"/>
                    </a:cubicBezTo>
                    <a:cubicBezTo>
                      <a:pt x="32" y="157"/>
                      <a:pt x="32" y="157"/>
                      <a:pt x="32" y="157"/>
                    </a:cubicBezTo>
                    <a:cubicBezTo>
                      <a:pt x="31" y="159"/>
                      <a:pt x="31" y="159"/>
                      <a:pt x="31" y="159"/>
                    </a:cubicBezTo>
                    <a:cubicBezTo>
                      <a:pt x="29" y="159"/>
                      <a:pt x="29" y="159"/>
                      <a:pt x="29" y="159"/>
                    </a:cubicBezTo>
                    <a:cubicBezTo>
                      <a:pt x="29" y="155"/>
                      <a:pt x="29" y="155"/>
                      <a:pt x="29" y="155"/>
                    </a:cubicBezTo>
                    <a:cubicBezTo>
                      <a:pt x="24" y="152"/>
                      <a:pt x="24" y="152"/>
                      <a:pt x="24" y="152"/>
                    </a:cubicBezTo>
                    <a:cubicBezTo>
                      <a:pt x="21" y="154"/>
                      <a:pt x="21" y="154"/>
                      <a:pt x="21" y="154"/>
                    </a:cubicBezTo>
                    <a:cubicBezTo>
                      <a:pt x="20" y="150"/>
                      <a:pt x="21" y="147"/>
                      <a:pt x="20" y="144"/>
                    </a:cubicBezTo>
                    <a:cubicBezTo>
                      <a:pt x="20" y="144"/>
                      <a:pt x="18" y="143"/>
                      <a:pt x="18" y="143"/>
                    </a:cubicBezTo>
                    <a:cubicBezTo>
                      <a:pt x="17" y="141"/>
                      <a:pt x="18" y="140"/>
                      <a:pt x="17" y="139"/>
                    </a:cubicBezTo>
                    <a:cubicBezTo>
                      <a:pt x="17" y="138"/>
                      <a:pt x="15" y="137"/>
                      <a:pt x="15" y="137"/>
                    </a:cubicBezTo>
                    <a:cubicBezTo>
                      <a:pt x="12" y="133"/>
                      <a:pt x="7" y="129"/>
                      <a:pt x="6" y="123"/>
                    </a:cubicBezTo>
                    <a:cubicBezTo>
                      <a:pt x="6" y="120"/>
                      <a:pt x="7" y="116"/>
                      <a:pt x="8" y="114"/>
                    </a:cubicBezTo>
                    <a:cubicBezTo>
                      <a:pt x="8" y="114"/>
                      <a:pt x="10" y="113"/>
                      <a:pt x="10" y="113"/>
                    </a:cubicBezTo>
                    <a:cubicBezTo>
                      <a:pt x="11" y="109"/>
                      <a:pt x="7" y="109"/>
                      <a:pt x="8" y="105"/>
                    </a:cubicBezTo>
                    <a:cubicBezTo>
                      <a:pt x="8" y="105"/>
                      <a:pt x="10" y="102"/>
                      <a:pt x="11" y="102"/>
                    </a:cubicBezTo>
                    <a:cubicBezTo>
                      <a:pt x="11" y="101"/>
                      <a:pt x="11" y="99"/>
                      <a:pt x="10" y="98"/>
                    </a:cubicBezTo>
                    <a:cubicBezTo>
                      <a:pt x="11" y="98"/>
                      <a:pt x="11" y="98"/>
                      <a:pt x="11" y="98"/>
                    </a:cubicBezTo>
                    <a:cubicBezTo>
                      <a:pt x="12" y="95"/>
                      <a:pt x="12" y="95"/>
                      <a:pt x="12" y="95"/>
                    </a:cubicBezTo>
                    <a:cubicBezTo>
                      <a:pt x="13" y="89"/>
                      <a:pt x="13" y="89"/>
                      <a:pt x="13" y="89"/>
                    </a:cubicBezTo>
                    <a:cubicBezTo>
                      <a:pt x="17" y="85"/>
                      <a:pt x="17" y="85"/>
                      <a:pt x="17" y="85"/>
                    </a:cubicBezTo>
                    <a:cubicBezTo>
                      <a:pt x="17" y="79"/>
                      <a:pt x="17" y="79"/>
                      <a:pt x="17" y="79"/>
                    </a:cubicBezTo>
                    <a:cubicBezTo>
                      <a:pt x="14" y="73"/>
                      <a:pt x="14" y="73"/>
                      <a:pt x="14" y="73"/>
                    </a:cubicBezTo>
                    <a:cubicBezTo>
                      <a:pt x="9" y="68"/>
                      <a:pt x="9" y="68"/>
                      <a:pt x="9" y="68"/>
                    </a:cubicBezTo>
                    <a:cubicBezTo>
                      <a:pt x="6" y="60"/>
                      <a:pt x="6" y="60"/>
                      <a:pt x="6" y="60"/>
                    </a:cubicBezTo>
                    <a:cubicBezTo>
                      <a:pt x="5" y="52"/>
                      <a:pt x="5" y="52"/>
                      <a:pt x="5" y="52"/>
                    </a:cubicBezTo>
                    <a:cubicBezTo>
                      <a:pt x="9" y="50"/>
                      <a:pt x="9" y="50"/>
                      <a:pt x="9" y="50"/>
                    </a:cubicBezTo>
                    <a:cubicBezTo>
                      <a:pt x="9" y="45"/>
                      <a:pt x="9" y="45"/>
                      <a:pt x="9" y="45"/>
                    </a:cubicBezTo>
                    <a:cubicBezTo>
                      <a:pt x="5" y="42"/>
                      <a:pt x="5" y="42"/>
                      <a:pt x="5" y="42"/>
                    </a:cubicBezTo>
                    <a:cubicBezTo>
                      <a:pt x="1" y="37"/>
                      <a:pt x="1" y="37"/>
                      <a:pt x="1" y="37"/>
                    </a:cubicBezTo>
                    <a:cubicBezTo>
                      <a:pt x="0" y="29"/>
                      <a:pt x="0" y="29"/>
                      <a:pt x="0" y="29"/>
                    </a:cubicBezTo>
                    <a:cubicBezTo>
                      <a:pt x="1" y="23"/>
                      <a:pt x="1" y="23"/>
                      <a:pt x="1" y="23"/>
                    </a:cubicBezTo>
                    <a:cubicBezTo>
                      <a:pt x="2" y="19"/>
                      <a:pt x="2" y="19"/>
                      <a:pt x="2" y="19"/>
                    </a:cubicBezTo>
                    <a:cubicBezTo>
                      <a:pt x="0" y="14"/>
                      <a:pt x="0" y="14"/>
                      <a:pt x="0" y="14"/>
                    </a:cubicBezTo>
                    <a:cubicBezTo>
                      <a:pt x="1" y="11"/>
                      <a:pt x="1" y="11"/>
                      <a:pt x="1" y="11"/>
                    </a:cubicBezTo>
                    <a:cubicBezTo>
                      <a:pt x="4" y="10"/>
                      <a:pt x="4" y="10"/>
                      <a:pt x="4" y="10"/>
                    </a:cubicBezTo>
                    <a:cubicBezTo>
                      <a:pt x="7" y="7"/>
                      <a:pt x="7" y="7"/>
                      <a:pt x="7" y="7"/>
                    </a:cubicBezTo>
                    <a:cubicBezTo>
                      <a:pt x="10" y="7"/>
                      <a:pt x="10" y="7"/>
                      <a:pt x="10" y="7"/>
                    </a:cubicBezTo>
                    <a:cubicBezTo>
                      <a:pt x="9" y="4"/>
                      <a:pt x="9" y="4"/>
                      <a:pt x="9" y="4"/>
                    </a:cubicBezTo>
                    <a:cubicBezTo>
                      <a:pt x="11" y="0"/>
                      <a:pt x="11" y="0"/>
                      <a:pt x="11" y="0"/>
                    </a:cubicBezTo>
                    <a:cubicBezTo>
                      <a:pt x="13" y="0"/>
                      <a:pt x="13" y="0"/>
                      <a:pt x="13" y="0"/>
                    </a:cubicBezTo>
                    <a:cubicBezTo>
                      <a:pt x="16" y="2"/>
                      <a:pt x="16" y="2"/>
                      <a:pt x="16" y="2"/>
                    </a:cubicBezTo>
                    <a:lnTo>
                      <a:pt x="22" y="2"/>
                    </a:lnTo>
                    <a:close/>
                    <a:moveTo>
                      <a:pt x="15" y="15"/>
                    </a:moveTo>
                    <a:cubicBezTo>
                      <a:pt x="17" y="15"/>
                      <a:pt x="15" y="18"/>
                      <a:pt x="15" y="18"/>
                    </a:cubicBezTo>
                    <a:cubicBezTo>
                      <a:pt x="13" y="18"/>
                      <a:pt x="13" y="15"/>
                      <a:pt x="15" y="1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70" name="Freeform 49">
                <a:extLst>
                  <a:ext uri="{FF2B5EF4-FFF2-40B4-BE49-F238E27FC236}">
                    <a16:creationId xmlns:a16="http://schemas.microsoft.com/office/drawing/2014/main" id="{A77F1B32-6059-DECE-326C-A52D20AF59BE}"/>
                  </a:ext>
                </a:extLst>
              </p:cNvPr>
              <p:cNvSpPr>
                <a:spLocks noEditPoints="1"/>
              </p:cNvSpPr>
              <p:nvPr/>
            </p:nvSpPr>
            <p:spPr bwMode="auto">
              <a:xfrm>
                <a:off x="3617" y="2292"/>
                <a:ext cx="185" cy="220"/>
              </a:xfrm>
              <a:custGeom>
                <a:avLst/>
                <a:gdLst>
                  <a:gd name="T0" fmla="*/ 83 w 94"/>
                  <a:gd name="T1" fmla="*/ 35 h 112"/>
                  <a:gd name="T2" fmla="*/ 83 w 94"/>
                  <a:gd name="T3" fmla="*/ 37 h 112"/>
                  <a:gd name="T4" fmla="*/ 79 w 94"/>
                  <a:gd name="T5" fmla="*/ 46 h 112"/>
                  <a:gd name="T6" fmla="*/ 80 w 94"/>
                  <a:gd name="T7" fmla="*/ 52 h 112"/>
                  <a:gd name="T8" fmla="*/ 85 w 94"/>
                  <a:gd name="T9" fmla="*/ 65 h 112"/>
                  <a:gd name="T10" fmla="*/ 87 w 94"/>
                  <a:gd name="T11" fmla="*/ 88 h 112"/>
                  <a:gd name="T12" fmla="*/ 92 w 94"/>
                  <a:gd name="T13" fmla="*/ 94 h 112"/>
                  <a:gd name="T14" fmla="*/ 93 w 94"/>
                  <a:gd name="T15" fmla="*/ 98 h 112"/>
                  <a:gd name="T16" fmla="*/ 78 w 94"/>
                  <a:gd name="T17" fmla="*/ 104 h 112"/>
                  <a:gd name="T18" fmla="*/ 71 w 94"/>
                  <a:gd name="T19" fmla="*/ 107 h 112"/>
                  <a:gd name="T20" fmla="*/ 61 w 94"/>
                  <a:gd name="T21" fmla="*/ 110 h 112"/>
                  <a:gd name="T22" fmla="*/ 50 w 94"/>
                  <a:gd name="T23" fmla="*/ 108 h 112"/>
                  <a:gd name="T24" fmla="*/ 43 w 94"/>
                  <a:gd name="T25" fmla="*/ 110 h 112"/>
                  <a:gd name="T26" fmla="*/ 43 w 94"/>
                  <a:gd name="T27" fmla="*/ 89 h 112"/>
                  <a:gd name="T28" fmla="*/ 38 w 94"/>
                  <a:gd name="T29" fmla="*/ 84 h 112"/>
                  <a:gd name="T30" fmla="*/ 29 w 94"/>
                  <a:gd name="T31" fmla="*/ 83 h 112"/>
                  <a:gd name="T32" fmla="*/ 20 w 94"/>
                  <a:gd name="T33" fmla="*/ 78 h 112"/>
                  <a:gd name="T34" fmla="*/ 18 w 94"/>
                  <a:gd name="T35" fmla="*/ 71 h 112"/>
                  <a:gd name="T36" fmla="*/ 15 w 94"/>
                  <a:gd name="T37" fmla="*/ 68 h 112"/>
                  <a:gd name="T38" fmla="*/ 12 w 94"/>
                  <a:gd name="T39" fmla="*/ 63 h 112"/>
                  <a:gd name="T40" fmla="*/ 11 w 94"/>
                  <a:gd name="T41" fmla="*/ 55 h 112"/>
                  <a:gd name="T42" fmla="*/ 1 w 94"/>
                  <a:gd name="T43" fmla="*/ 39 h 112"/>
                  <a:gd name="T44" fmla="*/ 1 w 94"/>
                  <a:gd name="T45" fmla="*/ 37 h 112"/>
                  <a:gd name="T46" fmla="*/ 1 w 94"/>
                  <a:gd name="T47" fmla="*/ 33 h 112"/>
                  <a:gd name="T48" fmla="*/ 9 w 94"/>
                  <a:gd name="T49" fmla="*/ 32 h 112"/>
                  <a:gd name="T50" fmla="*/ 13 w 94"/>
                  <a:gd name="T51" fmla="*/ 24 h 112"/>
                  <a:gd name="T52" fmla="*/ 12 w 94"/>
                  <a:gd name="T53" fmla="*/ 19 h 112"/>
                  <a:gd name="T54" fmla="*/ 12 w 94"/>
                  <a:gd name="T55" fmla="*/ 10 h 112"/>
                  <a:gd name="T56" fmla="*/ 10 w 94"/>
                  <a:gd name="T57" fmla="*/ 0 h 112"/>
                  <a:gd name="T58" fmla="*/ 19 w 94"/>
                  <a:gd name="T59" fmla="*/ 7 h 112"/>
                  <a:gd name="T60" fmla="*/ 26 w 94"/>
                  <a:gd name="T61" fmla="*/ 16 h 112"/>
                  <a:gd name="T62" fmla="*/ 28 w 94"/>
                  <a:gd name="T63" fmla="*/ 13 h 112"/>
                  <a:gd name="T64" fmla="*/ 28 w 94"/>
                  <a:gd name="T65" fmla="*/ 10 h 112"/>
                  <a:gd name="T66" fmla="*/ 36 w 94"/>
                  <a:gd name="T67" fmla="*/ 17 h 112"/>
                  <a:gd name="T68" fmla="*/ 43 w 94"/>
                  <a:gd name="T69" fmla="*/ 11 h 112"/>
                  <a:gd name="T70" fmla="*/ 44 w 94"/>
                  <a:gd name="T71" fmla="*/ 8 h 112"/>
                  <a:gd name="T72" fmla="*/ 40 w 94"/>
                  <a:gd name="T73" fmla="*/ 7 h 112"/>
                  <a:gd name="T74" fmla="*/ 38 w 94"/>
                  <a:gd name="T75" fmla="*/ 5 h 112"/>
                  <a:gd name="T76" fmla="*/ 68 w 94"/>
                  <a:gd name="T77" fmla="*/ 13 h 112"/>
                  <a:gd name="T78" fmla="*/ 72 w 94"/>
                  <a:gd name="T79" fmla="*/ 22 h 112"/>
                  <a:gd name="T80" fmla="*/ 85 w 94"/>
                  <a:gd name="T81" fmla="*/ 30 h 112"/>
                  <a:gd name="T82" fmla="*/ 33 w 94"/>
                  <a:gd name="T83" fmla="*/ 67 h 112"/>
                  <a:gd name="T84" fmla="*/ 29 w 94"/>
                  <a:gd name="T85" fmla="*/ 63 h 112"/>
                  <a:gd name="T86" fmla="*/ 84 w 94"/>
                  <a:gd name="T87" fmla="*/ 50 h 112"/>
                  <a:gd name="T88" fmla="*/ 84 w 94"/>
                  <a:gd name="T89" fmla="*/ 47 h 112"/>
                  <a:gd name="T90" fmla="*/ 47 w 94"/>
                  <a:gd name="T91" fmla="*/ 27 h 112"/>
                  <a:gd name="T92" fmla="*/ 33 w 94"/>
                  <a:gd name="T93" fmla="*/ 4 h 112"/>
                  <a:gd name="T94" fmla="*/ 37 w 94"/>
                  <a:gd name="T95" fmla="*/ 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12">
                    <a:moveTo>
                      <a:pt x="85" y="30"/>
                    </a:moveTo>
                    <a:cubicBezTo>
                      <a:pt x="84" y="32"/>
                      <a:pt x="84" y="33"/>
                      <a:pt x="83" y="35"/>
                    </a:cubicBezTo>
                    <a:cubicBezTo>
                      <a:pt x="82" y="35"/>
                      <a:pt x="82" y="35"/>
                      <a:pt x="82" y="35"/>
                    </a:cubicBezTo>
                    <a:cubicBezTo>
                      <a:pt x="82" y="36"/>
                      <a:pt x="83" y="37"/>
                      <a:pt x="83" y="37"/>
                    </a:cubicBezTo>
                    <a:cubicBezTo>
                      <a:pt x="81" y="38"/>
                      <a:pt x="81" y="42"/>
                      <a:pt x="81" y="44"/>
                    </a:cubicBezTo>
                    <a:cubicBezTo>
                      <a:pt x="80" y="44"/>
                      <a:pt x="79" y="46"/>
                      <a:pt x="79" y="46"/>
                    </a:cubicBezTo>
                    <a:cubicBezTo>
                      <a:pt x="79" y="47"/>
                      <a:pt x="79" y="47"/>
                      <a:pt x="79" y="47"/>
                    </a:cubicBezTo>
                    <a:cubicBezTo>
                      <a:pt x="80" y="47"/>
                      <a:pt x="79" y="50"/>
                      <a:pt x="80" y="52"/>
                    </a:cubicBezTo>
                    <a:cubicBezTo>
                      <a:pt x="81" y="53"/>
                      <a:pt x="86" y="57"/>
                      <a:pt x="87" y="59"/>
                    </a:cubicBezTo>
                    <a:cubicBezTo>
                      <a:pt x="87" y="61"/>
                      <a:pt x="85" y="64"/>
                      <a:pt x="85" y="65"/>
                    </a:cubicBezTo>
                    <a:cubicBezTo>
                      <a:pt x="83" y="70"/>
                      <a:pt x="84" y="74"/>
                      <a:pt x="85" y="79"/>
                    </a:cubicBezTo>
                    <a:cubicBezTo>
                      <a:pt x="85" y="81"/>
                      <a:pt x="85" y="86"/>
                      <a:pt x="87" y="88"/>
                    </a:cubicBezTo>
                    <a:cubicBezTo>
                      <a:pt x="87" y="89"/>
                      <a:pt x="91" y="90"/>
                      <a:pt x="92" y="92"/>
                    </a:cubicBezTo>
                    <a:cubicBezTo>
                      <a:pt x="92" y="92"/>
                      <a:pt x="92" y="94"/>
                      <a:pt x="92" y="94"/>
                    </a:cubicBezTo>
                    <a:cubicBezTo>
                      <a:pt x="93" y="94"/>
                      <a:pt x="93" y="94"/>
                      <a:pt x="93" y="94"/>
                    </a:cubicBezTo>
                    <a:cubicBezTo>
                      <a:pt x="94" y="95"/>
                      <a:pt x="93" y="96"/>
                      <a:pt x="93" y="98"/>
                    </a:cubicBezTo>
                    <a:cubicBezTo>
                      <a:pt x="93" y="98"/>
                      <a:pt x="87" y="101"/>
                      <a:pt x="85" y="102"/>
                    </a:cubicBezTo>
                    <a:cubicBezTo>
                      <a:pt x="83" y="103"/>
                      <a:pt x="81" y="103"/>
                      <a:pt x="78" y="104"/>
                    </a:cubicBezTo>
                    <a:cubicBezTo>
                      <a:pt x="76" y="104"/>
                      <a:pt x="76" y="106"/>
                      <a:pt x="74" y="107"/>
                    </a:cubicBezTo>
                    <a:cubicBezTo>
                      <a:pt x="72" y="107"/>
                      <a:pt x="72" y="108"/>
                      <a:pt x="71" y="107"/>
                    </a:cubicBezTo>
                    <a:cubicBezTo>
                      <a:pt x="69" y="106"/>
                      <a:pt x="69" y="108"/>
                      <a:pt x="67" y="109"/>
                    </a:cubicBezTo>
                    <a:cubicBezTo>
                      <a:pt x="65" y="110"/>
                      <a:pt x="63" y="110"/>
                      <a:pt x="61" y="110"/>
                    </a:cubicBezTo>
                    <a:cubicBezTo>
                      <a:pt x="58" y="110"/>
                      <a:pt x="57" y="111"/>
                      <a:pt x="54" y="111"/>
                    </a:cubicBezTo>
                    <a:cubicBezTo>
                      <a:pt x="52" y="112"/>
                      <a:pt x="52" y="108"/>
                      <a:pt x="50" y="108"/>
                    </a:cubicBezTo>
                    <a:cubicBezTo>
                      <a:pt x="48" y="107"/>
                      <a:pt x="49" y="107"/>
                      <a:pt x="47" y="109"/>
                    </a:cubicBezTo>
                    <a:cubicBezTo>
                      <a:pt x="44" y="110"/>
                      <a:pt x="43" y="110"/>
                      <a:pt x="43" y="110"/>
                    </a:cubicBezTo>
                    <a:cubicBezTo>
                      <a:pt x="43" y="108"/>
                      <a:pt x="43" y="108"/>
                      <a:pt x="43" y="107"/>
                    </a:cubicBezTo>
                    <a:cubicBezTo>
                      <a:pt x="44" y="100"/>
                      <a:pt x="43" y="95"/>
                      <a:pt x="43" y="89"/>
                    </a:cubicBezTo>
                    <a:cubicBezTo>
                      <a:pt x="43" y="88"/>
                      <a:pt x="41" y="87"/>
                      <a:pt x="40" y="87"/>
                    </a:cubicBezTo>
                    <a:cubicBezTo>
                      <a:pt x="39" y="86"/>
                      <a:pt x="40" y="84"/>
                      <a:pt x="38" y="84"/>
                    </a:cubicBezTo>
                    <a:cubicBezTo>
                      <a:pt x="37" y="84"/>
                      <a:pt x="37" y="84"/>
                      <a:pt x="37" y="84"/>
                    </a:cubicBezTo>
                    <a:cubicBezTo>
                      <a:pt x="29" y="83"/>
                      <a:pt x="29" y="83"/>
                      <a:pt x="29" y="83"/>
                    </a:cubicBezTo>
                    <a:cubicBezTo>
                      <a:pt x="29" y="83"/>
                      <a:pt x="25" y="82"/>
                      <a:pt x="24" y="81"/>
                    </a:cubicBezTo>
                    <a:cubicBezTo>
                      <a:pt x="22" y="80"/>
                      <a:pt x="21" y="78"/>
                      <a:pt x="20" y="78"/>
                    </a:cubicBezTo>
                    <a:cubicBezTo>
                      <a:pt x="19" y="78"/>
                      <a:pt x="19" y="74"/>
                      <a:pt x="19" y="74"/>
                    </a:cubicBezTo>
                    <a:cubicBezTo>
                      <a:pt x="19" y="73"/>
                      <a:pt x="18" y="72"/>
                      <a:pt x="18" y="71"/>
                    </a:cubicBezTo>
                    <a:cubicBezTo>
                      <a:pt x="17" y="71"/>
                      <a:pt x="16" y="71"/>
                      <a:pt x="15" y="71"/>
                    </a:cubicBezTo>
                    <a:cubicBezTo>
                      <a:pt x="15" y="70"/>
                      <a:pt x="16" y="69"/>
                      <a:pt x="15" y="68"/>
                    </a:cubicBezTo>
                    <a:cubicBezTo>
                      <a:pt x="15" y="68"/>
                      <a:pt x="14" y="67"/>
                      <a:pt x="13" y="67"/>
                    </a:cubicBezTo>
                    <a:cubicBezTo>
                      <a:pt x="13" y="66"/>
                      <a:pt x="13" y="64"/>
                      <a:pt x="12" y="63"/>
                    </a:cubicBezTo>
                    <a:cubicBezTo>
                      <a:pt x="12" y="63"/>
                      <a:pt x="9" y="62"/>
                      <a:pt x="9" y="62"/>
                    </a:cubicBezTo>
                    <a:cubicBezTo>
                      <a:pt x="9" y="59"/>
                      <a:pt x="10" y="56"/>
                      <a:pt x="11" y="55"/>
                    </a:cubicBezTo>
                    <a:cubicBezTo>
                      <a:pt x="6" y="52"/>
                      <a:pt x="6" y="50"/>
                      <a:pt x="1" y="47"/>
                    </a:cubicBezTo>
                    <a:cubicBezTo>
                      <a:pt x="1" y="43"/>
                      <a:pt x="2" y="37"/>
                      <a:pt x="1" y="39"/>
                    </a:cubicBezTo>
                    <a:cubicBezTo>
                      <a:pt x="0" y="39"/>
                      <a:pt x="3" y="38"/>
                      <a:pt x="1" y="39"/>
                    </a:cubicBezTo>
                    <a:cubicBezTo>
                      <a:pt x="1" y="39"/>
                      <a:pt x="1" y="36"/>
                      <a:pt x="1" y="37"/>
                    </a:cubicBezTo>
                    <a:cubicBezTo>
                      <a:pt x="1" y="37"/>
                      <a:pt x="2" y="35"/>
                      <a:pt x="2" y="35"/>
                    </a:cubicBezTo>
                    <a:cubicBezTo>
                      <a:pt x="1" y="36"/>
                      <a:pt x="1" y="34"/>
                      <a:pt x="1" y="33"/>
                    </a:cubicBezTo>
                    <a:cubicBezTo>
                      <a:pt x="2" y="33"/>
                      <a:pt x="4" y="33"/>
                      <a:pt x="4" y="33"/>
                    </a:cubicBezTo>
                    <a:cubicBezTo>
                      <a:pt x="6" y="33"/>
                      <a:pt x="9" y="32"/>
                      <a:pt x="9" y="32"/>
                    </a:cubicBezTo>
                    <a:cubicBezTo>
                      <a:pt x="10" y="27"/>
                      <a:pt x="10" y="27"/>
                      <a:pt x="10" y="27"/>
                    </a:cubicBezTo>
                    <a:cubicBezTo>
                      <a:pt x="10" y="27"/>
                      <a:pt x="12" y="25"/>
                      <a:pt x="13" y="24"/>
                    </a:cubicBezTo>
                    <a:cubicBezTo>
                      <a:pt x="15" y="22"/>
                      <a:pt x="15" y="20"/>
                      <a:pt x="15" y="20"/>
                    </a:cubicBezTo>
                    <a:cubicBezTo>
                      <a:pt x="15" y="20"/>
                      <a:pt x="15" y="21"/>
                      <a:pt x="12" y="19"/>
                    </a:cubicBezTo>
                    <a:cubicBezTo>
                      <a:pt x="10" y="18"/>
                      <a:pt x="12" y="13"/>
                      <a:pt x="12" y="13"/>
                    </a:cubicBezTo>
                    <a:cubicBezTo>
                      <a:pt x="12" y="13"/>
                      <a:pt x="12" y="13"/>
                      <a:pt x="12" y="10"/>
                    </a:cubicBezTo>
                    <a:cubicBezTo>
                      <a:pt x="12" y="8"/>
                      <a:pt x="12" y="5"/>
                      <a:pt x="12" y="5"/>
                    </a:cubicBezTo>
                    <a:cubicBezTo>
                      <a:pt x="10" y="0"/>
                      <a:pt x="10" y="0"/>
                      <a:pt x="10" y="0"/>
                    </a:cubicBezTo>
                    <a:cubicBezTo>
                      <a:pt x="21" y="0"/>
                      <a:pt x="21" y="0"/>
                      <a:pt x="21" y="0"/>
                    </a:cubicBezTo>
                    <a:cubicBezTo>
                      <a:pt x="20" y="2"/>
                      <a:pt x="19" y="6"/>
                      <a:pt x="19" y="7"/>
                    </a:cubicBezTo>
                    <a:cubicBezTo>
                      <a:pt x="19" y="9"/>
                      <a:pt x="21" y="13"/>
                      <a:pt x="21" y="13"/>
                    </a:cubicBezTo>
                    <a:cubicBezTo>
                      <a:pt x="22" y="15"/>
                      <a:pt x="23" y="17"/>
                      <a:pt x="26" y="16"/>
                    </a:cubicBezTo>
                    <a:cubicBezTo>
                      <a:pt x="26" y="16"/>
                      <a:pt x="25" y="14"/>
                      <a:pt x="25" y="13"/>
                    </a:cubicBezTo>
                    <a:cubicBezTo>
                      <a:pt x="26" y="13"/>
                      <a:pt x="27" y="13"/>
                      <a:pt x="28" y="13"/>
                    </a:cubicBezTo>
                    <a:cubicBezTo>
                      <a:pt x="28" y="13"/>
                      <a:pt x="28" y="12"/>
                      <a:pt x="29" y="11"/>
                    </a:cubicBezTo>
                    <a:cubicBezTo>
                      <a:pt x="29" y="11"/>
                      <a:pt x="27" y="10"/>
                      <a:pt x="28" y="10"/>
                    </a:cubicBezTo>
                    <a:cubicBezTo>
                      <a:pt x="30" y="10"/>
                      <a:pt x="34" y="12"/>
                      <a:pt x="36" y="13"/>
                    </a:cubicBezTo>
                    <a:cubicBezTo>
                      <a:pt x="36" y="14"/>
                      <a:pt x="36" y="16"/>
                      <a:pt x="36" y="17"/>
                    </a:cubicBezTo>
                    <a:cubicBezTo>
                      <a:pt x="36" y="17"/>
                      <a:pt x="38" y="18"/>
                      <a:pt x="38" y="18"/>
                    </a:cubicBezTo>
                    <a:cubicBezTo>
                      <a:pt x="37" y="12"/>
                      <a:pt x="36" y="11"/>
                      <a:pt x="43" y="11"/>
                    </a:cubicBezTo>
                    <a:cubicBezTo>
                      <a:pt x="44" y="10"/>
                      <a:pt x="43" y="9"/>
                      <a:pt x="44" y="9"/>
                    </a:cubicBezTo>
                    <a:cubicBezTo>
                      <a:pt x="44" y="8"/>
                      <a:pt x="44" y="8"/>
                      <a:pt x="44" y="8"/>
                    </a:cubicBezTo>
                    <a:cubicBezTo>
                      <a:pt x="43" y="8"/>
                      <a:pt x="42" y="8"/>
                      <a:pt x="41" y="8"/>
                    </a:cubicBezTo>
                    <a:cubicBezTo>
                      <a:pt x="41" y="8"/>
                      <a:pt x="40" y="7"/>
                      <a:pt x="40" y="7"/>
                    </a:cubicBezTo>
                    <a:cubicBezTo>
                      <a:pt x="41" y="7"/>
                      <a:pt x="41" y="6"/>
                      <a:pt x="41" y="5"/>
                    </a:cubicBezTo>
                    <a:cubicBezTo>
                      <a:pt x="40" y="5"/>
                      <a:pt x="39" y="5"/>
                      <a:pt x="38" y="5"/>
                    </a:cubicBezTo>
                    <a:cubicBezTo>
                      <a:pt x="41" y="3"/>
                      <a:pt x="41" y="2"/>
                      <a:pt x="41" y="1"/>
                    </a:cubicBezTo>
                    <a:cubicBezTo>
                      <a:pt x="68" y="13"/>
                      <a:pt x="68" y="13"/>
                      <a:pt x="68" y="13"/>
                    </a:cubicBezTo>
                    <a:cubicBezTo>
                      <a:pt x="68" y="13"/>
                      <a:pt x="70" y="15"/>
                      <a:pt x="70" y="17"/>
                    </a:cubicBezTo>
                    <a:cubicBezTo>
                      <a:pt x="69" y="20"/>
                      <a:pt x="69" y="22"/>
                      <a:pt x="72" y="22"/>
                    </a:cubicBezTo>
                    <a:cubicBezTo>
                      <a:pt x="74" y="22"/>
                      <a:pt x="74" y="24"/>
                      <a:pt x="74" y="24"/>
                    </a:cubicBezTo>
                    <a:lnTo>
                      <a:pt x="85" y="30"/>
                    </a:lnTo>
                    <a:close/>
                    <a:moveTo>
                      <a:pt x="29" y="63"/>
                    </a:moveTo>
                    <a:cubicBezTo>
                      <a:pt x="31" y="64"/>
                      <a:pt x="32" y="66"/>
                      <a:pt x="33" y="67"/>
                    </a:cubicBezTo>
                    <a:cubicBezTo>
                      <a:pt x="32" y="67"/>
                      <a:pt x="31" y="67"/>
                      <a:pt x="30" y="67"/>
                    </a:cubicBezTo>
                    <a:cubicBezTo>
                      <a:pt x="30" y="67"/>
                      <a:pt x="26" y="63"/>
                      <a:pt x="29" y="63"/>
                    </a:cubicBezTo>
                    <a:close/>
                    <a:moveTo>
                      <a:pt x="84" y="47"/>
                    </a:moveTo>
                    <a:cubicBezTo>
                      <a:pt x="84" y="49"/>
                      <a:pt x="83" y="48"/>
                      <a:pt x="84" y="50"/>
                    </a:cubicBezTo>
                    <a:cubicBezTo>
                      <a:pt x="85" y="55"/>
                      <a:pt x="87" y="50"/>
                      <a:pt x="87" y="50"/>
                    </a:cubicBezTo>
                    <a:cubicBezTo>
                      <a:pt x="86" y="49"/>
                      <a:pt x="84" y="48"/>
                      <a:pt x="84" y="47"/>
                    </a:cubicBezTo>
                    <a:close/>
                    <a:moveTo>
                      <a:pt x="47" y="24"/>
                    </a:moveTo>
                    <a:cubicBezTo>
                      <a:pt x="50" y="23"/>
                      <a:pt x="47" y="27"/>
                      <a:pt x="47" y="27"/>
                    </a:cubicBezTo>
                    <a:cubicBezTo>
                      <a:pt x="43" y="29"/>
                      <a:pt x="46" y="25"/>
                      <a:pt x="47" y="24"/>
                    </a:cubicBezTo>
                    <a:close/>
                    <a:moveTo>
                      <a:pt x="33" y="4"/>
                    </a:moveTo>
                    <a:cubicBezTo>
                      <a:pt x="33" y="4"/>
                      <a:pt x="33" y="6"/>
                      <a:pt x="35" y="7"/>
                    </a:cubicBezTo>
                    <a:cubicBezTo>
                      <a:pt x="38" y="8"/>
                      <a:pt x="37" y="5"/>
                      <a:pt x="37" y="5"/>
                    </a:cubicBezTo>
                    <a:cubicBezTo>
                      <a:pt x="35" y="4"/>
                      <a:pt x="34" y="5"/>
                      <a:pt x="33" y="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71" name="Freeform 50">
                <a:extLst>
                  <a:ext uri="{FF2B5EF4-FFF2-40B4-BE49-F238E27FC236}">
                    <a16:creationId xmlns:a16="http://schemas.microsoft.com/office/drawing/2014/main" id="{9659ADDB-029C-30CE-0127-EA8A65FEE946}"/>
                  </a:ext>
                </a:extLst>
              </p:cNvPr>
              <p:cNvSpPr>
                <a:spLocks noEditPoints="1"/>
              </p:cNvSpPr>
              <p:nvPr/>
            </p:nvSpPr>
            <p:spPr bwMode="auto">
              <a:xfrm>
                <a:off x="3617" y="2292"/>
                <a:ext cx="185" cy="220"/>
              </a:xfrm>
              <a:custGeom>
                <a:avLst/>
                <a:gdLst>
                  <a:gd name="T0" fmla="*/ 83 w 94"/>
                  <a:gd name="T1" fmla="*/ 35 h 112"/>
                  <a:gd name="T2" fmla="*/ 83 w 94"/>
                  <a:gd name="T3" fmla="*/ 37 h 112"/>
                  <a:gd name="T4" fmla="*/ 79 w 94"/>
                  <a:gd name="T5" fmla="*/ 46 h 112"/>
                  <a:gd name="T6" fmla="*/ 80 w 94"/>
                  <a:gd name="T7" fmla="*/ 52 h 112"/>
                  <a:gd name="T8" fmla="*/ 85 w 94"/>
                  <a:gd name="T9" fmla="*/ 65 h 112"/>
                  <a:gd name="T10" fmla="*/ 87 w 94"/>
                  <a:gd name="T11" fmla="*/ 88 h 112"/>
                  <a:gd name="T12" fmla="*/ 92 w 94"/>
                  <a:gd name="T13" fmla="*/ 94 h 112"/>
                  <a:gd name="T14" fmla="*/ 93 w 94"/>
                  <a:gd name="T15" fmla="*/ 98 h 112"/>
                  <a:gd name="T16" fmla="*/ 78 w 94"/>
                  <a:gd name="T17" fmla="*/ 104 h 112"/>
                  <a:gd name="T18" fmla="*/ 71 w 94"/>
                  <a:gd name="T19" fmla="*/ 107 h 112"/>
                  <a:gd name="T20" fmla="*/ 61 w 94"/>
                  <a:gd name="T21" fmla="*/ 110 h 112"/>
                  <a:gd name="T22" fmla="*/ 50 w 94"/>
                  <a:gd name="T23" fmla="*/ 108 h 112"/>
                  <a:gd name="T24" fmla="*/ 43 w 94"/>
                  <a:gd name="T25" fmla="*/ 110 h 112"/>
                  <a:gd name="T26" fmla="*/ 43 w 94"/>
                  <a:gd name="T27" fmla="*/ 89 h 112"/>
                  <a:gd name="T28" fmla="*/ 38 w 94"/>
                  <a:gd name="T29" fmla="*/ 84 h 112"/>
                  <a:gd name="T30" fmla="*/ 29 w 94"/>
                  <a:gd name="T31" fmla="*/ 83 h 112"/>
                  <a:gd name="T32" fmla="*/ 20 w 94"/>
                  <a:gd name="T33" fmla="*/ 78 h 112"/>
                  <a:gd name="T34" fmla="*/ 18 w 94"/>
                  <a:gd name="T35" fmla="*/ 71 h 112"/>
                  <a:gd name="T36" fmla="*/ 15 w 94"/>
                  <a:gd name="T37" fmla="*/ 68 h 112"/>
                  <a:gd name="T38" fmla="*/ 12 w 94"/>
                  <a:gd name="T39" fmla="*/ 63 h 112"/>
                  <a:gd name="T40" fmla="*/ 11 w 94"/>
                  <a:gd name="T41" fmla="*/ 55 h 112"/>
                  <a:gd name="T42" fmla="*/ 1 w 94"/>
                  <a:gd name="T43" fmla="*/ 39 h 112"/>
                  <a:gd name="T44" fmla="*/ 1 w 94"/>
                  <a:gd name="T45" fmla="*/ 37 h 112"/>
                  <a:gd name="T46" fmla="*/ 1 w 94"/>
                  <a:gd name="T47" fmla="*/ 33 h 112"/>
                  <a:gd name="T48" fmla="*/ 9 w 94"/>
                  <a:gd name="T49" fmla="*/ 32 h 112"/>
                  <a:gd name="T50" fmla="*/ 13 w 94"/>
                  <a:gd name="T51" fmla="*/ 24 h 112"/>
                  <a:gd name="T52" fmla="*/ 12 w 94"/>
                  <a:gd name="T53" fmla="*/ 19 h 112"/>
                  <a:gd name="T54" fmla="*/ 12 w 94"/>
                  <a:gd name="T55" fmla="*/ 10 h 112"/>
                  <a:gd name="T56" fmla="*/ 10 w 94"/>
                  <a:gd name="T57" fmla="*/ 0 h 112"/>
                  <a:gd name="T58" fmla="*/ 19 w 94"/>
                  <a:gd name="T59" fmla="*/ 7 h 112"/>
                  <a:gd name="T60" fmla="*/ 26 w 94"/>
                  <a:gd name="T61" fmla="*/ 16 h 112"/>
                  <a:gd name="T62" fmla="*/ 28 w 94"/>
                  <a:gd name="T63" fmla="*/ 13 h 112"/>
                  <a:gd name="T64" fmla="*/ 28 w 94"/>
                  <a:gd name="T65" fmla="*/ 10 h 112"/>
                  <a:gd name="T66" fmla="*/ 36 w 94"/>
                  <a:gd name="T67" fmla="*/ 17 h 112"/>
                  <a:gd name="T68" fmla="*/ 43 w 94"/>
                  <a:gd name="T69" fmla="*/ 11 h 112"/>
                  <a:gd name="T70" fmla="*/ 44 w 94"/>
                  <a:gd name="T71" fmla="*/ 8 h 112"/>
                  <a:gd name="T72" fmla="*/ 40 w 94"/>
                  <a:gd name="T73" fmla="*/ 7 h 112"/>
                  <a:gd name="T74" fmla="*/ 38 w 94"/>
                  <a:gd name="T75" fmla="*/ 5 h 112"/>
                  <a:gd name="T76" fmla="*/ 68 w 94"/>
                  <a:gd name="T77" fmla="*/ 13 h 112"/>
                  <a:gd name="T78" fmla="*/ 72 w 94"/>
                  <a:gd name="T79" fmla="*/ 22 h 112"/>
                  <a:gd name="T80" fmla="*/ 85 w 94"/>
                  <a:gd name="T81" fmla="*/ 30 h 112"/>
                  <a:gd name="T82" fmla="*/ 33 w 94"/>
                  <a:gd name="T83" fmla="*/ 67 h 112"/>
                  <a:gd name="T84" fmla="*/ 29 w 94"/>
                  <a:gd name="T85" fmla="*/ 63 h 112"/>
                  <a:gd name="T86" fmla="*/ 84 w 94"/>
                  <a:gd name="T87" fmla="*/ 50 h 112"/>
                  <a:gd name="T88" fmla="*/ 84 w 94"/>
                  <a:gd name="T89" fmla="*/ 47 h 112"/>
                  <a:gd name="T90" fmla="*/ 47 w 94"/>
                  <a:gd name="T91" fmla="*/ 27 h 112"/>
                  <a:gd name="T92" fmla="*/ 33 w 94"/>
                  <a:gd name="T93" fmla="*/ 4 h 112"/>
                  <a:gd name="T94" fmla="*/ 37 w 94"/>
                  <a:gd name="T95" fmla="*/ 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4" h="112">
                    <a:moveTo>
                      <a:pt x="85" y="30"/>
                    </a:moveTo>
                    <a:cubicBezTo>
                      <a:pt x="84" y="32"/>
                      <a:pt x="84" y="33"/>
                      <a:pt x="83" y="35"/>
                    </a:cubicBezTo>
                    <a:cubicBezTo>
                      <a:pt x="82" y="35"/>
                      <a:pt x="82" y="35"/>
                      <a:pt x="82" y="35"/>
                    </a:cubicBezTo>
                    <a:cubicBezTo>
                      <a:pt x="82" y="36"/>
                      <a:pt x="83" y="37"/>
                      <a:pt x="83" y="37"/>
                    </a:cubicBezTo>
                    <a:cubicBezTo>
                      <a:pt x="81" y="38"/>
                      <a:pt x="81" y="42"/>
                      <a:pt x="81" y="44"/>
                    </a:cubicBezTo>
                    <a:cubicBezTo>
                      <a:pt x="80" y="44"/>
                      <a:pt x="79" y="46"/>
                      <a:pt x="79" y="46"/>
                    </a:cubicBezTo>
                    <a:cubicBezTo>
                      <a:pt x="79" y="47"/>
                      <a:pt x="79" y="47"/>
                      <a:pt x="79" y="47"/>
                    </a:cubicBezTo>
                    <a:cubicBezTo>
                      <a:pt x="80" y="47"/>
                      <a:pt x="79" y="50"/>
                      <a:pt x="80" y="52"/>
                    </a:cubicBezTo>
                    <a:cubicBezTo>
                      <a:pt x="81" y="53"/>
                      <a:pt x="86" y="57"/>
                      <a:pt x="87" y="59"/>
                    </a:cubicBezTo>
                    <a:cubicBezTo>
                      <a:pt x="87" y="61"/>
                      <a:pt x="85" y="64"/>
                      <a:pt x="85" y="65"/>
                    </a:cubicBezTo>
                    <a:cubicBezTo>
                      <a:pt x="83" y="70"/>
                      <a:pt x="84" y="74"/>
                      <a:pt x="85" y="79"/>
                    </a:cubicBezTo>
                    <a:cubicBezTo>
                      <a:pt x="85" y="81"/>
                      <a:pt x="85" y="86"/>
                      <a:pt x="87" y="88"/>
                    </a:cubicBezTo>
                    <a:cubicBezTo>
                      <a:pt x="87" y="89"/>
                      <a:pt x="91" y="90"/>
                      <a:pt x="92" y="92"/>
                    </a:cubicBezTo>
                    <a:cubicBezTo>
                      <a:pt x="92" y="92"/>
                      <a:pt x="92" y="94"/>
                      <a:pt x="92" y="94"/>
                    </a:cubicBezTo>
                    <a:cubicBezTo>
                      <a:pt x="93" y="94"/>
                      <a:pt x="93" y="94"/>
                      <a:pt x="93" y="94"/>
                    </a:cubicBezTo>
                    <a:cubicBezTo>
                      <a:pt x="94" y="95"/>
                      <a:pt x="93" y="96"/>
                      <a:pt x="93" y="98"/>
                    </a:cubicBezTo>
                    <a:cubicBezTo>
                      <a:pt x="93" y="98"/>
                      <a:pt x="87" y="101"/>
                      <a:pt x="85" y="102"/>
                    </a:cubicBezTo>
                    <a:cubicBezTo>
                      <a:pt x="83" y="103"/>
                      <a:pt x="81" y="103"/>
                      <a:pt x="78" y="104"/>
                    </a:cubicBezTo>
                    <a:cubicBezTo>
                      <a:pt x="76" y="104"/>
                      <a:pt x="76" y="106"/>
                      <a:pt x="74" y="107"/>
                    </a:cubicBezTo>
                    <a:cubicBezTo>
                      <a:pt x="72" y="107"/>
                      <a:pt x="72" y="108"/>
                      <a:pt x="71" y="107"/>
                    </a:cubicBezTo>
                    <a:cubicBezTo>
                      <a:pt x="69" y="106"/>
                      <a:pt x="69" y="108"/>
                      <a:pt x="67" y="109"/>
                    </a:cubicBezTo>
                    <a:cubicBezTo>
                      <a:pt x="65" y="110"/>
                      <a:pt x="63" y="110"/>
                      <a:pt x="61" y="110"/>
                    </a:cubicBezTo>
                    <a:cubicBezTo>
                      <a:pt x="58" y="110"/>
                      <a:pt x="57" y="111"/>
                      <a:pt x="54" y="111"/>
                    </a:cubicBezTo>
                    <a:cubicBezTo>
                      <a:pt x="52" y="112"/>
                      <a:pt x="52" y="108"/>
                      <a:pt x="50" y="108"/>
                    </a:cubicBezTo>
                    <a:cubicBezTo>
                      <a:pt x="48" y="107"/>
                      <a:pt x="49" y="107"/>
                      <a:pt x="47" y="109"/>
                    </a:cubicBezTo>
                    <a:cubicBezTo>
                      <a:pt x="44" y="110"/>
                      <a:pt x="43" y="110"/>
                      <a:pt x="43" y="110"/>
                    </a:cubicBezTo>
                    <a:cubicBezTo>
                      <a:pt x="43" y="108"/>
                      <a:pt x="43" y="108"/>
                      <a:pt x="43" y="107"/>
                    </a:cubicBezTo>
                    <a:cubicBezTo>
                      <a:pt x="44" y="100"/>
                      <a:pt x="43" y="95"/>
                      <a:pt x="43" y="89"/>
                    </a:cubicBezTo>
                    <a:cubicBezTo>
                      <a:pt x="43" y="88"/>
                      <a:pt x="41" y="87"/>
                      <a:pt x="40" y="87"/>
                    </a:cubicBezTo>
                    <a:cubicBezTo>
                      <a:pt x="39" y="86"/>
                      <a:pt x="40" y="84"/>
                      <a:pt x="38" y="84"/>
                    </a:cubicBezTo>
                    <a:cubicBezTo>
                      <a:pt x="37" y="84"/>
                      <a:pt x="37" y="84"/>
                      <a:pt x="37" y="84"/>
                    </a:cubicBezTo>
                    <a:cubicBezTo>
                      <a:pt x="29" y="83"/>
                      <a:pt x="29" y="83"/>
                      <a:pt x="29" y="83"/>
                    </a:cubicBezTo>
                    <a:cubicBezTo>
                      <a:pt x="29" y="83"/>
                      <a:pt x="25" y="82"/>
                      <a:pt x="24" y="81"/>
                    </a:cubicBezTo>
                    <a:cubicBezTo>
                      <a:pt x="22" y="80"/>
                      <a:pt x="21" y="78"/>
                      <a:pt x="20" y="78"/>
                    </a:cubicBezTo>
                    <a:cubicBezTo>
                      <a:pt x="19" y="78"/>
                      <a:pt x="19" y="74"/>
                      <a:pt x="19" y="74"/>
                    </a:cubicBezTo>
                    <a:cubicBezTo>
                      <a:pt x="19" y="73"/>
                      <a:pt x="18" y="72"/>
                      <a:pt x="18" y="71"/>
                    </a:cubicBezTo>
                    <a:cubicBezTo>
                      <a:pt x="17" y="71"/>
                      <a:pt x="16" y="71"/>
                      <a:pt x="15" y="71"/>
                    </a:cubicBezTo>
                    <a:cubicBezTo>
                      <a:pt x="15" y="70"/>
                      <a:pt x="16" y="69"/>
                      <a:pt x="15" y="68"/>
                    </a:cubicBezTo>
                    <a:cubicBezTo>
                      <a:pt x="15" y="68"/>
                      <a:pt x="14" y="67"/>
                      <a:pt x="13" y="67"/>
                    </a:cubicBezTo>
                    <a:cubicBezTo>
                      <a:pt x="13" y="66"/>
                      <a:pt x="13" y="64"/>
                      <a:pt x="12" y="63"/>
                    </a:cubicBezTo>
                    <a:cubicBezTo>
                      <a:pt x="12" y="63"/>
                      <a:pt x="9" y="62"/>
                      <a:pt x="9" y="62"/>
                    </a:cubicBezTo>
                    <a:cubicBezTo>
                      <a:pt x="9" y="59"/>
                      <a:pt x="10" y="56"/>
                      <a:pt x="11" y="55"/>
                    </a:cubicBezTo>
                    <a:cubicBezTo>
                      <a:pt x="6" y="52"/>
                      <a:pt x="6" y="50"/>
                      <a:pt x="1" y="47"/>
                    </a:cubicBezTo>
                    <a:cubicBezTo>
                      <a:pt x="1" y="43"/>
                      <a:pt x="2" y="37"/>
                      <a:pt x="1" y="39"/>
                    </a:cubicBezTo>
                    <a:cubicBezTo>
                      <a:pt x="0" y="39"/>
                      <a:pt x="3" y="38"/>
                      <a:pt x="1" y="39"/>
                    </a:cubicBezTo>
                    <a:cubicBezTo>
                      <a:pt x="1" y="39"/>
                      <a:pt x="1" y="36"/>
                      <a:pt x="1" y="37"/>
                    </a:cubicBezTo>
                    <a:cubicBezTo>
                      <a:pt x="1" y="37"/>
                      <a:pt x="2" y="35"/>
                      <a:pt x="2" y="35"/>
                    </a:cubicBezTo>
                    <a:cubicBezTo>
                      <a:pt x="1" y="36"/>
                      <a:pt x="1" y="34"/>
                      <a:pt x="1" y="33"/>
                    </a:cubicBezTo>
                    <a:cubicBezTo>
                      <a:pt x="2" y="33"/>
                      <a:pt x="4" y="33"/>
                      <a:pt x="4" y="33"/>
                    </a:cubicBezTo>
                    <a:cubicBezTo>
                      <a:pt x="6" y="33"/>
                      <a:pt x="9" y="32"/>
                      <a:pt x="9" y="32"/>
                    </a:cubicBezTo>
                    <a:cubicBezTo>
                      <a:pt x="10" y="27"/>
                      <a:pt x="10" y="27"/>
                      <a:pt x="10" y="27"/>
                    </a:cubicBezTo>
                    <a:cubicBezTo>
                      <a:pt x="10" y="27"/>
                      <a:pt x="12" y="25"/>
                      <a:pt x="13" y="24"/>
                    </a:cubicBezTo>
                    <a:cubicBezTo>
                      <a:pt x="15" y="22"/>
                      <a:pt x="15" y="20"/>
                      <a:pt x="15" y="20"/>
                    </a:cubicBezTo>
                    <a:cubicBezTo>
                      <a:pt x="15" y="20"/>
                      <a:pt x="15" y="21"/>
                      <a:pt x="12" y="19"/>
                    </a:cubicBezTo>
                    <a:cubicBezTo>
                      <a:pt x="10" y="18"/>
                      <a:pt x="12" y="13"/>
                      <a:pt x="12" y="13"/>
                    </a:cubicBezTo>
                    <a:cubicBezTo>
                      <a:pt x="12" y="13"/>
                      <a:pt x="12" y="13"/>
                      <a:pt x="12" y="10"/>
                    </a:cubicBezTo>
                    <a:cubicBezTo>
                      <a:pt x="12" y="8"/>
                      <a:pt x="12" y="5"/>
                      <a:pt x="12" y="5"/>
                    </a:cubicBezTo>
                    <a:cubicBezTo>
                      <a:pt x="10" y="0"/>
                      <a:pt x="10" y="0"/>
                      <a:pt x="10" y="0"/>
                    </a:cubicBezTo>
                    <a:cubicBezTo>
                      <a:pt x="21" y="0"/>
                      <a:pt x="21" y="0"/>
                      <a:pt x="21" y="0"/>
                    </a:cubicBezTo>
                    <a:cubicBezTo>
                      <a:pt x="20" y="2"/>
                      <a:pt x="19" y="6"/>
                      <a:pt x="19" y="7"/>
                    </a:cubicBezTo>
                    <a:cubicBezTo>
                      <a:pt x="19" y="9"/>
                      <a:pt x="21" y="13"/>
                      <a:pt x="21" y="13"/>
                    </a:cubicBezTo>
                    <a:cubicBezTo>
                      <a:pt x="22" y="15"/>
                      <a:pt x="23" y="17"/>
                      <a:pt x="26" y="16"/>
                    </a:cubicBezTo>
                    <a:cubicBezTo>
                      <a:pt x="26" y="16"/>
                      <a:pt x="25" y="14"/>
                      <a:pt x="25" y="13"/>
                    </a:cubicBezTo>
                    <a:cubicBezTo>
                      <a:pt x="26" y="13"/>
                      <a:pt x="27" y="13"/>
                      <a:pt x="28" y="13"/>
                    </a:cubicBezTo>
                    <a:cubicBezTo>
                      <a:pt x="28" y="13"/>
                      <a:pt x="28" y="12"/>
                      <a:pt x="29" y="11"/>
                    </a:cubicBezTo>
                    <a:cubicBezTo>
                      <a:pt x="29" y="11"/>
                      <a:pt x="27" y="10"/>
                      <a:pt x="28" y="10"/>
                    </a:cubicBezTo>
                    <a:cubicBezTo>
                      <a:pt x="30" y="10"/>
                      <a:pt x="34" y="12"/>
                      <a:pt x="36" y="13"/>
                    </a:cubicBezTo>
                    <a:cubicBezTo>
                      <a:pt x="36" y="14"/>
                      <a:pt x="36" y="16"/>
                      <a:pt x="36" y="17"/>
                    </a:cubicBezTo>
                    <a:cubicBezTo>
                      <a:pt x="36" y="17"/>
                      <a:pt x="38" y="18"/>
                      <a:pt x="38" y="18"/>
                    </a:cubicBezTo>
                    <a:cubicBezTo>
                      <a:pt x="37" y="12"/>
                      <a:pt x="36" y="11"/>
                      <a:pt x="43" y="11"/>
                    </a:cubicBezTo>
                    <a:cubicBezTo>
                      <a:pt x="44" y="10"/>
                      <a:pt x="43" y="9"/>
                      <a:pt x="44" y="9"/>
                    </a:cubicBezTo>
                    <a:cubicBezTo>
                      <a:pt x="44" y="8"/>
                      <a:pt x="44" y="8"/>
                      <a:pt x="44" y="8"/>
                    </a:cubicBezTo>
                    <a:cubicBezTo>
                      <a:pt x="43" y="8"/>
                      <a:pt x="42" y="8"/>
                      <a:pt x="41" y="8"/>
                    </a:cubicBezTo>
                    <a:cubicBezTo>
                      <a:pt x="41" y="8"/>
                      <a:pt x="40" y="7"/>
                      <a:pt x="40" y="7"/>
                    </a:cubicBezTo>
                    <a:cubicBezTo>
                      <a:pt x="41" y="7"/>
                      <a:pt x="41" y="6"/>
                      <a:pt x="41" y="5"/>
                    </a:cubicBezTo>
                    <a:cubicBezTo>
                      <a:pt x="40" y="5"/>
                      <a:pt x="39" y="5"/>
                      <a:pt x="38" y="5"/>
                    </a:cubicBezTo>
                    <a:cubicBezTo>
                      <a:pt x="41" y="3"/>
                      <a:pt x="41" y="2"/>
                      <a:pt x="41" y="1"/>
                    </a:cubicBezTo>
                    <a:cubicBezTo>
                      <a:pt x="68" y="13"/>
                      <a:pt x="68" y="13"/>
                      <a:pt x="68" y="13"/>
                    </a:cubicBezTo>
                    <a:cubicBezTo>
                      <a:pt x="68" y="13"/>
                      <a:pt x="70" y="15"/>
                      <a:pt x="70" y="17"/>
                    </a:cubicBezTo>
                    <a:cubicBezTo>
                      <a:pt x="69" y="20"/>
                      <a:pt x="69" y="22"/>
                      <a:pt x="72" y="22"/>
                    </a:cubicBezTo>
                    <a:cubicBezTo>
                      <a:pt x="74" y="22"/>
                      <a:pt x="74" y="24"/>
                      <a:pt x="74" y="24"/>
                    </a:cubicBezTo>
                    <a:lnTo>
                      <a:pt x="85" y="30"/>
                    </a:lnTo>
                    <a:close/>
                    <a:moveTo>
                      <a:pt x="29" y="63"/>
                    </a:moveTo>
                    <a:cubicBezTo>
                      <a:pt x="31" y="64"/>
                      <a:pt x="32" y="66"/>
                      <a:pt x="33" y="67"/>
                    </a:cubicBezTo>
                    <a:cubicBezTo>
                      <a:pt x="32" y="67"/>
                      <a:pt x="31" y="67"/>
                      <a:pt x="30" y="67"/>
                    </a:cubicBezTo>
                    <a:cubicBezTo>
                      <a:pt x="30" y="67"/>
                      <a:pt x="26" y="63"/>
                      <a:pt x="29" y="63"/>
                    </a:cubicBezTo>
                    <a:close/>
                    <a:moveTo>
                      <a:pt x="84" y="47"/>
                    </a:moveTo>
                    <a:cubicBezTo>
                      <a:pt x="84" y="49"/>
                      <a:pt x="83" y="48"/>
                      <a:pt x="84" y="50"/>
                    </a:cubicBezTo>
                    <a:cubicBezTo>
                      <a:pt x="85" y="55"/>
                      <a:pt x="87" y="50"/>
                      <a:pt x="87" y="50"/>
                    </a:cubicBezTo>
                    <a:cubicBezTo>
                      <a:pt x="86" y="49"/>
                      <a:pt x="84" y="48"/>
                      <a:pt x="84" y="47"/>
                    </a:cubicBezTo>
                    <a:close/>
                    <a:moveTo>
                      <a:pt x="47" y="24"/>
                    </a:moveTo>
                    <a:cubicBezTo>
                      <a:pt x="50" y="23"/>
                      <a:pt x="47" y="27"/>
                      <a:pt x="47" y="27"/>
                    </a:cubicBezTo>
                    <a:cubicBezTo>
                      <a:pt x="43" y="29"/>
                      <a:pt x="46" y="25"/>
                      <a:pt x="47" y="24"/>
                    </a:cubicBezTo>
                    <a:close/>
                    <a:moveTo>
                      <a:pt x="33" y="4"/>
                    </a:moveTo>
                    <a:cubicBezTo>
                      <a:pt x="33" y="4"/>
                      <a:pt x="33" y="6"/>
                      <a:pt x="35" y="7"/>
                    </a:cubicBezTo>
                    <a:cubicBezTo>
                      <a:pt x="38" y="8"/>
                      <a:pt x="37" y="5"/>
                      <a:pt x="37" y="5"/>
                    </a:cubicBezTo>
                    <a:cubicBezTo>
                      <a:pt x="35" y="4"/>
                      <a:pt x="34" y="5"/>
                      <a:pt x="33" y="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72" name="Freeform 51">
                <a:extLst>
                  <a:ext uri="{FF2B5EF4-FFF2-40B4-BE49-F238E27FC236}">
                    <a16:creationId xmlns:a16="http://schemas.microsoft.com/office/drawing/2014/main" id="{0237BA4F-F1D3-764E-AFBD-3CBFB48B76A1}"/>
                  </a:ext>
                </a:extLst>
              </p:cNvPr>
              <p:cNvSpPr>
                <a:spLocks/>
              </p:cNvSpPr>
              <p:nvPr/>
            </p:nvSpPr>
            <p:spPr bwMode="auto">
              <a:xfrm>
                <a:off x="4249" y="1360"/>
                <a:ext cx="127" cy="115"/>
              </a:xfrm>
              <a:custGeom>
                <a:avLst/>
                <a:gdLst>
                  <a:gd name="T0" fmla="*/ 29 w 65"/>
                  <a:gd name="T1" fmla="*/ 10 h 59"/>
                  <a:gd name="T2" fmla="*/ 29 w 65"/>
                  <a:gd name="T3" fmla="*/ 6 h 59"/>
                  <a:gd name="T4" fmla="*/ 33 w 65"/>
                  <a:gd name="T5" fmla="*/ 5 h 59"/>
                  <a:gd name="T6" fmla="*/ 31 w 65"/>
                  <a:gd name="T7" fmla="*/ 0 h 59"/>
                  <a:gd name="T8" fmla="*/ 26 w 65"/>
                  <a:gd name="T9" fmla="*/ 2 h 59"/>
                  <a:gd name="T10" fmla="*/ 23 w 65"/>
                  <a:gd name="T11" fmla="*/ 4 h 59"/>
                  <a:gd name="T12" fmla="*/ 20 w 65"/>
                  <a:gd name="T13" fmla="*/ 0 h 59"/>
                  <a:gd name="T14" fmla="*/ 16 w 65"/>
                  <a:gd name="T15" fmla="*/ 2 h 59"/>
                  <a:gd name="T16" fmla="*/ 18 w 65"/>
                  <a:gd name="T17" fmla="*/ 6 h 59"/>
                  <a:gd name="T18" fmla="*/ 16 w 65"/>
                  <a:gd name="T19" fmla="*/ 9 h 59"/>
                  <a:gd name="T20" fmla="*/ 15 w 65"/>
                  <a:gd name="T21" fmla="*/ 14 h 59"/>
                  <a:gd name="T22" fmla="*/ 14 w 65"/>
                  <a:gd name="T23" fmla="*/ 16 h 59"/>
                  <a:gd name="T24" fmla="*/ 8 w 65"/>
                  <a:gd name="T25" fmla="*/ 19 h 59"/>
                  <a:gd name="T26" fmla="*/ 4 w 65"/>
                  <a:gd name="T27" fmla="*/ 19 h 59"/>
                  <a:gd name="T28" fmla="*/ 3 w 65"/>
                  <a:gd name="T29" fmla="*/ 24 h 59"/>
                  <a:gd name="T30" fmla="*/ 7 w 65"/>
                  <a:gd name="T31" fmla="*/ 27 h 59"/>
                  <a:gd name="T32" fmla="*/ 11 w 65"/>
                  <a:gd name="T33" fmla="*/ 27 h 59"/>
                  <a:gd name="T34" fmla="*/ 10 w 65"/>
                  <a:gd name="T35" fmla="*/ 33 h 59"/>
                  <a:gd name="T36" fmla="*/ 11 w 65"/>
                  <a:gd name="T37" fmla="*/ 37 h 59"/>
                  <a:gd name="T38" fmla="*/ 7 w 65"/>
                  <a:gd name="T39" fmla="*/ 41 h 59"/>
                  <a:gd name="T40" fmla="*/ 6 w 65"/>
                  <a:gd name="T41" fmla="*/ 45 h 59"/>
                  <a:gd name="T42" fmla="*/ 9 w 65"/>
                  <a:gd name="T43" fmla="*/ 45 h 59"/>
                  <a:gd name="T44" fmla="*/ 12 w 65"/>
                  <a:gd name="T45" fmla="*/ 45 h 59"/>
                  <a:gd name="T46" fmla="*/ 15 w 65"/>
                  <a:gd name="T47" fmla="*/ 43 h 59"/>
                  <a:gd name="T48" fmla="*/ 17 w 65"/>
                  <a:gd name="T49" fmla="*/ 41 h 59"/>
                  <a:gd name="T50" fmla="*/ 19 w 65"/>
                  <a:gd name="T51" fmla="*/ 39 h 59"/>
                  <a:gd name="T52" fmla="*/ 22 w 65"/>
                  <a:gd name="T53" fmla="*/ 40 h 59"/>
                  <a:gd name="T54" fmla="*/ 24 w 65"/>
                  <a:gd name="T55" fmla="*/ 43 h 59"/>
                  <a:gd name="T56" fmla="*/ 26 w 65"/>
                  <a:gd name="T57" fmla="*/ 46 h 59"/>
                  <a:gd name="T58" fmla="*/ 24 w 65"/>
                  <a:gd name="T59" fmla="*/ 50 h 59"/>
                  <a:gd name="T60" fmla="*/ 23 w 65"/>
                  <a:gd name="T61" fmla="*/ 55 h 59"/>
                  <a:gd name="T62" fmla="*/ 27 w 65"/>
                  <a:gd name="T63" fmla="*/ 59 h 59"/>
                  <a:gd name="T64" fmla="*/ 31 w 65"/>
                  <a:gd name="T65" fmla="*/ 58 h 59"/>
                  <a:gd name="T66" fmla="*/ 35 w 65"/>
                  <a:gd name="T67" fmla="*/ 55 h 59"/>
                  <a:gd name="T68" fmla="*/ 37 w 65"/>
                  <a:gd name="T69" fmla="*/ 51 h 59"/>
                  <a:gd name="T70" fmla="*/ 40 w 65"/>
                  <a:gd name="T71" fmla="*/ 51 h 59"/>
                  <a:gd name="T72" fmla="*/ 46 w 65"/>
                  <a:gd name="T73" fmla="*/ 47 h 59"/>
                  <a:gd name="T74" fmla="*/ 49 w 65"/>
                  <a:gd name="T75" fmla="*/ 47 h 59"/>
                  <a:gd name="T76" fmla="*/ 56 w 65"/>
                  <a:gd name="T77" fmla="*/ 49 h 59"/>
                  <a:gd name="T78" fmla="*/ 62 w 65"/>
                  <a:gd name="T79" fmla="*/ 47 h 59"/>
                  <a:gd name="T80" fmla="*/ 65 w 65"/>
                  <a:gd name="T81" fmla="*/ 46 h 59"/>
                  <a:gd name="T82" fmla="*/ 65 w 65"/>
                  <a:gd name="T83" fmla="*/ 44 h 59"/>
                  <a:gd name="T84" fmla="*/ 63 w 65"/>
                  <a:gd name="T85" fmla="*/ 42 h 59"/>
                  <a:gd name="T86" fmla="*/ 63 w 65"/>
                  <a:gd name="T87" fmla="*/ 37 h 59"/>
                  <a:gd name="T88" fmla="*/ 60 w 65"/>
                  <a:gd name="T89" fmla="*/ 33 h 59"/>
                  <a:gd name="T90" fmla="*/ 62 w 65"/>
                  <a:gd name="T91" fmla="*/ 29 h 59"/>
                  <a:gd name="T92" fmla="*/ 62 w 65"/>
                  <a:gd name="T93" fmla="*/ 26 h 59"/>
                  <a:gd name="T94" fmla="*/ 61 w 65"/>
                  <a:gd name="T95" fmla="*/ 25 h 59"/>
                  <a:gd name="T96" fmla="*/ 55 w 65"/>
                  <a:gd name="T97" fmla="*/ 27 h 59"/>
                  <a:gd name="T98" fmla="*/ 53 w 65"/>
                  <a:gd name="T99" fmla="*/ 25 h 59"/>
                  <a:gd name="T100" fmla="*/ 53 w 65"/>
                  <a:gd name="T101" fmla="*/ 22 h 59"/>
                  <a:gd name="T102" fmla="*/ 52 w 65"/>
                  <a:gd name="T103" fmla="*/ 18 h 59"/>
                  <a:gd name="T104" fmla="*/ 45 w 65"/>
                  <a:gd name="T105" fmla="*/ 18 h 59"/>
                  <a:gd name="T106" fmla="*/ 40 w 65"/>
                  <a:gd name="T107" fmla="*/ 18 h 59"/>
                  <a:gd name="T108" fmla="*/ 36 w 65"/>
                  <a:gd name="T109" fmla="*/ 17 h 59"/>
                  <a:gd name="T110" fmla="*/ 31 w 65"/>
                  <a:gd name="T111" fmla="*/ 17 h 59"/>
                  <a:gd name="T112" fmla="*/ 28 w 65"/>
                  <a:gd name="T113" fmla="*/ 15 h 59"/>
                  <a:gd name="T114" fmla="*/ 22 w 65"/>
                  <a:gd name="T115" fmla="*/ 15 h 59"/>
                  <a:gd name="T116" fmla="*/ 20 w 65"/>
                  <a:gd name="T117" fmla="*/ 11 h 59"/>
                  <a:gd name="T118" fmla="*/ 25 w 65"/>
                  <a:gd name="T119" fmla="*/ 10 h 59"/>
                  <a:gd name="T120" fmla="*/ 28 w 65"/>
                  <a:gd name="T121" fmla="*/ 11 h 59"/>
                  <a:gd name="T122" fmla="*/ 29 w 65"/>
                  <a:gd name="T123" fmla="*/ 1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59">
                    <a:moveTo>
                      <a:pt x="29" y="10"/>
                    </a:moveTo>
                    <a:cubicBezTo>
                      <a:pt x="29" y="6"/>
                      <a:pt x="29" y="6"/>
                      <a:pt x="29" y="6"/>
                    </a:cubicBezTo>
                    <a:cubicBezTo>
                      <a:pt x="33" y="5"/>
                      <a:pt x="33" y="5"/>
                      <a:pt x="33" y="5"/>
                    </a:cubicBezTo>
                    <a:cubicBezTo>
                      <a:pt x="31" y="0"/>
                      <a:pt x="31" y="0"/>
                      <a:pt x="31" y="0"/>
                    </a:cubicBezTo>
                    <a:cubicBezTo>
                      <a:pt x="31" y="0"/>
                      <a:pt x="28" y="0"/>
                      <a:pt x="26" y="2"/>
                    </a:cubicBezTo>
                    <a:cubicBezTo>
                      <a:pt x="26" y="2"/>
                      <a:pt x="25" y="4"/>
                      <a:pt x="23" y="4"/>
                    </a:cubicBezTo>
                    <a:cubicBezTo>
                      <a:pt x="21" y="3"/>
                      <a:pt x="20" y="0"/>
                      <a:pt x="20" y="0"/>
                    </a:cubicBezTo>
                    <a:cubicBezTo>
                      <a:pt x="20" y="0"/>
                      <a:pt x="16" y="0"/>
                      <a:pt x="16" y="2"/>
                    </a:cubicBezTo>
                    <a:cubicBezTo>
                      <a:pt x="16" y="4"/>
                      <a:pt x="18" y="6"/>
                      <a:pt x="18" y="6"/>
                    </a:cubicBezTo>
                    <a:cubicBezTo>
                      <a:pt x="18" y="6"/>
                      <a:pt x="18" y="9"/>
                      <a:pt x="16" y="9"/>
                    </a:cubicBezTo>
                    <a:cubicBezTo>
                      <a:pt x="14" y="9"/>
                      <a:pt x="14" y="16"/>
                      <a:pt x="15" y="14"/>
                    </a:cubicBezTo>
                    <a:cubicBezTo>
                      <a:pt x="16" y="12"/>
                      <a:pt x="15" y="16"/>
                      <a:pt x="14" y="16"/>
                    </a:cubicBezTo>
                    <a:cubicBezTo>
                      <a:pt x="12" y="17"/>
                      <a:pt x="8" y="22"/>
                      <a:pt x="8" y="19"/>
                    </a:cubicBezTo>
                    <a:cubicBezTo>
                      <a:pt x="8" y="18"/>
                      <a:pt x="5" y="18"/>
                      <a:pt x="4" y="19"/>
                    </a:cubicBezTo>
                    <a:cubicBezTo>
                      <a:pt x="2" y="20"/>
                      <a:pt x="0" y="21"/>
                      <a:pt x="3" y="24"/>
                    </a:cubicBezTo>
                    <a:cubicBezTo>
                      <a:pt x="5" y="26"/>
                      <a:pt x="4" y="27"/>
                      <a:pt x="7" y="27"/>
                    </a:cubicBezTo>
                    <a:cubicBezTo>
                      <a:pt x="9" y="27"/>
                      <a:pt x="12" y="25"/>
                      <a:pt x="11" y="27"/>
                    </a:cubicBezTo>
                    <a:cubicBezTo>
                      <a:pt x="10" y="29"/>
                      <a:pt x="8" y="32"/>
                      <a:pt x="10" y="33"/>
                    </a:cubicBezTo>
                    <a:cubicBezTo>
                      <a:pt x="12" y="34"/>
                      <a:pt x="12" y="36"/>
                      <a:pt x="11" y="37"/>
                    </a:cubicBezTo>
                    <a:cubicBezTo>
                      <a:pt x="10" y="39"/>
                      <a:pt x="7" y="39"/>
                      <a:pt x="7" y="41"/>
                    </a:cubicBezTo>
                    <a:cubicBezTo>
                      <a:pt x="7" y="42"/>
                      <a:pt x="6" y="45"/>
                      <a:pt x="6" y="45"/>
                    </a:cubicBezTo>
                    <a:cubicBezTo>
                      <a:pt x="9" y="45"/>
                      <a:pt x="9" y="45"/>
                      <a:pt x="9" y="45"/>
                    </a:cubicBezTo>
                    <a:cubicBezTo>
                      <a:pt x="12" y="45"/>
                      <a:pt x="12" y="45"/>
                      <a:pt x="12" y="45"/>
                    </a:cubicBezTo>
                    <a:cubicBezTo>
                      <a:pt x="15" y="43"/>
                      <a:pt x="15" y="43"/>
                      <a:pt x="15" y="43"/>
                    </a:cubicBezTo>
                    <a:cubicBezTo>
                      <a:pt x="17" y="41"/>
                      <a:pt x="17" y="41"/>
                      <a:pt x="17" y="41"/>
                    </a:cubicBezTo>
                    <a:cubicBezTo>
                      <a:pt x="19" y="39"/>
                      <a:pt x="19" y="39"/>
                      <a:pt x="19" y="39"/>
                    </a:cubicBezTo>
                    <a:cubicBezTo>
                      <a:pt x="22" y="40"/>
                      <a:pt x="22" y="40"/>
                      <a:pt x="22" y="40"/>
                    </a:cubicBezTo>
                    <a:cubicBezTo>
                      <a:pt x="24" y="43"/>
                      <a:pt x="24" y="43"/>
                      <a:pt x="24" y="43"/>
                    </a:cubicBezTo>
                    <a:cubicBezTo>
                      <a:pt x="26" y="46"/>
                      <a:pt x="26" y="46"/>
                      <a:pt x="26" y="46"/>
                    </a:cubicBezTo>
                    <a:cubicBezTo>
                      <a:pt x="24" y="50"/>
                      <a:pt x="24" y="50"/>
                      <a:pt x="24" y="50"/>
                    </a:cubicBezTo>
                    <a:cubicBezTo>
                      <a:pt x="23" y="55"/>
                      <a:pt x="23" y="55"/>
                      <a:pt x="23" y="55"/>
                    </a:cubicBezTo>
                    <a:cubicBezTo>
                      <a:pt x="27" y="59"/>
                      <a:pt x="27" y="59"/>
                      <a:pt x="27" y="59"/>
                    </a:cubicBezTo>
                    <a:cubicBezTo>
                      <a:pt x="31" y="58"/>
                      <a:pt x="31" y="58"/>
                      <a:pt x="31" y="58"/>
                    </a:cubicBezTo>
                    <a:cubicBezTo>
                      <a:pt x="35" y="55"/>
                      <a:pt x="35" y="55"/>
                      <a:pt x="35" y="55"/>
                    </a:cubicBezTo>
                    <a:cubicBezTo>
                      <a:pt x="37" y="51"/>
                      <a:pt x="37" y="51"/>
                      <a:pt x="37" y="51"/>
                    </a:cubicBezTo>
                    <a:cubicBezTo>
                      <a:pt x="40" y="51"/>
                      <a:pt x="40" y="51"/>
                      <a:pt x="40" y="51"/>
                    </a:cubicBezTo>
                    <a:cubicBezTo>
                      <a:pt x="46" y="47"/>
                      <a:pt x="46" y="47"/>
                      <a:pt x="46" y="47"/>
                    </a:cubicBezTo>
                    <a:cubicBezTo>
                      <a:pt x="49" y="47"/>
                      <a:pt x="49" y="47"/>
                      <a:pt x="49" y="47"/>
                    </a:cubicBezTo>
                    <a:cubicBezTo>
                      <a:pt x="56" y="49"/>
                      <a:pt x="56" y="49"/>
                      <a:pt x="56" y="49"/>
                    </a:cubicBezTo>
                    <a:cubicBezTo>
                      <a:pt x="62" y="47"/>
                      <a:pt x="62" y="47"/>
                      <a:pt x="62" y="47"/>
                    </a:cubicBezTo>
                    <a:cubicBezTo>
                      <a:pt x="65" y="46"/>
                      <a:pt x="65" y="46"/>
                      <a:pt x="65" y="46"/>
                    </a:cubicBezTo>
                    <a:cubicBezTo>
                      <a:pt x="65" y="44"/>
                      <a:pt x="65" y="44"/>
                      <a:pt x="65" y="44"/>
                    </a:cubicBezTo>
                    <a:cubicBezTo>
                      <a:pt x="63" y="42"/>
                      <a:pt x="63" y="42"/>
                      <a:pt x="63" y="42"/>
                    </a:cubicBezTo>
                    <a:cubicBezTo>
                      <a:pt x="63" y="37"/>
                      <a:pt x="63" y="37"/>
                      <a:pt x="63" y="37"/>
                    </a:cubicBezTo>
                    <a:cubicBezTo>
                      <a:pt x="60" y="33"/>
                      <a:pt x="60" y="33"/>
                      <a:pt x="60" y="33"/>
                    </a:cubicBezTo>
                    <a:cubicBezTo>
                      <a:pt x="62" y="29"/>
                      <a:pt x="62" y="29"/>
                      <a:pt x="62" y="29"/>
                    </a:cubicBezTo>
                    <a:cubicBezTo>
                      <a:pt x="62" y="26"/>
                      <a:pt x="62" y="26"/>
                      <a:pt x="62" y="26"/>
                    </a:cubicBezTo>
                    <a:cubicBezTo>
                      <a:pt x="61" y="25"/>
                      <a:pt x="61" y="25"/>
                      <a:pt x="61" y="25"/>
                    </a:cubicBezTo>
                    <a:cubicBezTo>
                      <a:pt x="55" y="27"/>
                      <a:pt x="55" y="27"/>
                      <a:pt x="55" y="27"/>
                    </a:cubicBezTo>
                    <a:cubicBezTo>
                      <a:pt x="53" y="25"/>
                      <a:pt x="53" y="25"/>
                      <a:pt x="53" y="25"/>
                    </a:cubicBezTo>
                    <a:cubicBezTo>
                      <a:pt x="53" y="22"/>
                      <a:pt x="53" y="22"/>
                      <a:pt x="53" y="22"/>
                    </a:cubicBezTo>
                    <a:cubicBezTo>
                      <a:pt x="53" y="22"/>
                      <a:pt x="53" y="20"/>
                      <a:pt x="52" y="18"/>
                    </a:cubicBezTo>
                    <a:cubicBezTo>
                      <a:pt x="50" y="17"/>
                      <a:pt x="48" y="17"/>
                      <a:pt x="45" y="18"/>
                    </a:cubicBezTo>
                    <a:cubicBezTo>
                      <a:pt x="43" y="19"/>
                      <a:pt x="40" y="18"/>
                      <a:pt x="40" y="18"/>
                    </a:cubicBezTo>
                    <a:cubicBezTo>
                      <a:pt x="40" y="18"/>
                      <a:pt x="38" y="19"/>
                      <a:pt x="36" y="17"/>
                    </a:cubicBezTo>
                    <a:cubicBezTo>
                      <a:pt x="35" y="15"/>
                      <a:pt x="33" y="17"/>
                      <a:pt x="31" y="17"/>
                    </a:cubicBezTo>
                    <a:cubicBezTo>
                      <a:pt x="29" y="18"/>
                      <a:pt x="28" y="15"/>
                      <a:pt x="28" y="15"/>
                    </a:cubicBezTo>
                    <a:cubicBezTo>
                      <a:pt x="22" y="15"/>
                      <a:pt x="22" y="15"/>
                      <a:pt x="22" y="15"/>
                    </a:cubicBezTo>
                    <a:cubicBezTo>
                      <a:pt x="20" y="11"/>
                      <a:pt x="20" y="11"/>
                      <a:pt x="20" y="11"/>
                    </a:cubicBezTo>
                    <a:cubicBezTo>
                      <a:pt x="25" y="10"/>
                      <a:pt x="25" y="10"/>
                      <a:pt x="25" y="10"/>
                    </a:cubicBezTo>
                    <a:cubicBezTo>
                      <a:pt x="28" y="11"/>
                      <a:pt x="28" y="11"/>
                      <a:pt x="28" y="11"/>
                    </a:cubicBezTo>
                    <a:lnTo>
                      <a:pt x="29" y="10"/>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73" name="Freeform 52">
                <a:extLst>
                  <a:ext uri="{FF2B5EF4-FFF2-40B4-BE49-F238E27FC236}">
                    <a16:creationId xmlns:a16="http://schemas.microsoft.com/office/drawing/2014/main" id="{8BAA7FDB-4210-AA8E-E03E-1FAA8AAC9959}"/>
                  </a:ext>
                </a:extLst>
              </p:cNvPr>
              <p:cNvSpPr>
                <a:spLocks/>
              </p:cNvSpPr>
              <p:nvPr/>
            </p:nvSpPr>
            <p:spPr bwMode="auto">
              <a:xfrm>
                <a:off x="4249" y="1360"/>
                <a:ext cx="127" cy="115"/>
              </a:xfrm>
              <a:custGeom>
                <a:avLst/>
                <a:gdLst>
                  <a:gd name="T0" fmla="*/ 29 w 65"/>
                  <a:gd name="T1" fmla="*/ 10 h 59"/>
                  <a:gd name="T2" fmla="*/ 29 w 65"/>
                  <a:gd name="T3" fmla="*/ 6 h 59"/>
                  <a:gd name="T4" fmla="*/ 33 w 65"/>
                  <a:gd name="T5" fmla="*/ 5 h 59"/>
                  <a:gd name="T6" fmla="*/ 31 w 65"/>
                  <a:gd name="T7" fmla="*/ 0 h 59"/>
                  <a:gd name="T8" fmla="*/ 26 w 65"/>
                  <a:gd name="T9" fmla="*/ 2 h 59"/>
                  <a:gd name="T10" fmla="*/ 23 w 65"/>
                  <a:gd name="T11" fmla="*/ 4 h 59"/>
                  <a:gd name="T12" fmla="*/ 20 w 65"/>
                  <a:gd name="T13" fmla="*/ 0 h 59"/>
                  <a:gd name="T14" fmla="*/ 16 w 65"/>
                  <a:gd name="T15" fmla="*/ 2 h 59"/>
                  <a:gd name="T16" fmla="*/ 18 w 65"/>
                  <a:gd name="T17" fmla="*/ 6 h 59"/>
                  <a:gd name="T18" fmla="*/ 16 w 65"/>
                  <a:gd name="T19" fmla="*/ 9 h 59"/>
                  <a:gd name="T20" fmla="*/ 15 w 65"/>
                  <a:gd name="T21" fmla="*/ 14 h 59"/>
                  <a:gd name="T22" fmla="*/ 14 w 65"/>
                  <a:gd name="T23" fmla="*/ 16 h 59"/>
                  <a:gd name="T24" fmla="*/ 8 w 65"/>
                  <a:gd name="T25" fmla="*/ 19 h 59"/>
                  <a:gd name="T26" fmla="*/ 4 w 65"/>
                  <a:gd name="T27" fmla="*/ 19 h 59"/>
                  <a:gd name="T28" fmla="*/ 3 w 65"/>
                  <a:gd name="T29" fmla="*/ 24 h 59"/>
                  <a:gd name="T30" fmla="*/ 7 w 65"/>
                  <a:gd name="T31" fmla="*/ 27 h 59"/>
                  <a:gd name="T32" fmla="*/ 11 w 65"/>
                  <a:gd name="T33" fmla="*/ 27 h 59"/>
                  <a:gd name="T34" fmla="*/ 10 w 65"/>
                  <a:gd name="T35" fmla="*/ 33 h 59"/>
                  <a:gd name="T36" fmla="*/ 11 w 65"/>
                  <a:gd name="T37" fmla="*/ 37 h 59"/>
                  <a:gd name="T38" fmla="*/ 7 w 65"/>
                  <a:gd name="T39" fmla="*/ 41 h 59"/>
                  <a:gd name="T40" fmla="*/ 6 w 65"/>
                  <a:gd name="T41" fmla="*/ 45 h 59"/>
                  <a:gd name="T42" fmla="*/ 9 w 65"/>
                  <a:gd name="T43" fmla="*/ 45 h 59"/>
                  <a:gd name="T44" fmla="*/ 12 w 65"/>
                  <a:gd name="T45" fmla="*/ 45 h 59"/>
                  <a:gd name="T46" fmla="*/ 15 w 65"/>
                  <a:gd name="T47" fmla="*/ 43 h 59"/>
                  <a:gd name="T48" fmla="*/ 17 w 65"/>
                  <a:gd name="T49" fmla="*/ 41 h 59"/>
                  <a:gd name="T50" fmla="*/ 19 w 65"/>
                  <a:gd name="T51" fmla="*/ 39 h 59"/>
                  <a:gd name="T52" fmla="*/ 22 w 65"/>
                  <a:gd name="T53" fmla="*/ 40 h 59"/>
                  <a:gd name="T54" fmla="*/ 24 w 65"/>
                  <a:gd name="T55" fmla="*/ 43 h 59"/>
                  <a:gd name="T56" fmla="*/ 26 w 65"/>
                  <a:gd name="T57" fmla="*/ 46 h 59"/>
                  <a:gd name="T58" fmla="*/ 24 w 65"/>
                  <a:gd name="T59" fmla="*/ 50 h 59"/>
                  <a:gd name="T60" fmla="*/ 23 w 65"/>
                  <a:gd name="T61" fmla="*/ 55 h 59"/>
                  <a:gd name="T62" fmla="*/ 27 w 65"/>
                  <a:gd name="T63" fmla="*/ 59 h 59"/>
                  <a:gd name="T64" fmla="*/ 31 w 65"/>
                  <a:gd name="T65" fmla="*/ 58 h 59"/>
                  <a:gd name="T66" fmla="*/ 35 w 65"/>
                  <a:gd name="T67" fmla="*/ 55 h 59"/>
                  <a:gd name="T68" fmla="*/ 37 w 65"/>
                  <a:gd name="T69" fmla="*/ 51 h 59"/>
                  <a:gd name="T70" fmla="*/ 40 w 65"/>
                  <a:gd name="T71" fmla="*/ 51 h 59"/>
                  <a:gd name="T72" fmla="*/ 46 w 65"/>
                  <a:gd name="T73" fmla="*/ 47 h 59"/>
                  <a:gd name="T74" fmla="*/ 49 w 65"/>
                  <a:gd name="T75" fmla="*/ 47 h 59"/>
                  <a:gd name="T76" fmla="*/ 56 w 65"/>
                  <a:gd name="T77" fmla="*/ 49 h 59"/>
                  <a:gd name="T78" fmla="*/ 62 w 65"/>
                  <a:gd name="T79" fmla="*/ 47 h 59"/>
                  <a:gd name="T80" fmla="*/ 65 w 65"/>
                  <a:gd name="T81" fmla="*/ 46 h 59"/>
                  <a:gd name="T82" fmla="*/ 65 w 65"/>
                  <a:gd name="T83" fmla="*/ 44 h 59"/>
                  <a:gd name="T84" fmla="*/ 63 w 65"/>
                  <a:gd name="T85" fmla="*/ 42 h 59"/>
                  <a:gd name="T86" fmla="*/ 63 w 65"/>
                  <a:gd name="T87" fmla="*/ 37 h 59"/>
                  <a:gd name="T88" fmla="*/ 60 w 65"/>
                  <a:gd name="T89" fmla="*/ 33 h 59"/>
                  <a:gd name="T90" fmla="*/ 62 w 65"/>
                  <a:gd name="T91" fmla="*/ 29 h 59"/>
                  <a:gd name="T92" fmla="*/ 62 w 65"/>
                  <a:gd name="T93" fmla="*/ 26 h 59"/>
                  <a:gd name="T94" fmla="*/ 61 w 65"/>
                  <a:gd name="T95" fmla="*/ 25 h 59"/>
                  <a:gd name="T96" fmla="*/ 55 w 65"/>
                  <a:gd name="T97" fmla="*/ 27 h 59"/>
                  <a:gd name="T98" fmla="*/ 53 w 65"/>
                  <a:gd name="T99" fmla="*/ 25 h 59"/>
                  <a:gd name="T100" fmla="*/ 53 w 65"/>
                  <a:gd name="T101" fmla="*/ 22 h 59"/>
                  <a:gd name="T102" fmla="*/ 52 w 65"/>
                  <a:gd name="T103" fmla="*/ 18 h 59"/>
                  <a:gd name="T104" fmla="*/ 45 w 65"/>
                  <a:gd name="T105" fmla="*/ 18 h 59"/>
                  <a:gd name="T106" fmla="*/ 40 w 65"/>
                  <a:gd name="T107" fmla="*/ 18 h 59"/>
                  <a:gd name="T108" fmla="*/ 36 w 65"/>
                  <a:gd name="T109" fmla="*/ 17 h 59"/>
                  <a:gd name="T110" fmla="*/ 31 w 65"/>
                  <a:gd name="T111" fmla="*/ 17 h 59"/>
                  <a:gd name="T112" fmla="*/ 28 w 65"/>
                  <a:gd name="T113" fmla="*/ 15 h 59"/>
                  <a:gd name="T114" fmla="*/ 22 w 65"/>
                  <a:gd name="T115" fmla="*/ 15 h 59"/>
                  <a:gd name="T116" fmla="*/ 20 w 65"/>
                  <a:gd name="T117" fmla="*/ 11 h 59"/>
                  <a:gd name="T118" fmla="*/ 25 w 65"/>
                  <a:gd name="T119" fmla="*/ 10 h 59"/>
                  <a:gd name="T120" fmla="*/ 28 w 65"/>
                  <a:gd name="T121" fmla="*/ 11 h 59"/>
                  <a:gd name="T122" fmla="*/ 29 w 65"/>
                  <a:gd name="T123" fmla="*/ 1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 h="59">
                    <a:moveTo>
                      <a:pt x="29" y="10"/>
                    </a:moveTo>
                    <a:cubicBezTo>
                      <a:pt x="29" y="6"/>
                      <a:pt x="29" y="6"/>
                      <a:pt x="29" y="6"/>
                    </a:cubicBezTo>
                    <a:cubicBezTo>
                      <a:pt x="33" y="5"/>
                      <a:pt x="33" y="5"/>
                      <a:pt x="33" y="5"/>
                    </a:cubicBezTo>
                    <a:cubicBezTo>
                      <a:pt x="31" y="0"/>
                      <a:pt x="31" y="0"/>
                      <a:pt x="31" y="0"/>
                    </a:cubicBezTo>
                    <a:cubicBezTo>
                      <a:pt x="31" y="0"/>
                      <a:pt x="28" y="0"/>
                      <a:pt x="26" y="2"/>
                    </a:cubicBezTo>
                    <a:cubicBezTo>
                      <a:pt x="26" y="2"/>
                      <a:pt x="25" y="4"/>
                      <a:pt x="23" y="4"/>
                    </a:cubicBezTo>
                    <a:cubicBezTo>
                      <a:pt x="21" y="3"/>
                      <a:pt x="20" y="0"/>
                      <a:pt x="20" y="0"/>
                    </a:cubicBezTo>
                    <a:cubicBezTo>
                      <a:pt x="20" y="0"/>
                      <a:pt x="16" y="0"/>
                      <a:pt x="16" y="2"/>
                    </a:cubicBezTo>
                    <a:cubicBezTo>
                      <a:pt x="16" y="4"/>
                      <a:pt x="18" y="6"/>
                      <a:pt x="18" y="6"/>
                    </a:cubicBezTo>
                    <a:cubicBezTo>
                      <a:pt x="18" y="6"/>
                      <a:pt x="18" y="9"/>
                      <a:pt x="16" y="9"/>
                    </a:cubicBezTo>
                    <a:cubicBezTo>
                      <a:pt x="14" y="9"/>
                      <a:pt x="14" y="16"/>
                      <a:pt x="15" y="14"/>
                    </a:cubicBezTo>
                    <a:cubicBezTo>
                      <a:pt x="16" y="12"/>
                      <a:pt x="15" y="16"/>
                      <a:pt x="14" y="16"/>
                    </a:cubicBezTo>
                    <a:cubicBezTo>
                      <a:pt x="12" y="17"/>
                      <a:pt x="8" y="22"/>
                      <a:pt x="8" y="19"/>
                    </a:cubicBezTo>
                    <a:cubicBezTo>
                      <a:pt x="8" y="18"/>
                      <a:pt x="5" y="18"/>
                      <a:pt x="4" y="19"/>
                    </a:cubicBezTo>
                    <a:cubicBezTo>
                      <a:pt x="2" y="20"/>
                      <a:pt x="0" y="21"/>
                      <a:pt x="3" y="24"/>
                    </a:cubicBezTo>
                    <a:cubicBezTo>
                      <a:pt x="5" y="26"/>
                      <a:pt x="4" y="27"/>
                      <a:pt x="7" y="27"/>
                    </a:cubicBezTo>
                    <a:cubicBezTo>
                      <a:pt x="9" y="27"/>
                      <a:pt x="12" y="25"/>
                      <a:pt x="11" y="27"/>
                    </a:cubicBezTo>
                    <a:cubicBezTo>
                      <a:pt x="10" y="29"/>
                      <a:pt x="8" y="32"/>
                      <a:pt x="10" y="33"/>
                    </a:cubicBezTo>
                    <a:cubicBezTo>
                      <a:pt x="12" y="34"/>
                      <a:pt x="12" y="36"/>
                      <a:pt x="11" y="37"/>
                    </a:cubicBezTo>
                    <a:cubicBezTo>
                      <a:pt x="10" y="39"/>
                      <a:pt x="7" y="39"/>
                      <a:pt x="7" y="41"/>
                    </a:cubicBezTo>
                    <a:cubicBezTo>
                      <a:pt x="7" y="42"/>
                      <a:pt x="6" y="45"/>
                      <a:pt x="6" y="45"/>
                    </a:cubicBezTo>
                    <a:cubicBezTo>
                      <a:pt x="9" y="45"/>
                      <a:pt x="9" y="45"/>
                      <a:pt x="9" y="45"/>
                    </a:cubicBezTo>
                    <a:cubicBezTo>
                      <a:pt x="12" y="45"/>
                      <a:pt x="12" y="45"/>
                      <a:pt x="12" y="45"/>
                    </a:cubicBezTo>
                    <a:cubicBezTo>
                      <a:pt x="15" y="43"/>
                      <a:pt x="15" y="43"/>
                      <a:pt x="15" y="43"/>
                    </a:cubicBezTo>
                    <a:cubicBezTo>
                      <a:pt x="17" y="41"/>
                      <a:pt x="17" y="41"/>
                      <a:pt x="17" y="41"/>
                    </a:cubicBezTo>
                    <a:cubicBezTo>
                      <a:pt x="19" y="39"/>
                      <a:pt x="19" y="39"/>
                      <a:pt x="19" y="39"/>
                    </a:cubicBezTo>
                    <a:cubicBezTo>
                      <a:pt x="22" y="40"/>
                      <a:pt x="22" y="40"/>
                      <a:pt x="22" y="40"/>
                    </a:cubicBezTo>
                    <a:cubicBezTo>
                      <a:pt x="24" y="43"/>
                      <a:pt x="24" y="43"/>
                      <a:pt x="24" y="43"/>
                    </a:cubicBezTo>
                    <a:cubicBezTo>
                      <a:pt x="26" y="46"/>
                      <a:pt x="26" y="46"/>
                      <a:pt x="26" y="46"/>
                    </a:cubicBezTo>
                    <a:cubicBezTo>
                      <a:pt x="24" y="50"/>
                      <a:pt x="24" y="50"/>
                      <a:pt x="24" y="50"/>
                    </a:cubicBezTo>
                    <a:cubicBezTo>
                      <a:pt x="23" y="55"/>
                      <a:pt x="23" y="55"/>
                      <a:pt x="23" y="55"/>
                    </a:cubicBezTo>
                    <a:cubicBezTo>
                      <a:pt x="27" y="59"/>
                      <a:pt x="27" y="59"/>
                      <a:pt x="27" y="59"/>
                    </a:cubicBezTo>
                    <a:cubicBezTo>
                      <a:pt x="31" y="58"/>
                      <a:pt x="31" y="58"/>
                      <a:pt x="31" y="58"/>
                    </a:cubicBezTo>
                    <a:cubicBezTo>
                      <a:pt x="35" y="55"/>
                      <a:pt x="35" y="55"/>
                      <a:pt x="35" y="55"/>
                    </a:cubicBezTo>
                    <a:cubicBezTo>
                      <a:pt x="37" y="51"/>
                      <a:pt x="37" y="51"/>
                      <a:pt x="37" y="51"/>
                    </a:cubicBezTo>
                    <a:cubicBezTo>
                      <a:pt x="40" y="51"/>
                      <a:pt x="40" y="51"/>
                      <a:pt x="40" y="51"/>
                    </a:cubicBezTo>
                    <a:cubicBezTo>
                      <a:pt x="46" y="47"/>
                      <a:pt x="46" y="47"/>
                      <a:pt x="46" y="47"/>
                    </a:cubicBezTo>
                    <a:cubicBezTo>
                      <a:pt x="49" y="47"/>
                      <a:pt x="49" y="47"/>
                      <a:pt x="49" y="47"/>
                    </a:cubicBezTo>
                    <a:cubicBezTo>
                      <a:pt x="56" y="49"/>
                      <a:pt x="56" y="49"/>
                      <a:pt x="56" y="49"/>
                    </a:cubicBezTo>
                    <a:cubicBezTo>
                      <a:pt x="62" y="47"/>
                      <a:pt x="62" y="47"/>
                      <a:pt x="62" y="47"/>
                    </a:cubicBezTo>
                    <a:cubicBezTo>
                      <a:pt x="65" y="46"/>
                      <a:pt x="65" y="46"/>
                      <a:pt x="65" y="46"/>
                    </a:cubicBezTo>
                    <a:cubicBezTo>
                      <a:pt x="65" y="44"/>
                      <a:pt x="65" y="44"/>
                      <a:pt x="65" y="44"/>
                    </a:cubicBezTo>
                    <a:cubicBezTo>
                      <a:pt x="63" y="42"/>
                      <a:pt x="63" y="42"/>
                      <a:pt x="63" y="42"/>
                    </a:cubicBezTo>
                    <a:cubicBezTo>
                      <a:pt x="63" y="37"/>
                      <a:pt x="63" y="37"/>
                      <a:pt x="63" y="37"/>
                    </a:cubicBezTo>
                    <a:cubicBezTo>
                      <a:pt x="60" y="33"/>
                      <a:pt x="60" y="33"/>
                      <a:pt x="60" y="33"/>
                    </a:cubicBezTo>
                    <a:cubicBezTo>
                      <a:pt x="62" y="29"/>
                      <a:pt x="62" y="29"/>
                      <a:pt x="62" y="29"/>
                    </a:cubicBezTo>
                    <a:cubicBezTo>
                      <a:pt x="62" y="26"/>
                      <a:pt x="62" y="26"/>
                      <a:pt x="62" y="26"/>
                    </a:cubicBezTo>
                    <a:cubicBezTo>
                      <a:pt x="61" y="25"/>
                      <a:pt x="61" y="25"/>
                      <a:pt x="61" y="25"/>
                    </a:cubicBezTo>
                    <a:cubicBezTo>
                      <a:pt x="55" y="27"/>
                      <a:pt x="55" y="27"/>
                      <a:pt x="55" y="27"/>
                    </a:cubicBezTo>
                    <a:cubicBezTo>
                      <a:pt x="53" y="25"/>
                      <a:pt x="53" y="25"/>
                      <a:pt x="53" y="25"/>
                    </a:cubicBezTo>
                    <a:cubicBezTo>
                      <a:pt x="53" y="22"/>
                      <a:pt x="53" y="22"/>
                      <a:pt x="53" y="22"/>
                    </a:cubicBezTo>
                    <a:cubicBezTo>
                      <a:pt x="53" y="22"/>
                      <a:pt x="53" y="20"/>
                      <a:pt x="52" y="18"/>
                    </a:cubicBezTo>
                    <a:cubicBezTo>
                      <a:pt x="50" y="17"/>
                      <a:pt x="48" y="17"/>
                      <a:pt x="45" y="18"/>
                    </a:cubicBezTo>
                    <a:cubicBezTo>
                      <a:pt x="43" y="19"/>
                      <a:pt x="40" y="18"/>
                      <a:pt x="40" y="18"/>
                    </a:cubicBezTo>
                    <a:cubicBezTo>
                      <a:pt x="40" y="18"/>
                      <a:pt x="38" y="19"/>
                      <a:pt x="36" y="17"/>
                    </a:cubicBezTo>
                    <a:cubicBezTo>
                      <a:pt x="35" y="15"/>
                      <a:pt x="33" y="17"/>
                      <a:pt x="31" y="17"/>
                    </a:cubicBezTo>
                    <a:cubicBezTo>
                      <a:pt x="29" y="18"/>
                      <a:pt x="28" y="15"/>
                      <a:pt x="28" y="15"/>
                    </a:cubicBezTo>
                    <a:cubicBezTo>
                      <a:pt x="22" y="15"/>
                      <a:pt x="22" y="15"/>
                      <a:pt x="22" y="15"/>
                    </a:cubicBezTo>
                    <a:cubicBezTo>
                      <a:pt x="20" y="11"/>
                      <a:pt x="20" y="11"/>
                      <a:pt x="20" y="11"/>
                    </a:cubicBezTo>
                    <a:cubicBezTo>
                      <a:pt x="25" y="10"/>
                      <a:pt x="25" y="10"/>
                      <a:pt x="25" y="10"/>
                    </a:cubicBezTo>
                    <a:cubicBezTo>
                      <a:pt x="28" y="11"/>
                      <a:pt x="28" y="11"/>
                      <a:pt x="28" y="11"/>
                    </a:cubicBezTo>
                    <a:lnTo>
                      <a:pt x="29" y="10"/>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74" name="Freeform 53">
                <a:extLst>
                  <a:ext uri="{FF2B5EF4-FFF2-40B4-BE49-F238E27FC236}">
                    <a16:creationId xmlns:a16="http://schemas.microsoft.com/office/drawing/2014/main" id="{A3328156-0915-80D9-E5C5-CDB8085E402B}"/>
                  </a:ext>
                </a:extLst>
              </p:cNvPr>
              <p:cNvSpPr>
                <a:spLocks/>
              </p:cNvSpPr>
              <p:nvPr/>
            </p:nvSpPr>
            <p:spPr bwMode="auto">
              <a:xfrm>
                <a:off x="5145" y="1715"/>
                <a:ext cx="35" cy="69"/>
              </a:xfrm>
              <a:custGeom>
                <a:avLst/>
                <a:gdLst>
                  <a:gd name="T0" fmla="*/ 13 w 18"/>
                  <a:gd name="T1" fmla="*/ 0 h 35"/>
                  <a:gd name="T2" fmla="*/ 10 w 18"/>
                  <a:gd name="T3" fmla="*/ 2 h 35"/>
                  <a:gd name="T4" fmla="*/ 9 w 18"/>
                  <a:gd name="T5" fmla="*/ 7 h 35"/>
                  <a:gd name="T6" fmla="*/ 5 w 18"/>
                  <a:gd name="T7" fmla="*/ 12 h 35"/>
                  <a:gd name="T8" fmla="*/ 5 w 18"/>
                  <a:gd name="T9" fmla="*/ 16 h 35"/>
                  <a:gd name="T10" fmla="*/ 2 w 18"/>
                  <a:gd name="T11" fmla="*/ 18 h 35"/>
                  <a:gd name="T12" fmla="*/ 1 w 18"/>
                  <a:gd name="T13" fmla="*/ 28 h 35"/>
                  <a:gd name="T14" fmla="*/ 4 w 18"/>
                  <a:gd name="T15" fmla="*/ 32 h 35"/>
                  <a:gd name="T16" fmla="*/ 7 w 18"/>
                  <a:gd name="T17" fmla="*/ 35 h 35"/>
                  <a:gd name="T18" fmla="*/ 8 w 18"/>
                  <a:gd name="T19" fmla="*/ 31 h 35"/>
                  <a:gd name="T20" fmla="*/ 11 w 18"/>
                  <a:gd name="T21" fmla="*/ 29 h 35"/>
                  <a:gd name="T22" fmla="*/ 11 w 18"/>
                  <a:gd name="T23" fmla="*/ 26 h 35"/>
                  <a:gd name="T24" fmla="*/ 13 w 18"/>
                  <a:gd name="T25" fmla="*/ 24 h 35"/>
                  <a:gd name="T26" fmla="*/ 13 w 18"/>
                  <a:gd name="T27" fmla="*/ 16 h 35"/>
                  <a:gd name="T28" fmla="*/ 17 w 18"/>
                  <a:gd name="T29" fmla="*/ 3 h 35"/>
                  <a:gd name="T30" fmla="*/ 13 w 18"/>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35">
                    <a:moveTo>
                      <a:pt x="13" y="0"/>
                    </a:moveTo>
                    <a:cubicBezTo>
                      <a:pt x="12" y="1"/>
                      <a:pt x="11" y="1"/>
                      <a:pt x="10" y="2"/>
                    </a:cubicBezTo>
                    <a:cubicBezTo>
                      <a:pt x="9" y="4"/>
                      <a:pt x="10" y="5"/>
                      <a:pt x="9" y="7"/>
                    </a:cubicBezTo>
                    <a:cubicBezTo>
                      <a:pt x="8" y="9"/>
                      <a:pt x="6" y="9"/>
                      <a:pt x="5" y="12"/>
                    </a:cubicBezTo>
                    <a:cubicBezTo>
                      <a:pt x="4" y="13"/>
                      <a:pt x="5" y="15"/>
                      <a:pt x="5" y="16"/>
                    </a:cubicBezTo>
                    <a:cubicBezTo>
                      <a:pt x="4" y="17"/>
                      <a:pt x="3" y="17"/>
                      <a:pt x="2" y="18"/>
                    </a:cubicBezTo>
                    <a:cubicBezTo>
                      <a:pt x="1" y="20"/>
                      <a:pt x="0" y="25"/>
                      <a:pt x="1" y="28"/>
                    </a:cubicBezTo>
                    <a:cubicBezTo>
                      <a:pt x="1" y="29"/>
                      <a:pt x="3" y="31"/>
                      <a:pt x="4" y="32"/>
                    </a:cubicBezTo>
                    <a:cubicBezTo>
                      <a:pt x="5" y="33"/>
                      <a:pt x="6" y="34"/>
                      <a:pt x="7" y="35"/>
                    </a:cubicBezTo>
                    <a:cubicBezTo>
                      <a:pt x="7" y="34"/>
                      <a:pt x="7" y="32"/>
                      <a:pt x="8" y="31"/>
                    </a:cubicBezTo>
                    <a:cubicBezTo>
                      <a:pt x="9" y="30"/>
                      <a:pt x="11" y="30"/>
                      <a:pt x="11" y="29"/>
                    </a:cubicBezTo>
                    <a:cubicBezTo>
                      <a:pt x="12" y="28"/>
                      <a:pt x="11" y="26"/>
                      <a:pt x="11" y="26"/>
                    </a:cubicBezTo>
                    <a:cubicBezTo>
                      <a:pt x="13" y="24"/>
                      <a:pt x="13" y="24"/>
                      <a:pt x="13" y="24"/>
                    </a:cubicBezTo>
                    <a:cubicBezTo>
                      <a:pt x="13" y="20"/>
                      <a:pt x="13" y="19"/>
                      <a:pt x="13" y="16"/>
                    </a:cubicBezTo>
                    <a:cubicBezTo>
                      <a:pt x="14" y="14"/>
                      <a:pt x="18" y="4"/>
                      <a:pt x="17" y="3"/>
                    </a:cubicBezTo>
                    <a:cubicBezTo>
                      <a:pt x="17" y="0"/>
                      <a:pt x="14" y="1"/>
                      <a:pt x="13"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75" name="Freeform 54">
                <a:extLst>
                  <a:ext uri="{FF2B5EF4-FFF2-40B4-BE49-F238E27FC236}">
                    <a16:creationId xmlns:a16="http://schemas.microsoft.com/office/drawing/2014/main" id="{793BBDE3-FDF0-C2C8-E337-7751A5F74CE4}"/>
                  </a:ext>
                </a:extLst>
              </p:cNvPr>
              <p:cNvSpPr>
                <a:spLocks/>
              </p:cNvSpPr>
              <p:nvPr/>
            </p:nvSpPr>
            <p:spPr bwMode="auto">
              <a:xfrm>
                <a:off x="5145" y="1715"/>
                <a:ext cx="35" cy="69"/>
              </a:xfrm>
              <a:custGeom>
                <a:avLst/>
                <a:gdLst>
                  <a:gd name="T0" fmla="*/ 13 w 18"/>
                  <a:gd name="T1" fmla="*/ 0 h 35"/>
                  <a:gd name="T2" fmla="*/ 10 w 18"/>
                  <a:gd name="T3" fmla="*/ 2 h 35"/>
                  <a:gd name="T4" fmla="*/ 9 w 18"/>
                  <a:gd name="T5" fmla="*/ 7 h 35"/>
                  <a:gd name="T6" fmla="*/ 5 w 18"/>
                  <a:gd name="T7" fmla="*/ 12 h 35"/>
                  <a:gd name="T8" fmla="*/ 5 w 18"/>
                  <a:gd name="T9" fmla="*/ 16 h 35"/>
                  <a:gd name="T10" fmla="*/ 2 w 18"/>
                  <a:gd name="T11" fmla="*/ 18 h 35"/>
                  <a:gd name="T12" fmla="*/ 1 w 18"/>
                  <a:gd name="T13" fmla="*/ 28 h 35"/>
                  <a:gd name="T14" fmla="*/ 4 w 18"/>
                  <a:gd name="T15" fmla="*/ 32 h 35"/>
                  <a:gd name="T16" fmla="*/ 7 w 18"/>
                  <a:gd name="T17" fmla="*/ 35 h 35"/>
                  <a:gd name="T18" fmla="*/ 8 w 18"/>
                  <a:gd name="T19" fmla="*/ 31 h 35"/>
                  <a:gd name="T20" fmla="*/ 11 w 18"/>
                  <a:gd name="T21" fmla="*/ 29 h 35"/>
                  <a:gd name="T22" fmla="*/ 11 w 18"/>
                  <a:gd name="T23" fmla="*/ 26 h 35"/>
                  <a:gd name="T24" fmla="*/ 13 w 18"/>
                  <a:gd name="T25" fmla="*/ 24 h 35"/>
                  <a:gd name="T26" fmla="*/ 13 w 18"/>
                  <a:gd name="T27" fmla="*/ 16 h 35"/>
                  <a:gd name="T28" fmla="*/ 17 w 18"/>
                  <a:gd name="T29" fmla="*/ 3 h 35"/>
                  <a:gd name="T30" fmla="*/ 13 w 18"/>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35">
                    <a:moveTo>
                      <a:pt x="13" y="0"/>
                    </a:moveTo>
                    <a:cubicBezTo>
                      <a:pt x="12" y="1"/>
                      <a:pt x="11" y="1"/>
                      <a:pt x="10" y="2"/>
                    </a:cubicBezTo>
                    <a:cubicBezTo>
                      <a:pt x="9" y="4"/>
                      <a:pt x="10" y="5"/>
                      <a:pt x="9" y="7"/>
                    </a:cubicBezTo>
                    <a:cubicBezTo>
                      <a:pt x="8" y="9"/>
                      <a:pt x="6" y="9"/>
                      <a:pt x="5" y="12"/>
                    </a:cubicBezTo>
                    <a:cubicBezTo>
                      <a:pt x="4" y="13"/>
                      <a:pt x="5" y="15"/>
                      <a:pt x="5" y="16"/>
                    </a:cubicBezTo>
                    <a:cubicBezTo>
                      <a:pt x="4" y="17"/>
                      <a:pt x="3" y="17"/>
                      <a:pt x="2" y="18"/>
                    </a:cubicBezTo>
                    <a:cubicBezTo>
                      <a:pt x="1" y="20"/>
                      <a:pt x="0" y="25"/>
                      <a:pt x="1" y="28"/>
                    </a:cubicBezTo>
                    <a:cubicBezTo>
                      <a:pt x="1" y="29"/>
                      <a:pt x="3" y="31"/>
                      <a:pt x="4" y="32"/>
                    </a:cubicBezTo>
                    <a:cubicBezTo>
                      <a:pt x="5" y="33"/>
                      <a:pt x="6" y="34"/>
                      <a:pt x="7" y="35"/>
                    </a:cubicBezTo>
                    <a:cubicBezTo>
                      <a:pt x="7" y="34"/>
                      <a:pt x="7" y="32"/>
                      <a:pt x="8" y="31"/>
                    </a:cubicBezTo>
                    <a:cubicBezTo>
                      <a:pt x="9" y="30"/>
                      <a:pt x="11" y="30"/>
                      <a:pt x="11" y="29"/>
                    </a:cubicBezTo>
                    <a:cubicBezTo>
                      <a:pt x="12" y="28"/>
                      <a:pt x="11" y="26"/>
                      <a:pt x="11" y="26"/>
                    </a:cubicBezTo>
                    <a:cubicBezTo>
                      <a:pt x="13" y="24"/>
                      <a:pt x="13" y="24"/>
                      <a:pt x="13" y="24"/>
                    </a:cubicBezTo>
                    <a:cubicBezTo>
                      <a:pt x="13" y="20"/>
                      <a:pt x="13" y="19"/>
                      <a:pt x="13" y="16"/>
                    </a:cubicBezTo>
                    <a:cubicBezTo>
                      <a:pt x="14" y="14"/>
                      <a:pt x="18" y="4"/>
                      <a:pt x="17" y="3"/>
                    </a:cubicBezTo>
                    <a:cubicBezTo>
                      <a:pt x="17" y="0"/>
                      <a:pt x="14" y="1"/>
                      <a:pt x="13"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76" name="Freeform 55">
                <a:extLst>
                  <a:ext uri="{FF2B5EF4-FFF2-40B4-BE49-F238E27FC236}">
                    <a16:creationId xmlns:a16="http://schemas.microsoft.com/office/drawing/2014/main" id="{8F2F3C9E-5B1F-2F49-98C1-E501E75A177A}"/>
                  </a:ext>
                </a:extLst>
              </p:cNvPr>
              <p:cNvSpPr>
                <a:spLocks/>
              </p:cNvSpPr>
              <p:nvPr/>
            </p:nvSpPr>
            <p:spPr bwMode="auto">
              <a:xfrm>
                <a:off x="3723" y="1442"/>
                <a:ext cx="110" cy="118"/>
              </a:xfrm>
              <a:custGeom>
                <a:avLst/>
                <a:gdLst>
                  <a:gd name="T0" fmla="*/ 0 w 56"/>
                  <a:gd name="T1" fmla="*/ 21 h 60"/>
                  <a:gd name="T2" fmla="*/ 0 w 56"/>
                  <a:gd name="T3" fmla="*/ 23 h 60"/>
                  <a:gd name="T4" fmla="*/ 0 w 56"/>
                  <a:gd name="T5" fmla="*/ 25 h 60"/>
                  <a:gd name="T6" fmla="*/ 2 w 56"/>
                  <a:gd name="T7" fmla="*/ 26 h 60"/>
                  <a:gd name="T8" fmla="*/ 2 w 56"/>
                  <a:gd name="T9" fmla="*/ 30 h 60"/>
                  <a:gd name="T10" fmla="*/ 1 w 56"/>
                  <a:gd name="T11" fmla="*/ 31 h 60"/>
                  <a:gd name="T12" fmla="*/ 1 w 56"/>
                  <a:gd name="T13" fmla="*/ 32 h 60"/>
                  <a:gd name="T14" fmla="*/ 2 w 56"/>
                  <a:gd name="T15" fmla="*/ 33 h 60"/>
                  <a:gd name="T16" fmla="*/ 3 w 56"/>
                  <a:gd name="T17" fmla="*/ 35 h 60"/>
                  <a:gd name="T18" fmla="*/ 7 w 56"/>
                  <a:gd name="T19" fmla="*/ 33 h 60"/>
                  <a:gd name="T20" fmla="*/ 11 w 56"/>
                  <a:gd name="T21" fmla="*/ 36 h 60"/>
                  <a:gd name="T22" fmla="*/ 7 w 56"/>
                  <a:gd name="T23" fmla="*/ 45 h 60"/>
                  <a:gd name="T24" fmla="*/ 6 w 56"/>
                  <a:gd name="T25" fmla="*/ 51 h 60"/>
                  <a:gd name="T26" fmla="*/ 3 w 56"/>
                  <a:gd name="T27" fmla="*/ 53 h 60"/>
                  <a:gd name="T28" fmla="*/ 1 w 56"/>
                  <a:gd name="T29" fmla="*/ 57 h 60"/>
                  <a:gd name="T30" fmla="*/ 2 w 56"/>
                  <a:gd name="T31" fmla="*/ 60 h 60"/>
                  <a:gd name="T32" fmla="*/ 7 w 56"/>
                  <a:gd name="T33" fmla="*/ 58 h 60"/>
                  <a:gd name="T34" fmla="*/ 14 w 56"/>
                  <a:gd name="T35" fmla="*/ 60 h 60"/>
                  <a:gd name="T36" fmla="*/ 27 w 56"/>
                  <a:gd name="T37" fmla="*/ 50 h 60"/>
                  <a:gd name="T38" fmla="*/ 45 w 56"/>
                  <a:gd name="T39" fmla="*/ 36 h 60"/>
                  <a:gd name="T40" fmla="*/ 47 w 56"/>
                  <a:gd name="T41" fmla="*/ 33 h 60"/>
                  <a:gd name="T42" fmla="*/ 49 w 56"/>
                  <a:gd name="T43" fmla="*/ 28 h 60"/>
                  <a:gd name="T44" fmla="*/ 49 w 56"/>
                  <a:gd name="T45" fmla="*/ 24 h 60"/>
                  <a:gd name="T46" fmla="*/ 51 w 56"/>
                  <a:gd name="T47" fmla="*/ 18 h 60"/>
                  <a:gd name="T48" fmla="*/ 50 w 56"/>
                  <a:gd name="T49" fmla="*/ 14 h 60"/>
                  <a:gd name="T50" fmla="*/ 54 w 56"/>
                  <a:gd name="T51" fmla="*/ 9 h 60"/>
                  <a:gd name="T52" fmla="*/ 56 w 56"/>
                  <a:gd name="T53" fmla="*/ 3 h 60"/>
                  <a:gd name="T54" fmla="*/ 54 w 56"/>
                  <a:gd name="T55" fmla="*/ 3 h 60"/>
                  <a:gd name="T56" fmla="*/ 54 w 56"/>
                  <a:gd name="T57" fmla="*/ 2 h 60"/>
                  <a:gd name="T58" fmla="*/ 53 w 56"/>
                  <a:gd name="T59" fmla="*/ 0 h 60"/>
                  <a:gd name="T60" fmla="*/ 46 w 56"/>
                  <a:gd name="T61" fmla="*/ 3 h 60"/>
                  <a:gd name="T62" fmla="*/ 34 w 56"/>
                  <a:gd name="T63" fmla="*/ 5 h 60"/>
                  <a:gd name="T64" fmla="*/ 23 w 56"/>
                  <a:gd name="T65" fmla="*/ 9 h 60"/>
                  <a:gd name="T66" fmla="*/ 17 w 56"/>
                  <a:gd name="T67" fmla="*/ 8 h 60"/>
                  <a:gd name="T68" fmla="*/ 13 w 56"/>
                  <a:gd name="T69" fmla="*/ 11 h 60"/>
                  <a:gd name="T70" fmla="*/ 9 w 56"/>
                  <a:gd name="T71" fmla="*/ 10 h 60"/>
                  <a:gd name="T72" fmla="*/ 9 w 56"/>
                  <a:gd name="T73" fmla="*/ 14 h 60"/>
                  <a:gd name="T74" fmla="*/ 7 w 56"/>
                  <a:gd name="T75" fmla="*/ 17 h 60"/>
                  <a:gd name="T76" fmla="*/ 3 w 56"/>
                  <a:gd name="T77" fmla="*/ 21 h 60"/>
                  <a:gd name="T78" fmla="*/ 0 w 56"/>
                  <a:gd name="T79" fmla="*/ 2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0">
                    <a:moveTo>
                      <a:pt x="0" y="21"/>
                    </a:moveTo>
                    <a:cubicBezTo>
                      <a:pt x="0" y="22"/>
                      <a:pt x="0" y="23"/>
                      <a:pt x="0" y="23"/>
                    </a:cubicBezTo>
                    <a:cubicBezTo>
                      <a:pt x="0" y="25"/>
                      <a:pt x="0" y="25"/>
                      <a:pt x="0" y="25"/>
                    </a:cubicBezTo>
                    <a:cubicBezTo>
                      <a:pt x="0" y="26"/>
                      <a:pt x="1" y="25"/>
                      <a:pt x="2" y="26"/>
                    </a:cubicBezTo>
                    <a:cubicBezTo>
                      <a:pt x="2" y="27"/>
                      <a:pt x="2" y="29"/>
                      <a:pt x="2" y="30"/>
                    </a:cubicBezTo>
                    <a:cubicBezTo>
                      <a:pt x="1" y="29"/>
                      <a:pt x="2" y="31"/>
                      <a:pt x="1" y="31"/>
                    </a:cubicBezTo>
                    <a:cubicBezTo>
                      <a:pt x="0" y="30"/>
                      <a:pt x="1" y="32"/>
                      <a:pt x="1" y="32"/>
                    </a:cubicBezTo>
                    <a:cubicBezTo>
                      <a:pt x="1" y="32"/>
                      <a:pt x="2" y="33"/>
                      <a:pt x="2" y="33"/>
                    </a:cubicBezTo>
                    <a:cubicBezTo>
                      <a:pt x="2" y="33"/>
                      <a:pt x="3" y="34"/>
                      <a:pt x="3" y="35"/>
                    </a:cubicBezTo>
                    <a:cubicBezTo>
                      <a:pt x="3" y="35"/>
                      <a:pt x="6" y="32"/>
                      <a:pt x="7" y="33"/>
                    </a:cubicBezTo>
                    <a:cubicBezTo>
                      <a:pt x="9" y="34"/>
                      <a:pt x="11" y="34"/>
                      <a:pt x="11" y="36"/>
                    </a:cubicBezTo>
                    <a:cubicBezTo>
                      <a:pt x="11" y="39"/>
                      <a:pt x="9" y="42"/>
                      <a:pt x="7" y="45"/>
                    </a:cubicBezTo>
                    <a:cubicBezTo>
                      <a:pt x="6" y="45"/>
                      <a:pt x="7" y="49"/>
                      <a:pt x="6" y="51"/>
                    </a:cubicBezTo>
                    <a:cubicBezTo>
                      <a:pt x="5" y="52"/>
                      <a:pt x="4" y="51"/>
                      <a:pt x="3" y="53"/>
                    </a:cubicBezTo>
                    <a:cubicBezTo>
                      <a:pt x="2" y="54"/>
                      <a:pt x="1" y="57"/>
                      <a:pt x="1" y="57"/>
                    </a:cubicBezTo>
                    <a:cubicBezTo>
                      <a:pt x="2" y="60"/>
                      <a:pt x="2" y="60"/>
                      <a:pt x="2" y="60"/>
                    </a:cubicBezTo>
                    <a:cubicBezTo>
                      <a:pt x="2" y="60"/>
                      <a:pt x="6" y="57"/>
                      <a:pt x="7" y="58"/>
                    </a:cubicBezTo>
                    <a:cubicBezTo>
                      <a:pt x="8" y="60"/>
                      <a:pt x="14" y="60"/>
                      <a:pt x="14" y="60"/>
                    </a:cubicBezTo>
                    <a:cubicBezTo>
                      <a:pt x="27" y="50"/>
                      <a:pt x="27" y="50"/>
                      <a:pt x="27" y="50"/>
                    </a:cubicBezTo>
                    <a:cubicBezTo>
                      <a:pt x="45" y="36"/>
                      <a:pt x="45" y="36"/>
                      <a:pt x="45" y="36"/>
                    </a:cubicBezTo>
                    <a:cubicBezTo>
                      <a:pt x="45" y="36"/>
                      <a:pt x="46" y="35"/>
                      <a:pt x="47" y="33"/>
                    </a:cubicBezTo>
                    <a:cubicBezTo>
                      <a:pt x="48" y="31"/>
                      <a:pt x="48" y="31"/>
                      <a:pt x="49" y="28"/>
                    </a:cubicBezTo>
                    <a:cubicBezTo>
                      <a:pt x="50" y="26"/>
                      <a:pt x="50" y="27"/>
                      <a:pt x="49" y="24"/>
                    </a:cubicBezTo>
                    <a:cubicBezTo>
                      <a:pt x="48" y="21"/>
                      <a:pt x="50" y="21"/>
                      <a:pt x="51" y="18"/>
                    </a:cubicBezTo>
                    <a:cubicBezTo>
                      <a:pt x="51" y="16"/>
                      <a:pt x="50" y="17"/>
                      <a:pt x="50" y="14"/>
                    </a:cubicBezTo>
                    <a:cubicBezTo>
                      <a:pt x="50" y="11"/>
                      <a:pt x="52" y="10"/>
                      <a:pt x="54" y="9"/>
                    </a:cubicBezTo>
                    <a:cubicBezTo>
                      <a:pt x="56" y="7"/>
                      <a:pt x="56" y="3"/>
                      <a:pt x="56" y="3"/>
                    </a:cubicBezTo>
                    <a:cubicBezTo>
                      <a:pt x="55" y="3"/>
                      <a:pt x="54" y="3"/>
                      <a:pt x="54" y="3"/>
                    </a:cubicBezTo>
                    <a:cubicBezTo>
                      <a:pt x="54" y="2"/>
                      <a:pt x="54" y="2"/>
                      <a:pt x="54" y="2"/>
                    </a:cubicBezTo>
                    <a:cubicBezTo>
                      <a:pt x="53" y="0"/>
                      <a:pt x="53" y="0"/>
                      <a:pt x="53" y="0"/>
                    </a:cubicBezTo>
                    <a:cubicBezTo>
                      <a:pt x="52" y="0"/>
                      <a:pt x="48" y="2"/>
                      <a:pt x="46" y="3"/>
                    </a:cubicBezTo>
                    <a:cubicBezTo>
                      <a:pt x="44" y="5"/>
                      <a:pt x="36" y="4"/>
                      <a:pt x="34" y="5"/>
                    </a:cubicBezTo>
                    <a:cubicBezTo>
                      <a:pt x="30" y="9"/>
                      <a:pt x="25" y="7"/>
                      <a:pt x="23" y="9"/>
                    </a:cubicBezTo>
                    <a:cubicBezTo>
                      <a:pt x="21" y="10"/>
                      <a:pt x="19" y="8"/>
                      <a:pt x="17" y="8"/>
                    </a:cubicBezTo>
                    <a:cubicBezTo>
                      <a:pt x="15" y="8"/>
                      <a:pt x="15" y="10"/>
                      <a:pt x="13" y="11"/>
                    </a:cubicBezTo>
                    <a:cubicBezTo>
                      <a:pt x="12" y="12"/>
                      <a:pt x="11" y="9"/>
                      <a:pt x="9" y="10"/>
                    </a:cubicBezTo>
                    <a:cubicBezTo>
                      <a:pt x="7" y="12"/>
                      <a:pt x="9" y="13"/>
                      <a:pt x="9" y="14"/>
                    </a:cubicBezTo>
                    <a:cubicBezTo>
                      <a:pt x="9" y="16"/>
                      <a:pt x="9" y="17"/>
                      <a:pt x="7" y="17"/>
                    </a:cubicBezTo>
                    <a:cubicBezTo>
                      <a:pt x="4" y="17"/>
                      <a:pt x="6" y="20"/>
                      <a:pt x="3" y="21"/>
                    </a:cubicBezTo>
                    <a:cubicBezTo>
                      <a:pt x="2" y="21"/>
                      <a:pt x="1" y="21"/>
                      <a:pt x="0" y="2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77" name="Freeform 56">
                <a:extLst>
                  <a:ext uri="{FF2B5EF4-FFF2-40B4-BE49-F238E27FC236}">
                    <a16:creationId xmlns:a16="http://schemas.microsoft.com/office/drawing/2014/main" id="{F8C727AA-45E3-0562-3678-684D7FF872FF}"/>
                  </a:ext>
                </a:extLst>
              </p:cNvPr>
              <p:cNvSpPr>
                <a:spLocks/>
              </p:cNvSpPr>
              <p:nvPr/>
            </p:nvSpPr>
            <p:spPr bwMode="auto">
              <a:xfrm>
                <a:off x="3723" y="1442"/>
                <a:ext cx="110" cy="118"/>
              </a:xfrm>
              <a:custGeom>
                <a:avLst/>
                <a:gdLst>
                  <a:gd name="T0" fmla="*/ 0 w 56"/>
                  <a:gd name="T1" fmla="*/ 21 h 60"/>
                  <a:gd name="T2" fmla="*/ 0 w 56"/>
                  <a:gd name="T3" fmla="*/ 23 h 60"/>
                  <a:gd name="T4" fmla="*/ 0 w 56"/>
                  <a:gd name="T5" fmla="*/ 25 h 60"/>
                  <a:gd name="T6" fmla="*/ 2 w 56"/>
                  <a:gd name="T7" fmla="*/ 26 h 60"/>
                  <a:gd name="T8" fmla="*/ 2 w 56"/>
                  <a:gd name="T9" fmla="*/ 30 h 60"/>
                  <a:gd name="T10" fmla="*/ 1 w 56"/>
                  <a:gd name="T11" fmla="*/ 31 h 60"/>
                  <a:gd name="T12" fmla="*/ 1 w 56"/>
                  <a:gd name="T13" fmla="*/ 32 h 60"/>
                  <a:gd name="T14" fmla="*/ 2 w 56"/>
                  <a:gd name="T15" fmla="*/ 33 h 60"/>
                  <a:gd name="T16" fmla="*/ 3 w 56"/>
                  <a:gd name="T17" fmla="*/ 35 h 60"/>
                  <a:gd name="T18" fmla="*/ 7 w 56"/>
                  <a:gd name="T19" fmla="*/ 33 h 60"/>
                  <a:gd name="T20" fmla="*/ 11 w 56"/>
                  <a:gd name="T21" fmla="*/ 36 h 60"/>
                  <a:gd name="T22" fmla="*/ 7 w 56"/>
                  <a:gd name="T23" fmla="*/ 45 h 60"/>
                  <a:gd name="T24" fmla="*/ 6 w 56"/>
                  <a:gd name="T25" fmla="*/ 51 h 60"/>
                  <a:gd name="T26" fmla="*/ 3 w 56"/>
                  <a:gd name="T27" fmla="*/ 53 h 60"/>
                  <a:gd name="T28" fmla="*/ 1 w 56"/>
                  <a:gd name="T29" fmla="*/ 57 h 60"/>
                  <a:gd name="T30" fmla="*/ 2 w 56"/>
                  <a:gd name="T31" fmla="*/ 60 h 60"/>
                  <a:gd name="T32" fmla="*/ 7 w 56"/>
                  <a:gd name="T33" fmla="*/ 58 h 60"/>
                  <a:gd name="T34" fmla="*/ 14 w 56"/>
                  <a:gd name="T35" fmla="*/ 60 h 60"/>
                  <a:gd name="T36" fmla="*/ 27 w 56"/>
                  <a:gd name="T37" fmla="*/ 50 h 60"/>
                  <a:gd name="T38" fmla="*/ 45 w 56"/>
                  <a:gd name="T39" fmla="*/ 36 h 60"/>
                  <a:gd name="T40" fmla="*/ 47 w 56"/>
                  <a:gd name="T41" fmla="*/ 33 h 60"/>
                  <a:gd name="T42" fmla="*/ 49 w 56"/>
                  <a:gd name="T43" fmla="*/ 28 h 60"/>
                  <a:gd name="T44" fmla="*/ 49 w 56"/>
                  <a:gd name="T45" fmla="*/ 24 h 60"/>
                  <a:gd name="T46" fmla="*/ 51 w 56"/>
                  <a:gd name="T47" fmla="*/ 18 h 60"/>
                  <a:gd name="T48" fmla="*/ 50 w 56"/>
                  <a:gd name="T49" fmla="*/ 14 h 60"/>
                  <a:gd name="T50" fmla="*/ 54 w 56"/>
                  <a:gd name="T51" fmla="*/ 9 h 60"/>
                  <a:gd name="T52" fmla="*/ 56 w 56"/>
                  <a:gd name="T53" fmla="*/ 3 h 60"/>
                  <a:gd name="T54" fmla="*/ 54 w 56"/>
                  <a:gd name="T55" fmla="*/ 3 h 60"/>
                  <a:gd name="T56" fmla="*/ 54 w 56"/>
                  <a:gd name="T57" fmla="*/ 2 h 60"/>
                  <a:gd name="T58" fmla="*/ 53 w 56"/>
                  <a:gd name="T59" fmla="*/ 0 h 60"/>
                  <a:gd name="T60" fmla="*/ 46 w 56"/>
                  <a:gd name="T61" fmla="*/ 3 h 60"/>
                  <a:gd name="T62" fmla="*/ 34 w 56"/>
                  <a:gd name="T63" fmla="*/ 5 h 60"/>
                  <a:gd name="T64" fmla="*/ 23 w 56"/>
                  <a:gd name="T65" fmla="*/ 9 h 60"/>
                  <a:gd name="T66" fmla="*/ 17 w 56"/>
                  <a:gd name="T67" fmla="*/ 8 h 60"/>
                  <a:gd name="T68" fmla="*/ 13 w 56"/>
                  <a:gd name="T69" fmla="*/ 11 h 60"/>
                  <a:gd name="T70" fmla="*/ 9 w 56"/>
                  <a:gd name="T71" fmla="*/ 10 h 60"/>
                  <a:gd name="T72" fmla="*/ 9 w 56"/>
                  <a:gd name="T73" fmla="*/ 14 h 60"/>
                  <a:gd name="T74" fmla="*/ 7 w 56"/>
                  <a:gd name="T75" fmla="*/ 17 h 60"/>
                  <a:gd name="T76" fmla="*/ 3 w 56"/>
                  <a:gd name="T77" fmla="*/ 21 h 60"/>
                  <a:gd name="T78" fmla="*/ 0 w 56"/>
                  <a:gd name="T79" fmla="*/ 2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0">
                    <a:moveTo>
                      <a:pt x="0" y="21"/>
                    </a:moveTo>
                    <a:cubicBezTo>
                      <a:pt x="0" y="22"/>
                      <a:pt x="0" y="23"/>
                      <a:pt x="0" y="23"/>
                    </a:cubicBezTo>
                    <a:cubicBezTo>
                      <a:pt x="0" y="25"/>
                      <a:pt x="0" y="25"/>
                      <a:pt x="0" y="25"/>
                    </a:cubicBezTo>
                    <a:cubicBezTo>
                      <a:pt x="0" y="26"/>
                      <a:pt x="1" y="25"/>
                      <a:pt x="2" y="26"/>
                    </a:cubicBezTo>
                    <a:cubicBezTo>
                      <a:pt x="2" y="27"/>
                      <a:pt x="2" y="29"/>
                      <a:pt x="2" y="30"/>
                    </a:cubicBezTo>
                    <a:cubicBezTo>
                      <a:pt x="1" y="29"/>
                      <a:pt x="2" y="31"/>
                      <a:pt x="1" y="31"/>
                    </a:cubicBezTo>
                    <a:cubicBezTo>
                      <a:pt x="0" y="30"/>
                      <a:pt x="1" y="32"/>
                      <a:pt x="1" y="32"/>
                    </a:cubicBezTo>
                    <a:cubicBezTo>
                      <a:pt x="1" y="32"/>
                      <a:pt x="2" y="33"/>
                      <a:pt x="2" y="33"/>
                    </a:cubicBezTo>
                    <a:cubicBezTo>
                      <a:pt x="2" y="33"/>
                      <a:pt x="3" y="34"/>
                      <a:pt x="3" y="35"/>
                    </a:cubicBezTo>
                    <a:cubicBezTo>
                      <a:pt x="3" y="35"/>
                      <a:pt x="6" y="32"/>
                      <a:pt x="7" y="33"/>
                    </a:cubicBezTo>
                    <a:cubicBezTo>
                      <a:pt x="9" y="34"/>
                      <a:pt x="11" y="34"/>
                      <a:pt x="11" y="36"/>
                    </a:cubicBezTo>
                    <a:cubicBezTo>
                      <a:pt x="11" y="39"/>
                      <a:pt x="9" y="42"/>
                      <a:pt x="7" y="45"/>
                    </a:cubicBezTo>
                    <a:cubicBezTo>
                      <a:pt x="6" y="45"/>
                      <a:pt x="7" y="49"/>
                      <a:pt x="6" y="51"/>
                    </a:cubicBezTo>
                    <a:cubicBezTo>
                      <a:pt x="5" y="52"/>
                      <a:pt x="4" y="51"/>
                      <a:pt x="3" y="53"/>
                    </a:cubicBezTo>
                    <a:cubicBezTo>
                      <a:pt x="2" y="54"/>
                      <a:pt x="1" y="57"/>
                      <a:pt x="1" y="57"/>
                    </a:cubicBezTo>
                    <a:cubicBezTo>
                      <a:pt x="2" y="60"/>
                      <a:pt x="2" y="60"/>
                      <a:pt x="2" y="60"/>
                    </a:cubicBezTo>
                    <a:cubicBezTo>
                      <a:pt x="2" y="60"/>
                      <a:pt x="6" y="57"/>
                      <a:pt x="7" y="58"/>
                    </a:cubicBezTo>
                    <a:cubicBezTo>
                      <a:pt x="8" y="60"/>
                      <a:pt x="14" y="60"/>
                      <a:pt x="14" y="60"/>
                    </a:cubicBezTo>
                    <a:cubicBezTo>
                      <a:pt x="27" y="50"/>
                      <a:pt x="27" y="50"/>
                      <a:pt x="27" y="50"/>
                    </a:cubicBezTo>
                    <a:cubicBezTo>
                      <a:pt x="45" y="36"/>
                      <a:pt x="45" y="36"/>
                      <a:pt x="45" y="36"/>
                    </a:cubicBezTo>
                    <a:cubicBezTo>
                      <a:pt x="45" y="36"/>
                      <a:pt x="46" y="35"/>
                      <a:pt x="47" y="33"/>
                    </a:cubicBezTo>
                    <a:cubicBezTo>
                      <a:pt x="48" y="31"/>
                      <a:pt x="48" y="31"/>
                      <a:pt x="49" y="28"/>
                    </a:cubicBezTo>
                    <a:cubicBezTo>
                      <a:pt x="50" y="26"/>
                      <a:pt x="50" y="27"/>
                      <a:pt x="49" y="24"/>
                    </a:cubicBezTo>
                    <a:cubicBezTo>
                      <a:pt x="48" y="21"/>
                      <a:pt x="50" y="21"/>
                      <a:pt x="51" y="18"/>
                    </a:cubicBezTo>
                    <a:cubicBezTo>
                      <a:pt x="51" y="16"/>
                      <a:pt x="50" y="17"/>
                      <a:pt x="50" y="14"/>
                    </a:cubicBezTo>
                    <a:cubicBezTo>
                      <a:pt x="50" y="11"/>
                      <a:pt x="52" y="10"/>
                      <a:pt x="54" y="9"/>
                    </a:cubicBezTo>
                    <a:cubicBezTo>
                      <a:pt x="56" y="7"/>
                      <a:pt x="56" y="3"/>
                      <a:pt x="56" y="3"/>
                    </a:cubicBezTo>
                    <a:cubicBezTo>
                      <a:pt x="55" y="3"/>
                      <a:pt x="54" y="3"/>
                      <a:pt x="54" y="3"/>
                    </a:cubicBezTo>
                    <a:cubicBezTo>
                      <a:pt x="54" y="2"/>
                      <a:pt x="54" y="2"/>
                      <a:pt x="54" y="2"/>
                    </a:cubicBezTo>
                    <a:cubicBezTo>
                      <a:pt x="53" y="0"/>
                      <a:pt x="53" y="0"/>
                      <a:pt x="53" y="0"/>
                    </a:cubicBezTo>
                    <a:cubicBezTo>
                      <a:pt x="52" y="0"/>
                      <a:pt x="48" y="2"/>
                      <a:pt x="46" y="3"/>
                    </a:cubicBezTo>
                    <a:cubicBezTo>
                      <a:pt x="44" y="5"/>
                      <a:pt x="36" y="4"/>
                      <a:pt x="34" y="5"/>
                    </a:cubicBezTo>
                    <a:cubicBezTo>
                      <a:pt x="30" y="9"/>
                      <a:pt x="25" y="7"/>
                      <a:pt x="23" y="9"/>
                    </a:cubicBezTo>
                    <a:cubicBezTo>
                      <a:pt x="21" y="10"/>
                      <a:pt x="19" y="8"/>
                      <a:pt x="17" y="8"/>
                    </a:cubicBezTo>
                    <a:cubicBezTo>
                      <a:pt x="15" y="8"/>
                      <a:pt x="15" y="10"/>
                      <a:pt x="13" y="11"/>
                    </a:cubicBezTo>
                    <a:cubicBezTo>
                      <a:pt x="12" y="12"/>
                      <a:pt x="11" y="9"/>
                      <a:pt x="9" y="10"/>
                    </a:cubicBezTo>
                    <a:cubicBezTo>
                      <a:pt x="7" y="12"/>
                      <a:pt x="9" y="13"/>
                      <a:pt x="9" y="14"/>
                    </a:cubicBezTo>
                    <a:cubicBezTo>
                      <a:pt x="9" y="16"/>
                      <a:pt x="9" y="17"/>
                      <a:pt x="7" y="17"/>
                    </a:cubicBezTo>
                    <a:cubicBezTo>
                      <a:pt x="4" y="17"/>
                      <a:pt x="6" y="20"/>
                      <a:pt x="3" y="21"/>
                    </a:cubicBezTo>
                    <a:cubicBezTo>
                      <a:pt x="2" y="21"/>
                      <a:pt x="1" y="21"/>
                      <a:pt x="0" y="2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78" name="Freeform 57">
                <a:extLst>
                  <a:ext uri="{FF2B5EF4-FFF2-40B4-BE49-F238E27FC236}">
                    <a16:creationId xmlns:a16="http://schemas.microsoft.com/office/drawing/2014/main" id="{D7DD6EC3-4BBA-6954-931F-378E63FD5EE5}"/>
                  </a:ext>
                </a:extLst>
              </p:cNvPr>
              <p:cNvSpPr>
                <a:spLocks/>
              </p:cNvSpPr>
              <p:nvPr/>
            </p:nvSpPr>
            <p:spPr bwMode="auto">
              <a:xfrm>
                <a:off x="3213" y="1187"/>
                <a:ext cx="83" cy="61"/>
              </a:xfrm>
              <a:custGeom>
                <a:avLst/>
                <a:gdLst>
                  <a:gd name="T0" fmla="*/ 41 w 42"/>
                  <a:gd name="T1" fmla="*/ 15 h 31"/>
                  <a:gd name="T2" fmla="*/ 41 w 42"/>
                  <a:gd name="T3" fmla="*/ 13 h 31"/>
                  <a:gd name="T4" fmla="*/ 40 w 42"/>
                  <a:gd name="T5" fmla="*/ 13 h 31"/>
                  <a:gd name="T6" fmla="*/ 40 w 42"/>
                  <a:gd name="T7" fmla="*/ 13 h 31"/>
                  <a:gd name="T8" fmla="*/ 38 w 42"/>
                  <a:gd name="T9" fmla="*/ 8 h 31"/>
                  <a:gd name="T10" fmla="*/ 32 w 42"/>
                  <a:gd name="T11" fmla="*/ 4 h 31"/>
                  <a:gd name="T12" fmla="*/ 28 w 42"/>
                  <a:gd name="T13" fmla="*/ 2 h 31"/>
                  <a:gd name="T14" fmla="*/ 24 w 42"/>
                  <a:gd name="T15" fmla="*/ 3 h 31"/>
                  <a:gd name="T16" fmla="*/ 20 w 42"/>
                  <a:gd name="T17" fmla="*/ 5 h 31"/>
                  <a:gd name="T18" fmla="*/ 18 w 42"/>
                  <a:gd name="T19" fmla="*/ 6 h 31"/>
                  <a:gd name="T20" fmla="*/ 16 w 42"/>
                  <a:gd name="T21" fmla="*/ 8 h 31"/>
                  <a:gd name="T22" fmla="*/ 14 w 42"/>
                  <a:gd name="T23" fmla="*/ 9 h 31"/>
                  <a:gd name="T24" fmla="*/ 7 w 42"/>
                  <a:gd name="T25" fmla="*/ 16 h 31"/>
                  <a:gd name="T26" fmla="*/ 3 w 42"/>
                  <a:gd name="T27" fmla="*/ 22 h 31"/>
                  <a:gd name="T28" fmla="*/ 4 w 42"/>
                  <a:gd name="T29" fmla="*/ 26 h 31"/>
                  <a:gd name="T30" fmla="*/ 7 w 42"/>
                  <a:gd name="T31" fmla="*/ 26 h 31"/>
                  <a:gd name="T32" fmla="*/ 12 w 42"/>
                  <a:gd name="T33" fmla="*/ 29 h 31"/>
                  <a:gd name="T34" fmla="*/ 15 w 42"/>
                  <a:gd name="T35" fmla="*/ 30 h 31"/>
                  <a:gd name="T36" fmla="*/ 21 w 42"/>
                  <a:gd name="T37" fmla="*/ 26 h 31"/>
                  <a:gd name="T38" fmla="*/ 22 w 42"/>
                  <a:gd name="T39" fmla="*/ 24 h 31"/>
                  <a:gd name="T40" fmla="*/ 26 w 42"/>
                  <a:gd name="T41" fmla="*/ 27 h 31"/>
                  <a:gd name="T42" fmla="*/ 30 w 42"/>
                  <a:gd name="T43" fmla="*/ 28 h 31"/>
                  <a:gd name="T44" fmla="*/ 30 w 42"/>
                  <a:gd name="T45" fmla="*/ 25 h 31"/>
                  <a:gd name="T46" fmla="*/ 34 w 42"/>
                  <a:gd name="T47" fmla="*/ 22 h 31"/>
                  <a:gd name="T48" fmla="*/ 38 w 42"/>
                  <a:gd name="T49" fmla="*/ 20 h 31"/>
                  <a:gd name="T50" fmla="*/ 41 w 42"/>
                  <a:gd name="T51" fmla="*/ 19 h 31"/>
                  <a:gd name="T52" fmla="*/ 40 w 42"/>
                  <a:gd name="T53" fmla="*/ 16 h 31"/>
                  <a:gd name="T54" fmla="*/ 41 w 42"/>
                  <a:gd name="T5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31">
                    <a:moveTo>
                      <a:pt x="41" y="15"/>
                    </a:moveTo>
                    <a:cubicBezTo>
                      <a:pt x="41" y="15"/>
                      <a:pt x="41" y="14"/>
                      <a:pt x="41" y="13"/>
                    </a:cubicBezTo>
                    <a:cubicBezTo>
                      <a:pt x="41" y="13"/>
                      <a:pt x="40" y="13"/>
                      <a:pt x="40" y="13"/>
                    </a:cubicBezTo>
                    <a:cubicBezTo>
                      <a:pt x="40" y="13"/>
                      <a:pt x="40" y="13"/>
                      <a:pt x="40" y="13"/>
                    </a:cubicBezTo>
                    <a:cubicBezTo>
                      <a:pt x="37" y="11"/>
                      <a:pt x="38" y="8"/>
                      <a:pt x="38" y="8"/>
                    </a:cubicBezTo>
                    <a:cubicBezTo>
                      <a:pt x="32" y="4"/>
                      <a:pt x="32" y="4"/>
                      <a:pt x="32" y="4"/>
                    </a:cubicBezTo>
                    <a:cubicBezTo>
                      <a:pt x="32" y="4"/>
                      <a:pt x="31" y="3"/>
                      <a:pt x="28" y="2"/>
                    </a:cubicBezTo>
                    <a:cubicBezTo>
                      <a:pt x="25" y="0"/>
                      <a:pt x="25" y="3"/>
                      <a:pt x="24" y="3"/>
                    </a:cubicBezTo>
                    <a:cubicBezTo>
                      <a:pt x="23" y="4"/>
                      <a:pt x="20" y="5"/>
                      <a:pt x="20" y="5"/>
                    </a:cubicBezTo>
                    <a:cubicBezTo>
                      <a:pt x="20" y="5"/>
                      <a:pt x="19" y="7"/>
                      <a:pt x="18" y="6"/>
                    </a:cubicBezTo>
                    <a:cubicBezTo>
                      <a:pt x="16" y="4"/>
                      <a:pt x="16" y="8"/>
                      <a:pt x="16" y="8"/>
                    </a:cubicBezTo>
                    <a:cubicBezTo>
                      <a:pt x="16" y="8"/>
                      <a:pt x="17" y="9"/>
                      <a:pt x="14" y="9"/>
                    </a:cubicBezTo>
                    <a:cubicBezTo>
                      <a:pt x="11" y="10"/>
                      <a:pt x="9" y="14"/>
                      <a:pt x="7" y="16"/>
                    </a:cubicBezTo>
                    <a:cubicBezTo>
                      <a:pt x="6" y="18"/>
                      <a:pt x="4" y="20"/>
                      <a:pt x="3" y="22"/>
                    </a:cubicBezTo>
                    <a:cubicBezTo>
                      <a:pt x="2" y="24"/>
                      <a:pt x="0" y="29"/>
                      <a:pt x="4" y="26"/>
                    </a:cubicBezTo>
                    <a:cubicBezTo>
                      <a:pt x="7" y="23"/>
                      <a:pt x="7" y="26"/>
                      <a:pt x="7" y="26"/>
                    </a:cubicBezTo>
                    <a:cubicBezTo>
                      <a:pt x="7" y="28"/>
                      <a:pt x="12" y="27"/>
                      <a:pt x="12" y="29"/>
                    </a:cubicBezTo>
                    <a:cubicBezTo>
                      <a:pt x="13" y="31"/>
                      <a:pt x="15" y="30"/>
                      <a:pt x="15" y="30"/>
                    </a:cubicBezTo>
                    <a:cubicBezTo>
                      <a:pt x="16" y="28"/>
                      <a:pt x="21" y="29"/>
                      <a:pt x="21" y="26"/>
                    </a:cubicBezTo>
                    <a:cubicBezTo>
                      <a:pt x="21" y="24"/>
                      <a:pt x="21" y="22"/>
                      <a:pt x="22" y="24"/>
                    </a:cubicBezTo>
                    <a:cubicBezTo>
                      <a:pt x="24" y="26"/>
                      <a:pt x="23" y="26"/>
                      <a:pt x="26" y="27"/>
                    </a:cubicBezTo>
                    <a:cubicBezTo>
                      <a:pt x="29" y="27"/>
                      <a:pt x="29" y="29"/>
                      <a:pt x="30" y="28"/>
                    </a:cubicBezTo>
                    <a:cubicBezTo>
                      <a:pt x="31" y="27"/>
                      <a:pt x="30" y="28"/>
                      <a:pt x="30" y="25"/>
                    </a:cubicBezTo>
                    <a:cubicBezTo>
                      <a:pt x="30" y="22"/>
                      <a:pt x="33" y="24"/>
                      <a:pt x="34" y="22"/>
                    </a:cubicBezTo>
                    <a:cubicBezTo>
                      <a:pt x="34" y="20"/>
                      <a:pt x="36" y="18"/>
                      <a:pt x="38" y="20"/>
                    </a:cubicBezTo>
                    <a:cubicBezTo>
                      <a:pt x="40" y="21"/>
                      <a:pt x="39" y="21"/>
                      <a:pt x="41" y="19"/>
                    </a:cubicBezTo>
                    <a:cubicBezTo>
                      <a:pt x="42" y="17"/>
                      <a:pt x="38" y="18"/>
                      <a:pt x="40" y="16"/>
                    </a:cubicBezTo>
                    <a:lnTo>
                      <a:pt x="41" y="15"/>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79" name="Freeform 58">
                <a:extLst>
                  <a:ext uri="{FF2B5EF4-FFF2-40B4-BE49-F238E27FC236}">
                    <a16:creationId xmlns:a16="http://schemas.microsoft.com/office/drawing/2014/main" id="{150663A4-CF20-F4F6-65F5-479BF6E7FB42}"/>
                  </a:ext>
                </a:extLst>
              </p:cNvPr>
              <p:cNvSpPr>
                <a:spLocks/>
              </p:cNvSpPr>
              <p:nvPr/>
            </p:nvSpPr>
            <p:spPr bwMode="auto">
              <a:xfrm>
                <a:off x="3213" y="1187"/>
                <a:ext cx="83" cy="61"/>
              </a:xfrm>
              <a:custGeom>
                <a:avLst/>
                <a:gdLst>
                  <a:gd name="T0" fmla="*/ 41 w 42"/>
                  <a:gd name="T1" fmla="*/ 15 h 31"/>
                  <a:gd name="T2" fmla="*/ 41 w 42"/>
                  <a:gd name="T3" fmla="*/ 13 h 31"/>
                  <a:gd name="T4" fmla="*/ 40 w 42"/>
                  <a:gd name="T5" fmla="*/ 13 h 31"/>
                  <a:gd name="T6" fmla="*/ 40 w 42"/>
                  <a:gd name="T7" fmla="*/ 13 h 31"/>
                  <a:gd name="T8" fmla="*/ 38 w 42"/>
                  <a:gd name="T9" fmla="*/ 8 h 31"/>
                  <a:gd name="T10" fmla="*/ 32 w 42"/>
                  <a:gd name="T11" fmla="*/ 4 h 31"/>
                  <a:gd name="T12" fmla="*/ 28 w 42"/>
                  <a:gd name="T13" fmla="*/ 2 h 31"/>
                  <a:gd name="T14" fmla="*/ 24 w 42"/>
                  <a:gd name="T15" fmla="*/ 3 h 31"/>
                  <a:gd name="T16" fmla="*/ 20 w 42"/>
                  <a:gd name="T17" fmla="*/ 5 h 31"/>
                  <a:gd name="T18" fmla="*/ 18 w 42"/>
                  <a:gd name="T19" fmla="*/ 6 h 31"/>
                  <a:gd name="T20" fmla="*/ 16 w 42"/>
                  <a:gd name="T21" fmla="*/ 8 h 31"/>
                  <a:gd name="T22" fmla="*/ 14 w 42"/>
                  <a:gd name="T23" fmla="*/ 9 h 31"/>
                  <a:gd name="T24" fmla="*/ 7 w 42"/>
                  <a:gd name="T25" fmla="*/ 16 h 31"/>
                  <a:gd name="T26" fmla="*/ 3 w 42"/>
                  <a:gd name="T27" fmla="*/ 22 h 31"/>
                  <a:gd name="T28" fmla="*/ 4 w 42"/>
                  <a:gd name="T29" fmla="*/ 26 h 31"/>
                  <a:gd name="T30" fmla="*/ 7 w 42"/>
                  <a:gd name="T31" fmla="*/ 26 h 31"/>
                  <a:gd name="T32" fmla="*/ 12 w 42"/>
                  <a:gd name="T33" fmla="*/ 29 h 31"/>
                  <a:gd name="T34" fmla="*/ 15 w 42"/>
                  <a:gd name="T35" fmla="*/ 30 h 31"/>
                  <a:gd name="T36" fmla="*/ 21 w 42"/>
                  <a:gd name="T37" fmla="*/ 26 h 31"/>
                  <a:gd name="T38" fmla="*/ 22 w 42"/>
                  <a:gd name="T39" fmla="*/ 24 h 31"/>
                  <a:gd name="T40" fmla="*/ 26 w 42"/>
                  <a:gd name="T41" fmla="*/ 27 h 31"/>
                  <a:gd name="T42" fmla="*/ 30 w 42"/>
                  <a:gd name="T43" fmla="*/ 28 h 31"/>
                  <a:gd name="T44" fmla="*/ 30 w 42"/>
                  <a:gd name="T45" fmla="*/ 25 h 31"/>
                  <a:gd name="T46" fmla="*/ 34 w 42"/>
                  <a:gd name="T47" fmla="*/ 22 h 31"/>
                  <a:gd name="T48" fmla="*/ 38 w 42"/>
                  <a:gd name="T49" fmla="*/ 20 h 31"/>
                  <a:gd name="T50" fmla="*/ 41 w 42"/>
                  <a:gd name="T51" fmla="*/ 19 h 31"/>
                  <a:gd name="T52" fmla="*/ 40 w 42"/>
                  <a:gd name="T53" fmla="*/ 16 h 31"/>
                  <a:gd name="T54" fmla="*/ 41 w 42"/>
                  <a:gd name="T5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31">
                    <a:moveTo>
                      <a:pt x="41" y="15"/>
                    </a:moveTo>
                    <a:cubicBezTo>
                      <a:pt x="41" y="15"/>
                      <a:pt x="41" y="14"/>
                      <a:pt x="41" y="13"/>
                    </a:cubicBezTo>
                    <a:cubicBezTo>
                      <a:pt x="41" y="13"/>
                      <a:pt x="40" y="13"/>
                      <a:pt x="40" y="13"/>
                    </a:cubicBezTo>
                    <a:cubicBezTo>
                      <a:pt x="40" y="13"/>
                      <a:pt x="40" y="13"/>
                      <a:pt x="40" y="13"/>
                    </a:cubicBezTo>
                    <a:cubicBezTo>
                      <a:pt x="37" y="11"/>
                      <a:pt x="38" y="8"/>
                      <a:pt x="38" y="8"/>
                    </a:cubicBezTo>
                    <a:cubicBezTo>
                      <a:pt x="32" y="4"/>
                      <a:pt x="32" y="4"/>
                      <a:pt x="32" y="4"/>
                    </a:cubicBezTo>
                    <a:cubicBezTo>
                      <a:pt x="32" y="4"/>
                      <a:pt x="31" y="3"/>
                      <a:pt x="28" y="2"/>
                    </a:cubicBezTo>
                    <a:cubicBezTo>
                      <a:pt x="25" y="0"/>
                      <a:pt x="25" y="3"/>
                      <a:pt x="24" y="3"/>
                    </a:cubicBezTo>
                    <a:cubicBezTo>
                      <a:pt x="23" y="4"/>
                      <a:pt x="20" y="5"/>
                      <a:pt x="20" y="5"/>
                    </a:cubicBezTo>
                    <a:cubicBezTo>
                      <a:pt x="20" y="5"/>
                      <a:pt x="19" y="7"/>
                      <a:pt x="18" y="6"/>
                    </a:cubicBezTo>
                    <a:cubicBezTo>
                      <a:pt x="16" y="4"/>
                      <a:pt x="16" y="8"/>
                      <a:pt x="16" y="8"/>
                    </a:cubicBezTo>
                    <a:cubicBezTo>
                      <a:pt x="16" y="8"/>
                      <a:pt x="17" y="9"/>
                      <a:pt x="14" y="9"/>
                    </a:cubicBezTo>
                    <a:cubicBezTo>
                      <a:pt x="11" y="10"/>
                      <a:pt x="9" y="14"/>
                      <a:pt x="7" y="16"/>
                    </a:cubicBezTo>
                    <a:cubicBezTo>
                      <a:pt x="6" y="18"/>
                      <a:pt x="4" y="20"/>
                      <a:pt x="3" y="22"/>
                    </a:cubicBezTo>
                    <a:cubicBezTo>
                      <a:pt x="2" y="24"/>
                      <a:pt x="0" y="29"/>
                      <a:pt x="4" y="26"/>
                    </a:cubicBezTo>
                    <a:cubicBezTo>
                      <a:pt x="7" y="23"/>
                      <a:pt x="7" y="26"/>
                      <a:pt x="7" y="26"/>
                    </a:cubicBezTo>
                    <a:cubicBezTo>
                      <a:pt x="7" y="28"/>
                      <a:pt x="12" y="27"/>
                      <a:pt x="12" y="29"/>
                    </a:cubicBezTo>
                    <a:cubicBezTo>
                      <a:pt x="13" y="31"/>
                      <a:pt x="15" y="30"/>
                      <a:pt x="15" y="30"/>
                    </a:cubicBezTo>
                    <a:cubicBezTo>
                      <a:pt x="16" y="28"/>
                      <a:pt x="21" y="29"/>
                      <a:pt x="21" y="26"/>
                    </a:cubicBezTo>
                    <a:cubicBezTo>
                      <a:pt x="21" y="24"/>
                      <a:pt x="21" y="22"/>
                      <a:pt x="22" y="24"/>
                    </a:cubicBezTo>
                    <a:cubicBezTo>
                      <a:pt x="24" y="26"/>
                      <a:pt x="23" y="26"/>
                      <a:pt x="26" y="27"/>
                    </a:cubicBezTo>
                    <a:cubicBezTo>
                      <a:pt x="29" y="27"/>
                      <a:pt x="29" y="29"/>
                      <a:pt x="30" y="28"/>
                    </a:cubicBezTo>
                    <a:cubicBezTo>
                      <a:pt x="31" y="27"/>
                      <a:pt x="30" y="28"/>
                      <a:pt x="30" y="25"/>
                    </a:cubicBezTo>
                    <a:cubicBezTo>
                      <a:pt x="30" y="22"/>
                      <a:pt x="33" y="24"/>
                      <a:pt x="34" y="22"/>
                    </a:cubicBezTo>
                    <a:cubicBezTo>
                      <a:pt x="34" y="20"/>
                      <a:pt x="36" y="18"/>
                      <a:pt x="38" y="20"/>
                    </a:cubicBezTo>
                    <a:cubicBezTo>
                      <a:pt x="40" y="21"/>
                      <a:pt x="39" y="21"/>
                      <a:pt x="41" y="19"/>
                    </a:cubicBezTo>
                    <a:cubicBezTo>
                      <a:pt x="42" y="17"/>
                      <a:pt x="38" y="18"/>
                      <a:pt x="40" y="16"/>
                    </a:cubicBezTo>
                    <a:lnTo>
                      <a:pt x="41" y="15"/>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80" name="Freeform 59">
                <a:extLst>
                  <a:ext uri="{FF2B5EF4-FFF2-40B4-BE49-F238E27FC236}">
                    <a16:creationId xmlns:a16="http://schemas.microsoft.com/office/drawing/2014/main" id="{00DA3A18-5B72-196A-1583-58FCA4DDBEA6}"/>
                  </a:ext>
                </a:extLst>
              </p:cNvPr>
              <p:cNvSpPr>
                <a:spLocks noEditPoints="1"/>
              </p:cNvSpPr>
              <p:nvPr/>
            </p:nvSpPr>
            <p:spPr bwMode="auto">
              <a:xfrm>
                <a:off x="3310" y="590"/>
                <a:ext cx="221" cy="420"/>
              </a:xfrm>
              <a:custGeom>
                <a:avLst/>
                <a:gdLst>
                  <a:gd name="T0" fmla="*/ 110 w 113"/>
                  <a:gd name="T1" fmla="*/ 45 h 214"/>
                  <a:gd name="T2" fmla="*/ 110 w 113"/>
                  <a:gd name="T3" fmla="*/ 26 h 214"/>
                  <a:gd name="T4" fmla="*/ 103 w 113"/>
                  <a:gd name="T5" fmla="*/ 15 h 214"/>
                  <a:gd name="T6" fmla="*/ 83 w 113"/>
                  <a:gd name="T7" fmla="*/ 3 h 214"/>
                  <a:gd name="T8" fmla="*/ 79 w 113"/>
                  <a:gd name="T9" fmla="*/ 8 h 214"/>
                  <a:gd name="T10" fmla="*/ 69 w 113"/>
                  <a:gd name="T11" fmla="*/ 16 h 214"/>
                  <a:gd name="T12" fmla="*/ 59 w 113"/>
                  <a:gd name="T13" fmla="*/ 18 h 214"/>
                  <a:gd name="T14" fmla="*/ 51 w 113"/>
                  <a:gd name="T15" fmla="*/ 33 h 214"/>
                  <a:gd name="T16" fmla="*/ 41 w 113"/>
                  <a:gd name="T17" fmla="*/ 45 h 214"/>
                  <a:gd name="T18" fmla="*/ 32 w 113"/>
                  <a:gd name="T19" fmla="*/ 69 h 214"/>
                  <a:gd name="T20" fmla="*/ 16 w 113"/>
                  <a:gd name="T21" fmla="*/ 76 h 214"/>
                  <a:gd name="T22" fmla="*/ 8 w 113"/>
                  <a:gd name="T23" fmla="*/ 96 h 214"/>
                  <a:gd name="T24" fmla="*/ 8 w 113"/>
                  <a:gd name="T25" fmla="*/ 115 h 214"/>
                  <a:gd name="T26" fmla="*/ 7 w 113"/>
                  <a:gd name="T27" fmla="*/ 126 h 214"/>
                  <a:gd name="T28" fmla="*/ 6 w 113"/>
                  <a:gd name="T29" fmla="*/ 141 h 214"/>
                  <a:gd name="T30" fmla="*/ 5 w 113"/>
                  <a:gd name="T31" fmla="*/ 153 h 214"/>
                  <a:gd name="T32" fmla="*/ 0 w 113"/>
                  <a:gd name="T33" fmla="*/ 162 h 214"/>
                  <a:gd name="T34" fmla="*/ 6 w 113"/>
                  <a:gd name="T35" fmla="*/ 167 h 214"/>
                  <a:gd name="T36" fmla="*/ 5 w 113"/>
                  <a:gd name="T37" fmla="*/ 176 h 214"/>
                  <a:gd name="T38" fmla="*/ 13 w 113"/>
                  <a:gd name="T39" fmla="*/ 184 h 214"/>
                  <a:gd name="T40" fmla="*/ 16 w 113"/>
                  <a:gd name="T41" fmla="*/ 190 h 214"/>
                  <a:gd name="T42" fmla="*/ 12 w 113"/>
                  <a:gd name="T43" fmla="*/ 194 h 214"/>
                  <a:gd name="T44" fmla="*/ 26 w 113"/>
                  <a:gd name="T45" fmla="*/ 203 h 214"/>
                  <a:gd name="T46" fmla="*/ 30 w 113"/>
                  <a:gd name="T47" fmla="*/ 193 h 214"/>
                  <a:gd name="T48" fmla="*/ 43 w 113"/>
                  <a:gd name="T49" fmla="*/ 192 h 214"/>
                  <a:gd name="T50" fmla="*/ 47 w 113"/>
                  <a:gd name="T51" fmla="*/ 184 h 214"/>
                  <a:gd name="T52" fmla="*/ 45 w 113"/>
                  <a:gd name="T53" fmla="*/ 179 h 214"/>
                  <a:gd name="T54" fmla="*/ 48 w 113"/>
                  <a:gd name="T55" fmla="*/ 172 h 214"/>
                  <a:gd name="T56" fmla="*/ 45 w 113"/>
                  <a:gd name="T57" fmla="*/ 158 h 214"/>
                  <a:gd name="T58" fmla="*/ 58 w 113"/>
                  <a:gd name="T59" fmla="*/ 158 h 214"/>
                  <a:gd name="T60" fmla="*/ 64 w 113"/>
                  <a:gd name="T61" fmla="*/ 152 h 214"/>
                  <a:gd name="T62" fmla="*/ 62 w 113"/>
                  <a:gd name="T63" fmla="*/ 149 h 214"/>
                  <a:gd name="T64" fmla="*/ 65 w 113"/>
                  <a:gd name="T65" fmla="*/ 138 h 214"/>
                  <a:gd name="T66" fmla="*/ 57 w 113"/>
                  <a:gd name="T67" fmla="*/ 133 h 214"/>
                  <a:gd name="T68" fmla="*/ 52 w 113"/>
                  <a:gd name="T69" fmla="*/ 118 h 214"/>
                  <a:gd name="T70" fmla="*/ 55 w 113"/>
                  <a:gd name="T71" fmla="*/ 103 h 214"/>
                  <a:gd name="T72" fmla="*/ 56 w 113"/>
                  <a:gd name="T73" fmla="*/ 101 h 214"/>
                  <a:gd name="T74" fmla="*/ 61 w 113"/>
                  <a:gd name="T75" fmla="*/ 96 h 214"/>
                  <a:gd name="T76" fmla="*/ 65 w 113"/>
                  <a:gd name="T77" fmla="*/ 92 h 214"/>
                  <a:gd name="T78" fmla="*/ 69 w 113"/>
                  <a:gd name="T79" fmla="*/ 87 h 214"/>
                  <a:gd name="T80" fmla="*/ 84 w 113"/>
                  <a:gd name="T81" fmla="*/ 77 h 214"/>
                  <a:gd name="T82" fmla="*/ 86 w 113"/>
                  <a:gd name="T83" fmla="*/ 72 h 214"/>
                  <a:gd name="T84" fmla="*/ 89 w 113"/>
                  <a:gd name="T85" fmla="*/ 61 h 214"/>
                  <a:gd name="T86" fmla="*/ 89 w 113"/>
                  <a:gd name="T87" fmla="*/ 56 h 214"/>
                  <a:gd name="T88" fmla="*/ 98 w 113"/>
                  <a:gd name="T89" fmla="*/ 50 h 214"/>
                  <a:gd name="T90" fmla="*/ 103 w 113"/>
                  <a:gd name="T91" fmla="*/ 49 h 214"/>
                  <a:gd name="T92" fmla="*/ 30 w 113"/>
                  <a:gd name="T93" fmla="*/ 210 h 214"/>
                  <a:gd name="T94" fmla="*/ 67 w 113"/>
                  <a:gd name="T95" fmla="*/ 174 h 214"/>
                  <a:gd name="T96" fmla="*/ 66 w 113"/>
                  <a:gd name="T97" fmla="*/ 182 h 214"/>
                  <a:gd name="T98" fmla="*/ 67 w 113"/>
                  <a:gd name="T99" fmla="*/ 171 h 214"/>
                  <a:gd name="T100" fmla="*/ 30 w 113"/>
                  <a:gd name="T101" fmla="*/ 161 h 214"/>
                  <a:gd name="T102" fmla="*/ 31 w 113"/>
                  <a:gd name="T103" fmla="*/ 156 h 214"/>
                  <a:gd name="T104" fmla="*/ 20 w 113"/>
                  <a:gd name="T105" fmla="*/ 148 h 214"/>
                  <a:gd name="T106" fmla="*/ 19 w 113"/>
                  <a:gd name="T107" fmla="*/ 160 h 214"/>
                  <a:gd name="T108" fmla="*/ 11 w 113"/>
                  <a:gd name="T109" fmla="*/ 161 h 214"/>
                  <a:gd name="T110" fmla="*/ 18 w 113"/>
                  <a:gd name="T111" fmla="*/ 153 h 214"/>
                  <a:gd name="T112" fmla="*/ 53 w 113"/>
                  <a:gd name="T113" fmla="*/ 145 h 214"/>
                  <a:gd name="T114" fmla="*/ 59 w 113"/>
                  <a:gd name="T115" fmla="*/ 149 h 214"/>
                  <a:gd name="T116" fmla="*/ 53 w 113"/>
                  <a:gd name="T117" fmla="*/ 145 h 214"/>
                  <a:gd name="T118" fmla="*/ 49 w 113"/>
                  <a:gd name="T119" fmla="*/ 14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214">
                    <a:moveTo>
                      <a:pt x="108" y="50"/>
                    </a:moveTo>
                    <a:cubicBezTo>
                      <a:pt x="113" y="50"/>
                      <a:pt x="113" y="50"/>
                      <a:pt x="113" y="50"/>
                    </a:cubicBezTo>
                    <a:cubicBezTo>
                      <a:pt x="113" y="50"/>
                      <a:pt x="110" y="46"/>
                      <a:pt x="110" y="45"/>
                    </a:cubicBezTo>
                    <a:cubicBezTo>
                      <a:pt x="110" y="43"/>
                      <a:pt x="111" y="44"/>
                      <a:pt x="111" y="41"/>
                    </a:cubicBezTo>
                    <a:cubicBezTo>
                      <a:pt x="111" y="38"/>
                      <a:pt x="108" y="35"/>
                      <a:pt x="108" y="33"/>
                    </a:cubicBezTo>
                    <a:cubicBezTo>
                      <a:pt x="109" y="31"/>
                      <a:pt x="111" y="29"/>
                      <a:pt x="110" y="26"/>
                    </a:cubicBezTo>
                    <a:cubicBezTo>
                      <a:pt x="110" y="25"/>
                      <a:pt x="108" y="27"/>
                      <a:pt x="107" y="26"/>
                    </a:cubicBezTo>
                    <a:cubicBezTo>
                      <a:pt x="106" y="24"/>
                      <a:pt x="109" y="19"/>
                      <a:pt x="108" y="18"/>
                    </a:cubicBezTo>
                    <a:cubicBezTo>
                      <a:pt x="106" y="17"/>
                      <a:pt x="104" y="17"/>
                      <a:pt x="103" y="15"/>
                    </a:cubicBezTo>
                    <a:cubicBezTo>
                      <a:pt x="102" y="13"/>
                      <a:pt x="99" y="12"/>
                      <a:pt x="97" y="12"/>
                    </a:cubicBezTo>
                    <a:cubicBezTo>
                      <a:pt x="94" y="12"/>
                      <a:pt x="90" y="9"/>
                      <a:pt x="89" y="7"/>
                    </a:cubicBezTo>
                    <a:cubicBezTo>
                      <a:pt x="88" y="6"/>
                      <a:pt x="84" y="4"/>
                      <a:pt x="83" y="3"/>
                    </a:cubicBezTo>
                    <a:cubicBezTo>
                      <a:pt x="81" y="2"/>
                      <a:pt x="80" y="0"/>
                      <a:pt x="80" y="0"/>
                    </a:cubicBezTo>
                    <a:cubicBezTo>
                      <a:pt x="77" y="5"/>
                      <a:pt x="77" y="5"/>
                      <a:pt x="77" y="5"/>
                    </a:cubicBezTo>
                    <a:cubicBezTo>
                      <a:pt x="79" y="8"/>
                      <a:pt x="79" y="8"/>
                      <a:pt x="79" y="8"/>
                    </a:cubicBezTo>
                    <a:cubicBezTo>
                      <a:pt x="78" y="13"/>
                      <a:pt x="78" y="13"/>
                      <a:pt x="78" y="13"/>
                    </a:cubicBezTo>
                    <a:cubicBezTo>
                      <a:pt x="78" y="13"/>
                      <a:pt x="76" y="18"/>
                      <a:pt x="75" y="17"/>
                    </a:cubicBezTo>
                    <a:cubicBezTo>
                      <a:pt x="73" y="17"/>
                      <a:pt x="69" y="15"/>
                      <a:pt x="69" y="16"/>
                    </a:cubicBezTo>
                    <a:cubicBezTo>
                      <a:pt x="68" y="17"/>
                      <a:pt x="65" y="16"/>
                      <a:pt x="66" y="18"/>
                    </a:cubicBezTo>
                    <a:cubicBezTo>
                      <a:pt x="67" y="20"/>
                      <a:pt x="64" y="22"/>
                      <a:pt x="66" y="23"/>
                    </a:cubicBezTo>
                    <a:cubicBezTo>
                      <a:pt x="68" y="26"/>
                      <a:pt x="59" y="18"/>
                      <a:pt x="59" y="18"/>
                    </a:cubicBezTo>
                    <a:cubicBezTo>
                      <a:pt x="59" y="18"/>
                      <a:pt x="57" y="20"/>
                      <a:pt x="56" y="22"/>
                    </a:cubicBezTo>
                    <a:cubicBezTo>
                      <a:pt x="55" y="24"/>
                      <a:pt x="54" y="26"/>
                      <a:pt x="54" y="29"/>
                    </a:cubicBezTo>
                    <a:cubicBezTo>
                      <a:pt x="54" y="31"/>
                      <a:pt x="53" y="31"/>
                      <a:pt x="51" y="33"/>
                    </a:cubicBezTo>
                    <a:cubicBezTo>
                      <a:pt x="50" y="34"/>
                      <a:pt x="47" y="35"/>
                      <a:pt x="47" y="37"/>
                    </a:cubicBezTo>
                    <a:cubicBezTo>
                      <a:pt x="47" y="39"/>
                      <a:pt x="46" y="39"/>
                      <a:pt x="44" y="39"/>
                    </a:cubicBezTo>
                    <a:cubicBezTo>
                      <a:pt x="42" y="39"/>
                      <a:pt x="41" y="43"/>
                      <a:pt x="41" y="45"/>
                    </a:cubicBezTo>
                    <a:cubicBezTo>
                      <a:pt x="41" y="47"/>
                      <a:pt x="39" y="55"/>
                      <a:pt x="37" y="56"/>
                    </a:cubicBezTo>
                    <a:cubicBezTo>
                      <a:pt x="35" y="58"/>
                      <a:pt x="31" y="59"/>
                      <a:pt x="31" y="60"/>
                    </a:cubicBezTo>
                    <a:cubicBezTo>
                      <a:pt x="31" y="62"/>
                      <a:pt x="33" y="66"/>
                      <a:pt x="32" y="69"/>
                    </a:cubicBezTo>
                    <a:cubicBezTo>
                      <a:pt x="31" y="72"/>
                      <a:pt x="31" y="76"/>
                      <a:pt x="29" y="75"/>
                    </a:cubicBezTo>
                    <a:cubicBezTo>
                      <a:pt x="27" y="74"/>
                      <a:pt x="25" y="69"/>
                      <a:pt x="23" y="70"/>
                    </a:cubicBezTo>
                    <a:cubicBezTo>
                      <a:pt x="21" y="71"/>
                      <a:pt x="16" y="74"/>
                      <a:pt x="16" y="76"/>
                    </a:cubicBezTo>
                    <a:cubicBezTo>
                      <a:pt x="16" y="78"/>
                      <a:pt x="12" y="81"/>
                      <a:pt x="12" y="84"/>
                    </a:cubicBezTo>
                    <a:cubicBezTo>
                      <a:pt x="12" y="86"/>
                      <a:pt x="6" y="88"/>
                      <a:pt x="7" y="90"/>
                    </a:cubicBezTo>
                    <a:cubicBezTo>
                      <a:pt x="8" y="92"/>
                      <a:pt x="9" y="94"/>
                      <a:pt x="8" y="96"/>
                    </a:cubicBezTo>
                    <a:cubicBezTo>
                      <a:pt x="8" y="97"/>
                      <a:pt x="8" y="101"/>
                      <a:pt x="8" y="103"/>
                    </a:cubicBezTo>
                    <a:cubicBezTo>
                      <a:pt x="8" y="105"/>
                      <a:pt x="9" y="108"/>
                      <a:pt x="8" y="111"/>
                    </a:cubicBezTo>
                    <a:cubicBezTo>
                      <a:pt x="6" y="113"/>
                      <a:pt x="7" y="115"/>
                      <a:pt x="8" y="115"/>
                    </a:cubicBezTo>
                    <a:cubicBezTo>
                      <a:pt x="9" y="115"/>
                      <a:pt x="10" y="116"/>
                      <a:pt x="10" y="120"/>
                    </a:cubicBezTo>
                    <a:cubicBezTo>
                      <a:pt x="10" y="123"/>
                      <a:pt x="11" y="124"/>
                      <a:pt x="9" y="125"/>
                    </a:cubicBezTo>
                    <a:cubicBezTo>
                      <a:pt x="7" y="127"/>
                      <a:pt x="7" y="126"/>
                      <a:pt x="7" y="126"/>
                    </a:cubicBezTo>
                    <a:cubicBezTo>
                      <a:pt x="7" y="126"/>
                      <a:pt x="6" y="130"/>
                      <a:pt x="6" y="132"/>
                    </a:cubicBezTo>
                    <a:cubicBezTo>
                      <a:pt x="6" y="134"/>
                      <a:pt x="4" y="135"/>
                      <a:pt x="6" y="137"/>
                    </a:cubicBezTo>
                    <a:cubicBezTo>
                      <a:pt x="8" y="139"/>
                      <a:pt x="8" y="140"/>
                      <a:pt x="6" y="141"/>
                    </a:cubicBezTo>
                    <a:cubicBezTo>
                      <a:pt x="4" y="142"/>
                      <a:pt x="6" y="144"/>
                      <a:pt x="4" y="145"/>
                    </a:cubicBezTo>
                    <a:cubicBezTo>
                      <a:pt x="1" y="146"/>
                      <a:pt x="3" y="145"/>
                      <a:pt x="3" y="148"/>
                    </a:cubicBezTo>
                    <a:cubicBezTo>
                      <a:pt x="3" y="150"/>
                      <a:pt x="5" y="151"/>
                      <a:pt x="5" y="153"/>
                    </a:cubicBezTo>
                    <a:cubicBezTo>
                      <a:pt x="5" y="155"/>
                      <a:pt x="5" y="159"/>
                      <a:pt x="3" y="158"/>
                    </a:cubicBezTo>
                    <a:cubicBezTo>
                      <a:pt x="1" y="157"/>
                      <a:pt x="1" y="158"/>
                      <a:pt x="1" y="158"/>
                    </a:cubicBezTo>
                    <a:cubicBezTo>
                      <a:pt x="1" y="159"/>
                      <a:pt x="0" y="160"/>
                      <a:pt x="0" y="162"/>
                    </a:cubicBezTo>
                    <a:cubicBezTo>
                      <a:pt x="1" y="163"/>
                      <a:pt x="2" y="163"/>
                      <a:pt x="3" y="163"/>
                    </a:cubicBezTo>
                    <a:cubicBezTo>
                      <a:pt x="3" y="163"/>
                      <a:pt x="5" y="167"/>
                      <a:pt x="5" y="167"/>
                    </a:cubicBezTo>
                    <a:cubicBezTo>
                      <a:pt x="6" y="167"/>
                      <a:pt x="6" y="167"/>
                      <a:pt x="6" y="167"/>
                    </a:cubicBezTo>
                    <a:cubicBezTo>
                      <a:pt x="6" y="168"/>
                      <a:pt x="3" y="171"/>
                      <a:pt x="3" y="172"/>
                    </a:cubicBezTo>
                    <a:cubicBezTo>
                      <a:pt x="3" y="173"/>
                      <a:pt x="5" y="173"/>
                      <a:pt x="5" y="174"/>
                    </a:cubicBezTo>
                    <a:cubicBezTo>
                      <a:pt x="5" y="175"/>
                      <a:pt x="5" y="176"/>
                      <a:pt x="5" y="176"/>
                    </a:cubicBezTo>
                    <a:cubicBezTo>
                      <a:pt x="5" y="176"/>
                      <a:pt x="7" y="176"/>
                      <a:pt x="8" y="176"/>
                    </a:cubicBezTo>
                    <a:cubicBezTo>
                      <a:pt x="8" y="178"/>
                      <a:pt x="8" y="179"/>
                      <a:pt x="8" y="180"/>
                    </a:cubicBezTo>
                    <a:cubicBezTo>
                      <a:pt x="9" y="181"/>
                      <a:pt x="12" y="183"/>
                      <a:pt x="13" y="184"/>
                    </a:cubicBezTo>
                    <a:cubicBezTo>
                      <a:pt x="13" y="185"/>
                      <a:pt x="13" y="187"/>
                      <a:pt x="14" y="187"/>
                    </a:cubicBezTo>
                    <a:cubicBezTo>
                      <a:pt x="14" y="188"/>
                      <a:pt x="16" y="187"/>
                      <a:pt x="16" y="188"/>
                    </a:cubicBezTo>
                    <a:cubicBezTo>
                      <a:pt x="16" y="190"/>
                      <a:pt x="16" y="190"/>
                      <a:pt x="16" y="190"/>
                    </a:cubicBezTo>
                    <a:cubicBezTo>
                      <a:pt x="15" y="190"/>
                      <a:pt x="14" y="190"/>
                      <a:pt x="14" y="190"/>
                    </a:cubicBezTo>
                    <a:cubicBezTo>
                      <a:pt x="13" y="191"/>
                      <a:pt x="14" y="192"/>
                      <a:pt x="14" y="193"/>
                    </a:cubicBezTo>
                    <a:cubicBezTo>
                      <a:pt x="14" y="193"/>
                      <a:pt x="12" y="194"/>
                      <a:pt x="12" y="194"/>
                    </a:cubicBezTo>
                    <a:cubicBezTo>
                      <a:pt x="12" y="196"/>
                      <a:pt x="13" y="199"/>
                      <a:pt x="13" y="199"/>
                    </a:cubicBezTo>
                    <a:cubicBezTo>
                      <a:pt x="13" y="202"/>
                      <a:pt x="13" y="205"/>
                      <a:pt x="16" y="206"/>
                    </a:cubicBezTo>
                    <a:cubicBezTo>
                      <a:pt x="19" y="206"/>
                      <a:pt x="24" y="204"/>
                      <a:pt x="26" y="203"/>
                    </a:cubicBezTo>
                    <a:cubicBezTo>
                      <a:pt x="26" y="199"/>
                      <a:pt x="26" y="199"/>
                      <a:pt x="27" y="196"/>
                    </a:cubicBezTo>
                    <a:cubicBezTo>
                      <a:pt x="27" y="196"/>
                      <a:pt x="29" y="196"/>
                      <a:pt x="30" y="196"/>
                    </a:cubicBezTo>
                    <a:cubicBezTo>
                      <a:pt x="30" y="196"/>
                      <a:pt x="29" y="193"/>
                      <a:pt x="30" y="193"/>
                    </a:cubicBezTo>
                    <a:cubicBezTo>
                      <a:pt x="32" y="192"/>
                      <a:pt x="37" y="193"/>
                      <a:pt x="41" y="193"/>
                    </a:cubicBezTo>
                    <a:cubicBezTo>
                      <a:pt x="42" y="193"/>
                      <a:pt x="43" y="190"/>
                      <a:pt x="43" y="190"/>
                    </a:cubicBezTo>
                    <a:cubicBezTo>
                      <a:pt x="43" y="190"/>
                      <a:pt x="44" y="191"/>
                      <a:pt x="43" y="192"/>
                    </a:cubicBezTo>
                    <a:cubicBezTo>
                      <a:pt x="44" y="192"/>
                      <a:pt x="45" y="192"/>
                      <a:pt x="45" y="192"/>
                    </a:cubicBezTo>
                    <a:cubicBezTo>
                      <a:pt x="46" y="190"/>
                      <a:pt x="47" y="188"/>
                      <a:pt x="48" y="185"/>
                    </a:cubicBezTo>
                    <a:cubicBezTo>
                      <a:pt x="48" y="185"/>
                      <a:pt x="49" y="184"/>
                      <a:pt x="47" y="184"/>
                    </a:cubicBezTo>
                    <a:cubicBezTo>
                      <a:pt x="46" y="185"/>
                      <a:pt x="46" y="188"/>
                      <a:pt x="45" y="188"/>
                    </a:cubicBezTo>
                    <a:cubicBezTo>
                      <a:pt x="44" y="189"/>
                      <a:pt x="44" y="187"/>
                      <a:pt x="44" y="186"/>
                    </a:cubicBezTo>
                    <a:cubicBezTo>
                      <a:pt x="44" y="185"/>
                      <a:pt x="45" y="181"/>
                      <a:pt x="45" y="179"/>
                    </a:cubicBezTo>
                    <a:cubicBezTo>
                      <a:pt x="46" y="179"/>
                      <a:pt x="47" y="177"/>
                      <a:pt x="47" y="176"/>
                    </a:cubicBezTo>
                    <a:cubicBezTo>
                      <a:pt x="48" y="174"/>
                      <a:pt x="46" y="175"/>
                      <a:pt x="47" y="173"/>
                    </a:cubicBezTo>
                    <a:cubicBezTo>
                      <a:pt x="48" y="172"/>
                      <a:pt x="48" y="172"/>
                      <a:pt x="48" y="172"/>
                    </a:cubicBezTo>
                    <a:cubicBezTo>
                      <a:pt x="50" y="169"/>
                      <a:pt x="48" y="164"/>
                      <a:pt x="47" y="162"/>
                    </a:cubicBezTo>
                    <a:cubicBezTo>
                      <a:pt x="48" y="162"/>
                      <a:pt x="50" y="161"/>
                      <a:pt x="50" y="160"/>
                    </a:cubicBezTo>
                    <a:cubicBezTo>
                      <a:pt x="49" y="160"/>
                      <a:pt x="46" y="158"/>
                      <a:pt x="45" y="158"/>
                    </a:cubicBezTo>
                    <a:cubicBezTo>
                      <a:pt x="50" y="158"/>
                      <a:pt x="52" y="157"/>
                      <a:pt x="57" y="156"/>
                    </a:cubicBezTo>
                    <a:cubicBezTo>
                      <a:pt x="57" y="158"/>
                      <a:pt x="57" y="158"/>
                      <a:pt x="57" y="158"/>
                    </a:cubicBezTo>
                    <a:cubicBezTo>
                      <a:pt x="58" y="158"/>
                      <a:pt x="58" y="158"/>
                      <a:pt x="58" y="158"/>
                    </a:cubicBezTo>
                    <a:cubicBezTo>
                      <a:pt x="59" y="158"/>
                      <a:pt x="59" y="156"/>
                      <a:pt x="59" y="155"/>
                    </a:cubicBezTo>
                    <a:cubicBezTo>
                      <a:pt x="61" y="154"/>
                      <a:pt x="62" y="155"/>
                      <a:pt x="63" y="154"/>
                    </a:cubicBezTo>
                    <a:cubicBezTo>
                      <a:pt x="64" y="154"/>
                      <a:pt x="63" y="153"/>
                      <a:pt x="64" y="152"/>
                    </a:cubicBezTo>
                    <a:cubicBezTo>
                      <a:pt x="65" y="151"/>
                      <a:pt x="65" y="152"/>
                      <a:pt x="67" y="151"/>
                    </a:cubicBezTo>
                    <a:cubicBezTo>
                      <a:pt x="66" y="149"/>
                      <a:pt x="66" y="149"/>
                      <a:pt x="66" y="149"/>
                    </a:cubicBezTo>
                    <a:cubicBezTo>
                      <a:pt x="64" y="149"/>
                      <a:pt x="63" y="149"/>
                      <a:pt x="62" y="149"/>
                    </a:cubicBezTo>
                    <a:cubicBezTo>
                      <a:pt x="64" y="148"/>
                      <a:pt x="66" y="147"/>
                      <a:pt x="68" y="146"/>
                    </a:cubicBezTo>
                    <a:cubicBezTo>
                      <a:pt x="68" y="144"/>
                      <a:pt x="69" y="141"/>
                      <a:pt x="67" y="139"/>
                    </a:cubicBezTo>
                    <a:cubicBezTo>
                      <a:pt x="67" y="138"/>
                      <a:pt x="66" y="139"/>
                      <a:pt x="65" y="138"/>
                    </a:cubicBezTo>
                    <a:cubicBezTo>
                      <a:pt x="63" y="137"/>
                      <a:pt x="64" y="135"/>
                      <a:pt x="64" y="135"/>
                    </a:cubicBezTo>
                    <a:cubicBezTo>
                      <a:pt x="61" y="134"/>
                      <a:pt x="61" y="134"/>
                      <a:pt x="59" y="131"/>
                    </a:cubicBezTo>
                    <a:cubicBezTo>
                      <a:pt x="59" y="131"/>
                      <a:pt x="58" y="132"/>
                      <a:pt x="57" y="133"/>
                    </a:cubicBezTo>
                    <a:cubicBezTo>
                      <a:pt x="56" y="133"/>
                      <a:pt x="56" y="132"/>
                      <a:pt x="54" y="132"/>
                    </a:cubicBezTo>
                    <a:cubicBezTo>
                      <a:pt x="54" y="131"/>
                      <a:pt x="54" y="130"/>
                      <a:pt x="53" y="130"/>
                    </a:cubicBezTo>
                    <a:cubicBezTo>
                      <a:pt x="54" y="125"/>
                      <a:pt x="52" y="122"/>
                      <a:pt x="52" y="118"/>
                    </a:cubicBezTo>
                    <a:cubicBezTo>
                      <a:pt x="52" y="118"/>
                      <a:pt x="52" y="115"/>
                      <a:pt x="52" y="115"/>
                    </a:cubicBezTo>
                    <a:cubicBezTo>
                      <a:pt x="53" y="115"/>
                      <a:pt x="54" y="115"/>
                      <a:pt x="54" y="115"/>
                    </a:cubicBezTo>
                    <a:cubicBezTo>
                      <a:pt x="51" y="112"/>
                      <a:pt x="56" y="107"/>
                      <a:pt x="55" y="103"/>
                    </a:cubicBezTo>
                    <a:cubicBezTo>
                      <a:pt x="55" y="103"/>
                      <a:pt x="54" y="103"/>
                      <a:pt x="53" y="103"/>
                    </a:cubicBezTo>
                    <a:cubicBezTo>
                      <a:pt x="53" y="102"/>
                      <a:pt x="54" y="101"/>
                      <a:pt x="53" y="101"/>
                    </a:cubicBezTo>
                    <a:cubicBezTo>
                      <a:pt x="54" y="100"/>
                      <a:pt x="55" y="102"/>
                      <a:pt x="56" y="101"/>
                    </a:cubicBezTo>
                    <a:cubicBezTo>
                      <a:pt x="56" y="101"/>
                      <a:pt x="57" y="100"/>
                      <a:pt x="57" y="100"/>
                    </a:cubicBezTo>
                    <a:cubicBezTo>
                      <a:pt x="58" y="99"/>
                      <a:pt x="59" y="100"/>
                      <a:pt x="59" y="99"/>
                    </a:cubicBezTo>
                    <a:cubicBezTo>
                      <a:pt x="60" y="99"/>
                      <a:pt x="60" y="97"/>
                      <a:pt x="61" y="96"/>
                    </a:cubicBezTo>
                    <a:cubicBezTo>
                      <a:pt x="59" y="96"/>
                      <a:pt x="59" y="96"/>
                      <a:pt x="59" y="96"/>
                    </a:cubicBezTo>
                    <a:cubicBezTo>
                      <a:pt x="59" y="95"/>
                      <a:pt x="59" y="95"/>
                      <a:pt x="59" y="95"/>
                    </a:cubicBezTo>
                    <a:cubicBezTo>
                      <a:pt x="62" y="94"/>
                      <a:pt x="64" y="94"/>
                      <a:pt x="65" y="92"/>
                    </a:cubicBezTo>
                    <a:cubicBezTo>
                      <a:pt x="66" y="91"/>
                      <a:pt x="64" y="91"/>
                      <a:pt x="64" y="91"/>
                    </a:cubicBezTo>
                    <a:cubicBezTo>
                      <a:pt x="67" y="87"/>
                      <a:pt x="67" y="87"/>
                      <a:pt x="67" y="87"/>
                    </a:cubicBezTo>
                    <a:cubicBezTo>
                      <a:pt x="68" y="86"/>
                      <a:pt x="69" y="87"/>
                      <a:pt x="69" y="87"/>
                    </a:cubicBezTo>
                    <a:cubicBezTo>
                      <a:pt x="72" y="87"/>
                      <a:pt x="73" y="84"/>
                      <a:pt x="75" y="83"/>
                    </a:cubicBezTo>
                    <a:cubicBezTo>
                      <a:pt x="77" y="83"/>
                      <a:pt x="79" y="84"/>
                      <a:pt x="79" y="83"/>
                    </a:cubicBezTo>
                    <a:cubicBezTo>
                      <a:pt x="82" y="82"/>
                      <a:pt x="82" y="79"/>
                      <a:pt x="84" y="77"/>
                    </a:cubicBezTo>
                    <a:cubicBezTo>
                      <a:pt x="85" y="76"/>
                      <a:pt x="86" y="76"/>
                      <a:pt x="87" y="75"/>
                    </a:cubicBezTo>
                    <a:cubicBezTo>
                      <a:pt x="87" y="74"/>
                      <a:pt x="88" y="74"/>
                      <a:pt x="88" y="73"/>
                    </a:cubicBezTo>
                    <a:cubicBezTo>
                      <a:pt x="88" y="73"/>
                      <a:pt x="86" y="72"/>
                      <a:pt x="86" y="72"/>
                    </a:cubicBezTo>
                    <a:cubicBezTo>
                      <a:pt x="86" y="71"/>
                      <a:pt x="86" y="71"/>
                      <a:pt x="87" y="69"/>
                    </a:cubicBezTo>
                    <a:cubicBezTo>
                      <a:pt x="86" y="69"/>
                      <a:pt x="85" y="66"/>
                      <a:pt x="85" y="64"/>
                    </a:cubicBezTo>
                    <a:cubicBezTo>
                      <a:pt x="89" y="61"/>
                      <a:pt x="89" y="61"/>
                      <a:pt x="89" y="61"/>
                    </a:cubicBezTo>
                    <a:cubicBezTo>
                      <a:pt x="90" y="59"/>
                      <a:pt x="86" y="60"/>
                      <a:pt x="89" y="59"/>
                    </a:cubicBezTo>
                    <a:cubicBezTo>
                      <a:pt x="90" y="58"/>
                      <a:pt x="90" y="58"/>
                      <a:pt x="90" y="58"/>
                    </a:cubicBezTo>
                    <a:cubicBezTo>
                      <a:pt x="91" y="58"/>
                      <a:pt x="88" y="57"/>
                      <a:pt x="89" y="56"/>
                    </a:cubicBezTo>
                    <a:cubicBezTo>
                      <a:pt x="91" y="55"/>
                      <a:pt x="91" y="57"/>
                      <a:pt x="93" y="56"/>
                    </a:cubicBezTo>
                    <a:cubicBezTo>
                      <a:pt x="95" y="55"/>
                      <a:pt x="96" y="51"/>
                      <a:pt x="97" y="48"/>
                    </a:cubicBezTo>
                    <a:cubicBezTo>
                      <a:pt x="97" y="48"/>
                      <a:pt x="98" y="49"/>
                      <a:pt x="98" y="50"/>
                    </a:cubicBezTo>
                    <a:cubicBezTo>
                      <a:pt x="98" y="50"/>
                      <a:pt x="100" y="49"/>
                      <a:pt x="101" y="49"/>
                    </a:cubicBezTo>
                    <a:cubicBezTo>
                      <a:pt x="101" y="49"/>
                      <a:pt x="102" y="51"/>
                      <a:pt x="102" y="51"/>
                    </a:cubicBezTo>
                    <a:cubicBezTo>
                      <a:pt x="103" y="52"/>
                      <a:pt x="103" y="50"/>
                      <a:pt x="103" y="49"/>
                    </a:cubicBezTo>
                    <a:cubicBezTo>
                      <a:pt x="105" y="50"/>
                      <a:pt x="106" y="50"/>
                      <a:pt x="108" y="50"/>
                    </a:cubicBezTo>
                    <a:close/>
                    <a:moveTo>
                      <a:pt x="30" y="206"/>
                    </a:moveTo>
                    <a:cubicBezTo>
                      <a:pt x="30" y="207"/>
                      <a:pt x="30" y="209"/>
                      <a:pt x="30" y="210"/>
                    </a:cubicBezTo>
                    <a:cubicBezTo>
                      <a:pt x="38" y="214"/>
                      <a:pt x="36" y="209"/>
                      <a:pt x="30" y="206"/>
                    </a:cubicBezTo>
                    <a:close/>
                    <a:moveTo>
                      <a:pt x="67" y="171"/>
                    </a:moveTo>
                    <a:cubicBezTo>
                      <a:pt x="67" y="171"/>
                      <a:pt x="67" y="173"/>
                      <a:pt x="67" y="174"/>
                    </a:cubicBezTo>
                    <a:cubicBezTo>
                      <a:pt x="67" y="174"/>
                      <a:pt x="65" y="173"/>
                      <a:pt x="64" y="173"/>
                    </a:cubicBezTo>
                    <a:cubicBezTo>
                      <a:pt x="59" y="180"/>
                      <a:pt x="57" y="179"/>
                      <a:pt x="62" y="187"/>
                    </a:cubicBezTo>
                    <a:cubicBezTo>
                      <a:pt x="63" y="186"/>
                      <a:pt x="66" y="182"/>
                      <a:pt x="66" y="182"/>
                    </a:cubicBezTo>
                    <a:cubicBezTo>
                      <a:pt x="67" y="180"/>
                      <a:pt x="65" y="180"/>
                      <a:pt x="65" y="178"/>
                    </a:cubicBezTo>
                    <a:cubicBezTo>
                      <a:pt x="66" y="176"/>
                      <a:pt x="68" y="173"/>
                      <a:pt x="69" y="171"/>
                    </a:cubicBezTo>
                    <a:cubicBezTo>
                      <a:pt x="69" y="171"/>
                      <a:pt x="68" y="171"/>
                      <a:pt x="67" y="171"/>
                    </a:cubicBezTo>
                    <a:close/>
                    <a:moveTo>
                      <a:pt x="31" y="156"/>
                    </a:moveTo>
                    <a:cubicBezTo>
                      <a:pt x="31" y="157"/>
                      <a:pt x="32" y="156"/>
                      <a:pt x="32" y="158"/>
                    </a:cubicBezTo>
                    <a:cubicBezTo>
                      <a:pt x="32" y="159"/>
                      <a:pt x="30" y="161"/>
                      <a:pt x="30" y="161"/>
                    </a:cubicBezTo>
                    <a:cubicBezTo>
                      <a:pt x="30" y="161"/>
                      <a:pt x="27" y="171"/>
                      <a:pt x="28" y="164"/>
                    </a:cubicBezTo>
                    <a:cubicBezTo>
                      <a:pt x="28" y="163"/>
                      <a:pt x="29" y="159"/>
                      <a:pt x="30" y="157"/>
                    </a:cubicBezTo>
                    <a:cubicBezTo>
                      <a:pt x="30" y="157"/>
                      <a:pt x="31" y="156"/>
                      <a:pt x="31" y="156"/>
                    </a:cubicBezTo>
                    <a:close/>
                    <a:moveTo>
                      <a:pt x="19" y="146"/>
                    </a:moveTo>
                    <a:cubicBezTo>
                      <a:pt x="20" y="146"/>
                      <a:pt x="20" y="146"/>
                      <a:pt x="20" y="146"/>
                    </a:cubicBezTo>
                    <a:cubicBezTo>
                      <a:pt x="20" y="146"/>
                      <a:pt x="20" y="148"/>
                      <a:pt x="20" y="148"/>
                    </a:cubicBezTo>
                    <a:cubicBezTo>
                      <a:pt x="21" y="148"/>
                      <a:pt x="23" y="148"/>
                      <a:pt x="24" y="149"/>
                    </a:cubicBezTo>
                    <a:cubicBezTo>
                      <a:pt x="27" y="153"/>
                      <a:pt x="23" y="156"/>
                      <a:pt x="20" y="158"/>
                    </a:cubicBezTo>
                    <a:cubicBezTo>
                      <a:pt x="20" y="158"/>
                      <a:pt x="19" y="160"/>
                      <a:pt x="19" y="160"/>
                    </a:cubicBezTo>
                    <a:cubicBezTo>
                      <a:pt x="17" y="160"/>
                      <a:pt x="17" y="159"/>
                      <a:pt x="16" y="160"/>
                    </a:cubicBezTo>
                    <a:cubicBezTo>
                      <a:pt x="15" y="160"/>
                      <a:pt x="15" y="161"/>
                      <a:pt x="15" y="161"/>
                    </a:cubicBezTo>
                    <a:cubicBezTo>
                      <a:pt x="14" y="161"/>
                      <a:pt x="12" y="161"/>
                      <a:pt x="11" y="161"/>
                    </a:cubicBezTo>
                    <a:cubicBezTo>
                      <a:pt x="11" y="159"/>
                      <a:pt x="11" y="157"/>
                      <a:pt x="12" y="155"/>
                    </a:cubicBezTo>
                    <a:cubicBezTo>
                      <a:pt x="12" y="155"/>
                      <a:pt x="13" y="155"/>
                      <a:pt x="13" y="154"/>
                    </a:cubicBezTo>
                    <a:cubicBezTo>
                      <a:pt x="15" y="153"/>
                      <a:pt x="16" y="154"/>
                      <a:pt x="18" y="153"/>
                    </a:cubicBezTo>
                    <a:cubicBezTo>
                      <a:pt x="18" y="152"/>
                      <a:pt x="18" y="148"/>
                      <a:pt x="18" y="148"/>
                    </a:cubicBezTo>
                    <a:lnTo>
                      <a:pt x="19" y="146"/>
                    </a:lnTo>
                    <a:close/>
                    <a:moveTo>
                      <a:pt x="53" y="145"/>
                    </a:moveTo>
                    <a:cubicBezTo>
                      <a:pt x="53" y="145"/>
                      <a:pt x="54" y="146"/>
                      <a:pt x="55" y="147"/>
                    </a:cubicBezTo>
                    <a:cubicBezTo>
                      <a:pt x="55" y="147"/>
                      <a:pt x="56" y="146"/>
                      <a:pt x="57" y="146"/>
                    </a:cubicBezTo>
                    <a:cubicBezTo>
                      <a:pt x="58" y="147"/>
                      <a:pt x="59" y="148"/>
                      <a:pt x="59" y="149"/>
                    </a:cubicBezTo>
                    <a:cubicBezTo>
                      <a:pt x="57" y="148"/>
                      <a:pt x="55" y="148"/>
                      <a:pt x="53" y="148"/>
                    </a:cubicBezTo>
                    <a:cubicBezTo>
                      <a:pt x="52" y="147"/>
                      <a:pt x="53" y="147"/>
                      <a:pt x="52" y="147"/>
                    </a:cubicBezTo>
                    <a:cubicBezTo>
                      <a:pt x="52" y="146"/>
                      <a:pt x="51" y="145"/>
                      <a:pt x="53" y="145"/>
                    </a:cubicBezTo>
                    <a:close/>
                    <a:moveTo>
                      <a:pt x="49" y="145"/>
                    </a:moveTo>
                    <a:cubicBezTo>
                      <a:pt x="51" y="145"/>
                      <a:pt x="49" y="146"/>
                      <a:pt x="49" y="147"/>
                    </a:cubicBezTo>
                    <a:cubicBezTo>
                      <a:pt x="48" y="147"/>
                      <a:pt x="48" y="145"/>
                      <a:pt x="49" y="14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81" name="Freeform 60">
                <a:extLst>
                  <a:ext uri="{FF2B5EF4-FFF2-40B4-BE49-F238E27FC236}">
                    <a16:creationId xmlns:a16="http://schemas.microsoft.com/office/drawing/2014/main" id="{6EE405FD-C384-5A28-9CBA-2C5DE0D8391F}"/>
                  </a:ext>
                </a:extLst>
              </p:cNvPr>
              <p:cNvSpPr>
                <a:spLocks noEditPoints="1"/>
              </p:cNvSpPr>
              <p:nvPr/>
            </p:nvSpPr>
            <p:spPr bwMode="auto">
              <a:xfrm>
                <a:off x="3310" y="590"/>
                <a:ext cx="221" cy="420"/>
              </a:xfrm>
              <a:custGeom>
                <a:avLst/>
                <a:gdLst>
                  <a:gd name="T0" fmla="*/ 110 w 113"/>
                  <a:gd name="T1" fmla="*/ 45 h 214"/>
                  <a:gd name="T2" fmla="*/ 110 w 113"/>
                  <a:gd name="T3" fmla="*/ 26 h 214"/>
                  <a:gd name="T4" fmla="*/ 103 w 113"/>
                  <a:gd name="T5" fmla="*/ 15 h 214"/>
                  <a:gd name="T6" fmla="*/ 83 w 113"/>
                  <a:gd name="T7" fmla="*/ 3 h 214"/>
                  <a:gd name="T8" fmla="*/ 79 w 113"/>
                  <a:gd name="T9" fmla="*/ 8 h 214"/>
                  <a:gd name="T10" fmla="*/ 69 w 113"/>
                  <a:gd name="T11" fmla="*/ 16 h 214"/>
                  <a:gd name="T12" fmla="*/ 59 w 113"/>
                  <a:gd name="T13" fmla="*/ 18 h 214"/>
                  <a:gd name="T14" fmla="*/ 51 w 113"/>
                  <a:gd name="T15" fmla="*/ 33 h 214"/>
                  <a:gd name="T16" fmla="*/ 41 w 113"/>
                  <a:gd name="T17" fmla="*/ 45 h 214"/>
                  <a:gd name="T18" fmla="*/ 32 w 113"/>
                  <a:gd name="T19" fmla="*/ 69 h 214"/>
                  <a:gd name="T20" fmla="*/ 16 w 113"/>
                  <a:gd name="T21" fmla="*/ 76 h 214"/>
                  <a:gd name="T22" fmla="*/ 8 w 113"/>
                  <a:gd name="T23" fmla="*/ 96 h 214"/>
                  <a:gd name="T24" fmla="*/ 8 w 113"/>
                  <a:gd name="T25" fmla="*/ 115 h 214"/>
                  <a:gd name="T26" fmla="*/ 7 w 113"/>
                  <a:gd name="T27" fmla="*/ 126 h 214"/>
                  <a:gd name="T28" fmla="*/ 6 w 113"/>
                  <a:gd name="T29" fmla="*/ 141 h 214"/>
                  <a:gd name="T30" fmla="*/ 5 w 113"/>
                  <a:gd name="T31" fmla="*/ 153 h 214"/>
                  <a:gd name="T32" fmla="*/ 0 w 113"/>
                  <a:gd name="T33" fmla="*/ 162 h 214"/>
                  <a:gd name="T34" fmla="*/ 6 w 113"/>
                  <a:gd name="T35" fmla="*/ 167 h 214"/>
                  <a:gd name="T36" fmla="*/ 5 w 113"/>
                  <a:gd name="T37" fmla="*/ 176 h 214"/>
                  <a:gd name="T38" fmla="*/ 13 w 113"/>
                  <a:gd name="T39" fmla="*/ 184 h 214"/>
                  <a:gd name="T40" fmla="*/ 16 w 113"/>
                  <a:gd name="T41" fmla="*/ 190 h 214"/>
                  <a:gd name="T42" fmla="*/ 12 w 113"/>
                  <a:gd name="T43" fmla="*/ 194 h 214"/>
                  <a:gd name="T44" fmla="*/ 26 w 113"/>
                  <a:gd name="T45" fmla="*/ 203 h 214"/>
                  <a:gd name="T46" fmla="*/ 30 w 113"/>
                  <a:gd name="T47" fmla="*/ 193 h 214"/>
                  <a:gd name="T48" fmla="*/ 43 w 113"/>
                  <a:gd name="T49" fmla="*/ 192 h 214"/>
                  <a:gd name="T50" fmla="*/ 47 w 113"/>
                  <a:gd name="T51" fmla="*/ 184 h 214"/>
                  <a:gd name="T52" fmla="*/ 45 w 113"/>
                  <a:gd name="T53" fmla="*/ 179 h 214"/>
                  <a:gd name="T54" fmla="*/ 48 w 113"/>
                  <a:gd name="T55" fmla="*/ 172 h 214"/>
                  <a:gd name="T56" fmla="*/ 45 w 113"/>
                  <a:gd name="T57" fmla="*/ 158 h 214"/>
                  <a:gd name="T58" fmla="*/ 58 w 113"/>
                  <a:gd name="T59" fmla="*/ 158 h 214"/>
                  <a:gd name="T60" fmla="*/ 64 w 113"/>
                  <a:gd name="T61" fmla="*/ 152 h 214"/>
                  <a:gd name="T62" fmla="*/ 62 w 113"/>
                  <a:gd name="T63" fmla="*/ 149 h 214"/>
                  <a:gd name="T64" fmla="*/ 65 w 113"/>
                  <a:gd name="T65" fmla="*/ 138 h 214"/>
                  <a:gd name="T66" fmla="*/ 57 w 113"/>
                  <a:gd name="T67" fmla="*/ 133 h 214"/>
                  <a:gd name="T68" fmla="*/ 52 w 113"/>
                  <a:gd name="T69" fmla="*/ 118 h 214"/>
                  <a:gd name="T70" fmla="*/ 55 w 113"/>
                  <a:gd name="T71" fmla="*/ 103 h 214"/>
                  <a:gd name="T72" fmla="*/ 56 w 113"/>
                  <a:gd name="T73" fmla="*/ 101 h 214"/>
                  <a:gd name="T74" fmla="*/ 61 w 113"/>
                  <a:gd name="T75" fmla="*/ 96 h 214"/>
                  <a:gd name="T76" fmla="*/ 65 w 113"/>
                  <a:gd name="T77" fmla="*/ 92 h 214"/>
                  <a:gd name="T78" fmla="*/ 69 w 113"/>
                  <a:gd name="T79" fmla="*/ 87 h 214"/>
                  <a:gd name="T80" fmla="*/ 84 w 113"/>
                  <a:gd name="T81" fmla="*/ 77 h 214"/>
                  <a:gd name="T82" fmla="*/ 86 w 113"/>
                  <a:gd name="T83" fmla="*/ 72 h 214"/>
                  <a:gd name="T84" fmla="*/ 89 w 113"/>
                  <a:gd name="T85" fmla="*/ 61 h 214"/>
                  <a:gd name="T86" fmla="*/ 89 w 113"/>
                  <a:gd name="T87" fmla="*/ 56 h 214"/>
                  <a:gd name="T88" fmla="*/ 98 w 113"/>
                  <a:gd name="T89" fmla="*/ 50 h 214"/>
                  <a:gd name="T90" fmla="*/ 103 w 113"/>
                  <a:gd name="T91" fmla="*/ 49 h 214"/>
                  <a:gd name="T92" fmla="*/ 30 w 113"/>
                  <a:gd name="T93" fmla="*/ 210 h 214"/>
                  <a:gd name="T94" fmla="*/ 67 w 113"/>
                  <a:gd name="T95" fmla="*/ 174 h 214"/>
                  <a:gd name="T96" fmla="*/ 66 w 113"/>
                  <a:gd name="T97" fmla="*/ 182 h 214"/>
                  <a:gd name="T98" fmla="*/ 67 w 113"/>
                  <a:gd name="T99" fmla="*/ 171 h 214"/>
                  <a:gd name="T100" fmla="*/ 30 w 113"/>
                  <a:gd name="T101" fmla="*/ 161 h 214"/>
                  <a:gd name="T102" fmla="*/ 31 w 113"/>
                  <a:gd name="T103" fmla="*/ 156 h 214"/>
                  <a:gd name="T104" fmla="*/ 20 w 113"/>
                  <a:gd name="T105" fmla="*/ 148 h 214"/>
                  <a:gd name="T106" fmla="*/ 19 w 113"/>
                  <a:gd name="T107" fmla="*/ 160 h 214"/>
                  <a:gd name="T108" fmla="*/ 11 w 113"/>
                  <a:gd name="T109" fmla="*/ 161 h 214"/>
                  <a:gd name="T110" fmla="*/ 18 w 113"/>
                  <a:gd name="T111" fmla="*/ 153 h 214"/>
                  <a:gd name="T112" fmla="*/ 53 w 113"/>
                  <a:gd name="T113" fmla="*/ 145 h 214"/>
                  <a:gd name="T114" fmla="*/ 59 w 113"/>
                  <a:gd name="T115" fmla="*/ 149 h 214"/>
                  <a:gd name="T116" fmla="*/ 53 w 113"/>
                  <a:gd name="T117" fmla="*/ 145 h 214"/>
                  <a:gd name="T118" fmla="*/ 49 w 113"/>
                  <a:gd name="T119" fmla="*/ 145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214">
                    <a:moveTo>
                      <a:pt x="108" y="50"/>
                    </a:moveTo>
                    <a:cubicBezTo>
                      <a:pt x="113" y="50"/>
                      <a:pt x="113" y="50"/>
                      <a:pt x="113" y="50"/>
                    </a:cubicBezTo>
                    <a:cubicBezTo>
                      <a:pt x="113" y="50"/>
                      <a:pt x="110" y="46"/>
                      <a:pt x="110" y="45"/>
                    </a:cubicBezTo>
                    <a:cubicBezTo>
                      <a:pt x="110" y="43"/>
                      <a:pt x="111" y="44"/>
                      <a:pt x="111" y="41"/>
                    </a:cubicBezTo>
                    <a:cubicBezTo>
                      <a:pt x="111" y="38"/>
                      <a:pt x="108" y="35"/>
                      <a:pt x="108" y="33"/>
                    </a:cubicBezTo>
                    <a:cubicBezTo>
                      <a:pt x="109" y="31"/>
                      <a:pt x="111" y="29"/>
                      <a:pt x="110" y="26"/>
                    </a:cubicBezTo>
                    <a:cubicBezTo>
                      <a:pt x="110" y="25"/>
                      <a:pt x="108" y="27"/>
                      <a:pt x="107" y="26"/>
                    </a:cubicBezTo>
                    <a:cubicBezTo>
                      <a:pt x="106" y="24"/>
                      <a:pt x="109" y="19"/>
                      <a:pt x="108" y="18"/>
                    </a:cubicBezTo>
                    <a:cubicBezTo>
                      <a:pt x="106" y="17"/>
                      <a:pt x="104" y="17"/>
                      <a:pt x="103" y="15"/>
                    </a:cubicBezTo>
                    <a:cubicBezTo>
                      <a:pt x="102" y="13"/>
                      <a:pt x="99" y="12"/>
                      <a:pt x="97" y="12"/>
                    </a:cubicBezTo>
                    <a:cubicBezTo>
                      <a:pt x="94" y="12"/>
                      <a:pt x="90" y="9"/>
                      <a:pt x="89" y="7"/>
                    </a:cubicBezTo>
                    <a:cubicBezTo>
                      <a:pt x="88" y="6"/>
                      <a:pt x="84" y="4"/>
                      <a:pt x="83" y="3"/>
                    </a:cubicBezTo>
                    <a:cubicBezTo>
                      <a:pt x="81" y="2"/>
                      <a:pt x="80" y="0"/>
                      <a:pt x="80" y="0"/>
                    </a:cubicBezTo>
                    <a:cubicBezTo>
                      <a:pt x="77" y="5"/>
                      <a:pt x="77" y="5"/>
                      <a:pt x="77" y="5"/>
                    </a:cubicBezTo>
                    <a:cubicBezTo>
                      <a:pt x="79" y="8"/>
                      <a:pt x="79" y="8"/>
                      <a:pt x="79" y="8"/>
                    </a:cubicBezTo>
                    <a:cubicBezTo>
                      <a:pt x="78" y="13"/>
                      <a:pt x="78" y="13"/>
                      <a:pt x="78" y="13"/>
                    </a:cubicBezTo>
                    <a:cubicBezTo>
                      <a:pt x="78" y="13"/>
                      <a:pt x="76" y="18"/>
                      <a:pt x="75" y="17"/>
                    </a:cubicBezTo>
                    <a:cubicBezTo>
                      <a:pt x="73" y="17"/>
                      <a:pt x="69" y="15"/>
                      <a:pt x="69" y="16"/>
                    </a:cubicBezTo>
                    <a:cubicBezTo>
                      <a:pt x="68" y="17"/>
                      <a:pt x="65" y="16"/>
                      <a:pt x="66" y="18"/>
                    </a:cubicBezTo>
                    <a:cubicBezTo>
                      <a:pt x="67" y="20"/>
                      <a:pt x="64" y="22"/>
                      <a:pt x="66" y="23"/>
                    </a:cubicBezTo>
                    <a:cubicBezTo>
                      <a:pt x="68" y="26"/>
                      <a:pt x="59" y="18"/>
                      <a:pt x="59" y="18"/>
                    </a:cubicBezTo>
                    <a:cubicBezTo>
                      <a:pt x="59" y="18"/>
                      <a:pt x="57" y="20"/>
                      <a:pt x="56" y="22"/>
                    </a:cubicBezTo>
                    <a:cubicBezTo>
                      <a:pt x="55" y="24"/>
                      <a:pt x="54" y="26"/>
                      <a:pt x="54" y="29"/>
                    </a:cubicBezTo>
                    <a:cubicBezTo>
                      <a:pt x="54" y="31"/>
                      <a:pt x="53" y="31"/>
                      <a:pt x="51" y="33"/>
                    </a:cubicBezTo>
                    <a:cubicBezTo>
                      <a:pt x="50" y="34"/>
                      <a:pt x="47" y="35"/>
                      <a:pt x="47" y="37"/>
                    </a:cubicBezTo>
                    <a:cubicBezTo>
                      <a:pt x="47" y="39"/>
                      <a:pt x="46" y="39"/>
                      <a:pt x="44" y="39"/>
                    </a:cubicBezTo>
                    <a:cubicBezTo>
                      <a:pt x="42" y="39"/>
                      <a:pt x="41" y="43"/>
                      <a:pt x="41" y="45"/>
                    </a:cubicBezTo>
                    <a:cubicBezTo>
                      <a:pt x="41" y="47"/>
                      <a:pt x="39" y="55"/>
                      <a:pt x="37" y="56"/>
                    </a:cubicBezTo>
                    <a:cubicBezTo>
                      <a:pt x="35" y="58"/>
                      <a:pt x="31" y="59"/>
                      <a:pt x="31" y="60"/>
                    </a:cubicBezTo>
                    <a:cubicBezTo>
                      <a:pt x="31" y="62"/>
                      <a:pt x="33" y="66"/>
                      <a:pt x="32" y="69"/>
                    </a:cubicBezTo>
                    <a:cubicBezTo>
                      <a:pt x="31" y="72"/>
                      <a:pt x="31" y="76"/>
                      <a:pt x="29" y="75"/>
                    </a:cubicBezTo>
                    <a:cubicBezTo>
                      <a:pt x="27" y="74"/>
                      <a:pt x="25" y="69"/>
                      <a:pt x="23" y="70"/>
                    </a:cubicBezTo>
                    <a:cubicBezTo>
                      <a:pt x="21" y="71"/>
                      <a:pt x="16" y="74"/>
                      <a:pt x="16" y="76"/>
                    </a:cubicBezTo>
                    <a:cubicBezTo>
                      <a:pt x="16" y="78"/>
                      <a:pt x="12" y="81"/>
                      <a:pt x="12" y="84"/>
                    </a:cubicBezTo>
                    <a:cubicBezTo>
                      <a:pt x="12" y="86"/>
                      <a:pt x="6" y="88"/>
                      <a:pt x="7" y="90"/>
                    </a:cubicBezTo>
                    <a:cubicBezTo>
                      <a:pt x="8" y="92"/>
                      <a:pt x="9" y="94"/>
                      <a:pt x="8" y="96"/>
                    </a:cubicBezTo>
                    <a:cubicBezTo>
                      <a:pt x="8" y="97"/>
                      <a:pt x="8" y="101"/>
                      <a:pt x="8" y="103"/>
                    </a:cubicBezTo>
                    <a:cubicBezTo>
                      <a:pt x="8" y="105"/>
                      <a:pt x="9" y="108"/>
                      <a:pt x="8" y="111"/>
                    </a:cubicBezTo>
                    <a:cubicBezTo>
                      <a:pt x="6" y="113"/>
                      <a:pt x="7" y="115"/>
                      <a:pt x="8" y="115"/>
                    </a:cubicBezTo>
                    <a:cubicBezTo>
                      <a:pt x="9" y="115"/>
                      <a:pt x="10" y="116"/>
                      <a:pt x="10" y="120"/>
                    </a:cubicBezTo>
                    <a:cubicBezTo>
                      <a:pt x="10" y="123"/>
                      <a:pt x="11" y="124"/>
                      <a:pt x="9" y="125"/>
                    </a:cubicBezTo>
                    <a:cubicBezTo>
                      <a:pt x="7" y="127"/>
                      <a:pt x="7" y="126"/>
                      <a:pt x="7" y="126"/>
                    </a:cubicBezTo>
                    <a:cubicBezTo>
                      <a:pt x="7" y="126"/>
                      <a:pt x="6" y="130"/>
                      <a:pt x="6" y="132"/>
                    </a:cubicBezTo>
                    <a:cubicBezTo>
                      <a:pt x="6" y="134"/>
                      <a:pt x="4" y="135"/>
                      <a:pt x="6" y="137"/>
                    </a:cubicBezTo>
                    <a:cubicBezTo>
                      <a:pt x="8" y="139"/>
                      <a:pt x="8" y="140"/>
                      <a:pt x="6" y="141"/>
                    </a:cubicBezTo>
                    <a:cubicBezTo>
                      <a:pt x="4" y="142"/>
                      <a:pt x="6" y="144"/>
                      <a:pt x="4" y="145"/>
                    </a:cubicBezTo>
                    <a:cubicBezTo>
                      <a:pt x="1" y="146"/>
                      <a:pt x="3" y="145"/>
                      <a:pt x="3" y="148"/>
                    </a:cubicBezTo>
                    <a:cubicBezTo>
                      <a:pt x="3" y="150"/>
                      <a:pt x="5" y="151"/>
                      <a:pt x="5" y="153"/>
                    </a:cubicBezTo>
                    <a:cubicBezTo>
                      <a:pt x="5" y="155"/>
                      <a:pt x="5" y="159"/>
                      <a:pt x="3" y="158"/>
                    </a:cubicBezTo>
                    <a:cubicBezTo>
                      <a:pt x="1" y="157"/>
                      <a:pt x="1" y="158"/>
                      <a:pt x="1" y="158"/>
                    </a:cubicBezTo>
                    <a:cubicBezTo>
                      <a:pt x="1" y="159"/>
                      <a:pt x="0" y="160"/>
                      <a:pt x="0" y="162"/>
                    </a:cubicBezTo>
                    <a:cubicBezTo>
                      <a:pt x="1" y="163"/>
                      <a:pt x="2" y="163"/>
                      <a:pt x="3" y="163"/>
                    </a:cubicBezTo>
                    <a:cubicBezTo>
                      <a:pt x="3" y="163"/>
                      <a:pt x="5" y="167"/>
                      <a:pt x="5" y="167"/>
                    </a:cubicBezTo>
                    <a:cubicBezTo>
                      <a:pt x="6" y="167"/>
                      <a:pt x="6" y="167"/>
                      <a:pt x="6" y="167"/>
                    </a:cubicBezTo>
                    <a:cubicBezTo>
                      <a:pt x="6" y="168"/>
                      <a:pt x="3" y="171"/>
                      <a:pt x="3" y="172"/>
                    </a:cubicBezTo>
                    <a:cubicBezTo>
                      <a:pt x="3" y="173"/>
                      <a:pt x="5" y="173"/>
                      <a:pt x="5" y="174"/>
                    </a:cubicBezTo>
                    <a:cubicBezTo>
                      <a:pt x="5" y="175"/>
                      <a:pt x="5" y="176"/>
                      <a:pt x="5" y="176"/>
                    </a:cubicBezTo>
                    <a:cubicBezTo>
                      <a:pt x="5" y="176"/>
                      <a:pt x="7" y="176"/>
                      <a:pt x="8" y="176"/>
                    </a:cubicBezTo>
                    <a:cubicBezTo>
                      <a:pt x="8" y="178"/>
                      <a:pt x="8" y="179"/>
                      <a:pt x="8" y="180"/>
                    </a:cubicBezTo>
                    <a:cubicBezTo>
                      <a:pt x="9" y="181"/>
                      <a:pt x="12" y="183"/>
                      <a:pt x="13" y="184"/>
                    </a:cubicBezTo>
                    <a:cubicBezTo>
                      <a:pt x="13" y="185"/>
                      <a:pt x="13" y="187"/>
                      <a:pt x="14" y="187"/>
                    </a:cubicBezTo>
                    <a:cubicBezTo>
                      <a:pt x="14" y="188"/>
                      <a:pt x="16" y="187"/>
                      <a:pt x="16" y="188"/>
                    </a:cubicBezTo>
                    <a:cubicBezTo>
                      <a:pt x="16" y="190"/>
                      <a:pt x="16" y="190"/>
                      <a:pt x="16" y="190"/>
                    </a:cubicBezTo>
                    <a:cubicBezTo>
                      <a:pt x="15" y="190"/>
                      <a:pt x="14" y="190"/>
                      <a:pt x="14" y="190"/>
                    </a:cubicBezTo>
                    <a:cubicBezTo>
                      <a:pt x="13" y="191"/>
                      <a:pt x="14" y="192"/>
                      <a:pt x="14" y="193"/>
                    </a:cubicBezTo>
                    <a:cubicBezTo>
                      <a:pt x="14" y="193"/>
                      <a:pt x="12" y="194"/>
                      <a:pt x="12" y="194"/>
                    </a:cubicBezTo>
                    <a:cubicBezTo>
                      <a:pt x="12" y="196"/>
                      <a:pt x="13" y="199"/>
                      <a:pt x="13" y="199"/>
                    </a:cubicBezTo>
                    <a:cubicBezTo>
                      <a:pt x="13" y="202"/>
                      <a:pt x="13" y="205"/>
                      <a:pt x="16" y="206"/>
                    </a:cubicBezTo>
                    <a:cubicBezTo>
                      <a:pt x="19" y="206"/>
                      <a:pt x="24" y="204"/>
                      <a:pt x="26" y="203"/>
                    </a:cubicBezTo>
                    <a:cubicBezTo>
                      <a:pt x="26" y="199"/>
                      <a:pt x="26" y="199"/>
                      <a:pt x="27" y="196"/>
                    </a:cubicBezTo>
                    <a:cubicBezTo>
                      <a:pt x="27" y="196"/>
                      <a:pt x="29" y="196"/>
                      <a:pt x="30" y="196"/>
                    </a:cubicBezTo>
                    <a:cubicBezTo>
                      <a:pt x="30" y="196"/>
                      <a:pt x="29" y="193"/>
                      <a:pt x="30" y="193"/>
                    </a:cubicBezTo>
                    <a:cubicBezTo>
                      <a:pt x="32" y="192"/>
                      <a:pt x="37" y="193"/>
                      <a:pt x="41" y="193"/>
                    </a:cubicBezTo>
                    <a:cubicBezTo>
                      <a:pt x="42" y="193"/>
                      <a:pt x="43" y="190"/>
                      <a:pt x="43" y="190"/>
                    </a:cubicBezTo>
                    <a:cubicBezTo>
                      <a:pt x="43" y="190"/>
                      <a:pt x="44" y="191"/>
                      <a:pt x="43" y="192"/>
                    </a:cubicBezTo>
                    <a:cubicBezTo>
                      <a:pt x="44" y="192"/>
                      <a:pt x="45" y="192"/>
                      <a:pt x="45" y="192"/>
                    </a:cubicBezTo>
                    <a:cubicBezTo>
                      <a:pt x="46" y="190"/>
                      <a:pt x="47" y="188"/>
                      <a:pt x="48" y="185"/>
                    </a:cubicBezTo>
                    <a:cubicBezTo>
                      <a:pt x="48" y="185"/>
                      <a:pt x="49" y="184"/>
                      <a:pt x="47" y="184"/>
                    </a:cubicBezTo>
                    <a:cubicBezTo>
                      <a:pt x="46" y="185"/>
                      <a:pt x="46" y="188"/>
                      <a:pt x="45" y="188"/>
                    </a:cubicBezTo>
                    <a:cubicBezTo>
                      <a:pt x="44" y="189"/>
                      <a:pt x="44" y="187"/>
                      <a:pt x="44" y="186"/>
                    </a:cubicBezTo>
                    <a:cubicBezTo>
                      <a:pt x="44" y="185"/>
                      <a:pt x="45" y="181"/>
                      <a:pt x="45" y="179"/>
                    </a:cubicBezTo>
                    <a:cubicBezTo>
                      <a:pt x="46" y="179"/>
                      <a:pt x="47" y="177"/>
                      <a:pt x="47" y="176"/>
                    </a:cubicBezTo>
                    <a:cubicBezTo>
                      <a:pt x="48" y="174"/>
                      <a:pt x="46" y="175"/>
                      <a:pt x="47" y="173"/>
                    </a:cubicBezTo>
                    <a:cubicBezTo>
                      <a:pt x="48" y="172"/>
                      <a:pt x="48" y="172"/>
                      <a:pt x="48" y="172"/>
                    </a:cubicBezTo>
                    <a:cubicBezTo>
                      <a:pt x="50" y="169"/>
                      <a:pt x="48" y="164"/>
                      <a:pt x="47" y="162"/>
                    </a:cubicBezTo>
                    <a:cubicBezTo>
                      <a:pt x="48" y="162"/>
                      <a:pt x="50" y="161"/>
                      <a:pt x="50" y="160"/>
                    </a:cubicBezTo>
                    <a:cubicBezTo>
                      <a:pt x="49" y="160"/>
                      <a:pt x="46" y="158"/>
                      <a:pt x="45" y="158"/>
                    </a:cubicBezTo>
                    <a:cubicBezTo>
                      <a:pt x="50" y="158"/>
                      <a:pt x="52" y="157"/>
                      <a:pt x="57" y="156"/>
                    </a:cubicBezTo>
                    <a:cubicBezTo>
                      <a:pt x="57" y="158"/>
                      <a:pt x="57" y="158"/>
                      <a:pt x="57" y="158"/>
                    </a:cubicBezTo>
                    <a:cubicBezTo>
                      <a:pt x="58" y="158"/>
                      <a:pt x="58" y="158"/>
                      <a:pt x="58" y="158"/>
                    </a:cubicBezTo>
                    <a:cubicBezTo>
                      <a:pt x="59" y="158"/>
                      <a:pt x="59" y="156"/>
                      <a:pt x="59" y="155"/>
                    </a:cubicBezTo>
                    <a:cubicBezTo>
                      <a:pt x="61" y="154"/>
                      <a:pt x="62" y="155"/>
                      <a:pt x="63" y="154"/>
                    </a:cubicBezTo>
                    <a:cubicBezTo>
                      <a:pt x="64" y="154"/>
                      <a:pt x="63" y="153"/>
                      <a:pt x="64" y="152"/>
                    </a:cubicBezTo>
                    <a:cubicBezTo>
                      <a:pt x="65" y="151"/>
                      <a:pt x="65" y="152"/>
                      <a:pt x="67" y="151"/>
                    </a:cubicBezTo>
                    <a:cubicBezTo>
                      <a:pt x="66" y="149"/>
                      <a:pt x="66" y="149"/>
                      <a:pt x="66" y="149"/>
                    </a:cubicBezTo>
                    <a:cubicBezTo>
                      <a:pt x="64" y="149"/>
                      <a:pt x="63" y="149"/>
                      <a:pt x="62" y="149"/>
                    </a:cubicBezTo>
                    <a:cubicBezTo>
                      <a:pt x="64" y="148"/>
                      <a:pt x="66" y="147"/>
                      <a:pt x="68" y="146"/>
                    </a:cubicBezTo>
                    <a:cubicBezTo>
                      <a:pt x="68" y="144"/>
                      <a:pt x="69" y="141"/>
                      <a:pt x="67" y="139"/>
                    </a:cubicBezTo>
                    <a:cubicBezTo>
                      <a:pt x="67" y="138"/>
                      <a:pt x="66" y="139"/>
                      <a:pt x="65" y="138"/>
                    </a:cubicBezTo>
                    <a:cubicBezTo>
                      <a:pt x="63" y="137"/>
                      <a:pt x="64" y="135"/>
                      <a:pt x="64" y="135"/>
                    </a:cubicBezTo>
                    <a:cubicBezTo>
                      <a:pt x="61" y="134"/>
                      <a:pt x="61" y="134"/>
                      <a:pt x="59" y="131"/>
                    </a:cubicBezTo>
                    <a:cubicBezTo>
                      <a:pt x="59" y="131"/>
                      <a:pt x="58" y="132"/>
                      <a:pt x="57" y="133"/>
                    </a:cubicBezTo>
                    <a:cubicBezTo>
                      <a:pt x="56" y="133"/>
                      <a:pt x="56" y="132"/>
                      <a:pt x="54" y="132"/>
                    </a:cubicBezTo>
                    <a:cubicBezTo>
                      <a:pt x="54" y="131"/>
                      <a:pt x="54" y="130"/>
                      <a:pt x="53" y="130"/>
                    </a:cubicBezTo>
                    <a:cubicBezTo>
                      <a:pt x="54" y="125"/>
                      <a:pt x="52" y="122"/>
                      <a:pt x="52" y="118"/>
                    </a:cubicBezTo>
                    <a:cubicBezTo>
                      <a:pt x="52" y="118"/>
                      <a:pt x="52" y="115"/>
                      <a:pt x="52" y="115"/>
                    </a:cubicBezTo>
                    <a:cubicBezTo>
                      <a:pt x="53" y="115"/>
                      <a:pt x="54" y="115"/>
                      <a:pt x="54" y="115"/>
                    </a:cubicBezTo>
                    <a:cubicBezTo>
                      <a:pt x="51" y="112"/>
                      <a:pt x="56" y="107"/>
                      <a:pt x="55" y="103"/>
                    </a:cubicBezTo>
                    <a:cubicBezTo>
                      <a:pt x="55" y="103"/>
                      <a:pt x="54" y="103"/>
                      <a:pt x="53" y="103"/>
                    </a:cubicBezTo>
                    <a:cubicBezTo>
                      <a:pt x="53" y="102"/>
                      <a:pt x="54" y="101"/>
                      <a:pt x="53" y="101"/>
                    </a:cubicBezTo>
                    <a:cubicBezTo>
                      <a:pt x="54" y="100"/>
                      <a:pt x="55" y="102"/>
                      <a:pt x="56" y="101"/>
                    </a:cubicBezTo>
                    <a:cubicBezTo>
                      <a:pt x="56" y="101"/>
                      <a:pt x="57" y="100"/>
                      <a:pt x="57" y="100"/>
                    </a:cubicBezTo>
                    <a:cubicBezTo>
                      <a:pt x="58" y="99"/>
                      <a:pt x="59" y="100"/>
                      <a:pt x="59" y="99"/>
                    </a:cubicBezTo>
                    <a:cubicBezTo>
                      <a:pt x="60" y="99"/>
                      <a:pt x="60" y="97"/>
                      <a:pt x="61" y="96"/>
                    </a:cubicBezTo>
                    <a:cubicBezTo>
                      <a:pt x="59" y="96"/>
                      <a:pt x="59" y="96"/>
                      <a:pt x="59" y="96"/>
                    </a:cubicBezTo>
                    <a:cubicBezTo>
                      <a:pt x="59" y="95"/>
                      <a:pt x="59" y="95"/>
                      <a:pt x="59" y="95"/>
                    </a:cubicBezTo>
                    <a:cubicBezTo>
                      <a:pt x="62" y="94"/>
                      <a:pt x="64" y="94"/>
                      <a:pt x="65" y="92"/>
                    </a:cubicBezTo>
                    <a:cubicBezTo>
                      <a:pt x="66" y="91"/>
                      <a:pt x="64" y="91"/>
                      <a:pt x="64" y="91"/>
                    </a:cubicBezTo>
                    <a:cubicBezTo>
                      <a:pt x="67" y="87"/>
                      <a:pt x="67" y="87"/>
                      <a:pt x="67" y="87"/>
                    </a:cubicBezTo>
                    <a:cubicBezTo>
                      <a:pt x="68" y="86"/>
                      <a:pt x="69" y="87"/>
                      <a:pt x="69" y="87"/>
                    </a:cubicBezTo>
                    <a:cubicBezTo>
                      <a:pt x="72" y="87"/>
                      <a:pt x="73" y="84"/>
                      <a:pt x="75" y="83"/>
                    </a:cubicBezTo>
                    <a:cubicBezTo>
                      <a:pt x="77" y="83"/>
                      <a:pt x="79" y="84"/>
                      <a:pt x="79" y="83"/>
                    </a:cubicBezTo>
                    <a:cubicBezTo>
                      <a:pt x="82" y="82"/>
                      <a:pt x="82" y="79"/>
                      <a:pt x="84" y="77"/>
                    </a:cubicBezTo>
                    <a:cubicBezTo>
                      <a:pt x="85" y="76"/>
                      <a:pt x="86" y="76"/>
                      <a:pt x="87" y="75"/>
                    </a:cubicBezTo>
                    <a:cubicBezTo>
                      <a:pt x="87" y="74"/>
                      <a:pt x="88" y="74"/>
                      <a:pt x="88" y="73"/>
                    </a:cubicBezTo>
                    <a:cubicBezTo>
                      <a:pt x="88" y="73"/>
                      <a:pt x="86" y="72"/>
                      <a:pt x="86" y="72"/>
                    </a:cubicBezTo>
                    <a:cubicBezTo>
                      <a:pt x="86" y="71"/>
                      <a:pt x="86" y="71"/>
                      <a:pt x="87" y="69"/>
                    </a:cubicBezTo>
                    <a:cubicBezTo>
                      <a:pt x="86" y="69"/>
                      <a:pt x="85" y="66"/>
                      <a:pt x="85" y="64"/>
                    </a:cubicBezTo>
                    <a:cubicBezTo>
                      <a:pt x="89" y="61"/>
                      <a:pt x="89" y="61"/>
                      <a:pt x="89" y="61"/>
                    </a:cubicBezTo>
                    <a:cubicBezTo>
                      <a:pt x="90" y="59"/>
                      <a:pt x="86" y="60"/>
                      <a:pt x="89" y="59"/>
                    </a:cubicBezTo>
                    <a:cubicBezTo>
                      <a:pt x="90" y="58"/>
                      <a:pt x="90" y="58"/>
                      <a:pt x="90" y="58"/>
                    </a:cubicBezTo>
                    <a:cubicBezTo>
                      <a:pt x="91" y="58"/>
                      <a:pt x="88" y="57"/>
                      <a:pt x="89" y="56"/>
                    </a:cubicBezTo>
                    <a:cubicBezTo>
                      <a:pt x="91" y="55"/>
                      <a:pt x="91" y="57"/>
                      <a:pt x="93" y="56"/>
                    </a:cubicBezTo>
                    <a:cubicBezTo>
                      <a:pt x="95" y="55"/>
                      <a:pt x="96" y="51"/>
                      <a:pt x="97" y="48"/>
                    </a:cubicBezTo>
                    <a:cubicBezTo>
                      <a:pt x="97" y="48"/>
                      <a:pt x="98" y="49"/>
                      <a:pt x="98" y="50"/>
                    </a:cubicBezTo>
                    <a:cubicBezTo>
                      <a:pt x="98" y="50"/>
                      <a:pt x="100" y="49"/>
                      <a:pt x="101" y="49"/>
                    </a:cubicBezTo>
                    <a:cubicBezTo>
                      <a:pt x="101" y="49"/>
                      <a:pt x="102" y="51"/>
                      <a:pt x="102" y="51"/>
                    </a:cubicBezTo>
                    <a:cubicBezTo>
                      <a:pt x="103" y="52"/>
                      <a:pt x="103" y="50"/>
                      <a:pt x="103" y="49"/>
                    </a:cubicBezTo>
                    <a:cubicBezTo>
                      <a:pt x="105" y="50"/>
                      <a:pt x="106" y="50"/>
                      <a:pt x="108" y="50"/>
                    </a:cubicBezTo>
                    <a:close/>
                    <a:moveTo>
                      <a:pt x="30" y="206"/>
                    </a:moveTo>
                    <a:cubicBezTo>
                      <a:pt x="30" y="207"/>
                      <a:pt x="30" y="209"/>
                      <a:pt x="30" y="210"/>
                    </a:cubicBezTo>
                    <a:cubicBezTo>
                      <a:pt x="38" y="214"/>
                      <a:pt x="36" y="209"/>
                      <a:pt x="30" y="206"/>
                    </a:cubicBezTo>
                    <a:close/>
                    <a:moveTo>
                      <a:pt x="67" y="171"/>
                    </a:moveTo>
                    <a:cubicBezTo>
                      <a:pt x="67" y="171"/>
                      <a:pt x="67" y="173"/>
                      <a:pt x="67" y="174"/>
                    </a:cubicBezTo>
                    <a:cubicBezTo>
                      <a:pt x="67" y="174"/>
                      <a:pt x="65" y="173"/>
                      <a:pt x="64" y="173"/>
                    </a:cubicBezTo>
                    <a:cubicBezTo>
                      <a:pt x="59" y="180"/>
                      <a:pt x="57" y="179"/>
                      <a:pt x="62" y="187"/>
                    </a:cubicBezTo>
                    <a:cubicBezTo>
                      <a:pt x="63" y="186"/>
                      <a:pt x="66" y="182"/>
                      <a:pt x="66" y="182"/>
                    </a:cubicBezTo>
                    <a:cubicBezTo>
                      <a:pt x="67" y="180"/>
                      <a:pt x="65" y="180"/>
                      <a:pt x="65" y="178"/>
                    </a:cubicBezTo>
                    <a:cubicBezTo>
                      <a:pt x="66" y="176"/>
                      <a:pt x="68" y="173"/>
                      <a:pt x="69" y="171"/>
                    </a:cubicBezTo>
                    <a:cubicBezTo>
                      <a:pt x="69" y="171"/>
                      <a:pt x="68" y="171"/>
                      <a:pt x="67" y="171"/>
                    </a:cubicBezTo>
                    <a:close/>
                    <a:moveTo>
                      <a:pt x="31" y="156"/>
                    </a:moveTo>
                    <a:cubicBezTo>
                      <a:pt x="31" y="157"/>
                      <a:pt x="32" y="156"/>
                      <a:pt x="32" y="158"/>
                    </a:cubicBezTo>
                    <a:cubicBezTo>
                      <a:pt x="32" y="159"/>
                      <a:pt x="30" y="161"/>
                      <a:pt x="30" y="161"/>
                    </a:cubicBezTo>
                    <a:cubicBezTo>
                      <a:pt x="30" y="161"/>
                      <a:pt x="27" y="171"/>
                      <a:pt x="28" y="164"/>
                    </a:cubicBezTo>
                    <a:cubicBezTo>
                      <a:pt x="28" y="163"/>
                      <a:pt x="29" y="159"/>
                      <a:pt x="30" y="157"/>
                    </a:cubicBezTo>
                    <a:cubicBezTo>
                      <a:pt x="30" y="157"/>
                      <a:pt x="31" y="156"/>
                      <a:pt x="31" y="156"/>
                    </a:cubicBezTo>
                    <a:close/>
                    <a:moveTo>
                      <a:pt x="19" y="146"/>
                    </a:moveTo>
                    <a:cubicBezTo>
                      <a:pt x="20" y="146"/>
                      <a:pt x="20" y="146"/>
                      <a:pt x="20" y="146"/>
                    </a:cubicBezTo>
                    <a:cubicBezTo>
                      <a:pt x="20" y="146"/>
                      <a:pt x="20" y="148"/>
                      <a:pt x="20" y="148"/>
                    </a:cubicBezTo>
                    <a:cubicBezTo>
                      <a:pt x="21" y="148"/>
                      <a:pt x="23" y="148"/>
                      <a:pt x="24" y="149"/>
                    </a:cubicBezTo>
                    <a:cubicBezTo>
                      <a:pt x="27" y="153"/>
                      <a:pt x="23" y="156"/>
                      <a:pt x="20" y="158"/>
                    </a:cubicBezTo>
                    <a:cubicBezTo>
                      <a:pt x="20" y="158"/>
                      <a:pt x="19" y="160"/>
                      <a:pt x="19" y="160"/>
                    </a:cubicBezTo>
                    <a:cubicBezTo>
                      <a:pt x="17" y="160"/>
                      <a:pt x="17" y="159"/>
                      <a:pt x="16" y="160"/>
                    </a:cubicBezTo>
                    <a:cubicBezTo>
                      <a:pt x="15" y="160"/>
                      <a:pt x="15" y="161"/>
                      <a:pt x="15" y="161"/>
                    </a:cubicBezTo>
                    <a:cubicBezTo>
                      <a:pt x="14" y="161"/>
                      <a:pt x="12" y="161"/>
                      <a:pt x="11" y="161"/>
                    </a:cubicBezTo>
                    <a:cubicBezTo>
                      <a:pt x="11" y="159"/>
                      <a:pt x="11" y="157"/>
                      <a:pt x="12" y="155"/>
                    </a:cubicBezTo>
                    <a:cubicBezTo>
                      <a:pt x="12" y="155"/>
                      <a:pt x="13" y="155"/>
                      <a:pt x="13" y="154"/>
                    </a:cubicBezTo>
                    <a:cubicBezTo>
                      <a:pt x="15" y="153"/>
                      <a:pt x="16" y="154"/>
                      <a:pt x="18" y="153"/>
                    </a:cubicBezTo>
                    <a:cubicBezTo>
                      <a:pt x="18" y="152"/>
                      <a:pt x="18" y="148"/>
                      <a:pt x="18" y="148"/>
                    </a:cubicBezTo>
                    <a:lnTo>
                      <a:pt x="19" y="146"/>
                    </a:lnTo>
                    <a:close/>
                    <a:moveTo>
                      <a:pt x="53" y="145"/>
                    </a:moveTo>
                    <a:cubicBezTo>
                      <a:pt x="53" y="145"/>
                      <a:pt x="54" y="146"/>
                      <a:pt x="55" y="147"/>
                    </a:cubicBezTo>
                    <a:cubicBezTo>
                      <a:pt x="55" y="147"/>
                      <a:pt x="56" y="146"/>
                      <a:pt x="57" y="146"/>
                    </a:cubicBezTo>
                    <a:cubicBezTo>
                      <a:pt x="58" y="147"/>
                      <a:pt x="59" y="148"/>
                      <a:pt x="59" y="149"/>
                    </a:cubicBezTo>
                    <a:cubicBezTo>
                      <a:pt x="57" y="148"/>
                      <a:pt x="55" y="148"/>
                      <a:pt x="53" y="148"/>
                    </a:cubicBezTo>
                    <a:cubicBezTo>
                      <a:pt x="52" y="147"/>
                      <a:pt x="53" y="147"/>
                      <a:pt x="52" y="147"/>
                    </a:cubicBezTo>
                    <a:cubicBezTo>
                      <a:pt x="52" y="146"/>
                      <a:pt x="51" y="145"/>
                      <a:pt x="53" y="145"/>
                    </a:cubicBezTo>
                    <a:close/>
                    <a:moveTo>
                      <a:pt x="49" y="145"/>
                    </a:moveTo>
                    <a:cubicBezTo>
                      <a:pt x="51" y="145"/>
                      <a:pt x="49" y="146"/>
                      <a:pt x="49" y="147"/>
                    </a:cubicBezTo>
                    <a:cubicBezTo>
                      <a:pt x="48" y="147"/>
                      <a:pt x="48" y="145"/>
                      <a:pt x="49" y="14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82" name="Freeform 61">
                <a:extLst>
                  <a:ext uri="{FF2B5EF4-FFF2-40B4-BE49-F238E27FC236}">
                    <a16:creationId xmlns:a16="http://schemas.microsoft.com/office/drawing/2014/main" id="{2039CB94-EF13-ED09-B1F0-9EA008371EBB}"/>
                  </a:ext>
                </a:extLst>
              </p:cNvPr>
              <p:cNvSpPr>
                <a:spLocks/>
              </p:cNvSpPr>
              <p:nvPr/>
            </p:nvSpPr>
            <p:spPr bwMode="auto">
              <a:xfrm>
                <a:off x="3635" y="2800"/>
                <a:ext cx="22" cy="31"/>
              </a:xfrm>
              <a:custGeom>
                <a:avLst/>
                <a:gdLst>
                  <a:gd name="T0" fmla="*/ 10 w 11"/>
                  <a:gd name="T1" fmla="*/ 10 h 16"/>
                  <a:gd name="T2" fmla="*/ 11 w 11"/>
                  <a:gd name="T3" fmla="*/ 4 h 16"/>
                  <a:gd name="T4" fmla="*/ 7 w 11"/>
                  <a:gd name="T5" fmla="*/ 0 h 16"/>
                  <a:gd name="T6" fmla="*/ 3 w 11"/>
                  <a:gd name="T7" fmla="*/ 1 h 16"/>
                  <a:gd name="T8" fmla="*/ 1 w 11"/>
                  <a:gd name="T9" fmla="*/ 5 h 16"/>
                  <a:gd name="T10" fmla="*/ 1 w 11"/>
                  <a:gd name="T11" fmla="*/ 11 h 16"/>
                  <a:gd name="T12" fmla="*/ 4 w 11"/>
                  <a:gd name="T13" fmla="*/ 14 h 16"/>
                  <a:gd name="T14" fmla="*/ 11 w 11"/>
                  <a:gd name="T15" fmla="*/ 16 h 16"/>
                  <a:gd name="T16" fmla="*/ 10 w 11"/>
                  <a:gd name="T17"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6">
                    <a:moveTo>
                      <a:pt x="10" y="10"/>
                    </a:moveTo>
                    <a:cubicBezTo>
                      <a:pt x="10" y="10"/>
                      <a:pt x="11" y="6"/>
                      <a:pt x="11" y="4"/>
                    </a:cubicBezTo>
                    <a:cubicBezTo>
                      <a:pt x="11" y="2"/>
                      <a:pt x="7" y="0"/>
                      <a:pt x="7" y="0"/>
                    </a:cubicBezTo>
                    <a:cubicBezTo>
                      <a:pt x="7" y="0"/>
                      <a:pt x="5" y="2"/>
                      <a:pt x="3" y="1"/>
                    </a:cubicBezTo>
                    <a:cubicBezTo>
                      <a:pt x="2" y="0"/>
                      <a:pt x="1" y="2"/>
                      <a:pt x="1" y="5"/>
                    </a:cubicBezTo>
                    <a:cubicBezTo>
                      <a:pt x="1" y="9"/>
                      <a:pt x="0" y="8"/>
                      <a:pt x="1" y="11"/>
                    </a:cubicBezTo>
                    <a:cubicBezTo>
                      <a:pt x="3" y="14"/>
                      <a:pt x="2" y="12"/>
                      <a:pt x="4" y="14"/>
                    </a:cubicBezTo>
                    <a:cubicBezTo>
                      <a:pt x="7" y="15"/>
                      <a:pt x="11" y="16"/>
                      <a:pt x="11" y="16"/>
                    </a:cubicBezTo>
                    <a:lnTo>
                      <a:pt x="10" y="10"/>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83" name="Freeform 62">
                <a:extLst>
                  <a:ext uri="{FF2B5EF4-FFF2-40B4-BE49-F238E27FC236}">
                    <a16:creationId xmlns:a16="http://schemas.microsoft.com/office/drawing/2014/main" id="{C56E6A7F-9794-BBB0-A94C-EBFB61E94517}"/>
                  </a:ext>
                </a:extLst>
              </p:cNvPr>
              <p:cNvSpPr>
                <a:spLocks/>
              </p:cNvSpPr>
              <p:nvPr/>
            </p:nvSpPr>
            <p:spPr bwMode="auto">
              <a:xfrm>
                <a:off x="2127" y="2113"/>
                <a:ext cx="71" cy="112"/>
              </a:xfrm>
              <a:custGeom>
                <a:avLst/>
                <a:gdLst>
                  <a:gd name="T0" fmla="*/ 36 w 36"/>
                  <a:gd name="T1" fmla="*/ 4 h 57"/>
                  <a:gd name="T2" fmla="*/ 32 w 36"/>
                  <a:gd name="T3" fmla="*/ 4 h 57"/>
                  <a:gd name="T4" fmla="*/ 32 w 36"/>
                  <a:gd name="T5" fmla="*/ 3 h 57"/>
                  <a:gd name="T6" fmla="*/ 27 w 36"/>
                  <a:gd name="T7" fmla="*/ 3 h 57"/>
                  <a:gd name="T8" fmla="*/ 27 w 36"/>
                  <a:gd name="T9" fmla="*/ 4 h 57"/>
                  <a:gd name="T10" fmla="*/ 24 w 36"/>
                  <a:gd name="T11" fmla="*/ 5 h 57"/>
                  <a:gd name="T12" fmla="*/ 12 w 36"/>
                  <a:gd name="T13" fmla="*/ 7 h 57"/>
                  <a:gd name="T14" fmla="*/ 12 w 36"/>
                  <a:gd name="T15" fmla="*/ 6 h 57"/>
                  <a:gd name="T16" fmla="*/ 7 w 36"/>
                  <a:gd name="T17" fmla="*/ 14 h 57"/>
                  <a:gd name="T18" fmla="*/ 7 w 36"/>
                  <a:gd name="T19" fmla="*/ 19 h 57"/>
                  <a:gd name="T20" fmla="*/ 2 w 36"/>
                  <a:gd name="T21" fmla="*/ 23 h 57"/>
                  <a:gd name="T22" fmla="*/ 3 w 36"/>
                  <a:gd name="T23" fmla="*/ 29 h 57"/>
                  <a:gd name="T24" fmla="*/ 2 w 36"/>
                  <a:gd name="T25" fmla="*/ 36 h 57"/>
                  <a:gd name="T26" fmla="*/ 5 w 36"/>
                  <a:gd name="T27" fmla="*/ 38 h 57"/>
                  <a:gd name="T28" fmla="*/ 5 w 36"/>
                  <a:gd name="T29" fmla="*/ 43 h 57"/>
                  <a:gd name="T30" fmla="*/ 6 w 36"/>
                  <a:gd name="T31" fmla="*/ 51 h 57"/>
                  <a:gd name="T32" fmla="*/ 7 w 36"/>
                  <a:gd name="T33" fmla="*/ 56 h 57"/>
                  <a:gd name="T34" fmla="*/ 11 w 36"/>
                  <a:gd name="T35" fmla="*/ 55 h 57"/>
                  <a:gd name="T36" fmla="*/ 17 w 36"/>
                  <a:gd name="T37" fmla="*/ 57 h 57"/>
                  <a:gd name="T38" fmla="*/ 19 w 36"/>
                  <a:gd name="T39" fmla="*/ 53 h 57"/>
                  <a:gd name="T40" fmla="*/ 16 w 36"/>
                  <a:gd name="T41" fmla="*/ 51 h 57"/>
                  <a:gd name="T42" fmla="*/ 17 w 36"/>
                  <a:gd name="T43" fmla="*/ 46 h 57"/>
                  <a:gd name="T44" fmla="*/ 23 w 36"/>
                  <a:gd name="T45" fmla="*/ 48 h 57"/>
                  <a:gd name="T46" fmla="*/ 26 w 36"/>
                  <a:gd name="T47" fmla="*/ 47 h 57"/>
                  <a:gd name="T48" fmla="*/ 27 w 36"/>
                  <a:gd name="T49" fmla="*/ 49 h 57"/>
                  <a:gd name="T50" fmla="*/ 31 w 36"/>
                  <a:gd name="T51" fmla="*/ 49 h 57"/>
                  <a:gd name="T52" fmla="*/ 35 w 36"/>
                  <a:gd name="T53" fmla="*/ 43 h 57"/>
                  <a:gd name="T54" fmla="*/ 36 w 36"/>
                  <a:gd name="T55" fmla="*/ 35 h 57"/>
                  <a:gd name="T56" fmla="*/ 32 w 36"/>
                  <a:gd name="T57" fmla="*/ 28 h 57"/>
                  <a:gd name="T58" fmla="*/ 31 w 36"/>
                  <a:gd name="T59" fmla="*/ 17 h 57"/>
                  <a:gd name="T60" fmla="*/ 35 w 36"/>
                  <a:gd name="T61" fmla="*/ 10 h 57"/>
                  <a:gd name="T62" fmla="*/ 36 w 36"/>
                  <a:gd name="T63" fmla="*/ 7 h 57"/>
                  <a:gd name="T64" fmla="*/ 35 w 36"/>
                  <a:gd name="T65" fmla="*/ 7 h 57"/>
                  <a:gd name="T66" fmla="*/ 36 w 36"/>
                  <a:gd name="T67" fmla="*/ 5 h 57"/>
                  <a:gd name="T68" fmla="*/ 36 w 36"/>
                  <a:gd name="T69" fmla="*/ 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57">
                    <a:moveTo>
                      <a:pt x="36" y="4"/>
                    </a:moveTo>
                    <a:cubicBezTo>
                      <a:pt x="35" y="4"/>
                      <a:pt x="33" y="4"/>
                      <a:pt x="32" y="4"/>
                    </a:cubicBezTo>
                    <a:cubicBezTo>
                      <a:pt x="32" y="4"/>
                      <a:pt x="32" y="3"/>
                      <a:pt x="32" y="3"/>
                    </a:cubicBezTo>
                    <a:cubicBezTo>
                      <a:pt x="30" y="3"/>
                      <a:pt x="28" y="2"/>
                      <a:pt x="27" y="3"/>
                    </a:cubicBezTo>
                    <a:cubicBezTo>
                      <a:pt x="27" y="4"/>
                      <a:pt x="27" y="4"/>
                      <a:pt x="27" y="4"/>
                    </a:cubicBezTo>
                    <a:cubicBezTo>
                      <a:pt x="26" y="4"/>
                      <a:pt x="24" y="5"/>
                      <a:pt x="24" y="5"/>
                    </a:cubicBezTo>
                    <a:cubicBezTo>
                      <a:pt x="17" y="5"/>
                      <a:pt x="15" y="0"/>
                      <a:pt x="12" y="7"/>
                    </a:cubicBezTo>
                    <a:cubicBezTo>
                      <a:pt x="12" y="6"/>
                      <a:pt x="12" y="6"/>
                      <a:pt x="12" y="6"/>
                    </a:cubicBezTo>
                    <a:cubicBezTo>
                      <a:pt x="12" y="6"/>
                      <a:pt x="7" y="12"/>
                      <a:pt x="7" y="14"/>
                    </a:cubicBezTo>
                    <a:cubicBezTo>
                      <a:pt x="7" y="15"/>
                      <a:pt x="7" y="17"/>
                      <a:pt x="7" y="19"/>
                    </a:cubicBezTo>
                    <a:cubicBezTo>
                      <a:pt x="6" y="21"/>
                      <a:pt x="4" y="21"/>
                      <a:pt x="2" y="23"/>
                    </a:cubicBezTo>
                    <a:cubicBezTo>
                      <a:pt x="0" y="24"/>
                      <a:pt x="4" y="27"/>
                      <a:pt x="3" y="29"/>
                    </a:cubicBezTo>
                    <a:cubicBezTo>
                      <a:pt x="3" y="31"/>
                      <a:pt x="2" y="36"/>
                      <a:pt x="2" y="36"/>
                    </a:cubicBezTo>
                    <a:cubicBezTo>
                      <a:pt x="2" y="36"/>
                      <a:pt x="4" y="37"/>
                      <a:pt x="5" y="38"/>
                    </a:cubicBezTo>
                    <a:cubicBezTo>
                      <a:pt x="6" y="39"/>
                      <a:pt x="5" y="43"/>
                      <a:pt x="5" y="43"/>
                    </a:cubicBezTo>
                    <a:cubicBezTo>
                      <a:pt x="6" y="51"/>
                      <a:pt x="6" y="51"/>
                      <a:pt x="6" y="51"/>
                    </a:cubicBezTo>
                    <a:cubicBezTo>
                      <a:pt x="7" y="56"/>
                      <a:pt x="7" y="56"/>
                      <a:pt x="7" y="56"/>
                    </a:cubicBezTo>
                    <a:cubicBezTo>
                      <a:pt x="11" y="55"/>
                      <a:pt x="11" y="55"/>
                      <a:pt x="11" y="55"/>
                    </a:cubicBezTo>
                    <a:cubicBezTo>
                      <a:pt x="17" y="57"/>
                      <a:pt x="17" y="57"/>
                      <a:pt x="17" y="57"/>
                    </a:cubicBezTo>
                    <a:cubicBezTo>
                      <a:pt x="19" y="53"/>
                      <a:pt x="19" y="53"/>
                      <a:pt x="19" y="53"/>
                    </a:cubicBezTo>
                    <a:cubicBezTo>
                      <a:pt x="16" y="51"/>
                      <a:pt x="16" y="51"/>
                      <a:pt x="16" y="51"/>
                    </a:cubicBezTo>
                    <a:cubicBezTo>
                      <a:pt x="17" y="46"/>
                      <a:pt x="17" y="46"/>
                      <a:pt x="17" y="46"/>
                    </a:cubicBezTo>
                    <a:cubicBezTo>
                      <a:pt x="23" y="48"/>
                      <a:pt x="23" y="48"/>
                      <a:pt x="23" y="48"/>
                    </a:cubicBezTo>
                    <a:cubicBezTo>
                      <a:pt x="26" y="47"/>
                      <a:pt x="26" y="47"/>
                      <a:pt x="26" y="47"/>
                    </a:cubicBezTo>
                    <a:cubicBezTo>
                      <a:pt x="27" y="49"/>
                      <a:pt x="27" y="49"/>
                      <a:pt x="27" y="49"/>
                    </a:cubicBezTo>
                    <a:cubicBezTo>
                      <a:pt x="31" y="49"/>
                      <a:pt x="31" y="49"/>
                      <a:pt x="31" y="49"/>
                    </a:cubicBezTo>
                    <a:cubicBezTo>
                      <a:pt x="31" y="49"/>
                      <a:pt x="33" y="46"/>
                      <a:pt x="35" y="43"/>
                    </a:cubicBezTo>
                    <a:cubicBezTo>
                      <a:pt x="36" y="39"/>
                      <a:pt x="36" y="35"/>
                      <a:pt x="36" y="35"/>
                    </a:cubicBezTo>
                    <a:cubicBezTo>
                      <a:pt x="36" y="35"/>
                      <a:pt x="32" y="31"/>
                      <a:pt x="32" y="28"/>
                    </a:cubicBezTo>
                    <a:cubicBezTo>
                      <a:pt x="32" y="25"/>
                      <a:pt x="31" y="17"/>
                      <a:pt x="31" y="17"/>
                    </a:cubicBezTo>
                    <a:cubicBezTo>
                      <a:pt x="35" y="10"/>
                      <a:pt x="35" y="10"/>
                      <a:pt x="35" y="10"/>
                    </a:cubicBezTo>
                    <a:cubicBezTo>
                      <a:pt x="35" y="10"/>
                      <a:pt x="35" y="8"/>
                      <a:pt x="36" y="7"/>
                    </a:cubicBezTo>
                    <a:cubicBezTo>
                      <a:pt x="35" y="7"/>
                      <a:pt x="35" y="7"/>
                      <a:pt x="35" y="7"/>
                    </a:cubicBezTo>
                    <a:cubicBezTo>
                      <a:pt x="35" y="7"/>
                      <a:pt x="34" y="5"/>
                      <a:pt x="36" y="5"/>
                    </a:cubicBezTo>
                    <a:lnTo>
                      <a:pt x="36" y="4"/>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84" name="Freeform 63">
                <a:extLst>
                  <a:ext uri="{FF2B5EF4-FFF2-40B4-BE49-F238E27FC236}">
                    <a16:creationId xmlns:a16="http://schemas.microsoft.com/office/drawing/2014/main" id="{CBB42EDD-0F51-0B11-2598-B3F76E2FB299}"/>
                  </a:ext>
                </a:extLst>
              </p:cNvPr>
              <p:cNvSpPr>
                <a:spLocks/>
              </p:cNvSpPr>
              <p:nvPr/>
            </p:nvSpPr>
            <p:spPr bwMode="auto">
              <a:xfrm>
                <a:off x="2127" y="2113"/>
                <a:ext cx="71" cy="112"/>
              </a:xfrm>
              <a:custGeom>
                <a:avLst/>
                <a:gdLst>
                  <a:gd name="T0" fmla="*/ 36 w 36"/>
                  <a:gd name="T1" fmla="*/ 4 h 57"/>
                  <a:gd name="T2" fmla="*/ 32 w 36"/>
                  <a:gd name="T3" fmla="*/ 4 h 57"/>
                  <a:gd name="T4" fmla="*/ 32 w 36"/>
                  <a:gd name="T5" fmla="*/ 3 h 57"/>
                  <a:gd name="T6" fmla="*/ 27 w 36"/>
                  <a:gd name="T7" fmla="*/ 3 h 57"/>
                  <a:gd name="T8" fmla="*/ 27 w 36"/>
                  <a:gd name="T9" fmla="*/ 4 h 57"/>
                  <a:gd name="T10" fmla="*/ 24 w 36"/>
                  <a:gd name="T11" fmla="*/ 5 h 57"/>
                  <a:gd name="T12" fmla="*/ 12 w 36"/>
                  <a:gd name="T13" fmla="*/ 7 h 57"/>
                  <a:gd name="T14" fmla="*/ 12 w 36"/>
                  <a:gd name="T15" fmla="*/ 6 h 57"/>
                  <a:gd name="T16" fmla="*/ 7 w 36"/>
                  <a:gd name="T17" fmla="*/ 14 h 57"/>
                  <a:gd name="T18" fmla="*/ 7 w 36"/>
                  <a:gd name="T19" fmla="*/ 19 h 57"/>
                  <a:gd name="T20" fmla="*/ 2 w 36"/>
                  <a:gd name="T21" fmla="*/ 23 h 57"/>
                  <a:gd name="T22" fmla="*/ 3 w 36"/>
                  <a:gd name="T23" fmla="*/ 29 h 57"/>
                  <a:gd name="T24" fmla="*/ 2 w 36"/>
                  <a:gd name="T25" fmla="*/ 36 h 57"/>
                  <a:gd name="T26" fmla="*/ 5 w 36"/>
                  <a:gd name="T27" fmla="*/ 38 h 57"/>
                  <a:gd name="T28" fmla="*/ 5 w 36"/>
                  <a:gd name="T29" fmla="*/ 43 h 57"/>
                  <a:gd name="T30" fmla="*/ 6 w 36"/>
                  <a:gd name="T31" fmla="*/ 51 h 57"/>
                  <a:gd name="T32" fmla="*/ 7 w 36"/>
                  <a:gd name="T33" fmla="*/ 56 h 57"/>
                  <a:gd name="T34" fmla="*/ 11 w 36"/>
                  <a:gd name="T35" fmla="*/ 55 h 57"/>
                  <a:gd name="T36" fmla="*/ 17 w 36"/>
                  <a:gd name="T37" fmla="*/ 57 h 57"/>
                  <a:gd name="T38" fmla="*/ 19 w 36"/>
                  <a:gd name="T39" fmla="*/ 53 h 57"/>
                  <a:gd name="T40" fmla="*/ 16 w 36"/>
                  <a:gd name="T41" fmla="*/ 51 h 57"/>
                  <a:gd name="T42" fmla="*/ 17 w 36"/>
                  <a:gd name="T43" fmla="*/ 46 h 57"/>
                  <a:gd name="T44" fmla="*/ 23 w 36"/>
                  <a:gd name="T45" fmla="*/ 48 h 57"/>
                  <a:gd name="T46" fmla="*/ 26 w 36"/>
                  <a:gd name="T47" fmla="*/ 47 h 57"/>
                  <a:gd name="T48" fmla="*/ 27 w 36"/>
                  <a:gd name="T49" fmla="*/ 49 h 57"/>
                  <a:gd name="T50" fmla="*/ 31 w 36"/>
                  <a:gd name="T51" fmla="*/ 49 h 57"/>
                  <a:gd name="T52" fmla="*/ 35 w 36"/>
                  <a:gd name="T53" fmla="*/ 43 h 57"/>
                  <a:gd name="T54" fmla="*/ 36 w 36"/>
                  <a:gd name="T55" fmla="*/ 35 h 57"/>
                  <a:gd name="T56" fmla="*/ 32 w 36"/>
                  <a:gd name="T57" fmla="*/ 28 h 57"/>
                  <a:gd name="T58" fmla="*/ 31 w 36"/>
                  <a:gd name="T59" fmla="*/ 17 h 57"/>
                  <a:gd name="T60" fmla="*/ 35 w 36"/>
                  <a:gd name="T61" fmla="*/ 10 h 57"/>
                  <a:gd name="T62" fmla="*/ 36 w 36"/>
                  <a:gd name="T63" fmla="*/ 7 h 57"/>
                  <a:gd name="T64" fmla="*/ 35 w 36"/>
                  <a:gd name="T65" fmla="*/ 7 h 57"/>
                  <a:gd name="T66" fmla="*/ 36 w 36"/>
                  <a:gd name="T67" fmla="*/ 5 h 57"/>
                  <a:gd name="T68" fmla="*/ 36 w 36"/>
                  <a:gd name="T69" fmla="*/ 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57">
                    <a:moveTo>
                      <a:pt x="36" y="4"/>
                    </a:moveTo>
                    <a:cubicBezTo>
                      <a:pt x="35" y="4"/>
                      <a:pt x="33" y="4"/>
                      <a:pt x="32" y="4"/>
                    </a:cubicBezTo>
                    <a:cubicBezTo>
                      <a:pt x="32" y="4"/>
                      <a:pt x="32" y="3"/>
                      <a:pt x="32" y="3"/>
                    </a:cubicBezTo>
                    <a:cubicBezTo>
                      <a:pt x="30" y="3"/>
                      <a:pt x="28" y="2"/>
                      <a:pt x="27" y="3"/>
                    </a:cubicBezTo>
                    <a:cubicBezTo>
                      <a:pt x="27" y="4"/>
                      <a:pt x="27" y="4"/>
                      <a:pt x="27" y="4"/>
                    </a:cubicBezTo>
                    <a:cubicBezTo>
                      <a:pt x="26" y="4"/>
                      <a:pt x="24" y="5"/>
                      <a:pt x="24" y="5"/>
                    </a:cubicBezTo>
                    <a:cubicBezTo>
                      <a:pt x="17" y="5"/>
                      <a:pt x="15" y="0"/>
                      <a:pt x="12" y="7"/>
                    </a:cubicBezTo>
                    <a:cubicBezTo>
                      <a:pt x="12" y="6"/>
                      <a:pt x="12" y="6"/>
                      <a:pt x="12" y="6"/>
                    </a:cubicBezTo>
                    <a:cubicBezTo>
                      <a:pt x="12" y="6"/>
                      <a:pt x="7" y="12"/>
                      <a:pt x="7" y="14"/>
                    </a:cubicBezTo>
                    <a:cubicBezTo>
                      <a:pt x="7" y="15"/>
                      <a:pt x="7" y="17"/>
                      <a:pt x="7" y="19"/>
                    </a:cubicBezTo>
                    <a:cubicBezTo>
                      <a:pt x="6" y="21"/>
                      <a:pt x="4" y="21"/>
                      <a:pt x="2" y="23"/>
                    </a:cubicBezTo>
                    <a:cubicBezTo>
                      <a:pt x="0" y="24"/>
                      <a:pt x="4" y="27"/>
                      <a:pt x="3" y="29"/>
                    </a:cubicBezTo>
                    <a:cubicBezTo>
                      <a:pt x="3" y="31"/>
                      <a:pt x="2" y="36"/>
                      <a:pt x="2" y="36"/>
                    </a:cubicBezTo>
                    <a:cubicBezTo>
                      <a:pt x="2" y="36"/>
                      <a:pt x="4" y="37"/>
                      <a:pt x="5" y="38"/>
                    </a:cubicBezTo>
                    <a:cubicBezTo>
                      <a:pt x="6" y="39"/>
                      <a:pt x="5" y="43"/>
                      <a:pt x="5" y="43"/>
                    </a:cubicBezTo>
                    <a:cubicBezTo>
                      <a:pt x="6" y="51"/>
                      <a:pt x="6" y="51"/>
                      <a:pt x="6" y="51"/>
                    </a:cubicBezTo>
                    <a:cubicBezTo>
                      <a:pt x="7" y="56"/>
                      <a:pt x="7" y="56"/>
                      <a:pt x="7" y="56"/>
                    </a:cubicBezTo>
                    <a:cubicBezTo>
                      <a:pt x="11" y="55"/>
                      <a:pt x="11" y="55"/>
                      <a:pt x="11" y="55"/>
                    </a:cubicBezTo>
                    <a:cubicBezTo>
                      <a:pt x="17" y="57"/>
                      <a:pt x="17" y="57"/>
                      <a:pt x="17" y="57"/>
                    </a:cubicBezTo>
                    <a:cubicBezTo>
                      <a:pt x="19" y="53"/>
                      <a:pt x="19" y="53"/>
                      <a:pt x="19" y="53"/>
                    </a:cubicBezTo>
                    <a:cubicBezTo>
                      <a:pt x="16" y="51"/>
                      <a:pt x="16" y="51"/>
                      <a:pt x="16" y="51"/>
                    </a:cubicBezTo>
                    <a:cubicBezTo>
                      <a:pt x="17" y="46"/>
                      <a:pt x="17" y="46"/>
                      <a:pt x="17" y="46"/>
                    </a:cubicBezTo>
                    <a:cubicBezTo>
                      <a:pt x="23" y="48"/>
                      <a:pt x="23" y="48"/>
                      <a:pt x="23" y="48"/>
                    </a:cubicBezTo>
                    <a:cubicBezTo>
                      <a:pt x="26" y="47"/>
                      <a:pt x="26" y="47"/>
                      <a:pt x="26" y="47"/>
                    </a:cubicBezTo>
                    <a:cubicBezTo>
                      <a:pt x="27" y="49"/>
                      <a:pt x="27" y="49"/>
                      <a:pt x="27" y="49"/>
                    </a:cubicBezTo>
                    <a:cubicBezTo>
                      <a:pt x="31" y="49"/>
                      <a:pt x="31" y="49"/>
                      <a:pt x="31" y="49"/>
                    </a:cubicBezTo>
                    <a:cubicBezTo>
                      <a:pt x="31" y="49"/>
                      <a:pt x="33" y="46"/>
                      <a:pt x="35" y="43"/>
                    </a:cubicBezTo>
                    <a:cubicBezTo>
                      <a:pt x="36" y="39"/>
                      <a:pt x="36" y="35"/>
                      <a:pt x="36" y="35"/>
                    </a:cubicBezTo>
                    <a:cubicBezTo>
                      <a:pt x="36" y="35"/>
                      <a:pt x="32" y="31"/>
                      <a:pt x="32" y="28"/>
                    </a:cubicBezTo>
                    <a:cubicBezTo>
                      <a:pt x="32" y="25"/>
                      <a:pt x="31" y="17"/>
                      <a:pt x="31" y="17"/>
                    </a:cubicBezTo>
                    <a:cubicBezTo>
                      <a:pt x="35" y="10"/>
                      <a:pt x="35" y="10"/>
                      <a:pt x="35" y="10"/>
                    </a:cubicBezTo>
                    <a:cubicBezTo>
                      <a:pt x="35" y="10"/>
                      <a:pt x="35" y="8"/>
                      <a:pt x="36" y="7"/>
                    </a:cubicBezTo>
                    <a:cubicBezTo>
                      <a:pt x="35" y="7"/>
                      <a:pt x="35" y="7"/>
                      <a:pt x="35" y="7"/>
                    </a:cubicBezTo>
                    <a:cubicBezTo>
                      <a:pt x="35" y="7"/>
                      <a:pt x="34" y="5"/>
                      <a:pt x="36" y="5"/>
                    </a:cubicBezTo>
                    <a:lnTo>
                      <a:pt x="36" y="4"/>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85" name="Freeform 64">
                <a:extLst>
                  <a:ext uri="{FF2B5EF4-FFF2-40B4-BE49-F238E27FC236}">
                    <a16:creationId xmlns:a16="http://schemas.microsoft.com/office/drawing/2014/main" id="{03189443-6A42-4794-BE9A-A4AD8F4CDFEE}"/>
                  </a:ext>
                </a:extLst>
              </p:cNvPr>
              <p:cNvSpPr>
                <a:spLocks noEditPoints="1"/>
              </p:cNvSpPr>
              <p:nvPr/>
            </p:nvSpPr>
            <p:spPr bwMode="auto">
              <a:xfrm>
                <a:off x="3480" y="1756"/>
                <a:ext cx="288" cy="418"/>
              </a:xfrm>
              <a:custGeom>
                <a:avLst/>
                <a:gdLst>
                  <a:gd name="T0" fmla="*/ 145 w 147"/>
                  <a:gd name="T1" fmla="*/ 52 h 213"/>
                  <a:gd name="T2" fmla="*/ 138 w 147"/>
                  <a:gd name="T3" fmla="*/ 44 h 213"/>
                  <a:gd name="T4" fmla="*/ 137 w 147"/>
                  <a:gd name="T5" fmla="*/ 36 h 213"/>
                  <a:gd name="T6" fmla="*/ 138 w 147"/>
                  <a:gd name="T7" fmla="*/ 34 h 213"/>
                  <a:gd name="T8" fmla="*/ 137 w 147"/>
                  <a:gd name="T9" fmla="*/ 26 h 213"/>
                  <a:gd name="T10" fmla="*/ 135 w 147"/>
                  <a:gd name="T11" fmla="*/ 20 h 213"/>
                  <a:gd name="T12" fmla="*/ 130 w 147"/>
                  <a:gd name="T13" fmla="*/ 10 h 213"/>
                  <a:gd name="T14" fmla="*/ 124 w 147"/>
                  <a:gd name="T15" fmla="*/ 3 h 213"/>
                  <a:gd name="T16" fmla="*/ 123 w 147"/>
                  <a:gd name="T17" fmla="*/ 0 h 213"/>
                  <a:gd name="T18" fmla="*/ 115 w 147"/>
                  <a:gd name="T19" fmla="*/ 2 h 213"/>
                  <a:gd name="T20" fmla="*/ 110 w 147"/>
                  <a:gd name="T21" fmla="*/ 9 h 213"/>
                  <a:gd name="T22" fmla="*/ 106 w 147"/>
                  <a:gd name="T23" fmla="*/ 15 h 213"/>
                  <a:gd name="T24" fmla="*/ 97 w 147"/>
                  <a:gd name="T25" fmla="*/ 13 h 213"/>
                  <a:gd name="T26" fmla="*/ 94 w 147"/>
                  <a:gd name="T27" fmla="*/ 13 h 213"/>
                  <a:gd name="T28" fmla="*/ 32 w 147"/>
                  <a:gd name="T29" fmla="*/ 33 h 213"/>
                  <a:gd name="T30" fmla="*/ 24 w 147"/>
                  <a:gd name="T31" fmla="*/ 41 h 213"/>
                  <a:gd name="T32" fmla="*/ 18 w 147"/>
                  <a:gd name="T33" fmla="*/ 81 h 213"/>
                  <a:gd name="T34" fmla="*/ 12 w 147"/>
                  <a:gd name="T35" fmla="*/ 88 h 213"/>
                  <a:gd name="T36" fmla="*/ 8 w 147"/>
                  <a:gd name="T37" fmla="*/ 96 h 213"/>
                  <a:gd name="T38" fmla="*/ 4 w 147"/>
                  <a:gd name="T39" fmla="*/ 106 h 213"/>
                  <a:gd name="T40" fmla="*/ 1 w 147"/>
                  <a:gd name="T41" fmla="*/ 113 h 213"/>
                  <a:gd name="T42" fmla="*/ 8 w 147"/>
                  <a:gd name="T43" fmla="*/ 116 h 213"/>
                  <a:gd name="T44" fmla="*/ 7 w 147"/>
                  <a:gd name="T45" fmla="*/ 123 h 213"/>
                  <a:gd name="T46" fmla="*/ 8 w 147"/>
                  <a:gd name="T47" fmla="*/ 131 h 213"/>
                  <a:gd name="T48" fmla="*/ 14 w 147"/>
                  <a:gd name="T49" fmla="*/ 140 h 213"/>
                  <a:gd name="T50" fmla="*/ 15 w 147"/>
                  <a:gd name="T51" fmla="*/ 150 h 213"/>
                  <a:gd name="T52" fmla="*/ 21 w 147"/>
                  <a:gd name="T53" fmla="*/ 163 h 213"/>
                  <a:gd name="T54" fmla="*/ 29 w 147"/>
                  <a:gd name="T55" fmla="*/ 169 h 213"/>
                  <a:gd name="T56" fmla="*/ 37 w 147"/>
                  <a:gd name="T57" fmla="*/ 173 h 213"/>
                  <a:gd name="T58" fmla="*/ 46 w 147"/>
                  <a:gd name="T59" fmla="*/ 184 h 213"/>
                  <a:gd name="T60" fmla="*/ 49 w 147"/>
                  <a:gd name="T61" fmla="*/ 193 h 213"/>
                  <a:gd name="T62" fmla="*/ 54 w 147"/>
                  <a:gd name="T63" fmla="*/ 202 h 213"/>
                  <a:gd name="T64" fmla="*/ 63 w 147"/>
                  <a:gd name="T65" fmla="*/ 202 h 213"/>
                  <a:gd name="T66" fmla="*/ 71 w 147"/>
                  <a:gd name="T67" fmla="*/ 202 h 213"/>
                  <a:gd name="T68" fmla="*/ 80 w 147"/>
                  <a:gd name="T69" fmla="*/ 210 h 213"/>
                  <a:gd name="T70" fmla="*/ 87 w 147"/>
                  <a:gd name="T71" fmla="*/ 213 h 213"/>
                  <a:gd name="T72" fmla="*/ 97 w 147"/>
                  <a:gd name="T73" fmla="*/ 208 h 213"/>
                  <a:gd name="T74" fmla="*/ 106 w 147"/>
                  <a:gd name="T75" fmla="*/ 207 h 213"/>
                  <a:gd name="T76" fmla="*/ 113 w 147"/>
                  <a:gd name="T77" fmla="*/ 204 h 213"/>
                  <a:gd name="T78" fmla="*/ 121 w 147"/>
                  <a:gd name="T79" fmla="*/ 204 h 213"/>
                  <a:gd name="T80" fmla="*/ 125 w 147"/>
                  <a:gd name="T81" fmla="*/ 205 h 213"/>
                  <a:gd name="T82" fmla="*/ 121 w 147"/>
                  <a:gd name="T83" fmla="*/ 200 h 213"/>
                  <a:gd name="T84" fmla="*/ 112 w 147"/>
                  <a:gd name="T85" fmla="*/ 187 h 213"/>
                  <a:gd name="T86" fmla="*/ 106 w 147"/>
                  <a:gd name="T87" fmla="*/ 178 h 213"/>
                  <a:gd name="T88" fmla="*/ 96 w 147"/>
                  <a:gd name="T89" fmla="*/ 173 h 213"/>
                  <a:gd name="T90" fmla="*/ 100 w 147"/>
                  <a:gd name="T91" fmla="*/ 167 h 213"/>
                  <a:gd name="T92" fmla="*/ 105 w 147"/>
                  <a:gd name="T93" fmla="*/ 160 h 213"/>
                  <a:gd name="T94" fmla="*/ 110 w 147"/>
                  <a:gd name="T95" fmla="*/ 140 h 213"/>
                  <a:gd name="T96" fmla="*/ 114 w 147"/>
                  <a:gd name="T97" fmla="*/ 132 h 213"/>
                  <a:gd name="T98" fmla="*/ 120 w 147"/>
                  <a:gd name="T99" fmla="*/ 124 h 213"/>
                  <a:gd name="T100" fmla="*/ 127 w 147"/>
                  <a:gd name="T101" fmla="*/ 108 h 213"/>
                  <a:gd name="T102" fmla="*/ 131 w 147"/>
                  <a:gd name="T103" fmla="*/ 91 h 213"/>
                  <a:gd name="T104" fmla="*/ 134 w 147"/>
                  <a:gd name="T105" fmla="*/ 76 h 213"/>
                  <a:gd name="T106" fmla="*/ 136 w 147"/>
                  <a:gd name="T107" fmla="*/ 65 h 213"/>
                  <a:gd name="T108" fmla="*/ 140 w 147"/>
                  <a:gd name="T109" fmla="*/ 59 h 213"/>
                  <a:gd name="T110" fmla="*/ 147 w 147"/>
                  <a:gd name="T111" fmla="*/ 57 h 213"/>
                  <a:gd name="T112" fmla="*/ 94 w 147"/>
                  <a:gd name="T113" fmla="*/ 13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213">
                    <a:moveTo>
                      <a:pt x="147" y="57"/>
                    </a:moveTo>
                    <a:cubicBezTo>
                      <a:pt x="146" y="55"/>
                      <a:pt x="146" y="53"/>
                      <a:pt x="145" y="52"/>
                    </a:cubicBezTo>
                    <a:cubicBezTo>
                      <a:pt x="144" y="51"/>
                      <a:pt x="140" y="50"/>
                      <a:pt x="139" y="50"/>
                    </a:cubicBezTo>
                    <a:cubicBezTo>
                      <a:pt x="138" y="49"/>
                      <a:pt x="139" y="46"/>
                      <a:pt x="138" y="44"/>
                    </a:cubicBezTo>
                    <a:cubicBezTo>
                      <a:pt x="137" y="44"/>
                      <a:pt x="137" y="44"/>
                      <a:pt x="137" y="44"/>
                    </a:cubicBezTo>
                    <a:cubicBezTo>
                      <a:pt x="136" y="42"/>
                      <a:pt x="137" y="36"/>
                      <a:pt x="137" y="36"/>
                    </a:cubicBezTo>
                    <a:cubicBezTo>
                      <a:pt x="137" y="34"/>
                      <a:pt x="137" y="34"/>
                      <a:pt x="137" y="34"/>
                    </a:cubicBezTo>
                    <a:cubicBezTo>
                      <a:pt x="137" y="34"/>
                      <a:pt x="138" y="34"/>
                      <a:pt x="138" y="34"/>
                    </a:cubicBezTo>
                    <a:cubicBezTo>
                      <a:pt x="138" y="33"/>
                      <a:pt x="138" y="27"/>
                      <a:pt x="138" y="27"/>
                    </a:cubicBezTo>
                    <a:cubicBezTo>
                      <a:pt x="137" y="26"/>
                      <a:pt x="137" y="26"/>
                      <a:pt x="137" y="26"/>
                    </a:cubicBezTo>
                    <a:cubicBezTo>
                      <a:pt x="136" y="24"/>
                      <a:pt x="137" y="21"/>
                      <a:pt x="137" y="21"/>
                    </a:cubicBezTo>
                    <a:cubicBezTo>
                      <a:pt x="137" y="21"/>
                      <a:pt x="135" y="20"/>
                      <a:pt x="135" y="20"/>
                    </a:cubicBezTo>
                    <a:cubicBezTo>
                      <a:pt x="134" y="18"/>
                      <a:pt x="134" y="14"/>
                      <a:pt x="133" y="12"/>
                    </a:cubicBezTo>
                    <a:cubicBezTo>
                      <a:pt x="133" y="11"/>
                      <a:pt x="131" y="11"/>
                      <a:pt x="130" y="10"/>
                    </a:cubicBezTo>
                    <a:cubicBezTo>
                      <a:pt x="128" y="8"/>
                      <a:pt x="127" y="6"/>
                      <a:pt x="125" y="4"/>
                    </a:cubicBezTo>
                    <a:cubicBezTo>
                      <a:pt x="124" y="3"/>
                      <a:pt x="124" y="3"/>
                      <a:pt x="124" y="3"/>
                    </a:cubicBezTo>
                    <a:cubicBezTo>
                      <a:pt x="124" y="2"/>
                      <a:pt x="124" y="1"/>
                      <a:pt x="124" y="0"/>
                    </a:cubicBezTo>
                    <a:cubicBezTo>
                      <a:pt x="123" y="0"/>
                      <a:pt x="123" y="0"/>
                      <a:pt x="123" y="0"/>
                    </a:cubicBezTo>
                    <a:cubicBezTo>
                      <a:pt x="118" y="2"/>
                      <a:pt x="118" y="2"/>
                      <a:pt x="118" y="2"/>
                    </a:cubicBezTo>
                    <a:cubicBezTo>
                      <a:pt x="115" y="2"/>
                      <a:pt x="115" y="2"/>
                      <a:pt x="115" y="2"/>
                    </a:cubicBezTo>
                    <a:cubicBezTo>
                      <a:pt x="113" y="8"/>
                      <a:pt x="113" y="8"/>
                      <a:pt x="113" y="8"/>
                    </a:cubicBezTo>
                    <a:cubicBezTo>
                      <a:pt x="110" y="9"/>
                      <a:pt x="110" y="9"/>
                      <a:pt x="110" y="9"/>
                    </a:cubicBezTo>
                    <a:cubicBezTo>
                      <a:pt x="109" y="14"/>
                      <a:pt x="109" y="14"/>
                      <a:pt x="109" y="14"/>
                    </a:cubicBezTo>
                    <a:cubicBezTo>
                      <a:pt x="106" y="15"/>
                      <a:pt x="106" y="15"/>
                      <a:pt x="106" y="15"/>
                    </a:cubicBezTo>
                    <a:cubicBezTo>
                      <a:pt x="105" y="13"/>
                      <a:pt x="105" y="13"/>
                      <a:pt x="105" y="13"/>
                    </a:cubicBezTo>
                    <a:cubicBezTo>
                      <a:pt x="97" y="13"/>
                      <a:pt x="97" y="13"/>
                      <a:pt x="97" y="13"/>
                    </a:cubicBezTo>
                    <a:cubicBezTo>
                      <a:pt x="96" y="11"/>
                      <a:pt x="96" y="11"/>
                      <a:pt x="96" y="11"/>
                    </a:cubicBezTo>
                    <a:cubicBezTo>
                      <a:pt x="94" y="13"/>
                      <a:pt x="94" y="13"/>
                      <a:pt x="94" y="13"/>
                    </a:cubicBezTo>
                    <a:cubicBezTo>
                      <a:pt x="32" y="12"/>
                      <a:pt x="32" y="12"/>
                      <a:pt x="32" y="12"/>
                    </a:cubicBezTo>
                    <a:cubicBezTo>
                      <a:pt x="32" y="33"/>
                      <a:pt x="32" y="33"/>
                      <a:pt x="32" y="33"/>
                    </a:cubicBezTo>
                    <a:cubicBezTo>
                      <a:pt x="24" y="33"/>
                      <a:pt x="24" y="33"/>
                      <a:pt x="24" y="33"/>
                    </a:cubicBezTo>
                    <a:cubicBezTo>
                      <a:pt x="24" y="41"/>
                      <a:pt x="24" y="41"/>
                      <a:pt x="24" y="41"/>
                    </a:cubicBezTo>
                    <a:cubicBezTo>
                      <a:pt x="24" y="81"/>
                      <a:pt x="24" y="81"/>
                      <a:pt x="24" y="81"/>
                    </a:cubicBezTo>
                    <a:cubicBezTo>
                      <a:pt x="24" y="81"/>
                      <a:pt x="19" y="82"/>
                      <a:pt x="18" y="81"/>
                    </a:cubicBezTo>
                    <a:cubicBezTo>
                      <a:pt x="16" y="80"/>
                      <a:pt x="14" y="80"/>
                      <a:pt x="13" y="82"/>
                    </a:cubicBezTo>
                    <a:cubicBezTo>
                      <a:pt x="12" y="84"/>
                      <a:pt x="11" y="85"/>
                      <a:pt x="12" y="88"/>
                    </a:cubicBezTo>
                    <a:cubicBezTo>
                      <a:pt x="13" y="90"/>
                      <a:pt x="12" y="91"/>
                      <a:pt x="10" y="92"/>
                    </a:cubicBezTo>
                    <a:cubicBezTo>
                      <a:pt x="7" y="93"/>
                      <a:pt x="8" y="94"/>
                      <a:pt x="8" y="96"/>
                    </a:cubicBezTo>
                    <a:cubicBezTo>
                      <a:pt x="8" y="98"/>
                      <a:pt x="8" y="101"/>
                      <a:pt x="6" y="102"/>
                    </a:cubicBezTo>
                    <a:cubicBezTo>
                      <a:pt x="4" y="104"/>
                      <a:pt x="4" y="103"/>
                      <a:pt x="4" y="106"/>
                    </a:cubicBezTo>
                    <a:cubicBezTo>
                      <a:pt x="4" y="108"/>
                      <a:pt x="3" y="109"/>
                      <a:pt x="2" y="110"/>
                    </a:cubicBezTo>
                    <a:cubicBezTo>
                      <a:pt x="0" y="111"/>
                      <a:pt x="1" y="111"/>
                      <a:pt x="1" y="113"/>
                    </a:cubicBezTo>
                    <a:cubicBezTo>
                      <a:pt x="1" y="115"/>
                      <a:pt x="3" y="113"/>
                      <a:pt x="5" y="113"/>
                    </a:cubicBezTo>
                    <a:cubicBezTo>
                      <a:pt x="6" y="113"/>
                      <a:pt x="7" y="114"/>
                      <a:pt x="8" y="116"/>
                    </a:cubicBezTo>
                    <a:cubicBezTo>
                      <a:pt x="9" y="118"/>
                      <a:pt x="6" y="119"/>
                      <a:pt x="6" y="121"/>
                    </a:cubicBezTo>
                    <a:cubicBezTo>
                      <a:pt x="7" y="123"/>
                      <a:pt x="7" y="123"/>
                      <a:pt x="7" y="123"/>
                    </a:cubicBezTo>
                    <a:cubicBezTo>
                      <a:pt x="7" y="123"/>
                      <a:pt x="8" y="125"/>
                      <a:pt x="7" y="127"/>
                    </a:cubicBezTo>
                    <a:cubicBezTo>
                      <a:pt x="6" y="129"/>
                      <a:pt x="6" y="129"/>
                      <a:pt x="8" y="131"/>
                    </a:cubicBezTo>
                    <a:cubicBezTo>
                      <a:pt x="10" y="133"/>
                      <a:pt x="9" y="135"/>
                      <a:pt x="9" y="135"/>
                    </a:cubicBezTo>
                    <a:cubicBezTo>
                      <a:pt x="14" y="140"/>
                      <a:pt x="14" y="140"/>
                      <a:pt x="14" y="140"/>
                    </a:cubicBezTo>
                    <a:cubicBezTo>
                      <a:pt x="14" y="140"/>
                      <a:pt x="15" y="144"/>
                      <a:pt x="14" y="146"/>
                    </a:cubicBezTo>
                    <a:cubicBezTo>
                      <a:pt x="13" y="148"/>
                      <a:pt x="12" y="148"/>
                      <a:pt x="15" y="150"/>
                    </a:cubicBezTo>
                    <a:cubicBezTo>
                      <a:pt x="18" y="152"/>
                      <a:pt x="18" y="152"/>
                      <a:pt x="17" y="155"/>
                    </a:cubicBezTo>
                    <a:cubicBezTo>
                      <a:pt x="16" y="158"/>
                      <a:pt x="20" y="163"/>
                      <a:pt x="21" y="163"/>
                    </a:cubicBezTo>
                    <a:cubicBezTo>
                      <a:pt x="23" y="164"/>
                      <a:pt x="23" y="167"/>
                      <a:pt x="25" y="167"/>
                    </a:cubicBezTo>
                    <a:cubicBezTo>
                      <a:pt x="27" y="167"/>
                      <a:pt x="28" y="167"/>
                      <a:pt x="29" y="169"/>
                    </a:cubicBezTo>
                    <a:cubicBezTo>
                      <a:pt x="30" y="170"/>
                      <a:pt x="31" y="172"/>
                      <a:pt x="33" y="172"/>
                    </a:cubicBezTo>
                    <a:cubicBezTo>
                      <a:pt x="35" y="172"/>
                      <a:pt x="36" y="171"/>
                      <a:pt x="37" y="173"/>
                    </a:cubicBezTo>
                    <a:cubicBezTo>
                      <a:pt x="38" y="175"/>
                      <a:pt x="37" y="178"/>
                      <a:pt x="40" y="179"/>
                    </a:cubicBezTo>
                    <a:cubicBezTo>
                      <a:pt x="44" y="180"/>
                      <a:pt x="45" y="181"/>
                      <a:pt x="46" y="184"/>
                    </a:cubicBezTo>
                    <a:cubicBezTo>
                      <a:pt x="47" y="187"/>
                      <a:pt x="46" y="189"/>
                      <a:pt x="47" y="190"/>
                    </a:cubicBezTo>
                    <a:cubicBezTo>
                      <a:pt x="49" y="190"/>
                      <a:pt x="49" y="193"/>
                      <a:pt x="49" y="193"/>
                    </a:cubicBezTo>
                    <a:cubicBezTo>
                      <a:pt x="52" y="198"/>
                      <a:pt x="52" y="198"/>
                      <a:pt x="52" y="198"/>
                    </a:cubicBezTo>
                    <a:cubicBezTo>
                      <a:pt x="52" y="198"/>
                      <a:pt x="53" y="201"/>
                      <a:pt x="54" y="202"/>
                    </a:cubicBezTo>
                    <a:cubicBezTo>
                      <a:pt x="55" y="203"/>
                      <a:pt x="57" y="202"/>
                      <a:pt x="57" y="200"/>
                    </a:cubicBezTo>
                    <a:cubicBezTo>
                      <a:pt x="58" y="197"/>
                      <a:pt x="60" y="201"/>
                      <a:pt x="63" y="202"/>
                    </a:cubicBezTo>
                    <a:cubicBezTo>
                      <a:pt x="65" y="203"/>
                      <a:pt x="65" y="202"/>
                      <a:pt x="66" y="200"/>
                    </a:cubicBezTo>
                    <a:cubicBezTo>
                      <a:pt x="67" y="199"/>
                      <a:pt x="69" y="200"/>
                      <a:pt x="71" y="202"/>
                    </a:cubicBezTo>
                    <a:cubicBezTo>
                      <a:pt x="72" y="204"/>
                      <a:pt x="73" y="206"/>
                      <a:pt x="74" y="207"/>
                    </a:cubicBezTo>
                    <a:cubicBezTo>
                      <a:pt x="75" y="209"/>
                      <a:pt x="78" y="209"/>
                      <a:pt x="80" y="210"/>
                    </a:cubicBezTo>
                    <a:cubicBezTo>
                      <a:pt x="81" y="212"/>
                      <a:pt x="83" y="210"/>
                      <a:pt x="83" y="210"/>
                    </a:cubicBezTo>
                    <a:cubicBezTo>
                      <a:pt x="87" y="213"/>
                      <a:pt x="87" y="213"/>
                      <a:pt x="87" y="213"/>
                    </a:cubicBezTo>
                    <a:cubicBezTo>
                      <a:pt x="87" y="213"/>
                      <a:pt x="91" y="209"/>
                      <a:pt x="94" y="209"/>
                    </a:cubicBezTo>
                    <a:cubicBezTo>
                      <a:pt x="96" y="210"/>
                      <a:pt x="95" y="209"/>
                      <a:pt x="97" y="208"/>
                    </a:cubicBezTo>
                    <a:cubicBezTo>
                      <a:pt x="99" y="207"/>
                      <a:pt x="103" y="210"/>
                      <a:pt x="103" y="210"/>
                    </a:cubicBezTo>
                    <a:cubicBezTo>
                      <a:pt x="106" y="207"/>
                      <a:pt x="106" y="207"/>
                      <a:pt x="106" y="207"/>
                    </a:cubicBezTo>
                    <a:cubicBezTo>
                      <a:pt x="111" y="206"/>
                      <a:pt x="111" y="206"/>
                      <a:pt x="111" y="206"/>
                    </a:cubicBezTo>
                    <a:cubicBezTo>
                      <a:pt x="113" y="204"/>
                      <a:pt x="113" y="204"/>
                      <a:pt x="113" y="204"/>
                    </a:cubicBezTo>
                    <a:cubicBezTo>
                      <a:pt x="115" y="204"/>
                      <a:pt x="117" y="204"/>
                      <a:pt x="117" y="204"/>
                    </a:cubicBezTo>
                    <a:cubicBezTo>
                      <a:pt x="121" y="204"/>
                      <a:pt x="121" y="204"/>
                      <a:pt x="121" y="204"/>
                    </a:cubicBezTo>
                    <a:cubicBezTo>
                      <a:pt x="125" y="207"/>
                      <a:pt x="125" y="207"/>
                      <a:pt x="125" y="207"/>
                    </a:cubicBezTo>
                    <a:cubicBezTo>
                      <a:pt x="125" y="205"/>
                      <a:pt x="125" y="205"/>
                      <a:pt x="125" y="205"/>
                    </a:cubicBezTo>
                    <a:cubicBezTo>
                      <a:pt x="125" y="205"/>
                      <a:pt x="125" y="200"/>
                      <a:pt x="123" y="200"/>
                    </a:cubicBezTo>
                    <a:cubicBezTo>
                      <a:pt x="122" y="200"/>
                      <a:pt x="122" y="200"/>
                      <a:pt x="121" y="200"/>
                    </a:cubicBezTo>
                    <a:cubicBezTo>
                      <a:pt x="119" y="200"/>
                      <a:pt x="116" y="199"/>
                      <a:pt x="116" y="196"/>
                    </a:cubicBezTo>
                    <a:cubicBezTo>
                      <a:pt x="115" y="193"/>
                      <a:pt x="112" y="190"/>
                      <a:pt x="112" y="187"/>
                    </a:cubicBezTo>
                    <a:cubicBezTo>
                      <a:pt x="112" y="184"/>
                      <a:pt x="111" y="184"/>
                      <a:pt x="110" y="183"/>
                    </a:cubicBezTo>
                    <a:cubicBezTo>
                      <a:pt x="108" y="181"/>
                      <a:pt x="107" y="180"/>
                      <a:pt x="106" y="178"/>
                    </a:cubicBezTo>
                    <a:cubicBezTo>
                      <a:pt x="104" y="175"/>
                      <a:pt x="103" y="175"/>
                      <a:pt x="101" y="174"/>
                    </a:cubicBezTo>
                    <a:cubicBezTo>
                      <a:pt x="100" y="174"/>
                      <a:pt x="95" y="175"/>
                      <a:pt x="96" y="173"/>
                    </a:cubicBezTo>
                    <a:cubicBezTo>
                      <a:pt x="96" y="171"/>
                      <a:pt x="97" y="168"/>
                      <a:pt x="97" y="168"/>
                    </a:cubicBezTo>
                    <a:cubicBezTo>
                      <a:pt x="97" y="168"/>
                      <a:pt x="97" y="168"/>
                      <a:pt x="100" y="167"/>
                    </a:cubicBezTo>
                    <a:cubicBezTo>
                      <a:pt x="103" y="167"/>
                      <a:pt x="104" y="166"/>
                      <a:pt x="104" y="166"/>
                    </a:cubicBezTo>
                    <a:cubicBezTo>
                      <a:pt x="104" y="166"/>
                      <a:pt x="105" y="162"/>
                      <a:pt x="105" y="160"/>
                    </a:cubicBezTo>
                    <a:cubicBezTo>
                      <a:pt x="105" y="159"/>
                      <a:pt x="106" y="153"/>
                      <a:pt x="106" y="151"/>
                    </a:cubicBezTo>
                    <a:cubicBezTo>
                      <a:pt x="105" y="149"/>
                      <a:pt x="110" y="144"/>
                      <a:pt x="110" y="140"/>
                    </a:cubicBezTo>
                    <a:cubicBezTo>
                      <a:pt x="110" y="137"/>
                      <a:pt x="110" y="135"/>
                      <a:pt x="110" y="135"/>
                    </a:cubicBezTo>
                    <a:cubicBezTo>
                      <a:pt x="110" y="135"/>
                      <a:pt x="112" y="133"/>
                      <a:pt x="114" y="132"/>
                    </a:cubicBezTo>
                    <a:cubicBezTo>
                      <a:pt x="116" y="131"/>
                      <a:pt x="117" y="131"/>
                      <a:pt x="117" y="129"/>
                    </a:cubicBezTo>
                    <a:cubicBezTo>
                      <a:pt x="118" y="127"/>
                      <a:pt x="119" y="126"/>
                      <a:pt x="120" y="124"/>
                    </a:cubicBezTo>
                    <a:cubicBezTo>
                      <a:pt x="121" y="121"/>
                      <a:pt x="122" y="119"/>
                      <a:pt x="122" y="116"/>
                    </a:cubicBezTo>
                    <a:cubicBezTo>
                      <a:pt x="122" y="112"/>
                      <a:pt x="126" y="110"/>
                      <a:pt x="127" y="108"/>
                    </a:cubicBezTo>
                    <a:cubicBezTo>
                      <a:pt x="128" y="105"/>
                      <a:pt x="131" y="101"/>
                      <a:pt x="131" y="101"/>
                    </a:cubicBezTo>
                    <a:cubicBezTo>
                      <a:pt x="131" y="101"/>
                      <a:pt x="132" y="92"/>
                      <a:pt x="131" y="91"/>
                    </a:cubicBezTo>
                    <a:cubicBezTo>
                      <a:pt x="130" y="89"/>
                      <a:pt x="131" y="86"/>
                      <a:pt x="132" y="83"/>
                    </a:cubicBezTo>
                    <a:cubicBezTo>
                      <a:pt x="133" y="80"/>
                      <a:pt x="134" y="79"/>
                      <a:pt x="134" y="76"/>
                    </a:cubicBezTo>
                    <a:cubicBezTo>
                      <a:pt x="134" y="72"/>
                      <a:pt x="134" y="72"/>
                      <a:pt x="135" y="69"/>
                    </a:cubicBezTo>
                    <a:cubicBezTo>
                      <a:pt x="135" y="66"/>
                      <a:pt x="134" y="65"/>
                      <a:pt x="136" y="65"/>
                    </a:cubicBezTo>
                    <a:cubicBezTo>
                      <a:pt x="137" y="65"/>
                      <a:pt x="137" y="63"/>
                      <a:pt x="138" y="61"/>
                    </a:cubicBezTo>
                    <a:cubicBezTo>
                      <a:pt x="139" y="59"/>
                      <a:pt x="140" y="59"/>
                      <a:pt x="140" y="59"/>
                    </a:cubicBezTo>
                    <a:cubicBezTo>
                      <a:pt x="145" y="60"/>
                      <a:pt x="145" y="60"/>
                      <a:pt x="145" y="60"/>
                    </a:cubicBezTo>
                    <a:lnTo>
                      <a:pt x="147" y="57"/>
                    </a:lnTo>
                    <a:close/>
                    <a:moveTo>
                      <a:pt x="95" y="131"/>
                    </a:moveTo>
                    <a:cubicBezTo>
                      <a:pt x="95" y="131"/>
                      <a:pt x="96" y="133"/>
                      <a:pt x="94" y="133"/>
                    </a:cubicBezTo>
                    <a:cubicBezTo>
                      <a:pt x="94" y="133"/>
                      <a:pt x="93" y="131"/>
                      <a:pt x="95" y="13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86" name="Freeform 65">
                <a:extLst>
                  <a:ext uri="{FF2B5EF4-FFF2-40B4-BE49-F238E27FC236}">
                    <a16:creationId xmlns:a16="http://schemas.microsoft.com/office/drawing/2014/main" id="{F3E74E71-1694-0C96-BA3C-037842B59CD0}"/>
                  </a:ext>
                </a:extLst>
              </p:cNvPr>
              <p:cNvSpPr>
                <a:spLocks noEditPoints="1"/>
              </p:cNvSpPr>
              <p:nvPr/>
            </p:nvSpPr>
            <p:spPr bwMode="auto">
              <a:xfrm>
                <a:off x="3480" y="1756"/>
                <a:ext cx="288" cy="418"/>
              </a:xfrm>
              <a:custGeom>
                <a:avLst/>
                <a:gdLst>
                  <a:gd name="T0" fmla="*/ 145 w 147"/>
                  <a:gd name="T1" fmla="*/ 52 h 213"/>
                  <a:gd name="T2" fmla="*/ 138 w 147"/>
                  <a:gd name="T3" fmla="*/ 44 h 213"/>
                  <a:gd name="T4" fmla="*/ 137 w 147"/>
                  <a:gd name="T5" fmla="*/ 36 h 213"/>
                  <a:gd name="T6" fmla="*/ 138 w 147"/>
                  <a:gd name="T7" fmla="*/ 34 h 213"/>
                  <a:gd name="T8" fmla="*/ 137 w 147"/>
                  <a:gd name="T9" fmla="*/ 26 h 213"/>
                  <a:gd name="T10" fmla="*/ 135 w 147"/>
                  <a:gd name="T11" fmla="*/ 20 h 213"/>
                  <a:gd name="T12" fmla="*/ 130 w 147"/>
                  <a:gd name="T13" fmla="*/ 10 h 213"/>
                  <a:gd name="T14" fmla="*/ 124 w 147"/>
                  <a:gd name="T15" fmla="*/ 3 h 213"/>
                  <a:gd name="T16" fmla="*/ 123 w 147"/>
                  <a:gd name="T17" fmla="*/ 0 h 213"/>
                  <a:gd name="T18" fmla="*/ 115 w 147"/>
                  <a:gd name="T19" fmla="*/ 2 h 213"/>
                  <a:gd name="T20" fmla="*/ 110 w 147"/>
                  <a:gd name="T21" fmla="*/ 9 h 213"/>
                  <a:gd name="T22" fmla="*/ 106 w 147"/>
                  <a:gd name="T23" fmla="*/ 15 h 213"/>
                  <a:gd name="T24" fmla="*/ 97 w 147"/>
                  <a:gd name="T25" fmla="*/ 13 h 213"/>
                  <a:gd name="T26" fmla="*/ 94 w 147"/>
                  <a:gd name="T27" fmla="*/ 13 h 213"/>
                  <a:gd name="T28" fmla="*/ 32 w 147"/>
                  <a:gd name="T29" fmla="*/ 33 h 213"/>
                  <a:gd name="T30" fmla="*/ 24 w 147"/>
                  <a:gd name="T31" fmla="*/ 41 h 213"/>
                  <a:gd name="T32" fmla="*/ 18 w 147"/>
                  <a:gd name="T33" fmla="*/ 81 h 213"/>
                  <a:gd name="T34" fmla="*/ 12 w 147"/>
                  <a:gd name="T35" fmla="*/ 88 h 213"/>
                  <a:gd name="T36" fmla="*/ 8 w 147"/>
                  <a:gd name="T37" fmla="*/ 96 h 213"/>
                  <a:gd name="T38" fmla="*/ 4 w 147"/>
                  <a:gd name="T39" fmla="*/ 106 h 213"/>
                  <a:gd name="T40" fmla="*/ 1 w 147"/>
                  <a:gd name="T41" fmla="*/ 113 h 213"/>
                  <a:gd name="T42" fmla="*/ 8 w 147"/>
                  <a:gd name="T43" fmla="*/ 116 h 213"/>
                  <a:gd name="T44" fmla="*/ 7 w 147"/>
                  <a:gd name="T45" fmla="*/ 123 h 213"/>
                  <a:gd name="T46" fmla="*/ 8 w 147"/>
                  <a:gd name="T47" fmla="*/ 131 h 213"/>
                  <a:gd name="T48" fmla="*/ 14 w 147"/>
                  <a:gd name="T49" fmla="*/ 140 h 213"/>
                  <a:gd name="T50" fmla="*/ 15 w 147"/>
                  <a:gd name="T51" fmla="*/ 150 h 213"/>
                  <a:gd name="T52" fmla="*/ 21 w 147"/>
                  <a:gd name="T53" fmla="*/ 163 h 213"/>
                  <a:gd name="T54" fmla="*/ 29 w 147"/>
                  <a:gd name="T55" fmla="*/ 169 h 213"/>
                  <a:gd name="T56" fmla="*/ 37 w 147"/>
                  <a:gd name="T57" fmla="*/ 173 h 213"/>
                  <a:gd name="T58" fmla="*/ 46 w 147"/>
                  <a:gd name="T59" fmla="*/ 184 h 213"/>
                  <a:gd name="T60" fmla="*/ 49 w 147"/>
                  <a:gd name="T61" fmla="*/ 193 h 213"/>
                  <a:gd name="T62" fmla="*/ 54 w 147"/>
                  <a:gd name="T63" fmla="*/ 202 h 213"/>
                  <a:gd name="T64" fmla="*/ 63 w 147"/>
                  <a:gd name="T65" fmla="*/ 202 h 213"/>
                  <a:gd name="T66" fmla="*/ 71 w 147"/>
                  <a:gd name="T67" fmla="*/ 202 h 213"/>
                  <a:gd name="T68" fmla="*/ 80 w 147"/>
                  <a:gd name="T69" fmla="*/ 210 h 213"/>
                  <a:gd name="T70" fmla="*/ 87 w 147"/>
                  <a:gd name="T71" fmla="*/ 213 h 213"/>
                  <a:gd name="T72" fmla="*/ 97 w 147"/>
                  <a:gd name="T73" fmla="*/ 208 h 213"/>
                  <a:gd name="T74" fmla="*/ 106 w 147"/>
                  <a:gd name="T75" fmla="*/ 207 h 213"/>
                  <a:gd name="T76" fmla="*/ 113 w 147"/>
                  <a:gd name="T77" fmla="*/ 204 h 213"/>
                  <a:gd name="T78" fmla="*/ 121 w 147"/>
                  <a:gd name="T79" fmla="*/ 204 h 213"/>
                  <a:gd name="T80" fmla="*/ 125 w 147"/>
                  <a:gd name="T81" fmla="*/ 205 h 213"/>
                  <a:gd name="T82" fmla="*/ 121 w 147"/>
                  <a:gd name="T83" fmla="*/ 200 h 213"/>
                  <a:gd name="T84" fmla="*/ 112 w 147"/>
                  <a:gd name="T85" fmla="*/ 187 h 213"/>
                  <a:gd name="T86" fmla="*/ 106 w 147"/>
                  <a:gd name="T87" fmla="*/ 178 h 213"/>
                  <a:gd name="T88" fmla="*/ 96 w 147"/>
                  <a:gd name="T89" fmla="*/ 173 h 213"/>
                  <a:gd name="T90" fmla="*/ 100 w 147"/>
                  <a:gd name="T91" fmla="*/ 167 h 213"/>
                  <a:gd name="T92" fmla="*/ 105 w 147"/>
                  <a:gd name="T93" fmla="*/ 160 h 213"/>
                  <a:gd name="T94" fmla="*/ 110 w 147"/>
                  <a:gd name="T95" fmla="*/ 140 h 213"/>
                  <a:gd name="T96" fmla="*/ 114 w 147"/>
                  <a:gd name="T97" fmla="*/ 132 h 213"/>
                  <a:gd name="T98" fmla="*/ 120 w 147"/>
                  <a:gd name="T99" fmla="*/ 124 h 213"/>
                  <a:gd name="T100" fmla="*/ 127 w 147"/>
                  <a:gd name="T101" fmla="*/ 108 h 213"/>
                  <a:gd name="T102" fmla="*/ 131 w 147"/>
                  <a:gd name="T103" fmla="*/ 91 h 213"/>
                  <a:gd name="T104" fmla="*/ 134 w 147"/>
                  <a:gd name="T105" fmla="*/ 76 h 213"/>
                  <a:gd name="T106" fmla="*/ 136 w 147"/>
                  <a:gd name="T107" fmla="*/ 65 h 213"/>
                  <a:gd name="T108" fmla="*/ 140 w 147"/>
                  <a:gd name="T109" fmla="*/ 59 h 213"/>
                  <a:gd name="T110" fmla="*/ 147 w 147"/>
                  <a:gd name="T111" fmla="*/ 57 h 213"/>
                  <a:gd name="T112" fmla="*/ 94 w 147"/>
                  <a:gd name="T113" fmla="*/ 13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213">
                    <a:moveTo>
                      <a:pt x="147" y="57"/>
                    </a:moveTo>
                    <a:cubicBezTo>
                      <a:pt x="146" y="55"/>
                      <a:pt x="146" y="53"/>
                      <a:pt x="145" y="52"/>
                    </a:cubicBezTo>
                    <a:cubicBezTo>
                      <a:pt x="144" y="51"/>
                      <a:pt x="140" y="50"/>
                      <a:pt x="139" y="50"/>
                    </a:cubicBezTo>
                    <a:cubicBezTo>
                      <a:pt x="138" y="49"/>
                      <a:pt x="139" y="46"/>
                      <a:pt x="138" y="44"/>
                    </a:cubicBezTo>
                    <a:cubicBezTo>
                      <a:pt x="137" y="44"/>
                      <a:pt x="137" y="44"/>
                      <a:pt x="137" y="44"/>
                    </a:cubicBezTo>
                    <a:cubicBezTo>
                      <a:pt x="136" y="42"/>
                      <a:pt x="137" y="36"/>
                      <a:pt x="137" y="36"/>
                    </a:cubicBezTo>
                    <a:cubicBezTo>
                      <a:pt x="137" y="34"/>
                      <a:pt x="137" y="34"/>
                      <a:pt x="137" y="34"/>
                    </a:cubicBezTo>
                    <a:cubicBezTo>
                      <a:pt x="137" y="34"/>
                      <a:pt x="138" y="34"/>
                      <a:pt x="138" y="34"/>
                    </a:cubicBezTo>
                    <a:cubicBezTo>
                      <a:pt x="138" y="33"/>
                      <a:pt x="138" y="27"/>
                      <a:pt x="138" y="27"/>
                    </a:cubicBezTo>
                    <a:cubicBezTo>
                      <a:pt x="137" y="26"/>
                      <a:pt x="137" y="26"/>
                      <a:pt x="137" y="26"/>
                    </a:cubicBezTo>
                    <a:cubicBezTo>
                      <a:pt x="136" y="24"/>
                      <a:pt x="137" y="21"/>
                      <a:pt x="137" y="21"/>
                    </a:cubicBezTo>
                    <a:cubicBezTo>
                      <a:pt x="137" y="21"/>
                      <a:pt x="135" y="20"/>
                      <a:pt x="135" y="20"/>
                    </a:cubicBezTo>
                    <a:cubicBezTo>
                      <a:pt x="134" y="18"/>
                      <a:pt x="134" y="14"/>
                      <a:pt x="133" y="12"/>
                    </a:cubicBezTo>
                    <a:cubicBezTo>
                      <a:pt x="133" y="11"/>
                      <a:pt x="131" y="11"/>
                      <a:pt x="130" y="10"/>
                    </a:cubicBezTo>
                    <a:cubicBezTo>
                      <a:pt x="128" y="8"/>
                      <a:pt x="127" y="6"/>
                      <a:pt x="125" y="4"/>
                    </a:cubicBezTo>
                    <a:cubicBezTo>
                      <a:pt x="124" y="3"/>
                      <a:pt x="124" y="3"/>
                      <a:pt x="124" y="3"/>
                    </a:cubicBezTo>
                    <a:cubicBezTo>
                      <a:pt x="124" y="2"/>
                      <a:pt x="124" y="1"/>
                      <a:pt x="124" y="0"/>
                    </a:cubicBezTo>
                    <a:cubicBezTo>
                      <a:pt x="123" y="0"/>
                      <a:pt x="123" y="0"/>
                      <a:pt x="123" y="0"/>
                    </a:cubicBezTo>
                    <a:cubicBezTo>
                      <a:pt x="118" y="2"/>
                      <a:pt x="118" y="2"/>
                      <a:pt x="118" y="2"/>
                    </a:cubicBezTo>
                    <a:cubicBezTo>
                      <a:pt x="115" y="2"/>
                      <a:pt x="115" y="2"/>
                      <a:pt x="115" y="2"/>
                    </a:cubicBezTo>
                    <a:cubicBezTo>
                      <a:pt x="113" y="8"/>
                      <a:pt x="113" y="8"/>
                      <a:pt x="113" y="8"/>
                    </a:cubicBezTo>
                    <a:cubicBezTo>
                      <a:pt x="110" y="9"/>
                      <a:pt x="110" y="9"/>
                      <a:pt x="110" y="9"/>
                    </a:cubicBezTo>
                    <a:cubicBezTo>
                      <a:pt x="109" y="14"/>
                      <a:pt x="109" y="14"/>
                      <a:pt x="109" y="14"/>
                    </a:cubicBezTo>
                    <a:cubicBezTo>
                      <a:pt x="106" y="15"/>
                      <a:pt x="106" y="15"/>
                      <a:pt x="106" y="15"/>
                    </a:cubicBezTo>
                    <a:cubicBezTo>
                      <a:pt x="105" y="13"/>
                      <a:pt x="105" y="13"/>
                      <a:pt x="105" y="13"/>
                    </a:cubicBezTo>
                    <a:cubicBezTo>
                      <a:pt x="97" y="13"/>
                      <a:pt x="97" y="13"/>
                      <a:pt x="97" y="13"/>
                    </a:cubicBezTo>
                    <a:cubicBezTo>
                      <a:pt x="96" y="11"/>
                      <a:pt x="96" y="11"/>
                      <a:pt x="96" y="11"/>
                    </a:cubicBezTo>
                    <a:cubicBezTo>
                      <a:pt x="94" y="13"/>
                      <a:pt x="94" y="13"/>
                      <a:pt x="94" y="13"/>
                    </a:cubicBezTo>
                    <a:cubicBezTo>
                      <a:pt x="32" y="12"/>
                      <a:pt x="32" y="12"/>
                      <a:pt x="32" y="12"/>
                    </a:cubicBezTo>
                    <a:cubicBezTo>
                      <a:pt x="32" y="33"/>
                      <a:pt x="32" y="33"/>
                      <a:pt x="32" y="33"/>
                    </a:cubicBezTo>
                    <a:cubicBezTo>
                      <a:pt x="24" y="33"/>
                      <a:pt x="24" y="33"/>
                      <a:pt x="24" y="33"/>
                    </a:cubicBezTo>
                    <a:cubicBezTo>
                      <a:pt x="24" y="41"/>
                      <a:pt x="24" y="41"/>
                      <a:pt x="24" y="41"/>
                    </a:cubicBezTo>
                    <a:cubicBezTo>
                      <a:pt x="24" y="81"/>
                      <a:pt x="24" y="81"/>
                      <a:pt x="24" y="81"/>
                    </a:cubicBezTo>
                    <a:cubicBezTo>
                      <a:pt x="24" y="81"/>
                      <a:pt x="19" y="82"/>
                      <a:pt x="18" y="81"/>
                    </a:cubicBezTo>
                    <a:cubicBezTo>
                      <a:pt x="16" y="80"/>
                      <a:pt x="14" y="80"/>
                      <a:pt x="13" y="82"/>
                    </a:cubicBezTo>
                    <a:cubicBezTo>
                      <a:pt x="12" y="84"/>
                      <a:pt x="11" y="85"/>
                      <a:pt x="12" y="88"/>
                    </a:cubicBezTo>
                    <a:cubicBezTo>
                      <a:pt x="13" y="90"/>
                      <a:pt x="12" y="91"/>
                      <a:pt x="10" y="92"/>
                    </a:cubicBezTo>
                    <a:cubicBezTo>
                      <a:pt x="7" y="93"/>
                      <a:pt x="8" y="94"/>
                      <a:pt x="8" y="96"/>
                    </a:cubicBezTo>
                    <a:cubicBezTo>
                      <a:pt x="8" y="98"/>
                      <a:pt x="8" y="101"/>
                      <a:pt x="6" y="102"/>
                    </a:cubicBezTo>
                    <a:cubicBezTo>
                      <a:pt x="4" y="104"/>
                      <a:pt x="4" y="103"/>
                      <a:pt x="4" y="106"/>
                    </a:cubicBezTo>
                    <a:cubicBezTo>
                      <a:pt x="4" y="108"/>
                      <a:pt x="3" y="109"/>
                      <a:pt x="2" y="110"/>
                    </a:cubicBezTo>
                    <a:cubicBezTo>
                      <a:pt x="0" y="111"/>
                      <a:pt x="1" y="111"/>
                      <a:pt x="1" y="113"/>
                    </a:cubicBezTo>
                    <a:cubicBezTo>
                      <a:pt x="1" y="115"/>
                      <a:pt x="3" y="113"/>
                      <a:pt x="5" y="113"/>
                    </a:cubicBezTo>
                    <a:cubicBezTo>
                      <a:pt x="6" y="113"/>
                      <a:pt x="7" y="114"/>
                      <a:pt x="8" y="116"/>
                    </a:cubicBezTo>
                    <a:cubicBezTo>
                      <a:pt x="9" y="118"/>
                      <a:pt x="6" y="119"/>
                      <a:pt x="6" y="121"/>
                    </a:cubicBezTo>
                    <a:cubicBezTo>
                      <a:pt x="7" y="123"/>
                      <a:pt x="7" y="123"/>
                      <a:pt x="7" y="123"/>
                    </a:cubicBezTo>
                    <a:cubicBezTo>
                      <a:pt x="7" y="123"/>
                      <a:pt x="8" y="125"/>
                      <a:pt x="7" y="127"/>
                    </a:cubicBezTo>
                    <a:cubicBezTo>
                      <a:pt x="6" y="129"/>
                      <a:pt x="6" y="129"/>
                      <a:pt x="8" y="131"/>
                    </a:cubicBezTo>
                    <a:cubicBezTo>
                      <a:pt x="10" y="133"/>
                      <a:pt x="9" y="135"/>
                      <a:pt x="9" y="135"/>
                    </a:cubicBezTo>
                    <a:cubicBezTo>
                      <a:pt x="14" y="140"/>
                      <a:pt x="14" y="140"/>
                      <a:pt x="14" y="140"/>
                    </a:cubicBezTo>
                    <a:cubicBezTo>
                      <a:pt x="14" y="140"/>
                      <a:pt x="15" y="144"/>
                      <a:pt x="14" y="146"/>
                    </a:cubicBezTo>
                    <a:cubicBezTo>
                      <a:pt x="13" y="148"/>
                      <a:pt x="12" y="148"/>
                      <a:pt x="15" y="150"/>
                    </a:cubicBezTo>
                    <a:cubicBezTo>
                      <a:pt x="18" y="152"/>
                      <a:pt x="18" y="152"/>
                      <a:pt x="17" y="155"/>
                    </a:cubicBezTo>
                    <a:cubicBezTo>
                      <a:pt x="16" y="158"/>
                      <a:pt x="20" y="163"/>
                      <a:pt x="21" y="163"/>
                    </a:cubicBezTo>
                    <a:cubicBezTo>
                      <a:pt x="23" y="164"/>
                      <a:pt x="23" y="167"/>
                      <a:pt x="25" y="167"/>
                    </a:cubicBezTo>
                    <a:cubicBezTo>
                      <a:pt x="27" y="167"/>
                      <a:pt x="28" y="167"/>
                      <a:pt x="29" y="169"/>
                    </a:cubicBezTo>
                    <a:cubicBezTo>
                      <a:pt x="30" y="170"/>
                      <a:pt x="31" y="172"/>
                      <a:pt x="33" y="172"/>
                    </a:cubicBezTo>
                    <a:cubicBezTo>
                      <a:pt x="35" y="172"/>
                      <a:pt x="36" y="171"/>
                      <a:pt x="37" y="173"/>
                    </a:cubicBezTo>
                    <a:cubicBezTo>
                      <a:pt x="38" y="175"/>
                      <a:pt x="37" y="178"/>
                      <a:pt x="40" y="179"/>
                    </a:cubicBezTo>
                    <a:cubicBezTo>
                      <a:pt x="44" y="180"/>
                      <a:pt x="45" y="181"/>
                      <a:pt x="46" y="184"/>
                    </a:cubicBezTo>
                    <a:cubicBezTo>
                      <a:pt x="47" y="187"/>
                      <a:pt x="46" y="189"/>
                      <a:pt x="47" y="190"/>
                    </a:cubicBezTo>
                    <a:cubicBezTo>
                      <a:pt x="49" y="190"/>
                      <a:pt x="49" y="193"/>
                      <a:pt x="49" y="193"/>
                    </a:cubicBezTo>
                    <a:cubicBezTo>
                      <a:pt x="52" y="198"/>
                      <a:pt x="52" y="198"/>
                      <a:pt x="52" y="198"/>
                    </a:cubicBezTo>
                    <a:cubicBezTo>
                      <a:pt x="52" y="198"/>
                      <a:pt x="53" y="201"/>
                      <a:pt x="54" y="202"/>
                    </a:cubicBezTo>
                    <a:cubicBezTo>
                      <a:pt x="55" y="203"/>
                      <a:pt x="57" y="202"/>
                      <a:pt x="57" y="200"/>
                    </a:cubicBezTo>
                    <a:cubicBezTo>
                      <a:pt x="58" y="197"/>
                      <a:pt x="60" y="201"/>
                      <a:pt x="63" y="202"/>
                    </a:cubicBezTo>
                    <a:cubicBezTo>
                      <a:pt x="65" y="203"/>
                      <a:pt x="65" y="202"/>
                      <a:pt x="66" y="200"/>
                    </a:cubicBezTo>
                    <a:cubicBezTo>
                      <a:pt x="67" y="199"/>
                      <a:pt x="69" y="200"/>
                      <a:pt x="71" y="202"/>
                    </a:cubicBezTo>
                    <a:cubicBezTo>
                      <a:pt x="72" y="204"/>
                      <a:pt x="73" y="206"/>
                      <a:pt x="74" y="207"/>
                    </a:cubicBezTo>
                    <a:cubicBezTo>
                      <a:pt x="75" y="209"/>
                      <a:pt x="78" y="209"/>
                      <a:pt x="80" y="210"/>
                    </a:cubicBezTo>
                    <a:cubicBezTo>
                      <a:pt x="81" y="212"/>
                      <a:pt x="83" y="210"/>
                      <a:pt x="83" y="210"/>
                    </a:cubicBezTo>
                    <a:cubicBezTo>
                      <a:pt x="87" y="213"/>
                      <a:pt x="87" y="213"/>
                      <a:pt x="87" y="213"/>
                    </a:cubicBezTo>
                    <a:cubicBezTo>
                      <a:pt x="87" y="213"/>
                      <a:pt x="91" y="209"/>
                      <a:pt x="94" y="209"/>
                    </a:cubicBezTo>
                    <a:cubicBezTo>
                      <a:pt x="96" y="210"/>
                      <a:pt x="95" y="209"/>
                      <a:pt x="97" y="208"/>
                    </a:cubicBezTo>
                    <a:cubicBezTo>
                      <a:pt x="99" y="207"/>
                      <a:pt x="103" y="210"/>
                      <a:pt x="103" y="210"/>
                    </a:cubicBezTo>
                    <a:cubicBezTo>
                      <a:pt x="106" y="207"/>
                      <a:pt x="106" y="207"/>
                      <a:pt x="106" y="207"/>
                    </a:cubicBezTo>
                    <a:cubicBezTo>
                      <a:pt x="111" y="206"/>
                      <a:pt x="111" y="206"/>
                      <a:pt x="111" y="206"/>
                    </a:cubicBezTo>
                    <a:cubicBezTo>
                      <a:pt x="113" y="204"/>
                      <a:pt x="113" y="204"/>
                      <a:pt x="113" y="204"/>
                    </a:cubicBezTo>
                    <a:cubicBezTo>
                      <a:pt x="115" y="204"/>
                      <a:pt x="117" y="204"/>
                      <a:pt x="117" y="204"/>
                    </a:cubicBezTo>
                    <a:cubicBezTo>
                      <a:pt x="121" y="204"/>
                      <a:pt x="121" y="204"/>
                      <a:pt x="121" y="204"/>
                    </a:cubicBezTo>
                    <a:cubicBezTo>
                      <a:pt x="125" y="207"/>
                      <a:pt x="125" y="207"/>
                      <a:pt x="125" y="207"/>
                    </a:cubicBezTo>
                    <a:cubicBezTo>
                      <a:pt x="125" y="205"/>
                      <a:pt x="125" y="205"/>
                      <a:pt x="125" y="205"/>
                    </a:cubicBezTo>
                    <a:cubicBezTo>
                      <a:pt x="125" y="205"/>
                      <a:pt x="125" y="200"/>
                      <a:pt x="123" y="200"/>
                    </a:cubicBezTo>
                    <a:cubicBezTo>
                      <a:pt x="122" y="200"/>
                      <a:pt x="122" y="200"/>
                      <a:pt x="121" y="200"/>
                    </a:cubicBezTo>
                    <a:cubicBezTo>
                      <a:pt x="119" y="200"/>
                      <a:pt x="116" y="199"/>
                      <a:pt x="116" y="196"/>
                    </a:cubicBezTo>
                    <a:cubicBezTo>
                      <a:pt x="115" y="193"/>
                      <a:pt x="112" y="190"/>
                      <a:pt x="112" y="187"/>
                    </a:cubicBezTo>
                    <a:cubicBezTo>
                      <a:pt x="112" y="184"/>
                      <a:pt x="111" y="184"/>
                      <a:pt x="110" y="183"/>
                    </a:cubicBezTo>
                    <a:cubicBezTo>
                      <a:pt x="108" y="181"/>
                      <a:pt x="107" y="180"/>
                      <a:pt x="106" y="178"/>
                    </a:cubicBezTo>
                    <a:cubicBezTo>
                      <a:pt x="104" y="175"/>
                      <a:pt x="103" y="175"/>
                      <a:pt x="101" y="174"/>
                    </a:cubicBezTo>
                    <a:cubicBezTo>
                      <a:pt x="100" y="174"/>
                      <a:pt x="95" y="175"/>
                      <a:pt x="96" y="173"/>
                    </a:cubicBezTo>
                    <a:cubicBezTo>
                      <a:pt x="96" y="171"/>
                      <a:pt x="97" y="168"/>
                      <a:pt x="97" y="168"/>
                    </a:cubicBezTo>
                    <a:cubicBezTo>
                      <a:pt x="97" y="168"/>
                      <a:pt x="97" y="168"/>
                      <a:pt x="100" y="167"/>
                    </a:cubicBezTo>
                    <a:cubicBezTo>
                      <a:pt x="103" y="167"/>
                      <a:pt x="104" y="166"/>
                      <a:pt x="104" y="166"/>
                    </a:cubicBezTo>
                    <a:cubicBezTo>
                      <a:pt x="104" y="166"/>
                      <a:pt x="105" y="162"/>
                      <a:pt x="105" y="160"/>
                    </a:cubicBezTo>
                    <a:cubicBezTo>
                      <a:pt x="105" y="159"/>
                      <a:pt x="106" y="153"/>
                      <a:pt x="106" y="151"/>
                    </a:cubicBezTo>
                    <a:cubicBezTo>
                      <a:pt x="105" y="149"/>
                      <a:pt x="110" y="144"/>
                      <a:pt x="110" y="140"/>
                    </a:cubicBezTo>
                    <a:cubicBezTo>
                      <a:pt x="110" y="137"/>
                      <a:pt x="110" y="135"/>
                      <a:pt x="110" y="135"/>
                    </a:cubicBezTo>
                    <a:cubicBezTo>
                      <a:pt x="110" y="135"/>
                      <a:pt x="112" y="133"/>
                      <a:pt x="114" y="132"/>
                    </a:cubicBezTo>
                    <a:cubicBezTo>
                      <a:pt x="116" y="131"/>
                      <a:pt x="117" y="131"/>
                      <a:pt x="117" y="129"/>
                    </a:cubicBezTo>
                    <a:cubicBezTo>
                      <a:pt x="118" y="127"/>
                      <a:pt x="119" y="126"/>
                      <a:pt x="120" y="124"/>
                    </a:cubicBezTo>
                    <a:cubicBezTo>
                      <a:pt x="121" y="121"/>
                      <a:pt x="122" y="119"/>
                      <a:pt x="122" y="116"/>
                    </a:cubicBezTo>
                    <a:cubicBezTo>
                      <a:pt x="122" y="112"/>
                      <a:pt x="126" y="110"/>
                      <a:pt x="127" y="108"/>
                    </a:cubicBezTo>
                    <a:cubicBezTo>
                      <a:pt x="128" y="105"/>
                      <a:pt x="131" y="101"/>
                      <a:pt x="131" y="101"/>
                    </a:cubicBezTo>
                    <a:cubicBezTo>
                      <a:pt x="131" y="101"/>
                      <a:pt x="132" y="92"/>
                      <a:pt x="131" y="91"/>
                    </a:cubicBezTo>
                    <a:cubicBezTo>
                      <a:pt x="130" y="89"/>
                      <a:pt x="131" y="86"/>
                      <a:pt x="132" y="83"/>
                    </a:cubicBezTo>
                    <a:cubicBezTo>
                      <a:pt x="133" y="80"/>
                      <a:pt x="134" y="79"/>
                      <a:pt x="134" y="76"/>
                    </a:cubicBezTo>
                    <a:cubicBezTo>
                      <a:pt x="134" y="72"/>
                      <a:pt x="134" y="72"/>
                      <a:pt x="135" y="69"/>
                    </a:cubicBezTo>
                    <a:cubicBezTo>
                      <a:pt x="135" y="66"/>
                      <a:pt x="134" y="65"/>
                      <a:pt x="136" y="65"/>
                    </a:cubicBezTo>
                    <a:cubicBezTo>
                      <a:pt x="137" y="65"/>
                      <a:pt x="137" y="63"/>
                      <a:pt x="138" y="61"/>
                    </a:cubicBezTo>
                    <a:cubicBezTo>
                      <a:pt x="139" y="59"/>
                      <a:pt x="140" y="59"/>
                      <a:pt x="140" y="59"/>
                    </a:cubicBezTo>
                    <a:cubicBezTo>
                      <a:pt x="145" y="60"/>
                      <a:pt x="145" y="60"/>
                      <a:pt x="145" y="60"/>
                    </a:cubicBezTo>
                    <a:lnTo>
                      <a:pt x="147" y="57"/>
                    </a:lnTo>
                    <a:close/>
                    <a:moveTo>
                      <a:pt x="95" y="131"/>
                    </a:moveTo>
                    <a:cubicBezTo>
                      <a:pt x="95" y="131"/>
                      <a:pt x="96" y="133"/>
                      <a:pt x="94" y="133"/>
                    </a:cubicBezTo>
                    <a:cubicBezTo>
                      <a:pt x="94" y="133"/>
                      <a:pt x="93" y="131"/>
                      <a:pt x="95" y="13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87" name="Freeform 66">
                <a:extLst>
                  <a:ext uri="{FF2B5EF4-FFF2-40B4-BE49-F238E27FC236}">
                    <a16:creationId xmlns:a16="http://schemas.microsoft.com/office/drawing/2014/main" id="{7E9ACDE3-2D7A-1088-E1D5-3B549283B7CE}"/>
                  </a:ext>
                </a:extLst>
              </p:cNvPr>
              <p:cNvSpPr>
                <a:spLocks/>
              </p:cNvSpPr>
              <p:nvPr/>
            </p:nvSpPr>
            <p:spPr bwMode="auto">
              <a:xfrm>
                <a:off x="4455" y="2052"/>
                <a:ext cx="39" cy="81"/>
              </a:xfrm>
              <a:custGeom>
                <a:avLst/>
                <a:gdLst>
                  <a:gd name="T0" fmla="*/ 4 w 20"/>
                  <a:gd name="T1" fmla="*/ 0 h 41"/>
                  <a:gd name="T2" fmla="*/ 4 w 20"/>
                  <a:gd name="T3" fmla="*/ 0 h 41"/>
                  <a:gd name="T4" fmla="*/ 4 w 20"/>
                  <a:gd name="T5" fmla="*/ 5 h 41"/>
                  <a:gd name="T6" fmla="*/ 4 w 20"/>
                  <a:gd name="T7" fmla="*/ 6 h 41"/>
                  <a:gd name="T8" fmla="*/ 3 w 20"/>
                  <a:gd name="T9" fmla="*/ 7 h 41"/>
                  <a:gd name="T10" fmla="*/ 4 w 20"/>
                  <a:gd name="T11" fmla="*/ 12 h 41"/>
                  <a:gd name="T12" fmla="*/ 1 w 20"/>
                  <a:gd name="T13" fmla="*/ 18 h 41"/>
                  <a:gd name="T14" fmla="*/ 1 w 20"/>
                  <a:gd name="T15" fmla="*/ 18 h 41"/>
                  <a:gd name="T16" fmla="*/ 2 w 20"/>
                  <a:gd name="T17" fmla="*/ 28 h 41"/>
                  <a:gd name="T18" fmla="*/ 3 w 20"/>
                  <a:gd name="T19" fmla="*/ 36 h 41"/>
                  <a:gd name="T20" fmla="*/ 5 w 20"/>
                  <a:gd name="T21" fmla="*/ 37 h 41"/>
                  <a:gd name="T22" fmla="*/ 6 w 20"/>
                  <a:gd name="T23" fmla="*/ 40 h 41"/>
                  <a:gd name="T24" fmla="*/ 10 w 20"/>
                  <a:gd name="T25" fmla="*/ 40 h 41"/>
                  <a:gd name="T26" fmla="*/ 18 w 20"/>
                  <a:gd name="T27" fmla="*/ 36 h 41"/>
                  <a:gd name="T28" fmla="*/ 20 w 20"/>
                  <a:gd name="T29" fmla="*/ 24 h 41"/>
                  <a:gd name="T30" fmla="*/ 19 w 20"/>
                  <a:gd name="T31" fmla="*/ 24 h 41"/>
                  <a:gd name="T32" fmla="*/ 18 w 20"/>
                  <a:gd name="T33" fmla="*/ 19 h 41"/>
                  <a:gd name="T34" fmla="*/ 16 w 20"/>
                  <a:gd name="T35" fmla="*/ 16 h 41"/>
                  <a:gd name="T36" fmla="*/ 15 w 20"/>
                  <a:gd name="T37" fmla="*/ 13 h 41"/>
                  <a:gd name="T38" fmla="*/ 12 w 20"/>
                  <a:gd name="T39" fmla="*/ 10 h 41"/>
                  <a:gd name="T40" fmla="*/ 12 w 20"/>
                  <a:gd name="T41" fmla="*/ 8 h 41"/>
                  <a:gd name="T42" fmla="*/ 9 w 20"/>
                  <a:gd name="T43" fmla="*/ 7 h 41"/>
                  <a:gd name="T44" fmla="*/ 6 w 20"/>
                  <a:gd name="T45" fmla="*/ 0 h 41"/>
                  <a:gd name="T46" fmla="*/ 4 w 20"/>
                  <a:gd name="T4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1">
                    <a:moveTo>
                      <a:pt x="4" y="0"/>
                    </a:moveTo>
                    <a:cubicBezTo>
                      <a:pt x="4" y="0"/>
                      <a:pt x="4" y="0"/>
                      <a:pt x="4" y="0"/>
                    </a:cubicBezTo>
                    <a:cubicBezTo>
                      <a:pt x="4" y="3"/>
                      <a:pt x="4" y="3"/>
                      <a:pt x="4" y="5"/>
                    </a:cubicBezTo>
                    <a:cubicBezTo>
                      <a:pt x="4" y="6"/>
                      <a:pt x="4" y="6"/>
                      <a:pt x="4" y="6"/>
                    </a:cubicBezTo>
                    <a:cubicBezTo>
                      <a:pt x="4" y="7"/>
                      <a:pt x="4" y="7"/>
                      <a:pt x="3" y="7"/>
                    </a:cubicBezTo>
                    <a:cubicBezTo>
                      <a:pt x="3" y="8"/>
                      <a:pt x="4" y="12"/>
                      <a:pt x="4" y="12"/>
                    </a:cubicBezTo>
                    <a:cubicBezTo>
                      <a:pt x="3" y="13"/>
                      <a:pt x="2" y="16"/>
                      <a:pt x="1" y="18"/>
                    </a:cubicBezTo>
                    <a:cubicBezTo>
                      <a:pt x="1" y="18"/>
                      <a:pt x="1" y="18"/>
                      <a:pt x="1" y="18"/>
                    </a:cubicBezTo>
                    <a:cubicBezTo>
                      <a:pt x="0" y="21"/>
                      <a:pt x="2" y="24"/>
                      <a:pt x="2" y="28"/>
                    </a:cubicBezTo>
                    <a:cubicBezTo>
                      <a:pt x="3" y="31"/>
                      <a:pt x="2" y="34"/>
                      <a:pt x="3" y="36"/>
                    </a:cubicBezTo>
                    <a:cubicBezTo>
                      <a:pt x="5" y="37"/>
                      <a:pt x="5" y="37"/>
                      <a:pt x="5" y="37"/>
                    </a:cubicBezTo>
                    <a:cubicBezTo>
                      <a:pt x="6" y="38"/>
                      <a:pt x="6" y="39"/>
                      <a:pt x="6" y="40"/>
                    </a:cubicBezTo>
                    <a:cubicBezTo>
                      <a:pt x="8" y="40"/>
                      <a:pt x="8" y="41"/>
                      <a:pt x="10" y="40"/>
                    </a:cubicBezTo>
                    <a:cubicBezTo>
                      <a:pt x="11" y="40"/>
                      <a:pt x="17" y="37"/>
                      <a:pt x="18" y="36"/>
                    </a:cubicBezTo>
                    <a:cubicBezTo>
                      <a:pt x="20" y="33"/>
                      <a:pt x="20" y="29"/>
                      <a:pt x="20" y="24"/>
                    </a:cubicBezTo>
                    <a:cubicBezTo>
                      <a:pt x="20" y="24"/>
                      <a:pt x="19" y="24"/>
                      <a:pt x="19" y="24"/>
                    </a:cubicBezTo>
                    <a:cubicBezTo>
                      <a:pt x="19" y="22"/>
                      <a:pt x="19" y="21"/>
                      <a:pt x="18" y="19"/>
                    </a:cubicBezTo>
                    <a:cubicBezTo>
                      <a:pt x="18" y="19"/>
                      <a:pt x="16" y="17"/>
                      <a:pt x="16" y="16"/>
                    </a:cubicBezTo>
                    <a:cubicBezTo>
                      <a:pt x="15" y="15"/>
                      <a:pt x="16" y="14"/>
                      <a:pt x="15" y="13"/>
                    </a:cubicBezTo>
                    <a:cubicBezTo>
                      <a:pt x="15" y="13"/>
                      <a:pt x="12" y="11"/>
                      <a:pt x="12" y="10"/>
                    </a:cubicBezTo>
                    <a:cubicBezTo>
                      <a:pt x="12" y="10"/>
                      <a:pt x="12" y="9"/>
                      <a:pt x="12" y="8"/>
                    </a:cubicBezTo>
                    <a:cubicBezTo>
                      <a:pt x="11" y="8"/>
                      <a:pt x="10" y="8"/>
                      <a:pt x="9" y="7"/>
                    </a:cubicBezTo>
                    <a:cubicBezTo>
                      <a:pt x="8" y="6"/>
                      <a:pt x="7" y="1"/>
                      <a:pt x="6" y="0"/>
                    </a:cubicBezTo>
                    <a:cubicBezTo>
                      <a:pt x="6" y="0"/>
                      <a:pt x="4" y="0"/>
                      <a:pt x="4"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88" name="Freeform 67">
                <a:extLst>
                  <a:ext uri="{FF2B5EF4-FFF2-40B4-BE49-F238E27FC236}">
                    <a16:creationId xmlns:a16="http://schemas.microsoft.com/office/drawing/2014/main" id="{92524223-D575-BB5A-F36F-004CDDC47284}"/>
                  </a:ext>
                </a:extLst>
              </p:cNvPr>
              <p:cNvSpPr>
                <a:spLocks/>
              </p:cNvSpPr>
              <p:nvPr/>
            </p:nvSpPr>
            <p:spPr bwMode="auto">
              <a:xfrm>
                <a:off x="4455" y="2052"/>
                <a:ext cx="39" cy="81"/>
              </a:xfrm>
              <a:custGeom>
                <a:avLst/>
                <a:gdLst>
                  <a:gd name="T0" fmla="*/ 4 w 20"/>
                  <a:gd name="T1" fmla="*/ 0 h 41"/>
                  <a:gd name="T2" fmla="*/ 4 w 20"/>
                  <a:gd name="T3" fmla="*/ 0 h 41"/>
                  <a:gd name="T4" fmla="*/ 4 w 20"/>
                  <a:gd name="T5" fmla="*/ 5 h 41"/>
                  <a:gd name="T6" fmla="*/ 4 w 20"/>
                  <a:gd name="T7" fmla="*/ 6 h 41"/>
                  <a:gd name="T8" fmla="*/ 3 w 20"/>
                  <a:gd name="T9" fmla="*/ 7 h 41"/>
                  <a:gd name="T10" fmla="*/ 4 w 20"/>
                  <a:gd name="T11" fmla="*/ 12 h 41"/>
                  <a:gd name="T12" fmla="*/ 1 w 20"/>
                  <a:gd name="T13" fmla="*/ 18 h 41"/>
                  <a:gd name="T14" fmla="*/ 1 w 20"/>
                  <a:gd name="T15" fmla="*/ 18 h 41"/>
                  <a:gd name="T16" fmla="*/ 2 w 20"/>
                  <a:gd name="T17" fmla="*/ 28 h 41"/>
                  <a:gd name="T18" fmla="*/ 3 w 20"/>
                  <a:gd name="T19" fmla="*/ 36 h 41"/>
                  <a:gd name="T20" fmla="*/ 5 w 20"/>
                  <a:gd name="T21" fmla="*/ 37 h 41"/>
                  <a:gd name="T22" fmla="*/ 6 w 20"/>
                  <a:gd name="T23" fmla="*/ 40 h 41"/>
                  <a:gd name="T24" fmla="*/ 10 w 20"/>
                  <a:gd name="T25" fmla="*/ 40 h 41"/>
                  <a:gd name="T26" fmla="*/ 18 w 20"/>
                  <a:gd name="T27" fmla="*/ 36 h 41"/>
                  <a:gd name="T28" fmla="*/ 20 w 20"/>
                  <a:gd name="T29" fmla="*/ 24 h 41"/>
                  <a:gd name="T30" fmla="*/ 19 w 20"/>
                  <a:gd name="T31" fmla="*/ 24 h 41"/>
                  <a:gd name="T32" fmla="*/ 18 w 20"/>
                  <a:gd name="T33" fmla="*/ 19 h 41"/>
                  <a:gd name="T34" fmla="*/ 16 w 20"/>
                  <a:gd name="T35" fmla="*/ 16 h 41"/>
                  <a:gd name="T36" fmla="*/ 15 w 20"/>
                  <a:gd name="T37" fmla="*/ 13 h 41"/>
                  <a:gd name="T38" fmla="*/ 12 w 20"/>
                  <a:gd name="T39" fmla="*/ 10 h 41"/>
                  <a:gd name="T40" fmla="*/ 12 w 20"/>
                  <a:gd name="T41" fmla="*/ 8 h 41"/>
                  <a:gd name="T42" fmla="*/ 9 w 20"/>
                  <a:gd name="T43" fmla="*/ 7 h 41"/>
                  <a:gd name="T44" fmla="*/ 6 w 20"/>
                  <a:gd name="T45" fmla="*/ 0 h 41"/>
                  <a:gd name="T46" fmla="*/ 4 w 20"/>
                  <a:gd name="T4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1">
                    <a:moveTo>
                      <a:pt x="4" y="0"/>
                    </a:moveTo>
                    <a:cubicBezTo>
                      <a:pt x="4" y="0"/>
                      <a:pt x="4" y="0"/>
                      <a:pt x="4" y="0"/>
                    </a:cubicBezTo>
                    <a:cubicBezTo>
                      <a:pt x="4" y="3"/>
                      <a:pt x="4" y="3"/>
                      <a:pt x="4" y="5"/>
                    </a:cubicBezTo>
                    <a:cubicBezTo>
                      <a:pt x="4" y="6"/>
                      <a:pt x="4" y="6"/>
                      <a:pt x="4" y="6"/>
                    </a:cubicBezTo>
                    <a:cubicBezTo>
                      <a:pt x="4" y="7"/>
                      <a:pt x="4" y="7"/>
                      <a:pt x="3" y="7"/>
                    </a:cubicBezTo>
                    <a:cubicBezTo>
                      <a:pt x="3" y="8"/>
                      <a:pt x="4" y="12"/>
                      <a:pt x="4" y="12"/>
                    </a:cubicBezTo>
                    <a:cubicBezTo>
                      <a:pt x="3" y="13"/>
                      <a:pt x="2" y="16"/>
                      <a:pt x="1" y="18"/>
                    </a:cubicBezTo>
                    <a:cubicBezTo>
                      <a:pt x="1" y="18"/>
                      <a:pt x="1" y="18"/>
                      <a:pt x="1" y="18"/>
                    </a:cubicBezTo>
                    <a:cubicBezTo>
                      <a:pt x="0" y="21"/>
                      <a:pt x="2" y="24"/>
                      <a:pt x="2" y="28"/>
                    </a:cubicBezTo>
                    <a:cubicBezTo>
                      <a:pt x="3" y="31"/>
                      <a:pt x="2" y="34"/>
                      <a:pt x="3" y="36"/>
                    </a:cubicBezTo>
                    <a:cubicBezTo>
                      <a:pt x="5" y="37"/>
                      <a:pt x="5" y="37"/>
                      <a:pt x="5" y="37"/>
                    </a:cubicBezTo>
                    <a:cubicBezTo>
                      <a:pt x="6" y="38"/>
                      <a:pt x="6" y="39"/>
                      <a:pt x="6" y="40"/>
                    </a:cubicBezTo>
                    <a:cubicBezTo>
                      <a:pt x="8" y="40"/>
                      <a:pt x="8" y="41"/>
                      <a:pt x="10" y="40"/>
                    </a:cubicBezTo>
                    <a:cubicBezTo>
                      <a:pt x="11" y="40"/>
                      <a:pt x="17" y="37"/>
                      <a:pt x="18" y="36"/>
                    </a:cubicBezTo>
                    <a:cubicBezTo>
                      <a:pt x="20" y="33"/>
                      <a:pt x="20" y="29"/>
                      <a:pt x="20" y="24"/>
                    </a:cubicBezTo>
                    <a:cubicBezTo>
                      <a:pt x="20" y="24"/>
                      <a:pt x="19" y="24"/>
                      <a:pt x="19" y="24"/>
                    </a:cubicBezTo>
                    <a:cubicBezTo>
                      <a:pt x="19" y="22"/>
                      <a:pt x="19" y="21"/>
                      <a:pt x="18" y="19"/>
                    </a:cubicBezTo>
                    <a:cubicBezTo>
                      <a:pt x="18" y="19"/>
                      <a:pt x="16" y="17"/>
                      <a:pt x="16" y="16"/>
                    </a:cubicBezTo>
                    <a:cubicBezTo>
                      <a:pt x="15" y="15"/>
                      <a:pt x="16" y="14"/>
                      <a:pt x="15" y="13"/>
                    </a:cubicBezTo>
                    <a:cubicBezTo>
                      <a:pt x="15" y="13"/>
                      <a:pt x="12" y="11"/>
                      <a:pt x="12" y="10"/>
                    </a:cubicBezTo>
                    <a:cubicBezTo>
                      <a:pt x="12" y="10"/>
                      <a:pt x="12" y="9"/>
                      <a:pt x="12" y="8"/>
                    </a:cubicBezTo>
                    <a:cubicBezTo>
                      <a:pt x="11" y="8"/>
                      <a:pt x="10" y="8"/>
                      <a:pt x="9" y="7"/>
                    </a:cubicBezTo>
                    <a:cubicBezTo>
                      <a:pt x="8" y="6"/>
                      <a:pt x="7" y="1"/>
                      <a:pt x="6" y="0"/>
                    </a:cubicBezTo>
                    <a:cubicBezTo>
                      <a:pt x="6" y="0"/>
                      <a:pt x="4" y="0"/>
                      <a:pt x="4"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89" name="Freeform 68">
                <a:extLst>
                  <a:ext uri="{FF2B5EF4-FFF2-40B4-BE49-F238E27FC236}">
                    <a16:creationId xmlns:a16="http://schemas.microsoft.com/office/drawing/2014/main" id="{58E99080-813A-F51E-968A-FC41A3ED9478}"/>
                  </a:ext>
                </a:extLst>
              </p:cNvPr>
              <p:cNvSpPr>
                <a:spLocks noEditPoints="1"/>
              </p:cNvSpPr>
              <p:nvPr/>
            </p:nvSpPr>
            <p:spPr bwMode="auto">
              <a:xfrm>
                <a:off x="2823" y="1289"/>
                <a:ext cx="388" cy="373"/>
              </a:xfrm>
              <a:custGeom>
                <a:avLst/>
                <a:gdLst>
                  <a:gd name="T0" fmla="*/ 178 w 198"/>
                  <a:gd name="T1" fmla="*/ 23 h 190"/>
                  <a:gd name="T2" fmla="*/ 170 w 198"/>
                  <a:gd name="T3" fmla="*/ 28 h 190"/>
                  <a:gd name="T4" fmla="*/ 165 w 198"/>
                  <a:gd name="T5" fmla="*/ 30 h 190"/>
                  <a:gd name="T6" fmla="*/ 157 w 198"/>
                  <a:gd name="T7" fmla="*/ 37 h 190"/>
                  <a:gd name="T8" fmla="*/ 154 w 198"/>
                  <a:gd name="T9" fmla="*/ 42 h 190"/>
                  <a:gd name="T10" fmla="*/ 149 w 198"/>
                  <a:gd name="T11" fmla="*/ 53 h 190"/>
                  <a:gd name="T12" fmla="*/ 152 w 198"/>
                  <a:gd name="T13" fmla="*/ 56 h 190"/>
                  <a:gd name="T14" fmla="*/ 146 w 198"/>
                  <a:gd name="T15" fmla="*/ 65 h 190"/>
                  <a:gd name="T16" fmla="*/ 143 w 198"/>
                  <a:gd name="T17" fmla="*/ 72 h 190"/>
                  <a:gd name="T18" fmla="*/ 131 w 198"/>
                  <a:gd name="T19" fmla="*/ 80 h 190"/>
                  <a:gd name="T20" fmla="*/ 123 w 198"/>
                  <a:gd name="T21" fmla="*/ 85 h 190"/>
                  <a:gd name="T22" fmla="*/ 112 w 198"/>
                  <a:gd name="T23" fmla="*/ 84 h 190"/>
                  <a:gd name="T24" fmla="*/ 107 w 198"/>
                  <a:gd name="T25" fmla="*/ 88 h 190"/>
                  <a:gd name="T26" fmla="*/ 102 w 198"/>
                  <a:gd name="T27" fmla="*/ 91 h 190"/>
                  <a:gd name="T28" fmla="*/ 87 w 198"/>
                  <a:gd name="T29" fmla="*/ 79 h 190"/>
                  <a:gd name="T30" fmla="*/ 86 w 198"/>
                  <a:gd name="T31" fmla="*/ 71 h 190"/>
                  <a:gd name="T32" fmla="*/ 87 w 198"/>
                  <a:gd name="T33" fmla="*/ 61 h 190"/>
                  <a:gd name="T34" fmla="*/ 88 w 198"/>
                  <a:gd name="T35" fmla="*/ 48 h 190"/>
                  <a:gd name="T36" fmla="*/ 88 w 198"/>
                  <a:gd name="T37" fmla="*/ 34 h 190"/>
                  <a:gd name="T38" fmla="*/ 90 w 198"/>
                  <a:gd name="T39" fmla="*/ 25 h 190"/>
                  <a:gd name="T40" fmla="*/ 81 w 198"/>
                  <a:gd name="T41" fmla="*/ 24 h 190"/>
                  <a:gd name="T42" fmla="*/ 74 w 198"/>
                  <a:gd name="T43" fmla="*/ 23 h 190"/>
                  <a:gd name="T44" fmla="*/ 75 w 198"/>
                  <a:gd name="T45" fmla="*/ 18 h 190"/>
                  <a:gd name="T46" fmla="*/ 71 w 198"/>
                  <a:gd name="T47" fmla="*/ 14 h 190"/>
                  <a:gd name="T48" fmla="*/ 69 w 198"/>
                  <a:gd name="T49" fmla="*/ 10 h 190"/>
                  <a:gd name="T50" fmla="*/ 73 w 198"/>
                  <a:gd name="T51" fmla="*/ 5 h 190"/>
                  <a:gd name="T52" fmla="*/ 79 w 198"/>
                  <a:gd name="T53" fmla="*/ 3 h 190"/>
                  <a:gd name="T54" fmla="*/ 91 w 198"/>
                  <a:gd name="T55" fmla="*/ 3 h 190"/>
                  <a:gd name="T56" fmla="*/ 112 w 198"/>
                  <a:gd name="T57" fmla="*/ 4 h 190"/>
                  <a:gd name="T58" fmla="*/ 127 w 198"/>
                  <a:gd name="T59" fmla="*/ 5 h 190"/>
                  <a:gd name="T60" fmla="*/ 135 w 198"/>
                  <a:gd name="T61" fmla="*/ 6 h 190"/>
                  <a:gd name="T62" fmla="*/ 141 w 198"/>
                  <a:gd name="T63" fmla="*/ 11 h 190"/>
                  <a:gd name="T64" fmla="*/ 151 w 198"/>
                  <a:gd name="T65" fmla="*/ 16 h 190"/>
                  <a:gd name="T66" fmla="*/ 163 w 198"/>
                  <a:gd name="T67" fmla="*/ 17 h 190"/>
                  <a:gd name="T68" fmla="*/ 167 w 198"/>
                  <a:gd name="T69" fmla="*/ 18 h 190"/>
                  <a:gd name="T70" fmla="*/ 177 w 198"/>
                  <a:gd name="T71" fmla="*/ 15 h 190"/>
                  <a:gd name="T72" fmla="*/ 14 w 198"/>
                  <a:gd name="T73" fmla="*/ 186 h 190"/>
                  <a:gd name="T74" fmla="*/ 14 w 198"/>
                  <a:gd name="T75" fmla="*/ 190 h 190"/>
                  <a:gd name="T76" fmla="*/ 17 w 198"/>
                  <a:gd name="T77" fmla="*/ 188 h 190"/>
                  <a:gd name="T78" fmla="*/ 8 w 198"/>
                  <a:gd name="T79" fmla="*/ 183 h 190"/>
                  <a:gd name="T80" fmla="*/ 6 w 198"/>
                  <a:gd name="T81" fmla="*/ 187 h 190"/>
                  <a:gd name="T82" fmla="*/ 8 w 198"/>
                  <a:gd name="T83" fmla="*/ 183 h 190"/>
                  <a:gd name="T84" fmla="*/ 29 w 198"/>
                  <a:gd name="T85" fmla="*/ 185 h 190"/>
                  <a:gd name="T86" fmla="*/ 29 w 198"/>
                  <a:gd name="T87" fmla="*/ 187 h 190"/>
                  <a:gd name="T88" fmla="*/ 29 w 198"/>
                  <a:gd name="T89" fmla="*/ 181 h 190"/>
                  <a:gd name="T90" fmla="*/ 0 w 198"/>
                  <a:gd name="T91" fmla="*/ 181 h 190"/>
                  <a:gd name="T92" fmla="*/ 32 w 198"/>
                  <a:gd name="T93" fmla="*/ 177 h 190"/>
                  <a:gd name="T94" fmla="*/ 34 w 198"/>
                  <a:gd name="T95" fmla="*/ 179 h 190"/>
                  <a:gd name="T96" fmla="*/ 163 w 198"/>
                  <a:gd name="T97" fmla="*/ 53 h 190"/>
                  <a:gd name="T98" fmla="*/ 162 w 198"/>
                  <a:gd name="T99" fmla="*/ 57 h 190"/>
                  <a:gd name="T100" fmla="*/ 163 w 198"/>
                  <a:gd name="T101" fmla="*/ 53 h 190"/>
                  <a:gd name="T102" fmla="*/ 191 w 198"/>
                  <a:gd name="T103" fmla="*/ 48 h 190"/>
                  <a:gd name="T104" fmla="*/ 195 w 198"/>
                  <a:gd name="T105" fmla="*/ 46 h 190"/>
                  <a:gd name="T106" fmla="*/ 179 w 198"/>
                  <a:gd name="T107" fmla="*/ 46 h 190"/>
                  <a:gd name="T108" fmla="*/ 177 w 198"/>
                  <a:gd name="T109" fmla="*/ 53 h 190"/>
                  <a:gd name="T110" fmla="*/ 179 w 198"/>
                  <a:gd name="T111" fmla="*/ 55 h 190"/>
                  <a:gd name="T112" fmla="*/ 179 w 198"/>
                  <a:gd name="T113" fmla="*/ 4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8" h="190">
                    <a:moveTo>
                      <a:pt x="177" y="16"/>
                    </a:moveTo>
                    <a:cubicBezTo>
                      <a:pt x="177" y="16"/>
                      <a:pt x="179" y="22"/>
                      <a:pt x="178" y="23"/>
                    </a:cubicBezTo>
                    <a:cubicBezTo>
                      <a:pt x="178" y="23"/>
                      <a:pt x="174" y="27"/>
                      <a:pt x="173" y="27"/>
                    </a:cubicBezTo>
                    <a:cubicBezTo>
                      <a:pt x="172" y="28"/>
                      <a:pt x="171" y="27"/>
                      <a:pt x="170" y="28"/>
                    </a:cubicBezTo>
                    <a:cubicBezTo>
                      <a:pt x="169" y="28"/>
                      <a:pt x="170" y="30"/>
                      <a:pt x="169" y="30"/>
                    </a:cubicBezTo>
                    <a:cubicBezTo>
                      <a:pt x="168" y="31"/>
                      <a:pt x="167" y="30"/>
                      <a:pt x="165" y="30"/>
                    </a:cubicBezTo>
                    <a:cubicBezTo>
                      <a:pt x="163" y="32"/>
                      <a:pt x="161" y="35"/>
                      <a:pt x="160" y="36"/>
                    </a:cubicBezTo>
                    <a:cubicBezTo>
                      <a:pt x="159" y="37"/>
                      <a:pt x="158" y="37"/>
                      <a:pt x="157" y="37"/>
                    </a:cubicBezTo>
                    <a:cubicBezTo>
                      <a:pt x="157" y="38"/>
                      <a:pt x="157" y="40"/>
                      <a:pt x="157" y="40"/>
                    </a:cubicBezTo>
                    <a:cubicBezTo>
                      <a:pt x="156" y="41"/>
                      <a:pt x="154" y="41"/>
                      <a:pt x="154" y="42"/>
                    </a:cubicBezTo>
                    <a:cubicBezTo>
                      <a:pt x="153" y="43"/>
                      <a:pt x="153" y="46"/>
                      <a:pt x="152" y="47"/>
                    </a:cubicBezTo>
                    <a:cubicBezTo>
                      <a:pt x="151" y="48"/>
                      <a:pt x="145" y="51"/>
                      <a:pt x="149" y="53"/>
                    </a:cubicBezTo>
                    <a:cubicBezTo>
                      <a:pt x="149" y="53"/>
                      <a:pt x="149" y="55"/>
                      <a:pt x="149" y="55"/>
                    </a:cubicBezTo>
                    <a:cubicBezTo>
                      <a:pt x="149" y="55"/>
                      <a:pt x="152" y="56"/>
                      <a:pt x="152" y="56"/>
                    </a:cubicBezTo>
                    <a:cubicBezTo>
                      <a:pt x="152" y="57"/>
                      <a:pt x="152" y="58"/>
                      <a:pt x="152" y="58"/>
                    </a:cubicBezTo>
                    <a:cubicBezTo>
                      <a:pt x="149" y="61"/>
                      <a:pt x="148" y="62"/>
                      <a:pt x="146" y="65"/>
                    </a:cubicBezTo>
                    <a:cubicBezTo>
                      <a:pt x="146" y="66"/>
                      <a:pt x="143" y="67"/>
                      <a:pt x="143" y="67"/>
                    </a:cubicBezTo>
                    <a:cubicBezTo>
                      <a:pt x="142" y="69"/>
                      <a:pt x="144" y="71"/>
                      <a:pt x="143" y="72"/>
                    </a:cubicBezTo>
                    <a:cubicBezTo>
                      <a:pt x="142" y="74"/>
                      <a:pt x="140" y="73"/>
                      <a:pt x="138" y="74"/>
                    </a:cubicBezTo>
                    <a:cubicBezTo>
                      <a:pt x="136" y="74"/>
                      <a:pt x="131" y="78"/>
                      <a:pt x="131" y="80"/>
                    </a:cubicBezTo>
                    <a:cubicBezTo>
                      <a:pt x="129" y="82"/>
                      <a:pt x="130" y="84"/>
                      <a:pt x="128" y="85"/>
                    </a:cubicBezTo>
                    <a:cubicBezTo>
                      <a:pt x="127" y="86"/>
                      <a:pt x="125" y="85"/>
                      <a:pt x="123" y="85"/>
                    </a:cubicBezTo>
                    <a:cubicBezTo>
                      <a:pt x="122" y="86"/>
                      <a:pt x="122" y="86"/>
                      <a:pt x="122" y="86"/>
                    </a:cubicBezTo>
                    <a:cubicBezTo>
                      <a:pt x="121" y="87"/>
                      <a:pt x="114" y="85"/>
                      <a:pt x="112" y="84"/>
                    </a:cubicBezTo>
                    <a:cubicBezTo>
                      <a:pt x="111" y="85"/>
                      <a:pt x="111" y="87"/>
                      <a:pt x="111" y="87"/>
                    </a:cubicBezTo>
                    <a:cubicBezTo>
                      <a:pt x="109" y="88"/>
                      <a:pt x="108" y="87"/>
                      <a:pt x="107" y="88"/>
                    </a:cubicBezTo>
                    <a:cubicBezTo>
                      <a:pt x="105" y="88"/>
                      <a:pt x="103" y="90"/>
                      <a:pt x="102" y="90"/>
                    </a:cubicBezTo>
                    <a:cubicBezTo>
                      <a:pt x="102" y="91"/>
                      <a:pt x="102" y="91"/>
                      <a:pt x="102" y="91"/>
                    </a:cubicBezTo>
                    <a:cubicBezTo>
                      <a:pt x="101" y="91"/>
                      <a:pt x="100" y="90"/>
                      <a:pt x="99" y="90"/>
                    </a:cubicBezTo>
                    <a:cubicBezTo>
                      <a:pt x="96" y="87"/>
                      <a:pt x="93" y="79"/>
                      <a:pt x="87" y="79"/>
                    </a:cubicBezTo>
                    <a:cubicBezTo>
                      <a:pt x="87" y="78"/>
                      <a:pt x="87" y="76"/>
                      <a:pt x="89" y="73"/>
                    </a:cubicBezTo>
                    <a:cubicBezTo>
                      <a:pt x="90" y="71"/>
                      <a:pt x="88" y="73"/>
                      <a:pt x="86" y="71"/>
                    </a:cubicBezTo>
                    <a:cubicBezTo>
                      <a:pt x="84" y="68"/>
                      <a:pt x="86" y="68"/>
                      <a:pt x="87" y="65"/>
                    </a:cubicBezTo>
                    <a:cubicBezTo>
                      <a:pt x="88" y="61"/>
                      <a:pt x="88" y="64"/>
                      <a:pt x="87" y="61"/>
                    </a:cubicBezTo>
                    <a:cubicBezTo>
                      <a:pt x="83" y="56"/>
                      <a:pt x="86" y="57"/>
                      <a:pt x="88" y="54"/>
                    </a:cubicBezTo>
                    <a:cubicBezTo>
                      <a:pt x="89" y="52"/>
                      <a:pt x="88" y="51"/>
                      <a:pt x="88" y="48"/>
                    </a:cubicBezTo>
                    <a:cubicBezTo>
                      <a:pt x="88" y="45"/>
                      <a:pt x="86" y="46"/>
                      <a:pt x="89" y="43"/>
                    </a:cubicBezTo>
                    <a:cubicBezTo>
                      <a:pt x="91" y="42"/>
                      <a:pt x="90" y="38"/>
                      <a:pt x="88" y="34"/>
                    </a:cubicBezTo>
                    <a:cubicBezTo>
                      <a:pt x="86" y="31"/>
                      <a:pt x="89" y="32"/>
                      <a:pt x="91" y="28"/>
                    </a:cubicBezTo>
                    <a:cubicBezTo>
                      <a:pt x="93" y="24"/>
                      <a:pt x="92" y="25"/>
                      <a:pt x="90" y="25"/>
                    </a:cubicBezTo>
                    <a:cubicBezTo>
                      <a:pt x="88" y="24"/>
                      <a:pt x="90" y="23"/>
                      <a:pt x="87" y="23"/>
                    </a:cubicBezTo>
                    <a:cubicBezTo>
                      <a:pt x="84" y="23"/>
                      <a:pt x="85" y="23"/>
                      <a:pt x="81" y="24"/>
                    </a:cubicBezTo>
                    <a:cubicBezTo>
                      <a:pt x="77" y="24"/>
                      <a:pt x="80" y="24"/>
                      <a:pt x="79" y="22"/>
                    </a:cubicBezTo>
                    <a:cubicBezTo>
                      <a:pt x="78" y="20"/>
                      <a:pt x="74" y="23"/>
                      <a:pt x="74" y="23"/>
                    </a:cubicBezTo>
                    <a:cubicBezTo>
                      <a:pt x="73" y="23"/>
                      <a:pt x="71" y="22"/>
                      <a:pt x="72" y="21"/>
                    </a:cubicBezTo>
                    <a:cubicBezTo>
                      <a:pt x="73" y="20"/>
                      <a:pt x="74" y="19"/>
                      <a:pt x="75" y="18"/>
                    </a:cubicBezTo>
                    <a:cubicBezTo>
                      <a:pt x="75" y="17"/>
                      <a:pt x="73" y="18"/>
                      <a:pt x="73" y="17"/>
                    </a:cubicBezTo>
                    <a:cubicBezTo>
                      <a:pt x="72" y="15"/>
                      <a:pt x="73" y="15"/>
                      <a:pt x="71" y="14"/>
                    </a:cubicBezTo>
                    <a:cubicBezTo>
                      <a:pt x="70" y="14"/>
                      <a:pt x="72" y="13"/>
                      <a:pt x="71" y="12"/>
                    </a:cubicBezTo>
                    <a:cubicBezTo>
                      <a:pt x="69" y="10"/>
                      <a:pt x="69" y="10"/>
                      <a:pt x="69" y="10"/>
                    </a:cubicBezTo>
                    <a:cubicBezTo>
                      <a:pt x="68" y="8"/>
                      <a:pt x="70" y="9"/>
                      <a:pt x="69" y="7"/>
                    </a:cubicBezTo>
                    <a:cubicBezTo>
                      <a:pt x="70" y="7"/>
                      <a:pt x="73" y="5"/>
                      <a:pt x="73" y="5"/>
                    </a:cubicBezTo>
                    <a:cubicBezTo>
                      <a:pt x="75" y="4"/>
                      <a:pt x="77" y="6"/>
                      <a:pt x="79" y="5"/>
                    </a:cubicBezTo>
                    <a:cubicBezTo>
                      <a:pt x="79" y="5"/>
                      <a:pt x="79" y="3"/>
                      <a:pt x="79" y="3"/>
                    </a:cubicBezTo>
                    <a:cubicBezTo>
                      <a:pt x="81" y="2"/>
                      <a:pt x="84" y="0"/>
                      <a:pt x="86" y="0"/>
                    </a:cubicBezTo>
                    <a:cubicBezTo>
                      <a:pt x="89" y="0"/>
                      <a:pt x="90" y="3"/>
                      <a:pt x="91" y="3"/>
                    </a:cubicBezTo>
                    <a:cubicBezTo>
                      <a:pt x="92" y="3"/>
                      <a:pt x="98" y="2"/>
                      <a:pt x="99" y="2"/>
                    </a:cubicBezTo>
                    <a:cubicBezTo>
                      <a:pt x="105" y="2"/>
                      <a:pt x="107" y="4"/>
                      <a:pt x="112" y="4"/>
                    </a:cubicBezTo>
                    <a:cubicBezTo>
                      <a:pt x="114" y="4"/>
                      <a:pt x="119" y="3"/>
                      <a:pt x="121" y="3"/>
                    </a:cubicBezTo>
                    <a:cubicBezTo>
                      <a:pt x="122" y="3"/>
                      <a:pt x="126" y="4"/>
                      <a:pt x="127" y="5"/>
                    </a:cubicBezTo>
                    <a:cubicBezTo>
                      <a:pt x="127" y="5"/>
                      <a:pt x="128" y="6"/>
                      <a:pt x="128" y="7"/>
                    </a:cubicBezTo>
                    <a:cubicBezTo>
                      <a:pt x="130" y="7"/>
                      <a:pt x="133" y="7"/>
                      <a:pt x="135" y="6"/>
                    </a:cubicBezTo>
                    <a:cubicBezTo>
                      <a:pt x="135" y="6"/>
                      <a:pt x="137" y="8"/>
                      <a:pt x="137" y="10"/>
                    </a:cubicBezTo>
                    <a:cubicBezTo>
                      <a:pt x="138" y="12"/>
                      <a:pt x="138" y="11"/>
                      <a:pt x="141" y="11"/>
                    </a:cubicBezTo>
                    <a:cubicBezTo>
                      <a:pt x="144" y="12"/>
                      <a:pt x="143" y="13"/>
                      <a:pt x="146" y="13"/>
                    </a:cubicBezTo>
                    <a:cubicBezTo>
                      <a:pt x="149" y="13"/>
                      <a:pt x="149" y="16"/>
                      <a:pt x="151" y="16"/>
                    </a:cubicBezTo>
                    <a:cubicBezTo>
                      <a:pt x="153" y="16"/>
                      <a:pt x="154" y="14"/>
                      <a:pt x="157" y="15"/>
                    </a:cubicBezTo>
                    <a:cubicBezTo>
                      <a:pt x="160" y="17"/>
                      <a:pt x="163" y="17"/>
                      <a:pt x="163" y="17"/>
                    </a:cubicBezTo>
                    <a:cubicBezTo>
                      <a:pt x="164" y="19"/>
                      <a:pt x="164" y="19"/>
                      <a:pt x="164" y="19"/>
                    </a:cubicBezTo>
                    <a:cubicBezTo>
                      <a:pt x="167" y="18"/>
                      <a:pt x="167" y="18"/>
                      <a:pt x="167" y="18"/>
                    </a:cubicBezTo>
                    <a:cubicBezTo>
                      <a:pt x="169" y="19"/>
                      <a:pt x="169" y="18"/>
                      <a:pt x="172" y="18"/>
                    </a:cubicBezTo>
                    <a:cubicBezTo>
                      <a:pt x="175" y="18"/>
                      <a:pt x="173" y="15"/>
                      <a:pt x="177" y="15"/>
                    </a:cubicBezTo>
                    <a:lnTo>
                      <a:pt x="177" y="16"/>
                    </a:lnTo>
                    <a:close/>
                    <a:moveTo>
                      <a:pt x="14" y="186"/>
                    </a:moveTo>
                    <a:cubicBezTo>
                      <a:pt x="15" y="187"/>
                      <a:pt x="14" y="188"/>
                      <a:pt x="14" y="188"/>
                    </a:cubicBezTo>
                    <a:cubicBezTo>
                      <a:pt x="14" y="190"/>
                      <a:pt x="14" y="190"/>
                      <a:pt x="14" y="190"/>
                    </a:cubicBezTo>
                    <a:cubicBezTo>
                      <a:pt x="15" y="190"/>
                      <a:pt x="16" y="190"/>
                      <a:pt x="17" y="190"/>
                    </a:cubicBezTo>
                    <a:cubicBezTo>
                      <a:pt x="17" y="190"/>
                      <a:pt x="17" y="188"/>
                      <a:pt x="17" y="188"/>
                    </a:cubicBezTo>
                    <a:cubicBezTo>
                      <a:pt x="20" y="187"/>
                      <a:pt x="15" y="186"/>
                      <a:pt x="14" y="186"/>
                    </a:cubicBezTo>
                    <a:close/>
                    <a:moveTo>
                      <a:pt x="8" y="183"/>
                    </a:moveTo>
                    <a:cubicBezTo>
                      <a:pt x="7" y="183"/>
                      <a:pt x="6" y="184"/>
                      <a:pt x="4" y="184"/>
                    </a:cubicBezTo>
                    <a:cubicBezTo>
                      <a:pt x="5" y="185"/>
                      <a:pt x="4" y="188"/>
                      <a:pt x="6" y="187"/>
                    </a:cubicBezTo>
                    <a:cubicBezTo>
                      <a:pt x="7" y="187"/>
                      <a:pt x="6" y="185"/>
                      <a:pt x="7" y="185"/>
                    </a:cubicBezTo>
                    <a:cubicBezTo>
                      <a:pt x="7" y="185"/>
                      <a:pt x="12" y="181"/>
                      <a:pt x="8" y="183"/>
                    </a:cubicBezTo>
                    <a:close/>
                    <a:moveTo>
                      <a:pt x="29" y="181"/>
                    </a:moveTo>
                    <a:cubicBezTo>
                      <a:pt x="29" y="183"/>
                      <a:pt x="29" y="184"/>
                      <a:pt x="29" y="185"/>
                    </a:cubicBezTo>
                    <a:cubicBezTo>
                      <a:pt x="28" y="186"/>
                      <a:pt x="28" y="186"/>
                      <a:pt x="28" y="186"/>
                    </a:cubicBezTo>
                    <a:cubicBezTo>
                      <a:pt x="26" y="187"/>
                      <a:pt x="28" y="187"/>
                      <a:pt x="29" y="187"/>
                    </a:cubicBezTo>
                    <a:cubicBezTo>
                      <a:pt x="29" y="186"/>
                      <a:pt x="30" y="183"/>
                      <a:pt x="31" y="181"/>
                    </a:cubicBezTo>
                    <a:cubicBezTo>
                      <a:pt x="30" y="181"/>
                      <a:pt x="29" y="182"/>
                      <a:pt x="29" y="181"/>
                    </a:cubicBezTo>
                    <a:close/>
                    <a:moveTo>
                      <a:pt x="0" y="180"/>
                    </a:moveTo>
                    <a:cubicBezTo>
                      <a:pt x="0" y="181"/>
                      <a:pt x="0" y="181"/>
                      <a:pt x="0" y="181"/>
                    </a:cubicBezTo>
                    <a:cubicBezTo>
                      <a:pt x="0" y="180"/>
                      <a:pt x="1" y="180"/>
                      <a:pt x="0" y="180"/>
                    </a:cubicBezTo>
                    <a:close/>
                    <a:moveTo>
                      <a:pt x="32" y="177"/>
                    </a:moveTo>
                    <a:cubicBezTo>
                      <a:pt x="32" y="179"/>
                      <a:pt x="32" y="179"/>
                      <a:pt x="32" y="179"/>
                    </a:cubicBezTo>
                    <a:cubicBezTo>
                      <a:pt x="34" y="179"/>
                      <a:pt x="34" y="179"/>
                      <a:pt x="34" y="179"/>
                    </a:cubicBezTo>
                    <a:cubicBezTo>
                      <a:pt x="33" y="178"/>
                      <a:pt x="34" y="177"/>
                      <a:pt x="32" y="177"/>
                    </a:cubicBezTo>
                    <a:close/>
                    <a:moveTo>
                      <a:pt x="163" y="53"/>
                    </a:moveTo>
                    <a:cubicBezTo>
                      <a:pt x="162" y="54"/>
                      <a:pt x="160" y="58"/>
                      <a:pt x="161" y="56"/>
                    </a:cubicBezTo>
                    <a:cubicBezTo>
                      <a:pt x="160" y="57"/>
                      <a:pt x="162" y="57"/>
                      <a:pt x="162" y="57"/>
                    </a:cubicBezTo>
                    <a:cubicBezTo>
                      <a:pt x="162" y="56"/>
                      <a:pt x="163" y="55"/>
                      <a:pt x="164" y="54"/>
                    </a:cubicBezTo>
                    <a:cubicBezTo>
                      <a:pt x="163" y="54"/>
                      <a:pt x="164" y="52"/>
                      <a:pt x="163" y="53"/>
                    </a:cubicBezTo>
                    <a:close/>
                    <a:moveTo>
                      <a:pt x="192" y="46"/>
                    </a:moveTo>
                    <a:cubicBezTo>
                      <a:pt x="191" y="48"/>
                      <a:pt x="191" y="48"/>
                      <a:pt x="191" y="48"/>
                    </a:cubicBezTo>
                    <a:cubicBezTo>
                      <a:pt x="198" y="50"/>
                      <a:pt x="195" y="47"/>
                      <a:pt x="195" y="47"/>
                    </a:cubicBezTo>
                    <a:cubicBezTo>
                      <a:pt x="195" y="46"/>
                      <a:pt x="195" y="46"/>
                      <a:pt x="195" y="46"/>
                    </a:cubicBezTo>
                    <a:cubicBezTo>
                      <a:pt x="194" y="46"/>
                      <a:pt x="193" y="46"/>
                      <a:pt x="192" y="46"/>
                    </a:cubicBezTo>
                    <a:close/>
                    <a:moveTo>
                      <a:pt x="179" y="46"/>
                    </a:moveTo>
                    <a:cubicBezTo>
                      <a:pt x="179" y="46"/>
                      <a:pt x="177" y="47"/>
                      <a:pt x="176" y="47"/>
                    </a:cubicBezTo>
                    <a:cubicBezTo>
                      <a:pt x="178" y="48"/>
                      <a:pt x="177" y="54"/>
                      <a:pt x="177" y="53"/>
                    </a:cubicBezTo>
                    <a:cubicBezTo>
                      <a:pt x="177" y="53"/>
                      <a:pt x="177" y="55"/>
                      <a:pt x="177" y="55"/>
                    </a:cubicBezTo>
                    <a:cubicBezTo>
                      <a:pt x="177" y="55"/>
                      <a:pt x="179" y="55"/>
                      <a:pt x="179" y="55"/>
                    </a:cubicBezTo>
                    <a:cubicBezTo>
                      <a:pt x="180" y="54"/>
                      <a:pt x="180" y="53"/>
                      <a:pt x="181" y="52"/>
                    </a:cubicBezTo>
                    <a:cubicBezTo>
                      <a:pt x="184" y="49"/>
                      <a:pt x="181" y="49"/>
                      <a:pt x="179" y="46"/>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90" name="Freeform 69">
                <a:extLst>
                  <a:ext uri="{FF2B5EF4-FFF2-40B4-BE49-F238E27FC236}">
                    <a16:creationId xmlns:a16="http://schemas.microsoft.com/office/drawing/2014/main" id="{A466C29E-49F7-6754-80E0-FA901C19B217}"/>
                  </a:ext>
                </a:extLst>
              </p:cNvPr>
              <p:cNvSpPr>
                <a:spLocks noEditPoints="1"/>
              </p:cNvSpPr>
              <p:nvPr/>
            </p:nvSpPr>
            <p:spPr bwMode="auto">
              <a:xfrm>
                <a:off x="2823" y="1289"/>
                <a:ext cx="388" cy="373"/>
              </a:xfrm>
              <a:custGeom>
                <a:avLst/>
                <a:gdLst>
                  <a:gd name="T0" fmla="*/ 178 w 198"/>
                  <a:gd name="T1" fmla="*/ 23 h 190"/>
                  <a:gd name="T2" fmla="*/ 170 w 198"/>
                  <a:gd name="T3" fmla="*/ 28 h 190"/>
                  <a:gd name="T4" fmla="*/ 165 w 198"/>
                  <a:gd name="T5" fmla="*/ 30 h 190"/>
                  <a:gd name="T6" fmla="*/ 157 w 198"/>
                  <a:gd name="T7" fmla="*/ 37 h 190"/>
                  <a:gd name="T8" fmla="*/ 154 w 198"/>
                  <a:gd name="T9" fmla="*/ 42 h 190"/>
                  <a:gd name="T10" fmla="*/ 149 w 198"/>
                  <a:gd name="T11" fmla="*/ 53 h 190"/>
                  <a:gd name="T12" fmla="*/ 152 w 198"/>
                  <a:gd name="T13" fmla="*/ 56 h 190"/>
                  <a:gd name="T14" fmla="*/ 146 w 198"/>
                  <a:gd name="T15" fmla="*/ 65 h 190"/>
                  <a:gd name="T16" fmla="*/ 143 w 198"/>
                  <a:gd name="T17" fmla="*/ 72 h 190"/>
                  <a:gd name="T18" fmla="*/ 131 w 198"/>
                  <a:gd name="T19" fmla="*/ 80 h 190"/>
                  <a:gd name="T20" fmla="*/ 123 w 198"/>
                  <a:gd name="T21" fmla="*/ 85 h 190"/>
                  <a:gd name="T22" fmla="*/ 112 w 198"/>
                  <a:gd name="T23" fmla="*/ 84 h 190"/>
                  <a:gd name="T24" fmla="*/ 107 w 198"/>
                  <a:gd name="T25" fmla="*/ 88 h 190"/>
                  <a:gd name="T26" fmla="*/ 102 w 198"/>
                  <a:gd name="T27" fmla="*/ 91 h 190"/>
                  <a:gd name="T28" fmla="*/ 87 w 198"/>
                  <a:gd name="T29" fmla="*/ 79 h 190"/>
                  <a:gd name="T30" fmla="*/ 86 w 198"/>
                  <a:gd name="T31" fmla="*/ 71 h 190"/>
                  <a:gd name="T32" fmla="*/ 87 w 198"/>
                  <a:gd name="T33" fmla="*/ 61 h 190"/>
                  <a:gd name="T34" fmla="*/ 88 w 198"/>
                  <a:gd name="T35" fmla="*/ 48 h 190"/>
                  <a:gd name="T36" fmla="*/ 88 w 198"/>
                  <a:gd name="T37" fmla="*/ 34 h 190"/>
                  <a:gd name="T38" fmla="*/ 90 w 198"/>
                  <a:gd name="T39" fmla="*/ 25 h 190"/>
                  <a:gd name="T40" fmla="*/ 81 w 198"/>
                  <a:gd name="T41" fmla="*/ 24 h 190"/>
                  <a:gd name="T42" fmla="*/ 74 w 198"/>
                  <a:gd name="T43" fmla="*/ 23 h 190"/>
                  <a:gd name="T44" fmla="*/ 75 w 198"/>
                  <a:gd name="T45" fmla="*/ 18 h 190"/>
                  <a:gd name="T46" fmla="*/ 71 w 198"/>
                  <a:gd name="T47" fmla="*/ 14 h 190"/>
                  <a:gd name="T48" fmla="*/ 69 w 198"/>
                  <a:gd name="T49" fmla="*/ 10 h 190"/>
                  <a:gd name="T50" fmla="*/ 73 w 198"/>
                  <a:gd name="T51" fmla="*/ 5 h 190"/>
                  <a:gd name="T52" fmla="*/ 79 w 198"/>
                  <a:gd name="T53" fmla="*/ 3 h 190"/>
                  <a:gd name="T54" fmla="*/ 91 w 198"/>
                  <a:gd name="T55" fmla="*/ 3 h 190"/>
                  <a:gd name="T56" fmla="*/ 112 w 198"/>
                  <a:gd name="T57" fmla="*/ 4 h 190"/>
                  <a:gd name="T58" fmla="*/ 127 w 198"/>
                  <a:gd name="T59" fmla="*/ 5 h 190"/>
                  <a:gd name="T60" fmla="*/ 135 w 198"/>
                  <a:gd name="T61" fmla="*/ 6 h 190"/>
                  <a:gd name="T62" fmla="*/ 141 w 198"/>
                  <a:gd name="T63" fmla="*/ 11 h 190"/>
                  <a:gd name="T64" fmla="*/ 151 w 198"/>
                  <a:gd name="T65" fmla="*/ 16 h 190"/>
                  <a:gd name="T66" fmla="*/ 163 w 198"/>
                  <a:gd name="T67" fmla="*/ 17 h 190"/>
                  <a:gd name="T68" fmla="*/ 167 w 198"/>
                  <a:gd name="T69" fmla="*/ 18 h 190"/>
                  <a:gd name="T70" fmla="*/ 177 w 198"/>
                  <a:gd name="T71" fmla="*/ 15 h 190"/>
                  <a:gd name="T72" fmla="*/ 14 w 198"/>
                  <a:gd name="T73" fmla="*/ 186 h 190"/>
                  <a:gd name="T74" fmla="*/ 14 w 198"/>
                  <a:gd name="T75" fmla="*/ 190 h 190"/>
                  <a:gd name="T76" fmla="*/ 17 w 198"/>
                  <a:gd name="T77" fmla="*/ 188 h 190"/>
                  <a:gd name="T78" fmla="*/ 8 w 198"/>
                  <a:gd name="T79" fmla="*/ 183 h 190"/>
                  <a:gd name="T80" fmla="*/ 6 w 198"/>
                  <a:gd name="T81" fmla="*/ 187 h 190"/>
                  <a:gd name="T82" fmla="*/ 8 w 198"/>
                  <a:gd name="T83" fmla="*/ 183 h 190"/>
                  <a:gd name="T84" fmla="*/ 29 w 198"/>
                  <a:gd name="T85" fmla="*/ 185 h 190"/>
                  <a:gd name="T86" fmla="*/ 29 w 198"/>
                  <a:gd name="T87" fmla="*/ 187 h 190"/>
                  <a:gd name="T88" fmla="*/ 29 w 198"/>
                  <a:gd name="T89" fmla="*/ 181 h 190"/>
                  <a:gd name="T90" fmla="*/ 0 w 198"/>
                  <a:gd name="T91" fmla="*/ 181 h 190"/>
                  <a:gd name="T92" fmla="*/ 32 w 198"/>
                  <a:gd name="T93" fmla="*/ 177 h 190"/>
                  <a:gd name="T94" fmla="*/ 34 w 198"/>
                  <a:gd name="T95" fmla="*/ 179 h 190"/>
                  <a:gd name="T96" fmla="*/ 163 w 198"/>
                  <a:gd name="T97" fmla="*/ 53 h 190"/>
                  <a:gd name="T98" fmla="*/ 162 w 198"/>
                  <a:gd name="T99" fmla="*/ 57 h 190"/>
                  <a:gd name="T100" fmla="*/ 163 w 198"/>
                  <a:gd name="T101" fmla="*/ 53 h 190"/>
                  <a:gd name="T102" fmla="*/ 191 w 198"/>
                  <a:gd name="T103" fmla="*/ 48 h 190"/>
                  <a:gd name="T104" fmla="*/ 195 w 198"/>
                  <a:gd name="T105" fmla="*/ 46 h 190"/>
                  <a:gd name="T106" fmla="*/ 179 w 198"/>
                  <a:gd name="T107" fmla="*/ 46 h 190"/>
                  <a:gd name="T108" fmla="*/ 177 w 198"/>
                  <a:gd name="T109" fmla="*/ 53 h 190"/>
                  <a:gd name="T110" fmla="*/ 179 w 198"/>
                  <a:gd name="T111" fmla="*/ 55 h 190"/>
                  <a:gd name="T112" fmla="*/ 179 w 198"/>
                  <a:gd name="T113" fmla="*/ 4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8" h="190">
                    <a:moveTo>
                      <a:pt x="177" y="16"/>
                    </a:moveTo>
                    <a:cubicBezTo>
                      <a:pt x="177" y="16"/>
                      <a:pt x="179" y="22"/>
                      <a:pt x="178" y="23"/>
                    </a:cubicBezTo>
                    <a:cubicBezTo>
                      <a:pt x="178" y="23"/>
                      <a:pt x="174" y="27"/>
                      <a:pt x="173" y="27"/>
                    </a:cubicBezTo>
                    <a:cubicBezTo>
                      <a:pt x="172" y="28"/>
                      <a:pt x="171" y="27"/>
                      <a:pt x="170" y="28"/>
                    </a:cubicBezTo>
                    <a:cubicBezTo>
                      <a:pt x="169" y="28"/>
                      <a:pt x="170" y="30"/>
                      <a:pt x="169" y="30"/>
                    </a:cubicBezTo>
                    <a:cubicBezTo>
                      <a:pt x="168" y="31"/>
                      <a:pt x="167" y="30"/>
                      <a:pt x="165" y="30"/>
                    </a:cubicBezTo>
                    <a:cubicBezTo>
                      <a:pt x="163" y="32"/>
                      <a:pt x="161" y="35"/>
                      <a:pt x="160" y="36"/>
                    </a:cubicBezTo>
                    <a:cubicBezTo>
                      <a:pt x="159" y="37"/>
                      <a:pt x="158" y="37"/>
                      <a:pt x="157" y="37"/>
                    </a:cubicBezTo>
                    <a:cubicBezTo>
                      <a:pt x="157" y="38"/>
                      <a:pt x="157" y="40"/>
                      <a:pt x="157" y="40"/>
                    </a:cubicBezTo>
                    <a:cubicBezTo>
                      <a:pt x="156" y="41"/>
                      <a:pt x="154" y="41"/>
                      <a:pt x="154" y="42"/>
                    </a:cubicBezTo>
                    <a:cubicBezTo>
                      <a:pt x="153" y="43"/>
                      <a:pt x="153" y="46"/>
                      <a:pt x="152" y="47"/>
                    </a:cubicBezTo>
                    <a:cubicBezTo>
                      <a:pt x="151" y="48"/>
                      <a:pt x="145" y="51"/>
                      <a:pt x="149" y="53"/>
                    </a:cubicBezTo>
                    <a:cubicBezTo>
                      <a:pt x="149" y="53"/>
                      <a:pt x="149" y="55"/>
                      <a:pt x="149" y="55"/>
                    </a:cubicBezTo>
                    <a:cubicBezTo>
                      <a:pt x="149" y="55"/>
                      <a:pt x="152" y="56"/>
                      <a:pt x="152" y="56"/>
                    </a:cubicBezTo>
                    <a:cubicBezTo>
                      <a:pt x="152" y="57"/>
                      <a:pt x="152" y="58"/>
                      <a:pt x="152" y="58"/>
                    </a:cubicBezTo>
                    <a:cubicBezTo>
                      <a:pt x="149" y="61"/>
                      <a:pt x="148" y="62"/>
                      <a:pt x="146" y="65"/>
                    </a:cubicBezTo>
                    <a:cubicBezTo>
                      <a:pt x="146" y="66"/>
                      <a:pt x="143" y="67"/>
                      <a:pt x="143" y="67"/>
                    </a:cubicBezTo>
                    <a:cubicBezTo>
                      <a:pt x="142" y="69"/>
                      <a:pt x="144" y="71"/>
                      <a:pt x="143" y="72"/>
                    </a:cubicBezTo>
                    <a:cubicBezTo>
                      <a:pt x="142" y="74"/>
                      <a:pt x="140" y="73"/>
                      <a:pt x="138" y="74"/>
                    </a:cubicBezTo>
                    <a:cubicBezTo>
                      <a:pt x="136" y="74"/>
                      <a:pt x="131" y="78"/>
                      <a:pt x="131" y="80"/>
                    </a:cubicBezTo>
                    <a:cubicBezTo>
                      <a:pt x="129" y="82"/>
                      <a:pt x="130" y="84"/>
                      <a:pt x="128" y="85"/>
                    </a:cubicBezTo>
                    <a:cubicBezTo>
                      <a:pt x="127" y="86"/>
                      <a:pt x="125" y="85"/>
                      <a:pt x="123" y="85"/>
                    </a:cubicBezTo>
                    <a:cubicBezTo>
                      <a:pt x="122" y="86"/>
                      <a:pt x="122" y="86"/>
                      <a:pt x="122" y="86"/>
                    </a:cubicBezTo>
                    <a:cubicBezTo>
                      <a:pt x="121" y="87"/>
                      <a:pt x="114" y="85"/>
                      <a:pt x="112" y="84"/>
                    </a:cubicBezTo>
                    <a:cubicBezTo>
                      <a:pt x="111" y="85"/>
                      <a:pt x="111" y="87"/>
                      <a:pt x="111" y="87"/>
                    </a:cubicBezTo>
                    <a:cubicBezTo>
                      <a:pt x="109" y="88"/>
                      <a:pt x="108" y="87"/>
                      <a:pt x="107" y="88"/>
                    </a:cubicBezTo>
                    <a:cubicBezTo>
                      <a:pt x="105" y="88"/>
                      <a:pt x="103" y="90"/>
                      <a:pt x="102" y="90"/>
                    </a:cubicBezTo>
                    <a:cubicBezTo>
                      <a:pt x="102" y="91"/>
                      <a:pt x="102" y="91"/>
                      <a:pt x="102" y="91"/>
                    </a:cubicBezTo>
                    <a:cubicBezTo>
                      <a:pt x="101" y="91"/>
                      <a:pt x="100" y="90"/>
                      <a:pt x="99" y="90"/>
                    </a:cubicBezTo>
                    <a:cubicBezTo>
                      <a:pt x="96" y="87"/>
                      <a:pt x="93" y="79"/>
                      <a:pt x="87" y="79"/>
                    </a:cubicBezTo>
                    <a:cubicBezTo>
                      <a:pt x="87" y="78"/>
                      <a:pt x="87" y="76"/>
                      <a:pt x="89" y="73"/>
                    </a:cubicBezTo>
                    <a:cubicBezTo>
                      <a:pt x="90" y="71"/>
                      <a:pt x="88" y="73"/>
                      <a:pt x="86" y="71"/>
                    </a:cubicBezTo>
                    <a:cubicBezTo>
                      <a:pt x="84" y="68"/>
                      <a:pt x="86" y="68"/>
                      <a:pt x="87" y="65"/>
                    </a:cubicBezTo>
                    <a:cubicBezTo>
                      <a:pt x="88" y="61"/>
                      <a:pt x="88" y="64"/>
                      <a:pt x="87" y="61"/>
                    </a:cubicBezTo>
                    <a:cubicBezTo>
                      <a:pt x="83" y="56"/>
                      <a:pt x="86" y="57"/>
                      <a:pt x="88" y="54"/>
                    </a:cubicBezTo>
                    <a:cubicBezTo>
                      <a:pt x="89" y="52"/>
                      <a:pt x="88" y="51"/>
                      <a:pt x="88" y="48"/>
                    </a:cubicBezTo>
                    <a:cubicBezTo>
                      <a:pt x="88" y="45"/>
                      <a:pt x="86" y="46"/>
                      <a:pt x="89" y="43"/>
                    </a:cubicBezTo>
                    <a:cubicBezTo>
                      <a:pt x="91" y="42"/>
                      <a:pt x="90" y="38"/>
                      <a:pt x="88" y="34"/>
                    </a:cubicBezTo>
                    <a:cubicBezTo>
                      <a:pt x="86" y="31"/>
                      <a:pt x="89" y="32"/>
                      <a:pt x="91" y="28"/>
                    </a:cubicBezTo>
                    <a:cubicBezTo>
                      <a:pt x="93" y="24"/>
                      <a:pt x="92" y="25"/>
                      <a:pt x="90" y="25"/>
                    </a:cubicBezTo>
                    <a:cubicBezTo>
                      <a:pt x="88" y="24"/>
                      <a:pt x="90" y="23"/>
                      <a:pt x="87" y="23"/>
                    </a:cubicBezTo>
                    <a:cubicBezTo>
                      <a:pt x="84" y="23"/>
                      <a:pt x="85" y="23"/>
                      <a:pt x="81" y="24"/>
                    </a:cubicBezTo>
                    <a:cubicBezTo>
                      <a:pt x="77" y="24"/>
                      <a:pt x="80" y="24"/>
                      <a:pt x="79" y="22"/>
                    </a:cubicBezTo>
                    <a:cubicBezTo>
                      <a:pt x="78" y="20"/>
                      <a:pt x="74" y="23"/>
                      <a:pt x="74" y="23"/>
                    </a:cubicBezTo>
                    <a:cubicBezTo>
                      <a:pt x="73" y="23"/>
                      <a:pt x="71" y="22"/>
                      <a:pt x="72" y="21"/>
                    </a:cubicBezTo>
                    <a:cubicBezTo>
                      <a:pt x="73" y="20"/>
                      <a:pt x="74" y="19"/>
                      <a:pt x="75" y="18"/>
                    </a:cubicBezTo>
                    <a:cubicBezTo>
                      <a:pt x="75" y="17"/>
                      <a:pt x="73" y="18"/>
                      <a:pt x="73" y="17"/>
                    </a:cubicBezTo>
                    <a:cubicBezTo>
                      <a:pt x="72" y="15"/>
                      <a:pt x="73" y="15"/>
                      <a:pt x="71" y="14"/>
                    </a:cubicBezTo>
                    <a:cubicBezTo>
                      <a:pt x="70" y="14"/>
                      <a:pt x="72" y="13"/>
                      <a:pt x="71" y="12"/>
                    </a:cubicBezTo>
                    <a:cubicBezTo>
                      <a:pt x="69" y="10"/>
                      <a:pt x="69" y="10"/>
                      <a:pt x="69" y="10"/>
                    </a:cubicBezTo>
                    <a:cubicBezTo>
                      <a:pt x="68" y="8"/>
                      <a:pt x="70" y="9"/>
                      <a:pt x="69" y="7"/>
                    </a:cubicBezTo>
                    <a:cubicBezTo>
                      <a:pt x="70" y="7"/>
                      <a:pt x="73" y="5"/>
                      <a:pt x="73" y="5"/>
                    </a:cubicBezTo>
                    <a:cubicBezTo>
                      <a:pt x="75" y="4"/>
                      <a:pt x="77" y="6"/>
                      <a:pt x="79" y="5"/>
                    </a:cubicBezTo>
                    <a:cubicBezTo>
                      <a:pt x="79" y="5"/>
                      <a:pt x="79" y="3"/>
                      <a:pt x="79" y="3"/>
                    </a:cubicBezTo>
                    <a:cubicBezTo>
                      <a:pt x="81" y="2"/>
                      <a:pt x="84" y="0"/>
                      <a:pt x="86" y="0"/>
                    </a:cubicBezTo>
                    <a:cubicBezTo>
                      <a:pt x="89" y="0"/>
                      <a:pt x="90" y="3"/>
                      <a:pt x="91" y="3"/>
                    </a:cubicBezTo>
                    <a:cubicBezTo>
                      <a:pt x="92" y="3"/>
                      <a:pt x="98" y="2"/>
                      <a:pt x="99" y="2"/>
                    </a:cubicBezTo>
                    <a:cubicBezTo>
                      <a:pt x="105" y="2"/>
                      <a:pt x="107" y="4"/>
                      <a:pt x="112" y="4"/>
                    </a:cubicBezTo>
                    <a:cubicBezTo>
                      <a:pt x="114" y="4"/>
                      <a:pt x="119" y="3"/>
                      <a:pt x="121" y="3"/>
                    </a:cubicBezTo>
                    <a:cubicBezTo>
                      <a:pt x="122" y="3"/>
                      <a:pt x="126" y="4"/>
                      <a:pt x="127" y="5"/>
                    </a:cubicBezTo>
                    <a:cubicBezTo>
                      <a:pt x="127" y="5"/>
                      <a:pt x="128" y="6"/>
                      <a:pt x="128" y="7"/>
                    </a:cubicBezTo>
                    <a:cubicBezTo>
                      <a:pt x="130" y="7"/>
                      <a:pt x="133" y="7"/>
                      <a:pt x="135" y="6"/>
                    </a:cubicBezTo>
                    <a:cubicBezTo>
                      <a:pt x="135" y="6"/>
                      <a:pt x="137" y="8"/>
                      <a:pt x="137" y="10"/>
                    </a:cubicBezTo>
                    <a:cubicBezTo>
                      <a:pt x="138" y="12"/>
                      <a:pt x="138" y="11"/>
                      <a:pt x="141" y="11"/>
                    </a:cubicBezTo>
                    <a:cubicBezTo>
                      <a:pt x="144" y="12"/>
                      <a:pt x="143" y="13"/>
                      <a:pt x="146" y="13"/>
                    </a:cubicBezTo>
                    <a:cubicBezTo>
                      <a:pt x="149" y="13"/>
                      <a:pt x="149" y="16"/>
                      <a:pt x="151" y="16"/>
                    </a:cubicBezTo>
                    <a:cubicBezTo>
                      <a:pt x="153" y="16"/>
                      <a:pt x="154" y="14"/>
                      <a:pt x="157" y="15"/>
                    </a:cubicBezTo>
                    <a:cubicBezTo>
                      <a:pt x="160" y="17"/>
                      <a:pt x="163" y="17"/>
                      <a:pt x="163" y="17"/>
                    </a:cubicBezTo>
                    <a:cubicBezTo>
                      <a:pt x="164" y="19"/>
                      <a:pt x="164" y="19"/>
                      <a:pt x="164" y="19"/>
                    </a:cubicBezTo>
                    <a:cubicBezTo>
                      <a:pt x="167" y="18"/>
                      <a:pt x="167" y="18"/>
                      <a:pt x="167" y="18"/>
                    </a:cubicBezTo>
                    <a:cubicBezTo>
                      <a:pt x="169" y="19"/>
                      <a:pt x="169" y="18"/>
                      <a:pt x="172" y="18"/>
                    </a:cubicBezTo>
                    <a:cubicBezTo>
                      <a:pt x="175" y="18"/>
                      <a:pt x="173" y="15"/>
                      <a:pt x="177" y="15"/>
                    </a:cubicBezTo>
                    <a:lnTo>
                      <a:pt x="177" y="16"/>
                    </a:lnTo>
                    <a:close/>
                    <a:moveTo>
                      <a:pt x="14" y="186"/>
                    </a:moveTo>
                    <a:cubicBezTo>
                      <a:pt x="15" y="187"/>
                      <a:pt x="14" y="188"/>
                      <a:pt x="14" y="188"/>
                    </a:cubicBezTo>
                    <a:cubicBezTo>
                      <a:pt x="14" y="190"/>
                      <a:pt x="14" y="190"/>
                      <a:pt x="14" y="190"/>
                    </a:cubicBezTo>
                    <a:cubicBezTo>
                      <a:pt x="15" y="190"/>
                      <a:pt x="16" y="190"/>
                      <a:pt x="17" y="190"/>
                    </a:cubicBezTo>
                    <a:cubicBezTo>
                      <a:pt x="17" y="190"/>
                      <a:pt x="17" y="188"/>
                      <a:pt x="17" y="188"/>
                    </a:cubicBezTo>
                    <a:cubicBezTo>
                      <a:pt x="20" y="187"/>
                      <a:pt x="15" y="186"/>
                      <a:pt x="14" y="186"/>
                    </a:cubicBezTo>
                    <a:close/>
                    <a:moveTo>
                      <a:pt x="8" y="183"/>
                    </a:moveTo>
                    <a:cubicBezTo>
                      <a:pt x="7" y="183"/>
                      <a:pt x="6" y="184"/>
                      <a:pt x="4" y="184"/>
                    </a:cubicBezTo>
                    <a:cubicBezTo>
                      <a:pt x="5" y="185"/>
                      <a:pt x="4" y="188"/>
                      <a:pt x="6" y="187"/>
                    </a:cubicBezTo>
                    <a:cubicBezTo>
                      <a:pt x="7" y="187"/>
                      <a:pt x="6" y="185"/>
                      <a:pt x="7" y="185"/>
                    </a:cubicBezTo>
                    <a:cubicBezTo>
                      <a:pt x="7" y="185"/>
                      <a:pt x="12" y="181"/>
                      <a:pt x="8" y="183"/>
                    </a:cubicBezTo>
                    <a:close/>
                    <a:moveTo>
                      <a:pt x="29" y="181"/>
                    </a:moveTo>
                    <a:cubicBezTo>
                      <a:pt x="29" y="183"/>
                      <a:pt x="29" y="184"/>
                      <a:pt x="29" y="185"/>
                    </a:cubicBezTo>
                    <a:cubicBezTo>
                      <a:pt x="28" y="186"/>
                      <a:pt x="28" y="186"/>
                      <a:pt x="28" y="186"/>
                    </a:cubicBezTo>
                    <a:cubicBezTo>
                      <a:pt x="26" y="187"/>
                      <a:pt x="28" y="187"/>
                      <a:pt x="29" y="187"/>
                    </a:cubicBezTo>
                    <a:cubicBezTo>
                      <a:pt x="29" y="186"/>
                      <a:pt x="30" y="183"/>
                      <a:pt x="31" y="181"/>
                    </a:cubicBezTo>
                    <a:cubicBezTo>
                      <a:pt x="30" y="181"/>
                      <a:pt x="29" y="182"/>
                      <a:pt x="29" y="181"/>
                    </a:cubicBezTo>
                    <a:close/>
                    <a:moveTo>
                      <a:pt x="0" y="180"/>
                    </a:moveTo>
                    <a:cubicBezTo>
                      <a:pt x="0" y="181"/>
                      <a:pt x="0" y="181"/>
                      <a:pt x="0" y="181"/>
                    </a:cubicBezTo>
                    <a:cubicBezTo>
                      <a:pt x="0" y="180"/>
                      <a:pt x="1" y="180"/>
                      <a:pt x="0" y="180"/>
                    </a:cubicBezTo>
                    <a:close/>
                    <a:moveTo>
                      <a:pt x="32" y="177"/>
                    </a:moveTo>
                    <a:cubicBezTo>
                      <a:pt x="32" y="179"/>
                      <a:pt x="32" y="179"/>
                      <a:pt x="32" y="179"/>
                    </a:cubicBezTo>
                    <a:cubicBezTo>
                      <a:pt x="34" y="179"/>
                      <a:pt x="34" y="179"/>
                      <a:pt x="34" y="179"/>
                    </a:cubicBezTo>
                    <a:cubicBezTo>
                      <a:pt x="33" y="178"/>
                      <a:pt x="34" y="177"/>
                      <a:pt x="32" y="177"/>
                    </a:cubicBezTo>
                    <a:close/>
                    <a:moveTo>
                      <a:pt x="163" y="53"/>
                    </a:moveTo>
                    <a:cubicBezTo>
                      <a:pt x="162" y="54"/>
                      <a:pt x="160" y="58"/>
                      <a:pt x="161" y="56"/>
                    </a:cubicBezTo>
                    <a:cubicBezTo>
                      <a:pt x="160" y="57"/>
                      <a:pt x="162" y="57"/>
                      <a:pt x="162" y="57"/>
                    </a:cubicBezTo>
                    <a:cubicBezTo>
                      <a:pt x="162" y="56"/>
                      <a:pt x="163" y="55"/>
                      <a:pt x="164" y="54"/>
                    </a:cubicBezTo>
                    <a:cubicBezTo>
                      <a:pt x="163" y="54"/>
                      <a:pt x="164" y="52"/>
                      <a:pt x="163" y="53"/>
                    </a:cubicBezTo>
                    <a:close/>
                    <a:moveTo>
                      <a:pt x="192" y="46"/>
                    </a:moveTo>
                    <a:cubicBezTo>
                      <a:pt x="191" y="48"/>
                      <a:pt x="191" y="48"/>
                      <a:pt x="191" y="48"/>
                    </a:cubicBezTo>
                    <a:cubicBezTo>
                      <a:pt x="198" y="50"/>
                      <a:pt x="195" y="47"/>
                      <a:pt x="195" y="47"/>
                    </a:cubicBezTo>
                    <a:cubicBezTo>
                      <a:pt x="195" y="46"/>
                      <a:pt x="195" y="46"/>
                      <a:pt x="195" y="46"/>
                    </a:cubicBezTo>
                    <a:cubicBezTo>
                      <a:pt x="194" y="46"/>
                      <a:pt x="193" y="46"/>
                      <a:pt x="192" y="46"/>
                    </a:cubicBezTo>
                    <a:close/>
                    <a:moveTo>
                      <a:pt x="179" y="46"/>
                    </a:moveTo>
                    <a:cubicBezTo>
                      <a:pt x="179" y="46"/>
                      <a:pt x="177" y="47"/>
                      <a:pt x="176" y="47"/>
                    </a:cubicBezTo>
                    <a:cubicBezTo>
                      <a:pt x="178" y="48"/>
                      <a:pt x="177" y="54"/>
                      <a:pt x="177" y="53"/>
                    </a:cubicBezTo>
                    <a:cubicBezTo>
                      <a:pt x="177" y="53"/>
                      <a:pt x="177" y="55"/>
                      <a:pt x="177" y="55"/>
                    </a:cubicBezTo>
                    <a:cubicBezTo>
                      <a:pt x="177" y="55"/>
                      <a:pt x="179" y="55"/>
                      <a:pt x="179" y="55"/>
                    </a:cubicBezTo>
                    <a:cubicBezTo>
                      <a:pt x="180" y="54"/>
                      <a:pt x="180" y="53"/>
                      <a:pt x="181" y="52"/>
                    </a:cubicBezTo>
                    <a:cubicBezTo>
                      <a:pt x="184" y="49"/>
                      <a:pt x="181" y="49"/>
                      <a:pt x="179" y="46"/>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91" name="Freeform 70">
                <a:extLst>
                  <a:ext uri="{FF2B5EF4-FFF2-40B4-BE49-F238E27FC236}">
                    <a16:creationId xmlns:a16="http://schemas.microsoft.com/office/drawing/2014/main" id="{F5CA1366-3AC7-09FA-679F-771C3F369464}"/>
                  </a:ext>
                </a:extLst>
              </p:cNvPr>
              <p:cNvSpPr>
                <a:spLocks noEditPoints="1"/>
              </p:cNvSpPr>
              <p:nvPr/>
            </p:nvSpPr>
            <p:spPr bwMode="auto">
              <a:xfrm>
                <a:off x="5247" y="1424"/>
                <a:ext cx="57" cy="118"/>
              </a:xfrm>
              <a:custGeom>
                <a:avLst/>
                <a:gdLst>
                  <a:gd name="T0" fmla="*/ 6 w 29"/>
                  <a:gd name="T1" fmla="*/ 6 h 60"/>
                  <a:gd name="T2" fmla="*/ 7 w 29"/>
                  <a:gd name="T3" fmla="*/ 13 h 60"/>
                  <a:gd name="T4" fmla="*/ 9 w 29"/>
                  <a:gd name="T5" fmla="*/ 13 h 60"/>
                  <a:gd name="T6" fmla="*/ 8 w 29"/>
                  <a:gd name="T7" fmla="*/ 15 h 60"/>
                  <a:gd name="T8" fmla="*/ 5 w 29"/>
                  <a:gd name="T9" fmla="*/ 15 h 60"/>
                  <a:gd name="T10" fmla="*/ 5 w 29"/>
                  <a:gd name="T11" fmla="*/ 17 h 60"/>
                  <a:gd name="T12" fmla="*/ 8 w 29"/>
                  <a:gd name="T13" fmla="*/ 21 h 60"/>
                  <a:gd name="T14" fmla="*/ 6 w 29"/>
                  <a:gd name="T15" fmla="*/ 24 h 60"/>
                  <a:gd name="T16" fmla="*/ 9 w 29"/>
                  <a:gd name="T17" fmla="*/ 28 h 60"/>
                  <a:gd name="T18" fmla="*/ 5 w 29"/>
                  <a:gd name="T19" fmla="*/ 33 h 60"/>
                  <a:gd name="T20" fmla="*/ 5 w 29"/>
                  <a:gd name="T21" fmla="*/ 38 h 60"/>
                  <a:gd name="T22" fmla="*/ 3 w 29"/>
                  <a:gd name="T23" fmla="*/ 41 h 60"/>
                  <a:gd name="T24" fmla="*/ 4 w 29"/>
                  <a:gd name="T25" fmla="*/ 45 h 60"/>
                  <a:gd name="T26" fmla="*/ 3 w 29"/>
                  <a:gd name="T27" fmla="*/ 47 h 60"/>
                  <a:gd name="T28" fmla="*/ 7 w 29"/>
                  <a:gd name="T29" fmla="*/ 48 h 60"/>
                  <a:gd name="T30" fmla="*/ 7 w 29"/>
                  <a:gd name="T31" fmla="*/ 47 h 60"/>
                  <a:gd name="T32" fmla="*/ 11 w 29"/>
                  <a:gd name="T33" fmla="*/ 45 h 60"/>
                  <a:gd name="T34" fmla="*/ 11 w 29"/>
                  <a:gd name="T35" fmla="*/ 43 h 60"/>
                  <a:gd name="T36" fmla="*/ 21 w 29"/>
                  <a:gd name="T37" fmla="*/ 41 h 60"/>
                  <a:gd name="T38" fmla="*/ 22 w 29"/>
                  <a:gd name="T39" fmla="*/ 37 h 60"/>
                  <a:gd name="T40" fmla="*/ 27 w 29"/>
                  <a:gd name="T41" fmla="*/ 36 h 60"/>
                  <a:gd name="T42" fmla="*/ 29 w 29"/>
                  <a:gd name="T43" fmla="*/ 15 h 60"/>
                  <a:gd name="T44" fmla="*/ 25 w 29"/>
                  <a:gd name="T45" fmla="*/ 10 h 60"/>
                  <a:gd name="T46" fmla="*/ 25 w 29"/>
                  <a:gd name="T47" fmla="*/ 7 h 60"/>
                  <a:gd name="T48" fmla="*/ 21 w 29"/>
                  <a:gd name="T49" fmla="*/ 5 h 60"/>
                  <a:gd name="T50" fmla="*/ 22 w 29"/>
                  <a:gd name="T51" fmla="*/ 2 h 60"/>
                  <a:gd name="T52" fmla="*/ 21 w 29"/>
                  <a:gd name="T53" fmla="*/ 1 h 60"/>
                  <a:gd name="T54" fmla="*/ 17 w 29"/>
                  <a:gd name="T55" fmla="*/ 2 h 60"/>
                  <a:gd name="T56" fmla="*/ 12 w 29"/>
                  <a:gd name="T57" fmla="*/ 0 h 60"/>
                  <a:gd name="T58" fmla="*/ 10 w 29"/>
                  <a:gd name="T59" fmla="*/ 1 h 60"/>
                  <a:gd name="T60" fmla="*/ 5 w 29"/>
                  <a:gd name="T61" fmla="*/ 6 h 60"/>
                  <a:gd name="T62" fmla="*/ 6 w 29"/>
                  <a:gd name="T63" fmla="*/ 6 h 60"/>
                  <a:gd name="T64" fmla="*/ 3 w 29"/>
                  <a:gd name="T65" fmla="*/ 57 h 60"/>
                  <a:gd name="T66" fmla="*/ 0 w 29"/>
                  <a:gd name="T67" fmla="*/ 59 h 60"/>
                  <a:gd name="T68" fmla="*/ 1 w 29"/>
                  <a:gd name="T69" fmla="*/ 60 h 60"/>
                  <a:gd name="T70" fmla="*/ 3 w 29"/>
                  <a:gd name="T71" fmla="*/ 60 h 60"/>
                  <a:gd name="T72" fmla="*/ 3 w 29"/>
                  <a:gd name="T73" fmla="*/ 57 h 60"/>
                  <a:gd name="T74" fmla="*/ 1 w 29"/>
                  <a:gd name="T75" fmla="*/ 16 h 60"/>
                  <a:gd name="T76" fmla="*/ 1 w 29"/>
                  <a:gd name="T77" fmla="*/ 19 h 60"/>
                  <a:gd name="T78" fmla="*/ 1 w 29"/>
                  <a:gd name="T79" fmla="*/ 1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 h="60">
                    <a:moveTo>
                      <a:pt x="6" y="6"/>
                    </a:moveTo>
                    <a:cubicBezTo>
                      <a:pt x="6" y="8"/>
                      <a:pt x="7" y="10"/>
                      <a:pt x="7" y="13"/>
                    </a:cubicBezTo>
                    <a:cubicBezTo>
                      <a:pt x="9" y="13"/>
                      <a:pt x="9" y="13"/>
                      <a:pt x="9" y="13"/>
                    </a:cubicBezTo>
                    <a:cubicBezTo>
                      <a:pt x="9" y="14"/>
                      <a:pt x="8" y="15"/>
                      <a:pt x="8" y="15"/>
                    </a:cubicBezTo>
                    <a:cubicBezTo>
                      <a:pt x="7" y="15"/>
                      <a:pt x="6" y="15"/>
                      <a:pt x="5" y="15"/>
                    </a:cubicBezTo>
                    <a:cubicBezTo>
                      <a:pt x="5" y="15"/>
                      <a:pt x="5" y="17"/>
                      <a:pt x="5" y="17"/>
                    </a:cubicBezTo>
                    <a:cubicBezTo>
                      <a:pt x="6" y="18"/>
                      <a:pt x="8" y="20"/>
                      <a:pt x="8" y="21"/>
                    </a:cubicBezTo>
                    <a:cubicBezTo>
                      <a:pt x="8" y="21"/>
                      <a:pt x="5" y="23"/>
                      <a:pt x="6" y="24"/>
                    </a:cubicBezTo>
                    <a:cubicBezTo>
                      <a:pt x="6" y="24"/>
                      <a:pt x="9" y="28"/>
                      <a:pt x="9" y="28"/>
                    </a:cubicBezTo>
                    <a:cubicBezTo>
                      <a:pt x="9" y="29"/>
                      <a:pt x="5" y="32"/>
                      <a:pt x="5" y="33"/>
                    </a:cubicBezTo>
                    <a:cubicBezTo>
                      <a:pt x="4" y="35"/>
                      <a:pt x="6" y="36"/>
                      <a:pt x="5" y="38"/>
                    </a:cubicBezTo>
                    <a:cubicBezTo>
                      <a:pt x="5" y="39"/>
                      <a:pt x="3" y="41"/>
                      <a:pt x="3" y="41"/>
                    </a:cubicBezTo>
                    <a:cubicBezTo>
                      <a:pt x="3" y="43"/>
                      <a:pt x="4" y="44"/>
                      <a:pt x="4" y="45"/>
                    </a:cubicBezTo>
                    <a:cubicBezTo>
                      <a:pt x="4" y="45"/>
                      <a:pt x="3" y="45"/>
                      <a:pt x="3" y="47"/>
                    </a:cubicBezTo>
                    <a:cubicBezTo>
                      <a:pt x="4" y="47"/>
                      <a:pt x="4" y="48"/>
                      <a:pt x="7" y="48"/>
                    </a:cubicBezTo>
                    <a:cubicBezTo>
                      <a:pt x="7" y="47"/>
                      <a:pt x="7" y="47"/>
                      <a:pt x="7" y="47"/>
                    </a:cubicBezTo>
                    <a:cubicBezTo>
                      <a:pt x="8" y="47"/>
                      <a:pt x="10" y="46"/>
                      <a:pt x="11" y="45"/>
                    </a:cubicBezTo>
                    <a:cubicBezTo>
                      <a:pt x="11" y="45"/>
                      <a:pt x="11" y="43"/>
                      <a:pt x="11" y="43"/>
                    </a:cubicBezTo>
                    <a:cubicBezTo>
                      <a:pt x="14" y="41"/>
                      <a:pt x="18" y="41"/>
                      <a:pt x="21" y="41"/>
                    </a:cubicBezTo>
                    <a:cubicBezTo>
                      <a:pt x="21" y="40"/>
                      <a:pt x="21" y="38"/>
                      <a:pt x="22" y="37"/>
                    </a:cubicBezTo>
                    <a:cubicBezTo>
                      <a:pt x="24" y="36"/>
                      <a:pt x="26" y="37"/>
                      <a:pt x="27" y="36"/>
                    </a:cubicBezTo>
                    <a:cubicBezTo>
                      <a:pt x="29" y="35"/>
                      <a:pt x="29" y="17"/>
                      <a:pt x="29" y="15"/>
                    </a:cubicBezTo>
                    <a:cubicBezTo>
                      <a:pt x="28" y="13"/>
                      <a:pt x="25" y="12"/>
                      <a:pt x="25" y="10"/>
                    </a:cubicBezTo>
                    <a:cubicBezTo>
                      <a:pt x="24" y="9"/>
                      <a:pt x="25" y="8"/>
                      <a:pt x="25" y="7"/>
                    </a:cubicBezTo>
                    <a:cubicBezTo>
                      <a:pt x="24" y="6"/>
                      <a:pt x="22" y="7"/>
                      <a:pt x="21" y="5"/>
                    </a:cubicBezTo>
                    <a:cubicBezTo>
                      <a:pt x="21" y="4"/>
                      <a:pt x="22" y="4"/>
                      <a:pt x="22" y="2"/>
                    </a:cubicBezTo>
                    <a:cubicBezTo>
                      <a:pt x="22" y="2"/>
                      <a:pt x="22" y="1"/>
                      <a:pt x="21" y="1"/>
                    </a:cubicBezTo>
                    <a:cubicBezTo>
                      <a:pt x="21" y="0"/>
                      <a:pt x="19" y="2"/>
                      <a:pt x="17" y="2"/>
                    </a:cubicBezTo>
                    <a:cubicBezTo>
                      <a:pt x="15" y="2"/>
                      <a:pt x="12" y="0"/>
                      <a:pt x="12" y="0"/>
                    </a:cubicBezTo>
                    <a:cubicBezTo>
                      <a:pt x="10" y="1"/>
                      <a:pt x="10" y="1"/>
                      <a:pt x="10" y="1"/>
                    </a:cubicBezTo>
                    <a:cubicBezTo>
                      <a:pt x="5" y="6"/>
                      <a:pt x="5" y="6"/>
                      <a:pt x="5" y="6"/>
                    </a:cubicBezTo>
                    <a:lnTo>
                      <a:pt x="6" y="6"/>
                    </a:lnTo>
                    <a:close/>
                    <a:moveTo>
                      <a:pt x="3" y="57"/>
                    </a:moveTo>
                    <a:cubicBezTo>
                      <a:pt x="3" y="57"/>
                      <a:pt x="1" y="58"/>
                      <a:pt x="0" y="59"/>
                    </a:cubicBezTo>
                    <a:cubicBezTo>
                      <a:pt x="0" y="59"/>
                      <a:pt x="1" y="60"/>
                      <a:pt x="1" y="60"/>
                    </a:cubicBezTo>
                    <a:cubicBezTo>
                      <a:pt x="1" y="60"/>
                      <a:pt x="3" y="60"/>
                      <a:pt x="3" y="60"/>
                    </a:cubicBezTo>
                    <a:cubicBezTo>
                      <a:pt x="3" y="59"/>
                      <a:pt x="6" y="56"/>
                      <a:pt x="3" y="57"/>
                    </a:cubicBezTo>
                    <a:close/>
                    <a:moveTo>
                      <a:pt x="1" y="16"/>
                    </a:moveTo>
                    <a:cubicBezTo>
                      <a:pt x="1" y="16"/>
                      <a:pt x="1" y="18"/>
                      <a:pt x="1" y="19"/>
                    </a:cubicBezTo>
                    <a:cubicBezTo>
                      <a:pt x="3" y="19"/>
                      <a:pt x="3" y="16"/>
                      <a:pt x="1" y="16"/>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92" name="Freeform 71">
                <a:extLst>
                  <a:ext uri="{FF2B5EF4-FFF2-40B4-BE49-F238E27FC236}">
                    <a16:creationId xmlns:a16="http://schemas.microsoft.com/office/drawing/2014/main" id="{D0EFF76C-9A22-3C31-D835-AE350612B686}"/>
                  </a:ext>
                </a:extLst>
              </p:cNvPr>
              <p:cNvSpPr>
                <a:spLocks noEditPoints="1"/>
              </p:cNvSpPr>
              <p:nvPr/>
            </p:nvSpPr>
            <p:spPr bwMode="auto">
              <a:xfrm>
                <a:off x="5247" y="1424"/>
                <a:ext cx="57" cy="118"/>
              </a:xfrm>
              <a:custGeom>
                <a:avLst/>
                <a:gdLst>
                  <a:gd name="T0" fmla="*/ 6 w 29"/>
                  <a:gd name="T1" fmla="*/ 6 h 60"/>
                  <a:gd name="T2" fmla="*/ 7 w 29"/>
                  <a:gd name="T3" fmla="*/ 13 h 60"/>
                  <a:gd name="T4" fmla="*/ 9 w 29"/>
                  <a:gd name="T5" fmla="*/ 13 h 60"/>
                  <a:gd name="T6" fmla="*/ 8 w 29"/>
                  <a:gd name="T7" fmla="*/ 15 h 60"/>
                  <a:gd name="T8" fmla="*/ 5 w 29"/>
                  <a:gd name="T9" fmla="*/ 15 h 60"/>
                  <a:gd name="T10" fmla="*/ 5 w 29"/>
                  <a:gd name="T11" fmla="*/ 17 h 60"/>
                  <a:gd name="T12" fmla="*/ 8 w 29"/>
                  <a:gd name="T13" fmla="*/ 21 h 60"/>
                  <a:gd name="T14" fmla="*/ 6 w 29"/>
                  <a:gd name="T15" fmla="*/ 24 h 60"/>
                  <a:gd name="T16" fmla="*/ 9 w 29"/>
                  <a:gd name="T17" fmla="*/ 28 h 60"/>
                  <a:gd name="T18" fmla="*/ 5 w 29"/>
                  <a:gd name="T19" fmla="*/ 33 h 60"/>
                  <a:gd name="T20" fmla="*/ 5 w 29"/>
                  <a:gd name="T21" fmla="*/ 38 h 60"/>
                  <a:gd name="T22" fmla="*/ 3 w 29"/>
                  <a:gd name="T23" fmla="*/ 41 h 60"/>
                  <a:gd name="T24" fmla="*/ 4 w 29"/>
                  <a:gd name="T25" fmla="*/ 45 h 60"/>
                  <a:gd name="T26" fmla="*/ 3 w 29"/>
                  <a:gd name="T27" fmla="*/ 47 h 60"/>
                  <a:gd name="T28" fmla="*/ 7 w 29"/>
                  <a:gd name="T29" fmla="*/ 48 h 60"/>
                  <a:gd name="T30" fmla="*/ 7 w 29"/>
                  <a:gd name="T31" fmla="*/ 47 h 60"/>
                  <a:gd name="T32" fmla="*/ 11 w 29"/>
                  <a:gd name="T33" fmla="*/ 45 h 60"/>
                  <a:gd name="T34" fmla="*/ 11 w 29"/>
                  <a:gd name="T35" fmla="*/ 43 h 60"/>
                  <a:gd name="T36" fmla="*/ 21 w 29"/>
                  <a:gd name="T37" fmla="*/ 41 h 60"/>
                  <a:gd name="T38" fmla="*/ 22 w 29"/>
                  <a:gd name="T39" fmla="*/ 37 h 60"/>
                  <a:gd name="T40" fmla="*/ 27 w 29"/>
                  <a:gd name="T41" fmla="*/ 36 h 60"/>
                  <a:gd name="T42" fmla="*/ 29 w 29"/>
                  <a:gd name="T43" fmla="*/ 15 h 60"/>
                  <a:gd name="T44" fmla="*/ 25 w 29"/>
                  <a:gd name="T45" fmla="*/ 10 h 60"/>
                  <a:gd name="T46" fmla="*/ 25 w 29"/>
                  <a:gd name="T47" fmla="*/ 7 h 60"/>
                  <a:gd name="T48" fmla="*/ 21 w 29"/>
                  <a:gd name="T49" fmla="*/ 5 h 60"/>
                  <a:gd name="T50" fmla="*/ 22 w 29"/>
                  <a:gd name="T51" fmla="*/ 2 h 60"/>
                  <a:gd name="T52" fmla="*/ 21 w 29"/>
                  <a:gd name="T53" fmla="*/ 1 h 60"/>
                  <a:gd name="T54" fmla="*/ 17 w 29"/>
                  <a:gd name="T55" fmla="*/ 2 h 60"/>
                  <a:gd name="T56" fmla="*/ 12 w 29"/>
                  <a:gd name="T57" fmla="*/ 0 h 60"/>
                  <a:gd name="T58" fmla="*/ 10 w 29"/>
                  <a:gd name="T59" fmla="*/ 1 h 60"/>
                  <a:gd name="T60" fmla="*/ 5 w 29"/>
                  <a:gd name="T61" fmla="*/ 6 h 60"/>
                  <a:gd name="T62" fmla="*/ 6 w 29"/>
                  <a:gd name="T63" fmla="*/ 6 h 60"/>
                  <a:gd name="T64" fmla="*/ 3 w 29"/>
                  <a:gd name="T65" fmla="*/ 57 h 60"/>
                  <a:gd name="T66" fmla="*/ 0 w 29"/>
                  <a:gd name="T67" fmla="*/ 59 h 60"/>
                  <a:gd name="T68" fmla="*/ 1 w 29"/>
                  <a:gd name="T69" fmla="*/ 60 h 60"/>
                  <a:gd name="T70" fmla="*/ 3 w 29"/>
                  <a:gd name="T71" fmla="*/ 60 h 60"/>
                  <a:gd name="T72" fmla="*/ 3 w 29"/>
                  <a:gd name="T73" fmla="*/ 57 h 60"/>
                  <a:gd name="T74" fmla="*/ 1 w 29"/>
                  <a:gd name="T75" fmla="*/ 16 h 60"/>
                  <a:gd name="T76" fmla="*/ 1 w 29"/>
                  <a:gd name="T77" fmla="*/ 19 h 60"/>
                  <a:gd name="T78" fmla="*/ 1 w 29"/>
                  <a:gd name="T79" fmla="*/ 1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 h="60">
                    <a:moveTo>
                      <a:pt x="6" y="6"/>
                    </a:moveTo>
                    <a:cubicBezTo>
                      <a:pt x="6" y="8"/>
                      <a:pt x="7" y="10"/>
                      <a:pt x="7" y="13"/>
                    </a:cubicBezTo>
                    <a:cubicBezTo>
                      <a:pt x="9" y="13"/>
                      <a:pt x="9" y="13"/>
                      <a:pt x="9" y="13"/>
                    </a:cubicBezTo>
                    <a:cubicBezTo>
                      <a:pt x="9" y="14"/>
                      <a:pt x="8" y="15"/>
                      <a:pt x="8" y="15"/>
                    </a:cubicBezTo>
                    <a:cubicBezTo>
                      <a:pt x="7" y="15"/>
                      <a:pt x="6" y="15"/>
                      <a:pt x="5" y="15"/>
                    </a:cubicBezTo>
                    <a:cubicBezTo>
                      <a:pt x="5" y="15"/>
                      <a:pt x="5" y="17"/>
                      <a:pt x="5" y="17"/>
                    </a:cubicBezTo>
                    <a:cubicBezTo>
                      <a:pt x="6" y="18"/>
                      <a:pt x="8" y="20"/>
                      <a:pt x="8" y="21"/>
                    </a:cubicBezTo>
                    <a:cubicBezTo>
                      <a:pt x="8" y="21"/>
                      <a:pt x="5" y="23"/>
                      <a:pt x="6" y="24"/>
                    </a:cubicBezTo>
                    <a:cubicBezTo>
                      <a:pt x="6" y="24"/>
                      <a:pt x="9" y="28"/>
                      <a:pt x="9" y="28"/>
                    </a:cubicBezTo>
                    <a:cubicBezTo>
                      <a:pt x="9" y="29"/>
                      <a:pt x="5" y="32"/>
                      <a:pt x="5" y="33"/>
                    </a:cubicBezTo>
                    <a:cubicBezTo>
                      <a:pt x="4" y="35"/>
                      <a:pt x="6" y="36"/>
                      <a:pt x="5" y="38"/>
                    </a:cubicBezTo>
                    <a:cubicBezTo>
                      <a:pt x="5" y="39"/>
                      <a:pt x="3" y="41"/>
                      <a:pt x="3" y="41"/>
                    </a:cubicBezTo>
                    <a:cubicBezTo>
                      <a:pt x="3" y="43"/>
                      <a:pt x="4" y="44"/>
                      <a:pt x="4" y="45"/>
                    </a:cubicBezTo>
                    <a:cubicBezTo>
                      <a:pt x="4" y="45"/>
                      <a:pt x="3" y="45"/>
                      <a:pt x="3" y="47"/>
                    </a:cubicBezTo>
                    <a:cubicBezTo>
                      <a:pt x="4" y="47"/>
                      <a:pt x="4" y="48"/>
                      <a:pt x="7" y="48"/>
                    </a:cubicBezTo>
                    <a:cubicBezTo>
                      <a:pt x="7" y="47"/>
                      <a:pt x="7" y="47"/>
                      <a:pt x="7" y="47"/>
                    </a:cubicBezTo>
                    <a:cubicBezTo>
                      <a:pt x="8" y="47"/>
                      <a:pt x="10" y="46"/>
                      <a:pt x="11" y="45"/>
                    </a:cubicBezTo>
                    <a:cubicBezTo>
                      <a:pt x="11" y="45"/>
                      <a:pt x="11" y="43"/>
                      <a:pt x="11" y="43"/>
                    </a:cubicBezTo>
                    <a:cubicBezTo>
                      <a:pt x="14" y="41"/>
                      <a:pt x="18" y="41"/>
                      <a:pt x="21" y="41"/>
                    </a:cubicBezTo>
                    <a:cubicBezTo>
                      <a:pt x="21" y="40"/>
                      <a:pt x="21" y="38"/>
                      <a:pt x="22" y="37"/>
                    </a:cubicBezTo>
                    <a:cubicBezTo>
                      <a:pt x="24" y="36"/>
                      <a:pt x="26" y="37"/>
                      <a:pt x="27" y="36"/>
                    </a:cubicBezTo>
                    <a:cubicBezTo>
                      <a:pt x="29" y="35"/>
                      <a:pt x="29" y="17"/>
                      <a:pt x="29" y="15"/>
                    </a:cubicBezTo>
                    <a:cubicBezTo>
                      <a:pt x="28" y="13"/>
                      <a:pt x="25" y="12"/>
                      <a:pt x="25" y="10"/>
                    </a:cubicBezTo>
                    <a:cubicBezTo>
                      <a:pt x="24" y="9"/>
                      <a:pt x="25" y="8"/>
                      <a:pt x="25" y="7"/>
                    </a:cubicBezTo>
                    <a:cubicBezTo>
                      <a:pt x="24" y="6"/>
                      <a:pt x="22" y="7"/>
                      <a:pt x="21" y="5"/>
                    </a:cubicBezTo>
                    <a:cubicBezTo>
                      <a:pt x="21" y="4"/>
                      <a:pt x="22" y="4"/>
                      <a:pt x="22" y="2"/>
                    </a:cubicBezTo>
                    <a:cubicBezTo>
                      <a:pt x="22" y="2"/>
                      <a:pt x="22" y="1"/>
                      <a:pt x="21" y="1"/>
                    </a:cubicBezTo>
                    <a:cubicBezTo>
                      <a:pt x="21" y="0"/>
                      <a:pt x="19" y="2"/>
                      <a:pt x="17" y="2"/>
                    </a:cubicBezTo>
                    <a:cubicBezTo>
                      <a:pt x="15" y="2"/>
                      <a:pt x="12" y="0"/>
                      <a:pt x="12" y="0"/>
                    </a:cubicBezTo>
                    <a:cubicBezTo>
                      <a:pt x="10" y="1"/>
                      <a:pt x="10" y="1"/>
                      <a:pt x="10" y="1"/>
                    </a:cubicBezTo>
                    <a:cubicBezTo>
                      <a:pt x="5" y="6"/>
                      <a:pt x="5" y="6"/>
                      <a:pt x="5" y="6"/>
                    </a:cubicBezTo>
                    <a:lnTo>
                      <a:pt x="6" y="6"/>
                    </a:lnTo>
                    <a:close/>
                    <a:moveTo>
                      <a:pt x="3" y="57"/>
                    </a:moveTo>
                    <a:cubicBezTo>
                      <a:pt x="3" y="57"/>
                      <a:pt x="1" y="58"/>
                      <a:pt x="0" y="59"/>
                    </a:cubicBezTo>
                    <a:cubicBezTo>
                      <a:pt x="0" y="59"/>
                      <a:pt x="1" y="60"/>
                      <a:pt x="1" y="60"/>
                    </a:cubicBezTo>
                    <a:cubicBezTo>
                      <a:pt x="1" y="60"/>
                      <a:pt x="3" y="60"/>
                      <a:pt x="3" y="60"/>
                    </a:cubicBezTo>
                    <a:cubicBezTo>
                      <a:pt x="3" y="59"/>
                      <a:pt x="6" y="56"/>
                      <a:pt x="3" y="57"/>
                    </a:cubicBezTo>
                    <a:close/>
                    <a:moveTo>
                      <a:pt x="1" y="16"/>
                    </a:moveTo>
                    <a:cubicBezTo>
                      <a:pt x="1" y="16"/>
                      <a:pt x="1" y="18"/>
                      <a:pt x="1" y="19"/>
                    </a:cubicBezTo>
                    <a:cubicBezTo>
                      <a:pt x="3" y="19"/>
                      <a:pt x="3" y="16"/>
                      <a:pt x="1" y="16"/>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93" name="Freeform 72">
                <a:extLst>
                  <a:ext uri="{FF2B5EF4-FFF2-40B4-BE49-F238E27FC236}">
                    <a16:creationId xmlns:a16="http://schemas.microsoft.com/office/drawing/2014/main" id="{B3480A9D-608E-E117-D75F-BCCA4F3AFDBC}"/>
                  </a:ext>
                </a:extLst>
              </p:cNvPr>
              <p:cNvSpPr>
                <a:spLocks noEditPoints="1"/>
              </p:cNvSpPr>
              <p:nvPr/>
            </p:nvSpPr>
            <p:spPr bwMode="auto">
              <a:xfrm>
                <a:off x="3392" y="2723"/>
                <a:ext cx="274" cy="279"/>
              </a:xfrm>
              <a:custGeom>
                <a:avLst/>
                <a:gdLst>
                  <a:gd name="T0" fmla="*/ 27 w 140"/>
                  <a:gd name="T1" fmla="*/ 69 h 142"/>
                  <a:gd name="T2" fmla="*/ 18 w 140"/>
                  <a:gd name="T3" fmla="*/ 74 h 142"/>
                  <a:gd name="T4" fmla="*/ 9 w 140"/>
                  <a:gd name="T5" fmla="*/ 72 h 142"/>
                  <a:gd name="T6" fmla="*/ 5 w 140"/>
                  <a:gd name="T7" fmla="*/ 70 h 142"/>
                  <a:gd name="T8" fmla="*/ 3 w 140"/>
                  <a:gd name="T9" fmla="*/ 79 h 142"/>
                  <a:gd name="T10" fmla="*/ 5 w 140"/>
                  <a:gd name="T11" fmla="*/ 83 h 142"/>
                  <a:gd name="T12" fmla="*/ 7 w 140"/>
                  <a:gd name="T13" fmla="*/ 93 h 142"/>
                  <a:gd name="T14" fmla="*/ 13 w 140"/>
                  <a:gd name="T15" fmla="*/ 104 h 142"/>
                  <a:gd name="T16" fmla="*/ 13 w 140"/>
                  <a:gd name="T17" fmla="*/ 118 h 142"/>
                  <a:gd name="T18" fmla="*/ 10 w 140"/>
                  <a:gd name="T19" fmla="*/ 118 h 142"/>
                  <a:gd name="T20" fmla="*/ 12 w 140"/>
                  <a:gd name="T21" fmla="*/ 122 h 142"/>
                  <a:gd name="T22" fmla="*/ 11 w 140"/>
                  <a:gd name="T23" fmla="*/ 125 h 142"/>
                  <a:gd name="T24" fmla="*/ 11 w 140"/>
                  <a:gd name="T25" fmla="*/ 126 h 142"/>
                  <a:gd name="T26" fmla="*/ 13 w 140"/>
                  <a:gd name="T27" fmla="*/ 134 h 142"/>
                  <a:gd name="T28" fmla="*/ 17 w 140"/>
                  <a:gd name="T29" fmla="*/ 138 h 142"/>
                  <a:gd name="T30" fmla="*/ 19 w 140"/>
                  <a:gd name="T31" fmla="*/ 138 h 142"/>
                  <a:gd name="T32" fmla="*/ 29 w 140"/>
                  <a:gd name="T33" fmla="*/ 141 h 142"/>
                  <a:gd name="T34" fmla="*/ 37 w 140"/>
                  <a:gd name="T35" fmla="*/ 137 h 142"/>
                  <a:gd name="T36" fmla="*/ 47 w 140"/>
                  <a:gd name="T37" fmla="*/ 137 h 142"/>
                  <a:gd name="T38" fmla="*/ 49 w 140"/>
                  <a:gd name="T39" fmla="*/ 134 h 142"/>
                  <a:gd name="T40" fmla="*/ 54 w 140"/>
                  <a:gd name="T41" fmla="*/ 132 h 142"/>
                  <a:gd name="T42" fmla="*/ 59 w 140"/>
                  <a:gd name="T43" fmla="*/ 134 h 142"/>
                  <a:gd name="T44" fmla="*/ 73 w 140"/>
                  <a:gd name="T45" fmla="*/ 134 h 142"/>
                  <a:gd name="T46" fmla="*/ 81 w 140"/>
                  <a:gd name="T47" fmla="*/ 132 h 142"/>
                  <a:gd name="T48" fmla="*/ 85 w 140"/>
                  <a:gd name="T49" fmla="*/ 130 h 142"/>
                  <a:gd name="T50" fmla="*/ 93 w 140"/>
                  <a:gd name="T51" fmla="*/ 127 h 142"/>
                  <a:gd name="T52" fmla="*/ 100 w 140"/>
                  <a:gd name="T53" fmla="*/ 119 h 142"/>
                  <a:gd name="T54" fmla="*/ 104 w 140"/>
                  <a:gd name="T55" fmla="*/ 114 h 142"/>
                  <a:gd name="T56" fmla="*/ 110 w 140"/>
                  <a:gd name="T57" fmla="*/ 109 h 142"/>
                  <a:gd name="T58" fmla="*/ 114 w 140"/>
                  <a:gd name="T59" fmla="*/ 103 h 142"/>
                  <a:gd name="T60" fmla="*/ 121 w 140"/>
                  <a:gd name="T61" fmla="*/ 94 h 142"/>
                  <a:gd name="T62" fmla="*/ 126 w 140"/>
                  <a:gd name="T63" fmla="*/ 86 h 142"/>
                  <a:gd name="T64" fmla="*/ 136 w 140"/>
                  <a:gd name="T65" fmla="*/ 66 h 142"/>
                  <a:gd name="T66" fmla="*/ 140 w 140"/>
                  <a:gd name="T67" fmla="*/ 49 h 142"/>
                  <a:gd name="T68" fmla="*/ 135 w 140"/>
                  <a:gd name="T69" fmla="*/ 55 h 142"/>
                  <a:gd name="T70" fmla="*/ 125 w 140"/>
                  <a:gd name="T71" fmla="*/ 50 h 142"/>
                  <a:gd name="T72" fmla="*/ 127 w 140"/>
                  <a:gd name="T73" fmla="*/ 40 h 142"/>
                  <a:gd name="T74" fmla="*/ 130 w 140"/>
                  <a:gd name="T75" fmla="*/ 36 h 142"/>
                  <a:gd name="T76" fmla="*/ 131 w 140"/>
                  <a:gd name="T77" fmla="*/ 22 h 142"/>
                  <a:gd name="T78" fmla="*/ 131 w 140"/>
                  <a:gd name="T79" fmla="*/ 3 h 142"/>
                  <a:gd name="T80" fmla="*/ 122 w 140"/>
                  <a:gd name="T81" fmla="*/ 1 h 142"/>
                  <a:gd name="T82" fmla="*/ 113 w 140"/>
                  <a:gd name="T83" fmla="*/ 0 h 142"/>
                  <a:gd name="T84" fmla="*/ 104 w 140"/>
                  <a:gd name="T85" fmla="*/ 7 h 142"/>
                  <a:gd name="T86" fmla="*/ 89 w 140"/>
                  <a:gd name="T87" fmla="*/ 17 h 142"/>
                  <a:gd name="T88" fmla="*/ 81 w 140"/>
                  <a:gd name="T89" fmla="*/ 27 h 142"/>
                  <a:gd name="T90" fmla="*/ 76 w 140"/>
                  <a:gd name="T91" fmla="*/ 40 h 142"/>
                  <a:gd name="T92" fmla="*/ 64 w 140"/>
                  <a:gd name="T93" fmla="*/ 39 h 142"/>
                  <a:gd name="T94" fmla="*/ 58 w 140"/>
                  <a:gd name="T95" fmla="*/ 42 h 142"/>
                  <a:gd name="T96" fmla="*/ 41 w 140"/>
                  <a:gd name="T97" fmla="*/ 52 h 142"/>
                  <a:gd name="T98" fmla="*/ 34 w 140"/>
                  <a:gd name="T99" fmla="*/ 49 h 142"/>
                  <a:gd name="T100" fmla="*/ 28 w 140"/>
                  <a:gd name="T101" fmla="*/ 36 h 142"/>
                  <a:gd name="T102" fmla="*/ 100 w 140"/>
                  <a:gd name="T103" fmla="*/ 90 h 142"/>
                  <a:gd name="T104" fmla="*/ 106 w 140"/>
                  <a:gd name="T105" fmla="*/ 87 h 142"/>
                  <a:gd name="T106" fmla="*/ 103 w 140"/>
                  <a:gd name="T107" fmla="*/ 79 h 142"/>
                  <a:gd name="T108" fmla="*/ 96 w 140"/>
                  <a:gd name="T109" fmla="*/ 81 h 142"/>
                  <a:gd name="T110" fmla="*/ 91 w 140"/>
                  <a:gd name="T111" fmla="*/ 86 h 142"/>
                  <a:gd name="T112" fmla="*/ 95 w 140"/>
                  <a:gd name="T113" fmla="*/ 9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142">
                    <a:moveTo>
                      <a:pt x="28" y="36"/>
                    </a:moveTo>
                    <a:cubicBezTo>
                      <a:pt x="27" y="69"/>
                      <a:pt x="27" y="69"/>
                      <a:pt x="27" y="69"/>
                    </a:cubicBezTo>
                    <a:cubicBezTo>
                      <a:pt x="27" y="69"/>
                      <a:pt x="23" y="69"/>
                      <a:pt x="22" y="71"/>
                    </a:cubicBezTo>
                    <a:cubicBezTo>
                      <a:pt x="21" y="73"/>
                      <a:pt x="20" y="73"/>
                      <a:pt x="18" y="74"/>
                    </a:cubicBezTo>
                    <a:cubicBezTo>
                      <a:pt x="16" y="76"/>
                      <a:pt x="16" y="74"/>
                      <a:pt x="13" y="74"/>
                    </a:cubicBezTo>
                    <a:cubicBezTo>
                      <a:pt x="10" y="74"/>
                      <a:pt x="10" y="74"/>
                      <a:pt x="9" y="72"/>
                    </a:cubicBezTo>
                    <a:cubicBezTo>
                      <a:pt x="8" y="70"/>
                      <a:pt x="10" y="68"/>
                      <a:pt x="8" y="68"/>
                    </a:cubicBezTo>
                    <a:cubicBezTo>
                      <a:pt x="6" y="68"/>
                      <a:pt x="5" y="68"/>
                      <a:pt x="5" y="70"/>
                    </a:cubicBezTo>
                    <a:cubicBezTo>
                      <a:pt x="4" y="71"/>
                      <a:pt x="0" y="73"/>
                      <a:pt x="0" y="73"/>
                    </a:cubicBezTo>
                    <a:cubicBezTo>
                      <a:pt x="1" y="74"/>
                      <a:pt x="3" y="77"/>
                      <a:pt x="3" y="79"/>
                    </a:cubicBezTo>
                    <a:cubicBezTo>
                      <a:pt x="4" y="79"/>
                      <a:pt x="5" y="79"/>
                      <a:pt x="5" y="80"/>
                    </a:cubicBezTo>
                    <a:cubicBezTo>
                      <a:pt x="6" y="81"/>
                      <a:pt x="4" y="81"/>
                      <a:pt x="5" y="83"/>
                    </a:cubicBezTo>
                    <a:cubicBezTo>
                      <a:pt x="6" y="83"/>
                      <a:pt x="6" y="83"/>
                      <a:pt x="6" y="83"/>
                    </a:cubicBezTo>
                    <a:cubicBezTo>
                      <a:pt x="7" y="86"/>
                      <a:pt x="6" y="90"/>
                      <a:pt x="7" y="93"/>
                    </a:cubicBezTo>
                    <a:cubicBezTo>
                      <a:pt x="8" y="94"/>
                      <a:pt x="10" y="95"/>
                      <a:pt x="11" y="96"/>
                    </a:cubicBezTo>
                    <a:cubicBezTo>
                      <a:pt x="12" y="98"/>
                      <a:pt x="13" y="102"/>
                      <a:pt x="13" y="104"/>
                    </a:cubicBezTo>
                    <a:cubicBezTo>
                      <a:pt x="13" y="104"/>
                      <a:pt x="15" y="106"/>
                      <a:pt x="15" y="107"/>
                    </a:cubicBezTo>
                    <a:cubicBezTo>
                      <a:pt x="15" y="110"/>
                      <a:pt x="14" y="117"/>
                      <a:pt x="13" y="118"/>
                    </a:cubicBezTo>
                    <a:cubicBezTo>
                      <a:pt x="11" y="117"/>
                      <a:pt x="11" y="117"/>
                      <a:pt x="11" y="117"/>
                    </a:cubicBezTo>
                    <a:cubicBezTo>
                      <a:pt x="11" y="118"/>
                      <a:pt x="11" y="118"/>
                      <a:pt x="10" y="118"/>
                    </a:cubicBezTo>
                    <a:cubicBezTo>
                      <a:pt x="11" y="120"/>
                      <a:pt x="11" y="121"/>
                      <a:pt x="11" y="122"/>
                    </a:cubicBezTo>
                    <a:cubicBezTo>
                      <a:pt x="12" y="122"/>
                      <a:pt x="12" y="122"/>
                      <a:pt x="12" y="122"/>
                    </a:cubicBezTo>
                    <a:cubicBezTo>
                      <a:pt x="12" y="123"/>
                      <a:pt x="12" y="125"/>
                      <a:pt x="11" y="124"/>
                    </a:cubicBezTo>
                    <a:cubicBezTo>
                      <a:pt x="11" y="125"/>
                      <a:pt x="11" y="125"/>
                      <a:pt x="11" y="125"/>
                    </a:cubicBezTo>
                    <a:cubicBezTo>
                      <a:pt x="11" y="125"/>
                      <a:pt x="10" y="125"/>
                      <a:pt x="11" y="126"/>
                    </a:cubicBezTo>
                    <a:cubicBezTo>
                      <a:pt x="11" y="126"/>
                      <a:pt x="11" y="126"/>
                      <a:pt x="11" y="126"/>
                    </a:cubicBezTo>
                    <a:cubicBezTo>
                      <a:pt x="14" y="128"/>
                      <a:pt x="13" y="130"/>
                      <a:pt x="14" y="132"/>
                    </a:cubicBezTo>
                    <a:cubicBezTo>
                      <a:pt x="14" y="132"/>
                      <a:pt x="13" y="134"/>
                      <a:pt x="13" y="134"/>
                    </a:cubicBezTo>
                    <a:cubicBezTo>
                      <a:pt x="13" y="135"/>
                      <a:pt x="14" y="137"/>
                      <a:pt x="15" y="138"/>
                    </a:cubicBezTo>
                    <a:cubicBezTo>
                      <a:pt x="15" y="138"/>
                      <a:pt x="16" y="138"/>
                      <a:pt x="17" y="138"/>
                    </a:cubicBezTo>
                    <a:cubicBezTo>
                      <a:pt x="17" y="138"/>
                      <a:pt x="17" y="136"/>
                      <a:pt x="17" y="136"/>
                    </a:cubicBezTo>
                    <a:cubicBezTo>
                      <a:pt x="19" y="135"/>
                      <a:pt x="18" y="137"/>
                      <a:pt x="19" y="138"/>
                    </a:cubicBezTo>
                    <a:cubicBezTo>
                      <a:pt x="20" y="138"/>
                      <a:pt x="20" y="137"/>
                      <a:pt x="21" y="137"/>
                    </a:cubicBezTo>
                    <a:cubicBezTo>
                      <a:pt x="23" y="137"/>
                      <a:pt x="25" y="142"/>
                      <a:pt x="29" y="141"/>
                    </a:cubicBezTo>
                    <a:cubicBezTo>
                      <a:pt x="29" y="141"/>
                      <a:pt x="30" y="140"/>
                      <a:pt x="30" y="140"/>
                    </a:cubicBezTo>
                    <a:cubicBezTo>
                      <a:pt x="33" y="139"/>
                      <a:pt x="35" y="138"/>
                      <a:pt x="37" y="137"/>
                    </a:cubicBezTo>
                    <a:cubicBezTo>
                      <a:pt x="37" y="137"/>
                      <a:pt x="37" y="135"/>
                      <a:pt x="37" y="135"/>
                    </a:cubicBezTo>
                    <a:cubicBezTo>
                      <a:pt x="39" y="134"/>
                      <a:pt x="45" y="136"/>
                      <a:pt x="47" y="137"/>
                    </a:cubicBezTo>
                    <a:cubicBezTo>
                      <a:pt x="48" y="136"/>
                      <a:pt x="49" y="136"/>
                      <a:pt x="49" y="134"/>
                    </a:cubicBezTo>
                    <a:cubicBezTo>
                      <a:pt x="49" y="134"/>
                      <a:pt x="49" y="134"/>
                      <a:pt x="49" y="134"/>
                    </a:cubicBezTo>
                    <a:cubicBezTo>
                      <a:pt x="50" y="133"/>
                      <a:pt x="51" y="135"/>
                      <a:pt x="52" y="134"/>
                    </a:cubicBezTo>
                    <a:cubicBezTo>
                      <a:pt x="52" y="134"/>
                      <a:pt x="54" y="133"/>
                      <a:pt x="54" y="132"/>
                    </a:cubicBezTo>
                    <a:cubicBezTo>
                      <a:pt x="55" y="132"/>
                      <a:pt x="55" y="132"/>
                      <a:pt x="55" y="132"/>
                    </a:cubicBezTo>
                    <a:cubicBezTo>
                      <a:pt x="55" y="132"/>
                      <a:pt x="58" y="134"/>
                      <a:pt x="59" y="134"/>
                    </a:cubicBezTo>
                    <a:cubicBezTo>
                      <a:pt x="60" y="134"/>
                      <a:pt x="60" y="131"/>
                      <a:pt x="63" y="132"/>
                    </a:cubicBezTo>
                    <a:cubicBezTo>
                      <a:pt x="65" y="132"/>
                      <a:pt x="68" y="135"/>
                      <a:pt x="73" y="134"/>
                    </a:cubicBezTo>
                    <a:cubicBezTo>
                      <a:pt x="73" y="134"/>
                      <a:pt x="74" y="133"/>
                      <a:pt x="74" y="132"/>
                    </a:cubicBezTo>
                    <a:cubicBezTo>
                      <a:pt x="77" y="131"/>
                      <a:pt x="78" y="132"/>
                      <a:pt x="81" y="132"/>
                    </a:cubicBezTo>
                    <a:cubicBezTo>
                      <a:pt x="81" y="131"/>
                      <a:pt x="81" y="129"/>
                      <a:pt x="82" y="129"/>
                    </a:cubicBezTo>
                    <a:cubicBezTo>
                      <a:pt x="83" y="129"/>
                      <a:pt x="85" y="130"/>
                      <a:pt x="85" y="130"/>
                    </a:cubicBezTo>
                    <a:cubicBezTo>
                      <a:pt x="89" y="130"/>
                      <a:pt x="89" y="128"/>
                      <a:pt x="91" y="127"/>
                    </a:cubicBezTo>
                    <a:cubicBezTo>
                      <a:pt x="92" y="127"/>
                      <a:pt x="93" y="127"/>
                      <a:pt x="93" y="127"/>
                    </a:cubicBezTo>
                    <a:cubicBezTo>
                      <a:pt x="94" y="127"/>
                      <a:pt x="98" y="123"/>
                      <a:pt x="99" y="122"/>
                    </a:cubicBezTo>
                    <a:cubicBezTo>
                      <a:pt x="99" y="122"/>
                      <a:pt x="99" y="120"/>
                      <a:pt x="100" y="119"/>
                    </a:cubicBezTo>
                    <a:cubicBezTo>
                      <a:pt x="101" y="119"/>
                      <a:pt x="101" y="119"/>
                      <a:pt x="101" y="119"/>
                    </a:cubicBezTo>
                    <a:cubicBezTo>
                      <a:pt x="103" y="119"/>
                      <a:pt x="103" y="115"/>
                      <a:pt x="104" y="114"/>
                    </a:cubicBezTo>
                    <a:cubicBezTo>
                      <a:pt x="105" y="114"/>
                      <a:pt x="106" y="114"/>
                      <a:pt x="107" y="114"/>
                    </a:cubicBezTo>
                    <a:cubicBezTo>
                      <a:pt x="108" y="113"/>
                      <a:pt x="109" y="109"/>
                      <a:pt x="110" y="109"/>
                    </a:cubicBezTo>
                    <a:cubicBezTo>
                      <a:pt x="111" y="108"/>
                      <a:pt x="113" y="107"/>
                      <a:pt x="114" y="107"/>
                    </a:cubicBezTo>
                    <a:cubicBezTo>
                      <a:pt x="114" y="105"/>
                      <a:pt x="114" y="104"/>
                      <a:pt x="114" y="103"/>
                    </a:cubicBezTo>
                    <a:cubicBezTo>
                      <a:pt x="115" y="102"/>
                      <a:pt x="118" y="101"/>
                      <a:pt x="119" y="100"/>
                    </a:cubicBezTo>
                    <a:cubicBezTo>
                      <a:pt x="120" y="98"/>
                      <a:pt x="120" y="96"/>
                      <a:pt x="121" y="94"/>
                    </a:cubicBezTo>
                    <a:cubicBezTo>
                      <a:pt x="121" y="93"/>
                      <a:pt x="123" y="93"/>
                      <a:pt x="124" y="93"/>
                    </a:cubicBezTo>
                    <a:cubicBezTo>
                      <a:pt x="125" y="90"/>
                      <a:pt x="125" y="89"/>
                      <a:pt x="126" y="86"/>
                    </a:cubicBezTo>
                    <a:cubicBezTo>
                      <a:pt x="128" y="81"/>
                      <a:pt x="133" y="78"/>
                      <a:pt x="138" y="75"/>
                    </a:cubicBezTo>
                    <a:cubicBezTo>
                      <a:pt x="137" y="71"/>
                      <a:pt x="137" y="69"/>
                      <a:pt x="136" y="66"/>
                    </a:cubicBezTo>
                    <a:cubicBezTo>
                      <a:pt x="136" y="66"/>
                      <a:pt x="139" y="65"/>
                      <a:pt x="139" y="65"/>
                    </a:cubicBezTo>
                    <a:cubicBezTo>
                      <a:pt x="140" y="60"/>
                      <a:pt x="139" y="54"/>
                      <a:pt x="140" y="49"/>
                    </a:cubicBezTo>
                    <a:cubicBezTo>
                      <a:pt x="134" y="49"/>
                      <a:pt x="134" y="49"/>
                      <a:pt x="134" y="49"/>
                    </a:cubicBezTo>
                    <a:cubicBezTo>
                      <a:pt x="135" y="55"/>
                      <a:pt x="135" y="55"/>
                      <a:pt x="135" y="55"/>
                    </a:cubicBezTo>
                    <a:cubicBezTo>
                      <a:pt x="135" y="55"/>
                      <a:pt x="131" y="54"/>
                      <a:pt x="128" y="53"/>
                    </a:cubicBezTo>
                    <a:cubicBezTo>
                      <a:pt x="126" y="51"/>
                      <a:pt x="127" y="53"/>
                      <a:pt x="125" y="50"/>
                    </a:cubicBezTo>
                    <a:cubicBezTo>
                      <a:pt x="124" y="47"/>
                      <a:pt x="125" y="48"/>
                      <a:pt x="125" y="44"/>
                    </a:cubicBezTo>
                    <a:cubicBezTo>
                      <a:pt x="125" y="41"/>
                      <a:pt x="126" y="39"/>
                      <a:pt x="127" y="40"/>
                    </a:cubicBezTo>
                    <a:cubicBezTo>
                      <a:pt x="129" y="41"/>
                      <a:pt x="131" y="39"/>
                      <a:pt x="131" y="39"/>
                    </a:cubicBezTo>
                    <a:cubicBezTo>
                      <a:pt x="131" y="39"/>
                      <a:pt x="131" y="38"/>
                      <a:pt x="130" y="36"/>
                    </a:cubicBezTo>
                    <a:cubicBezTo>
                      <a:pt x="129" y="34"/>
                      <a:pt x="130" y="33"/>
                      <a:pt x="130" y="31"/>
                    </a:cubicBezTo>
                    <a:cubicBezTo>
                      <a:pt x="131" y="29"/>
                      <a:pt x="132" y="26"/>
                      <a:pt x="131" y="22"/>
                    </a:cubicBezTo>
                    <a:cubicBezTo>
                      <a:pt x="130" y="18"/>
                      <a:pt x="129" y="15"/>
                      <a:pt x="130" y="12"/>
                    </a:cubicBezTo>
                    <a:cubicBezTo>
                      <a:pt x="132" y="10"/>
                      <a:pt x="131" y="3"/>
                      <a:pt x="131" y="3"/>
                    </a:cubicBezTo>
                    <a:cubicBezTo>
                      <a:pt x="131" y="3"/>
                      <a:pt x="129" y="2"/>
                      <a:pt x="126" y="2"/>
                    </a:cubicBezTo>
                    <a:cubicBezTo>
                      <a:pt x="123" y="2"/>
                      <a:pt x="122" y="1"/>
                      <a:pt x="122" y="1"/>
                    </a:cubicBezTo>
                    <a:cubicBezTo>
                      <a:pt x="122" y="1"/>
                      <a:pt x="119" y="0"/>
                      <a:pt x="117" y="1"/>
                    </a:cubicBezTo>
                    <a:cubicBezTo>
                      <a:pt x="116" y="2"/>
                      <a:pt x="113" y="0"/>
                      <a:pt x="113" y="0"/>
                    </a:cubicBezTo>
                    <a:cubicBezTo>
                      <a:pt x="113" y="0"/>
                      <a:pt x="111" y="5"/>
                      <a:pt x="108" y="4"/>
                    </a:cubicBezTo>
                    <a:cubicBezTo>
                      <a:pt x="104" y="4"/>
                      <a:pt x="107" y="7"/>
                      <a:pt x="104" y="7"/>
                    </a:cubicBezTo>
                    <a:cubicBezTo>
                      <a:pt x="102" y="7"/>
                      <a:pt x="98" y="10"/>
                      <a:pt x="96" y="10"/>
                    </a:cubicBezTo>
                    <a:cubicBezTo>
                      <a:pt x="93" y="10"/>
                      <a:pt x="92" y="16"/>
                      <a:pt x="89" y="17"/>
                    </a:cubicBezTo>
                    <a:cubicBezTo>
                      <a:pt x="86" y="18"/>
                      <a:pt x="87" y="25"/>
                      <a:pt x="85" y="25"/>
                    </a:cubicBezTo>
                    <a:cubicBezTo>
                      <a:pt x="83" y="25"/>
                      <a:pt x="81" y="27"/>
                      <a:pt x="81" y="27"/>
                    </a:cubicBezTo>
                    <a:cubicBezTo>
                      <a:pt x="81" y="27"/>
                      <a:pt x="80" y="38"/>
                      <a:pt x="80" y="40"/>
                    </a:cubicBezTo>
                    <a:cubicBezTo>
                      <a:pt x="80" y="42"/>
                      <a:pt x="78" y="41"/>
                      <a:pt x="76" y="40"/>
                    </a:cubicBezTo>
                    <a:cubicBezTo>
                      <a:pt x="74" y="39"/>
                      <a:pt x="72" y="41"/>
                      <a:pt x="69" y="39"/>
                    </a:cubicBezTo>
                    <a:cubicBezTo>
                      <a:pt x="67" y="37"/>
                      <a:pt x="66" y="40"/>
                      <a:pt x="64" y="39"/>
                    </a:cubicBezTo>
                    <a:cubicBezTo>
                      <a:pt x="63" y="38"/>
                      <a:pt x="62" y="36"/>
                      <a:pt x="61" y="37"/>
                    </a:cubicBezTo>
                    <a:cubicBezTo>
                      <a:pt x="56" y="39"/>
                      <a:pt x="58" y="40"/>
                      <a:pt x="58" y="42"/>
                    </a:cubicBezTo>
                    <a:cubicBezTo>
                      <a:pt x="58" y="44"/>
                      <a:pt x="49" y="49"/>
                      <a:pt x="49" y="49"/>
                    </a:cubicBezTo>
                    <a:cubicBezTo>
                      <a:pt x="49" y="49"/>
                      <a:pt x="43" y="52"/>
                      <a:pt x="41" y="52"/>
                    </a:cubicBezTo>
                    <a:cubicBezTo>
                      <a:pt x="38" y="52"/>
                      <a:pt x="39" y="54"/>
                      <a:pt x="37" y="54"/>
                    </a:cubicBezTo>
                    <a:cubicBezTo>
                      <a:pt x="34" y="54"/>
                      <a:pt x="33" y="51"/>
                      <a:pt x="34" y="49"/>
                    </a:cubicBezTo>
                    <a:cubicBezTo>
                      <a:pt x="36" y="46"/>
                      <a:pt x="36" y="46"/>
                      <a:pt x="34" y="41"/>
                    </a:cubicBezTo>
                    <a:cubicBezTo>
                      <a:pt x="32" y="37"/>
                      <a:pt x="28" y="36"/>
                      <a:pt x="28" y="36"/>
                    </a:cubicBezTo>
                    <a:close/>
                    <a:moveTo>
                      <a:pt x="98" y="91"/>
                    </a:moveTo>
                    <a:cubicBezTo>
                      <a:pt x="99" y="91"/>
                      <a:pt x="99" y="90"/>
                      <a:pt x="100" y="90"/>
                    </a:cubicBezTo>
                    <a:cubicBezTo>
                      <a:pt x="101" y="89"/>
                      <a:pt x="102" y="88"/>
                      <a:pt x="103" y="88"/>
                    </a:cubicBezTo>
                    <a:cubicBezTo>
                      <a:pt x="104" y="87"/>
                      <a:pt x="105" y="88"/>
                      <a:pt x="106" y="87"/>
                    </a:cubicBezTo>
                    <a:cubicBezTo>
                      <a:pt x="107" y="85"/>
                      <a:pt x="106" y="84"/>
                      <a:pt x="106" y="83"/>
                    </a:cubicBezTo>
                    <a:cubicBezTo>
                      <a:pt x="105" y="81"/>
                      <a:pt x="104" y="81"/>
                      <a:pt x="103" y="79"/>
                    </a:cubicBezTo>
                    <a:cubicBezTo>
                      <a:pt x="101" y="77"/>
                      <a:pt x="101" y="77"/>
                      <a:pt x="101" y="77"/>
                    </a:cubicBezTo>
                    <a:cubicBezTo>
                      <a:pt x="101" y="77"/>
                      <a:pt x="97" y="79"/>
                      <a:pt x="96" y="81"/>
                    </a:cubicBezTo>
                    <a:cubicBezTo>
                      <a:pt x="94" y="83"/>
                      <a:pt x="93" y="83"/>
                      <a:pt x="92" y="83"/>
                    </a:cubicBezTo>
                    <a:cubicBezTo>
                      <a:pt x="91" y="83"/>
                      <a:pt x="90" y="86"/>
                      <a:pt x="91" y="86"/>
                    </a:cubicBezTo>
                    <a:cubicBezTo>
                      <a:pt x="92" y="86"/>
                      <a:pt x="91" y="87"/>
                      <a:pt x="92" y="89"/>
                    </a:cubicBezTo>
                    <a:cubicBezTo>
                      <a:pt x="93" y="91"/>
                      <a:pt x="92" y="93"/>
                      <a:pt x="95" y="93"/>
                    </a:cubicBezTo>
                    <a:cubicBezTo>
                      <a:pt x="98" y="93"/>
                      <a:pt x="97" y="92"/>
                      <a:pt x="98" y="9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94" name="Freeform 73">
                <a:extLst>
                  <a:ext uri="{FF2B5EF4-FFF2-40B4-BE49-F238E27FC236}">
                    <a16:creationId xmlns:a16="http://schemas.microsoft.com/office/drawing/2014/main" id="{423DA348-EF96-0A5B-38F8-B25B3D6D719F}"/>
                  </a:ext>
                </a:extLst>
              </p:cNvPr>
              <p:cNvSpPr>
                <a:spLocks noEditPoints="1"/>
              </p:cNvSpPr>
              <p:nvPr/>
            </p:nvSpPr>
            <p:spPr bwMode="auto">
              <a:xfrm>
                <a:off x="3392" y="2723"/>
                <a:ext cx="274" cy="279"/>
              </a:xfrm>
              <a:custGeom>
                <a:avLst/>
                <a:gdLst>
                  <a:gd name="T0" fmla="*/ 27 w 140"/>
                  <a:gd name="T1" fmla="*/ 69 h 142"/>
                  <a:gd name="T2" fmla="*/ 18 w 140"/>
                  <a:gd name="T3" fmla="*/ 74 h 142"/>
                  <a:gd name="T4" fmla="*/ 9 w 140"/>
                  <a:gd name="T5" fmla="*/ 72 h 142"/>
                  <a:gd name="T6" fmla="*/ 5 w 140"/>
                  <a:gd name="T7" fmla="*/ 70 h 142"/>
                  <a:gd name="T8" fmla="*/ 3 w 140"/>
                  <a:gd name="T9" fmla="*/ 79 h 142"/>
                  <a:gd name="T10" fmla="*/ 5 w 140"/>
                  <a:gd name="T11" fmla="*/ 83 h 142"/>
                  <a:gd name="T12" fmla="*/ 7 w 140"/>
                  <a:gd name="T13" fmla="*/ 93 h 142"/>
                  <a:gd name="T14" fmla="*/ 13 w 140"/>
                  <a:gd name="T15" fmla="*/ 104 h 142"/>
                  <a:gd name="T16" fmla="*/ 13 w 140"/>
                  <a:gd name="T17" fmla="*/ 118 h 142"/>
                  <a:gd name="T18" fmla="*/ 10 w 140"/>
                  <a:gd name="T19" fmla="*/ 118 h 142"/>
                  <a:gd name="T20" fmla="*/ 12 w 140"/>
                  <a:gd name="T21" fmla="*/ 122 h 142"/>
                  <a:gd name="T22" fmla="*/ 11 w 140"/>
                  <a:gd name="T23" fmla="*/ 125 h 142"/>
                  <a:gd name="T24" fmla="*/ 11 w 140"/>
                  <a:gd name="T25" fmla="*/ 126 h 142"/>
                  <a:gd name="T26" fmla="*/ 13 w 140"/>
                  <a:gd name="T27" fmla="*/ 134 h 142"/>
                  <a:gd name="T28" fmla="*/ 17 w 140"/>
                  <a:gd name="T29" fmla="*/ 138 h 142"/>
                  <a:gd name="T30" fmla="*/ 19 w 140"/>
                  <a:gd name="T31" fmla="*/ 138 h 142"/>
                  <a:gd name="T32" fmla="*/ 29 w 140"/>
                  <a:gd name="T33" fmla="*/ 141 h 142"/>
                  <a:gd name="T34" fmla="*/ 37 w 140"/>
                  <a:gd name="T35" fmla="*/ 137 h 142"/>
                  <a:gd name="T36" fmla="*/ 47 w 140"/>
                  <a:gd name="T37" fmla="*/ 137 h 142"/>
                  <a:gd name="T38" fmla="*/ 49 w 140"/>
                  <a:gd name="T39" fmla="*/ 134 h 142"/>
                  <a:gd name="T40" fmla="*/ 54 w 140"/>
                  <a:gd name="T41" fmla="*/ 132 h 142"/>
                  <a:gd name="T42" fmla="*/ 59 w 140"/>
                  <a:gd name="T43" fmla="*/ 134 h 142"/>
                  <a:gd name="T44" fmla="*/ 73 w 140"/>
                  <a:gd name="T45" fmla="*/ 134 h 142"/>
                  <a:gd name="T46" fmla="*/ 81 w 140"/>
                  <a:gd name="T47" fmla="*/ 132 h 142"/>
                  <a:gd name="T48" fmla="*/ 85 w 140"/>
                  <a:gd name="T49" fmla="*/ 130 h 142"/>
                  <a:gd name="T50" fmla="*/ 93 w 140"/>
                  <a:gd name="T51" fmla="*/ 127 h 142"/>
                  <a:gd name="T52" fmla="*/ 100 w 140"/>
                  <a:gd name="T53" fmla="*/ 119 h 142"/>
                  <a:gd name="T54" fmla="*/ 104 w 140"/>
                  <a:gd name="T55" fmla="*/ 114 h 142"/>
                  <a:gd name="T56" fmla="*/ 110 w 140"/>
                  <a:gd name="T57" fmla="*/ 109 h 142"/>
                  <a:gd name="T58" fmla="*/ 114 w 140"/>
                  <a:gd name="T59" fmla="*/ 103 h 142"/>
                  <a:gd name="T60" fmla="*/ 121 w 140"/>
                  <a:gd name="T61" fmla="*/ 94 h 142"/>
                  <a:gd name="T62" fmla="*/ 126 w 140"/>
                  <a:gd name="T63" fmla="*/ 86 h 142"/>
                  <a:gd name="T64" fmla="*/ 136 w 140"/>
                  <a:gd name="T65" fmla="*/ 66 h 142"/>
                  <a:gd name="T66" fmla="*/ 140 w 140"/>
                  <a:gd name="T67" fmla="*/ 49 h 142"/>
                  <a:gd name="T68" fmla="*/ 135 w 140"/>
                  <a:gd name="T69" fmla="*/ 55 h 142"/>
                  <a:gd name="T70" fmla="*/ 125 w 140"/>
                  <a:gd name="T71" fmla="*/ 50 h 142"/>
                  <a:gd name="T72" fmla="*/ 127 w 140"/>
                  <a:gd name="T73" fmla="*/ 40 h 142"/>
                  <a:gd name="T74" fmla="*/ 130 w 140"/>
                  <a:gd name="T75" fmla="*/ 36 h 142"/>
                  <a:gd name="T76" fmla="*/ 131 w 140"/>
                  <a:gd name="T77" fmla="*/ 22 h 142"/>
                  <a:gd name="T78" fmla="*/ 131 w 140"/>
                  <a:gd name="T79" fmla="*/ 3 h 142"/>
                  <a:gd name="T80" fmla="*/ 122 w 140"/>
                  <a:gd name="T81" fmla="*/ 1 h 142"/>
                  <a:gd name="T82" fmla="*/ 113 w 140"/>
                  <a:gd name="T83" fmla="*/ 0 h 142"/>
                  <a:gd name="T84" fmla="*/ 104 w 140"/>
                  <a:gd name="T85" fmla="*/ 7 h 142"/>
                  <a:gd name="T86" fmla="*/ 89 w 140"/>
                  <a:gd name="T87" fmla="*/ 17 h 142"/>
                  <a:gd name="T88" fmla="*/ 81 w 140"/>
                  <a:gd name="T89" fmla="*/ 27 h 142"/>
                  <a:gd name="T90" fmla="*/ 76 w 140"/>
                  <a:gd name="T91" fmla="*/ 40 h 142"/>
                  <a:gd name="T92" fmla="*/ 64 w 140"/>
                  <a:gd name="T93" fmla="*/ 39 h 142"/>
                  <a:gd name="T94" fmla="*/ 58 w 140"/>
                  <a:gd name="T95" fmla="*/ 42 h 142"/>
                  <a:gd name="T96" fmla="*/ 41 w 140"/>
                  <a:gd name="T97" fmla="*/ 52 h 142"/>
                  <a:gd name="T98" fmla="*/ 34 w 140"/>
                  <a:gd name="T99" fmla="*/ 49 h 142"/>
                  <a:gd name="T100" fmla="*/ 28 w 140"/>
                  <a:gd name="T101" fmla="*/ 36 h 142"/>
                  <a:gd name="T102" fmla="*/ 100 w 140"/>
                  <a:gd name="T103" fmla="*/ 90 h 142"/>
                  <a:gd name="T104" fmla="*/ 106 w 140"/>
                  <a:gd name="T105" fmla="*/ 87 h 142"/>
                  <a:gd name="T106" fmla="*/ 103 w 140"/>
                  <a:gd name="T107" fmla="*/ 79 h 142"/>
                  <a:gd name="T108" fmla="*/ 96 w 140"/>
                  <a:gd name="T109" fmla="*/ 81 h 142"/>
                  <a:gd name="T110" fmla="*/ 91 w 140"/>
                  <a:gd name="T111" fmla="*/ 86 h 142"/>
                  <a:gd name="T112" fmla="*/ 95 w 140"/>
                  <a:gd name="T113" fmla="*/ 9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0" h="142">
                    <a:moveTo>
                      <a:pt x="28" y="36"/>
                    </a:moveTo>
                    <a:cubicBezTo>
                      <a:pt x="27" y="69"/>
                      <a:pt x="27" y="69"/>
                      <a:pt x="27" y="69"/>
                    </a:cubicBezTo>
                    <a:cubicBezTo>
                      <a:pt x="27" y="69"/>
                      <a:pt x="23" y="69"/>
                      <a:pt x="22" y="71"/>
                    </a:cubicBezTo>
                    <a:cubicBezTo>
                      <a:pt x="21" y="73"/>
                      <a:pt x="20" y="73"/>
                      <a:pt x="18" y="74"/>
                    </a:cubicBezTo>
                    <a:cubicBezTo>
                      <a:pt x="16" y="76"/>
                      <a:pt x="16" y="74"/>
                      <a:pt x="13" y="74"/>
                    </a:cubicBezTo>
                    <a:cubicBezTo>
                      <a:pt x="10" y="74"/>
                      <a:pt x="10" y="74"/>
                      <a:pt x="9" y="72"/>
                    </a:cubicBezTo>
                    <a:cubicBezTo>
                      <a:pt x="8" y="70"/>
                      <a:pt x="10" y="68"/>
                      <a:pt x="8" y="68"/>
                    </a:cubicBezTo>
                    <a:cubicBezTo>
                      <a:pt x="6" y="68"/>
                      <a:pt x="5" y="68"/>
                      <a:pt x="5" y="70"/>
                    </a:cubicBezTo>
                    <a:cubicBezTo>
                      <a:pt x="4" y="71"/>
                      <a:pt x="0" y="73"/>
                      <a:pt x="0" y="73"/>
                    </a:cubicBezTo>
                    <a:cubicBezTo>
                      <a:pt x="1" y="74"/>
                      <a:pt x="3" y="77"/>
                      <a:pt x="3" y="79"/>
                    </a:cubicBezTo>
                    <a:cubicBezTo>
                      <a:pt x="4" y="79"/>
                      <a:pt x="5" y="79"/>
                      <a:pt x="5" y="80"/>
                    </a:cubicBezTo>
                    <a:cubicBezTo>
                      <a:pt x="6" y="81"/>
                      <a:pt x="4" y="81"/>
                      <a:pt x="5" y="83"/>
                    </a:cubicBezTo>
                    <a:cubicBezTo>
                      <a:pt x="6" y="83"/>
                      <a:pt x="6" y="83"/>
                      <a:pt x="6" y="83"/>
                    </a:cubicBezTo>
                    <a:cubicBezTo>
                      <a:pt x="7" y="86"/>
                      <a:pt x="6" y="90"/>
                      <a:pt x="7" y="93"/>
                    </a:cubicBezTo>
                    <a:cubicBezTo>
                      <a:pt x="8" y="94"/>
                      <a:pt x="10" y="95"/>
                      <a:pt x="11" y="96"/>
                    </a:cubicBezTo>
                    <a:cubicBezTo>
                      <a:pt x="12" y="98"/>
                      <a:pt x="13" y="102"/>
                      <a:pt x="13" y="104"/>
                    </a:cubicBezTo>
                    <a:cubicBezTo>
                      <a:pt x="13" y="104"/>
                      <a:pt x="15" y="106"/>
                      <a:pt x="15" y="107"/>
                    </a:cubicBezTo>
                    <a:cubicBezTo>
                      <a:pt x="15" y="110"/>
                      <a:pt x="14" y="117"/>
                      <a:pt x="13" y="118"/>
                    </a:cubicBezTo>
                    <a:cubicBezTo>
                      <a:pt x="11" y="117"/>
                      <a:pt x="11" y="117"/>
                      <a:pt x="11" y="117"/>
                    </a:cubicBezTo>
                    <a:cubicBezTo>
                      <a:pt x="11" y="118"/>
                      <a:pt x="11" y="118"/>
                      <a:pt x="10" y="118"/>
                    </a:cubicBezTo>
                    <a:cubicBezTo>
                      <a:pt x="11" y="120"/>
                      <a:pt x="11" y="121"/>
                      <a:pt x="11" y="122"/>
                    </a:cubicBezTo>
                    <a:cubicBezTo>
                      <a:pt x="12" y="122"/>
                      <a:pt x="12" y="122"/>
                      <a:pt x="12" y="122"/>
                    </a:cubicBezTo>
                    <a:cubicBezTo>
                      <a:pt x="12" y="123"/>
                      <a:pt x="12" y="125"/>
                      <a:pt x="11" y="124"/>
                    </a:cubicBezTo>
                    <a:cubicBezTo>
                      <a:pt x="11" y="125"/>
                      <a:pt x="11" y="125"/>
                      <a:pt x="11" y="125"/>
                    </a:cubicBezTo>
                    <a:cubicBezTo>
                      <a:pt x="11" y="125"/>
                      <a:pt x="10" y="125"/>
                      <a:pt x="11" y="126"/>
                    </a:cubicBezTo>
                    <a:cubicBezTo>
                      <a:pt x="11" y="126"/>
                      <a:pt x="11" y="126"/>
                      <a:pt x="11" y="126"/>
                    </a:cubicBezTo>
                    <a:cubicBezTo>
                      <a:pt x="14" y="128"/>
                      <a:pt x="13" y="130"/>
                      <a:pt x="14" y="132"/>
                    </a:cubicBezTo>
                    <a:cubicBezTo>
                      <a:pt x="14" y="132"/>
                      <a:pt x="13" y="134"/>
                      <a:pt x="13" y="134"/>
                    </a:cubicBezTo>
                    <a:cubicBezTo>
                      <a:pt x="13" y="135"/>
                      <a:pt x="14" y="137"/>
                      <a:pt x="15" y="138"/>
                    </a:cubicBezTo>
                    <a:cubicBezTo>
                      <a:pt x="15" y="138"/>
                      <a:pt x="16" y="138"/>
                      <a:pt x="17" y="138"/>
                    </a:cubicBezTo>
                    <a:cubicBezTo>
                      <a:pt x="17" y="138"/>
                      <a:pt x="17" y="136"/>
                      <a:pt x="17" y="136"/>
                    </a:cubicBezTo>
                    <a:cubicBezTo>
                      <a:pt x="19" y="135"/>
                      <a:pt x="18" y="137"/>
                      <a:pt x="19" y="138"/>
                    </a:cubicBezTo>
                    <a:cubicBezTo>
                      <a:pt x="20" y="138"/>
                      <a:pt x="20" y="137"/>
                      <a:pt x="21" y="137"/>
                    </a:cubicBezTo>
                    <a:cubicBezTo>
                      <a:pt x="23" y="137"/>
                      <a:pt x="25" y="142"/>
                      <a:pt x="29" y="141"/>
                    </a:cubicBezTo>
                    <a:cubicBezTo>
                      <a:pt x="29" y="141"/>
                      <a:pt x="30" y="140"/>
                      <a:pt x="30" y="140"/>
                    </a:cubicBezTo>
                    <a:cubicBezTo>
                      <a:pt x="33" y="139"/>
                      <a:pt x="35" y="138"/>
                      <a:pt x="37" y="137"/>
                    </a:cubicBezTo>
                    <a:cubicBezTo>
                      <a:pt x="37" y="137"/>
                      <a:pt x="37" y="135"/>
                      <a:pt x="37" y="135"/>
                    </a:cubicBezTo>
                    <a:cubicBezTo>
                      <a:pt x="39" y="134"/>
                      <a:pt x="45" y="136"/>
                      <a:pt x="47" y="137"/>
                    </a:cubicBezTo>
                    <a:cubicBezTo>
                      <a:pt x="48" y="136"/>
                      <a:pt x="49" y="136"/>
                      <a:pt x="49" y="134"/>
                    </a:cubicBezTo>
                    <a:cubicBezTo>
                      <a:pt x="49" y="134"/>
                      <a:pt x="49" y="134"/>
                      <a:pt x="49" y="134"/>
                    </a:cubicBezTo>
                    <a:cubicBezTo>
                      <a:pt x="50" y="133"/>
                      <a:pt x="51" y="135"/>
                      <a:pt x="52" y="134"/>
                    </a:cubicBezTo>
                    <a:cubicBezTo>
                      <a:pt x="52" y="134"/>
                      <a:pt x="54" y="133"/>
                      <a:pt x="54" y="132"/>
                    </a:cubicBezTo>
                    <a:cubicBezTo>
                      <a:pt x="55" y="132"/>
                      <a:pt x="55" y="132"/>
                      <a:pt x="55" y="132"/>
                    </a:cubicBezTo>
                    <a:cubicBezTo>
                      <a:pt x="55" y="132"/>
                      <a:pt x="58" y="134"/>
                      <a:pt x="59" y="134"/>
                    </a:cubicBezTo>
                    <a:cubicBezTo>
                      <a:pt x="60" y="134"/>
                      <a:pt x="60" y="131"/>
                      <a:pt x="63" y="132"/>
                    </a:cubicBezTo>
                    <a:cubicBezTo>
                      <a:pt x="65" y="132"/>
                      <a:pt x="68" y="135"/>
                      <a:pt x="73" y="134"/>
                    </a:cubicBezTo>
                    <a:cubicBezTo>
                      <a:pt x="73" y="134"/>
                      <a:pt x="74" y="133"/>
                      <a:pt x="74" y="132"/>
                    </a:cubicBezTo>
                    <a:cubicBezTo>
                      <a:pt x="77" y="131"/>
                      <a:pt x="78" y="132"/>
                      <a:pt x="81" y="132"/>
                    </a:cubicBezTo>
                    <a:cubicBezTo>
                      <a:pt x="81" y="131"/>
                      <a:pt x="81" y="129"/>
                      <a:pt x="82" y="129"/>
                    </a:cubicBezTo>
                    <a:cubicBezTo>
                      <a:pt x="83" y="129"/>
                      <a:pt x="85" y="130"/>
                      <a:pt x="85" y="130"/>
                    </a:cubicBezTo>
                    <a:cubicBezTo>
                      <a:pt x="89" y="130"/>
                      <a:pt x="89" y="128"/>
                      <a:pt x="91" y="127"/>
                    </a:cubicBezTo>
                    <a:cubicBezTo>
                      <a:pt x="92" y="127"/>
                      <a:pt x="93" y="127"/>
                      <a:pt x="93" y="127"/>
                    </a:cubicBezTo>
                    <a:cubicBezTo>
                      <a:pt x="94" y="127"/>
                      <a:pt x="98" y="123"/>
                      <a:pt x="99" y="122"/>
                    </a:cubicBezTo>
                    <a:cubicBezTo>
                      <a:pt x="99" y="122"/>
                      <a:pt x="99" y="120"/>
                      <a:pt x="100" y="119"/>
                    </a:cubicBezTo>
                    <a:cubicBezTo>
                      <a:pt x="101" y="119"/>
                      <a:pt x="101" y="119"/>
                      <a:pt x="101" y="119"/>
                    </a:cubicBezTo>
                    <a:cubicBezTo>
                      <a:pt x="103" y="119"/>
                      <a:pt x="103" y="115"/>
                      <a:pt x="104" y="114"/>
                    </a:cubicBezTo>
                    <a:cubicBezTo>
                      <a:pt x="105" y="114"/>
                      <a:pt x="106" y="114"/>
                      <a:pt x="107" y="114"/>
                    </a:cubicBezTo>
                    <a:cubicBezTo>
                      <a:pt x="108" y="113"/>
                      <a:pt x="109" y="109"/>
                      <a:pt x="110" y="109"/>
                    </a:cubicBezTo>
                    <a:cubicBezTo>
                      <a:pt x="111" y="108"/>
                      <a:pt x="113" y="107"/>
                      <a:pt x="114" y="107"/>
                    </a:cubicBezTo>
                    <a:cubicBezTo>
                      <a:pt x="114" y="105"/>
                      <a:pt x="114" y="104"/>
                      <a:pt x="114" y="103"/>
                    </a:cubicBezTo>
                    <a:cubicBezTo>
                      <a:pt x="115" y="102"/>
                      <a:pt x="118" y="101"/>
                      <a:pt x="119" y="100"/>
                    </a:cubicBezTo>
                    <a:cubicBezTo>
                      <a:pt x="120" y="98"/>
                      <a:pt x="120" y="96"/>
                      <a:pt x="121" y="94"/>
                    </a:cubicBezTo>
                    <a:cubicBezTo>
                      <a:pt x="121" y="93"/>
                      <a:pt x="123" y="93"/>
                      <a:pt x="124" y="93"/>
                    </a:cubicBezTo>
                    <a:cubicBezTo>
                      <a:pt x="125" y="90"/>
                      <a:pt x="125" y="89"/>
                      <a:pt x="126" y="86"/>
                    </a:cubicBezTo>
                    <a:cubicBezTo>
                      <a:pt x="128" y="81"/>
                      <a:pt x="133" y="78"/>
                      <a:pt x="138" y="75"/>
                    </a:cubicBezTo>
                    <a:cubicBezTo>
                      <a:pt x="137" y="71"/>
                      <a:pt x="137" y="69"/>
                      <a:pt x="136" y="66"/>
                    </a:cubicBezTo>
                    <a:cubicBezTo>
                      <a:pt x="136" y="66"/>
                      <a:pt x="139" y="65"/>
                      <a:pt x="139" y="65"/>
                    </a:cubicBezTo>
                    <a:cubicBezTo>
                      <a:pt x="140" y="60"/>
                      <a:pt x="139" y="54"/>
                      <a:pt x="140" y="49"/>
                    </a:cubicBezTo>
                    <a:cubicBezTo>
                      <a:pt x="134" y="49"/>
                      <a:pt x="134" y="49"/>
                      <a:pt x="134" y="49"/>
                    </a:cubicBezTo>
                    <a:cubicBezTo>
                      <a:pt x="135" y="55"/>
                      <a:pt x="135" y="55"/>
                      <a:pt x="135" y="55"/>
                    </a:cubicBezTo>
                    <a:cubicBezTo>
                      <a:pt x="135" y="55"/>
                      <a:pt x="131" y="54"/>
                      <a:pt x="128" y="53"/>
                    </a:cubicBezTo>
                    <a:cubicBezTo>
                      <a:pt x="126" y="51"/>
                      <a:pt x="127" y="53"/>
                      <a:pt x="125" y="50"/>
                    </a:cubicBezTo>
                    <a:cubicBezTo>
                      <a:pt x="124" y="47"/>
                      <a:pt x="125" y="48"/>
                      <a:pt x="125" y="44"/>
                    </a:cubicBezTo>
                    <a:cubicBezTo>
                      <a:pt x="125" y="41"/>
                      <a:pt x="126" y="39"/>
                      <a:pt x="127" y="40"/>
                    </a:cubicBezTo>
                    <a:cubicBezTo>
                      <a:pt x="129" y="41"/>
                      <a:pt x="131" y="39"/>
                      <a:pt x="131" y="39"/>
                    </a:cubicBezTo>
                    <a:cubicBezTo>
                      <a:pt x="131" y="39"/>
                      <a:pt x="131" y="38"/>
                      <a:pt x="130" y="36"/>
                    </a:cubicBezTo>
                    <a:cubicBezTo>
                      <a:pt x="129" y="34"/>
                      <a:pt x="130" y="33"/>
                      <a:pt x="130" y="31"/>
                    </a:cubicBezTo>
                    <a:cubicBezTo>
                      <a:pt x="131" y="29"/>
                      <a:pt x="132" y="26"/>
                      <a:pt x="131" y="22"/>
                    </a:cubicBezTo>
                    <a:cubicBezTo>
                      <a:pt x="130" y="18"/>
                      <a:pt x="129" y="15"/>
                      <a:pt x="130" y="12"/>
                    </a:cubicBezTo>
                    <a:cubicBezTo>
                      <a:pt x="132" y="10"/>
                      <a:pt x="131" y="3"/>
                      <a:pt x="131" y="3"/>
                    </a:cubicBezTo>
                    <a:cubicBezTo>
                      <a:pt x="131" y="3"/>
                      <a:pt x="129" y="2"/>
                      <a:pt x="126" y="2"/>
                    </a:cubicBezTo>
                    <a:cubicBezTo>
                      <a:pt x="123" y="2"/>
                      <a:pt x="122" y="1"/>
                      <a:pt x="122" y="1"/>
                    </a:cubicBezTo>
                    <a:cubicBezTo>
                      <a:pt x="122" y="1"/>
                      <a:pt x="119" y="0"/>
                      <a:pt x="117" y="1"/>
                    </a:cubicBezTo>
                    <a:cubicBezTo>
                      <a:pt x="116" y="2"/>
                      <a:pt x="113" y="0"/>
                      <a:pt x="113" y="0"/>
                    </a:cubicBezTo>
                    <a:cubicBezTo>
                      <a:pt x="113" y="0"/>
                      <a:pt x="111" y="5"/>
                      <a:pt x="108" y="4"/>
                    </a:cubicBezTo>
                    <a:cubicBezTo>
                      <a:pt x="104" y="4"/>
                      <a:pt x="107" y="7"/>
                      <a:pt x="104" y="7"/>
                    </a:cubicBezTo>
                    <a:cubicBezTo>
                      <a:pt x="102" y="7"/>
                      <a:pt x="98" y="10"/>
                      <a:pt x="96" y="10"/>
                    </a:cubicBezTo>
                    <a:cubicBezTo>
                      <a:pt x="93" y="10"/>
                      <a:pt x="92" y="16"/>
                      <a:pt x="89" y="17"/>
                    </a:cubicBezTo>
                    <a:cubicBezTo>
                      <a:pt x="86" y="18"/>
                      <a:pt x="87" y="25"/>
                      <a:pt x="85" y="25"/>
                    </a:cubicBezTo>
                    <a:cubicBezTo>
                      <a:pt x="83" y="25"/>
                      <a:pt x="81" y="27"/>
                      <a:pt x="81" y="27"/>
                    </a:cubicBezTo>
                    <a:cubicBezTo>
                      <a:pt x="81" y="27"/>
                      <a:pt x="80" y="38"/>
                      <a:pt x="80" y="40"/>
                    </a:cubicBezTo>
                    <a:cubicBezTo>
                      <a:pt x="80" y="42"/>
                      <a:pt x="78" y="41"/>
                      <a:pt x="76" y="40"/>
                    </a:cubicBezTo>
                    <a:cubicBezTo>
                      <a:pt x="74" y="39"/>
                      <a:pt x="72" y="41"/>
                      <a:pt x="69" y="39"/>
                    </a:cubicBezTo>
                    <a:cubicBezTo>
                      <a:pt x="67" y="37"/>
                      <a:pt x="66" y="40"/>
                      <a:pt x="64" y="39"/>
                    </a:cubicBezTo>
                    <a:cubicBezTo>
                      <a:pt x="63" y="38"/>
                      <a:pt x="62" y="36"/>
                      <a:pt x="61" y="37"/>
                    </a:cubicBezTo>
                    <a:cubicBezTo>
                      <a:pt x="56" y="39"/>
                      <a:pt x="58" y="40"/>
                      <a:pt x="58" y="42"/>
                    </a:cubicBezTo>
                    <a:cubicBezTo>
                      <a:pt x="58" y="44"/>
                      <a:pt x="49" y="49"/>
                      <a:pt x="49" y="49"/>
                    </a:cubicBezTo>
                    <a:cubicBezTo>
                      <a:pt x="49" y="49"/>
                      <a:pt x="43" y="52"/>
                      <a:pt x="41" y="52"/>
                    </a:cubicBezTo>
                    <a:cubicBezTo>
                      <a:pt x="38" y="52"/>
                      <a:pt x="39" y="54"/>
                      <a:pt x="37" y="54"/>
                    </a:cubicBezTo>
                    <a:cubicBezTo>
                      <a:pt x="34" y="54"/>
                      <a:pt x="33" y="51"/>
                      <a:pt x="34" y="49"/>
                    </a:cubicBezTo>
                    <a:cubicBezTo>
                      <a:pt x="36" y="46"/>
                      <a:pt x="36" y="46"/>
                      <a:pt x="34" y="41"/>
                    </a:cubicBezTo>
                    <a:cubicBezTo>
                      <a:pt x="32" y="37"/>
                      <a:pt x="28" y="36"/>
                      <a:pt x="28" y="36"/>
                    </a:cubicBezTo>
                    <a:close/>
                    <a:moveTo>
                      <a:pt x="98" y="91"/>
                    </a:moveTo>
                    <a:cubicBezTo>
                      <a:pt x="99" y="91"/>
                      <a:pt x="99" y="90"/>
                      <a:pt x="100" y="90"/>
                    </a:cubicBezTo>
                    <a:cubicBezTo>
                      <a:pt x="101" y="89"/>
                      <a:pt x="102" y="88"/>
                      <a:pt x="103" y="88"/>
                    </a:cubicBezTo>
                    <a:cubicBezTo>
                      <a:pt x="104" y="87"/>
                      <a:pt x="105" y="88"/>
                      <a:pt x="106" y="87"/>
                    </a:cubicBezTo>
                    <a:cubicBezTo>
                      <a:pt x="107" y="85"/>
                      <a:pt x="106" y="84"/>
                      <a:pt x="106" y="83"/>
                    </a:cubicBezTo>
                    <a:cubicBezTo>
                      <a:pt x="105" y="81"/>
                      <a:pt x="104" y="81"/>
                      <a:pt x="103" y="79"/>
                    </a:cubicBezTo>
                    <a:cubicBezTo>
                      <a:pt x="101" y="77"/>
                      <a:pt x="101" y="77"/>
                      <a:pt x="101" y="77"/>
                    </a:cubicBezTo>
                    <a:cubicBezTo>
                      <a:pt x="101" y="77"/>
                      <a:pt x="97" y="79"/>
                      <a:pt x="96" y="81"/>
                    </a:cubicBezTo>
                    <a:cubicBezTo>
                      <a:pt x="94" y="83"/>
                      <a:pt x="93" y="83"/>
                      <a:pt x="92" y="83"/>
                    </a:cubicBezTo>
                    <a:cubicBezTo>
                      <a:pt x="91" y="83"/>
                      <a:pt x="90" y="86"/>
                      <a:pt x="91" y="86"/>
                    </a:cubicBezTo>
                    <a:cubicBezTo>
                      <a:pt x="92" y="86"/>
                      <a:pt x="91" y="87"/>
                      <a:pt x="92" y="89"/>
                    </a:cubicBezTo>
                    <a:cubicBezTo>
                      <a:pt x="93" y="91"/>
                      <a:pt x="92" y="93"/>
                      <a:pt x="95" y="93"/>
                    </a:cubicBezTo>
                    <a:cubicBezTo>
                      <a:pt x="98" y="93"/>
                      <a:pt x="97" y="92"/>
                      <a:pt x="98" y="9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95" name="Freeform 74">
                <a:extLst>
                  <a:ext uri="{FF2B5EF4-FFF2-40B4-BE49-F238E27FC236}">
                    <a16:creationId xmlns:a16="http://schemas.microsoft.com/office/drawing/2014/main" id="{7316E182-EA9C-E637-81E8-D510CCE31B2E}"/>
                  </a:ext>
                </a:extLst>
              </p:cNvPr>
              <p:cNvSpPr>
                <a:spLocks/>
              </p:cNvSpPr>
              <p:nvPr/>
            </p:nvSpPr>
            <p:spPr bwMode="auto">
              <a:xfrm>
                <a:off x="3817" y="2007"/>
                <a:ext cx="165" cy="265"/>
              </a:xfrm>
              <a:custGeom>
                <a:avLst/>
                <a:gdLst>
                  <a:gd name="T0" fmla="*/ 8 w 84"/>
                  <a:gd name="T1" fmla="*/ 134 h 135"/>
                  <a:gd name="T2" fmla="*/ 10 w 84"/>
                  <a:gd name="T3" fmla="*/ 130 h 135"/>
                  <a:gd name="T4" fmla="*/ 9 w 84"/>
                  <a:gd name="T5" fmla="*/ 130 h 135"/>
                  <a:gd name="T6" fmla="*/ 12 w 84"/>
                  <a:gd name="T7" fmla="*/ 127 h 135"/>
                  <a:gd name="T8" fmla="*/ 12 w 84"/>
                  <a:gd name="T9" fmla="*/ 125 h 135"/>
                  <a:gd name="T10" fmla="*/ 16 w 84"/>
                  <a:gd name="T11" fmla="*/ 123 h 135"/>
                  <a:gd name="T12" fmla="*/ 18 w 84"/>
                  <a:gd name="T13" fmla="*/ 119 h 135"/>
                  <a:gd name="T14" fmla="*/ 21 w 84"/>
                  <a:gd name="T15" fmla="*/ 117 h 135"/>
                  <a:gd name="T16" fmla="*/ 26 w 84"/>
                  <a:gd name="T17" fmla="*/ 111 h 135"/>
                  <a:gd name="T18" fmla="*/ 35 w 84"/>
                  <a:gd name="T19" fmla="*/ 106 h 135"/>
                  <a:gd name="T20" fmla="*/ 36 w 84"/>
                  <a:gd name="T21" fmla="*/ 104 h 135"/>
                  <a:gd name="T22" fmla="*/ 44 w 84"/>
                  <a:gd name="T23" fmla="*/ 96 h 135"/>
                  <a:gd name="T24" fmla="*/ 45 w 84"/>
                  <a:gd name="T25" fmla="*/ 93 h 135"/>
                  <a:gd name="T26" fmla="*/ 47 w 84"/>
                  <a:gd name="T27" fmla="*/ 93 h 135"/>
                  <a:gd name="T28" fmla="*/ 50 w 84"/>
                  <a:gd name="T29" fmla="*/ 90 h 135"/>
                  <a:gd name="T30" fmla="*/ 52 w 84"/>
                  <a:gd name="T31" fmla="*/ 84 h 135"/>
                  <a:gd name="T32" fmla="*/ 57 w 84"/>
                  <a:gd name="T33" fmla="*/ 82 h 135"/>
                  <a:gd name="T34" fmla="*/ 57 w 84"/>
                  <a:gd name="T35" fmla="*/ 79 h 135"/>
                  <a:gd name="T36" fmla="*/ 60 w 84"/>
                  <a:gd name="T37" fmla="*/ 73 h 135"/>
                  <a:gd name="T38" fmla="*/ 62 w 84"/>
                  <a:gd name="T39" fmla="*/ 71 h 135"/>
                  <a:gd name="T40" fmla="*/ 62 w 84"/>
                  <a:gd name="T41" fmla="*/ 67 h 135"/>
                  <a:gd name="T42" fmla="*/ 66 w 84"/>
                  <a:gd name="T43" fmla="*/ 61 h 135"/>
                  <a:gd name="T44" fmla="*/ 66 w 84"/>
                  <a:gd name="T45" fmla="*/ 58 h 135"/>
                  <a:gd name="T46" fmla="*/ 69 w 84"/>
                  <a:gd name="T47" fmla="*/ 51 h 135"/>
                  <a:gd name="T48" fmla="*/ 70 w 84"/>
                  <a:gd name="T49" fmla="*/ 45 h 135"/>
                  <a:gd name="T50" fmla="*/ 72 w 84"/>
                  <a:gd name="T51" fmla="*/ 44 h 135"/>
                  <a:gd name="T52" fmla="*/ 72 w 84"/>
                  <a:gd name="T53" fmla="*/ 41 h 135"/>
                  <a:gd name="T54" fmla="*/ 78 w 84"/>
                  <a:gd name="T55" fmla="*/ 35 h 135"/>
                  <a:gd name="T56" fmla="*/ 78 w 84"/>
                  <a:gd name="T57" fmla="*/ 29 h 135"/>
                  <a:gd name="T58" fmla="*/ 80 w 84"/>
                  <a:gd name="T59" fmla="*/ 28 h 135"/>
                  <a:gd name="T60" fmla="*/ 80 w 84"/>
                  <a:gd name="T61" fmla="*/ 25 h 135"/>
                  <a:gd name="T62" fmla="*/ 82 w 84"/>
                  <a:gd name="T63" fmla="*/ 17 h 135"/>
                  <a:gd name="T64" fmla="*/ 84 w 84"/>
                  <a:gd name="T65" fmla="*/ 2 h 135"/>
                  <a:gd name="T66" fmla="*/ 80 w 84"/>
                  <a:gd name="T67" fmla="*/ 0 h 135"/>
                  <a:gd name="T68" fmla="*/ 79 w 84"/>
                  <a:gd name="T69" fmla="*/ 2 h 135"/>
                  <a:gd name="T70" fmla="*/ 70 w 84"/>
                  <a:gd name="T71" fmla="*/ 6 h 135"/>
                  <a:gd name="T72" fmla="*/ 61 w 84"/>
                  <a:gd name="T73" fmla="*/ 6 h 135"/>
                  <a:gd name="T74" fmla="*/ 59 w 84"/>
                  <a:gd name="T75" fmla="*/ 8 h 135"/>
                  <a:gd name="T76" fmla="*/ 52 w 84"/>
                  <a:gd name="T77" fmla="*/ 9 h 135"/>
                  <a:gd name="T78" fmla="*/ 50 w 84"/>
                  <a:gd name="T79" fmla="*/ 11 h 135"/>
                  <a:gd name="T80" fmla="*/ 46 w 84"/>
                  <a:gd name="T81" fmla="*/ 12 h 135"/>
                  <a:gd name="T82" fmla="*/ 45 w 84"/>
                  <a:gd name="T83" fmla="*/ 13 h 135"/>
                  <a:gd name="T84" fmla="*/ 40 w 84"/>
                  <a:gd name="T85" fmla="*/ 12 h 135"/>
                  <a:gd name="T86" fmla="*/ 26 w 84"/>
                  <a:gd name="T87" fmla="*/ 14 h 135"/>
                  <a:gd name="T88" fmla="*/ 25 w 84"/>
                  <a:gd name="T89" fmla="*/ 13 h 135"/>
                  <a:gd name="T90" fmla="*/ 16 w 84"/>
                  <a:gd name="T91" fmla="*/ 4 h 135"/>
                  <a:gd name="T92" fmla="*/ 12 w 84"/>
                  <a:gd name="T93" fmla="*/ 9 h 135"/>
                  <a:gd name="T94" fmla="*/ 10 w 84"/>
                  <a:gd name="T95" fmla="*/ 13 h 135"/>
                  <a:gd name="T96" fmla="*/ 13 w 84"/>
                  <a:gd name="T97" fmla="*/ 18 h 135"/>
                  <a:gd name="T98" fmla="*/ 16 w 84"/>
                  <a:gd name="T99" fmla="*/ 23 h 135"/>
                  <a:gd name="T100" fmla="*/ 22 w 84"/>
                  <a:gd name="T101" fmla="*/ 27 h 135"/>
                  <a:gd name="T102" fmla="*/ 45 w 84"/>
                  <a:gd name="T103" fmla="*/ 38 h 135"/>
                  <a:gd name="T104" fmla="*/ 57 w 84"/>
                  <a:gd name="T105" fmla="*/ 38 h 135"/>
                  <a:gd name="T106" fmla="*/ 35 w 84"/>
                  <a:gd name="T107" fmla="*/ 72 h 135"/>
                  <a:gd name="T108" fmla="*/ 24 w 84"/>
                  <a:gd name="T109" fmla="*/ 73 h 135"/>
                  <a:gd name="T110" fmla="*/ 20 w 84"/>
                  <a:gd name="T111" fmla="*/ 75 h 135"/>
                  <a:gd name="T112" fmla="*/ 12 w 84"/>
                  <a:gd name="T113" fmla="*/ 76 h 135"/>
                  <a:gd name="T114" fmla="*/ 10 w 84"/>
                  <a:gd name="T115" fmla="*/ 78 h 135"/>
                  <a:gd name="T116" fmla="*/ 5 w 84"/>
                  <a:gd name="T117" fmla="*/ 89 h 135"/>
                  <a:gd name="T118" fmla="*/ 0 w 84"/>
                  <a:gd name="T119" fmla="*/ 92 h 135"/>
                  <a:gd name="T120" fmla="*/ 1 w 84"/>
                  <a:gd name="T121" fmla="*/ 128 h 135"/>
                  <a:gd name="T122" fmla="*/ 7 w 84"/>
                  <a:gd name="T123" fmla="*/ 135 h 135"/>
                  <a:gd name="T124" fmla="*/ 8 w 84"/>
                  <a:gd name="T125" fmla="*/ 13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135">
                    <a:moveTo>
                      <a:pt x="8" y="134"/>
                    </a:moveTo>
                    <a:cubicBezTo>
                      <a:pt x="9" y="133"/>
                      <a:pt x="9" y="132"/>
                      <a:pt x="10" y="130"/>
                    </a:cubicBezTo>
                    <a:cubicBezTo>
                      <a:pt x="10" y="130"/>
                      <a:pt x="9" y="131"/>
                      <a:pt x="9" y="130"/>
                    </a:cubicBezTo>
                    <a:cubicBezTo>
                      <a:pt x="10" y="129"/>
                      <a:pt x="12" y="128"/>
                      <a:pt x="12" y="127"/>
                    </a:cubicBezTo>
                    <a:cubicBezTo>
                      <a:pt x="13" y="127"/>
                      <a:pt x="12" y="126"/>
                      <a:pt x="12" y="125"/>
                    </a:cubicBezTo>
                    <a:cubicBezTo>
                      <a:pt x="13" y="124"/>
                      <a:pt x="15" y="124"/>
                      <a:pt x="16" y="123"/>
                    </a:cubicBezTo>
                    <a:cubicBezTo>
                      <a:pt x="17" y="122"/>
                      <a:pt x="17" y="120"/>
                      <a:pt x="18" y="119"/>
                    </a:cubicBezTo>
                    <a:cubicBezTo>
                      <a:pt x="18" y="118"/>
                      <a:pt x="20" y="118"/>
                      <a:pt x="21" y="117"/>
                    </a:cubicBezTo>
                    <a:cubicBezTo>
                      <a:pt x="23" y="116"/>
                      <a:pt x="24" y="113"/>
                      <a:pt x="26" y="111"/>
                    </a:cubicBezTo>
                    <a:cubicBezTo>
                      <a:pt x="28" y="109"/>
                      <a:pt x="32" y="108"/>
                      <a:pt x="35" y="106"/>
                    </a:cubicBezTo>
                    <a:cubicBezTo>
                      <a:pt x="35" y="106"/>
                      <a:pt x="35" y="104"/>
                      <a:pt x="36" y="104"/>
                    </a:cubicBezTo>
                    <a:cubicBezTo>
                      <a:pt x="38" y="101"/>
                      <a:pt x="43" y="99"/>
                      <a:pt x="44" y="96"/>
                    </a:cubicBezTo>
                    <a:cubicBezTo>
                      <a:pt x="45" y="95"/>
                      <a:pt x="44" y="94"/>
                      <a:pt x="45" y="93"/>
                    </a:cubicBezTo>
                    <a:cubicBezTo>
                      <a:pt x="45" y="93"/>
                      <a:pt x="47" y="93"/>
                      <a:pt x="47" y="93"/>
                    </a:cubicBezTo>
                    <a:cubicBezTo>
                      <a:pt x="47" y="93"/>
                      <a:pt x="50" y="90"/>
                      <a:pt x="50" y="90"/>
                    </a:cubicBezTo>
                    <a:cubicBezTo>
                      <a:pt x="51" y="88"/>
                      <a:pt x="50" y="85"/>
                      <a:pt x="52" y="84"/>
                    </a:cubicBezTo>
                    <a:cubicBezTo>
                      <a:pt x="53" y="83"/>
                      <a:pt x="56" y="83"/>
                      <a:pt x="57" y="82"/>
                    </a:cubicBezTo>
                    <a:cubicBezTo>
                      <a:pt x="57" y="81"/>
                      <a:pt x="57" y="79"/>
                      <a:pt x="57" y="79"/>
                    </a:cubicBezTo>
                    <a:cubicBezTo>
                      <a:pt x="60" y="73"/>
                      <a:pt x="60" y="73"/>
                      <a:pt x="60" y="73"/>
                    </a:cubicBezTo>
                    <a:cubicBezTo>
                      <a:pt x="60" y="72"/>
                      <a:pt x="62" y="72"/>
                      <a:pt x="62" y="71"/>
                    </a:cubicBezTo>
                    <a:cubicBezTo>
                      <a:pt x="63" y="70"/>
                      <a:pt x="62" y="68"/>
                      <a:pt x="62" y="67"/>
                    </a:cubicBezTo>
                    <a:cubicBezTo>
                      <a:pt x="63" y="65"/>
                      <a:pt x="66" y="64"/>
                      <a:pt x="66" y="61"/>
                    </a:cubicBezTo>
                    <a:cubicBezTo>
                      <a:pt x="67" y="60"/>
                      <a:pt x="66" y="59"/>
                      <a:pt x="66" y="58"/>
                    </a:cubicBezTo>
                    <a:cubicBezTo>
                      <a:pt x="67" y="56"/>
                      <a:pt x="68" y="53"/>
                      <a:pt x="69" y="51"/>
                    </a:cubicBezTo>
                    <a:cubicBezTo>
                      <a:pt x="70" y="49"/>
                      <a:pt x="69" y="47"/>
                      <a:pt x="70" y="45"/>
                    </a:cubicBezTo>
                    <a:cubicBezTo>
                      <a:pt x="72" y="44"/>
                      <a:pt x="72" y="44"/>
                      <a:pt x="72" y="44"/>
                    </a:cubicBezTo>
                    <a:cubicBezTo>
                      <a:pt x="72" y="43"/>
                      <a:pt x="71" y="42"/>
                      <a:pt x="72" y="41"/>
                    </a:cubicBezTo>
                    <a:cubicBezTo>
                      <a:pt x="73" y="39"/>
                      <a:pt x="77" y="36"/>
                      <a:pt x="78" y="35"/>
                    </a:cubicBezTo>
                    <a:cubicBezTo>
                      <a:pt x="78" y="33"/>
                      <a:pt x="78" y="31"/>
                      <a:pt x="78" y="29"/>
                    </a:cubicBezTo>
                    <a:cubicBezTo>
                      <a:pt x="80" y="28"/>
                      <a:pt x="80" y="28"/>
                      <a:pt x="80" y="28"/>
                    </a:cubicBezTo>
                    <a:cubicBezTo>
                      <a:pt x="80" y="27"/>
                      <a:pt x="79" y="26"/>
                      <a:pt x="80" y="25"/>
                    </a:cubicBezTo>
                    <a:cubicBezTo>
                      <a:pt x="80" y="23"/>
                      <a:pt x="82" y="19"/>
                      <a:pt x="82" y="17"/>
                    </a:cubicBezTo>
                    <a:cubicBezTo>
                      <a:pt x="83" y="12"/>
                      <a:pt x="83" y="6"/>
                      <a:pt x="84" y="2"/>
                    </a:cubicBezTo>
                    <a:cubicBezTo>
                      <a:pt x="83" y="1"/>
                      <a:pt x="83" y="0"/>
                      <a:pt x="80" y="0"/>
                    </a:cubicBezTo>
                    <a:cubicBezTo>
                      <a:pt x="80" y="0"/>
                      <a:pt x="79" y="2"/>
                      <a:pt x="79" y="2"/>
                    </a:cubicBezTo>
                    <a:cubicBezTo>
                      <a:pt x="78" y="3"/>
                      <a:pt x="71" y="5"/>
                      <a:pt x="70" y="6"/>
                    </a:cubicBezTo>
                    <a:cubicBezTo>
                      <a:pt x="66" y="6"/>
                      <a:pt x="65" y="4"/>
                      <a:pt x="61" y="6"/>
                    </a:cubicBezTo>
                    <a:cubicBezTo>
                      <a:pt x="60" y="6"/>
                      <a:pt x="59" y="7"/>
                      <a:pt x="59" y="8"/>
                    </a:cubicBezTo>
                    <a:cubicBezTo>
                      <a:pt x="56" y="8"/>
                      <a:pt x="54" y="8"/>
                      <a:pt x="52" y="9"/>
                    </a:cubicBezTo>
                    <a:cubicBezTo>
                      <a:pt x="51" y="9"/>
                      <a:pt x="51" y="11"/>
                      <a:pt x="50" y="11"/>
                    </a:cubicBezTo>
                    <a:cubicBezTo>
                      <a:pt x="49" y="12"/>
                      <a:pt x="47" y="11"/>
                      <a:pt x="46" y="12"/>
                    </a:cubicBezTo>
                    <a:cubicBezTo>
                      <a:pt x="45" y="13"/>
                      <a:pt x="45" y="13"/>
                      <a:pt x="45" y="13"/>
                    </a:cubicBezTo>
                    <a:cubicBezTo>
                      <a:pt x="42" y="14"/>
                      <a:pt x="42" y="12"/>
                      <a:pt x="40" y="12"/>
                    </a:cubicBezTo>
                    <a:cubicBezTo>
                      <a:pt x="35" y="10"/>
                      <a:pt x="30" y="13"/>
                      <a:pt x="26" y="14"/>
                    </a:cubicBezTo>
                    <a:cubicBezTo>
                      <a:pt x="26" y="14"/>
                      <a:pt x="25" y="13"/>
                      <a:pt x="25" y="13"/>
                    </a:cubicBezTo>
                    <a:cubicBezTo>
                      <a:pt x="21" y="11"/>
                      <a:pt x="18" y="8"/>
                      <a:pt x="16" y="4"/>
                    </a:cubicBezTo>
                    <a:cubicBezTo>
                      <a:pt x="12" y="9"/>
                      <a:pt x="12" y="9"/>
                      <a:pt x="12" y="9"/>
                    </a:cubicBezTo>
                    <a:cubicBezTo>
                      <a:pt x="10" y="13"/>
                      <a:pt x="10" y="13"/>
                      <a:pt x="10" y="13"/>
                    </a:cubicBezTo>
                    <a:cubicBezTo>
                      <a:pt x="10" y="13"/>
                      <a:pt x="12" y="16"/>
                      <a:pt x="13" y="18"/>
                    </a:cubicBezTo>
                    <a:cubicBezTo>
                      <a:pt x="15" y="20"/>
                      <a:pt x="14" y="21"/>
                      <a:pt x="16" y="23"/>
                    </a:cubicBezTo>
                    <a:cubicBezTo>
                      <a:pt x="18" y="24"/>
                      <a:pt x="19" y="26"/>
                      <a:pt x="22" y="27"/>
                    </a:cubicBezTo>
                    <a:cubicBezTo>
                      <a:pt x="26" y="29"/>
                      <a:pt x="45" y="38"/>
                      <a:pt x="45" y="38"/>
                    </a:cubicBezTo>
                    <a:cubicBezTo>
                      <a:pt x="57" y="38"/>
                      <a:pt x="57" y="38"/>
                      <a:pt x="57" y="38"/>
                    </a:cubicBezTo>
                    <a:cubicBezTo>
                      <a:pt x="35" y="72"/>
                      <a:pt x="35" y="72"/>
                      <a:pt x="35" y="72"/>
                    </a:cubicBezTo>
                    <a:cubicBezTo>
                      <a:pt x="24" y="73"/>
                      <a:pt x="24" y="73"/>
                      <a:pt x="24" y="73"/>
                    </a:cubicBezTo>
                    <a:cubicBezTo>
                      <a:pt x="20" y="75"/>
                      <a:pt x="20" y="75"/>
                      <a:pt x="20" y="75"/>
                    </a:cubicBezTo>
                    <a:cubicBezTo>
                      <a:pt x="12" y="76"/>
                      <a:pt x="12" y="76"/>
                      <a:pt x="12" y="76"/>
                    </a:cubicBezTo>
                    <a:cubicBezTo>
                      <a:pt x="10" y="78"/>
                      <a:pt x="10" y="78"/>
                      <a:pt x="10" y="78"/>
                    </a:cubicBezTo>
                    <a:cubicBezTo>
                      <a:pt x="5" y="89"/>
                      <a:pt x="5" y="89"/>
                      <a:pt x="5" y="89"/>
                    </a:cubicBezTo>
                    <a:cubicBezTo>
                      <a:pt x="0" y="92"/>
                      <a:pt x="0" y="92"/>
                      <a:pt x="0" y="92"/>
                    </a:cubicBezTo>
                    <a:cubicBezTo>
                      <a:pt x="1" y="128"/>
                      <a:pt x="1" y="128"/>
                      <a:pt x="1" y="128"/>
                    </a:cubicBezTo>
                    <a:cubicBezTo>
                      <a:pt x="7" y="135"/>
                      <a:pt x="7" y="135"/>
                      <a:pt x="7" y="135"/>
                    </a:cubicBezTo>
                    <a:lnTo>
                      <a:pt x="8" y="134"/>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96" name="Freeform 75">
                <a:extLst>
                  <a:ext uri="{FF2B5EF4-FFF2-40B4-BE49-F238E27FC236}">
                    <a16:creationId xmlns:a16="http://schemas.microsoft.com/office/drawing/2014/main" id="{8042A7B3-4BE2-20CE-D460-0687CC19593C}"/>
                  </a:ext>
                </a:extLst>
              </p:cNvPr>
              <p:cNvSpPr>
                <a:spLocks/>
              </p:cNvSpPr>
              <p:nvPr/>
            </p:nvSpPr>
            <p:spPr bwMode="auto">
              <a:xfrm>
                <a:off x="3817" y="2007"/>
                <a:ext cx="165" cy="265"/>
              </a:xfrm>
              <a:custGeom>
                <a:avLst/>
                <a:gdLst>
                  <a:gd name="T0" fmla="*/ 8 w 84"/>
                  <a:gd name="T1" fmla="*/ 134 h 135"/>
                  <a:gd name="T2" fmla="*/ 10 w 84"/>
                  <a:gd name="T3" fmla="*/ 130 h 135"/>
                  <a:gd name="T4" fmla="*/ 9 w 84"/>
                  <a:gd name="T5" fmla="*/ 130 h 135"/>
                  <a:gd name="T6" fmla="*/ 12 w 84"/>
                  <a:gd name="T7" fmla="*/ 127 h 135"/>
                  <a:gd name="T8" fmla="*/ 12 w 84"/>
                  <a:gd name="T9" fmla="*/ 125 h 135"/>
                  <a:gd name="T10" fmla="*/ 16 w 84"/>
                  <a:gd name="T11" fmla="*/ 123 h 135"/>
                  <a:gd name="T12" fmla="*/ 18 w 84"/>
                  <a:gd name="T13" fmla="*/ 119 h 135"/>
                  <a:gd name="T14" fmla="*/ 21 w 84"/>
                  <a:gd name="T15" fmla="*/ 117 h 135"/>
                  <a:gd name="T16" fmla="*/ 26 w 84"/>
                  <a:gd name="T17" fmla="*/ 111 h 135"/>
                  <a:gd name="T18" fmla="*/ 35 w 84"/>
                  <a:gd name="T19" fmla="*/ 106 h 135"/>
                  <a:gd name="T20" fmla="*/ 36 w 84"/>
                  <a:gd name="T21" fmla="*/ 104 h 135"/>
                  <a:gd name="T22" fmla="*/ 44 w 84"/>
                  <a:gd name="T23" fmla="*/ 96 h 135"/>
                  <a:gd name="T24" fmla="*/ 45 w 84"/>
                  <a:gd name="T25" fmla="*/ 93 h 135"/>
                  <a:gd name="T26" fmla="*/ 47 w 84"/>
                  <a:gd name="T27" fmla="*/ 93 h 135"/>
                  <a:gd name="T28" fmla="*/ 50 w 84"/>
                  <a:gd name="T29" fmla="*/ 90 h 135"/>
                  <a:gd name="T30" fmla="*/ 52 w 84"/>
                  <a:gd name="T31" fmla="*/ 84 h 135"/>
                  <a:gd name="T32" fmla="*/ 57 w 84"/>
                  <a:gd name="T33" fmla="*/ 82 h 135"/>
                  <a:gd name="T34" fmla="*/ 57 w 84"/>
                  <a:gd name="T35" fmla="*/ 79 h 135"/>
                  <a:gd name="T36" fmla="*/ 60 w 84"/>
                  <a:gd name="T37" fmla="*/ 73 h 135"/>
                  <a:gd name="T38" fmla="*/ 62 w 84"/>
                  <a:gd name="T39" fmla="*/ 71 h 135"/>
                  <a:gd name="T40" fmla="*/ 62 w 84"/>
                  <a:gd name="T41" fmla="*/ 67 h 135"/>
                  <a:gd name="T42" fmla="*/ 66 w 84"/>
                  <a:gd name="T43" fmla="*/ 61 h 135"/>
                  <a:gd name="T44" fmla="*/ 66 w 84"/>
                  <a:gd name="T45" fmla="*/ 58 h 135"/>
                  <a:gd name="T46" fmla="*/ 69 w 84"/>
                  <a:gd name="T47" fmla="*/ 51 h 135"/>
                  <a:gd name="T48" fmla="*/ 70 w 84"/>
                  <a:gd name="T49" fmla="*/ 45 h 135"/>
                  <a:gd name="T50" fmla="*/ 72 w 84"/>
                  <a:gd name="T51" fmla="*/ 44 h 135"/>
                  <a:gd name="T52" fmla="*/ 72 w 84"/>
                  <a:gd name="T53" fmla="*/ 41 h 135"/>
                  <a:gd name="T54" fmla="*/ 78 w 84"/>
                  <a:gd name="T55" fmla="*/ 35 h 135"/>
                  <a:gd name="T56" fmla="*/ 78 w 84"/>
                  <a:gd name="T57" fmla="*/ 29 h 135"/>
                  <a:gd name="T58" fmla="*/ 80 w 84"/>
                  <a:gd name="T59" fmla="*/ 28 h 135"/>
                  <a:gd name="T60" fmla="*/ 80 w 84"/>
                  <a:gd name="T61" fmla="*/ 25 h 135"/>
                  <a:gd name="T62" fmla="*/ 82 w 84"/>
                  <a:gd name="T63" fmla="*/ 17 h 135"/>
                  <a:gd name="T64" fmla="*/ 84 w 84"/>
                  <a:gd name="T65" fmla="*/ 2 h 135"/>
                  <a:gd name="T66" fmla="*/ 80 w 84"/>
                  <a:gd name="T67" fmla="*/ 0 h 135"/>
                  <a:gd name="T68" fmla="*/ 79 w 84"/>
                  <a:gd name="T69" fmla="*/ 2 h 135"/>
                  <a:gd name="T70" fmla="*/ 70 w 84"/>
                  <a:gd name="T71" fmla="*/ 6 h 135"/>
                  <a:gd name="T72" fmla="*/ 61 w 84"/>
                  <a:gd name="T73" fmla="*/ 6 h 135"/>
                  <a:gd name="T74" fmla="*/ 59 w 84"/>
                  <a:gd name="T75" fmla="*/ 8 h 135"/>
                  <a:gd name="T76" fmla="*/ 52 w 84"/>
                  <a:gd name="T77" fmla="*/ 9 h 135"/>
                  <a:gd name="T78" fmla="*/ 50 w 84"/>
                  <a:gd name="T79" fmla="*/ 11 h 135"/>
                  <a:gd name="T80" fmla="*/ 46 w 84"/>
                  <a:gd name="T81" fmla="*/ 12 h 135"/>
                  <a:gd name="T82" fmla="*/ 45 w 84"/>
                  <a:gd name="T83" fmla="*/ 13 h 135"/>
                  <a:gd name="T84" fmla="*/ 40 w 84"/>
                  <a:gd name="T85" fmla="*/ 12 h 135"/>
                  <a:gd name="T86" fmla="*/ 26 w 84"/>
                  <a:gd name="T87" fmla="*/ 14 h 135"/>
                  <a:gd name="T88" fmla="*/ 25 w 84"/>
                  <a:gd name="T89" fmla="*/ 13 h 135"/>
                  <a:gd name="T90" fmla="*/ 16 w 84"/>
                  <a:gd name="T91" fmla="*/ 4 h 135"/>
                  <a:gd name="T92" fmla="*/ 12 w 84"/>
                  <a:gd name="T93" fmla="*/ 9 h 135"/>
                  <a:gd name="T94" fmla="*/ 10 w 84"/>
                  <a:gd name="T95" fmla="*/ 13 h 135"/>
                  <a:gd name="T96" fmla="*/ 13 w 84"/>
                  <a:gd name="T97" fmla="*/ 18 h 135"/>
                  <a:gd name="T98" fmla="*/ 16 w 84"/>
                  <a:gd name="T99" fmla="*/ 23 h 135"/>
                  <a:gd name="T100" fmla="*/ 22 w 84"/>
                  <a:gd name="T101" fmla="*/ 27 h 135"/>
                  <a:gd name="T102" fmla="*/ 45 w 84"/>
                  <a:gd name="T103" fmla="*/ 38 h 135"/>
                  <a:gd name="T104" fmla="*/ 57 w 84"/>
                  <a:gd name="T105" fmla="*/ 38 h 135"/>
                  <a:gd name="T106" fmla="*/ 35 w 84"/>
                  <a:gd name="T107" fmla="*/ 72 h 135"/>
                  <a:gd name="T108" fmla="*/ 24 w 84"/>
                  <a:gd name="T109" fmla="*/ 73 h 135"/>
                  <a:gd name="T110" fmla="*/ 20 w 84"/>
                  <a:gd name="T111" fmla="*/ 75 h 135"/>
                  <a:gd name="T112" fmla="*/ 12 w 84"/>
                  <a:gd name="T113" fmla="*/ 76 h 135"/>
                  <a:gd name="T114" fmla="*/ 10 w 84"/>
                  <a:gd name="T115" fmla="*/ 78 h 135"/>
                  <a:gd name="T116" fmla="*/ 5 w 84"/>
                  <a:gd name="T117" fmla="*/ 89 h 135"/>
                  <a:gd name="T118" fmla="*/ 0 w 84"/>
                  <a:gd name="T119" fmla="*/ 92 h 135"/>
                  <a:gd name="T120" fmla="*/ 1 w 84"/>
                  <a:gd name="T121" fmla="*/ 128 h 135"/>
                  <a:gd name="T122" fmla="*/ 7 w 84"/>
                  <a:gd name="T123" fmla="*/ 135 h 135"/>
                  <a:gd name="T124" fmla="*/ 8 w 84"/>
                  <a:gd name="T125" fmla="*/ 13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135">
                    <a:moveTo>
                      <a:pt x="8" y="134"/>
                    </a:moveTo>
                    <a:cubicBezTo>
                      <a:pt x="9" y="133"/>
                      <a:pt x="9" y="132"/>
                      <a:pt x="10" y="130"/>
                    </a:cubicBezTo>
                    <a:cubicBezTo>
                      <a:pt x="10" y="130"/>
                      <a:pt x="9" y="131"/>
                      <a:pt x="9" y="130"/>
                    </a:cubicBezTo>
                    <a:cubicBezTo>
                      <a:pt x="10" y="129"/>
                      <a:pt x="12" y="128"/>
                      <a:pt x="12" y="127"/>
                    </a:cubicBezTo>
                    <a:cubicBezTo>
                      <a:pt x="13" y="127"/>
                      <a:pt x="12" y="126"/>
                      <a:pt x="12" y="125"/>
                    </a:cubicBezTo>
                    <a:cubicBezTo>
                      <a:pt x="13" y="124"/>
                      <a:pt x="15" y="124"/>
                      <a:pt x="16" y="123"/>
                    </a:cubicBezTo>
                    <a:cubicBezTo>
                      <a:pt x="17" y="122"/>
                      <a:pt x="17" y="120"/>
                      <a:pt x="18" y="119"/>
                    </a:cubicBezTo>
                    <a:cubicBezTo>
                      <a:pt x="18" y="118"/>
                      <a:pt x="20" y="118"/>
                      <a:pt x="21" y="117"/>
                    </a:cubicBezTo>
                    <a:cubicBezTo>
                      <a:pt x="23" y="116"/>
                      <a:pt x="24" y="113"/>
                      <a:pt x="26" y="111"/>
                    </a:cubicBezTo>
                    <a:cubicBezTo>
                      <a:pt x="28" y="109"/>
                      <a:pt x="32" y="108"/>
                      <a:pt x="35" y="106"/>
                    </a:cubicBezTo>
                    <a:cubicBezTo>
                      <a:pt x="35" y="106"/>
                      <a:pt x="35" y="104"/>
                      <a:pt x="36" y="104"/>
                    </a:cubicBezTo>
                    <a:cubicBezTo>
                      <a:pt x="38" y="101"/>
                      <a:pt x="43" y="99"/>
                      <a:pt x="44" y="96"/>
                    </a:cubicBezTo>
                    <a:cubicBezTo>
                      <a:pt x="45" y="95"/>
                      <a:pt x="44" y="94"/>
                      <a:pt x="45" y="93"/>
                    </a:cubicBezTo>
                    <a:cubicBezTo>
                      <a:pt x="45" y="93"/>
                      <a:pt x="47" y="93"/>
                      <a:pt x="47" y="93"/>
                    </a:cubicBezTo>
                    <a:cubicBezTo>
                      <a:pt x="47" y="93"/>
                      <a:pt x="50" y="90"/>
                      <a:pt x="50" y="90"/>
                    </a:cubicBezTo>
                    <a:cubicBezTo>
                      <a:pt x="51" y="88"/>
                      <a:pt x="50" y="85"/>
                      <a:pt x="52" y="84"/>
                    </a:cubicBezTo>
                    <a:cubicBezTo>
                      <a:pt x="53" y="83"/>
                      <a:pt x="56" y="83"/>
                      <a:pt x="57" y="82"/>
                    </a:cubicBezTo>
                    <a:cubicBezTo>
                      <a:pt x="57" y="81"/>
                      <a:pt x="57" y="79"/>
                      <a:pt x="57" y="79"/>
                    </a:cubicBezTo>
                    <a:cubicBezTo>
                      <a:pt x="60" y="73"/>
                      <a:pt x="60" y="73"/>
                      <a:pt x="60" y="73"/>
                    </a:cubicBezTo>
                    <a:cubicBezTo>
                      <a:pt x="60" y="72"/>
                      <a:pt x="62" y="72"/>
                      <a:pt x="62" y="71"/>
                    </a:cubicBezTo>
                    <a:cubicBezTo>
                      <a:pt x="63" y="70"/>
                      <a:pt x="62" y="68"/>
                      <a:pt x="62" y="67"/>
                    </a:cubicBezTo>
                    <a:cubicBezTo>
                      <a:pt x="63" y="65"/>
                      <a:pt x="66" y="64"/>
                      <a:pt x="66" y="61"/>
                    </a:cubicBezTo>
                    <a:cubicBezTo>
                      <a:pt x="67" y="60"/>
                      <a:pt x="66" y="59"/>
                      <a:pt x="66" y="58"/>
                    </a:cubicBezTo>
                    <a:cubicBezTo>
                      <a:pt x="67" y="56"/>
                      <a:pt x="68" y="53"/>
                      <a:pt x="69" y="51"/>
                    </a:cubicBezTo>
                    <a:cubicBezTo>
                      <a:pt x="70" y="49"/>
                      <a:pt x="69" y="47"/>
                      <a:pt x="70" y="45"/>
                    </a:cubicBezTo>
                    <a:cubicBezTo>
                      <a:pt x="72" y="44"/>
                      <a:pt x="72" y="44"/>
                      <a:pt x="72" y="44"/>
                    </a:cubicBezTo>
                    <a:cubicBezTo>
                      <a:pt x="72" y="43"/>
                      <a:pt x="71" y="42"/>
                      <a:pt x="72" y="41"/>
                    </a:cubicBezTo>
                    <a:cubicBezTo>
                      <a:pt x="73" y="39"/>
                      <a:pt x="77" y="36"/>
                      <a:pt x="78" y="35"/>
                    </a:cubicBezTo>
                    <a:cubicBezTo>
                      <a:pt x="78" y="33"/>
                      <a:pt x="78" y="31"/>
                      <a:pt x="78" y="29"/>
                    </a:cubicBezTo>
                    <a:cubicBezTo>
                      <a:pt x="80" y="28"/>
                      <a:pt x="80" y="28"/>
                      <a:pt x="80" y="28"/>
                    </a:cubicBezTo>
                    <a:cubicBezTo>
                      <a:pt x="80" y="27"/>
                      <a:pt x="79" y="26"/>
                      <a:pt x="80" y="25"/>
                    </a:cubicBezTo>
                    <a:cubicBezTo>
                      <a:pt x="80" y="23"/>
                      <a:pt x="82" y="19"/>
                      <a:pt x="82" y="17"/>
                    </a:cubicBezTo>
                    <a:cubicBezTo>
                      <a:pt x="83" y="12"/>
                      <a:pt x="83" y="6"/>
                      <a:pt x="84" y="2"/>
                    </a:cubicBezTo>
                    <a:cubicBezTo>
                      <a:pt x="83" y="1"/>
                      <a:pt x="83" y="0"/>
                      <a:pt x="80" y="0"/>
                    </a:cubicBezTo>
                    <a:cubicBezTo>
                      <a:pt x="80" y="0"/>
                      <a:pt x="79" y="2"/>
                      <a:pt x="79" y="2"/>
                    </a:cubicBezTo>
                    <a:cubicBezTo>
                      <a:pt x="78" y="3"/>
                      <a:pt x="71" y="5"/>
                      <a:pt x="70" y="6"/>
                    </a:cubicBezTo>
                    <a:cubicBezTo>
                      <a:pt x="66" y="6"/>
                      <a:pt x="65" y="4"/>
                      <a:pt x="61" y="6"/>
                    </a:cubicBezTo>
                    <a:cubicBezTo>
                      <a:pt x="60" y="6"/>
                      <a:pt x="59" y="7"/>
                      <a:pt x="59" y="8"/>
                    </a:cubicBezTo>
                    <a:cubicBezTo>
                      <a:pt x="56" y="8"/>
                      <a:pt x="54" y="8"/>
                      <a:pt x="52" y="9"/>
                    </a:cubicBezTo>
                    <a:cubicBezTo>
                      <a:pt x="51" y="9"/>
                      <a:pt x="51" y="11"/>
                      <a:pt x="50" y="11"/>
                    </a:cubicBezTo>
                    <a:cubicBezTo>
                      <a:pt x="49" y="12"/>
                      <a:pt x="47" y="11"/>
                      <a:pt x="46" y="12"/>
                    </a:cubicBezTo>
                    <a:cubicBezTo>
                      <a:pt x="45" y="13"/>
                      <a:pt x="45" y="13"/>
                      <a:pt x="45" y="13"/>
                    </a:cubicBezTo>
                    <a:cubicBezTo>
                      <a:pt x="42" y="14"/>
                      <a:pt x="42" y="12"/>
                      <a:pt x="40" y="12"/>
                    </a:cubicBezTo>
                    <a:cubicBezTo>
                      <a:pt x="35" y="10"/>
                      <a:pt x="30" y="13"/>
                      <a:pt x="26" y="14"/>
                    </a:cubicBezTo>
                    <a:cubicBezTo>
                      <a:pt x="26" y="14"/>
                      <a:pt x="25" y="13"/>
                      <a:pt x="25" y="13"/>
                    </a:cubicBezTo>
                    <a:cubicBezTo>
                      <a:pt x="21" y="11"/>
                      <a:pt x="18" y="8"/>
                      <a:pt x="16" y="4"/>
                    </a:cubicBezTo>
                    <a:cubicBezTo>
                      <a:pt x="12" y="9"/>
                      <a:pt x="12" y="9"/>
                      <a:pt x="12" y="9"/>
                    </a:cubicBezTo>
                    <a:cubicBezTo>
                      <a:pt x="10" y="13"/>
                      <a:pt x="10" y="13"/>
                      <a:pt x="10" y="13"/>
                    </a:cubicBezTo>
                    <a:cubicBezTo>
                      <a:pt x="10" y="13"/>
                      <a:pt x="12" y="16"/>
                      <a:pt x="13" y="18"/>
                    </a:cubicBezTo>
                    <a:cubicBezTo>
                      <a:pt x="15" y="20"/>
                      <a:pt x="14" y="21"/>
                      <a:pt x="16" y="23"/>
                    </a:cubicBezTo>
                    <a:cubicBezTo>
                      <a:pt x="18" y="24"/>
                      <a:pt x="19" y="26"/>
                      <a:pt x="22" y="27"/>
                    </a:cubicBezTo>
                    <a:cubicBezTo>
                      <a:pt x="26" y="29"/>
                      <a:pt x="45" y="38"/>
                      <a:pt x="45" y="38"/>
                    </a:cubicBezTo>
                    <a:cubicBezTo>
                      <a:pt x="57" y="38"/>
                      <a:pt x="57" y="38"/>
                      <a:pt x="57" y="38"/>
                    </a:cubicBezTo>
                    <a:cubicBezTo>
                      <a:pt x="35" y="72"/>
                      <a:pt x="35" y="72"/>
                      <a:pt x="35" y="72"/>
                    </a:cubicBezTo>
                    <a:cubicBezTo>
                      <a:pt x="24" y="73"/>
                      <a:pt x="24" y="73"/>
                      <a:pt x="24" y="73"/>
                    </a:cubicBezTo>
                    <a:cubicBezTo>
                      <a:pt x="20" y="75"/>
                      <a:pt x="20" y="75"/>
                      <a:pt x="20" y="75"/>
                    </a:cubicBezTo>
                    <a:cubicBezTo>
                      <a:pt x="12" y="76"/>
                      <a:pt x="12" y="76"/>
                      <a:pt x="12" y="76"/>
                    </a:cubicBezTo>
                    <a:cubicBezTo>
                      <a:pt x="10" y="78"/>
                      <a:pt x="10" y="78"/>
                      <a:pt x="10" y="78"/>
                    </a:cubicBezTo>
                    <a:cubicBezTo>
                      <a:pt x="5" y="89"/>
                      <a:pt x="5" y="89"/>
                      <a:pt x="5" y="89"/>
                    </a:cubicBezTo>
                    <a:cubicBezTo>
                      <a:pt x="0" y="92"/>
                      <a:pt x="0" y="92"/>
                      <a:pt x="0" y="92"/>
                    </a:cubicBezTo>
                    <a:cubicBezTo>
                      <a:pt x="1" y="128"/>
                      <a:pt x="1" y="128"/>
                      <a:pt x="1" y="128"/>
                    </a:cubicBezTo>
                    <a:cubicBezTo>
                      <a:pt x="7" y="135"/>
                      <a:pt x="7" y="135"/>
                      <a:pt x="7" y="135"/>
                    </a:cubicBezTo>
                    <a:lnTo>
                      <a:pt x="8" y="134"/>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97" name="Freeform 76">
                <a:extLst>
                  <a:ext uri="{FF2B5EF4-FFF2-40B4-BE49-F238E27FC236}">
                    <a16:creationId xmlns:a16="http://schemas.microsoft.com/office/drawing/2014/main" id="{2E3E4D49-9FD6-829E-EA77-8F0F5F33181C}"/>
                  </a:ext>
                </a:extLst>
              </p:cNvPr>
              <p:cNvSpPr>
                <a:spLocks noEditPoints="1"/>
              </p:cNvSpPr>
              <p:nvPr/>
            </p:nvSpPr>
            <p:spPr bwMode="auto">
              <a:xfrm>
                <a:off x="5753" y="2406"/>
                <a:ext cx="102" cy="90"/>
              </a:xfrm>
              <a:custGeom>
                <a:avLst/>
                <a:gdLst>
                  <a:gd name="T0" fmla="*/ 42 w 52"/>
                  <a:gd name="T1" fmla="*/ 39 h 46"/>
                  <a:gd name="T2" fmla="*/ 42 w 52"/>
                  <a:gd name="T3" fmla="*/ 42 h 46"/>
                  <a:gd name="T4" fmla="*/ 50 w 52"/>
                  <a:gd name="T5" fmla="*/ 45 h 46"/>
                  <a:gd name="T6" fmla="*/ 50 w 52"/>
                  <a:gd name="T7" fmla="*/ 44 h 46"/>
                  <a:gd name="T8" fmla="*/ 48 w 52"/>
                  <a:gd name="T9" fmla="*/ 44 h 46"/>
                  <a:gd name="T10" fmla="*/ 42 w 52"/>
                  <a:gd name="T11" fmla="*/ 39 h 46"/>
                  <a:gd name="T12" fmla="*/ 26 w 52"/>
                  <a:gd name="T13" fmla="*/ 29 h 46"/>
                  <a:gd name="T14" fmla="*/ 27 w 52"/>
                  <a:gd name="T15" fmla="*/ 33 h 46"/>
                  <a:gd name="T16" fmla="*/ 37 w 52"/>
                  <a:gd name="T17" fmla="*/ 34 h 46"/>
                  <a:gd name="T18" fmla="*/ 36 w 52"/>
                  <a:gd name="T19" fmla="*/ 32 h 46"/>
                  <a:gd name="T20" fmla="*/ 26 w 52"/>
                  <a:gd name="T21" fmla="*/ 29 h 46"/>
                  <a:gd name="T22" fmla="*/ 35 w 52"/>
                  <a:gd name="T23" fmla="*/ 20 h 46"/>
                  <a:gd name="T24" fmla="*/ 37 w 52"/>
                  <a:gd name="T25" fmla="*/ 27 h 46"/>
                  <a:gd name="T26" fmla="*/ 39 w 52"/>
                  <a:gd name="T27" fmla="*/ 29 h 46"/>
                  <a:gd name="T28" fmla="*/ 40 w 52"/>
                  <a:gd name="T29" fmla="*/ 30 h 46"/>
                  <a:gd name="T30" fmla="*/ 42 w 52"/>
                  <a:gd name="T31" fmla="*/ 30 h 46"/>
                  <a:gd name="T32" fmla="*/ 36 w 52"/>
                  <a:gd name="T33" fmla="*/ 20 h 46"/>
                  <a:gd name="T34" fmla="*/ 35 w 52"/>
                  <a:gd name="T35" fmla="*/ 20 h 46"/>
                  <a:gd name="T36" fmla="*/ 8 w 52"/>
                  <a:gd name="T37" fmla="*/ 13 h 46"/>
                  <a:gd name="T38" fmla="*/ 8 w 52"/>
                  <a:gd name="T39" fmla="*/ 19 h 46"/>
                  <a:gd name="T40" fmla="*/ 11 w 52"/>
                  <a:gd name="T41" fmla="*/ 20 h 46"/>
                  <a:gd name="T42" fmla="*/ 10 w 52"/>
                  <a:gd name="T43" fmla="*/ 14 h 46"/>
                  <a:gd name="T44" fmla="*/ 8 w 52"/>
                  <a:gd name="T45" fmla="*/ 13 h 46"/>
                  <a:gd name="T46" fmla="*/ 17 w 52"/>
                  <a:gd name="T47" fmla="*/ 9 h 46"/>
                  <a:gd name="T48" fmla="*/ 16 w 52"/>
                  <a:gd name="T49" fmla="*/ 11 h 46"/>
                  <a:gd name="T50" fmla="*/ 26 w 52"/>
                  <a:gd name="T51" fmla="*/ 18 h 46"/>
                  <a:gd name="T52" fmla="*/ 27 w 52"/>
                  <a:gd name="T53" fmla="*/ 17 h 46"/>
                  <a:gd name="T54" fmla="*/ 24 w 52"/>
                  <a:gd name="T55" fmla="*/ 15 h 46"/>
                  <a:gd name="T56" fmla="*/ 23 w 52"/>
                  <a:gd name="T57" fmla="*/ 11 h 46"/>
                  <a:gd name="T58" fmla="*/ 17 w 52"/>
                  <a:gd name="T59" fmla="*/ 9 h 46"/>
                  <a:gd name="T60" fmla="*/ 0 w 52"/>
                  <a:gd name="T61" fmla="*/ 0 h 46"/>
                  <a:gd name="T62" fmla="*/ 8 w 52"/>
                  <a:gd name="T63" fmla="*/ 7 h 46"/>
                  <a:gd name="T64" fmla="*/ 6 w 52"/>
                  <a:gd name="T65" fmla="*/ 6 h 46"/>
                  <a:gd name="T66" fmla="*/ 0 w 52"/>
                  <a:gd name="T6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46">
                    <a:moveTo>
                      <a:pt x="42" y="39"/>
                    </a:moveTo>
                    <a:cubicBezTo>
                      <a:pt x="43" y="40"/>
                      <a:pt x="41" y="40"/>
                      <a:pt x="42" y="42"/>
                    </a:cubicBezTo>
                    <a:cubicBezTo>
                      <a:pt x="44" y="44"/>
                      <a:pt x="52" y="46"/>
                      <a:pt x="50" y="45"/>
                    </a:cubicBezTo>
                    <a:cubicBezTo>
                      <a:pt x="50" y="44"/>
                      <a:pt x="50" y="44"/>
                      <a:pt x="50" y="44"/>
                    </a:cubicBezTo>
                    <a:cubicBezTo>
                      <a:pt x="49" y="44"/>
                      <a:pt x="49" y="44"/>
                      <a:pt x="48" y="44"/>
                    </a:cubicBezTo>
                    <a:cubicBezTo>
                      <a:pt x="47" y="41"/>
                      <a:pt x="45" y="41"/>
                      <a:pt x="42" y="39"/>
                    </a:cubicBezTo>
                    <a:close/>
                    <a:moveTo>
                      <a:pt x="26" y="29"/>
                    </a:moveTo>
                    <a:cubicBezTo>
                      <a:pt x="27" y="30"/>
                      <a:pt x="26" y="31"/>
                      <a:pt x="27" y="33"/>
                    </a:cubicBezTo>
                    <a:cubicBezTo>
                      <a:pt x="29" y="36"/>
                      <a:pt x="33" y="34"/>
                      <a:pt x="37" y="34"/>
                    </a:cubicBezTo>
                    <a:cubicBezTo>
                      <a:pt x="37" y="34"/>
                      <a:pt x="36" y="32"/>
                      <a:pt x="36" y="32"/>
                    </a:cubicBezTo>
                    <a:cubicBezTo>
                      <a:pt x="33" y="31"/>
                      <a:pt x="29" y="29"/>
                      <a:pt x="26" y="29"/>
                    </a:cubicBezTo>
                    <a:close/>
                    <a:moveTo>
                      <a:pt x="35" y="20"/>
                    </a:moveTo>
                    <a:cubicBezTo>
                      <a:pt x="36" y="22"/>
                      <a:pt x="36" y="23"/>
                      <a:pt x="37" y="27"/>
                    </a:cubicBezTo>
                    <a:cubicBezTo>
                      <a:pt x="37" y="27"/>
                      <a:pt x="39" y="28"/>
                      <a:pt x="39" y="29"/>
                    </a:cubicBezTo>
                    <a:cubicBezTo>
                      <a:pt x="40" y="30"/>
                      <a:pt x="40" y="30"/>
                      <a:pt x="40" y="30"/>
                    </a:cubicBezTo>
                    <a:cubicBezTo>
                      <a:pt x="40" y="30"/>
                      <a:pt x="41" y="30"/>
                      <a:pt x="42" y="30"/>
                    </a:cubicBezTo>
                    <a:cubicBezTo>
                      <a:pt x="40" y="26"/>
                      <a:pt x="38" y="23"/>
                      <a:pt x="36" y="20"/>
                    </a:cubicBezTo>
                    <a:lnTo>
                      <a:pt x="35" y="20"/>
                    </a:lnTo>
                    <a:close/>
                    <a:moveTo>
                      <a:pt x="8" y="13"/>
                    </a:moveTo>
                    <a:cubicBezTo>
                      <a:pt x="6" y="18"/>
                      <a:pt x="6" y="15"/>
                      <a:pt x="8" y="19"/>
                    </a:cubicBezTo>
                    <a:cubicBezTo>
                      <a:pt x="7" y="20"/>
                      <a:pt x="11" y="20"/>
                      <a:pt x="11" y="20"/>
                    </a:cubicBezTo>
                    <a:cubicBezTo>
                      <a:pt x="11" y="18"/>
                      <a:pt x="11" y="15"/>
                      <a:pt x="10" y="14"/>
                    </a:cubicBezTo>
                    <a:cubicBezTo>
                      <a:pt x="10" y="14"/>
                      <a:pt x="8" y="13"/>
                      <a:pt x="8" y="13"/>
                    </a:cubicBezTo>
                    <a:close/>
                    <a:moveTo>
                      <a:pt x="17" y="9"/>
                    </a:moveTo>
                    <a:cubicBezTo>
                      <a:pt x="17" y="9"/>
                      <a:pt x="17" y="11"/>
                      <a:pt x="16" y="11"/>
                    </a:cubicBezTo>
                    <a:cubicBezTo>
                      <a:pt x="20" y="14"/>
                      <a:pt x="23" y="16"/>
                      <a:pt x="26" y="18"/>
                    </a:cubicBezTo>
                    <a:cubicBezTo>
                      <a:pt x="26" y="18"/>
                      <a:pt x="27" y="17"/>
                      <a:pt x="27" y="17"/>
                    </a:cubicBezTo>
                    <a:cubicBezTo>
                      <a:pt x="26" y="16"/>
                      <a:pt x="25" y="15"/>
                      <a:pt x="24" y="15"/>
                    </a:cubicBezTo>
                    <a:cubicBezTo>
                      <a:pt x="24" y="14"/>
                      <a:pt x="24" y="12"/>
                      <a:pt x="23" y="11"/>
                    </a:cubicBezTo>
                    <a:cubicBezTo>
                      <a:pt x="23" y="11"/>
                      <a:pt x="18" y="9"/>
                      <a:pt x="17" y="9"/>
                    </a:cubicBezTo>
                    <a:close/>
                    <a:moveTo>
                      <a:pt x="0" y="0"/>
                    </a:moveTo>
                    <a:cubicBezTo>
                      <a:pt x="2" y="6"/>
                      <a:pt x="1" y="6"/>
                      <a:pt x="8" y="7"/>
                    </a:cubicBezTo>
                    <a:cubicBezTo>
                      <a:pt x="7" y="7"/>
                      <a:pt x="7" y="6"/>
                      <a:pt x="6" y="6"/>
                    </a:cubicBezTo>
                    <a:cubicBezTo>
                      <a:pt x="4" y="4"/>
                      <a:pt x="2" y="2"/>
                      <a:pt x="0"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98" name="Freeform 77">
                <a:extLst>
                  <a:ext uri="{FF2B5EF4-FFF2-40B4-BE49-F238E27FC236}">
                    <a16:creationId xmlns:a16="http://schemas.microsoft.com/office/drawing/2014/main" id="{946F346A-E312-00E9-0CB2-7E017585B801}"/>
                  </a:ext>
                </a:extLst>
              </p:cNvPr>
              <p:cNvSpPr>
                <a:spLocks noEditPoints="1"/>
              </p:cNvSpPr>
              <p:nvPr/>
            </p:nvSpPr>
            <p:spPr bwMode="auto">
              <a:xfrm>
                <a:off x="5753" y="2406"/>
                <a:ext cx="102" cy="90"/>
              </a:xfrm>
              <a:custGeom>
                <a:avLst/>
                <a:gdLst>
                  <a:gd name="T0" fmla="*/ 42 w 52"/>
                  <a:gd name="T1" fmla="*/ 39 h 46"/>
                  <a:gd name="T2" fmla="*/ 42 w 52"/>
                  <a:gd name="T3" fmla="*/ 42 h 46"/>
                  <a:gd name="T4" fmla="*/ 50 w 52"/>
                  <a:gd name="T5" fmla="*/ 45 h 46"/>
                  <a:gd name="T6" fmla="*/ 50 w 52"/>
                  <a:gd name="T7" fmla="*/ 44 h 46"/>
                  <a:gd name="T8" fmla="*/ 48 w 52"/>
                  <a:gd name="T9" fmla="*/ 44 h 46"/>
                  <a:gd name="T10" fmla="*/ 42 w 52"/>
                  <a:gd name="T11" fmla="*/ 39 h 46"/>
                  <a:gd name="T12" fmla="*/ 26 w 52"/>
                  <a:gd name="T13" fmla="*/ 29 h 46"/>
                  <a:gd name="T14" fmla="*/ 27 w 52"/>
                  <a:gd name="T15" fmla="*/ 33 h 46"/>
                  <a:gd name="T16" fmla="*/ 37 w 52"/>
                  <a:gd name="T17" fmla="*/ 34 h 46"/>
                  <a:gd name="T18" fmla="*/ 36 w 52"/>
                  <a:gd name="T19" fmla="*/ 32 h 46"/>
                  <a:gd name="T20" fmla="*/ 26 w 52"/>
                  <a:gd name="T21" fmla="*/ 29 h 46"/>
                  <a:gd name="T22" fmla="*/ 35 w 52"/>
                  <a:gd name="T23" fmla="*/ 20 h 46"/>
                  <a:gd name="T24" fmla="*/ 37 w 52"/>
                  <a:gd name="T25" fmla="*/ 27 h 46"/>
                  <a:gd name="T26" fmla="*/ 39 w 52"/>
                  <a:gd name="T27" fmla="*/ 29 h 46"/>
                  <a:gd name="T28" fmla="*/ 40 w 52"/>
                  <a:gd name="T29" fmla="*/ 30 h 46"/>
                  <a:gd name="T30" fmla="*/ 42 w 52"/>
                  <a:gd name="T31" fmla="*/ 30 h 46"/>
                  <a:gd name="T32" fmla="*/ 36 w 52"/>
                  <a:gd name="T33" fmla="*/ 20 h 46"/>
                  <a:gd name="T34" fmla="*/ 35 w 52"/>
                  <a:gd name="T35" fmla="*/ 20 h 46"/>
                  <a:gd name="T36" fmla="*/ 8 w 52"/>
                  <a:gd name="T37" fmla="*/ 13 h 46"/>
                  <a:gd name="T38" fmla="*/ 8 w 52"/>
                  <a:gd name="T39" fmla="*/ 19 h 46"/>
                  <a:gd name="T40" fmla="*/ 11 w 52"/>
                  <a:gd name="T41" fmla="*/ 20 h 46"/>
                  <a:gd name="T42" fmla="*/ 10 w 52"/>
                  <a:gd name="T43" fmla="*/ 14 h 46"/>
                  <a:gd name="T44" fmla="*/ 8 w 52"/>
                  <a:gd name="T45" fmla="*/ 13 h 46"/>
                  <a:gd name="T46" fmla="*/ 17 w 52"/>
                  <a:gd name="T47" fmla="*/ 9 h 46"/>
                  <a:gd name="T48" fmla="*/ 16 w 52"/>
                  <a:gd name="T49" fmla="*/ 11 h 46"/>
                  <a:gd name="T50" fmla="*/ 26 w 52"/>
                  <a:gd name="T51" fmla="*/ 18 h 46"/>
                  <a:gd name="T52" fmla="*/ 27 w 52"/>
                  <a:gd name="T53" fmla="*/ 17 h 46"/>
                  <a:gd name="T54" fmla="*/ 24 w 52"/>
                  <a:gd name="T55" fmla="*/ 15 h 46"/>
                  <a:gd name="T56" fmla="*/ 23 w 52"/>
                  <a:gd name="T57" fmla="*/ 11 h 46"/>
                  <a:gd name="T58" fmla="*/ 17 w 52"/>
                  <a:gd name="T59" fmla="*/ 9 h 46"/>
                  <a:gd name="T60" fmla="*/ 0 w 52"/>
                  <a:gd name="T61" fmla="*/ 0 h 46"/>
                  <a:gd name="T62" fmla="*/ 8 w 52"/>
                  <a:gd name="T63" fmla="*/ 7 h 46"/>
                  <a:gd name="T64" fmla="*/ 6 w 52"/>
                  <a:gd name="T65" fmla="*/ 6 h 46"/>
                  <a:gd name="T66" fmla="*/ 0 w 52"/>
                  <a:gd name="T6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46">
                    <a:moveTo>
                      <a:pt x="42" y="39"/>
                    </a:moveTo>
                    <a:cubicBezTo>
                      <a:pt x="43" y="40"/>
                      <a:pt x="41" y="40"/>
                      <a:pt x="42" y="42"/>
                    </a:cubicBezTo>
                    <a:cubicBezTo>
                      <a:pt x="44" y="44"/>
                      <a:pt x="52" y="46"/>
                      <a:pt x="50" y="45"/>
                    </a:cubicBezTo>
                    <a:cubicBezTo>
                      <a:pt x="50" y="44"/>
                      <a:pt x="50" y="44"/>
                      <a:pt x="50" y="44"/>
                    </a:cubicBezTo>
                    <a:cubicBezTo>
                      <a:pt x="49" y="44"/>
                      <a:pt x="49" y="44"/>
                      <a:pt x="48" y="44"/>
                    </a:cubicBezTo>
                    <a:cubicBezTo>
                      <a:pt x="47" y="41"/>
                      <a:pt x="45" y="41"/>
                      <a:pt x="42" y="39"/>
                    </a:cubicBezTo>
                    <a:close/>
                    <a:moveTo>
                      <a:pt x="26" y="29"/>
                    </a:moveTo>
                    <a:cubicBezTo>
                      <a:pt x="27" y="30"/>
                      <a:pt x="26" y="31"/>
                      <a:pt x="27" y="33"/>
                    </a:cubicBezTo>
                    <a:cubicBezTo>
                      <a:pt x="29" y="36"/>
                      <a:pt x="33" y="34"/>
                      <a:pt x="37" y="34"/>
                    </a:cubicBezTo>
                    <a:cubicBezTo>
                      <a:pt x="37" y="34"/>
                      <a:pt x="36" y="32"/>
                      <a:pt x="36" y="32"/>
                    </a:cubicBezTo>
                    <a:cubicBezTo>
                      <a:pt x="33" y="31"/>
                      <a:pt x="29" y="29"/>
                      <a:pt x="26" y="29"/>
                    </a:cubicBezTo>
                    <a:close/>
                    <a:moveTo>
                      <a:pt x="35" y="20"/>
                    </a:moveTo>
                    <a:cubicBezTo>
                      <a:pt x="36" y="22"/>
                      <a:pt x="36" y="23"/>
                      <a:pt x="37" y="27"/>
                    </a:cubicBezTo>
                    <a:cubicBezTo>
                      <a:pt x="37" y="27"/>
                      <a:pt x="39" y="28"/>
                      <a:pt x="39" y="29"/>
                    </a:cubicBezTo>
                    <a:cubicBezTo>
                      <a:pt x="40" y="30"/>
                      <a:pt x="40" y="30"/>
                      <a:pt x="40" y="30"/>
                    </a:cubicBezTo>
                    <a:cubicBezTo>
                      <a:pt x="40" y="30"/>
                      <a:pt x="41" y="30"/>
                      <a:pt x="42" y="30"/>
                    </a:cubicBezTo>
                    <a:cubicBezTo>
                      <a:pt x="40" y="26"/>
                      <a:pt x="38" y="23"/>
                      <a:pt x="36" y="20"/>
                    </a:cubicBezTo>
                    <a:lnTo>
                      <a:pt x="35" y="20"/>
                    </a:lnTo>
                    <a:close/>
                    <a:moveTo>
                      <a:pt x="8" y="13"/>
                    </a:moveTo>
                    <a:cubicBezTo>
                      <a:pt x="6" y="18"/>
                      <a:pt x="6" y="15"/>
                      <a:pt x="8" y="19"/>
                    </a:cubicBezTo>
                    <a:cubicBezTo>
                      <a:pt x="7" y="20"/>
                      <a:pt x="11" y="20"/>
                      <a:pt x="11" y="20"/>
                    </a:cubicBezTo>
                    <a:cubicBezTo>
                      <a:pt x="11" y="18"/>
                      <a:pt x="11" y="15"/>
                      <a:pt x="10" y="14"/>
                    </a:cubicBezTo>
                    <a:cubicBezTo>
                      <a:pt x="10" y="14"/>
                      <a:pt x="8" y="13"/>
                      <a:pt x="8" y="13"/>
                    </a:cubicBezTo>
                    <a:close/>
                    <a:moveTo>
                      <a:pt x="17" y="9"/>
                    </a:moveTo>
                    <a:cubicBezTo>
                      <a:pt x="17" y="9"/>
                      <a:pt x="17" y="11"/>
                      <a:pt x="16" y="11"/>
                    </a:cubicBezTo>
                    <a:cubicBezTo>
                      <a:pt x="20" y="14"/>
                      <a:pt x="23" y="16"/>
                      <a:pt x="26" y="18"/>
                    </a:cubicBezTo>
                    <a:cubicBezTo>
                      <a:pt x="26" y="18"/>
                      <a:pt x="27" y="17"/>
                      <a:pt x="27" y="17"/>
                    </a:cubicBezTo>
                    <a:cubicBezTo>
                      <a:pt x="26" y="16"/>
                      <a:pt x="25" y="15"/>
                      <a:pt x="24" y="15"/>
                    </a:cubicBezTo>
                    <a:cubicBezTo>
                      <a:pt x="24" y="14"/>
                      <a:pt x="24" y="12"/>
                      <a:pt x="23" y="11"/>
                    </a:cubicBezTo>
                    <a:cubicBezTo>
                      <a:pt x="23" y="11"/>
                      <a:pt x="18" y="9"/>
                      <a:pt x="17" y="9"/>
                    </a:cubicBezTo>
                    <a:close/>
                    <a:moveTo>
                      <a:pt x="0" y="0"/>
                    </a:moveTo>
                    <a:cubicBezTo>
                      <a:pt x="2" y="6"/>
                      <a:pt x="1" y="6"/>
                      <a:pt x="8" y="7"/>
                    </a:cubicBezTo>
                    <a:cubicBezTo>
                      <a:pt x="7" y="7"/>
                      <a:pt x="7" y="6"/>
                      <a:pt x="6" y="6"/>
                    </a:cubicBezTo>
                    <a:cubicBezTo>
                      <a:pt x="4" y="4"/>
                      <a:pt x="2" y="2"/>
                      <a:pt x="0"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99" name="Freeform 78">
                <a:extLst>
                  <a:ext uri="{FF2B5EF4-FFF2-40B4-BE49-F238E27FC236}">
                    <a16:creationId xmlns:a16="http://schemas.microsoft.com/office/drawing/2014/main" id="{73E9F84C-DBFA-CF64-E4F1-9C2EA70D47E4}"/>
                  </a:ext>
                </a:extLst>
              </p:cNvPr>
              <p:cNvSpPr>
                <a:spLocks/>
              </p:cNvSpPr>
              <p:nvPr/>
            </p:nvSpPr>
            <p:spPr bwMode="auto">
              <a:xfrm>
                <a:off x="3333" y="1205"/>
                <a:ext cx="65" cy="53"/>
              </a:xfrm>
              <a:custGeom>
                <a:avLst/>
                <a:gdLst>
                  <a:gd name="T0" fmla="*/ 6 w 33"/>
                  <a:gd name="T1" fmla="*/ 21 h 27"/>
                  <a:gd name="T2" fmla="*/ 6 w 33"/>
                  <a:gd name="T3" fmla="*/ 24 h 27"/>
                  <a:gd name="T4" fmla="*/ 4 w 33"/>
                  <a:gd name="T5" fmla="*/ 27 h 27"/>
                  <a:gd name="T6" fmla="*/ 5 w 33"/>
                  <a:gd name="T7" fmla="*/ 27 h 27"/>
                  <a:gd name="T8" fmla="*/ 15 w 33"/>
                  <a:gd name="T9" fmla="*/ 24 h 27"/>
                  <a:gd name="T10" fmla="*/ 16 w 33"/>
                  <a:gd name="T11" fmla="*/ 19 h 27"/>
                  <a:gd name="T12" fmla="*/ 20 w 33"/>
                  <a:gd name="T13" fmla="*/ 21 h 27"/>
                  <a:gd name="T14" fmla="*/ 23 w 33"/>
                  <a:gd name="T15" fmla="*/ 13 h 27"/>
                  <a:gd name="T16" fmla="*/ 26 w 33"/>
                  <a:gd name="T17" fmla="*/ 11 h 27"/>
                  <a:gd name="T18" fmla="*/ 29 w 33"/>
                  <a:gd name="T19" fmla="*/ 9 h 27"/>
                  <a:gd name="T20" fmla="*/ 32 w 33"/>
                  <a:gd name="T21" fmla="*/ 6 h 27"/>
                  <a:gd name="T22" fmla="*/ 32 w 33"/>
                  <a:gd name="T23" fmla="*/ 3 h 27"/>
                  <a:gd name="T24" fmla="*/ 30 w 33"/>
                  <a:gd name="T25" fmla="*/ 0 h 27"/>
                  <a:gd name="T26" fmla="*/ 27 w 33"/>
                  <a:gd name="T27" fmla="*/ 2 h 27"/>
                  <a:gd name="T28" fmla="*/ 21 w 33"/>
                  <a:gd name="T29" fmla="*/ 1 h 27"/>
                  <a:gd name="T30" fmla="*/ 17 w 33"/>
                  <a:gd name="T31" fmla="*/ 3 h 27"/>
                  <a:gd name="T32" fmla="*/ 11 w 33"/>
                  <a:gd name="T33" fmla="*/ 5 h 27"/>
                  <a:gd name="T34" fmla="*/ 7 w 33"/>
                  <a:gd name="T35" fmla="*/ 6 h 27"/>
                  <a:gd name="T36" fmla="*/ 4 w 33"/>
                  <a:gd name="T37" fmla="*/ 7 h 27"/>
                  <a:gd name="T38" fmla="*/ 3 w 33"/>
                  <a:gd name="T39" fmla="*/ 13 h 27"/>
                  <a:gd name="T40" fmla="*/ 6 w 33"/>
                  <a:gd name="T41" fmla="*/ 16 h 27"/>
                  <a:gd name="T42" fmla="*/ 6 w 33"/>
                  <a:gd name="T43"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27">
                    <a:moveTo>
                      <a:pt x="6" y="21"/>
                    </a:moveTo>
                    <a:cubicBezTo>
                      <a:pt x="6" y="22"/>
                      <a:pt x="7" y="24"/>
                      <a:pt x="6" y="24"/>
                    </a:cubicBezTo>
                    <a:cubicBezTo>
                      <a:pt x="6" y="24"/>
                      <a:pt x="3" y="27"/>
                      <a:pt x="4" y="27"/>
                    </a:cubicBezTo>
                    <a:cubicBezTo>
                      <a:pt x="5" y="27"/>
                      <a:pt x="5" y="27"/>
                      <a:pt x="5" y="27"/>
                    </a:cubicBezTo>
                    <a:cubicBezTo>
                      <a:pt x="5" y="27"/>
                      <a:pt x="14" y="26"/>
                      <a:pt x="15" y="24"/>
                    </a:cubicBezTo>
                    <a:cubicBezTo>
                      <a:pt x="16" y="22"/>
                      <a:pt x="16" y="22"/>
                      <a:pt x="16" y="19"/>
                    </a:cubicBezTo>
                    <a:cubicBezTo>
                      <a:pt x="16" y="16"/>
                      <a:pt x="17" y="21"/>
                      <a:pt x="20" y="21"/>
                    </a:cubicBezTo>
                    <a:cubicBezTo>
                      <a:pt x="22" y="20"/>
                      <a:pt x="23" y="15"/>
                      <a:pt x="23" y="13"/>
                    </a:cubicBezTo>
                    <a:cubicBezTo>
                      <a:pt x="24" y="9"/>
                      <a:pt x="24" y="11"/>
                      <a:pt x="26" y="11"/>
                    </a:cubicBezTo>
                    <a:cubicBezTo>
                      <a:pt x="28" y="11"/>
                      <a:pt x="29" y="11"/>
                      <a:pt x="29" y="9"/>
                    </a:cubicBezTo>
                    <a:cubicBezTo>
                      <a:pt x="29" y="7"/>
                      <a:pt x="32" y="6"/>
                      <a:pt x="32" y="6"/>
                    </a:cubicBezTo>
                    <a:cubicBezTo>
                      <a:pt x="32" y="6"/>
                      <a:pt x="33" y="5"/>
                      <a:pt x="32" y="3"/>
                    </a:cubicBezTo>
                    <a:cubicBezTo>
                      <a:pt x="32" y="1"/>
                      <a:pt x="30" y="0"/>
                      <a:pt x="30" y="0"/>
                    </a:cubicBezTo>
                    <a:cubicBezTo>
                      <a:pt x="30" y="0"/>
                      <a:pt x="29" y="0"/>
                      <a:pt x="27" y="2"/>
                    </a:cubicBezTo>
                    <a:cubicBezTo>
                      <a:pt x="25" y="3"/>
                      <a:pt x="23" y="1"/>
                      <a:pt x="21" y="1"/>
                    </a:cubicBezTo>
                    <a:cubicBezTo>
                      <a:pt x="19" y="1"/>
                      <a:pt x="18" y="1"/>
                      <a:pt x="17" y="3"/>
                    </a:cubicBezTo>
                    <a:cubicBezTo>
                      <a:pt x="16" y="5"/>
                      <a:pt x="14" y="6"/>
                      <a:pt x="11" y="5"/>
                    </a:cubicBezTo>
                    <a:cubicBezTo>
                      <a:pt x="8" y="4"/>
                      <a:pt x="7" y="4"/>
                      <a:pt x="7" y="6"/>
                    </a:cubicBezTo>
                    <a:cubicBezTo>
                      <a:pt x="7" y="8"/>
                      <a:pt x="4" y="7"/>
                      <a:pt x="4" y="7"/>
                    </a:cubicBezTo>
                    <a:cubicBezTo>
                      <a:pt x="4" y="7"/>
                      <a:pt x="0" y="13"/>
                      <a:pt x="3" y="13"/>
                    </a:cubicBezTo>
                    <a:cubicBezTo>
                      <a:pt x="6" y="13"/>
                      <a:pt x="6" y="14"/>
                      <a:pt x="6" y="16"/>
                    </a:cubicBezTo>
                    <a:cubicBezTo>
                      <a:pt x="6" y="18"/>
                      <a:pt x="4" y="19"/>
                      <a:pt x="6" y="2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00" name="Freeform 79">
                <a:extLst>
                  <a:ext uri="{FF2B5EF4-FFF2-40B4-BE49-F238E27FC236}">
                    <a16:creationId xmlns:a16="http://schemas.microsoft.com/office/drawing/2014/main" id="{114E8B78-A1F6-7514-67EA-6CFE0752EB28}"/>
                  </a:ext>
                </a:extLst>
              </p:cNvPr>
              <p:cNvSpPr>
                <a:spLocks/>
              </p:cNvSpPr>
              <p:nvPr/>
            </p:nvSpPr>
            <p:spPr bwMode="auto">
              <a:xfrm>
                <a:off x="3333" y="1205"/>
                <a:ext cx="65" cy="53"/>
              </a:xfrm>
              <a:custGeom>
                <a:avLst/>
                <a:gdLst>
                  <a:gd name="T0" fmla="*/ 6 w 33"/>
                  <a:gd name="T1" fmla="*/ 21 h 27"/>
                  <a:gd name="T2" fmla="*/ 6 w 33"/>
                  <a:gd name="T3" fmla="*/ 24 h 27"/>
                  <a:gd name="T4" fmla="*/ 4 w 33"/>
                  <a:gd name="T5" fmla="*/ 27 h 27"/>
                  <a:gd name="T6" fmla="*/ 5 w 33"/>
                  <a:gd name="T7" fmla="*/ 27 h 27"/>
                  <a:gd name="T8" fmla="*/ 15 w 33"/>
                  <a:gd name="T9" fmla="*/ 24 h 27"/>
                  <a:gd name="T10" fmla="*/ 16 w 33"/>
                  <a:gd name="T11" fmla="*/ 19 h 27"/>
                  <a:gd name="T12" fmla="*/ 20 w 33"/>
                  <a:gd name="T13" fmla="*/ 21 h 27"/>
                  <a:gd name="T14" fmla="*/ 23 w 33"/>
                  <a:gd name="T15" fmla="*/ 13 h 27"/>
                  <a:gd name="T16" fmla="*/ 26 w 33"/>
                  <a:gd name="T17" fmla="*/ 11 h 27"/>
                  <a:gd name="T18" fmla="*/ 29 w 33"/>
                  <a:gd name="T19" fmla="*/ 9 h 27"/>
                  <a:gd name="T20" fmla="*/ 32 w 33"/>
                  <a:gd name="T21" fmla="*/ 6 h 27"/>
                  <a:gd name="T22" fmla="*/ 32 w 33"/>
                  <a:gd name="T23" fmla="*/ 3 h 27"/>
                  <a:gd name="T24" fmla="*/ 30 w 33"/>
                  <a:gd name="T25" fmla="*/ 0 h 27"/>
                  <a:gd name="T26" fmla="*/ 27 w 33"/>
                  <a:gd name="T27" fmla="*/ 2 h 27"/>
                  <a:gd name="T28" fmla="*/ 21 w 33"/>
                  <a:gd name="T29" fmla="*/ 1 h 27"/>
                  <a:gd name="T30" fmla="*/ 17 w 33"/>
                  <a:gd name="T31" fmla="*/ 3 h 27"/>
                  <a:gd name="T32" fmla="*/ 11 w 33"/>
                  <a:gd name="T33" fmla="*/ 5 h 27"/>
                  <a:gd name="T34" fmla="*/ 7 w 33"/>
                  <a:gd name="T35" fmla="*/ 6 h 27"/>
                  <a:gd name="T36" fmla="*/ 4 w 33"/>
                  <a:gd name="T37" fmla="*/ 7 h 27"/>
                  <a:gd name="T38" fmla="*/ 3 w 33"/>
                  <a:gd name="T39" fmla="*/ 13 h 27"/>
                  <a:gd name="T40" fmla="*/ 6 w 33"/>
                  <a:gd name="T41" fmla="*/ 16 h 27"/>
                  <a:gd name="T42" fmla="*/ 6 w 33"/>
                  <a:gd name="T43"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27">
                    <a:moveTo>
                      <a:pt x="6" y="21"/>
                    </a:moveTo>
                    <a:cubicBezTo>
                      <a:pt x="6" y="22"/>
                      <a:pt x="7" y="24"/>
                      <a:pt x="6" y="24"/>
                    </a:cubicBezTo>
                    <a:cubicBezTo>
                      <a:pt x="6" y="24"/>
                      <a:pt x="3" y="27"/>
                      <a:pt x="4" y="27"/>
                    </a:cubicBezTo>
                    <a:cubicBezTo>
                      <a:pt x="5" y="27"/>
                      <a:pt x="5" y="27"/>
                      <a:pt x="5" y="27"/>
                    </a:cubicBezTo>
                    <a:cubicBezTo>
                      <a:pt x="5" y="27"/>
                      <a:pt x="14" y="26"/>
                      <a:pt x="15" y="24"/>
                    </a:cubicBezTo>
                    <a:cubicBezTo>
                      <a:pt x="16" y="22"/>
                      <a:pt x="16" y="22"/>
                      <a:pt x="16" y="19"/>
                    </a:cubicBezTo>
                    <a:cubicBezTo>
                      <a:pt x="16" y="16"/>
                      <a:pt x="17" y="21"/>
                      <a:pt x="20" y="21"/>
                    </a:cubicBezTo>
                    <a:cubicBezTo>
                      <a:pt x="22" y="20"/>
                      <a:pt x="23" y="15"/>
                      <a:pt x="23" y="13"/>
                    </a:cubicBezTo>
                    <a:cubicBezTo>
                      <a:pt x="24" y="9"/>
                      <a:pt x="24" y="11"/>
                      <a:pt x="26" y="11"/>
                    </a:cubicBezTo>
                    <a:cubicBezTo>
                      <a:pt x="28" y="11"/>
                      <a:pt x="29" y="11"/>
                      <a:pt x="29" y="9"/>
                    </a:cubicBezTo>
                    <a:cubicBezTo>
                      <a:pt x="29" y="7"/>
                      <a:pt x="32" y="6"/>
                      <a:pt x="32" y="6"/>
                    </a:cubicBezTo>
                    <a:cubicBezTo>
                      <a:pt x="32" y="6"/>
                      <a:pt x="33" y="5"/>
                      <a:pt x="32" y="3"/>
                    </a:cubicBezTo>
                    <a:cubicBezTo>
                      <a:pt x="32" y="1"/>
                      <a:pt x="30" y="0"/>
                      <a:pt x="30" y="0"/>
                    </a:cubicBezTo>
                    <a:cubicBezTo>
                      <a:pt x="30" y="0"/>
                      <a:pt x="29" y="0"/>
                      <a:pt x="27" y="2"/>
                    </a:cubicBezTo>
                    <a:cubicBezTo>
                      <a:pt x="25" y="3"/>
                      <a:pt x="23" y="1"/>
                      <a:pt x="21" y="1"/>
                    </a:cubicBezTo>
                    <a:cubicBezTo>
                      <a:pt x="19" y="1"/>
                      <a:pt x="18" y="1"/>
                      <a:pt x="17" y="3"/>
                    </a:cubicBezTo>
                    <a:cubicBezTo>
                      <a:pt x="16" y="5"/>
                      <a:pt x="14" y="6"/>
                      <a:pt x="11" y="5"/>
                    </a:cubicBezTo>
                    <a:cubicBezTo>
                      <a:pt x="8" y="4"/>
                      <a:pt x="7" y="4"/>
                      <a:pt x="7" y="6"/>
                    </a:cubicBezTo>
                    <a:cubicBezTo>
                      <a:pt x="7" y="8"/>
                      <a:pt x="4" y="7"/>
                      <a:pt x="4" y="7"/>
                    </a:cubicBezTo>
                    <a:cubicBezTo>
                      <a:pt x="4" y="7"/>
                      <a:pt x="0" y="13"/>
                      <a:pt x="3" y="13"/>
                    </a:cubicBezTo>
                    <a:cubicBezTo>
                      <a:pt x="6" y="13"/>
                      <a:pt x="6" y="14"/>
                      <a:pt x="6" y="16"/>
                    </a:cubicBezTo>
                    <a:cubicBezTo>
                      <a:pt x="6" y="18"/>
                      <a:pt x="4" y="19"/>
                      <a:pt x="6" y="2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01" name="Freeform 80">
                <a:extLst>
                  <a:ext uri="{FF2B5EF4-FFF2-40B4-BE49-F238E27FC236}">
                    <a16:creationId xmlns:a16="http://schemas.microsoft.com/office/drawing/2014/main" id="{BB209B7C-6098-6FD3-661E-458CED9E9E6C}"/>
                  </a:ext>
                </a:extLst>
              </p:cNvPr>
              <p:cNvSpPr>
                <a:spLocks/>
              </p:cNvSpPr>
              <p:nvPr/>
            </p:nvSpPr>
            <p:spPr bwMode="auto">
              <a:xfrm>
                <a:off x="3396" y="1134"/>
                <a:ext cx="125" cy="57"/>
              </a:xfrm>
              <a:custGeom>
                <a:avLst/>
                <a:gdLst>
                  <a:gd name="T0" fmla="*/ 64 w 64"/>
                  <a:gd name="T1" fmla="*/ 17 h 29"/>
                  <a:gd name="T2" fmla="*/ 61 w 64"/>
                  <a:gd name="T3" fmla="*/ 18 h 29"/>
                  <a:gd name="T4" fmla="*/ 59 w 64"/>
                  <a:gd name="T5" fmla="*/ 23 h 29"/>
                  <a:gd name="T6" fmla="*/ 55 w 64"/>
                  <a:gd name="T7" fmla="*/ 21 h 29"/>
                  <a:gd name="T8" fmla="*/ 49 w 64"/>
                  <a:gd name="T9" fmla="*/ 21 h 29"/>
                  <a:gd name="T10" fmla="*/ 41 w 64"/>
                  <a:gd name="T11" fmla="*/ 22 h 29"/>
                  <a:gd name="T12" fmla="*/ 38 w 64"/>
                  <a:gd name="T13" fmla="*/ 24 h 29"/>
                  <a:gd name="T14" fmla="*/ 34 w 64"/>
                  <a:gd name="T15" fmla="*/ 23 h 29"/>
                  <a:gd name="T16" fmla="*/ 28 w 64"/>
                  <a:gd name="T17" fmla="*/ 24 h 29"/>
                  <a:gd name="T18" fmla="*/ 23 w 64"/>
                  <a:gd name="T19" fmla="*/ 24 h 29"/>
                  <a:gd name="T20" fmla="*/ 24 w 64"/>
                  <a:gd name="T21" fmla="*/ 28 h 29"/>
                  <a:gd name="T22" fmla="*/ 19 w 64"/>
                  <a:gd name="T23" fmla="*/ 27 h 29"/>
                  <a:gd name="T24" fmla="*/ 11 w 64"/>
                  <a:gd name="T25" fmla="*/ 27 h 29"/>
                  <a:gd name="T26" fmla="*/ 5 w 64"/>
                  <a:gd name="T27" fmla="*/ 24 h 29"/>
                  <a:gd name="T28" fmla="*/ 3 w 64"/>
                  <a:gd name="T29" fmla="*/ 20 h 29"/>
                  <a:gd name="T30" fmla="*/ 3 w 64"/>
                  <a:gd name="T31" fmla="*/ 15 h 29"/>
                  <a:gd name="T32" fmla="*/ 7 w 64"/>
                  <a:gd name="T33" fmla="*/ 11 h 29"/>
                  <a:gd name="T34" fmla="*/ 10 w 64"/>
                  <a:gd name="T35" fmla="*/ 7 h 29"/>
                  <a:gd name="T36" fmla="*/ 14 w 64"/>
                  <a:gd name="T37" fmla="*/ 5 h 29"/>
                  <a:gd name="T38" fmla="*/ 18 w 64"/>
                  <a:gd name="T39" fmla="*/ 5 h 29"/>
                  <a:gd name="T40" fmla="*/ 23 w 64"/>
                  <a:gd name="T41" fmla="*/ 5 h 29"/>
                  <a:gd name="T42" fmla="*/ 28 w 64"/>
                  <a:gd name="T43" fmla="*/ 8 h 29"/>
                  <a:gd name="T44" fmla="*/ 34 w 64"/>
                  <a:gd name="T45" fmla="*/ 8 h 29"/>
                  <a:gd name="T46" fmla="*/ 39 w 64"/>
                  <a:gd name="T47" fmla="*/ 6 h 29"/>
                  <a:gd name="T48" fmla="*/ 47 w 64"/>
                  <a:gd name="T49" fmla="*/ 2 h 29"/>
                  <a:gd name="T50" fmla="*/ 53 w 64"/>
                  <a:gd name="T51" fmla="*/ 6 h 29"/>
                  <a:gd name="T52" fmla="*/ 58 w 64"/>
                  <a:gd name="T53" fmla="*/ 9 h 29"/>
                  <a:gd name="T54" fmla="*/ 60 w 64"/>
                  <a:gd name="T55" fmla="*/ 13 h 29"/>
                  <a:gd name="T56" fmla="*/ 64 w 64"/>
                  <a:gd name="T57"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29">
                    <a:moveTo>
                      <a:pt x="64" y="17"/>
                    </a:moveTo>
                    <a:cubicBezTo>
                      <a:pt x="61" y="18"/>
                      <a:pt x="61" y="18"/>
                      <a:pt x="61" y="18"/>
                    </a:cubicBezTo>
                    <a:cubicBezTo>
                      <a:pt x="59" y="23"/>
                      <a:pt x="59" y="23"/>
                      <a:pt x="59" y="23"/>
                    </a:cubicBezTo>
                    <a:cubicBezTo>
                      <a:pt x="59" y="23"/>
                      <a:pt x="57" y="23"/>
                      <a:pt x="55" y="21"/>
                    </a:cubicBezTo>
                    <a:cubicBezTo>
                      <a:pt x="53" y="19"/>
                      <a:pt x="53" y="21"/>
                      <a:pt x="49" y="21"/>
                    </a:cubicBezTo>
                    <a:cubicBezTo>
                      <a:pt x="45" y="20"/>
                      <a:pt x="45" y="21"/>
                      <a:pt x="41" y="22"/>
                    </a:cubicBezTo>
                    <a:cubicBezTo>
                      <a:pt x="38" y="23"/>
                      <a:pt x="38" y="24"/>
                      <a:pt x="38" y="24"/>
                    </a:cubicBezTo>
                    <a:cubicBezTo>
                      <a:pt x="38" y="24"/>
                      <a:pt x="36" y="25"/>
                      <a:pt x="34" y="23"/>
                    </a:cubicBezTo>
                    <a:cubicBezTo>
                      <a:pt x="32" y="21"/>
                      <a:pt x="32" y="22"/>
                      <a:pt x="28" y="24"/>
                    </a:cubicBezTo>
                    <a:cubicBezTo>
                      <a:pt x="23" y="25"/>
                      <a:pt x="23" y="24"/>
                      <a:pt x="23" y="24"/>
                    </a:cubicBezTo>
                    <a:cubicBezTo>
                      <a:pt x="24" y="28"/>
                      <a:pt x="24" y="28"/>
                      <a:pt x="24" y="28"/>
                    </a:cubicBezTo>
                    <a:cubicBezTo>
                      <a:pt x="24" y="28"/>
                      <a:pt x="24" y="29"/>
                      <a:pt x="19" y="27"/>
                    </a:cubicBezTo>
                    <a:cubicBezTo>
                      <a:pt x="14" y="26"/>
                      <a:pt x="14" y="27"/>
                      <a:pt x="11" y="27"/>
                    </a:cubicBezTo>
                    <a:cubicBezTo>
                      <a:pt x="9" y="27"/>
                      <a:pt x="5" y="24"/>
                      <a:pt x="5" y="24"/>
                    </a:cubicBezTo>
                    <a:cubicBezTo>
                      <a:pt x="3" y="20"/>
                      <a:pt x="3" y="20"/>
                      <a:pt x="3" y="20"/>
                    </a:cubicBezTo>
                    <a:cubicBezTo>
                      <a:pt x="0" y="19"/>
                      <a:pt x="3" y="15"/>
                      <a:pt x="3" y="15"/>
                    </a:cubicBezTo>
                    <a:cubicBezTo>
                      <a:pt x="3" y="15"/>
                      <a:pt x="5" y="11"/>
                      <a:pt x="7" y="11"/>
                    </a:cubicBezTo>
                    <a:cubicBezTo>
                      <a:pt x="9" y="11"/>
                      <a:pt x="8" y="7"/>
                      <a:pt x="10" y="7"/>
                    </a:cubicBezTo>
                    <a:cubicBezTo>
                      <a:pt x="11" y="7"/>
                      <a:pt x="14" y="5"/>
                      <a:pt x="14" y="5"/>
                    </a:cubicBezTo>
                    <a:cubicBezTo>
                      <a:pt x="14" y="5"/>
                      <a:pt x="14" y="5"/>
                      <a:pt x="18" y="5"/>
                    </a:cubicBezTo>
                    <a:cubicBezTo>
                      <a:pt x="21" y="5"/>
                      <a:pt x="19" y="4"/>
                      <a:pt x="23" y="5"/>
                    </a:cubicBezTo>
                    <a:cubicBezTo>
                      <a:pt x="25" y="6"/>
                      <a:pt x="26" y="7"/>
                      <a:pt x="28" y="8"/>
                    </a:cubicBezTo>
                    <a:cubicBezTo>
                      <a:pt x="31" y="9"/>
                      <a:pt x="33" y="11"/>
                      <a:pt x="34" y="8"/>
                    </a:cubicBezTo>
                    <a:cubicBezTo>
                      <a:pt x="35" y="5"/>
                      <a:pt x="37" y="7"/>
                      <a:pt x="39" y="6"/>
                    </a:cubicBezTo>
                    <a:cubicBezTo>
                      <a:pt x="43" y="5"/>
                      <a:pt x="45" y="0"/>
                      <a:pt x="47" y="2"/>
                    </a:cubicBezTo>
                    <a:cubicBezTo>
                      <a:pt x="50" y="4"/>
                      <a:pt x="51" y="6"/>
                      <a:pt x="53" y="6"/>
                    </a:cubicBezTo>
                    <a:cubicBezTo>
                      <a:pt x="55" y="6"/>
                      <a:pt x="55" y="8"/>
                      <a:pt x="58" y="9"/>
                    </a:cubicBezTo>
                    <a:cubicBezTo>
                      <a:pt x="60" y="10"/>
                      <a:pt x="59" y="10"/>
                      <a:pt x="60" y="13"/>
                    </a:cubicBezTo>
                    <a:cubicBezTo>
                      <a:pt x="61" y="15"/>
                      <a:pt x="64" y="17"/>
                      <a:pt x="64" y="17"/>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02" name="Freeform 81">
                <a:extLst>
                  <a:ext uri="{FF2B5EF4-FFF2-40B4-BE49-F238E27FC236}">
                    <a16:creationId xmlns:a16="http://schemas.microsoft.com/office/drawing/2014/main" id="{9C202F9D-EDD8-B036-A771-E029F1005B2B}"/>
                  </a:ext>
                </a:extLst>
              </p:cNvPr>
              <p:cNvSpPr>
                <a:spLocks/>
              </p:cNvSpPr>
              <p:nvPr/>
            </p:nvSpPr>
            <p:spPr bwMode="auto">
              <a:xfrm>
                <a:off x="3396" y="1134"/>
                <a:ext cx="125" cy="57"/>
              </a:xfrm>
              <a:custGeom>
                <a:avLst/>
                <a:gdLst>
                  <a:gd name="T0" fmla="*/ 64 w 64"/>
                  <a:gd name="T1" fmla="*/ 17 h 29"/>
                  <a:gd name="T2" fmla="*/ 61 w 64"/>
                  <a:gd name="T3" fmla="*/ 18 h 29"/>
                  <a:gd name="T4" fmla="*/ 59 w 64"/>
                  <a:gd name="T5" fmla="*/ 23 h 29"/>
                  <a:gd name="T6" fmla="*/ 55 w 64"/>
                  <a:gd name="T7" fmla="*/ 21 h 29"/>
                  <a:gd name="T8" fmla="*/ 49 w 64"/>
                  <a:gd name="T9" fmla="*/ 21 h 29"/>
                  <a:gd name="T10" fmla="*/ 41 w 64"/>
                  <a:gd name="T11" fmla="*/ 22 h 29"/>
                  <a:gd name="T12" fmla="*/ 38 w 64"/>
                  <a:gd name="T13" fmla="*/ 24 h 29"/>
                  <a:gd name="T14" fmla="*/ 34 w 64"/>
                  <a:gd name="T15" fmla="*/ 23 h 29"/>
                  <a:gd name="T16" fmla="*/ 28 w 64"/>
                  <a:gd name="T17" fmla="*/ 24 h 29"/>
                  <a:gd name="T18" fmla="*/ 23 w 64"/>
                  <a:gd name="T19" fmla="*/ 24 h 29"/>
                  <a:gd name="T20" fmla="*/ 24 w 64"/>
                  <a:gd name="T21" fmla="*/ 28 h 29"/>
                  <a:gd name="T22" fmla="*/ 19 w 64"/>
                  <a:gd name="T23" fmla="*/ 27 h 29"/>
                  <a:gd name="T24" fmla="*/ 11 w 64"/>
                  <a:gd name="T25" fmla="*/ 27 h 29"/>
                  <a:gd name="T26" fmla="*/ 5 w 64"/>
                  <a:gd name="T27" fmla="*/ 24 h 29"/>
                  <a:gd name="T28" fmla="*/ 3 w 64"/>
                  <a:gd name="T29" fmla="*/ 20 h 29"/>
                  <a:gd name="T30" fmla="*/ 3 w 64"/>
                  <a:gd name="T31" fmla="*/ 15 h 29"/>
                  <a:gd name="T32" fmla="*/ 7 w 64"/>
                  <a:gd name="T33" fmla="*/ 11 h 29"/>
                  <a:gd name="T34" fmla="*/ 10 w 64"/>
                  <a:gd name="T35" fmla="*/ 7 h 29"/>
                  <a:gd name="T36" fmla="*/ 14 w 64"/>
                  <a:gd name="T37" fmla="*/ 5 h 29"/>
                  <a:gd name="T38" fmla="*/ 18 w 64"/>
                  <a:gd name="T39" fmla="*/ 5 h 29"/>
                  <a:gd name="T40" fmla="*/ 23 w 64"/>
                  <a:gd name="T41" fmla="*/ 5 h 29"/>
                  <a:gd name="T42" fmla="*/ 28 w 64"/>
                  <a:gd name="T43" fmla="*/ 8 h 29"/>
                  <a:gd name="T44" fmla="*/ 34 w 64"/>
                  <a:gd name="T45" fmla="*/ 8 h 29"/>
                  <a:gd name="T46" fmla="*/ 39 w 64"/>
                  <a:gd name="T47" fmla="*/ 6 h 29"/>
                  <a:gd name="T48" fmla="*/ 47 w 64"/>
                  <a:gd name="T49" fmla="*/ 2 h 29"/>
                  <a:gd name="T50" fmla="*/ 53 w 64"/>
                  <a:gd name="T51" fmla="*/ 6 h 29"/>
                  <a:gd name="T52" fmla="*/ 58 w 64"/>
                  <a:gd name="T53" fmla="*/ 9 h 29"/>
                  <a:gd name="T54" fmla="*/ 60 w 64"/>
                  <a:gd name="T55" fmla="*/ 13 h 29"/>
                  <a:gd name="T56" fmla="*/ 64 w 64"/>
                  <a:gd name="T57"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4" h="29">
                    <a:moveTo>
                      <a:pt x="64" y="17"/>
                    </a:moveTo>
                    <a:cubicBezTo>
                      <a:pt x="61" y="18"/>
                      <a:pt x="61" y="18"/>
                      <a:pt x="61" y="18"/>
                    </a:cubicBezTo>
                    <a:cubicBezTo>
                      <a:pt x="59" y="23"/>
                      <a:pt x="59" y="23"/>
                      <a:pt x="59" y="23"/>
                    </a:cubicBezTo>
                    <a:cubicBezTo>
                      <a:pt x="59" y="23"/>
                      <a:pt x="57" y="23"/>
                      <a:pt x="55" y="21"/>
                    </a:cubicBezTo>
                    <a:cubicBezTo>
                      <a:pt x="53" y="19"/>
                      <a:pt x="53" y="21"/>
                      <a:pt x="49" y="21"/>
                    </a:cubicBezTo>
                    <a:cubicBezTo>
                      <a:pt x="45" y="20"/>
                      <a:pt x="45" y="21"/>
                      <a:pt x="41" y="22"/>
                    </a:cubicBezTo>
                    <a:cubicBezTo>
                      <a:pt x="38" y="23"/>
                      <a:pt x="38" y="24"/>
                      <a:pt x="38" y="24"/>
                    </a:cubicBezTo>
                    <a:cubicBezTo>
                      <a:pt x="38" y="24"/>
                      <a:pt x="36" y="25"/>
                      <a:pt x="34" y="23"/>
                    </a:cubicBezTo>
                    <a:cubicBezTo>
                      <a:pt x="32" y="21"/>
                      <a:pt x="32" y="22"/>
                      <a:pt x="28" y="24"/>
                    </a:cubicBezTo>
                    <a:cubicBezTo>
                      <a:pt x="23" y="25"/>
                      <a:pt x="23" y="24"/>
                      <a:pt x="23" y="24"/>
                    </a:cubicBezTo>
                    <a:cubicBezTo>
                      <a:pt x="24" y="28"/>
                      <a:pt x="24" y="28"/>
                      <a:pt x="24" y="28"/>
                    </a:cubicBezTo>
                    <a:cubicBezTo>
                      <a:pt x="24" y="28"/>
                      <a:pt x="24" y="29"/>
                      <a:pt x="19" y="27"/>
                    </a:cubicBezTo>
                    <a:cubicBezTo>
                      <a:pt x="14" y="26"/>
                      <a:pt x="14" y="27"/>
                      <a:pt x="11" y="27"/>
                    </a:cubicBezTo>
                    <a:cubicBezTo>
                      <a:pt x="9" y="27"/>
                      <a:pt x="5" y="24"/>
                      <a:pt x="5" y="24"/>
                    </a:cubicBezTo>
                    <a:cubicBezTo>
                      <a:pt x="3" y="20"/>
                      <a:pt x="3" y="20"/>
                      <a:pt x="3" y="20"/>
                    </a:cubicBezTo>
                    <a:cubicBezTo>
                      <a:pt x="0" y="19"/>
                      <a:pt x="3" y="15"/>
                      <a:pt x="3" y="15"/>
                    </a:cubicBezTo>
                    <a:cubicBezTo>
                      <a:pt x="3" y="15"/>
                      <a:pt x="5" y="11"/>
                      <a:pt x="7" y="11"/>
                    </a:cubicBezTo>
                    <a:cubicBezTo>
                      <a:pt x="9" y="11"/>
                      <a:pt x="8" y="7"/>
                      <a:pt x="10" y="7"/>
                    </a:cubicBezTo>
                    <a:cubicBezTo>
                      <a:pt x="11" y="7"/>
                      <a:pt x="14" y="5"/>
                      <a:pt x="14" y="5"/>
                    </a:cubicBezTo>
                    <a:cubicBezTo>
                      <a:pt x="14" y="5"/>
                      <a:pt x="14" y="5"/>
                      <a:pt x="18" y="5"/>
                    </a:cubicBezTo>
                    <a:cubicBezTo>
                      <a:pt x="21" y="5"/>
                      <a:pt x="19" y="4"/>
                      <a:pt x="23" y="5"/>
                    </a:cubicBezTo>
                    <a:cubicBezTo>
                      <a:pt x="25" y="6"/>
                      <a:pt x="26" y="7"/>
                      <a:pt x="28" y="8"/>
                    </a:cubicBezTo>
                    <a:cubicBezTo>
                      <a:pt x="31" y="9"/>
                      <a:pt x="33" y="11"/>
                      <a:pt x="34" y="8"/>
                    </a:cubicBezTo>
                    <a:cubicBezTo>
                      <a:pt x="35" y="5"/>
                      <a:pt x="37" y="7"/>
                      <a:pt x="39" y="6"/>
                    </a:cubicBezTo>
                    <a:cubicBezTo>
                      <a:pt x="43" y="5"/>
                      <a:pt x="45" y="0"/>
                      <a:pt x="47" y="2"/>
                    </a:cubicBezTo>
                    <a:cubicBezTo>
                      <a:pt x="50" y="4"/>
                      <a:pt x="51" y="6"/>
                      <a:pt x="53" y="6"/>
                    </a:cubicBezTo>
                    <a:cubicBezTo>
                      <a:pt x="55" y="6"/>
                      <a:pt x="55" y="8"/>
                      <a:pt x="58" y="9"/>
                    </a:cubicBezTo>
                    <a:cubicBezTo>
                      <a:pt x="60" y="10"/>
                      <a:pt x="59" y="10"/>
                      <a:pt x="60" y="13"/>
                    </a:cubicBezTo>
                    <a:cubicBezTo>
                      <a:pt x="61" y="15"/>
                      <a:pt x="64" y="17"/>
                      <a:pt x="64" y="17"/>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03" name="Freeform 82">
                <a:extLst>
                  <a:ext uri="{FF2B5EF4-FFF2-40B4-BE49-F238E27FC236}">
                    <a16:creationId xmlns:a16="http://schemas.microsoft.com/office/drawing/2014/main" id="{3426E382-2A3D-6756-1E6D-B15DAA80C9C9}"/>
                  </a:ext>
                </a:extLst>
              </p:cNvPr>
              <p:cNvSpPr>
                <a:spLocks/>
              </p:cNvSpPr>
              <p:nvPr/>
            </p:nvSpPr>
            <p:spPr bwMode="auto">
              <a:xfrm>
                <a:off x="2882" y="2035"/>
                <a:ext cx="61" cy="74"/>
              </a:xfrm>
              <a:custGeom>
                <a:avLst/>
                <a:gdLst>
                  <a:gd name="T0" fmla="*/ 2 w 31"/>
                  <a:gd name="T1" fmla="*/ 13 h 38"/>
                  <a:gd name="T2" fmla="*/ 5 w 31"/>
                  <a:gd name="T3" fmla="*/ 23 h 38"/>
                  <a:gd name="T4" fmla="*/ 4 w 31"/>
                  <a:gd name="T5" fmla="*/ 24 h 38"/>
                  <a:gd name="T6" fmla="*/ 7 w 31"/>
                  <a:gd name="T7" fmla="*/ 25 h 38"/>
                  <a:gd name="T8" fmla="*/ 7 w 31"/>
                  <a:gd name="T9" fmla="*/ 32 h 38"/>
                  <a:gd name="T10" fmla="*/ 8 w 31"/>
                  <a:gd name="T11" fmla="*/ 31 h 38"/>
                  <a:gd name="T12" fmla="*/ 9 w 31"/>
                  <a:gd name="T13" fmla="*/ 30 h 38"/>
                  <a:gd name="T14" fmla="*/ 14 w 31"/>
                  <a:gd name="T15" fmla="*/ 37 h 38"/>
                  <a:gd name="T16" fmla="*/ 18 w 31"/>
                  <a:gd name="T17" fmla="*/ 38 h 38"/>
                  <a:gd name="T18" fmla="*/ 21 w 31"/>
                  <a:gd name="T19" fmla="*/ 32 h 38"/>
                  <a:gd name="T20" fmla="*/ 25 w 31"/>
                  <a:gd name="T21" fmla="*/ 26 h 38"/>
                  <a:gd name="T22" fmla="*/ 29 w 31"/>
                  <a:gd name="T23" fmla="*/ 23 h 38"/>
                  <a:gd name="T24" fmla="*/ 31 w 31"/>
                  <a:gd name="T25" fmla="*/ 20 h 38"/>
                  <a:gd name="T26" fmla="*/ 27 w 31"/>
                  <a:gd name="T27" fmla="*/ 20 h 38"/>
                  <a:gd name="T28" fmla="*/ 28 w 31"/>
                  <a:gd name="T29" fmla="*/ 15 h 38"/>
                  <a:gd name="T30" fmla="*/ 26 w 31"/>
                  <a:gd name="T31" fmla="*/ 11 h 38"/>
                  <a:gd name="T32" fmla="*/ 23 w 31"/>
                  <a:gd name="T33" fmla="*/ 7 h 38"/>
                  <a:gd name="T34" fmla="*/ 21 w 31"/>
                  <a:gd name="T35" fmla="*/ 2 h 38"/>
                  <a:gd name="T36" fmla="*/ 16 w 31"/>
                  <a:gd name="T37" fmla="*/ 2 h 38"/>
                  <a:gd name="T38" fmla="*/ 9 w 31"/>
                  <a:gd name="T39" fmla="*/ 3 h 38"/>
                  <a:gd name="T40" fmla="*/ 7 w 31"/>
                  <a:gd name="T41" fmla="*/ 10 h 38"/>
                  <a:gd name="T42" fmla="*/ 4 w 31"/>
                  <a:gd name="T43" fmla="*/ 13 h 38"/>
                  <a:gd name="T44" fmla="*/ 2 w 31"/>
                  <a:gd name="T4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8">
                    <a:moveTo>
                      <a:pt x="2" y="13"/>
                    </a:moveTo>
                    <a:cubicBezTo>
                      <a:pt x="0" y="15"/>
                      <a:pt x="4" y="21"/>
                      <a:pt x="5" y="23"/>
                    </a:cubicBezTo>
                    <a:cubicBezTo>
                      <a:pt x="3" y="22"/>
                      <a:pt x="3" y="24"/>
                      <a:pt x="4" y="24"/>
                    </a:cubicBezTo>
                    <a:cubicBezTo>
                      <a:pt x="4" y="24"/>
                      <a:pt x="7" y="25"/>
                      <a:pt x="7" y="25"/>
                    </a:cubicBezTo>
                    <a:cubicBezTo>
                      <a:pt x="7" y="26"/>
                      <a:pt x="7" y="32"/>
                      <a:pt x="7" y="32"/>
                    </a:cubicBezTo>
                    <a:cubicBezTo>
                      <a:pt x="8" y="32"/>
                      <a:pt x="7" y="32"/>
                      <a:pt x="8" y="31"/>
                    </a:cubicBezTo>
                    <a:cubicBezTo>
                      <a:pt x="7" y="31"/>
                      <a:pt x="7" y="30"/>
                      <a:pt x="9" y="30"/>
                    </a:cubicBezTo>
                    <a:cubicBezTo>
                      <a:pt x="10" y="33"/>
                      <a:pt x="11" y="36"/>
                      <a:pt x="14" y="37"/>
                    </a:cubicBezTo>
                    <a:cubicBezTo>
                      <a:pt x="16" y="38"/>
                      <a:pt x="17" y="38"/>
                      <a:pt x="18" y="38"/>
                    </a:cubicBezTo>
                    <a:cubicBezTo>
                      <a:pt x="18" y="38"/>
                      <a:pt x="19" y="35"/>
                      <a:pt x="21" y="32"/>
                    </a:cubicBezTo>
                    <a:cubicBezTo>
                      <a:pt x="23" y="29"/>
                      <a:pt x="25" y="26"/>
                      <a:pt x="25" y="26"/>
                    </a:cubicBezTo>
                    <a:cubicBezTo>
                      <a:pt x="25" y="26"/>
                      <a:pt x="27" y="23"/>
                      <a:pt x="29" y="23"/>
                    </a:cubicBezTo>
                    <a:cubicBezTo>
                      <a:pt x="31" y="23"/>
                      <a:pt x="31" y="20"/>
                      <a:pt x="31" y="20"/>
                    </a:cubicBezTo>
                    <a:cubicBezTo>
                      <a:pt x="27" y="20"/>
                      <a:pt x="27" y="20"/>
                      <a:pt x="27" y="20"/>
                    </a:cubicBezTo>
                    <a:cubicBezTo>
                      <a:pt x="27" y="20"/>
                      <a:pt x="29" y="17"/>
                      <a:pt x="28" y="15"/>
                    </a:cubicBezTo>
                    <a:cubicBezTo>
                      <a:pt x="27" y="13"/>
                      <a:pt x="27" y="14"/>
                      <a:pt x="26" y="11"/>
                    </a:cubicBezTo>
                    <a:cubicBezTo>
                      <a:pt x="25" y="8"/>
                      <a:pt x="23" y="10"/>
                      <a:pt x="23" y="7"/>
                    </a:cubicBezTo>
                    <a:cubicBezTo>
                      <a:pt x="23" y="4"/>
                      <a:pt x="23" y="2"/>
                      <a:pt x="21" y="2"/>
                    </a:cubicBezTo>
                    <a:cubicBezTo>
                      <a:pt x="19" y="2"/>
                      <a:pt x="19" y="4"/>
                      <a:pt x="16" y="2"/>
                    </a:cubicBezTo>
                    <a:cubicBezTo>
                      <a:pt x="13" y="0"/>
                      <a:pt x="11" y="0"/>
                      <a:pt x="9" y="3"/>
                    </a:cubicBezTo>
                    <a:cubicBezTo>
                      <a:pt x="8" y="6"/>
                      <a:pt x="9" y="9"/>
                      <a:pt x="7" y="10"/>
                    </a:cubicBezTo>
                    <a:cubicBezTo>
                      <a:pt x="5" y="11"/>
                      <a:pt x="6" y="13"/>
                      <a:pt x="4" y="13"/>
                    </a:cubicBezTo>
                    <a:cubicBezTo>
                      <a:pt x="2" y="13"/>
                      <a:pt x="2" y="13"/>
                      <a:pt x="2" y="1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04" name="Freeform 83">
                <a:extLst>
                  <a:ext uri="{FF2B5EF4-FFF2-40B4-BE49-F238E27FC236}">
                    <a16:creationId xmlns:a16="http://schemas.microsoft.com/office/drawing/2014/main" id="{785B6BEE-3E17-3E8A-2EFD-3692B5384019}"/>
                  </a:ext>
                </a:extLst>
              </p:cNvPr>
              <p:cNvSpPr>
                <a:spLocks/>
              </p:cNvSpPr>
              <p:nvPr/>
            </p:nvSpPr>
            <p:spPr bwMode="auto">
              <a:xfrm>
                <a:off x="2882" y="2035"/>
                <a:ext cx="61" cy="74"/>
              </a:xfrm>
              <a:custGeom>
                <a:avLst/>
                <a:gdLst>
                  <a:gd name="T0" fmla="*/ 2 w 31"/>
                  <a:gd name="T1" fmla="*/ 13 h 38"/>
                  <a:gd name="T2" fmla="*/ 5 w 31"/>
                  <a:gd name="T3" fmla="*/ 23 h 38"/>
                  <a:gd name="T4" fmla="*/ 4 w 31"/>
                  <a:gd name="T5" fmla="*/ 24 h 38"/>
                  <a:gd name="T6" fmla="*/ 7 w 31"/>
                  <a:gd name="T7" fmla="*/ 25 h 38"/>
                  <a:gd name="T8" fmla="*/ 7 w 31"/>
                  <a:gd name="T9" fmla="*/ 32 h 38"/>
                  <a:gd name="T10" fmla="*/ 8 w 31"/>
                  <a:gd name="T11" fmla="*/ 31 h 38"/>
                  <a:gd name="T12" fmla="*/ 9 w 31"/>
                  <a:gd name="T13" fmla="*/ 30 h 38"/>
                  <a:gd name="T14" fmla="*/ 14 w 31"/>
                  <a:gd name="T15" fmla="*/ 37 h 38"/>
                  <a:gd name="T16" fmla="*/ 18 w 31"/>
                  <a:gd name="T17" fmla="*/ 38 h 38"/>
                  <a:gd name="T18" fmla="*/ 21 w 31"/>
                  <a:gd name="T19" fmla="*/ 32 h 38"/>
                  <a:gd name="T20" fmla="*/ 25 w 31"/>
                  <a:gd name="T21" fmla="*/ 26 h 38"/>
                  <a:gd name="T22" fmla="*/ 29 w 31"/>
                  <a:gd name="T23" fmla="*/ 23 h 38"/>
                  <a:gd name="T24" fmla="*/ 31 w 31"/>
                  <a:gd name="T25" fmla="*/ 20 h 38"/>
                  <a:gd name="T26" fmla="*/ 27 w 31"/>
                  <a:gd name="T27" fmla="*/ 20 h 38"/>
                  <a:gd name="T28" fmla="*/ 28 w 31"/>
                  <a:gd name="T29" fmla="*/ 15 h 38"/>
                  <a:gd name="T30" fmla="*/ 26 w 31"/>
                  <a:gd name="T31" fmla="*/ 11 h 38"/>
                  <a:gd name="T32" fmla="*/ 23 w 31"/>
                  <a:gd name="T33" fmla="*/ 7 h 38"/>
                  <a:gd name="T34" fmla="*/ 21 w 31"/>
                  <a:gd name="T35" fmla="*/ 2 h 38"/>
                  <a:gd name="T36" fmla="*/ 16 w 31"/>
                  <a:gd name="T37" fmla="*/ 2 h 38"/>
                  <a:gd name="T38" fmla="*/ 9 w 31"/>
                  <a:gd name="T39" fmla="*/ 3 h 38"/>
                  <a:gd name="T40" fmla="*/ 7 w 31"/>
                  <a:gd name="T41" fmla="*/ 10 h 38"/>
                  <a:gd name="T42" fmla="*/ 4 w 31"/>
                  <a:gd name="T43" fmla="*/ 13 h 38"/>
                  <a:gd name="T44" fmla="*/ 2 w 31"/>
                  <a:gd name="T45"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8">
                    <a:moveTo>
                      <a:pt x="2" y="13"/>
                    </a:moveTo>
                    <a:cubicBezTo>
                      <a:pt x="0" y="15"/>
                      <a:pt x="4" y="21"/>
                      <a:pt x="5" y="23"/>
                    </a:cubicBezTo>
                    <a:cubicBezTo>
                      <a:pt x="3" y="22"/>
                      <a:pt x="3" y="24"/>
                      <a:pt x="4" y="24"/>
                    </a:cubicBezTo>
                    <a:cubicBezTo>
                      <a:pt x="4" y="24"/>
                      <a:pt x="7" y="25"/>
                      <a:pt x="7" y="25"/>
                    </a:cubicBezTo>
                    <a:cubicBezTo>
                      <a:pt x="7" y="26"/>
                      <a:pt x="7" y="32"/>
                      <a:pt x="7" y="32"/>
                    </a:cubicBezTo>
                    <a:cubicBezTo>
                      <a:pt x="8" y="32"/>
                      <a:pt x="7" y="32"/>
                      <a:pt x="8" y="31"/>
                    </a:cubicBezTo>
                    <a:cubicBezTo>
                      <a:pt x="7" y="31"/>
                      <a:pt x="7" y="30"/>
                      <a:pt x="9" y="30"/>
                    </a:cubicBezTo>
                    <a:cubicBezTo>
                      <a:pt x="10" y="33"/>
                      <a:pt x="11" y="36"/>
                      <a:pt x="14" y="37"/>
                    </a:cubicBezTo>
                    <a:cubicBezTo>
                      <a:pt x="16" y="38"/>
                      <a:pt x="17" y="38"/>
                      <a:pt x="18" y="38"/>
                    </a:cubicBezTo>
                    <a:cubicBezTo>
                      <a:pt x="18" y="38"/>
                      <a:pt x="19" y="35"/>
                      <a:pt x="21" y="32"/>
                    </a:cubicBezTo>
                    <a:cubicBezTo>
                      <a:pt x="23" y="29"/>
                      <a:pt x="25" y="26"/>
                      <a:pt x="25" y="26"/>
                    </a:cubicBezTo>
                    <a:cubicBezTo>
                      <a:pt x="25" y="26"/>
                      <a:pt x="27" y="23"/>
                      <a:pt x="29" y="23"/>
                    </a:cubicBezTo>
                    <a:cubicBezTo>
                      <a:pt x="31" y="23"/>
                      <a:pt x="31" y="20"/>
                      <a:pt x="31" y="20"/>
                    </a:cubicBezTo>
                    <a:cubicBezTo>
                      <a:pt x="27" y="20"/>
                      <a:pt x="27" y="20"/>
                      <a:pt x="27" y="20"/>
                    </a:cubicBezTo>
                    <a:cubicBezTo>
                      <a:pt x="27" y="20"/>
                      <a:pt x="29" y="17"/>
                      <a:pt x="28" y="15"/>
                    </a:cubicBezTo>
                    <a:cubicBezTo>
                      <a:pt x="27" y="13"/>
                      <a:pt x="27" y="14"/>
                      <a:pt x="26" y="11"/>
                    </a:cubicBezTo>
                    <a:cubicBezTo>
                      <a:pt x="25" y="8"/>
                      <a:pt x="23" y="10"/>
                      <a:pt x="23" y="7"/>
                    </a:cubicBezTo>
                    <a:cubicBezTo>
                      <a:pt x="23" y="4"/>
                      <a:pt x="23" y="2"/>
                      <a:pt x="21" y="2"/>
                    </a:cubicBezTo>
                    <a:cubicBezTo>
                      <a:pt x="19" y="2"/>
                      <a:pt x="19" y="4"/>
                      <a:pt x="16" y="2"/>
                    </a:cubicBezTo>
                    <a:cubicBezTo>
                      <a:pt x="13" y="0"/>
                      <a:pt x="11" y="0"/>
                      <a:pt x="9" y="3"/>
                    </a:cubicBezTo>
                    <a:cubicBezTo>
                      <a:pt x="8" y="6"/>
                      <a:pt x="9" y="9"/>
                      <a:pt x="7" y="10"/>
                    </a:cubicBezTo>
                    <a:cubicBezTo>
                      <a:pt x="5" y="11"/>
                      <a:pt x="6" y="13"/>
                      <a:pt x="4" y="13"/>
                    </a:cubicBezTo>
                    <a:cubicBezTo>
                      <a:pt x="2" y="13"/>
                      <a:pt x="2" y="13"/>
                      <a:pt x="2" y="1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05" name="Freeform 84">
                <a:extLst>
                  <a:ext uri="{FF2B5EF4-FFF2-40B4-BE49-F238E27FC236}">
                    <a16:creationId xmlns:a16="http://schemas.microsoft.com/office/drawing/2014/main" id="{CC3A8D36-359E-F5FC-126C-FACBCC2877D9}"/>
                  </a:ext>
                </a:extLst>
              </p:cNvPr>
              <p:cNvSpPr>
                <a:spLocks/>
              </p:cNvSpPr>
              <p:nvPr/>
            </p:nvSpPr>
            <p:spPr bwMode="auto">
              <a:xfrm>
                <a:off x="2819" y="1889"/>
                <a:ext cx="98" cy="103"/>
              </a:xfrm>
              <a:custGeom>
                <a:avLst/>
                <a:gdLst>
                  <a:gd name="T0" fmla="*/ 9 w 50"/>
                  <a:gd name="T1" fmla="*/ 7 h 52"/>
                  <a:gd name="T2" fmla="*/ 7 w 50"/>
                  <a:gd name="T3" fmla="*/ 12 h 52"/>
                  <a:gd name="T4" fmla="*/ 8 w 50"/>
                  <a:gd name="T5" fmla="*/ 18 h 52"/>
                  <a:gd name="T6" fmla="*/ 5 w 50"/>
                  <a:gd name="T7" fmla="*/ 23 h 52"/>
                  <a:gd name="T8" fmla="*/ 3 w 50"/>
                  <a:gd name="T9" fmla="*/ 24 h 52"/>
                  <a:gd name="T10" fmla="*/ 2 w 50"/>
                  <a:gd name="T11" fmla="*/ 27 h 52"/>
                  <a:gd name="T12" fmla="*/ 0 w 50"/>
                  <a:gd name="T13" fmla="*/ 28 h 52"/>
                  <a:gd name="T14" fmla="*/ 3 w 50"/>
                  <a:gd name="T15" fmla="*/ 30 h 52"/>
                  <a:gd name="T16" fmla="*/ 4 w 50"/>
                  <a:gd name="T17" fmla="*/ 38 h 52"/>
                  <a:gd name="T18" fmla="*/ 6 w 50"/>
                  <a:gd name="T19" fmla="*/ 39 h 52"/>
                  <a:gd name="T20" fmla="*/ 10 w 50"/>
                  <a:gd name="T21" fmla="*/ 38 h 52"/>
                  <a:gd name="T22" fmla="*/ 14 w 50"/>
                  <a:gd name="T23" fmla="*/ 37 h 52"/>
                  <a:gd name="T24" fmla="*/ 17 w 50"/>
                  <a:gd name="T25" fmla="*/ 36 h 52"/>
                  <a:gd name="T26" fmla="*/ 25 w 50"/>
                  <a:gd name="T27" fmla="*/ 36 h 52"/>
                  <a:gd name="T28" fmla="*/ 31 w 50"/>
                  <a:gd name="T29" fmla="*/ 36 h 52"/>
                  <a:gd name="T30" fmla="*/ 34 w 50"/>
                  <a:gd name="T31" fmla="*/ 38 h 52"/>
                  <a:gd name="T32" fmla="*/ 30 w 50"/>
                  <a:gd name="T33" fmla="*/ 42 h 52"/>
                  <a:gd name="T34" fmla="*/ 17 w 50"/>
                  <a:gd name="T35" fmla="*/ 42 h 52"/>
                  <a:gd name="T36" fmla="*/ 13 w 50"/>
                  <a:gd name="T37" fmla="*/ 44 h 52"/>
                  <a:gd name="T38" fmla="*/ 6 w 50"/>
                  <a:gd name="T39" fmla="*/ 45 h 52"/>
                  <a:gd name="T40" fmla="*/ 6 w 50"/>
                  <a:gd name="T41" fmla="*/ 46 h 52"/>
                  <a:gd name="T42" fmla="*/ 8 w 50"/>
                  <a:gd name="T43" fmla="*/ 47 h 52"/>
                  <a:gd name="T44" fmla="*/ 9 w 50"/>
                  <a:gd name="T45" fmla="*/ 52 h 52"/>
                  <a:gd name="T46" fmla="*/ 13 w 50"/>
                  <a:gd name="T47" fmla="*/ 51 h 52"/>
                  <a:gd name="T48" fmla="*/ 17 w 50"/>
                  <a:gd name="T49" fmla="*/ 48 h 52"/>
                  <a:gd name="T50" fmla="*/ 31 w 50"/>
                  <a:gd name="T51" fmla="*/ 48 h 52"/>
                  <a:gd name="T52" fmla="*/ 37 w 50"/>
                  <a:gd name="T53" fmla="*/ 49 h 52"/>
                  <a:gd name="T54" fmla="*/ 42 w 50"/>
                  <a:gd name="T55" fmla="*/ 50 h 52"/>
                  <a:gd name="T56" fmla="*/ 50 w 50"/>
                  <a:gd name="T57" fmla="*/ 49 h 52"/>
                  <a:gd name="T58" fmla="*/ 49 w 50"/>
                  <a:gd name="T59" fmla="*/ 43 h 52"/>
                  <a:gd name="T60" fmla="*/ 46 w 50"/>
                  <a:gd name="T61" fmla="*/ 39 h 52"/>
                  <a:gd name="T62" fmla="*/ 45 w 50"/>
                  <a:gd name="T63" fmla="*/ 36 h 52"/>
                  <a:gd name="T64" fmla="*/ 46 w 50"/>
                  <a:gd name="T65" fmla="*/ 28 h 52"/>
                  <a:gd name="T66" fmla="*/ 46 w 50"/>
                  <a:gd name="T67" fmla="*/ 23 h 52"/>
                  <a:gd name="T68" fmla="*/ 44 w 50"/>
                  <a:gd name="T69" fmla="*/ 20 h 52"/>
                  <a:gd name="T70" fmla="*/ 39 w 50"/>
                  <a:gd name="T71" fmla="*/ 18 h 52"/>
                  <a:gd name="T72" fmla="*/ 38 w 50"/>
                  <a:gd name="T73" fmla="*/ 12 h 52"/>
                  <a:gd name="T74" fmla="*/ 33 w 50"/>
                  <a:gd name="T75" fmla="*/ 10 h 52"/>
                  <a:gd name="T76" fmla="*/ 31 w 50"/>
                  <a:gd name="T77" fmla="*/ 5 h 52"/>
                  <a:gd name="T78" fmla="*/ 26 w 50"/>
                  <a:gd name="T79" fmla="*/ 2 h 52"/>
                  <a:gd name="T80" fmla="*/ 20 w 50"/>
                  <a:gd name="T81" fmla="*/ 3 h 52"/>
                  <a:gd name="T82" fmla="*/ 15 w 50"/>
                  <a:gd name="T83" fmla="*/ 3 h 52"/>
                  <a:gd name="T84" fmla="*/ 11 w 50"/>
                  <a:gd name="T85" fmla="*/ 5 h 52"/>
                  <a:gd name="T86" fmla="*/ 9 w 50"/>
                  <a:gd name="T87"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 h="52">
                    <a:moveTo>
                      <a:pt x="9" y="7"/>
                    </a:moveTo>
                    <a:cubicBezTo>
                      <a:pt x="8" y="8"/>
                      <a:pt x="7" y="10"/>
                      <a:pt x="7" y="12"/>
                    </a:cubicBezTo>
                    <a:cubicBezTo>
                      <a:pt x="7" y="14"/>
                      <a:pt x="8" y="15"/>
                      <a:pt x="8" y="18"/>
                    </a:cubicBezTo>
                    <a:cubicBezTo>
                      <a:pt x="5" y="23"/>
                      <a:pt x="5" y="23"/>
                      <a:pt x="5" y="23"/>
                    </a:cubicBezTo>
                    <a:cubicBezTo>
                      <a:pt x="4" y="23"/>
                      <a:pt x="3" y="23"/>
                      <a:pt x="3" y="24"/>
                    </a:cubicBezTo>
                    <a:cubicBezTo>
                      <a:pt x="2" y="25"/>
                      <a:pt x="3" y="26"/>
                      <a:pt x="2" y="27"/>
                    </a:cubicBezTo>
                    <a:cubicBezTo>
                      <a:pt x="2" y="27"/>
                      <a:pt x="1" y="27"/>
                      <a:pt x="0" y="28"/>
                    </a:cubicBezTo>
                    <a:cubicBezTo>
                      <a:pt x="3" y="30"/>
                      <a:pt x="3" y="30"/>
                      <a:pt x="3" y="30"/>
                    </a:cubicBezTo>
                    <a:cubicBezTo>
                      <a:pt x="4" y="32"/>
                      <a:pt x="3" y="35"/>
                      <a:pt x="4" y="38"/>
                    </a:cubicBezTo>
                    <a:cubicBezTo>
                      <a:pt x="5" y="38"/>
                      <a:pt x="5" y="38"/>
                      <a:pt x="6" y="39"/>
                    </a:cubicBezTo>
                    <a:cubicBezTo>
                      <a:pt x="6" y="39"/>
                      <a:pt x="8" y="38"/>
                      <a:pt x="10" y="38"/>
                    </a:cubicBezTo>
                    <a:cubicBezTo>
                      <a:pt x="12" y="38"/>
                      <a:pt x="12" y="38"/>
                      <a:pt x="14" y="37"/>
                    </a:cubicBezTo>
                    <a:cubicBezTo>
                      <a:pt x="17" y="35"/>
                      <a:pt x="15" y="35"/>
                      <a:pt x="17" y="36"/>
                    </a:cubicBezTo>
                    <a:cubicBezTo>
                      <a:pt x="19" y="38"/>
                      <a:pt x="23" y="36"/>
                      <a:pt x="25" y="36"/>
                    </a:cubicBezTo>
                    <a:cubicBezTo>
                      <a:pt x="31" y="36"/>
                      <a:pt x="31" y="36"/>
                      <a:pt x="31" y="36"/>
                    </a:cubicBezTo>
                    <a:cubicBezTo>
                      <a:pt x="33" y="36"/>
                      <a:pt x="34" y="35"/>
                      <a:pt x="34" y="38"/>
                    </a:cubicBezTo>
                    <a:cubicBezTo>
                      <a:pt x="34" y="41"/>
                      <a:pt x="33" y="42"/>
                      <a:pt x="30" y="42"/>
                    </a:cubicBezTo>
                    <a:cubicBezTo>
                      <a:pt x="28" y="42"/>
                      <a:pt x="20" y="42"/>
                      <a:pt x="17" y="42"/>
                    </a:cubicBezTo>
                    <a:cubicBezTo>
                      <a:pt x="14" y="42"/>
                      <a:pt x="13" y="44"/>
                      <a:pt x="13" y="44"/>
                    </a:cubicBezTo>
                    <a:cubicBezTo>
                      <a:pt x="6" y="45"/>
                      <a:pt x="6" y="45"/>
                      <a:pt x="6" y="45"/>
                    </a:cubicBezTo>
                    <a:cubicBezTo>
                      <a:pt x="6" y="45"/>
                      <a:pt x="6" y="46"/>
                      <a:pt x="6" y="46"/>
                    </a:cubicBezTo>
                    <a:cubicBezTo>
                      <a:pt x="6" y="46"/>
                      <a:pt x="8" y="47"/>
                      <a:pt x="8" y="47"/>
                    </a:cubicBezTo>
                    <a:cubicBezTo>
                      <a:pt x="4" y="48"/>
                      <a:pt x="8" y="51"/>
                      <a:pt x="9" y="52"/>
                    </a:cubicBezTo>
                    <a:cubicBezTo>
                      <a:pt x="13" y="51"/>
                      <a:pt x="13" y="51"/>
                      <a:pt x="13" y="51"/>
                    </a:cubicBezTo>
                    <a:cubicBezTo>
                      <a:pt x="17" y="48"/>
                      <a:pt x="17" y="48"/>
                      <a:pt x="17" y="48"/>
                    </a:cubicBezTo>
                    <a:cubicBezTo>
                      <a:pt x="17" y="48"/>
                      <a:pt x="28" y="48"/>
                      <a:pt x="31" y="48"/>
                    </a:cubicBezTo>
                    <a:cubicBezTo>
                      <a:pt x="33" y="49"/>
                      <a:pt x="35" y="50"/>
                      <a:pt x="37" y="49"/>
                    </a:cubicBezTo>
                    <a:cubicBezTo>
                      <a:pt x="39" y="48"/>
                      <a:pt x="40" y="49"/>
                      <a:pt x="42" y="50"/>
                    </a:cubicBezTo>
                    <a:cubicBezTo>
                      <a:pt x="44" y="51"/>
                      <a:pt x="50" y="49"/>
                      <a:pt x="50" y="49"/>
                    </a:cubicBezTo>
                    <a:cubicBezTo>
                      <a:pt x="50" y="49"/>
                      <a:pt x="49" y="44"/>
                      <a:pt x="49" y="43"/>
                    </a:cubicBezTo>
                    <a:cubicBezTo>
                      <a:pt x="49" y="41"/>
                      <a:pt x="48" y="41"/>
                      <a:pt x="46" y="39"/>
                    </a:cubicBezTo>
                    <a:cubicBezTo>
                      <a:pt x="45" y="38"/>
                      <a:pt x="45" y="36"/>
                      <a:pt x="45" y="36"/>
                    </a:cubicBezTo>
                    <a:cubicBezTo>
                      <a:pt x="45" y="36"/>
                      <a:pt x="48" y="29"/>
                      <a:pt x="46" y="28"/>
                    </a:cubicBezTo>
                    <a:cubicBezTo>
                      <a:pt x="45" y="28"/>
                      <a:pt x="46" y="23"/>
                      <a:pt x="46" y="23"/>
                    </a:cubicBezTo>
                    <a:cubicBezTo>
                      <a:pt x="46" y="23"/>
                      <a:pt x="44" y="21"/>
                      <a:pt x="44" y="20"/>
                    </a:cubicBezTo>
                    <a:cubicBezTo>
                      <a:pt x="44" y="18"/>
                      <a:pt x="40" y="21"/>
                      <a:pt x="39" y="18"/>
                    </a:cubicBezTo>
                    <a:cubicBezTo>
                      <a:pt x="38" y="15"/>
                      <a:pt x="39" y="13"/>
                      <a:pt x="38" y="12"/>
                    </a:cubicBezTo>
                    <a:cubicBezTo>
                      <a:pt x="36" y="12"/>
                      <a:pt x="33" y="13"/>
                      <a:pt x="33" y="10"/>
                    </a:cubicBezTo>
                    <a:cubicBezTo>
                      <a:pt x="33" y="7"/>
                      <a:pt x="32" y="6"/>
                      <a:pt x="31" y="5"/>
                    </a:cubicBezTo>
                    <a:cubicBezTo>
                      <a:pt x="29" y="4"/>
                      <a:pt x="29" y="2"/>
                      <a:pt x="26" y="2"/>
                    </a:cubicBezTo>
                    <a:cubicBezTo>
                      <a:pt x="22" y="3"/>
                      <a:pt x="22" y="3"/>
                      <a:pt x="20" y="3"/>
                    </a:cubicBezTo>
                    <a:cubicBezTo>
                      <a:pt x="17" y="2"/>
                      <a:pt x="16" y="0"/>
                      <a:pt x="15" y="3"/>
                    </a:cubicBezTo>
                    <a:cubicBezTo>
                      <a:pt x="14" y="5"/>
                      <a:pt x="11" y="5"/>
                      <a:pt x="11" y="5"/>
                    </a:cubicBezTo>
                    <a:lnTo>
                      <a:pt x="9" y="7"/>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06" name="Freeform 85">
                <a:extLst>
                  <a:ext uri="{FF2B5EF4-FFF2-40B4-BE49-F238E27FC236}">
                    <a16:creationId xmlns:a16="http://schemas.microsoft.com/office/drawing/2014/main" id="{EDFD5114-AA0A-FA7A-E0DC-66925684E097}"/>
                  </a:ext>
                </a:extLst>
              </p:cNvPr>
              <p:cNvSpPr>
                <a:spLocks/>
              </p:cNvSpPr>
              <p:nvPr/>
            </p:nvSpPr>
            <p:spPr bwMode="auto">
              <a:xfrm>
                <a:off x="2819" y="1889"/>
                <a:ext cx="98" cy="103"/>
              </a:xfrm>
              <a:custGeom>
                <a:avLst/>
                <a:gdLst>
                  <a:gd name="T0" fmla="*/ 9 w 50"/>
                  <a:gd name="T1" fmla="*/ 7 h 52"/>
                  <a:gd name="T2" fmla="*/ 7 w 50"/>
                  <a:gd name="T3" fmla="*/ 12 h 52"/>
                  <a:gd name="T4" fmla="*/ 8 w 50"/>
                  <a:gd name="T5" fmla="*/ 18 h 52"/>
                  <a:gd name="T6" fmla="*/ 5 w 50"/>
                  <a:gd name="T7" fmla="*/ 23 h 52"/>
                  <a:gd name="T8" fmla="*/ 3 w 50"/>
                  <a:gd name="T9" fmla="*/ 24 h 52"/>
                  <a:gd name="T10" fmla="*/ 2 w 50"/>
                  <a:gd name="T11" fmla="*/ 27 h 52"/>
                  <a:gd name="T12" fmla="*/ 0 w 50"/>
                  <a:gd name="T13" fmla="*/ 28 h 52"/>
                  <a:gd name="T14" fmla="*/ 3 w 50"/>
                  <a:gd name="T15" fmla="*/ 30 h 52"/>
                  <a:gd name="T16" fmla="*/ 4 w 50"/>
                  <a:gd name="T17" fmla="*/ 38 h 52"/>
                  <a:gd name="T18" fmla="*/ 6 w 50"/>
                  <a:gd name="T19" fmla="*/ 39 h 52"/>
                  <a:gd name="T20" fmla="*/ 10 w 50"/>
                  <a:gd name="T21" fmla="*/ 38 h 52"/>
                  <a:gd name="T22" fmla="*/ 14 w 50"/>
                  <a:gd name="T23" fmla="*/ 37 h 52"/>
                  <a:gd name="T24" fmla="*/ 17 w 50"/>
                  <a:gd name="T25" fmla="*/ 36 h 52"/>
                  <a:gd name="T26" fmla="*/ 25 w 50"/>
                  <a:gd name="T27" fmla="*/ 36 h 52"/>
                  <a:gd name="T28" fmla="*/ 31 w 50"/>
                  <a:gd name="T29" fmla="*/ 36 h 52"/>
                  <a:gd name="T30" fmla="*/ 34 w 50"/>
                  <a:gd name="T31" fmla="*/ 38 h 52"/>
                  <a:gd name="T32" fmla="*/ 30 w 50"/>
                  <a:gd name="T33" fmla="*/ 42 h 52"/>
                  <a:gd name="T34" fmla="*/ 17 w 50"/>
                  <a:gd name="T35" fmla="*/ 42 h 52"/>
                  <a:gd name="T36" fmla="*/ 13 w 50"/>
                  <a:gd name="T37" fmla="*/ 44 h 52"/>
                  <a:gd name="T38" fmla="*/ 6 w 50"/>
                  <a:gd name="T39" fmla="*/ 45 h 52"/>
                  <a:gd name="T40" fmla="*/ 6 w 50"/>
                  <a:gd name="T41" fmla="*/ 46 h 52"/>
                  <a:gd name="T42" fmla="*/ 8 w 50"/>
                  <a:gd name="T43" fmla="*/ 47 h 52"/>
                  <a:gd name="T44" fmla="*/ 9 w 50"/>
                  <a:gd name="T45" fmla="*/ 52 h 52"/>
                  <a:gd name="T46" fmla="*/ 13 w 50"/>
                  <a:gd name="T47" fmla="*/ 51 h 52"/>
                  <a:gd name="T48" fmla="*/ 17 w 50"/>
                  <a:gd name="T49" fmla="*/ 48 h 52"/>
                  <a:gd name="T50" fmla="*/ 31 w 50"/>
                  <a:gd name="T51" fmla="*/ 48 h 52"/>
                  <a:gd name="T52" fmla="*/ 37 w 50"/>
                  <a:gd name="T53" fmla="*/ 49 h 52"/>
                  <a:gd name="T54" fmla="*/ 42 w 50"/>
                  <a:gd name="T55" fmla="*/ 50 h 52"/>
                  <a:gd name="T56" fmla="*/ 50 w 50"/>
                  <a:gd name="T57" fmla="*/ 49 h 52"/>
                  <a:gd name="T58" fmla="*/ 49 w 50"/>
                  <a:gd name="T59" fmla="*/ 43 h 52"/>
                  <a:gd name="T60" fmla="*/ 46 w 50"/>
                  <a:gd name="T61" fmla="*/ 39 h 52"/>
                  <a:gd name="T62" fmla="*/ 45 w 50"/>
                  <a:gd name="T63" fmla="*/ 36 h 52"/>
                  <a:gd name="T64" fmla="*/ 46 w 50"/>
                  <a:gd name="T65" fmla="*/ 28 h 52"/>
                  <a:gd name="T66" fmla="*/ 46 w 50"/>
                  <a:gd name="T67" fmla="*/ 23 h 52"/>
                  <a:gd name="T68" fmla="*/ 44 w 50"/>
                  <a:gd name="T69" fmla="*/ 20 h 52"/>
                  <a:gd name="T70" fmla="*/ 39 w 50"/>
                  <a:gd name="T71" fmla="*/ 18 h 52"/>
                  <a:gd name="T72" fmla="*/ 38 w 50"/>
                  <a:gd name="T73" fmla="*/ 12 h 52"/>
                  <a:gd name="T74" fmla="*/ 33 w 50"/>
                  <a:gd name="T75" fmla="*/ 10 h 52"/>
                  <a:gd name="T76" fmla="*/ 31 w 50"/>
                  <a:gd name="T77" fmla="*/ 5 h 52"/>
                  <a:gd name="T78" fmla="*/ 26 w 50"/>
                  <a:gd name="T79" fmla="*/ 2 h 52"/>
                  <a:gd name="T80" fmla="*/ 20 w 50"/>
                  <a:gd name="T81" fmla="*/ 3 h 52"/>
                  <a:gd name="T82" fmla="*/ 15 w 50"/>
                  <a:gd name="T83" fmla="*/ 3 h 52"/>
                  <a:gd name="T84" fmla="*/ 11 w 50"/>
                  <a:gd name="T85" fmla="*/ 5 h 52"/>
                  <a:gd name="T86" fmla="*/ 9 w 50"/>
                  <a:gd name="T87"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 h="52">
                    <a:moveTo>
                      <a:pt x="9" y="7"/>
                    </a:moveTo>
                    <a:cubicBezTo>
                      <a:pt x="8" y="8"/>
                      <a:pt x="7" y="10"/>
                      <a:pt x="7" y="12"/>
                    </a:cubicBezTo>
                    <a:cubicBezTo>
                      <a:pt x="7" y="14"/>
                      <a:pt x="8" y="15"/>
                      <a:pt x="8" y="18"/>
                    </a:cubicBezTo>
                    <a:cubicBezTo>
                      <a:pt x="5" y="23"/>
                      <a:pt x="5" y="23"/>
                      <a:pt x="5" y="23"/>
                    </a:cubicBezTo>
                    <a:cubicBezTo>
                      <a:pt x="4" y="23"/>
                      <a:pt x="3" y="23"/>
                      <a:pt x="3" y="24"/>
                    </a:cubicBezTo>
                    <a:cubicBezTo>
                      <a:pt x="2" y="25"/>
                      <a:pt x="3" y="26"/>
                      <a:pt x="2" y="27"/>
                    </a:cubicBezTo>
                    <a:cubicBezTo>
                      <a:pt x="2" y="27"/>
                      <a:pt x="1" y="27"/>
                      <a:pt x="0" y="28"/>
                    </a:cubicBezTo>
                    <a:cubicBezTo>
                      <a:pt x="3" y="30"/>
                      <a:pt x="3" y="30"/>
                      <a:pt x="3" y="30"/>
                    </a:cubicBezTo>
                    <a:cubicBezTo>
                      <a:pt x="4" y="32"/>
                      <a:pt x="3" y="35"/>
                      <a:pt x="4" y="38"/>
                    </a:cubicBezTo>
                    <a:cubicBezTo>
                      <a:pt x="5" y="38"/>
                      <a:pt x="5" y="38"/>
                      <a:pt x="6" y="39"/>
                    </a:cubicBezTo>
                    <a:cubicBezTo>
                      <a:pt x="6" y="39"/>
                      <a:pt x="8" y="38"/>
                      <a:pt x="10" y="38"/>
                    </a:cubicBezTo>
                    <a:cubicBezTo>
                      <a:pt x="12" y="38"/>
                      <a:pt x="12" y="38"/>
                      <a:pt x="14" y="37"/>
                    </a:cubicBezTo>
                    <a:cubicBezTo>
                      <a:pt x="17" y="35"/>
                      <a:pt x="15" y="35"/>
                      <a:pt x="17" y="36"/>
                    </a:cubicBezTo>
                    <a:cubicBezTo>
                      <a:pt x="19" y="38"/>
                      <a:pt x="23" y="36"/>
                      <a:pt x="25" y="36"/>
                    </a:cubicBezTo>
                    <a:cubicBezTo>
                      <a:pt x="31" y="36"/>
                      <a:pt x="31" y="36"/>
                      <a:pt x="31" y="36"/>
                    </a:cubicBezTo>
                    <a:cubicBezTo>
                      <a:pt x="33" y="36"/>
                      <a:pt x="34" y="35"/>
                      <a:pt x="34" y="38"/>
                    </a:cubicBezTo>
                    <a:cubicBezTo>
                      <a:pt x="34" y="41"/>
                      <a:pt x="33" y="42"/>
                      <a:pt x="30" y="42"/>
                    </a:cubicBezTo>
                    <a:cubicBezTo>
                      <a:pt x="28" y="42"/>
                      <a:pt x="20" y="42"/>
                      <a:pt x="17" y="42"/>
                    </a:cubicBezTo>
                    <a:cubicBezTo>
                      <a:pt x="14" y="42"/>
                      <a:pt x="13" y="44"/>
                      <a:pt x="13" y="44"/>
                    </a:cubicBezTo>
                    <a:cubicBezTo>
                      <a:pt x="6" y="45"/>
                      <a:pt x="6" y="45"/>
                      <a:pt x="6" y="45"/>
                    </a:cubicBezTo>
                    <a:cubicBezTo>
                      <a:pt x="6" y="45"/>
                      <a:pt x="6" y="46"/>
                      <a:pt x="6" y="46"/>
                    </a:cubicBezTo>
                    <a:cubicBezTo>
                      <a:pt x="6" y="46"/>
                      <a:pt x="8" y="47"/>
                      <a:pt x="8" y="47"/>
                    </a:cubicBezTo>
                    <a:cubicBezTo>
                      <a:pt x="4" y="48"/>
                      <a:pt x="8" y="51"/>
                      <a:pt x="9" y="52"/>
                    </a:cubicBezTo>
                    <a:cubicBezTo>
                      <a:pt x="13" y="51"/>
                      <a:pt x="13" y="51"/>
                      <a:pt x="13" y="51"/>
                    </a:cubicBezTo>
                    <a:cubicBezTo>
                      <a:pt x="17" y="48"/>
                      <a:pt x="17" y="48"/>
                      <a:pt x="17" y="48"/>
                    </a:cubicBezTo>
                    <a:cubicBezTo>
                      <a:pt x="17" y="48"/>
                      <a:pt x="28" y="48"/>
                      <a:pt x="31" y="48"/>
                    </a:cubicBezTo>
                    <a:cubicBezTo>
                      <a:pt x="33" y="49"/>
                      <a:pt x="35" y="50"/>
                      <a:pt x="37" y="49"/>
                    </a:cubicBezTo>
                    <a:cubicBezTo>
                      <a:pt x="39" y="48"/>
                      <a:pt x="40" y="49"/>
                      <a:pt x="42" y="50"/>
                    </a:cubicBezTo>
                    <a:cubicBezTo>
                      <a:pt x="44" y="51"/>
                      <a:pt x="50" y="49"/>
                      <a:pt x="50" y="49"/>
                    </a:cubicBezTo>
                    <a:cubicBezTo>
                      <a:pt x="50" y="49"/>
                      <a:pt x="49" y="44"/>
                      <a:pt x="49" y="43"/>
                    </a:cubicBezTo>
                    <a:cubicBezTo>
                      <a:pt x="49" y="41"/>
                      <a:pt x="48" y="41"/>
                      <a:pt x="46" y="39"/>
                    </a:cubicBezTo>
                    <a:cubicBezTo>
                      <a:pt x="45" y="38"/>
                      <a:pt x="45" y="36"/>
                      <a:pt x="45" y="36"/>
                    </a:cubicBezTo>
                    <a:cubicBezTo>
                      <a:pt x="45" y="36"/>
                      <a:pt x="48" y="29"/>
                      <a:pt x="46" y="28"/>
                    </a:cubicBezTo>
                    <a:cubicBezTo>
                      <a:pt x="45" y="28"/>
                      <a:pt x="46" y="23"/>
                      <a:pt x="46" y="23"/>
                    </a:cubicBezTo>
                    <a:cubicBezTo>
                      <a:pt x="46" y="23"/>
                      <a:pt x="44" y="21"/>
                      <a:pt x="44" y="20"/>
                    </a:cubicBezTo>
                    <a:cubicBezTo>
                      <a:pt x="44" y="18"/>
                      <a:pt x="40" y="21"/>
                      <a:pt x="39" y="18"/>
                    </a:cubicBezTo>
                    <a:cubicBezTo>
                      <a:pt x="38" y="15"/>
                      <a:pt x="39" y="13"/>
                      <a:pt x="38" y="12"/>
                    </a:cubicBezTo>
                    <a:cubicBezTo>
                      <a:pt x="36" y="12"/>
                      <a:pt x="33" y="13"/>
                      <a:pt x="33" y="10"/>
                    </a:cubicBezTo>
                    <a:cubicBezTo>
                      <a:pt x="33" y="7"/>
                      <a:pt x="32" y="6"/>
                      <a:pt x="31" y="5"/>
                    </a:cubicBezTo>
                    <a:cubicBezTo>
                      <a:pt x="29" y="4"/>
                      <a:pt x="29" y="2"/>
                      <a:pt x="26" y="2"/>
                    </a:cubicBezTo>
                    <a:cubicBezTo>
                      <a:pt x="22" y="3"/>
                      <a:pt x="22" y="3"/>
                      <a:pt x="20" y="3"/>
                    </a:cubicBezTo>
                    <a:cubicBezTo>
                      <a:pt x="17" y="2"/>
                      <a:pt x="16" y="0"/>
                      <a:pt x="15" y="3"/>
                    </a:cubicBezTo>
                    <a:cubicBezTo>
                      <a:pt x="14" y="5"/>
                      <a:pt x="11" y="5"/>
                      <a:pt x="11" y="5"/>
                    </a:cubicBezTo>
                    <a:lnTo>
                      <a:pt x="9" y="7"/>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07" name="Freeform 86">
                <a:extLst>
                  <a:ext uri="{FF2B5EF4-FFF2-40B4-BE49-F238E27FC236}">
                    <a16:creationId xmlns:a16="http://schemas.microsoft.com/office/drawing/2014/main" id="{D203318B-0FBC-FDD1-E97F-177642BEEDE5}"/>
                  </a:ext>
                </a:extLst>
              </p:cNvPr>
              <p:cNvSpPr>
                <a:spLocks/>
              </p:cNvSpPr>
              <p:nvPr/>
            </p:nvSpPr>
            <p:spPr bwMode="auto">
              <a:xfrm>
                <a:off x="3704" y="1570"/>
                <a:ext cx="357" cy="343"/>
              </a:xfrm>
              <a:custGeom>
                <a:avLst/>
                <a:gdLst>
                  <a:gd name="T0" fmla="*/ 72 w 182"/>
                  <a:gd name="T1" fmla="*/ 165 h 175"/>
                  <a:gd name="T2" fmla="*/ 74 w 182"/>
                  <a:gd name="T3" fmla="*/ 160 h 175"/>
                  <a:gd name="T4" fmla="*/ 80 w 182"/>
                  <a:gd name="T5" fmla="*/ 160 h 175"/>
                  <a:gd name="T6" fmla="*/ 100 w 182"/>
                  <a:gd name="T7" fmla="*/ 164 h 175"/>
                  <a:gd name="T8" fmla="*/ 106 w 182"/>
                  <a:gd name="T9" fmla="*/ 170 h 175"/>
                  <a:gd name="T10" fmla="*/ 148 w 182"/>
                  <a:gd name="T11" fmla="*/ 145 h 175"/>
                  <a:gd name="T12" fmla="*/ 182 w 182"/>
                  <a:gd name="T13" fmla="*/ 107 h 175"/>
                  <a:gd name="T14" fmla="*/ 174 w 182"/>
                  <a:gd name="T15" fmla="*/ 100 h 175"/>
                  <a:gd name="T16" fmla="*/ 145 w 182"/>
                  <a:gd name="T17" fmla="*/ 86 h 175"/>
                  <a:gd name="T18" fmla="*/ 140 w 182"/>
                  <a:gd name="T19" fmla="*/ 77 h 175"/>
                  <a:gd name="T20" fmla="*/ 136 w 182"/>
                  <a:gd name="T21" fmla="*/ 74 h 175"/>
                  <a:gd name="T22" fmla="*/ 133 w 182"/>
                  <a:gd name="T23" fmla="*/ 72 h 175"/>
                  <a:gd name="T24" fmla="*/ 133 w 182"/>
                  <a:gd name="T25" fmla="*/ 65 h 175"/>
                  <a:gd name="T26" fmla="*/ 132 w 182"/>
                  <a:gd name="T27" fmla="*/ 59 h 175"/>
                  <a:gd name="T28" fmla="*/ 126 w 182"/>
                  <a:gd name="T29" fmla="*/ 53 h 175"/>
                  <a:gd name="T30" fmla="*/ 124 w 182"/>
                  <a:gd name="T31" fmla="*/ 48 h 175"/>
                  <a:gd name="T32" fmla="*/ 121 w 182"/>
                  <a:gd name="T33" fmla="*/ 45 h 175"/>
                  <a:gd name="T34" fmla="*/ 118 w 182"/>
                  <a:gd name="T35" fmla="*/ 37 h 175"/>
                  <a:gd name="T36" fmla="*/ 116 w 182"/>
                  <a:gd name="T37" fmla="*/ 34 h 175"/>
                  <a:gd name="T38" fmla="*/ 108 w 182"/>
                  <a:gd name="T39" fmla="*/ 30 h 175"/>
                  <a:gd name="T40" fmla="*/ 80 w 182"/>
                  <a:gd name="T41" fmla="*/ 26 h 175"/>
                  <a:gd name="T42" fmla="*/ 73 w 182"/>
                  <a:gd name="T43" fmla="*/ 17 h 175"/>
                  <a:gd name="T44" fmla="*/ 66 w 182"/>
                  <a:gd name="T45" fmla="*/ 14 h 175"/>
                  <a:gd name="T46" fmla="*/ 42 w 182"/>
                  <a:gd name="T47" fmla="*/ 2 h 175"/>
                  <a:gd name="T48" fmla="*/ 30 w 182"/>
                  <a:gd name="T49" fmla="*/ 15 h 175"/>
                  <a:gd name="T50" fmla="*/ 22 w 182"/>
                  <a:gd name="T51" fmla="*/ 23 h 175"/>
                  <a:gd name="T52" fmla="*/ 13 w 182"/>
                  <a:gd name="T53" fmla="*/ 31 h 175"/>
                  <a:gd name="T54" fmla="*/ 1 w 182"/>
                  <a:gd name="T55" fmla="*/ 37 h 175"/>
                  <a:gd name="T56" fmla="*/ 1 w 182"/>
                  <a:gd name="T57" fmla="*/ 40 h 175"/>
                  <a:gd name="T58" fmla="*/ 4 w 182"/>
                  <a:gd name="T59" fmla="*/ 42 h 175"/>
                  <a:gd name="T60" fmla="*/ 11 w 182"/>
                  <a:gd name="T61" fmla="*/ 54 h 175"/>
                  <a:gd name="T62" fmla="*/ 15 w 182"/>
                  <a:gd name="T63" fmla="*/ 60 h 175"/>
                  <a:gd name="T64" fmla="*/ 17 w 182"/>
                  <a:gd name="T65" fmla="*/ 64 h 175"/>
                  <a:gd name="T66" fmla="*/ 21 w 182"/>
                  <a:gd name="T67" fmla="*/ 68 h 175"/>
                  <a:gd name="T68" fmla="*/ 26 w 182"/>
                  <a:gd name="T69" fmla="*/ 81 h 175"/>
                  <a:gd name="T70" fmla="*/ 35 w 182"/>
                  <a:gd name="T71" fmla="*/ 90 h 175"/>
                  <a:gd name="T72" fmla="*/ 35 w 182"/>
                  <a:gd name="T73" fmla="*/ 109 h 175"/>
                  <a:gd name="T74" fmla="*/ 38 w 182"/>
                  <a:gd name="T75" fmla="*/ 112 h 175"/>
                  <a:gd name="T76" fmla="*/ 41 w 182"/>
                  <a:gd name="T77" fmla="*/ 127 h 175"/>
                  <a:gd name="T78" fmla="*/ 43 w 182"/>
                  <a:gd name="T79" fmla="*/ 130 h 175"/>
                  <a:gd name="T80" fmla="*/ 48 w 182"/>
                  <a:gd name="T81" fmla="*/ 133 h 175"/>
                  <a:gd name="T82" fmla="*/ 56 w 182"/>
                  <a:gd name="T83" fmla="*/ 142 h 175"/>
                  <a:gd name="T84" fmla="*/ 59 w 182"/>
                  <a:gd name="T85" fmla="*/ 150 h 175"/>
                  <a:gd name="T86" fmla="*/ 63 w 182"/>
                  <a:gd name="T87" fmla="*/ 158 h 175"/>
                  <a:gd name="T88" fmla="*/ 69 w 182"/>
                  <a:gd name="T89" fmla="*/ 16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 h="175">
                    <a:moveTo>
                      <a:pt x="69" y="167"/>
                    </a:moveTo>
                    <a:cubicBezTo>
                      <a:pt x="69" y="167"/>
                      <a:pt x="72" y="166"/>
                      <a:pt x="72" y="165"/>
                    </a:cubicBezTo>
                    <a:cubicBezTo>
                      <a:pt x="72" y="163"/>
                      <a:pt x="73" y="164"/>
                      <a:pt x="73" y="162"/>
                    </a:cubicBezTo>
                    <a:cubicBezTo>
                      <a:pt x="73" y="160"/>
                      <a:pt x="73" y="161"/>
                      <a:pt x="74" y="160"/>
                    </a:cubicBezTo>
                    <a:cubicBezTo>
                      <a:pt x="75" y="159"/>
                      <a:pt x="75" y="158"/>
                      <a:pt x="77" y="158"/>
                    </a:cubicBezTo>
                    <a:cubicBezTo>
                      <a:pt x="80" y="157"/>
                      <a:pt x="78" y="159"/>
                      <a:pt x="80" y="160"/>
                    </a:cubicBezTo>
                    <a:cubicBezTo>
                      <a:pt x="82" y="161"/>
                      <a:pt x="82" y="161"/>
                      <a:pt x="85" y="160"/>
                    </a:cubicBezTo>
                    <a:cubicBezTo>
                      <a:pt x="88" y="160"/>
                      <a:pt x="100" y="164"/>
                      <a:pt x="100" y="164"/>
                    </a:cubicBezTo>
                    <a:cubicBezTo>
                      <a:pt x="102" y="175"/>
                      <a:pt x="102" y="175"/>
                      <a:pt x="102" y="175"/>
                    </a:cubicBezTo>
                    <a:cubicBezTo>
                      <a:pt x="101" y="175"/>
                      <a:pt x="106" y="170"/>
                      <a:pt x="106" y="170"/>
                    </a:cubicBezTo>
                    <a:cubicBezTo>
                      <a:pt x="118" y="155"/>
                      <a:pt x="118" y="155"/>
                      <a:pt x="118" y="155"/>
                    </a:cubicBezTo>
                    <a:cubicBezTo>
                      <a:pt x="148" y="145"/>
                      <a:pt x="148" y="145"/>
                      <a:pt x="148" y="145"/>
                    </a:cubicBezTo>
                    <a:cubicBezTo>
                      <a:pt x="148" y="145"/>
                      <a:pt x="171" y="135"/>
                      <a:pt x="176" y="132"/>
                    </a:cubicBezTo>
                    <a:cubicBezTo>
                      <a:pt x="178" y="131"/>
                      <a:pt x="182" y="108"/>
                      <a:pt x="182" y="107"/>
                    </a:cubicBezTo>
                    <a:cubicBezTo>
                      <a:pt x="176" y="99"/>
                      <a:pt x="176" y="99"/>
                      <a:pt x="176" y="99"/>
                    </a:cubicBezTo>
                    <a:cubicBezTo>
                      <a:pt x="176" y="99"/>
                      <a:pt x="176" y="100"/>
                      <a:pt x="174" y="100"/>
                    </a:cubicBezTo>
                    <a:cubicBezTo>
                      <a:pt x="172" y="100"/>
                      <a:pt x="145" y="95"/>
                      <a:pt x="145" y="95"/>
                    </a:cubicBezTo>
                    <a:cubicBezTo>
                      <a:pt x="145" y="86"/>
                      <a:pt x="145" y="86"/>
                      <a:pt x="145" y="86"/>
                    </a:cubicBezTo>
                    <a:cubicBezTo>
                      <a:pt x="140" y="81"/>
                      <a:pt x="140" y="81"/>
                      <a:pt x="140" y="81"/>
                    </a:cubicBezTo>
                    <a:cubicBezTo>
                      <a:pt x="140" y="77"/>
                      <a:pt x="140" y="77"/>
                      <a:pt x="140" y="77"/>
                    </a:cubicBezTo>
                    <a:cubicBezTo>
                      <a:pt x="136" y="74"/>
                      <a:pt x="136" y="74"/>
                      <a:pt x="136" y="74"/>
                    </a:cubicBezTo>
                    <a:cubicBezTo>
                      <a:pt x="136" y="74"/>
                      <a:pt x="136" y="74"/>
                      <a:pt x="136" y="74"/>
                    </a:cubicBezTo>
                    <a:cubicBezTo>
                      <a:pt x="135" y="74"/>
                      <a:pt x="135" y="74"/>
                      <a:pt x="135" y="74"/>
                    </a:cubicBezTo>
                    <a:cubicBezTo>
                      <a:pt x="134" y="73"/>
                      <a:pt x="134" y="73"/>
                      <a:pt x="133" y="72"/>
                    </a:cubicBezTo>
                    <a:cubicBezTo>
                      <a:pt x="133" y="71"/>
                      <a:pt x="133" y="71"/>
                      <a:pt x="133" y="71"/>
                    </a:cubicBezTo>
                    <a:cubicBezTo>
                      <a:pt x="133" y="73"/>
                      <a:pt x="133" y="67"/>
                      <a:pt x="133" y="65"/>
                    </a:cubicBezTo>
                    <a:cubicBezTo>
                      <a:pt x="133" y="65"/>
                      <a:pt x="134" y="61"/>
                      <a:pt x="133" y="59"/>
                    </a:cubicBezTo>
                    <a:cubicBezTo>
                      <a:pt x="132" y="59"/>
                      <a:pt x="132" y="59"/>
                      <a:pt x="132" y="59"/>
                    </a:cubicBezTo>
                    <a:cubicBezTo>
                      <a:pt x="131" y="59"/>
                      <a:pt x="130" y="56"/>
                      <a:pt x="129" y="55"/>
                    </a:cubicBezTo>
                    <a:cubicBezTo>
                      <a:pt x="128" y="54"/>
                      <a:pt x="126" y="54"/>
                      <a:pt x="126" y="53"/>
                    </a:cubicBezTo>
                    <a:cubicBezTo>
                      <a:pt x="125" y="53"/>
                      <a:pt x="125" y="49"/>
                      <a:pt x="126" y="48"/>
                    </a:cubicBezTo>
                    <a:cubicBezTo>
                      <a:pt x="125" y="48"/>
                      <a:pt x="124" y="48"/>
                      <a:pt x="124" y="48"/>
                    </a:cubicBezTo>
                    <a:cubicBezTo>
                      <a:pt x="123" y="47"/>
                      <a:pt x="123" y="46"/>
                      <a:pt x="123" y="45"/>
                    </a:cubicBezTo>
                    <a:cubicBezTo>
                      <a:pt x="123" y="45"/>
                      <a:pt x="121" y="45"/>
                      <a:pt x="121" y="45"/>
                    </a:cubicBezTo>
                    <a:cubicBezTo>
                      <a:pt x="121" y="45"/>
                      <a:pt x="121" y="44"/>
                      <a:pt x="121" y="43"/>
                    </a:cubicBezTo>
                    <a:cubicBezTo>
                      <a:pt x="121" y="42"/>
                      <a:pt x="118" y="39"/>
                      <a:pt x="118" y="37"/>
                    </a:cubicBezTo>
                    <a:cubicBezTo>
                      <a:pt x="117" y="36"/>
                      <a:pt x="118" y="35"/>
                      <a:pt x="118" y="34"/>
                    </a:cubicBezTo>
                    <a:cubicBezTo>
                      <a:pt x="116" y="34"/>
                      <a:pt x="116" y="34"/>
                      <a:pt x="116" y="34"/>
                    </a:cubicBezTo>
                    <a:cubicBezTo>
                      <a:pt x="109" y="34"/>
                      <a:pt x="109" y="34"/>
                      <a:pt x="109" y="34"/>
                    </a:cubicBezTo>
                    <a:cubicBezTo>
                      <a:pt x="108" y="30"/>
                      <a:pt x="108" y="30"/>
                      <a:pt x="108" y="30"/>
                    </a:cubicBezTo>
                    <a:cubicBezTo>
                      <a:pt x="96" y="28"/>
                      <a:pt x="96" y="28"/>
                      <a:pt x="96" y="28"/>
                    </a:cubicBezTo>
                    <a:cubicBezTo>
                      <a:pt x="80" y="26"/>
                      <a:pt x="80" y="26"/>
                      <a:pt x="80" y="26"/>
                    </a:cubicBezTo>
                    <a:cubicBezTo>
                      <a:pt x="74" y="23"/>
                      <a:pt x="74" y="23"/>
                      <a:pt x="74" y="23"/>
                    </a:cubicBezTo>
                    <a:cubicBezTo>
                      <a:pt x="73" y="17"/>
                      <a:pt x="73" y="17"/>
                      <a:pt x="73" y="17"/>
                    </a:cubicBezTo>
                    <a:cubicBezTo>
                      <a:pt x="67" y="17"/>
                      <a:pt x="67" y="17"/>
                      <a:pt x="67" y="17"/>
                    </a:cubicBezTo>
                    <a:cubicBezTo>
                      <a:pt x="66" y="14"/>
                      <a:pt x="66" y="14"/>
                      <a:pt x="66" y="14"/>
                    </a:cubicBezTo>
                    <a:cubicBezTo>
                      <a:pt x="42" y="0"/>
                      <a:pt x="42" y="0"/>
                      <a:pt x="42" y="0"/>
                    </a:cubicBezTo>
                    <a:cubicBezTo>
                      <a:pt x="42" y="2"/>
                      <a:pt x="42" y="2"/>
                      <a:pt x="42" y="2"/>
                    </a:cubicBezTo>
                    <a:cubicBezTo>
                      <a:pt x="24" y="7"/>
                      <a:pt x="24" y="7"/>
                      <a:pt x="24" y="7"/>
                    </a:cubicBezTo>
                    <a:cubicBezTo>
                      <a:pt x="30" y="15"/>
                      <a:pt x="30" y="15"/>
                      <a:pt x="30" y="15"/>
                    </a:cubicBezTo>
                    <a:cubicBezTo>
                      <a:pt x="30" y="15"/>
                      <a:pt x="26" y="17"/>
                      <a:pt x="25" y="19"/>
                    </a:cubicBezTo>
                    <a:cubicBezTo>
                      <a:pt x="25" y="22"/>
                      <a:pt x="23" y="21"/>
                      <a:pt x="22" y="23"/>
                    </a:cubicBezTo>
                    <a:cubicBezTo>
                      <a:pt x="21" y="25"/>
                      <a:pt x="19" y="27"/>
                      <a:pt x="19" y="27"/>
                    </a:cubicBezTo>
                    <a:cubicBezTo>
                      <a:pt x="13" y="31"/>
                      <a:pt x="13" y="31"/>
                      <a:pt x="13" y="31"/>
                    </a:cubicBezTo>
                    <a:cubicBezTo>
                      <a:pt x="3" y="31"/>
                      <a:pt x="3" y="31"/>
                      <a:pt x="3" y="31"/>
                    </a:cubicBezTo>
                    <a:cubicBezTo>
                      <a:pt x="3" y="31"/>
                      <a:pt x="2" y="31"/>
                      <a:pt x="1" y="37"/>
                    </a:cubicBezTo>
                    <a:cubicBezTo>
                      <a:pt x="1" y="37"/>
                      <a:pt x="1" y="37"/>
                      <a:pt x="1" y="37"/>
                    </a:cubicBezTo>
                    <a:cubicBezTo>
                      <a:pt x="1" y="37"/>
                      <a:pt x="1" y="39"/>
                      <a:pt x="1" y="40"/>
                    </a:cubicBezTo>
                    <a:cubicBezTo>
                      <a:pt x="0" y="39"/>
                      <a:pt x="1" y="41"/>
                      <a:pt x="1" y="42"/>
                    </a:cubicBezTo>
                    <a:cubicBezTo>
                      <a:pt x="2" y="42"/>
                      <a:pt x="3" y="42"/>
                      <a:pt x="4" y="42"/>
                    </a:cubicBezTo>
                    <a:cubicBezTo>
                      <a:pt x="4" y="42"/>
                      <a:pt x="7" y="42"/>
                      <a:pt x="9" y="46"/>
                    </a:cubicBezTo>
                    <a:cubicBezTo>
                      <a:pt x="9" y="48"/>
                      <a:pt x="10" y="53"/>
                      <a:pt x="11" y="54"/>
                    </a:cubicBezTo>
                    <a:cubicBezTo>
                      <a:pt x="12" y="55"/>
                      <a:pt x="14" y="55"/>
                      <a:pt x="15" y="57"/>
                    </a:cubicBezTo>
                    <a:cubicBezTo>
                      <a:pt x="15" y="58"/>
                      <a:pt x="14" y="59"/>
                      <a:pt x="15" y="60"/>
                    </a:cubicBezTo>
                    <a:cubicBezTo>
                      <a:pt x="15" y="60"/>
                      <a:pt x="17" y="60"/>
                      <a:pt x="17" y="61"/>
                    </a:cubicBezTo>
                    <a:cubicBezTo>
                      <a:pt x="18" y="62"/>
                      <a:pt x="17" y="63"/>
                      <a:pt x="17" y="64"/>
                    </a:cubicBezTo>
                    <a:cubicBezTo>
                      <a:pt x="18" y="65"/>
                      <a:pt x="21" y="65"/>
                      <a:pt x="21" y="66"/>
                    </a:cubicBezTo>
                    <a:cubicBezTo>
                      <a:pt x="21" y="68"/>
                      <a:pt x="21" y="68"/>
                      <a:pt x="21" y="68"/>
                    </a:cubicBezTo>
                    <a:cubicBezTo>
                      <a:pt x="23" y="68"/>
                      <a:pt x="23" y="68"/>
                      <a:pt x="23" y="68"/>
                    </a:cubicBezTo>
                    <a:cubicBezTo>
                      <a:pt x="25" y="71"/>
                      <a:pt x="24" y="78"/>
                      <a:pt x="26" y="81"/>
                    </a:cubicBezTo>
                    <a:cubicBezTo>
                      <a:pt x="27" y="81"/>
                      <a:pt x="27" y="81"/>
                      <a:pt x="27" y="81"/>
                    </a:cubicBezTo>
                    <a:cubicBezTo>
                      <a:pt x="29" y="82"/>
                      <a:pt x="34" y="88"/>
                      <a:pt x="35" y="90"/>
                    </a:cubicBezTo>
                    <a:cubicBezTo>
                      <a:pt x="36" y="92"/>
                      <a:pt x="38" y="104"/>
                      <a:pt x="38" y="106"/>
                    </a:cubicBezTo>
                    <a:cubicBezTo>
                      <a:pt x="38" y="107"/>
                      <a:pt x="36" y="108"/>
                      <a:pt x="35" y="109"/>
                    </a:cubicBezTo>
                    <a:cubicBezTo>
                      <a:pt x="36" y="109"/>
                      <a:pt x="35" y="112"/>
                      <a:pt x="35" y="112"/>
                    </a:cubicBezTo>
                    <a:cubicBezTo>
                      <a:pt x="36" y="112"/>
                      <a:pt x="37" y="112"/>
                      <a:pt x="38" y="112"/>
                    </a:cubicBezTo>
                    <a:cubicBezTo>
                      <a:pt x="38" y="115"/>
                      <a:pt x="38" y="121"/>
                      <a:pt x="39" y="124"/>
                    </a:cubicBezTo>
                    <a:cubicBezTo>
                      <a:pt x="39" y="125"/>
                      <a:pt x="41" y="127"/>
                      <a:pt x="41" y="127"/>
                    </a:cubicBezTo>
                    <a:cubicBezTo>
                      <a:pt x="41" y="128"/>
                      <a:pt x="41" y="129"/>
                      <a:pt x="41" y="129"/>
                    </a:cubicBezTo>
                    <a:cubicBezTo>
                      <a:pt x="41" y="130"/>
                      <a:pt x="43" y="130"/>
                      <a:pt x="43" y="130"/>
                    </a:cubicBezTo>
                    <a:cubicBezTo>
                      <a:pt x="44" y="131"/>
                      <a:pt x="45" y="133"/>
                      <a:pt x="46" y="134"/>
                    </a:cubicBezTo>
                    <a:cubicBezTo>
                      <a:pt x="47" y="135"/>
                      <a:pt x="47" y="134"/>
                      <a:pt x="48" y="133"/>
                    </a:cubicBezTo>
                    <a:cubicBezTo>
                      <a:pt x="49" y="135"/>
                      <a:pt x="52" y="137"/>
                      <a:pt x="53" y="138"/>
                    </a:cubicBezTo>
                    <a:cubicBezTo>
                      <a:pt x="54" y="139"/>
                      <a:pt x="56" y="141"/>
                      <a:pt x="56" y="142"/>
                    </a:cubicBezTo>
                    <a:cubicBezTo>
                      <a:pt x="56" y="143"/>
                      <a:pt x="55" y="144"/>
                      <a:pt x="56" y="145"/>
                    </a:cubicBezTo>
                    <a:cubicBezTo>
                      <a:pt x="57" y="147"/>
                      <a:pt x="59" y="148"/>
                      <a:pt x="59" y="150"/>
                    </a:cubicBezTo>
                    <a:cubicBezTo>
                      <a:pt x="60" y="153"/>
                      <a:pt x="58" y="153"/>
                      <a:pt x="59" y="155"/>
                    </a:cubicBezTo>
                    <a:cubicBezTo>
                      <a:pt x="60" y="156"/>
                      <a:pt x="62" y="157"/>
                      <a:pt x="63" y="158"/>
                    </a:cubicBezTo>
                    <a:cubicBezTo>
                      <a:pt x="64" y="159"/>
                      <a:pt x="64" y="162"/>
                      <a:pt x="65" y="163"/>
                    </a:cubicBezTo>
                    <a:cubicBezTo>
                      <a:pt x="66" y="164"/>
                      <a:pt x="69" y="166"/>
                      <a:pt x="69" y="167"/>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08" name="Freeform 87">
                <a:extLst>
                  <a:ext uri="{FF2B5EF4-FFF2-40B4-BE49-F238E27FC236}">
                    <a16:creationId xmlns:a16="http://schemas.microsoft.com/office/drawing/2014/main" id="{C0A988E1-CF63-F3B4-99B6-C70C4A0B64BC}"/>
                  </a:ext>
                </a:extLst>
              </p:cNvPr>
              <p:cNvSpPr>
                <a:spLocks/>
              </p:cNvSpPr>
              <p:nvPr/>
            </p:nvSpPr>
            <p:spPr bwMode="auto">
              <a:xfrm>
                <a:off x="3704" y="1570"/>
                <a:ext cx="357" cy="343"/>
              </a:xfrm>
              <a:custGeom>
                <a:avLst/>
                <a:gdLst>
                  <a:gd name="T0" fmla="*/ 72 w 182"/>
                  <a:gd name="T1" fmla="*/ 165 h 175"/>
                  <a:gd name="T2" fmla="*/ 74 w 182"/>
                  <a:gd name="T3" fmla="*/ 160 h 175"/>
                  <a:gd name="T4" fmla="*/ 80 w 182"/>
                  <a:gd name="T5" fmla="*/ 160 h 175"/>
                  <a:gd name="T6" fmla="*/ 100 w 182"/>
                  <a:gd name="T7" fmla="*/ 164 h 175"/>
                  <a:gd name="T8" fmla="*/ 106 w 182"/>
                  <a:gd name="T9" fmla="*/ 170 h 175"/>
                  <a:gd name="T10" fmla="*/ 148 w 182"/>
                  <a:gd name="T11" fmla="*/ 145 h 175"/>
                  <a:gd name="T12" fmla="*/ 182 w 182"/>
                  <a:gd name="T13" fmla="*/ 107 h 175"/>
                  <a:gd name="T14" fmla="*/ 174 w 182"/>
                  <a:gd name="T15" fmla="*/ 100 h 175"/>
                  <a:gd name="T16" fmla="*/ 145 w 182"/>
                  <a:gd name="T17" fmla="*/ 86 h 175"/>
                  <a:gd name="T18" fmla="*/ 140 w 182"/>
                  <a:gd name="T19" fmla="*/ 77 h 175"/>
                  <a:gd name="T20" fmla="*/ 136 w 182"/>
                  <a:gd name="T21" fmla="*/ 74 h 175"/>
                  <a:gd name="T22" fmla="*/ 133 w 182"/>
                  <a:gd name="T23" fmla="*/ 72 h 175"/>
                  <a:gd name="T24" fmla="*/ 133 w 182"/>
                  <a:gd name="T25" fmla="*/ 65 h 175"/>
                  <a:gd name="T26" fmla="*/ 132 w 182"/>
                  <a:gd name="T27" fmla="*/ 59 h 175"/>
                  <a:gd name="T28" fmla="*/ 126 w 182"/>
                  <a:gd name="T29" fmla="*/ 53 h 175"/>
                  <a:gd name="T30" fmla="*/ 124 w 182"/>
                  <a:gd name="T31" fmla="*/ 48 h 175"/>
                  <a:gd name="T32" fmla="*/ 121 w 182"/>
                  <a:gd name="T33" fmla="*/ 45 h 175"/>
                  <a:gd name="T34" fmla="*/ 118 w 182"/>
                  <a:gd name="T35" fmla="*/ 37 h 175"/>
                  <a:gd name="T36" fmla="*/ 116 w 182"/>
                  <a:gd name="T37" fmla="*/ 34 h 175"/>
                  <a:gd name="T38" fmla="*/ 108 w 182"/>
                  <a:gd name="T39" fmla="*/ 30 h 175"/>
                  <a:gd name="T40" fmla="*/ 80 w 182"/>
                  <a:gd name="T41" fmla="*/ 26 h 175"/>
                  <a:gd name="T42" fmla="*/ 73 w 182"/>
                  <a:gd name="T43" fmla="*/ 17 h 175"/>
                  <a:gd name="T44" fmla="*/ 66 w 182"/>
                  <a:gd name="T45" fmla="*/ 14 h 175"/>
                  <a:gd name="T46" fmla="*/ 42 w 182"/>
                  <a:gd name="T47" fmla="*/ 2 h 175"/>
                  <a:gd name="T48" fmla="*/ 30 w 182"/>
                  <a:gd name="T49" fmla="*/ 15 h 175"/>
                  <a:gd name="T50" fmla="*/ 22 w 182"/>
                  <a:gd name="T51" fmla="*/ 23 h 175"/>
                  <a:gd name="T52" fmla="*/ 13 w 182"/>
                  <a:gd name="T53" fmla="*/ 31 h 175"/>
                  <a:gd name="T54" fmla="*/ 1 w 182"/>
                  <a:gd name="T55" fmla="*/ 37 h 175"/>
                  <a:gd name="T56" fmla="*/ 1 w 182"/>
                  <a:gd name="T57" fmla="*/ 40 h 175"/>
                  <a:gd name="T58" fmla="*/ 4 w 182"/>
                  <a:gd name="T59" fmla="*/ 42 h 175"/>
                  <a:gd name="T60" fmla="*/ 11 w 182"/>
                  <a:gd name="T61" fmla="*/ 54 h 175"/>
                  <a:gd name="T62" fmla="*/ 15 w 182"/>
                  <a:gd name="T63" fmla="*/ 60 h 175"/>
                  <a:gd name="T64" fmla="*/ 17 w 182"/>
                  <a:gd name="T65" fmla="*/ 64 h 175"/>
                  <a:gd name="T66" fmla="*/ 21 w 182"/>
                  <a:gd name="T67" fmla="*/ 68 h 175"/>
                  <a:gd name="T68" fmla="*/ 26 w 182"/>
                  <a:gd name="T69" fmla="*/ 81 h 175"/>
                  <a:gd name="T70" fmla="*/ 35 w 182"/>
                  <a:gd name="T71" fmla="*/ 90 h 175"/>
                  <a:gd name="T72" fmla="*/ 35 w 182"/>
                  <a:gd name="T73" fmla="*/ 109 h 175"/>
                  <a:gd name="T74" fmla="*/ 38 w 182"/>
                  <a:gd name="T75" fmla="*/ 112 h 175"/>
                  <a:gd name="T76" fmla="*/ 41 w 182"/>
                  <a:gd name="T77" fmla="*/ 127 h 175"/>
                  <a:gd name="T78" fmla="*/ 43 w 182"/>
                  <a:gd name="T79" fmla="*/ 130 h 175"/>
                  <a:gd name="T80" fmla="*/ 48 w 182"/>
                  <a:gd name="T81" fmla="*/ 133 h 175"/>
                  <a:gd name="T82" fmla="*/ 56 w 182"/>
                  <a:gd name="T83" fmla="*/ 142 h 175"/>
                  <a:gd name="T84" fmla="*/ 59 w 182"/>
                  <a:gd name="T85" fmla="*/ 150 h 175"/>
                  <a:gd name="T86" fmla="*/ 63 w 182"/>
                  <a:gd name="T87" fmla="*/ 158 h 175"/>
                  <a:gd name="T88" fmla="*/ 69 w 182"/>
                  <a:gd name="T89" fmla="*/ 16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2" h="175">
                    <a:moveTo>
                      <a:pt x="69" y="167"/>
                    </a:moveTo>
                    <a:cubicBezTo>
                      <a:pt x="69" y="167"/>
                      <a:pt x="72" y="166"/>
                      <a:pt x="72" y="165"/>
                    </a:cubicBezTo>
                    <a:cubicBezTo>
                      <a:pt x="72" y="163"/>
                      <a:pt x="73" y="164"/>
                      <a:pt x="73" y="162"/>
                    </a:cubicBezTo>
                    <a:cubicBezTo>
                      <a:pt x="73" y="160"/>
                      <a:pt x="73" y="161"/>
                      <a:pt x="74" y="160"/>
                    </a:cubicBezTo>
                    <a:cubicBezTo>
                      <a:pt x="75" y="159"/>
                      <a:pt x="75" y="158"/>
                      <a:pt x="77" y="158"/>
                    </a:cubicBezTo>
                    <a:cubicBezTo>
                      <a:pt x="80" y="157"/>
                      <a:pt x="78" y="159"/>
                      <a:pt x="80" y="160"/>
                    </a:cubicBezTo>
                    <a:cubicBezTo>
                      <a:pt x="82" y="161"/>
                      <a:pt x="82" y="161"/>
                      <a:pt x="85" y="160"/>
                    </a:cubicBezTo>
                    <a:cubicBezTo>
                      <a:pt x="88" y="160"/>
                      <a:pt x="100" y="164"/>
                      <a:pt x="100" y="164"/>
                    </a:cubicBezTo>
                    <a:cubicBezTo>
                      <a:pt x="102" y="175"/>
                      <a:pt x="102" y="175"/>
                      <a:pt x="102" y="175"/>
                    </a:cubicBezTo>
                    <a:cubicBezTo>
                      <a:pt x="101" y="175"/>
                      <a:pt x="106" y="170"/>
                      <a:pt x="106" y="170"/>
                    </a:cubicBezTo>
                    <a:cubicBezTo>
                      <a:pt x="118" y="155"/>
                      <a:pt x="118" y="155"/>
                      <a:pt x="118" y="155"/>
                    </a:cubicBezTo>
                    <a:cubicBezTo>
                      <a:pt x="148" y="145"/>
                      <a:pt x="148" y="145"/>
                      <a:pt x="148" y="145"/>
                    </a:cubicBezTo>
                    <a:cubicBezTo>
                      <a:pt x="148" y="145"/>
                      <a:pt x="171" y="135"/>
                      <a:pt x="176" y="132"/>
                    </a:cubicBezTo>
                    <a:cubicBezTo>
                      <a:pt x="178" y="131"/>
                      <a:pt x="182" y="108"/>
                      <a:pt x="182" y="107"/>
                    </a:cubicBezTo>
                    <a:cubicBezTo>
                      <a:pt x="176" y="99"/>
                      <a:pt x="176" y="99"/>
                      <a:pt x="176" y="99"/>
                    </a:cubicBezTo>
                    <a:cubicBezTo>
                      <a:pt x="176" y="99"/>
                      <a:pt x="176" y="100"/>
                      <a:pt x="174" y="100"/>
                    </a:cubicBezTo>
                    <a:cubicBezTo>
                      <a:pt x="172" y="100"/>
                      <a:pt x="145" y="95"/>
                      <a:pt x="145" y="95"/>
                    </a:cubicBezTo>
                    <a:cubicBezTo>
                      <a:pt x="145" y="86"/>
                      <a:pt x="145" y="86"/>
                      <a:pt x="145" y="86"/>
                    </a:cubicBezTo>
                    <a:cubicBezTo>
                      <a:pt x="140" y="81"/>
                      <a:pt x="140" y="81"/>
                      <a:pt x="140" y="81"/>
                    </a:cubicBezTo>
                    <a:cubicBezTo>
                      <a:pt x="140" y="77"/>
                      <a:pt x="140" y="77"/>
                      <a:pt x="140" y="77"/>
                    </a:cubicBezTo>
                    <a:cubicBezTo>
                      <a:pt x="136" y="74"/>
                      <a:pt x="136" y="74"/>
                      <a:pt x="136" y="74"/>
                    </a:cubicBezTo>
                    <a:cubicBezTo>
                      <a:pt x="136" y="74"/>
                      <a:pt x="136" y="74"/>
                      <a:pt x="136" y="74"/>
                    </a:cubicBezTo>
                    <a:cubicBezTo>
                      <a:pt x="135" y="74"/>
                      <a:pt x="135" y="74"/>
                      <a:pt x="135" y="74"/>
                    </a:cubicBezTo>
                    <a:cubicBezTo>
                      <a:pt x="134" y="73"/>
                      <a:pt x="134" y="73"/>
                      <a:pt x="133" y="72"/>
                    </a:cubicBezTo>
                    <a:cubicBezTo>
                      <a:pt x="133" y="71"/>
                      <a:pt x="133" y="71"/>
                      <a:pt x="133" y="71"/>
                    </a:cubicBezTo>
                    <a:cubicBezTo>
                      <a:pt x="133" y="73"/>
                      <a:pt x="133" y="67"/>
                      <a:pt x="133" y="65"/>
                    </a:cubicBezTo>
                    <a:cubicBezTo>
                      <a:pt x="133" y="65"/>
                      <a:pt x="134" y="61"/>
                      <a:pt x="133" y="59"/>
                    </a:cubicBezTo>
                    <a:cubicBezTo>
                      <a:pt x="132" y="59"/>
                      <a:pt x="132" y="59"/>
                      <a:pt x="132" y="59"/>
                    </a:cubicBezTo>
                    <a:cubicBezTo>
                      <a:pt x="131" y="59"/>
                      <a:pt x="130" y="56"/>
                      <a:pt x="129" y="55"/>
                    </a:cubicBezTo>
                    <a:cubicBezTo>
                      <a:pt x="128" y="54"/>
                      <a:pt x="126" y="54"/>
                      <a:pt x="126" y="53"/>
                    </a:cubicBezTo>
                    <a:cubicBezTo>
                      <a:pt x="125" y="53"/>
                      <a:pt x="125" y="49"/>
                      <a:pt x="126" y="48"/>
                    </a:cubicBezTo>
                    <a:cubicBezTo>
                      <a:pt x="125" y="48"/>
                      <a:pt x="124" y="48"/>
                      <a:pt x="124" y="48"/>
                    </a:cubicBezTo>
                    <a:cubicBezTo>
                      <a:pt x="123" y="47"/>
                      <a:pt x="123" y="46"/>
                      <a:pt x="123" y="45"/>
                    </a:cubicBezTo>
                    <a:cubicBezTo>
                      <a:pt x="123" y="45"/>
                      <a:pt x="121" y="45"/>
                      <a:pt x="121" y="45"/>
                    </a:cubicBezTo>
                    <a:cubicBezTo>
                      <a:pt x="121" y="45"/>
                      <a:pt x="121" y="44"/>
                      <a:pt x="121" y="43"/>
                    </a:cubicBezTo>
                    <a:cubicBezTo>
                      <a:pt x="121" y="42"/>
                      <a:pt x="118" y="39"/>
                      <a:pt x="118" y="37"/>
                    </a:cubicBezTo>
                    <a:cubicBezTo>
                      <a:pt x="117" y="36"/>
                      <a:pt x="118" y="35"/>
                      <a:pt x="118" y="34"/>
                    </a:cubicBezTo>
                    <a:cubicBezTo>
                      <a:pt x="116" y="34"/>
                      <a:pt x="116" y="34"/>
                      <a:pt x="116" y="34"/>
                    </a:cubicBezTo>
                    <a:cubicBezTo>
                      <a:pt x="109" y="34"/>
                      <a:pt x="109" y="34"/>
                      <a:pt x="109" y="34"/>
                    </a:cubicBezTo>
                    <a:cubicBezTo>
                      <a:pt x="108" y="30"/>
                      <a:pt x="108" y="30"/>
                      <a:pt x="108" y="30"/>
                    </a:cubicBezTo>
                    <a:cubicBezTo>
                      <a:pt x="96" y="28"/>
                      <a:pt x="96" y="28"/>
                      <a:pt x="96" y="28"/>
                    </a:cubicBezTo>
                    <a:cubicBezTo>
                      <a:pt x="80" y="26"/>
                      <a:pt x="80" y="26"/>
                      <a:pt x="80" y="26"/>
                    </a:cubicBezTo>
                    <a:cubicBezTo>
                      <a:pt x="74" y="23"/>
                      <a:pt x="74" y="23"/>
                      <a:pt x="74" y="23"/>
                    </a:cubicBezTo>
                    <a:cubicBezTo>
                      <a:pt x="73" y="17"/>
                      <a:pt x="73" y="17"/>
                      <a:pt x="73" y="17"/>
                    </a:cubicBezTo>
                    <a:cubicBezTo>
                      <a:pt x="67" y="17"/>
                      <a:pt x="67" y="17"/>
                      <a:pt x="67" y="17"/>
                    </a:cubicBezTo>
                    <a:cubicBezTo>
                      <a:pt x="66" y="14"/>
                      <a:pt x="66" y="14"/>
                      <a:pt x="66" y="14"/>
                    </a:cubicBezTo>
                    <a:cubicBezTo>
                      <a:pt x="42" y="0"/>
                      <a:pt x="42" y="0"/>
                      <a:pt x="42" y="0"/>
                    </a:cubicBezTo>
                    <a:cubicBezTo>
                      <a:pt x="42" y="2"/>
                      <a:pt x="42" y="2"/>
                      <a:pt x="42" y="2"/>
                    </a:cubicBezTo>
                    <a:cubicBezTo>
                      <a:pt x="24" y="7"/>
                      <a:pt x="24" y="7"/>
                      <a:pt x="24" y="7"/>
                    </a:cubicBezTo>
                    <a:cubicBezTo>
                      <a:pt x="30" y="15"/>
                      <a:pt x="30" y="15"/>
                      <a:pt x="30" y="15"/>
                    </a:cubicBezTo>
                    <a:cubicBezTo>
                      <a:pt x="30" y="15"/>
                      <a:pt x="26" y="17"/>
                      <a:pt x="25" y="19"/>
                    </a:cubicBezTo>
                    <a:cubicBezTo>
                      <a:pt x="25" y="22"/>
                      <a:pt x="23" y="21"/>
                      <a:pt x="22" y="23"/>
                    </a:cubicBezTo>
                    <a:cubicBezTo>
                      <a:pt x="21" y="25"/>
                      <a:pt x="19" y="27"/>
                      <a:pt x="19" y="27"/>
                    </a:cubicBezTo>
                    <a:cubicBezTo>
                      <a:pt x="13" y="31"/>
                      <a:pt x="13" y="31"/>
                      <a:pt x="13" y="31"/>
                    </a:cubicBezTo>
                    <a:cubicBezTo>
                      <a:pt x="3" y="31"/>
                      <a:pt x="3" y="31"/>
                      <a:pt x="3" y="31"/>
                    </a:cubicBezTo>
                    <a:cubicBezTo>
                      <a:pt x="3" y="31"/>
                      <a:pt x="2" y="31"/>
                      <a:pt x="1" y="37"/>
                    </a:cubicBezTo>
                    <a:cubicBezTo>
                      <a:pt x="1" y="37"/>
                      <a:pt x="1" y="37"/>
                      <a:pt x="1" y="37"/>
                    </a:cubicBezTo>
                    <a:cubicBezTo>
                      <a:pt x="1" y="37"/>
                      <a:pt x="1" y="39"/>
                      <a:pt x="1" y="40"/>
                    </a:cubicBezTo>
                    <a:cubicBezTo>
                      <a:pt x="0" y="39"/>
                      <a:pt x="1" y="41"/>
                      <a:pt x="1" y="42"/>
                    </a:cubicBezTo>
                    <a:cubicBezTo>
                      <a:pt x="2" y="42"/>
                      <a:pt x="3" y="42"/>
                      <a:pt x="4" y="42"/>
                    </a:cubicBezTo>
                    <a:cubicBezTo>
                      <a:pt x="4" y="42"/>
                      <a:pt x="7" y="42"/>
                      <a:pt x="9" y="46"/>
                    </a:cubicBezTo>
                    <a:cubicBezTo>
                      <a:pt x="9" y="48"/>
                      <a:pt x="10" y="53"/>
                      <a:pt x="11" y="54"/>
                    </a:cubicBezTo>
                    <a:cubicBezTo>
                      <a:pt x="12" y="55"/>
                      <a:pt x="14" y="55"/>
                      <a:pt x="15" y="57"/>
                    </a:cubicBezTo>
                    <a:cubicBezTo>
                      <a:pt x="15" y="58"/>
                      <a:pt x="14" y="59"/>
                      <a:pt x="15" y="60"/>
                    </a:cubicBezTo>
                    <a:cubicBezTo>
                      <a:pt x="15" y="60"/>
                      <a:pt x="17" y="60"/>
                      <a:pt x="17" y="61"/>
                    </a:cubicBezTo>
                    <a:cubicBezTo>
                      <a:pt x="18" y="62"/>
                      <a:pt x="17" y="63"/>
                      <a:pt x="17" y="64"/>
                    </a:cubicBezTo>
                    <a:cubicBezTo>
                      <a:pt x="18" y="65"/>
                      <a:pt x="21" y="65"/>
                      <a:pt x="21" y="66"/>
                    </a:cubicBezTo>
                    <a:cubicBezTo>
                      <a:pt x="21" y="68"/>
                      <a:pt x="21" y="68"/>
                      <a:pt x="21" y="68"/>
                    </a:cubicBezTo>
                    <a:cubicBezTo>
                      <a:pt x="23" y="68"/>
                      <a:pt x="23" y="68"/>
                      <a:pt x="23" y="68"/>
                    </a:cubicBezTo>
                    <a:cubicBezTo>
                      <a:pt x="25" y="71"/>
                      <a:pt x="24" y="78"/>
                      <a:pt x="26" y="81"/>
                    </a:cubicBezTo>
                    <a:cubicBezTo>
                      <a:pt x="27" y="81"/>
                      <a:pt x="27" y="81"/>
                      <a:pt x="27" y="81"/>
                    </a:cubicBezTo>
                    <a:cubicBezTo>
                      <a:pt x="29" y="82"/>
                      <a:pt x="34" y="88"/>
                      <a:pt x="35" y="90"/>
                    </a:cubicBezTo>
                    <a:cubicBezTo>
                      <a:pt x="36" y="92"/>
                      <a:pt x="38" y="104"/>
                      <a:pt x="38" y="106"/>
                    </a:cubicBezTo>
                    <a:cubicBezTo>
                      <a:pt x="38" y="107"/>
                      <a:pt x="36" y="108"/>
                      <a:pt x="35" y="109"/>
                    </a:cubicBezTo>
                    <a:cubicBezTo>
                      <a:pt x="36" y="109"/>
                      <a:pt x="35" y="112"/>
                      <a:pt x="35" y="112"/>
                    </a:cubicBezTo>
                    <a:cubicBezTo>
                      <a:pt x="36" y="112"/>
                      <a:pt x="37" y="112"/>
                      <a:pt x="38" y="112"/>
                    </a:cubicBezTo>
                    <a:cubicBezTo>
                      <a:pt x="38" y="115"/>
                      <a:pt x="38" y="121"/>
                      <a:pt x="39" y="124"/>
                    </a:cubicBezTo>
                    <a:cubicBezTo>
                      <a:pt x="39" y="125"/>
                      <a:pt x="41" y="127"/>
                      <a:pt x="41" y="127"/>
                    </a:cubicBezTo>
                    <a:cubicBezTo>
                      <a:pt x="41" y="128"/>
                      <a:pt x="41" y="129"/>
                      <a:pt x="41" y="129"/>
                    </a:cubicBezTo>
                    <a:cubicBezTo>
                      <a:pt x="41" y="130"/>
                      <a:pt x="43" y="130"/>
                      <a:pt x="43" y="130"/>
                    </a:cubicBezTo>
                    <a:cubicBezTo>
                      <a:pt x="44" y="131"/>
                      <a:pt x="45" y="133"/>
                      <a:pt x="46" y="134"/>
                    </a:cubicBezTo>
                    <a:cubicBezTo>
                      <a:pt x="47" y="135"/>
                      <a:pt x="47" y="134"/>
                      <a:pt x="48" y="133"/>
                    </a:cubicBezTo>
                    <a:cubicBezTo>
                      <a:pt x="49" y="135"/>
                      <a:pt x="52" y="137"/>
                      <a:pt x="53" y="138"/>
                    </a:cubicBezTo>
                    <a:cubicBezTo>
                      <a:pt x="54" y="139"/>
                      <a:pt x="56" y="141"/>
                      <a:pt x="56" y="142"/>
                    </a:cubicBezTo>
                    <a:cubicBezTo>
                      <a:pt x="56" y="143"/>
                      <a:pt x="55" y="144"/>
                      <a:pt x="56" y="145"/>
                    </a:cubicBezTo>
                    <a:cubicBezTo>
                      <a:pt x="57" y="147"/>
                      <a:pt x="59" y="148"/>
                      <a:pt x="59" y="150"/>
                    </a:cubicBezTo>
                    <a:cubicBezTo>
                      <a:pt x="60" y="153"/>
                      <a:pt x="58" y="153"/>
                      <a:pt x="59" y="155"/>
                    </a:cubicBezTo>
                    <a:cubicBezTo>
                      <a:pt x="60" y="156"/>
                      <a:pt x="62" y="157"/>
                      <a:pt x="63" y="158"/>
                    </a:cubicBezTo>
                    <a:cubicBezTo>
                      <a:pt x="64" y="159"/>
                      <a:pt x="64" y="162"/>
                      <a:pt x="65" y="163"/>
                    </a:cubicBezTo>
                    <a:cubicBezTo>
                      <a:pt x="66" y="164"/>
                      <a:pt x="69" y="166"/>
                      <a:pt x="69" y="167"/>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09" name="Freeform 88">
                <a:extLst>
                  <a:ext uri="{FF2B5EF4-FFF2-40B4-BE49-F238E27FC236}">
                    <a16:creationId xmlns:a16="http://schemas.microsoft.com/office/drawing/2014/main" id="{F206C339-E756-7E75-4C6B-CF0E3166AA8A}"/>
                  </a:ext>
                </a:extLst>
              </p:cNvPr>
              <p:cNvSpPr>
                <a:spLocks/>
              </p:cNvSpPr>
              <p:nvPr/>
            </p:nvSpPr>
            <p:spPr bwMode="auto">
              <a:xfrm>
                <a:off x="3600" y="2292"/>
                <a:ext cx="41" cy="35"/>
              </a:xfrm>
              <a:custGeom>
                <a:avLst/>
                <a:gdLst>
                  <a:gd name="T0" fmla="*/ 2 w 21"/>
                  <a:gd name="T1" fmla="*/ 8 h 18"/>
                  <a:gd name="T2" fmla="*/ 1 w 21"/>
                  <a:gd name="T3" fmla="*/ 8 h 18"/>
                  <a:gd name="T4" fmla="*/ 0 w 21"/>
                  <a:gd name="T5" fmla="*/ 11 h 18"/>
                  <a:gd name="T6" fmla="*/ 5 w 21"/>
                  <a:gd name="T7" fmla="*/ 14 h 18"/>
                  <a:gd name="T8" fmla="*/ 8 w 21"/>
                  <a:gd name="T9" fmla="*/ 13 h 18"/>
                  <a:gd name="T10" fmla="*/ 12 w 21"/>
                  <a:gd name="T11" fmla="*/ 16 h 18"/>
                  <a:gd name="T12" fmla="*/ 15 w 21"/>
                  <a:gd name="T13" fmla="*/ 12 h 18"/>
                  <a:gd name="T14" fmla="*/ 21 w 21"/>
                  <a:gd name="T15" fmla="*/ 13 h 18"/>
                  <a:gd name="T16" fmla="*/ 21 w 21"/>
                  <a:gd name="T17" fmla="*/ 10 h 18"/>
                  <a:gd name="T18" fmla="*/ 21 w 21"/>
                  <a:gd name="T19" fmla="*/ 5 h 18"/>
                  <a:gd name="T20" fmla="*/ 19 w 21"/>
                  <a:gd name="T21" fmla="*/ 0 h 18"/>
                  <a:gd name="T22" fmla="*/ 14 w 21"/>
                  <a:gd name="T23" fmla="*/ 3 h 18"/>
                  <a:gd name="T24" fmla="*/ 10 w 21"/>
                  <a:gd name="T25" fmla="*/ 3 h 18"/>
                  <a:gd name="T26" fmla="*/ 5 w 21"/>
                  <a:gd name="T27" fmla="*/ 0 h 18"/>
                  <a:gd name="T28" fmla="*/ 5 w 21"/>
                  <a:gd name="T29" fmla="*/ 1 h 18"/>
                  <a:gd name="T30" fmla="*/ 5 w 21"/>
                  <a:gd name="T31" fmla="*/ 7 h 18"/>
                  <a:gd name="T32" fmla="*/ 2 w 21"/>
                  <a:gd name="T3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8">
                    <a:moveTo>
                      <a:pt x="2" y="8"/>
                    </a:moveTo>
                    <a:cubicBezTo>
                      <a:pt x="2" y="8"/>
                      <a:pt x="1" y="8"/>
                      <a:pt x="1" y="8"/>
                    </a:cubicBezTo>
                    <a:cubicBezTo>
                      <a:pt x="1" y="8"/>
                      <a:pt x="0" y="9"/>
                      <a:pt x="0" y="11"/>
                    </a:cubicBezTo>
                    <a:cubicBezTo>
                      <a:pt x="1" y="13"/>
                      <a:pt x="5" y="14"/>
                      <a:pt x="5" y="14"/>
                    </a:cubicBezTo>
                    <a:cubicBezTo>
                      <a:pt x="5" y="14"/>
                      <a:pt x="6" y="11"/>
                      <a:pt x="8" y="13"/>
                    </a:cubicBezTo>
                    <a:cubicBezTo>
                      <a:pt x="10" y="16"/>
                      <a:pt x="9" y="18"/>
                      <a:pt x="12" y="16"/>
                    </a:cubicBezTo>
                    <a:cubicBezTo>
                      <a:pt x="14" y="14"/>
                      <a:pt x="13" y="11"/>
                      <a:pt x="15" y="12"/>
                    </a:cubicBezTo>
                    <a:cubicBezTo>
                      <a:pt x="16" y="13"/>
                      <a:pt x="21" y="13"/>
                      <a:pt x="21" y="13"/>
                    </a:cubicBezTo>
                    <a:cubicBezTo>
                      <a:pt x="21" y="13"/>
                      <a:pt x="21" y="13"/>
                      <a:pt x="21" y="10"/>
                    </a:cubicBezTo>
                    <a:cubicBezTo>
                      <a:pt x="21" y="8"/>
                      <a:pt x="21" y="5"/>
                      <a:pt x="21" y="5"/>
                    </a:cubicBezTo>
                    <a:cubicBezTo>
                      <a:pt x="19" y="0"/>
                      <a:pt x="19" y="0"/>
                      <a:pt x="19" y="0"/>
                    </a:cubicBezTo>
                    <a:cubicBezTo>
                      <a:pt x="19" y="0"/>
                      <a:pt x="16" y="1"/>
                      <a:pt x="14" y="3"/>
                    </a:cubicBezTo>
                    <a:cubicBezTo>
                      <a:pt x="13" y="4"/>
                      <a:pt x="11" y="4"/>
                      <a:pt x="10" y="3"/>
                    </a:cubicBezTo>
                    <a:cubicBezTo>
                      <a:pt x="8" y="1"/>
                      <a:pt x="5" y="0"/>
                      <a:pt x="5" y="0"/>
                    </a:cubicBezTo>
                    <a:cubicBezTo>
                      <a:pt x="5" y="0"/>
                      <a:pt x="5" y="0"/>
                      <a:pt x="5" y="1"/>
                    </a:cubicBezTo>
                    <a:cubicBezTo>
                      <a:pt x="7" y="3"/>
                      <a:pt x="6" y="4"/>
                      <a:pt x="5" y="7"/>
                    </a:cubicBezTo>
                    <a:cubicBezTo>
                      <a:pt x="4" y="8"/>
                      <a:pt x="2" y="8"/>
                      <a:pt x="2" y="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10" name="Freeform 89">
                <a:extLst>
                  <a:ext uri="{FF2B5EF4-FFF2-40B4-BE49-F238E27FC236}">
                    <a16:creationId xmlns:a16="http://schemas.microsoft.com/office/drawing/2014/main" id="{3A3365A6-9C0E-13DE-5416-8BB1FD039982}"/>
                  </a:ext>
                </a:extLst>
              </p:cNvPr>
              <p:cNvSpPr>
                <a:spLocks/>
              </p:cNvSpPr>
              <p:nvPr/>
            </p:nvSpPr>
            <p:spPr bwMode="auto">
              <a:xfrm>
                <a:off x="3600" y="2292"/>
                <a:ext cx="41" cy="35"/>
              </a:xfrm>
              <a:custGeom>
                <a:avLst/>
                <a:gdLst>
                  <a:gd name="T0" fmla="*/ 2 w 21"/>
                  <a:gd name="T1" fmla="*/ 8 h 18"/>
                  <a:gd name="T2" fmla="*/ 1 w 21"/>
                  <a:gd name="T3" fmla="*/ 8 h 18"/>
                  <a:gd name="T4" fmla="*/ 0 w 21"/>
                  <a:gd name="T5" fmla="*/ 11 h 18"/>
                  <a:gd name="T6" fmla="*/ 5 w 21"/>
                  <a:gd name="T7" fmla="*/ 14 h 18"/>
                  <a:gd name="T8" fmla="*/ 8 w 21"/>
                  <a:gd name="T9" fmla="*/ 13 h 18"/>
                  <a:gd name="T10" fmla="*/ 12 w 21"/>
                  <a:gd name="T11" fmla="*/ 16 h 18"/>
                  <a:gd name="T12" fmla="*/ 15 w 21"/>
                  <a:gd name="T13" fmla="*/ 12 h 18"/>
                  <a:gd name="T14" fmla="*/ 21 w 21"/>
                  <a:gd name="T15" fmla="*/ 13 h 18"/>
                  <a:gd name="T16" fmla="*/ 21 w 21"/>
                  <a:gd name="T17" fmla="*/ 10 h 18"/>
                  <a:gd name="T18" fmla="*/ 21 w 21"/>
                  <a:gd name="T19" fmla="*/ 5 h 18"/>
                  <a:gd name="T20" fmla="*/ 19 w 21"/>
                  <a:gd name="T21" fmla="*/ 0 h 18"/>
                  <a:gd name="T22" fmla="*/ 14 w 21"/>
                  <a:gd name="T23" fmla="*/ 3 h 18"/>
                  <a:gd name="T24" fmla="*/ 10 w 21"/>
                  <a:gd name="T25" fmla="*/ 3 h 18"/>
                  <a:gd name="T26" fmla="*/ 5 w 21"/>
                  <a:gd name="T27" fmla="*/ 0 h 18"/>
                  <a:gd name="T28" fmla="*/ 5 w 21"/>
                  <a:gd name="T29" fmla="*/ 1 h 18"/>
                  <a:gd name="T30" fmla="*/ 5 w 21"/>
                  <a:gd name="T31" fmla="*/ 7 h 18"/>
                  <a:gd name="T32" fmla="*/ 2 w 21"/>
                  <a:gd name="T3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8">
                    <a:moveTo>
                      <a:pt x="2" y="8"/>
                    </a:moveTo>
                    <a:cubicBezTo>
                      <a:pt x="2" y="8"/>
                      <a:pt x="1" y="8"/>
                      <a:pt x="1" y="8"/>
                    </a:cubicBezTo>
                    <a:cubicBezTo>
                      <a:pt x="1" y="8"/>
                      <a:pt x="0" y="9"/>
                      <a:pt x="0" y="11"/>
                    </a:cubicBezTo>
                    <a:cubicBezTo>
                      <a:pt x="1" y="13"/>
                      <a:pt x="5" y="14"/>
                      <a:pt x="5" y="14"/>
                    </a:cubicBezTo>
                    <a:cubicBezTo>
                      <a:pt x="5" y="14"/>
                      <a:pt x="6" y="11"/>
                      <a:pt x="8" y="13"/>
                    </a:cubicBezTo>
                    <a:cubicBezTo>
                      <a:pt x="10" y="16"/>
                      <a:pt x="9" y="18"/>
                      <a:pt x="12" y="16"/>
                    </a:cubicBezTo>
                    <a:cubicBezTo>
                      <a:pt x="14" y="14"/>
                      <a:pt x="13" y="11"/>
                      <a:pt x="15" y="12"/>
                    </a:cubicBezTo>
                    <a:cubicBezTo>
                      <a:pt x="16" y="13"/>
                      <a:pt x="21" y="13"/>
                      <a:pt x="21" y="13"/>
                    </a:cubicBezTo>
                    <a:cubicBezTo>
                      <a:pt x="21" y="13"/>
                      <a:pt x="21" y="13"/>
                      <a:pt x="21" y="10"/>
                    </a:cubicBezTo>
                    <a:cubicBezTo>
                      <a:pt x="21" y="8"/>
                      <a:pt x="21" y="5"/>
                      <a:pt x="21" y="5"/>
                    </a:cubicBezTo>
                    <a:cubicBezTo>
                      <a:pt x="19" y="0"/>
                      <a:pt x="19" y="0"/>
                      <a:pt x="19" y="0"/>
                    </a:cubicBezTo>
                    <a:cubicBezTo>
                      <a:pt x="19" y="0"/>
                      <a:pt x="16" y="1"/>
                      <a:pt x="14" y="3"/>
                    </a:cubicBezTo>
                    <a:cubicBezTo>
                      <a:pt x="13" y="4"/>
                      <a:pt x="11" y="4"/>
                      <a:pt x="10" y="3"/>
                    </a:cubicBezTo>
                    <a:cubicBezTo>
                      <a:pt x="8" y="1"/>
                      <a:pt x="5" y="0"/>
                      <a:pt x="5" y="0"/>
                    </a:cubicBezTo>
                    <a:cubicBezTo>
                      <a:pt x="5" y="0"/>
                      <a:pt x="5" y="0"/>
                      <a:pt x="5" y="1"/>
                    </a:cubicBezTo>
                    <a:cubicBezTo>
                      <a:pt x="7" y="3"/>
                      <a:pt x="6" y="4"/>
                      <a:pt x="5" y="7"/>
                    </a:cubicBezTo>
                    <a:cubicBezTo>
                      <a:pt x="4" y="8"/>
                      <a:pt x="2" y="8"/>
                      <a:pt x="2" y="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11" name="Freeform 90">
                <a:extLst>
                  <a:ext uri="{FF2B5EF4-FFF2-40B4-BE49-F238E27FC236}">
                    <a16:creationId xmlns:a16="http://schemas.microsoft.com/office/drawing/2014/main" id="{CEE3E9DA-F9D7-D573-0675-5012457E6203}"/>
                  </a:ext>
                </a:extLst>
              </p:cNvPr>
              <p:cNvSpPr>
                <a:spLocks noEditPoints="1"/>
              </p:cNvSpPr>
              <p:nvPr/>
            </p:nvSpPr>
            <p:spPr bwMode="auto">
              <a:xfrm>
                <a:off x="3449" y="129"/>
                <a:ext cx="2879" cy="1229"/>
              </a:xfrm>
              <a:custGeom>
                <a:avLst/>
                <a:gdLst>
                  <a:gd name="T0" fmla="*/ 1394 w 1468"/>
                  <a:gd name="T1" fmla="*/ 299 h 626"/>
                  <a:gd name="T2" fmla="*/ 1455 w 1468"/>
                  <a:gd name="T3" fmla="*/ 286 h 626"/>
                  <a:gd name="T4" fmla="*/ 1302 w 1468"/>
                  <a:gd name="T5" fmla="*/ 219 h 626"/>
                  <a:gd name="T6" fmla="*/ 1197 w 1468"/>
                  <a:gd name="T7" fmla="*/ 210 h 626"/>
                  <a:gd name="T8" fmla="*/ 1084 w 1468"/>
                  <a:gd name="T9" fmla="*/ 187 h 626"/>
                  <a:gd name="T10" fmla="*/ 983 w 1468"/>
                  <a:gd name="T11" fmla="*/ 201 h 626"/>
                  <a:gd name="T12" fmla="*/ 904 w 1468"/>
                  <a:gd name="T13" fmla="*/ 185 h 626"/>
                  <a:gd name="T14" fmla="*/ 850 w 1468"/>
                  <a:gd name="T15" fmla="*/ 162 h 626"/>
                  <a:gd name="T16" fmla="*/ 765 w 1468"/>
                  <a:gd name="T17" fmla="*/ 170 h 626"/>
                  <a:gd name="T18" fmla="*/ 719 w 1468"/>
                  <a:gd name="T19" fmla="*/ 94 h 626"/>
                  <a:gd name="T20" fmla="*/ 615 w 1468"/>
                  <a:gd name="T21" fmla="*/ 127 h 626"/>
                  <a:gd name="T22" fmla="*/ 553 w 1468"/>
                  <a:gd name="T23" fmla="*/ 196 h 626"/>
                  <a:gd name="T24" fmla="*/ 496 w 1468"/>
                  <a:gd name="T25" fmla="*/ 204 h 626"/>
                  <a:gd name="T26" fmla="*/ 507 w 1468"/>
                  <a:gd name="T27" fmla="*/ 251 h 626"/>
                  <a:gd name="T28" fmla="*/ 450 w 1468"/>
                  <a:gd name="T29" fmla="*/ 276 h 626"/>
                  <a:gd name="T30" fmla="*/ 417 w 1468"/>
                  <a:gd name="T31" fmla="*/ 233 h 626"/>
                  <a:gd name="T32" fmla="*/ 329 w 1468"/>
                  <a:gd name="T33" fmla="*/ 247 h 626"/>
                  <a:gd name="T34" fmla="*/ 223 w 1468"/>
                  <a:gd name="T35" fmla="*/ 269 h 626"/>
                  <a:gd name="T36" fmla="*/ 157 w 1468"/>
                  <a:gd name="T37" fmla="*/ 297 h 626"/>
                  <a:gd name="T38" fmla="*/ 130 w 1468"/>
                  <a:gd name="T39" fmla="*/ 276 h 626"/>
                  <a:gd name="T40" fmla="*/ 104 w 1468"/>
                  <a:gd name="T41" fmla="*/ 222 h 626"/>
                  <a:gd name="T42" fmla="*/ 83 w 1468"/>
                  <a:gd name="T43" fmla="*/ 377 h 626"/>
                  <a:gd name="T44" fmla="*/ 151 w 1468"/>
                  <a:gd name="T45" fmla="*/ 505 h 626"/>
                  <a:gd name="T46" fmla="*/ 178 w 1468"/>
                  <a:gd name="T47" fmla="*/ 592 h 626"/>
                  <a:gd name="T48" fmla="*/ 250 w 1468"/>
                  <a:gd name="T49" fmla="*/ 562 h 626"/>
                  <a:gd name="T50" fmla="*/ 325 w 1468"/>
                  <a:gd name="T51" fmla="*/ 500 h 626"/>
                  <a:gd name="T52" fmla="*/ 453 w 1468"/>
                  <a:gd name="T53" fmla="*/ 460 h 626"/>
                  <a:gd name="T54" fmla="*/ 645 w 1468"/>
                  <a:gd name="T55" fmla="*/ 508 h 626"/>
                  <a:gd name="T56" fmla="*/ 817 w 1468"/>
                  <a:gd name="T57" fmla="*/ 512 h 626"/>
                  <a:gd name="T58" fmla="*/ 950 w 1468"/>
                  <a:gd name="T59" fmla="*/ 521 h 626"/>
                  <a:gd name="T60" fmla="*/ 957 w 1468"/>
                  <a:gd name="T61" fmla="*/ 604 h 626"/>
                  <a:gd name="T62" fmla="*/ 1045 w 1468"/>
                  <a:gd name="T63" fmla="*/ 496 h 626"/>
                  <a:gd name="T64" fmla="*/ 1030 w 1468"/>
                  <a:gd name="T65" fmla="*/ 417 h 626"/>
                  <a:gd name="T66" fmla="*/ 1154 w 1468"/>
                  <a:gd name="T67" fmla="*/ 392 h 626"/>
                  <a:gd name="T68" fmla="*/ 1223 w 1468"/>
                  <a:gd name="T69" fmla="*/ 359 h 626"/>
                  <a:gd name="T70" fmla="*/ 1177 w 1468"/>
                  <a:gd name="T71" fmla="*/ 425 h 626"/>
                  <a:gd name="T72" fmla="*/ 1234 w 1468"/>
                  <a:gd name="T73" fmla="*/ 391 h 626"/>
                  <a:gd name="T74" fmla="*/ 335 w 1468"/>
                  <a:gd name="T75" fmla="*/ 0 h 626"/>
                  <a:gd name="T76" fmla="*/ 313 w 1468"/>
                  <a:gd name="T77" fmla="*/ 23 h 626"/>
                  <a:gd name="T78" fmla="*/ 323 w 1468"/>
                  <a:gd name="T79" fmla="*/ 33 h 626"/>
                  <a:gd name="T80" fmla="*/ 695 w 1468"/>
                  <a:gd name="T81" fmla="*/ 65 h 626"/>
                  <a:gd name="T82" fmla="*/ 222 w 1468"/>
                  <a:gd name="T83" fmla="*/ 35 h 626"/>
                  <a:gd name="T84" fmla="*/ 336 w 1468"/>
                  <a:gd name="T85" fmla="*/ 42 h 626"/>
                  <a:gd name="T86" fmla="*/ 706 w 1468"/>
                  <a:gd name="T87" fmla="*/ 67 h 626"/>
                  <a:gd name="T88" fmla="*/ 329 w 1468"/>
                  <a:gd name="T89" fmla="*/ 132 h 626"/>
                  <a:gd name="T90" fmla="*/ 287 w 1468"/>
                  <a:gd name="T91" fmla="*/ 197 h 626"/>
                  <a:gd name="T92" fmla="*/ 311 w 1468"/>
                  <a:gd name="T93" fmla="*/ 168 h 626"/>
                  <a:gd name="T94" fmla="*/ 404 w 1468"/>
                  <a:gd name="T95" fmla="*/ 121 h 626"/>
                  <a:gd name="T96" fmla="*/ 724 w 1468"/>
                  <a:gd name="T97" fmla="*/ 132 h 626"/>
                  <a:gd name="T98" fmla="*/ 1042 w 1468"/>
                  <a:gd name="T99" fmla="*/ 157 h 626"/>
                  <a:gd name="T100" fmla="*/ 141 w 1468"/>
                  <a:gd name="T101" fmla="*/ 336 h 626"/>
                  <a:gd name="T102" fmla="*/ 94 w 1468"/>
                  <a:gd name="T103" fmla="*/ 349 h 626"/>
                  <a:gd name="T104" fmla="*/ 737 w 1468"/>
                  <a:gd name="T105" fmla="*/ 488 h 626"/>
                  <a:gd name="T106" fmla="*/ 1060 w 1468"/>
                  <a:gd name="T107" fmla="*/ 558 h 626"/>
                  <a:gd name="T108" fmla="*/ 1125 w 1468"/>
                  <a:gd name="T109" fmla="*/ 562 h 626"/>
                  <a:gd name="T110" fmla="*/ 256 w 1468"/>
                  <a:gd name="T111" fmla="*/ 229 h 626"/>
                  <a:gd name="T112" fmla="*/ 1118 w 1468"/>
                  <a:gd name="T113" fmla="*/ 211 h 626"/>
                  <a:gd name="T114" fmla="*/ 810 w 1468"/>
                  <a:gd name="T115" fmla="*/ 174 h 626"/>
                  <a:gd name="T116" fmla="*/ 891 w 1468"/>
                  <a:gd name="T117" fmla="*/ 180 h 626"/>
                  <a:gd name="T118" fmla="*/ 626 w 1468"/>
                  <a:gd name="T119" fmla="*/ 56 h 626"/>
                  <a:gd name="T120" fmla="*/ 515 w 1468"/>
                  <a:gd name="T121" fmla="*/ 174 h 626"/>
                  <a:gd name="T122" fmla="*/ 0 w 1468"/>
                  <a:gd name="T123" fmla="*/ 45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68" h="626">
                    <a:moveTo>
                      <a:pt x="1333" y="349"/>
                    </a:moveTo>
                    <a:cubicBezTo>
                      <a:pt x="1336" y="347"/>
                      <a:pt x="1339" y="348"/>
                      <a:pt x="1342" y="346"/>
                    </a:cubicBezTo>
                    <a:cubicBezTo>
                      <a:pt x="1342" y="346"/>
                      <a:pt x="1343" y="345"/>
                      <a:pt x="1343" y="345"/>
                    </a:cubicBezTo>
                    <a:cubicBezTo>
                      <a:pt x="1346" y="343"/>
                      <a:pt x="1350" y="342"/>
                      <a:pt x="1354" y="341"/>
                    </a:cubicBezTo>
                    <a:cubicBezTo>
                      <a:pt x="1356" y="340"/>
                      <a:pt x="1356" y="340"/>
                      <a:pt x="1356" y="340"/>
                    </a:cubicBezTo>
                    <a:cubicBezTo>
                      <a:pt x="1357" y="339"/>
                      <a:pt x="1357" y="341"/>
                      <a:pt x="1358" y="341"/>
                    </a:cubicBezTo>
                    <a:cubicBezTo>
                      <a:pt x="1359" y="341"/>
                      <a:pt x="1363" y="339"/>
                      <a:pt x="1364" y="340"/>
                    </a:cubicBezTo>
                    <a:cubicBezTo>
                      <a:pt x="1365" y="340"/>
                      <a:pt x="1367" y="342"/>
                      <a:pt x="1368" y="342"/>
                    </a:cubicBezTo>
                    <a:cubicBezTo>
                      <a:pt x="1373" y="344"/>
                      <a:pt x="1375" y="341"/>
                      <a:pt x="1378" y="339"/>
                    </a:cubicBezTo>
                    <a:cubicBezTo>
                      <a:pt x="1377" y="338"/>
                      <a:pt x="1376" y="338"/>
                      <a:pt x="1376" y="338"/>
                    </a:cubicBezTo>
                    <a:cubicBezTo>
                      <a:pt x="1375" y="335"/>
                      <a:pt x="1378" y="334"/>
                      <a:pt x="1376" y="333"/>
                    </a:cubicBezTo>
                    <a:cubicBezTo>
                      <a:pt x="1374" y="332"/>
                      <a:pt x="1373" y="333"/>
                      <a:pt x="1372" y="332"/>
                    </a:cubicBezTo>
                    <a:cubicBezTo>
                      <a:pt x="1372" y="331"/>
                      <a:pt x="1373" y="330"/>
                      <a:pt x="1373" y="330"/>
                    </a:cubicBezTo>
                    <a:cubicBezTo>
                      <a:pt x="1372" y="328"/>
                      <a:pt x="1372" y="328"/>
                      <a:pt x="1372" y="328"/>
                    </a:cubicBezTo>
                    <a:cubicBezTo>
                      <a:pt x="1371" y="327"/>
                      <a:pt x="1372" y="326"/>
                      <a:pt x="1371" y="324"/>
                    </a:cubicBezTo>
                    <a:cubicBezTo>
                      <a:pt x="1371" y="324"/>
                      <a:pt x="1370" y="324"/>
                      <a:pt x="1370" y="324"/>
                    </a:cubicBezTo>
                    <a:cubicBezTo>
                      <a:pt x="1368" y="321"/>
                      <a:pt x="1367" y="319"/>
                      <a:pt x="1366" y="316"/>
                    </a:cubicBezTo>
                    <a:cubicBezTo>
                      <a:pt x="1363" y="317"/>
                      <a:pt x="1362" y="317"/>
                      <a:pt x="1360" y="317"/>
                    </a:cubicBezTo>
                    <a:cubicBezTo>
                      <a:pt x="1360" y="316"/>
                      <a:pt x="1360" y="314"/>
                      <a:pt x="1361" y="314"/>
                    </a:cubicBezTo>
                    <a:cubicBezTo>
                      <a:pt x="1361" y="313"/>
                      <a:pt x="1362" y="313"/>
                      <a:pt x="1363" y="313"/>
                    </a:cubicBezTo>
                    <a:cubicBezTo>
                      <a:pt x="1363" y="312"/>
                      <a:pt x="1362" y="310"/>
                      <a:pt x="1362" y="310"/>
                    </a:cubicBezTo>
                    <a:cubicBezTo>
                      <a:pt x="1358" y="312"/>
                      <a:pt x="1359" y="313"/>
                      <a:pt x="1355" y="310"/>
                    </a:cubicBezTo>
                    <a:cubicBezTo>
                      <a:pt x="1350" y="310"/>
                      <a:pt x="1350" y="310"/>
                      <a:pt x="1350" y="310"/>
                    </a:cubicBezTo>
                    <a:cubicBezTo>
                      <a:pt x="1351" y="310"/>
                      <a:pt x="1351" y="308"/>
                      <a:pt x="1352" y="308"/>
                    </a:cubicBezTo>
                    <a:cubicBezTo>
                      <a:pt x="1354" y="308"/>
                      <a:pt x="1357" y="309"/>
                      <a:pt x="1360" y="309"/>
                    </a:cubicBezTo>
                    <a:cubicBezTo>
                      <a:pt x="1360" y="308"/>
                      <a:pt x="1360" y="308"/>
                      <a:pt x="1360" y="308"/>
                    </a:cubicBezTo>
                    <a:cubicBezTo>
                      <a:pt x="1365" y="310"/>
                      <a:pt x="1370" y="312"/>
                      <a:pt x="1376" y="311"/>
                    </a:cubicBezTo>
                    <a:cubicBezTo>
                      <a:pt x="1378" y="311"/>
                      <a:pt x="1384" y="309"/>
                      <a:pt x="1386" y="307"/>
                    </a:cubicBezTo>
                    <a:cubicBezTo>
                      <a:pt x="1387" y="306"/>
                      <a:pt x="1385" y="305"/>
                      <a:pt x="1386" y="304"/>
                    </a:cubicBezTo>
                    <a:cubicBezTo>
                      <a:pt x="1386" y="303"/>
                      <a:pt x="1388" y="301"/>
                      <a:pt x="1389" y="300"/>
                    </a:cubicBezTo>
                    <a:cubicBezTo>
                      <a:pt x="1389" y="299"/>
                      <a:pt x="1388" y="298"/>
                      <a:pt x="1389" y="298"/>
                    </a:cubicBezTo>
                    <a:cubicBezTo>
                      <a:pt x="1387" y="297"/>
                      <a:pt x="1386" y="296"/>
                      <a:pt x="1384" y="295"/>
                    </a:cubicBezTo>
                    <a:cubicBezTo>
                      <a:pt x="1385" y="294"/>
                      <a:pt x="1385" y="294"/>
                      <a:pt x="1385" y="292"/>
                    </a:cubicBezTo>
                    <a:cubicBezTo>
                      <a:pt x="1386" y="292"/>
                      <a:pt x="1386" y="292"/>
                      <a:pt x="1386" y="292"/>
                    </a:cubicBezTo>
                    <a:cubicBezTo>
                      <a:pt x="1387" y="291"/>
                      <a:pt x="1386" y="289"/>
                      <a:pt x="1386" y="289"/>
                    </a:cubicBezTo>
                    <a:cubicBezTo>
                      <a:pt x="1386" y="288"/>
                      <a:pt x="1386" y="288"/>
                      <a:pt x="1386" y="288"/>
                    </a:cubicBezTo>
                    <a:cubicBezTo>
                      <a:pt x="1387" y="287"/>
                      <a:pt x="1387" y="286"/>
                      <a:pt x="1388" y="286"/>
                    </a:cubicBezTo>
                    <a:cubicBezTo>
                      <a:pt x="1389" y="286"/>
                      <a:pt x="1390" y="286"/>
                      <a:pt x="1392" y="286"/>
                    </a:cubicBezTo>
                    <a:cubicBezTo>
                      <a:pt x="1387" y="290"/>
                      <a:pt x="1392" y="290"/>
                      <a:pt x="1392" y="292"/>
                    </a:cubicBezTo>
                    <a:cubicBezTo>
                      <a:pt x="1392" y="293"/>
                      <a:pt x="1392" y="293"/>
                      <a:pt x="1392" y="293"/>
                    </a:cubicBezTo>
                    <a:cubicBezTo>
                      <a:pt x="1390" y="295"/>
                      <a:pt x="1391" y="296"/>
                      <a:pt x="1390" y="298"/>
                    </a:cubicBezTo>
                    <a:cubicBezTo>
                      <a:pt x="1391" y="299"/>
                      <a:pt x="1393" y="298"/>
                      <a:pt x="1394" y="299"/>
                    </a:cubicBezTo>
                    <a:cubicBezTo>
                      <a:pt x="1395" y="299"/>
                      <a:pt x="1396" y="302"/>
                      <a:pt x="1396" y="302"/>
                    </a:cubicBezTo>
                    <a:cubicBezTo>
                      <a:pt x="1398" y="302"/>
                      <a:pt x="1403" y="300"/>
                      <a:pt x="1404" y="299"/>
                    </a:cubicBezTo>
                    <a:cubicBezTo>
                      <a:pt x="1405" y="299"/>
                      <a:pt x="1405" y="297"/>
                      <a:pt x="1405" y="296"/>
                    </a:cubicBezTo>
                    <a:cubicBezTo>
                      <a:pt x="1407" y="296"/>
                      <a:pt x="1407" y="296"/>
                      <a:pt x="1407" y="296"/>
                    </a:cubicBezTo>
                    <a:cubicBezTo>
                      <a:pt x="1407" y="296"/>
                      <a:pt x="1407" y="298"/>
                      <a:pt x="1407" y="298"/>
                    </a:cubicBezTo>
                    <a:cubicBezTo>
                      <a:pt x="1409" y="298"/>
                      <a:pt x="1412" y="297"/>
                      <a:pt x="1413" y="298"/>
                    </a:cubicBezTo>
                    <a:cubicBezTo>
                      <a:pt x="1414" y="298"/>
                      <a:pt x="1414" y="298"/>
                      <a:pt x="1414" y="298"/>
                    </a:cubicBezTo>
                    <a:cubicBezTo>
                      <a:pt x="1415" y="301"/>
                      <a:pt x="1419" y="303"/>
                      <a:pt x="1418" y="306"/>
                    </a:cubicBezTo>
                    <a:cubicBezTo>
                      <a:pt x="1418" y="307"/>
                      <a:pt x="1417" y="308"/>
                      <a:pt x="1417" y="308"/>
                    </a:cubicBezTo>
                    <a:cubicBezTo>
                      <a:pt x="1418" y="309"/>
                      <a:pt x="1421" y="312"/>
                      <a:pt x="1422" y="312"/>
                    </a:cubicBezTo>
                    <a:cubicBezTo>
                      <a:pt x="1424" y="313"/>
                      <a:pt x="1425" y="311"/>
                      <a:pt x="1425" y="311"/>
                    </a:cubicBezTo>
                    <a:cubicBezTo>
                      <a:pt x="1427" y="311"/>
                      <a:pt x="1434" y="315"/>
                      <a:pt x="1435" y="316"/>
                    </a:cubicBezTo>
                    <a:cubicBezTo>
                      <a:pt x="1435" y="316"/>
                      <a:pt x="1435" y="318"/>
                      <a:pt x="1435" y="318"/>
                    </a:cubicBezTo>
                    <a:cubicBezTo>
                      <a:pt x="1437" y="318"/>
                      <a:pt x="1438" y="318"/>
                      <a:pt x="1439" y="318"/>
                    </a:cubicBezTo>
                    <a:cubicBezTo>
                      <a:pt x="1439" y="318"/>
                      <a:pt x="1439" y="316"/>
                      <a:pt x="1439" y="316"/>
                    </a:cubicBezTo>
                    <a:cubicBezTo>
                      <a:pt x="1441" y="316"/>
                      <a:pt x="1441" y="316"/>
                      <a:pt x="1441" y="316"/>
                    </a:cubicBezTo>
                    <a:cubicBezTo>
                      <a:pt x="1440" y="315"/>
                      <a:pt x="1442" y="315"/>
                      <a:pt x="1442" y="315"/>
                    </a:cubicBezTo>
                    <a:cubicBezTo>
                      <a:pt x="1442" y="315"/>
                      <a:pt x="1442" y="318"/>
                      <a:pt x="1442" y="318"/>
                    </a:cubicBezTo>
                    <a:cubicBezTo>
                      <a:pt x="1443" y="318"/>
                      <a:pt x="1443" y="318"/>
                      <a:pt x="1443" y="318"/>
                    </a:cubicBezTo>
                    <a:cubicBezTo>
                      <a:pt x="1445" y="320"/>
                      <a:pt x="1444" y="318"/>
                      <a:pt x="1446" y="319"/>
                    </a:cubicBezTo>
                    <a:cubicBezTo>
                      <a:pt x="1446" y="318"/>
                      <a:pt x="1446" y="318"/>
                      <a:pt x="1446" y="318"/>
                    </a:cubicBezTo>
                    <a:cubicBezTo>
                      <a:pt x="1448" y="318"/>
                      <a:pt x="1448" y="318"/>
                      <a:pt x="1451" y="318"/>
                    </a:cubicBezTo>
                    <a:cubicBezTo>
                      <a:pt x="1450" y="318"/>
                      <a:pt x="1449" y="316"/>
                      <a:pt x="1449" y="316"/>
                    </a:cubicBezTo>
                    <a:cubicBezTo>
                      <a:pt x="1448" y="315"/>
                      <a:pt x="1448" y="314"/>
                      <a:pt x="1447" y="314"/>
                    </a:cubicBezTo>
                    <a:cubicBezTo>
                      <a:pt x="1447" y="313"/>
                      <a:pt x="1448" y="312"/>
                      <a:pt x="1447" y="311"/>
                    </a:cubicBezTo>
                    <a:cubicBezTo>
                      <a:pt x="1447" y="311"/>
                      <a:pt x="1446" y="311"/>
                      <a:pt x="1445" y="310"/>
                    </a:cubicBezTo>
                    <a:cubicBezTo>
                      <a:pt x="1447" y="309"/>
                      <a:pt x="1449" y="309"/>
                      <a:pt x="1451" y="308"/>
                    </a:cubicBezTo>
                    <a:cubicBezTo>
                      <a:pt x="1451" y="308"/>
                      <a:pt x="1451" y="304"/>
                      <a:pt x="1451" y="304"/>
                    </a:cubicBezTo>
                    <a:cubicBezTo>
                      <a:pt x="1449" y="304"/>
                      <a:pt x="1449" y="305"/>
                      <a:pt x="1447" y="304"/>
                    </a:cubicBezTo>
                    <a:cubicBezTo>
                      <a:pt x="1447" y="301"/>
                      <a:pt x="1447" y="301"/>
                      <a:pt x="1447" y="301"/>
                    </a:cubicBezTo>
                    <a:cubicBezTo>
                      <a:pt x="1451" y="302"/>
                      <a:pt x="1453" y="301"/>
                      <a:pt x="1456" y="301"/>
                    </a:cubicBezTo>
                    <a:cubicBezTo>
                      <a:pt x="1456" y="301"/>
                      <a:pt x="1457" y="302"/>
                      <a:pt x="1458" y="302"/>
                    </a:cubicBezTo>
                    <a:cubicBezTo>
                      <a:pt x="1458" y="303"/>
                      <a:pt x="1458" y="303"/>
                      <a:pt x="1458" y="303"/>
                    </a:cubicBezTo>
                    <a:cubicBezTo>
                      <a:pt x="1459" y="303"/>
                      <a:pt x="1460" y="303"/>
                      <a:pt x="1461" y="303"/>
                    </a:cubicBezTo>
                    <a:cubicBezTo>
                      <a:pt x="1462" y="302"/>
                      <a:pt x="1462" y="301"/>
                      <a:pt x="1462" y="299"/>
                    </a:cubicBezTo>
                    <a:cubicBezTo>
                      <a:pt x="1462" y="299"/>
                      <a:pt x="1465" y="299"/>
                      <a:pt x="1465" y="299"/>
                    </a:cubicBezTo>
                    <a:cubicBezTo>
                      <a:pt x="1466" y="299"/>
                      <a:pt x="1464" y="296"/>
                      <a:pt x="1465" y="295"/>
                    </a:cubicBezTo>
                    <a:cubicBezTo>
                      <a:pt x="1466" y="294"/>
                      <a:pt x="1467" y="295"/>
                      <a:pt x="1468" y="294"/>
                    </a:cubicBezTo>
                    <a:cubicBezTo>
                      <a:pt x="1468" y="293"/>
                      <a:pt x="1468" y="293"/>
                      <a:pt x="1468" y="293"/>
                    </a:cubicBezTo>
                    <a:cubicBezTo>
                      <a:pt x="1467" y="293"/>
                      <a:pt x="1466" y="293"/>
                      <a:pt x="1465" y="293"/>
                    </a:cubicBezTo>
                    <a:cubicBezTo>
                      <a:pt x="1465" y="293"/>
                      <a:pt x="1464" y="291"/>
                      <a:pt x="1464" y="291"/>
                    </a:cubicBezTo>
                    <a:cubicBezTo>
                      <a:pt x="1461" y="289"/>
                      <a:pt x="1458" y="289"/>
                      <a:pt x="1455" y="286"/>
                    </a:cubicBezTo>
                    <a:cubicBezTo>
                      <a:pt x="1455" y="286"/>
                      <a:pt x="1455" y="285"/>
                      <a:pt x="1455" y="284"/>
                    </a:cubicBezTo>
                    <a:cubicBezTo>
                      <a:pt x="1454" y="284"/>
                      <a:pt x="1452" y="283"/>
                      <a:pt x="1451" y="282"/>
                    </a:cubicBezTo>
                    <a:cubicBezTo>
                      <a:pt x="1451" y="281"/>
                      <a:pt x="1451" y="280"/>
                      <a:pt x="1450" y="279"/>
                    </a:cubicBezTo>
                    <a:cubicBezTo>
                      <a:pt x="1449" y="278"/>
                      <a:pt x="1447" y="278"/>
                      <a:pt x="1445" y="278"/>
                    </a:cubicBezTo>
                    <a:cubicBezTo>
                      <a:pt x="1444" y="276"/>
                      <a:pt x="1444" y="276"/>
                      <a:pt x="1444" y="276"/>
                    </a:cubicBezTo>
                    <a:cubicBezTo>
                      <a:pt x="1440" y="276"/>
                      <a:pt x="1433" y="277"/>
                      <a:pt x="1429" y="278"/>
                    </a:cubicBezTo>
                    <a:cubicBezTo>
                      <a:pt x="1430" y="281"/>
                      <a:pt x="1430" y="282"/>
                      <a:pt x="1431" y="285"/>
                    </a:cubicBezTo>
                    <a:cubicBezTo>
                      <a:pt x="1429" y="284"/>
                      <a:pt x="1428" y="284"/>
                      <a:pt x="1427" y="284"/>
                    </a:cubicBezTo>
                    <a:cubicBezTo>
                      <a:pt x="1427" y="282"/>
                      <a:pt x="1428" y="276"/>
                      <a:pt x="1427" y="274"/>
                    </a:cubicBezTo>
                    <a:cubicBezTo>
                      <a:pt x="1427" y="273"/>
                      <a:pt x="1424" y="273"/>
                      <a:pt x="1423" y="272"/>
                    </a:cubicBezTo>
                    <a:cubicBezTo>
                      <a:pt x="1423" y="271"/>
                      <a:pt x="1423" y="269"/>
                      <a:pt x="1423" y="269"/>
                    </a:cubicBezTo>
                    <a:cubicBezTo>
                      <a:pt x="1421" y="268"/>
                      <a:pt x="1419" y="269"/>
                      <a:pt x="1417" y="268"/>
                    </a:cubicBezTo>
                    <a:cubicBezTo>
                      <a:pt x="1417" y="268"/>
                      <a:pt x="1417" y="266"/>
                      <a:pt x="1416" y="265"/>
                    </a:cubicBezTo>
                    <a:cubicBezTo>
                      <a:pt x="1415" y="264"/>
                      <a:pt x="1413" y="265"/>
                      <a:pt x="1411" y="264"/>
                    </a:cubicBezTo>
                    <a:cubicBezTo>
                      <a:pt x="1411" y="263"/>
                      <a:pt x="1410" y="262"/>
                      <a:pt x="1409" y="261"/>
                    </a:cubicBezTo>
                    <a:cubicBezTo>
                      <a:pt x="1409" y="261"/>
                      <a:pt x="1408" y="261"/>
                      <a:pt x="1407" y="261"/>
                    </a:cubicBezTo>
                    <a:cubicBezTo>
                      <a:pt x="1404" y="259"/>
                      <a:pt x="1402" y="256"/>
                      <a:pt x="1400" y="255"/>
                    </a:cubicBezTo>
                    <a:cubicBezTo>
                      <a:pt x="1398" y="255"/>
                      <a:pt x="1398" y="255"/>
                      <a:pt x="1398" y="255"/>
                    </a:cubicBezTo>
                    <a:cubicBezTo>
                      <a:pt x="1397" y="254"/>
                      <a:pt x="1399" y="254"/>
                      <a:pt x="1399" y="253"/>
                    </a:cubicBezTo>
                    <a:cubicBezTo>
                      <a:pt x="1399" y="252"/>
                      <a:pt x="1397" y="250"/>
                      <a:pt x="1397" y="250"/>
                    </a:cubicBezTo>
                    <a:cubicBezTo>
                      <a:pt x="1395" y="250"/>
                      <a:pt x="1395" y="251"/>
                      <a:pt x="1393" y="251"/>
                    </a:cubicBezTo>
                    <a:cubicBezTo>
                      <a:pt x="1392" y="249"/>
                      <a:pt x="1392" y="249"/>
                      <a:pt x="1392" y="249"/>
                    </a:cubicBezTo>
                    <a:cubicBezTo>
                      <a:pt x="1389" y="248"/>
                      <a:pt x="1388" y="248"/>
                      <a:pt x="1386" y="247"/>
                    </a:cubicBezTo>
                    <a:cubicBezTo>
                      <a:pt x="1385" y="244"/>
                      <a:pt x="1384" y="242"/>
                      <a:pt x="1381" y="240"/>
                    </a:cubicBezTo>
                    <a:cubicBezTo>
                      <a:pt x="1380" y="239"/>
                      <a:pt x="1379" y="239"/>
                      <a:pt x="1378" y="239"/>
                    </a:cubicBezTo>
                    <a:cubicBezTo>
                      <a:pt x="1378" y="238"/>
                      <a:pt x="1378" y="237"/>
                      <a:pt x="1378" y="236"/>
                    </a:cubicBezTo>
                    <a:cubicBezTo>
                      <a:pt x="1378" y="235"/>
                      <a:pt x="1377" y="234"/>
                      <a:pt x="1376" y="233"/>
                    </a:cubicBezTo>
                    <a:cubicBezTo>
                      <a:pt x="1374" y="233"/>
                      <a:pt x="1371" y="234"/>
                      <a:pt x="1369" y="233"/>
                    </a:cubicBezTo>
                    <a:cubicBezTo>
                      <a:pt x="1368" y="233"/>
                      <a:pt x="1367" y="231"/>
                      <a:pt x="1366" y="231"/>
                    </a:cubicBezTo>
                    <a:cubicBezTo>
                      <a:pt x="1361" y="230"/>
                      <a:pt x="1361" y="234"/>
                      <a:pt x="1356" y="232"/>
                    </a:cubicBezTo>
                    <a:cubicBezTo>
                      <a:pt x="1355" y="231"/>
                      <a:pt x="1354" y="228"/>
                      <a:pt x="1353" y="227"/>
                    </a:cubicBezTo>
                    <a:cubicBezTo>
                      <a:pt x="1351" y="225"/>
                      <a:pt x="1348" y="226"/>
                      <a:pt x="1345" y="225"/>
                    </a:cubicBezTo>
                    <a:cubicBezTo>
                      <a:pt x="1342" y="223"/>
                      <a:pt x="1342" y="223"/>
                      <a:pt x="1342" y="223"/>
                    </a:cubicBezTo>
                    <a:cubicBezTo>
                      <a:pt x="1342" y="221"/>
                      <a:pt x="1342" y="221"/>
                      <a:pt x="1342" y="221"/>
                    </a:cubicBezTo>
                    <a:cubicBezTo>
                      <a:pt x="1340" y="221"/>
                      <a:pt x="1340" y="222"/>
                      <a:pt x="1340" y="223"/>
                    </a:cubicBezTo>
                    <a:cubicBezTo>
                      <a:pt x="1337" y="223"/>
                      <a:pt x="1333" y="223"/>
                      <a:pt x="1330" y="223"/>
                    </a:cubicBezTo>
                    <a:cubicBezTo>
                      <a:pt x="1329" y="222"/>
                      <a:pt x="1326" y="221"/>
                      <a:pt x="1324" y="221"/>
                    </a:cubicBezTo>
                    <a:cubicBezTo>
                      <a:pt x="1323" y="221"/>
                      <a:pt x="1323" y="223"/>
                      <a:pt x="1320" y="223"/>
                    </a:cubicBezTo>
                    <a:cubicBezTo>
                      <a:pt x="1320" y="223"/>
                      <a:pt x="1319" y="221"/>
                      <a:pt x="1318" y="221"/>
                    </a:cubicBezTo>
                    <a:cubicBezTo>
                      <a:pt x="1315" y="220"/>
                      <a:pt x="1311" y="222"/>
                      <a:pt x="1307" y="221"/>
                    </a:cubicBezTo>
                    <a:cubicBezTo>
                      <a:pt x="1306" y="221"/>
                      <a:pt x="1305" y="219"/>
                      <a:pt x="1304" y="219"/>
                    </a:cubicBezTo>
                    <a:cubicBezTo>
                      <a:pt x="1304" y="219"/>
                      <a:pt x="1303" y="220"/>
                      <a:pt x="1302" y="219"/>
                    </a:cubicBezTo>
                    <a:cubicBezTo>
                      <a:pt x="1303" y="224"/>
                      <a:pt x="1303" y="224"/>
                      <a:pt x="1302" y="228"/>
                    </a:cubicBezTo>
                    <a:cubicBezTo>
                      <a:pt x="1302" y="228"/>
                      <a:pt x="1303" y="228"/>
                      <a:pt x="1304" y="228"/>
                    </a:cubicBezTo>
                    <a:cubicBezTo>
                      <a:pt x="1304" y="229"/>
                      <a:pt x="1306" y="229"/>
                      <a:pt x="1306" y="230"/>
                    </a:cubicBezTo>
                    <a:cubicBezTo>
                      <a:pt x="1307" y="232"/>
                      <a:pt x="1306" y="235"/>
                      <a:pt x="1306" y="237"/>
                    </a:cubicBezTo>
                    <a:cubicBezTo>
                      <a:pt x="1306" y="238"/>
                      <a:pt x="1304" y="237"/>
                      <a:pt x="1304" y="237"/>
                    </a:cubicBezTo>
                    <a:cubicBezTo>
                      <a:pt x="1304" y="237"/>
                      <a:pt x="1302" y="240"/>
                      <a:pt x="1302" y="241"/>
                    </a:cubicBezTo>
                    <a:cubicBezTo>
                      <a:pt x="1301" y="241"/>
                      <a:pt x="1300" y="240"/>
                      <a:pt x="1300" y="241"/>
                    </a:cubicBezTo>
                    <a:cubicBezTo>
                      <a:pt x="1300" y="241"/>
                      <a:pt x="1300" y="243"/>
                      <a:pt x="1300" y="243"/>
                    </a:cubicBezTo>
                    <a:cubicBezTo>
                      <a:pt x="1299" y="244"/>
                      <a:pt x="1296" y="243"/>
                      <a:pt x="1295" y="243"/>
                    </a:cubicBezTo>
                    <a:cubicBezTo>
                      <a:pt x="1295" y="243"/>
                      <a:pt x="1295" y="244"/>
                      <a:pt x="1294" y="245"/>
                    </a:cubicBezTo>
                    <a:cubicBezTo>
                      <a:pt x="1293" y="245"/>
                      <a:pt x="1291" y="245"/>
                      <a:pt x="1289" y="245"/>
                    </a:cubicBezTo>
                    <a:cubicBezTo>
                      <a:pt x="1288" y="243"/>
                      <a:pt x="1287" y="238"/>
                      <a:pt x="1287" y="236"/>
                    </a:cubicBezTo>
                    <a:cubicBezTo>
                      <a:pt x="1286" y="235"/>
                      <a:pt x="1284" y="236"/>
                      <a:pt x="1283" y="235"/>
                    </a:cubicBezTo>
                    <a:cubicBezTo>
                      <a:pt x="1282" y="233"/>
                      <a:pt x="1283" y="228"/>
                      <a:pt x="1283" y="227"/>
                    </a:cubicBezTo>
                    <a:cubicBezTo>
                      <a:pt x="1281" y="228"/>
                      <a:pt x="1279" y="230"/>
                      <a:pt x="1279" y="231"/>
                    </a:cubicBezTo>
                    <a:cubicBezTo>
                      <a:pt x="1277" y="231"/>
                      <a:pt x="1279" y="230"/>
                      <a:pt x="1277" y="230"/>
                    </a:cubicBezTo>
                    <a:cubicBezTo>
                      <a:pt x="1275" y="230"/>
                      <a:pt x="1271" y="233"/>
                      <a:pt x="1269" y="233"/>
                    </a:cubicBezTo>
                    <a:cubicBezTo>
                      <a:pt x="1268" y="233"/>
                      <a:pt x="1269" y="230"/>
                      <a:pt x="1269" y="230"/>
                    </a:cubicBezTo>
                    <a:cubicBezTo>
                      <a:pt x="1267" y="229"/>
                      <a:pt x="1263" y="228"/>
                      <a:pt x="1262" y="228"/>
                    </a:cubicBezTo>
                    <a:cubicBezTo>
                      <a:pt x="1261" y="228"/>
                      <a:pt x="1257" y="228"/>
                      <a:pt x="1255" y="229"/>
                    </a:cubicBezTo>
                    <a:cubicBezTo>
                      <a:pt x="1255" y="229"/>
                      <a:pt x="1254" y="231"/>
                      <a:pt x="1254" y="231"/>
                    </a:cubicBezTo>
                    <a:cubicBezTo>
                      <a:pt x="1252" y="231"/>
                      <a:pt x="1251" y="230"/>
                      <a:pt x="1250" y="229"/>
                    </a:cubicBezTo>
                    <a:cubicBezTo>
                      <a:pt x="1250" y="229"/>
                      <a:pt x="1250" y="227"/>
                      <a:pt x="1250" y="227"/>
                    </a:cubicBezTo>
                    <a:cubicBezTo>
                      <a:pt x="1246" y="227"/>
                      <a:pt x="1240" y="228"/>
                      <a:pt x="1235" y="227"/>
                    </a:cubicBezTo>
                    <a:cubicBezTo>
                      <a:pt x="1234" y="227"/>
                      <a:pt x="1234" y="226"/>
                      <a:pt x="1233" y="227"/>
                    </a:cubicBezTo>
                    <a:cubicBezTo>
                      <a:pt x="1232" y="227"/>
                      <a:pt x="1229" y="230"/>
                      <a:pt x="1228" y="230"/>
                    </a:cubicBezTo>
                    <a:cubicBezTo>
                      <a:pt x="1226" y="230"/>
                      <a:pt x="1225" y="230"/>
                      <a:pt x="1223" y="231"/>
                    </a:cubicBezTo>
                    <a:cubicBezTo>
                      <a:pt x="1223" y="233"/>
                      <a:pt x="1222" y="237"/>
                      <a:pt x="1221" y="240"/>
                    </a:cubicBezTo>
                    <a:cubicBezTo>
                      <a:pt x="1221" y="240"/>
                      <a:pt x="1219" y="242"/>
                      <a:pt x="1219" y="242"/>
                    </a:cubicBezTo>
                    <a:cubicBezTo>
                      <a:pt x="1219" y="241"/>
                      <a:pt x="1220" y="240"/>
                      <a:pt x="1219" y="239"/>
                    </a:cubicBezTo>
                    <a:cubicBezTo>
                      <a:pt x="1218" y="238"/>
                      <a:pt x="1218" y="238"/>
                      <a:pt x="1218" y="238"/>
                    </a:cubicBezTo>
                    <a:cubicBezTo>
                      <a:pt x="1218" y="237"/>
                      <a:pt x="1218" y="236"/>
                      <a:pt x="1218" y="235"/>
                    </a:cubicBezTo>
                    <a:cubicBezTo>
                      <a:pt x="1218" y="234"/>
                      <a:pt x="1216" y="233"/>
                      <a:pt x="1216" y="233"/>
                    </a:cubicBezTo>
                    <a:cubicBezTo>
                      <a:pt x="1215" y="231"/>
                      <a:pt x="1216" y="230"/>
                      <a:pt x="1215" y="229"/>
                    </a:cubicBezTo>
                    <a:cubicBezTo>
                      <a:pt x="1214" y="229"/>
                      <a:pt x="1212" y="229"/>
                      <a:pt x="1211" y="229"/>
                    </a:cubicBezTo>
                    <a:cubicBezTo>
                      <a:pt x="1211" y="228"/>
                      <a:pt x="1212" y="225"/>
                      <a:pt x="1212" y="225"/>
                    </a:cubicBezTo>
                    <a:cubicBezTo>
                      <a:pt x="1211" y="223"/>
                      <a:pt x="1211" y="225"/>
                      <a:pt x="1211" y="223"/>
                    </a:cubicBezTo>
                    <a:cubicBezTo>
                      <a:pt x="1212" y="222"/>
                      <a:pt x="1213" y="221"/>
                      <a:pt x="1213" y="221"/>
                    </a:cubicBezTo>
                    <a:cubicBezTo>
                      <a:pt x="1212" y="219"/>
                      <a:pt x="1210" y="216"/>
                      <a:pt x="1208" y="215"/>
                    </a:cubicBezTo>
                    <a:cubicBezTo>
                      <a:pt x="1208" y="215"/>
                      <a:pt x="1206" y="216"/>
                      <a:pt x="1206" y="215"/>
                    </a:cubicBezTo>
                    <a:cubicBezTo>
                      <a:pt x="1205" y="214"/>
                      <a:pt x="1205" y="212"/>
                      <a:pt x="1203" y="211"/>
                    </a:cubicBezTo>
                    <a:cubicBezTo>
                      <a:pt x="1202" y="210"/>
                      <a:pt x="1200" y="211"/>
                      <a:pt x="1197" y="210"/>
                    </a:cubicBezTo>
                    <a:cubicBezTo>
                      <a:pt x="1196" y="210"/>
                      <a:pt x="1195" y="208"/>
                      <a:pt x="1193" y="207"/>
                    </a:cubicBezTo>
                    <a:cubicBezTo>
                      <a:pt x="1193" y="208"/>
                      <a:pt x="1191" y="209"/>
                      <a:pt x="1191" y="209"/>
                    </a:cubicBezTo>
                    <a:cubicBezTo>
                      <a:pt x="1191" y="210"/>
                      <a:pt x="1191" y="210"/>
                      <a:pt x="1191" y="210"/>
                    </a:cubicBezTo>
                    <a:cubicBezTo>
                      <a:pt x="1190" y="210"/>
                      <a:pt x="1189" y="208"/>
                      <a:pt x="1187" y="209"/>
                    </a:cubicBezTo>
                    <a:cubicBezTo>
                      <a:pt x="1185" y="209"/>
                      <a:pt x="1184" y="211"/>
                      <a:pt x="1181" y="211"/>
                    </a:cubicBezTo>
                    <a:cubicBezTo>
                      <a:pt x="1180" y="209"/>
                      <a:pt x="1180" y="209"/>
                      <a:pt x="1180" y="209"/>
                    </a:cubicBezTo>
                    <a:cubicBezTo>
                      <a:pt x="1179" y="209"/>
                      <a:pt x="1177" y="210"/>
                      <a:pt x="1174" y="209"/>
                    </a:cubicBezTo>
                    <a:cubicBezTo>
                      <a:pt x="1173" y="209"/>
                      <a:pt x="1171" y="208"/>
                      <a:pt x="1169" y="208"/>
                    </a:cubicBezTo>
                    <a:cubicBezTo>
                      <a:pt x="1166" y="208"/>
                      <a:pt x="1164" y="212"/>
                      <a:pt x="1160" y="211"/>
                    </a:cubicBezTo>
                    <a:cubicBezTo>
                      <a:pt x="1157" y="211"/>
                      <a:pt x="1157" y="209"/>
                      <a:pt x="1153" y="209"/>
                    </a:cubicBezTo>
                    <a:cubicBezTo>
                      <a:pt x="1150" y="210"/>
                      <a:pt x="1146" y="213"/>
                      <a:pt x="1142" y="213"/>
                    </a:cubicBezTo>
                    <a:cubicBezTo>
                      <a:pt x="1139" y="213"/>
                      <a:pt x="1136" y="212"/>
                      <a:pt x="1132" y="213"/>
                    </a:cubicBezTo>
                    <a:cubicBezTo>
                      <a:pt x="1130" y="213"/>
                      <a:pt x="1127" y="214"/>
                      <a:pt x="1124" y="213"/>
                    </a:cubicBezTo>
                    <a:cubicBezTo>
                      <a:pt x="1123" y="213"/>
                      <a:pt x="1122" y="214"/>
                      <a:pt x="1122" y="214"/>
                    </a:cubicBezTo>
                    <a:cubicBezTo>
                      <a:pt x="1118" y="213"/>
                      <a:pt x="1117" y="213"/>
                      <a:pt x="1113" y="214"/>
                    </a:cubicBezTo>
                    <a:cubicBezTo>
                      <a:pt x="1115" y="210"/>
                      <a:pt x="1117" y="208"/>
                      <a:pt x="1121" y="205"/>
                    </a:cubicBezTo>
                    <a:cubicBezTo>
                      <a:pt x="1120" y="203"/>
                      <a:pt x="1120" y="203"/>
                      <a:pt x="1120" y="203"/>
                    </a:cubicBezTo>
                    <a:cubicBezTo>
                      <a:pt x="1119" y="203"/>
                      <a:pt x="1118" y="203"/>
                      <a:pt x="1116" y="203"/>
                    </a:cubicBezTo>
                    <a:cubicBezTo>
                      <a:pt x="1117" y="202"/>
                      <a:pt x="1116" y="200"/>
                      <a:pt x="1116" y="199"/>
                    </a:cubicBezTo>
                    <a:cubicBezTo>
                      <a:pt x="1118" y="199"/>
                      <a:pt x="1118" y="199"/>
                      <a:pt x="1118" y="199"/>
                    </a:cubicBezTo>
                    <a:cubicBezTo>
                      <a:pt x="1116" y="198"/>
                      <a:pt x="1119" y="197"/>
                      <a:pt x="1119" y="197"/>
                    </a:cubicBezTo>
                    <a:cubicBezTo>
                      <a:pt x="1120" y="198"/>
                      <a:pt x="1120" y="200"/>
                      <a:pt x="1120" y="201"/>
                    </a:cubicBezTo>
                    <a:cubicBezTo>
                      <a:pt x="1121" y="200"/>
                      <a:pt x="1123" y="199"/>
                      <a:pt x="1124" y="199"/>
                    </a:cubicBezTo>
                    <a:cubicBezTo>
                      <a:pt x="1124" y="198"/>
                      <a:pt x="1124" y="197"/>
                      <a:pt x="1125" y="195"/>
                    </a:cubicBezTo>
                    <a:cubicBezTo>
                      <a:pt x="1123" y="193"/>
                      <a:pt x="1120" y="190"/>
                      <a:pt x="1118" y="190"/>
                    </a:cubicBezTo>
                    <a:cubicBezTo>
                      <a:pt x="1116" y="190"/>
                      <a:pt x="1116" y="191"/>
                      <a:pt x="1114" y="191"/>
                    </a:cubicBezTo>
                    <a:cubicBezTo>
                      <a:pt x="1114" y="191"/>
                      <a:pt x="1112" y="188"/>
                      <a:pt x="1111" y="188"/>
                    </a:cubicBezTo>
                    <a:cubicBezTo>
                      <a:pt x="1107" y="187"/>
                      <a:pt x="1103" y="188"/>
                      <a:pt x="1099" y="189"/>
                    </a:cubicBezTo>
                    <a:cubicBezTo>
                      <a:pt x="1097" y="194"/>
                      <a:pt x="1094" y="196"/>
                      <a:pt x="1092" y="201"/>
                    </a:cubicBezTo>
                    <a:cubicBezTo>
                      <a:pt x="1092" y="201"/>
                      <a:pt x="1091" y="203"/>
                      <a:pt x="1091" y="203"/>
                    </a:cubicBezTo>
                    <a:cubicBezTo>
                      <a:pt x="1091" y="203"/>
                      <a:pt x="1083" y="205"/>
                      <a:pt x="1083" y="205"/>
                    </a:cubicBezTo>
                    <a:cubicBezTo>
                      <a:pt x="1082" y="204"/>
                      <a:pt x="1082" y="204"/>
                      <a:pt x="1082" y="204"/>
                    </a:cubicBezTo>
                    <a:cubicBezTo>
                      <a:pt x="1080" y="203"/>
                      <a:pt x="1084" y="202"/>
                      <a:pt x="1085" y="201"/>
                    </a:cubicBezTo>
                    <a:cubicBezTo>
                      <a:pt x="1085" y="200"/>
                      <a:pt x="1083" y="200"/>
                      <a:pt x="1083" y="199"/>
                    </a:cubicBezTo>
                    <a:cubicBezTo>
                      <a:pt x="1083" y="199"/>
                      <a:pt x="1084" y="198"/>
                      <a:pt x="1083" y="197"/>
                    </a:cubicBezTo>
                    <a:cubicBezTo>
                      <a:pt x="1088" y="196"/>
                      <a:pt x="1087" y="196"/>
                      <a:pt x="1089" y="191"/>
                    </a:cubicBezTo>
                    <a:cubicBezTo>
                      <a:pt x="1090" y="192"/>
                      <a:pt x="1091" y="192"/>
                      <a:pt x="1091" y="192"/>
                    </a:cubicBezTo>
                    <a:cubicBezTo>
                      <a:pt x="1091" y="193"/>
                      <a:pt x="1091" y="193"/>
                      <a:pt x="1091" y="193"/>
                    </a:cubicBezTo>
                    <a:cubicBezTo>
                      <a:pt x="1090" y="193"/>
                      <a:pt x="1089" y="195"/>
                      <a:pt x="1092" y="196"/>
                    </a:cubicBezTo>
                    <a:cubicBezTo>
                      <a:pt x="1093" y="194"/>
                      <a:pt x="1093" y="193"/>
                      <a:pt x="1094" y="190"/>
                    </a:cubicBezTo>
                    <a:cubicBezTo>
                      <a:pt x="1088" y="190"/>
                      <a:pt x="1081" y="191"/>
                      <a:pt x="1076" y="191"/>
                    </a:cubicBezTo>
                    <a:cubicBezTo>
                      <a:pt x="1074" y="183"/>
                      <a:pt x="1075" y="186"/>
                      <a:pt x="1084" y="187"/>
                    </a:cubicBezTo>
                    <a:cubicBezTo>
                      <a:pt x="1084" y="185"/>
                      <a:pt x="1084" y="185"/>
                      <a:pt x="1084" y="185"/>
                    </a:cubicBezTo>
                    <a:cubicBezTo>
                      <a:pt x="1081" y="185"/>
                      <a:pt x="1078" y="184"/>
                      <a:pt x="1074" y="183"/>
                    </a:cubicBezTo>
                    <a:cubicBezTo>
                      <a:pt x="1072" y="182"/>
                      <a:pt x="1072" y="182"/>
                      <a:pt x="1072" y="182"/>
                    </a:cubicBezTo>
                    <a:cubicBezTo>
                      <a:pt x="1070" y="182"/>
                      <a:pt x="1069" y="183"/>
                      <a:pt x="1066" y="183"/>
                    </a:cubicBezTo>
                    <a:cubicBezTo>
                      <a:pt x="1064" y="183"/>
                      <a:pt x="1061" y="181"/>
                      <a:pt x="1060" y="181"/>
                    </a:cubicBezTo>
                    <a:cubicBezTo>
                      <a:pt x="1058" y="180"/>
                      <a:pt x="1057" y="181"/>
                      <a:pt x="1055" y="181"/>
                    </a:cubicBezTo>
                    <a:cubicBezTo>
                      <a:pt x="1055" y="181"/>
                      <a:pt x="1050" y="179"/>
                      <a:pt x="1049" y="179"/>
                    </a:cubicBezTo>
                    <a:cubicBezTo>
                      <a:pt x="1049" y="178"/>
                      <a:pt x="1048" y="176"/>
                      <a:pt x="1047" y="176"/>
                    </a:cubicBezTo>
                    <a:cubicBezTo>
                      <a:pt x="1046" y="176"/>
                      <a:pt x="1043" y="176"/>
                      <a:pt x="1041" y="176"/>
                    </a:cubicBezTo>
                    <a:cubicBezTo>
                      <a:pt x="1042" y="176"/>
                      <a:pt x="1041" y="178"/>
                      <a:pt x="1042" y="178"/>
                    </a:cubicBezTo>
                    <a:cubicBezTo>
                      <a:pt x="1043" y="178"/>
                      <a:pt x="1043" y="178"/>
                      <a:pt x="1044" y="178"/>
                    </a:cubicBezTo>
                    <a:cubicBezTo>
                      <a:pt x="1044" y="178"/>
                      <a:pt x="1044" y="179"/>
                      <a:pt x="1045" y="179"/>
                    </a:cubicBezTo>
                    <a:cubicBezTo>
                      <a:pt x="1045" y="179"/>
                      <a:pt x="1045" y="180"/>
                      <a:pt x="1045" y="180"/>
                    </a:cubicBezTo>
                    <a:cubicBezTo>
                      <a:pt x="1045" y="182"/>
                      <a:pt x="1045" y="182"/>
                      <a:pt x="1045" y="182"/>
                    </a:cubicBezTo>
                    <a:cubicBezTo>
                      <a:pt x="1042" y="182"/>
                      <a:pt x="1039" y="182"/>
                      <a:pt x="1036" y="182"/>
                    </a:cubicBezTo>
                    <a:cubicBezTo>
                      <a:pt x="1036" y="182"/>
                      <a:pt x="1036" y="185"/>
                      <a:pt x="1035" y="186"/>
                    </a:cubicBezTo>
                    <a:cubicBezTo>
                      <a:pt x="1036" y="186"/>
                      <a:pt x="1041" y="187"/>
                      <a:pt x="1040" y="187"/>
                    </a:cubicBezTo>
                    <a:cubicBezTo>
                      <a:pt x="1041" y="187"/>
                      <a:pt x="1042" y="187"/>
                      <a:pt x="1043" y="187"/>
                    </a:cubicBezTo>
                    <a:cubicBezTo>
                      <a:pt x="1044" y="189"/>
                      <a:pt x="1044" y="189"/>
                      <a:pt x="1044" y="189"/>
                    </a:cubicBezTo>
                    <a:cubicBezTo>
                      <a:pt x="1037" y="187"/>
                      <a:pt x="1032" y="188"/>
                      <a:pt x="1035" y="197"/>
                    </a:cubicBezTo>
                    <a:cubicBezTo>
                      <a:pt x="1035" y="198"/>
                      <a:pt x="1036" y="199"/>
                      <a:pt x="1037" y="199"/>
                    </a:cubicBezTo>
                    <a:cubicBezTo>
                      <a:pt x="1036" y="200"/>
                      <a:pt x="1037" y="201"/>
                      <a:pt x="1037" y="203"/>
                    </a:cubicBezTo>
                    <a:cubicBezTo>
                      <a:pt x="1036" y="203"/>
                      <a:pt x="1034" y="204"/>
                      <a:pt x="1033" y="203"/>
                    </a:cubicBezTo>
                    <a:cubicBezTo>
                      <a:pt x="1032" y="203"/>
                      <a:pt x="1032" y="202"/>
                      <a:pt x="1030" y="202"/>
                    </a:cubicBezTo>
                    <a:cubicBezTo>
                      <a:pt x="1030" y="202"/>
                      <a:pt x="1029" y="203"/>
                      <a:pt x="1028" y="203"/>
                    </a:cubicBezTo>
                    <a:cubicBezTo>
                      <a:pt x="1028" y="202"/>
                      <a:pt x="1028" y="202"/>
                      <a:pt x="1029" y="200"/>
                    </a:cubicBezTo>
                    <a:cubicBezTo>
                      <a:pt x="1028" y="200"/>
                      <a:pt x="1028" y="199"/>
                      <a:pt x="1027" y="198"/>
                    </a:cubicBezTo>
                    <a:cubicBezTo>
                      <a:pt x="1027" y="198"/>
                      <a:pt x="1024" y="199"/>
                      <a:pt x="1025" y="199"/>
                    </a:cubicBezTo>
                    <a:cubicBezTo>
                      <a:pt x="1025" y="199"/>
                      <a:pt x="1024" y="199"/>
                      <a:pt x="1023" y="199"/>
                    </a:cubicBezTo>
                    <a:cubicBezTo>
                      <a:pt x="1023" y="200"/>
                      <a:pt x="1024" y="200"/>
                      <a:pt x="1023" y="200"/>
                    </a:cubicBezTo>
                    <a:cubicBezTo>
                      <a:pt x="1023" y="200"/>
                      <a:pt x="1022" y="202"/>
                      <a:pt x="1022" y="203"/>
                    </a:cubicBezTo>
                    <a:cubicBezTo>
                      <a:pt x="1023" y="203"/>
                      <a:pt x="1024" y="204"/>
                      <a:pt x="1024" y="205"/>
                    </a:cubicBezTo>
                    <a:cubicBezTo>
                      <a:pt x="1021" y="206"/>
                      <a:pt x="1019" y="207"/>
                      <a:pt x="1015" y="207"/>
                    </a:cubicBezTo>
                    <a:cubicBezTo>
                      <a:pt x="1015" y="205"/>
                      <a:pt x="1015" y="205"/>
                      <a:pt x="1015" y="205"/>
                    </a:cubicBezTo>
                    <a:cubicBezTo>
                      <a:pt x="1014" y="205"/>
                      <a:pt x="1012" y="206"/>
                      <a:pt x="1011" y="205"/>
                    </a:cubicBezTo>
                    <a:cubicBezTo>
                      <a:pt x="1011" y="205"/>
                      <a:pt x="1011" y="204"/>
                      <a:pt x="1011" y="203"/>
                    </a:cubicBezTo>
                    <a:cubicBezTo>
                      <a:pt x="1008" y="201"/>
                      <a:pt x="1005" y="199"/>
                      <a:pt x="1002" y="198"/>
                    </a:cubicBezTo>
                    <a:cubicBezTo>
                      <a:pt x="1002" y="197"/>
                      <a:pt x="1002" y="197"/>
                      <a:pt x="1002" y="197"/>
                    </a:cubicBezTo>
                    <a:cubicBezTo>
                      <a:pt x="1001" y="197"/>
                      <a:pt x="1000" y="198"/>
                      <a:pt x="999" y="197"/>
                    </a:cubicBezTo>
                    <a:cubicBezTo>
                      <a:pt x="998" y="197"/>
                      <a:pt x="997" y="195"/>
                      <a:pt x="997" y="195"/>
                    </a:cubicBezTo>
                    <a:cubicBezTo>
                      <a:pt x="992" y="195"/>
                      <a:pt x="989" y="200"/>
                      <a:pt x="986" y="201"/>
                    </a:cubicBezTo>
                    <a:cubicBezTo>
                      <a:pt x="985" y="202"/>
                      <a:pt x="984" y="201"/>
                      <a:pt x="983" y="201"/>
                    </a:cubicBezTo>
                    <a:cubicBezTo>
                      <a:pt x="982" y="201"/>
                      <a:pt x="980" y="203"/>
                      <a:pt x="979" y="203"/>
                    </a:cubicBezTo>
                    <a:cubicBezTo>
                      <a:pt x="980" y="201"/>
                      <a:pt x="980" y="199"/>
                      <a:pt x="980" y="197"/>
                    </a:cubicBezTo>
                    <a:cubicBezTo>
                      <a:pt x="980" y="197"/>
                      <a:pt x="979" y="197"/>
                      <a:pt x="979" y="196"/>
                    </a:cubicBezTo>
                    <a:cubicBezTo>
                      <a:pt x="978" y="196"/>
                      <a:pt x="977" y="196"/>
                      <a:pt x="977" y="195"/>
                    </a:cubicBezTo>
                    <a:cubicBezTo>
                      <a:pt x="976" y="194"/>
                      <a:pt x="977" y="193"/>
                      <a:pt x="977" y="192"/>
                    </a:cubicBezTo>
                    <a:cubicBezTo>
                      <a:pt x="977" y="192"/>
                      <a:pt x="975" y="192"/>
                      <a:pt x="975" y="191"/>
                    </a:cubicBezTo>
                    <a:cubicBezTo>
                      <a:pt x="972" y="197"/>
                      <a:pt x="972" y="197"/>
                      <a:pt x="972" y="197"/>
                    </a:cubicBezTo>
                    <a:cubicBezTo>
                      <a:pt x="972" y="199"/>
                      <a:pt x="973" y="201"/>
                      <a:pt x="973" y="202"/>
                    </a:cubicBezTo>
                    <a:cubicBezTo>
                      <a:pt x="973" y="202"/>
                      <a:pt x="970" y="203"/>
                      <a:pt x="970" y="203"/>
                    </a:cubicBezTo>
                    <a:cubicBezTo>
                      <a:pt x="970" y="211"/>
                      <a:pt x="969" y="211"/>
                      <a:pt x="966" y="215"/>
                    </a:cubicBezTo>
                    <a:cubicBezTo>
                      <a:pt x="966" y="216"/>
                      <a:pt x="965" y="218"/>
                      <a:pt x="965" y="219"/>
                    </a:cubicBezTo>
                    <a:cubicBezTo>
                      <a:pt x="964" y="219"/>
                      <a:pt x="963" y="219"/>
                      <a:pt x="962" y="219"/>
                    </a:cubicBezTo>
                    <a:cubicBezTo>
                      <a:pt x="962" y="218"/>
                      <a:pt x="961" y="218"/>
                      <a:pt x="961" y="218"/>
                    </a:cubicBezTo>
                    <a:cubicBezTo>
                      <a:pt x="962" y="215"/>
                      <a:pt x="962" y="214"/>
                      <a:pt x="963" y="211"/>
                    </a:cubicBezTo>
                    <a:cubicBezTo>
                      <a:pt x="962" y="211"/>
                      <a:pt x="961" y="211"/>
                      <a:pt x="961" y="211"/>
                    </a:cubicBezTo>
                    <a:cubicBezTo>
                      <a:pt x="961" y="213"/>
                      <a:pt x="961" y="213"/>
                      <a:pt x="961" y="213"/>
                    </a:cubicBezTo>
                    <a:cubicBezTo>
                      <a:pt x="958" y="213"/>
                      <a:pt x="955" y="209"/>
                      <a:pt x="954" y="208"/>
                    </a:cubicBezTo>
                    <a:cubicBezTo>
                      <a:pt x="951" y="209"/>
                      <a:pt x="950" y="208"/>
                      <a:pt x="948" y="209"/>
                    </a:cubicBezTo>
                    <a:cubicBezTo>
                      <a:pt x="946" y="207"/>
                      <a:pt x="945" y="206"/>
                      <a:pt x="944" y="203"/>
                    </a:cubicBezTo>
                    <a:cubicBezTo>
                      <a:pt x="943" y="204"/>
                      <a:pt x="942" y="204"/>
                      <a:pt x="940" y="205"/>
                    </a:cubicBezTo>
                    <a:cubicBezTo>
                      <a:pt x="940" y="204"/>
                      <a:pt x="941" y="203"/>
                      <a:pt x="940" y="203"/>
                    </a:cubicBezTo>
                    <a:cubicBezTo>
                      <a:pt x="940" y="203"/>
                      <a:pt x="940" y="201"/>
                      <a:pt x="941" y="201"/>
                    </a:cubicBezTo>
                    <a:cubicBezTo>
                      <a:pt x="945" y="198"/>
                      <a:pt x="946" y="202"/>
                      <a:pt x="943" y="196"/>
                    </a:cubicBezTo>
                    <a:cubicBezTo>
                      <a:pt x="942" y="196"/>
                      <a:pt x="942" y="196"/>
                      <a:pt x="942" y="196"/>
                    </a:cubicBezTo>
                    <a:cubicBezTo>
                      <a:pt x="941" y="197"/>
                      <a:pt x="942" y="198"/>
                      <a:pt x="942" y="198"/>
                    </a:cubicBezTo>
                    <a:cubicBezTo>
                      <a:pt x="942" y="198"/>
                      <a:pt x="942" y="199"/>
                      <a:pt x="942" y="199"/>
                    </a:cubicBezTo>
                    <a:cubicBezTo>
                      <a:pt x="941" y="199"/>
                      <a:pt x="939" y="199"/>
                      <a:pt x="938" y="199"/>
                    </a:cubicBezTo>
                    <a:cubicBezTo>
                      <a:pt x="936" y="194"/>
                      <a:pt x="932" y="192"/>
                      <a:pt x="928" y="189"/>
                    </a:cubicBezTo>
                    <a:cubicBezTo>
                      <a:pt x="927" y="189"/>
                      <a:pt x="926" y="189"/>
                      <a:pt x="925" y="189"/>
                    </a:cubicBezTo>
                    <a:cubicBezTo>
                      <a:pt x="922" y="192"/>
                      <a:pt x="926" y="196"/>
                      <a:pt x="926" y="197"/>
                    </a:cubicBezTo>
                    <a:cubicBezTo>
                      <a:pt x="926" y="197"/>
                      <a:pt x="926" y="199"/>
                      <a:pt x="926" y="198"/>
                    </a:cubicBezTo>
                    <a:cubicBezTo>
                      <a:pt x="925" y="198"/>
                      <a:pt x="926" y="200"/>
                      <a:pt x="925" y="199"/>
                    </a:cubicBezTo>
                    <a:cubicBezTo>
                      <a:pt x="923" y="197"/>
                      <a:pt x="923" y="192"/>
                      <a:pt x="920" y="190"/>
                    </a:cubicBezTo>
                    <a:cubicBezTo>
                      <a:pt x="919" y="190"/>
                      <a:pt x="918" y="190"/>
                      <a:pt x="917" y="190"/>
                    </a:cubicBezTo>
                    <a:cubicBezTo>
                      <a:pt x="916" y="190"/>
                      <a:pt x="909" y="187"/>
                      <a:pt x="912" y="187"/>
                    </a:cubicBezTo>
                    <a:cubicBezTo>
                      <a:pt x="914" y="188"/>
                      <a:pt x="915" y="188"/>
                      <a:pt x="918" y="188"/>
                    </a:cubicBezTo>
                    <a:cubicBezTo>
                      <a:pt x="917" y="186"/>
                      <a:pt x="917" y="185"/>
                      <a:pt x="916" y="183"/>
                    </a:cubicBezTo>
                    <a:cubicBezTo>
                      <a:pt x="915" y="184"/>
                      <a:pt x="914" y="184"/>
                      <a:pt x="912" y="184"/>
                    </a:cubicBezTo>
                    <a:cubicBezTo>
                      <a:pt x="911" y="187"/>
                      <a:pt x="911" y="187"/>
                      <a:pt x="911" y="187"/>
                    </a:cubicBezTo>
                    <a:cubicBezTo>
                      <a:pt x="910" y="187"/>
                      <a:pt x="910" y="187"/>
                      <a:pt x="910" y="187"/>
                    </a:cubicBezTo>
                    <a:cubicBezTo>
                      <a:pt x="909" y="187"/>
                      <a:pt x="908" y="185"/>
                      <a:pt x="907" y="185"/>
                    </a:cubicBezTo>
                    <a:cubicBezTo>
                      <a:pt x="905" y="184"/>
                      <a:pt x="904" y="185"/>
                      <a:pt x="904" y="185"/>
                    </a:cubicBezTo>
                    <a:cubicBezTo>
                      <a:pt x="904" y="185"/>
                      <a:pt x="905" y="185"/>
                      <a:pt x="906" y="184"/>
                    </a:cubicBezTo>
                    <a:cubicBezTo>
                      <a:pt x="906" y="184"/>
                      <a:pt x="907" y="183"/>
                      <a:pt x="908" y="182"/>
                    </a:cubicBezTo>
                    <a:cubicBezTo>
                      <a:pt x="908" y="182"/>
                      <a:pt x="906" y="180"/>
                      <a:pt x="906" y="180"/>
                    </a:cubicBezTo>
                    <a:cubicBezTo>
                      <a:pt x="906" y="180"/>
                      <a:pt x="903" y="181"/>
                      <a:pt x="904" y="181"/>
                    </a:cubicBezTo>
                    <a:cubicBezTo>
                      <a:pt x="898" y="182"/>
                      <a:pt x="904" y="180"/>
                      <a:pt x="904" y="179"/>
                    </a:cubicBezTo>
                    <a:cubicBezTo>
                      <a:pt x="906" y="178"/>
                      <a:pt x="905" y="178"/>
                      <a:pt x="905" y="176"/>
                    </a:cubicBezTo>
                    <a:cubicBezTo>
                      <a:pt x="906" y="176"/>
                      <a:pt x="907" y="176"/>
                      <a:pt x="908" y="176"/>
                    </a:cubicBezTo>
                    <a:cubicBezTo>
                      <a:pt x="909" y="176"/>
                      <a:pt x="911" y="174"/>
                      <a:pt x="911" y="174"/>
                    </a:cubicBezTo>
                    <a:cubicBezTo>
                      <a:pt x="912" y="174"/>
                      <a:pt x="913" y="174"/>
                      <a:pt x="914" y="174"/>
                    </a:cubicBezTo>
                    <a:cubicBezTo>
                      <a:pt x="916" y="173"/>
                      <a:pt x="917" y="170"/>
                      <a:pt x="919" y="169"/>
                    </a:cubicBezTo>
                    <a:cubicBezTo>
                      <a:pt x="920" y="169"/>
                      <a:pt x="920" y="169"/>
                      <a:pt x="920" y="169"/>
                    </a:cubicBezTo>
                    <a:cubicBezTo>
                      <a:pt x="920" y="168"/>
                      <a:pt x="919" y="166"/>
                      <a:pt x="920" y="165"/>
                    </a:cubicBezTo>
                    <a:cubicBezTo>
                      <a:pt x="918" y="165"/>
                      <a:pt x="916" y="166"/>
                      <a:pt x="914" y="165"/>
                    </a:cubicBezTo>
                    <a:cubicBezTo>
                      <a:pt x="913" y="165"/>
                      <a:pt x="912" y="162"/>
                      <a:pt x="911" y="161"/>
                    </a:cubicBezTo>
                    <a:cubicBezTo>
                      <a:pt x="910" y="161"/>
                      <a:pt x="909" y="162"/>
                      <a:pt x="908" y="161"/>
                    </a:cubicBezTo>
                    <a:cubicBezTo>
                      <a:pt x="907" y="161"/>
                      <a:pt x="907" y="160"/>
                      <a:pt x="907" y="159"/>
                    </a:cubicBezTo>
                    <a:cubicBezTo>
                      <a:pt x="905" y="158"/>
                      <a:pt x="900" y="158"/>
                      <a:pt x="898" y="159"/>
                    </a:cubicBezTo>
                    <a:cubicBezTo>
                      <a:pt x="889" y="161"/>
                      <a:pt x="888" y="162"/>
                      <a:pt x="889" y="169"/>
                    </a:cubicBezTo>
                    <a:cubicBezTo>
                      <a:pt x="891" y="170"/>
                      <a:pt x="891" y="169"/>
                      <a:pt x="892" y="170"/>
                    </a:cubicBezTo>
                    <a:cubicBezTo>
                      <a:pt x="892" y="170"/>
                      <a:pt x="892" y="173"/>
                      <a:pt x="892" y="173"/>
                    </a:cubicBezTo>
                    <a:cubicBezTo>
                      <a:pt x="894" y="174"/>
                      <a:pt x="897" y="172"/>
                      <a:pt x="899" y="173"/>
                    </a:cubicBezTo>
                    <a:cubicBezTo>
                      <a:pt x="899" y="173"/>
                      <a:pt x="901" y="175"/>
                      <a:pt x="902" y="175"/>
                    </a:cubicBezTo>
                    <a:cubicBezTo>
                      <a:pt x="904" y="176"/>
                      <a:pt x="901" y="176"/>
                      <a:pt x="900" y="177"/>
                    </a:cubicBezTo>
                    <a:cubicBezTo>
                      <a:pt x="900" y="177"/>
                      <a:pt x="900" y="180"/>
                      <a:pt x="901" y="179"/>
                    </a:cubicBezTo>
                    <a:cubicBezTo>
                      <a:pt x="896" y="180"/>
                      <a:pt x="896" y="180"/>
                      <a:pt x="896" y="180"/>
                    </a:cubicBezTo>
                    <a:cubicBezTo>
                      <a:pt x="895" y="181"/>
                      <a:pt x="895" y="182"/>
                      <a:pt x="896" y="183"/>
                    </a:cubicBezTo>
                    <a:cubicBezTo>
                      <a:pt x="892" y="183"/>
                      <a:pt x="889" y="183"/>
                      <a:pt x="886" y="182"/>
                    </a:cubicBezTo>
                    <a:cubicBezTo>
                      <a:pt x="885" y="182"/>
                      <a:pt x="884" y="179"/>
                      <a:pt x="882" y="179"/>
                    </a:cubicBezTo>
                    <a:cubicBezTo>
                      <a:pt x="881" y="178"/>
                      <a:pt x="881" y="180"/>
                      <a:pt x="880" y="179"/>
                    </a:cubicBezTo>
                    <a:cubicBezTo>
                      <a:pt x="879" y="179"/>
                      <a:pt x="876" y="177"/>
                      <a:pt x="875" y="177"/>
                    </a:cubicBezTo>
                    <a:cubicBezTo>
                      <a:pt x="874" y="177"/>
                      <a:pt x="873" y="178"/>
                      <a:pt x="873" y="178"/>
                    </a:cubicBezTo>
                    <a:cubicBezTo>
                      <a:pt x="870" y="179"/>
                      <a:pt x="868" y="176"/>
                      <a:pt x="865" y="177"/>
                    </a:cubicBezTo>
                    <a:cubicBezTo>
                      <a:pt x="865" y="177"/>
                      <a:pt x="865" y="179"/>
                      <a:pt x="865" y="179"/>
                    </a:cubicBezTo>
                    <a:cubicBezTo>
                      <a:pt x="865" y="179"/>
                      <a:pt x="864" y="179"/>
                      <a:pt x="863" y="179"/>
                    </a:cubicBezTo>
                    <a:cubicBezTo>
                      <a:pt x="862" y="178"/>
                      <a:pt x="861" y="176"/>
                      <a:pt x="860" y="175"/>
                    </a:cubicBezTo>
                    <a:cubicBezTo>
                      <a:pt x="859" y="175"/>
                      <a:pt x="858" y="176"/>
                      <a:pt x="857" y="175"/>
                    </a:cubicBezTo>
                    <a:cubicBezTo>
                      <a:pt x="856" y="174"/>
                      <a:pt x="856" y="174"/>
                      <a:pt x="856" y="174"/>
                    </a:cubicBezTo>
                    <a:cubicBezTo>
                      <a:pt x="855" y="173"/>
                      <a:pt x="854" y="174"/>
                      <a:pt x="852" y="173"/>
                    </a:cubicBezTo>
                    <a:cubicBezTo>
                      <a:pt x="851" y="173"/>
                      <a:pt x="850" y="172"/>
                      <a:pt x="848" y="171"/>
                    </a:cubicBezTo>
                    <a:cubicBezTo>
                      <a:pt x="849" y="170"/>
                      <a:pt x="848" y="170"/>
                      <a:pt x="848" y="169"/>
                    </a:cubicBezTo>
                    <a:cubicBezTo>
                      <a:pt x="850" y="169"/>
                      <a:pt x="850" y="169"/>
                      <a:pt x="850" y="169"/>
                    </a:cubicBezTo>
                    <a:cubicBezTo>
                      <a:pt x="850" y="166"/>
                      <a:pt x="850" y="164"/>
                      <a:pt x="850" y="162"/>
                    </a:cubicBezTo>
                    <a:cubicBezTo>
                      <a:pt x="847" y="162"/>
                      <a:pt x="844" y="161"/>
                      <a:pt x="839" y="161"/>
                    </a:cubicBezTo>
                    <a:cubicBezTo>
                      <a:pt x="839" y="162"/>
                      <a:pt x="837" y="162"/>
                      <a:pt x="835" y="162"/>
                    </a:cubicBezTo>
                    <a:cubicBezTo>
                      <a:pt x="834" y="160"/>
                      <a:pt x="834" y="160"/>
                      <a:pt x="834" y="160"/>
                    </a:cubicBezTo>
                    <a:cubicBezTo>
                      <a:pt x="833" y="160"/>
                      <a:pt x="831" y="161"/>
                      <a:pt x="829" y="161"/>
                    </a:cubicBezTo>
                    <a:cubicBezTo>
                      <a:pt x="827" y="161"/>
                      <a:pt x="824" y="158"/>
                      <a:pt x="821" y="158"/>
                    </a:cubicBezTo>
                    <a:cubicBezTo>
                      <a:pt x="820" y="158"/>
                      <a:pt x="819" y="160"/>
                      <a:pt x="819" y="161"/>
                    </a:cubicBezTo>
                    <a:cubicBezTo>
                      <a:pt x="814" y="164"/>
                      <a:pt x="810" y="165"/>
                      <a:pt x="807" y="170"/>
                    </a:cubicBezTo>
                    <a:cubicBezTo>
                      <a:pt x="807" y="171"/>
                      <a:pt x="807" y="172"/>
                      <a:pt x="807" y="173"/>
                    </a:cubicBezTo>
                    <a:cubicBezTo>
                      <a:pt x="807" y="172"/>
                      <a:pt x="806" y="172"/>
                      <a:pt x="805" y="172"/>
                    </a:cubicBezTo>
                    <a:cubicBezTo>
                      <a:pt x="805" y="172"/>
                      <a:pt x="806" y="170"/>
                      <a:pt x="805" y="169"/>
                    </a:cubicBezTo>
                    <a:cubicBezTo>
                      <a:pt x="805" y="168"/>
                      <a:pt x="807" y="167"/>
                      <a:pt x="807" y="164"/>
                    </a:cubicBezTo>
                    <a:cubicBezTo>
                      <a:pt x="807" y="164"/>
                      <a:pt x="805" y="162"/>
                      <a:pt x="805" y="162"/>
                    </a:cubicBezTo>
                    <a:cubicBezTo>
                      <a:pt x="805" y="162"/>
                      <a:pt x="802" y="161"/>
                      <a:pt x="803" y="161"/>
                    </a:cubicBezTo>
                    <a:cubicBezTo>
                      <a:pt x="803" y="163"/>
                      <a:pt x="803" y="165"/>
                      <a:pt x="803" y="166"/>
                    </a:cubicBezTo>
                    <a:cubicBezTo>
                      <a:pt x="790" y="166"/>
                      <a:pt x="793" y="168"/>
                      <a:pt x="789" y="159"/>
                    </a:cubicBezTo>
                    <a:cubicBezTo>
                      <a:pt x="787" y="159"/>
                      <a:pt x="787" y="159"/>
                      <a:pt x="787" y="159"/>
                    </a:cubicBezTo>
                    <a:cubicBezTo>
                      <a:pt x="787" y="160"/>
                      <a:pt x="787" y="160"/>
                      <a:pt x="787" y="161"/>
                    </a:cubicBezTo>
                    <a:cubicBezTo>
                      <a:pt x="785" y="161"/>
                      <a:pt x="787" y="162"/>
                      <a:pt x="785" y="162"/>
                    </a:cubicBezTo>
                    <a:cubicBezTo>
                      <a:pt x="783" y="162"/>
                      <a:pt x="784" y="158"/>
                      <a:pt x="780" y="161"/>
                    </a:cubicBezTo>
                    <a:cubicBezTo>
                      <a:pt x="780" y="161"/>
                      <a:pt x="779" y="163"/>
                      <a:pt x="779" y="163"/>
                    </a:cubicBezTo>
                    <a:cubicBezTo>
                      <a:pt x="779" y="164"/>
                      <a:pt x="778" y="164"/>
                      <a:pt x="777" y="165"/>
                    </a:cubicBezTo>
                    <a:cubicBezTo>
                      <a:pt x="777" y="166"/>
                      <a:pt x="777" y="166"/>
                      <a:pt x="777" y="166"/>
                    </a:cubicBezTo>
                    <a:cubicBezTo>
                      <a:pt x="776" y="165"/>
                      <a:pt x="776" y="168"/>
                      <a:pt x="776" y="168"/>
                    </a:cubicBezTo>
                    <a:cubicBezTo>
                      <a:pt x="776" y="168"/>
                      <a:pt x="777" y="170"/>
                      <a:pt x="777" y="170"/>
                    </a:cubicBezTo>
                    <a:cubicBezTo>
                      <a:pt x="778" y="170"/>
                      <a:pt x="781" y="171"/>
                      <a:pt x="781" y="171"/>
                    </a:cubicBezTo>
                    <a:cubicBezTo>
                      <a:pt x="781" y="171"/>
                      <a:pt x="780" y="173"/>
                      <a:pt x="779" y="173"/>
                    </a:cubicBezTo>
                    <a:cubicBezTo>
                      <a:pt x="776" y="174"/>
                      <a:pt x="775" y="172"/>
                      <a:pt x="773" y="171"/>
                    </a:cubicBezTo>
                    <a:cubicBezTo>
                      <a:pt x="773" y="172"/>
                      <a:pt x="774" y="172"/>
                      <a:pt x="774" y="173"/>
                    </a:cubicBezTo>
                    <a:cubicBezTo>
                      <a:pt x="773" y="174"/>
                      <a:pt x="772" y="176"/>
                      <a:pt x="771" y="176"/>
                    </a:cubicBezTo>
                    <a:cubicBezTo>
                      <a:pt x="769" y="177"/>
                      <a:pt x="767" y="176"/>
                      <a:pt x="765" y="177"/>
                    </a:cubicBezTo>
                    <a:cubicBezTo>
                      <a:pt x="764" y="178"/>
                      <a:pt x="766" y="179"/>
                      <a:pt x="764" y="179"/>
                    </a:cubicBezTo>
                    <a:cubicBezTo>
                      <a:pt x="761" y="179"/>
                      <a:pt x="758" y="176"/>
                      <a:pt x="753" y="178"/>
                    </a:cubicBezTo>
                    <a:cubicBezTo>
                      <a:pt x="753" y="179"/>
                      <a:pt x="753" y="179"/>
                      <a:pt x="753" y="179"/>
                    </a:cubicBezTo>
                    <a:cubicBezTo>
                      <a:pt x="752" y="179"/>
                      <a:pt x="754" y="180"/>
                      <a:pt x="753" y="181"/>
                    </a:cubicBezTo>
                    <a:cubicBezTo>
                      <a:pt x="749" y="183"/>
                      <a:pt x="749" y="183"/>
                      <a:pt x="749" y="183"/>
                    </a:cubicBezTo>
                    <a:cubicBezTo>
                      <a:pt x="745" y="184"/>
                      <a:pt x="738" y="184"/>
                      <a:pt x="733" y="184"/>
                    </a:cubicBezTo>
                    <a:cubicBezTo>
                      <a:pt x="734" y="183"/>
                      <a:pt x="734" y="183"/>
                      <a:pt x="734" y="183"/>
                    </a:cubicBezTo>
                    <a:cubicBezTo>
                      <a:pt x="739" y="181"/>
                      <a:pt x="746" y="182"/>
                      <a:pt x="749" y="179"/>
                    </a:cubicBezTo>
                    <a:cubicBezTo>
                      <a:pt x="751" y="178"/>
                      <a:pt x="750" y="175"/>
                      <a:pt x="753" y="174"/>
                    </a:cubicBezTo>
                    <a:cubicBezTo>
                      <a:pt x="755" y="173"/>
                      <a:pt x="756" y="174"/>
                      <a:pt x="758" y="173"/>
                    </a:cubicBezTo>
                    <a:cubicBezTo>
                      <a:pt x="759" y="173"/>
                      <a:pt x="760" y="172"/>
                      <a:pt x="760" y="171"/>
                    </a:cubicBezTo>
                    <a:cubicBezTo>
                      <a:pt x="762" y="171"/>
                      <a:pt x="764" y="171"/>
                      <a:pt x="765" y="170"/>
                    </a:cubicBezTo>
                    <a:cubicBezTo>
                      <a:pt x="767" y="169"/>
                      <a:pt x="767" y="165"/>
                      <a:pt x="769" y="164"/>
                    </a:cubicBezTo>
                    <a:cubicBezTo>
                      <a:pt x="771" y="163"/>
                      <a:pt x="772" y="164"/>
                      <a:pt x="773" y="163"/>
                    </a:cubicBezTo>
                    <a:cubicBezTo>
                      <a:pt x="772" y="161"/>
                      <a:pt x="772" y="160"/>
                      <a:pt x="772" y="157"/>
                    </a:cubicBezTo>
                    <a:cubicBezTo>
                      <a:pt x="773" y="157"/>
                      <a:pt x="774" y="157"/>
                      <a:pt x="775" y="156"/>
                    </a:cubicBezTo>
                    <a:cubicBezTo>
                      <a:pt x="775" y="155"/>
                      <a:pt x="775" y="153"/>
                      <a:pt x="775" y="153"/>
                    </a:cubicBezTo>
                    <a:cubicBezTo>
                      <a:pt x="777" y="152"/>
                      <a:pt x="779" y="153"/>
                      <a:pt x="780" y="153"/>
                    </a:cubicBezTo>
                    <a:cubicBezTo>
                      <a:pt x="781" y="153"/>
                      <a:pt x="786" y="152"/>
                      <a:pt x="788" y="151"/>
                    </a:cubicBezTo>
                    <a:cubicBezTo>
                      <a:pt x="788" y="151"/>
                      <a:pt x="790" y="149"/>
                      <a:pt x="790" y="149"/>
                    </a:cubicBezTo>
                    <a:cubicBezTo>
                      <a:pt x="791" y="148"/>
                      <a:pt x="793" y="149"/>
                      <a:pt x="795" y="149"/>
                    </a:cubicBezTo>
                    <a:cubicBezTo>
                      <a:pt x="797" y="149"/>
                      <a:pt x="811" y="145"/>
                      <a:pt x="813" y="144"/>
                    </a:cubicBezTo>
                    <a:cubicBezTo>
                      <a:pt x="817" y="140"/>
                      <a:pt x="809" y="134"/>
                      <a:pt x="807" y="134"/>
                    </a:cubicBezTo>
                    <a:cubicBezTo>
                      <a:pt x="807" y="133"/>
                      <a:pt x="807" y="131"/>
                      <a:pt x="808" y="131"/>
                    </a:cubicBezTo>
                    <a:cubicBezTo>
                      <a:pt x="808" y="131"/>
                      <a:pt x="809" y="132"/>
                      <a:pt x="809" y="132"/>
                    </a:cubicBezTo>
                    <a:cubicBezTo>
                      <a:pt x="810" y="133"/>
                      <a:pt x="811" y="132"/>
                      <a:pt x="813" y="133"/>
                    </a:cubicBezTo>
                    <a:cubicBezTo>
                      <a:pt x="813" y="130"/>
                      <a:pt x="815" y="127"/>
                      <a:pt x="813" y="124"/>
                    </a:cubicBezTo>
                    <a:cubicBezTo>
                      <a:pt x="812" y="124"/>
                      <a:pt x="810" y="124"/>
                      <a:pt x="810" y="124"/>
                    </a:cubicBezTo>
                    <a:cubicBezTo>
                      <a:pt x="809" y="122"/>
                      <a:pt x="808" y="120"/>
                      <a:pt x="808" y="117"/>
                    </a:cubicBezTo>
                    <a:cubicBezTo>
                      <a:pt x="805" y="116"/>
                      <a:pt x="799" y="116"/>
                      <a:pt x="798" y="114"/>
                    </a:cubicBezTo>
                    <a:cubicBezTo>
                      <a:pt x="796" y="111"/>
                      <a:pt x="798" y="108"/>
                      <a:pt x="795" y="106"/>
                    </a:cubicBezTo>
                    <a:cubicBezTo>
                      <a:pt x="794" y="106"/>
                      <a:pt x="794" y="106"/>
                      <a:pt x="794" y="106"/>
                    </a:cubicBezTo>
                    <a:cubicBezTo>
                      <a:pt x="793" y="106"/>
                      <a:pt x="792" y="107"/>
                      <a:pt x="792" y="107"/>
                    </a:cubicBezTo>
                    <a:cubicBezTo>
                      <a:pt x="790" y="107"/>
                      <a:pt x="789" y="107"/>
                      <a:pt x="787" y="107"/>
                    </a:cubicBezTo>
                    <a:cubicBezTo>
                      <a:pt x="787" y="107"/>
                      <a:pt x="785" y="109"/>
                      <a:pt x="785" y="109"/>
                    </a:cubicBezTo>
                    <a:cubicBezTo>
                      <a:pt x="783" y="109"/>
                      <a:pt x="783" y="107"/>
                      <a:pt x="782" y="107"/>
                    </a:cubicBezTo>
                    <a:cubicBezTo>
                      <a:pt x="780" y="106"/>
                      <a:pt x="768" y="109"/>
                      <a:pt x="767" y="110"/>
                    </a:cubicBezTo>
                    <a:cubicBezTo>
                      <a:pt x="766" y="110"/>
                      <a:pt x="765" y="112"/>
                      <a:pt x="765" y="113"/>
                    </a:cubicBezTo>
                    <a:cubicBezTo>
                      <a:pt x="763" y="115"/>
                      <a:pt x="759" y="116"/>
                      <a:pt x="756" y="116"/>
                    </a:cubicBezTo>
                    <a:cubicBezTo>
                      <a:pt x="757" y="113"/>
                      <a:pt x="758" y="110"/>
                      <a:pt x="759" y="107"/>
                    </a:cubicBezTo>
                    <a:cubicBezTo>
                      <a:pt x="758" y="107"/>
                      <a:pt x="755" y="107"/>
                      <a:pt x="753" y="106"/>
                    </a:cubicBezTo>
                    <a:cubicBezTo>
                      <a:pt x="752" y="104"/>
                      <a:pt x="752" y="104"/>
                      <a:pt x="752" y="104"/>
                    </a:cubicBezTo>
                    <a:cubicBezTo>
                      <a:pt x="749" y="104"/>
                      <a:pt x="748" y="106"/>
                      <a:pt x="745" y="106"/>
                    </a:cubicBezTo>
                    <a:cubicBezTo>
                      <a:pt x="744" y="105"/>
                      <a:pt x="745" y="105"/>
                      <a:pt x="745" y="105"/>
                    </a:cubicBezTo>
                    <a:cubicBezTo>
                      <a:pt x="747" y="102"/>
                      <a:pt x="742" y="104"/>
                      <a:pt x="741" y="104"/>
                    </a:cubicBezTo>
                    <a:cubicBezTo>
                      <a:pt x="741" y="103"/>
                      <a:pt x="743" y="100"/>
                      <a:pt x="744" y="100"/>
                    </a:cubicBezTo>
                    <a:cubicBezTo>
                      <a:pt x="745" y="99"/>
                      <a:pt x="746" y="100"/>
                      <a:pt x="746" y="100"/>
                    </a:cubicBezTo>
                    <a:cubicBezTo>
                      <a:pt x="745" y="99"/>
                      <a:pt x="746" y="97"/>
                      <a:pt x="745" y="96"/>
                    </a:cubicBezTo>
                    <a:cubicBezTo>
                      <a:pt x="743" y="96"/>
                      <a:pt x="741" y="97"/>
                      <a:pt x="740" y="96"/>
                    </a:cubicBezTo>
                    <a:cubicBezTo>
                      <a:pt x="739" y="96"/>
                      <a:pt x="740" y="94"/>
                      <a:pt x="739" y="93"/>
                    </a:cubicBezTo>
                    <a:cubicBezTo>
                      <a:pt x="738" y="93"/>
                      <a:pt x="737" y="94"/>
                      <a:pt x="734" y="94"/>
                    </a:cubicBezTo>
                    <a:cubicBezTo>
                      <a:pt x="734" y="94"/>
                      <a:pt x="732" y="92"/>
                      <a:pt x="730" y="92"/>
                    </a:cubicBezTo>
                    <a:cubicBezTo>
                      <a:pt x="729" y="93"/>
                      <a:pt x="728" y="96"/>
                      <a:pt x="726" y="96"/>
                    </a:cubicBezTo>
                    <a:cubicBezTo>
                      <a:pt x="723" y="96"/>
                      <a:pt x="723" y="94"/>
                      <a:pt x="719" y="94"/>
                    </a:cubicBezTo>
                    <a:cubicBezTo>
                      <a:pt x="718" y="96"/>
                      <a:pt x="718" y="96"/>
                      <a:pt x="718" y="96"/>
                    </a:cubicBezTo>
                    <a:cubicBezTo>
                      <a:pt x="716" y="97"/>
                      <a:pt x="715" y="96"/>
                      <a:pt x="713" y="97"/>
                    </a:cubicBezTo>
                    <a:cubicBezTo>
                      <a:pt x="711" y="98"/>
                      <a:pt x="713" y="99"/>
                      <a:pt x="712" y="101"/>
                    </a:cubicBezTo>
                    <a:cubicBezTo>
                      <a:pt x="711" y="101"/>
                      <a:pt x="705" y="105"/>
                      <a:pt x="704" y="106"/>
                    </a:cubicBezTo>
                    <a:cubicBezTo>
                      <a:pt x="704" y="106"/>
                      <a:pt x="704" y="106"/>
                      <a:pt x="704" y="106"/>
                    </a:cubicBezTo>
                    <a:cubicBezTo>
                      <a:pt x="703" y="107"/>
                      <a:pt x="704" y="109"/>
                      <a:pt x="704" y="110"/>
                    </a:cubicBezTo>
                    <a:cubicBezTo>
                      <a:pt x="706" y="112"/>
                      <a:pt x="707" y="113"/>
                      <a:pt x="709" y="116"/>
                    </a:cubicBezTo>
                    <a:cubicBezTo>
                      <a:pt x="708" y="115"/>
                      <a:pt x="707" y="116"/>
                      <a:pt x="706" y="116"/>
                    </a:cubicBezTo>
                    <a:cubicBezTo>
                      <a:pt x="705" y="115"/>
                      <a:pt x="703" y="113"/>
                      <a:pt x="703" y="113"/>
                    </a:cubicBezTo>
                    <a:cubicBezTo>
                      <a:pt x="701" y="113"/>
                      <a:pt x="700" y="114"/>
                      <a:pt x="700" y="114"/>
                    </a:cubicBezTo>
                    <a:cubicBezTo>
                      <a:pt x="696" y="115"/>
                      <a:pt x="691" y="114"/>
                      <a:pt x="687" y="114"/>
                    </a:cubicBezTo>
                    <a:cubicBezTo>
                      <a:pt x="687" y="114"/>
                      <a:pt x="687" y="116"/>
                      <a:pt x="688" y="116"/>
                    </a:cubicBezTo>
                    <a:cubicBezTo>
                      <a:pt x="689" y="117"/>
                      <a:pt x="689" y="116"/>
                      <a:pt x="690" y="117"/>
                    </a:cubicBezTo>
                    <a:cubicBezTo>
                      <a:pt x="692" y="118"/>
                      <a:pt x="692" y="122"/>
                      <a:pt x="693" y="125"/>
                    </a:cubicBezTo>
                    <a:cubicBezTo>
                      <a:pt x="693" y="125"/>
                      <a:pt x="691" y="125"/>
                      <a:pt x="691" y="126"/>
                    </a:cubicBezTo>
                    <a:cubicBezTo>
                      <a:pt x="690" y="128"/>
                      <a:pt x="690" y="128"/>
                      <a:pt x="690" y="128"/>
                    </a:cubicBezTo>
                    <a:cubicBezTo>
                      <a:pt x="688" y="128"/>
                      <a:pt x="692" y="121"/>
                      <a:pt x="690" y="120"/>
                    </a:cubicBezTo>
                    <a:cubicBezTo>
                      <a:pt x="685" y="116"/>
                      <a:pt x="684" y="119"/>
                      <a:pt x="681" y="122"/>
                    </a:cubicBezTo>
                    <a:cubicBezTo>
                      <a:pt x="680" y="123"/>
                      <a:pt x="678" y="124"/>
                      <a:pt x="677" y="125"/>
                    </a:cubicBezTo>
                    <a:cubicBezTo>
                      <a:pt x="677" y="125"/>
                      <a:pt x="676" y="124"/>
                      <a:pt x="674" y="124"/>
                    </a:cubicBezTo>
                    <a:cubicBezTo>
                      <a:pt x="674" y="124"/>
                      <a:pt x="673" y="126"/>
                      <a:pt x="673" y="127"/>
                    </a:cubicBezTo>
                    <a:cubicBezTo>
                      <a:pt x="672" y="127"/>
                      <a:pt x="672" y="127"/>
                      <a:pt x="672" y="127"/>
                    </a:cubicBezTo>
                    <a:cubicBezTo>
                      <a:pt x="671" y="126"/>
                      <a:pt x="672" y="125"/>
                      <a:pt x="672" y="124"/>
                    </a:cubicBezTo>
                    <a:cubicBezTo>
                      <a:pt x="670" y="124"/>
                      <a:pt x="670" y="124"/>
                      <a:pt x="670" y="124"/>
                    </a:cubicBezTo>
                    <a:cubicBezTo>
                      <a:pt x="669" y="124"/>
                      <a:pt x="670" y="126"/>
                      <a:pt x="669" y="126"/>
                    </a:cubicBezTo>
                    <a:cubicBezTo>
                      <a:pt x="667" y="127"/>
                      <a:pt x="665" y="127"/>
                      <a:pt x="664" y="128"/>
                    </a:cubicBezTo>
                    <a:cubicBezTo>
                      <a:pt x="664" y="126"/>
                      <a:pt x="664" y="126"/>
                      <a:pt x="664" y="126"/>
                    </a:cubicBezTo>
                    <a:cubicBezTo>
                      <a:pt x="666" y="125"/>
                      <a:pt x="667" y="124"/>
                      <a:pt x="668" y="122"/>
                    </a:cubicBezTo>
                    <a:cubicBezTo>
                      <a:pt x="670" y="123"/>
                      <a:pt x="669" y="120"/>
                      <a:pt x="667" y="119"/>
                    </a:cubicBezTo>
                    <a:cubicBezTo>
                      <a:pt x="664" y="117"/>
                      <a:pt x="663" y="120"/>
                      <a:pt x="660" y="120"/>
                    </a:cubicBezTo>
                    <a:cubicBezTo>
                      <a:pt x="659" y="120"/>
                      <a:pt x="658" y="118"/>
                      <a:pt x="656" y="118"/>
                    </a:cubicBezTo>
                    <a:cubicBezTo>
                      <a:pt x="655" y="120"/>
                      <a:pt x="655" y="120"/>
                      <a:pt x="655" y="120"/>
                    </a:cubicBezTo>
                    <a:cubicBezTo>
                      <a:pt x="653" y="120"/>
                      <a:pt x="653" y="119"/>
                      <a:pt x="652" y="118"/>
                    </a:cubicBezTo>
                    <a:cubicBezTo>
                      <a:pt x="651" y="118"/>
                      <a:pt x="647" y="118"/>
                      <a:pt x="648" y="118"/>
                    </a:cubicBezTo>
                    <a:cubicBezTo>
                      <a:pt x="646" y="118"/>
                      <a:pt x="646" y="118"/>
                      <a:pt x="646" y="118"/>
                    </a:cubicBezTo>
                    <a:cubicBezTo>
                      <a:pt x="646" y="118"/>
                      <a:pt x="647" y="119"/>
                      <a:pt x="645" y="120"/>
                    </a:cubicBezTo>
                    <a:cubicBezTo>
                      <a:pt x="644" y="120"/>
                      <a:pt x="643" y="118"/>
                      <a:pt x="642" y="118"/>
                    </a:cubicBezTo>
                    <a:cubicBezTo>
                      <a:pt x="636" y="118"/>
                      <a:pt x="643" y="122"/>
                      <a:pt x="638" y="123"/>
                    </a:cubicBezTo>
                    <a:cubicBezTo>
                      <a:pt x="635" y="123"/>
                      <a:pt x="633" y="122"/>
                      <a:pt x="630" y="123"/>
                    </a:cubicBezTo>
                    <a:cubicBezTo>
                      <a:pt x="629" y="123"/>
                      <a:pt x="626" y="125"/>
                      <a:pt x="626" y="125"/>
                    </a:cubicBezTo>
                    <a:cubicBezTo>
                      <a:pt x="623" y="126"/>
                      <a:pt x="622" y="124"/>
                      <a:pt x="619" y="125"/>
                    </a:cubicBezTo>
                    <a:cubicBezTo>
                      <a:pt x="619" y="125"/>
                      <a:pt x="615" y="127"/>
                      <a:pt x="615" y="127"/>
                    </a:cubicBezTo>
                    <a:cubicBezTo>
                      <a:pt x="613" y="127"/>
                      <a:pt x="613" y="125"/>
                      <a:pt x="611" y="126"/>
                    </a:cubicBezTo>
                    <a:cubicBezTo>
                      <a:pt x="608" y="126"/>
                      <a:pt x="607" y="128"/>
                      <a:pt x="605" y="129"/>
                    </a:cubicBezTo>
                    <a:cubicBezTo>
                      <a:pt x="604" y="130"/>
                      <a:pt x="603" y="129"/>
                      <a:pt x="602" y="130"/>
                    </a:cubicBezTo>
                    <a:cubicBezTo>
                      <a:pt x="601" y="131"/>
                      <a:pt x="601" y="131"/>
                      <a:pt x="601" y="131"/>
                    </a:cubicBezTo>
                    <a:cubicBezTo>
                      <a:pt x="600" y="131"/>
                      <a:pt x="598" y="131"/>
                      <a:pt x="597" y="131"/>
                    </a:cubicBezTo>
                    <a:cubicBezTo>
                      <a:pt x="595" y="132"/>
                      <a:pt x="595" y="132"/>
                      <a:pt x="595" y="132"/>
                    </a:cubicBezTo>
                    <a:cubicBezTo>
                      <a:pt x="592" y="133"/>
                      <a:pt x="591" y="132"/>
                      <a:pt x="587" y="132"/>
                    </a:cubicBezTo>
                    <a:cubicBezTo>
                      <a:pt x="588" y="132"/>
                      <a:pt x="587" y="133"/>
                      <a:pt x="588" y="134"/>
                    </a:cubicBezTo>
                    <a:cubicBezTo>
                      <a:pt x="589" y="134"/>
                      <a:pt x="590" y="133"/>
                      <a:pt x="591" y="134"/>
                    </a:cubicBezTo>
                    <a:cubicBezTo>
                      <a:pt x="591" y="134"/>
                      <a:pt x="591" y="135"/>
                      <a:pt x="592" y="135"/>
                    </a:cubicBezTo>
                    <a:cubicBezTo>
                      <a:pt x="591" y="135"/>
                      <a:pt x="592" y="136"/>
                      <a:pt x="591" y="137"/>
                    </a:cubicBezTo>
                    <a:cubicBezTo>
                      <a:pt x="591" y="137"/>
                      <a:pt x="589" y="137"/>
                      <a:pt x="589" y="137"/>
                    </a:cubicBezTo>
                    <a:cubicBezTo>
                      <a:pt x="587" y="139"/>
                      <a:pt x="587" y="141"/>
                      <a:pt x="587" y="144"/>
                    </a:cubicBezTo>
                    <a:cubicBezTo>
                      <a:pt x="584" y="142"/>
                      <a:pt x="582" y="142"/>
                      <a:pt x="579" y="140"/>
                    </a:cubicBezTo>
                    <a:cubicBezTo>
                      <a:pt x="579" y="141"/>
                      <a:pt x="578" y="143"/>
                      <a:pt x="578" y="144"/>
                    </a:cubicBezTo>
                    <a:cubicBezTo>
                      <a:pt x="579" y="144"/>
                      <a:pt x="581" y="143"/>
                      <a:pt x="583" y="144"/>
                    </a:cubicBezTo>
                    <a:cubicBezTo>
                      <a:pt x="584" y="145"/>
                      <a:pt x="583" y="147"/>
                      <a:pt x="585" y="148"/>
                    </a:cubicBezTo>
                    <a:cubicBezTo>
                      <a:pt x="585" y="149"/>
                      <a:pt x="585" y="149"/>
                      <a:pt x="585" y="149"/>
                    </a:cubicBezTo>
                    <a:cubicBezTo>
                      <a:pt x="581" y="148"/>
                      <a:pt x="581" y="148"/>
                      <a:pt x="577" y="149"/>
                    </a:cubicBezTo>
                    <a:cubicBezTo>
                      <a:pt x="577" y="149"/>
                      <a:pt x="577" y="151"/>
                      <a:pt x="577" y="151"/>
                    </a:cubicBezTo>
                    <a:cubicBezTo>
                      <a:pt x="579" y="152"/>
                      <a:pt x="581" y="152"/>
                      <a:pt x="582" y="154"/>
                    </a:cubicBezTo>
                    <a:cubicBezTo>
                      <a:pt x="583" y="154"/>
                      <a:pt x="589" y="164"/>
                      <a:pt x="586" y="165"/>
                    </a:cubicBezTo>
                    <a:cubicBezTo>
                      <a:pt x="585" y="166"/>
                      <a:pt x="578" y="165"/>
                      <a:pt x="581" y="163"/>
                    </a:cubicBezTo>
                    <a:cubicBezTo>
                      <a:pt x="585" y="162"/>
                      <a:pt x="581" y="159"/>
                      <a:pt x="579" y="158"/>
                    </a:cubicBezTo>
                    <a:cubicBezTo>
                      <a:pt x="576" y="158"/>
                      <a:pt x="574" y="160"/>
                      <a:pt x="571" y="160"/>
                    </a:cubicBezTo>
                    <a:cubicBezTo>
                      <a:pt x="570" y="160"/>
                      <a:pt x="569" y="159"/>
                      <a:pt x="568" y="159"/>
                    </a:cubicBezTo>
                    <a:cubicBezTo>
                      <a:pt x="567" y="161"/>
                      <a:pt x="567" y="161"/>
                      <a:pt x="567" y="161"/>
                    </a:cubicBezTo>
                    <a:cubicBezTo>
                      <a:pt x="564" y="162"/>
                      <a:pt x="564" y="159"/>
                      <a:pt x="562" y="159"/>
                    </a:cubicBezTo>
                    <a:cubicBezTo>
                      <a:pt x="558" y="158"/>
                      <a:pt x="555" y="161"/>
                      <a:pt x="553" y="161"/>
                    </a:cubicBezTo>
                    <a:cubicBezTo>
                      <a:pt x="551" y="161"/>
                      <a:pt x="550" y="160"/>
                      <a:pt x="547" y="160"/>
                    </a:cubicBezTo>
                    <a:cubicBezTo>
                      <a:pt x="545" y="161"/>
                      <a:pt x="545" y="161"/>
                      <a:pt x="545" y="161"/>
                    </a:cubicBezTo>
                    <a:cubicBezTo>
                      <a:pt x="543" y="162"/>
                      <a:pt x="541" y="161"/>
                      <a:pt x="539" y="161"/>
                    </a:cubicBezTo>
                    <a:cubicBezTo>
                      <a:pt x="537" y="163"/>
                      <a:pt x="537" y="163"/>
                      <a:pt x="537" y="163"/>
                    </a:cubicBezTo>
                    <a:cubicBezTo>
                      <a:pt x="536" y="163"/>
                      <a:pt x="535" y="162"/>
                      <a:pt x="534" y="163"/>
                    </a:cubicBezTo>
                    <a:cubicBezTo>
                      <a:pt x="534" y="163"/>
                      <a:pt x="531" y="167"/>
                      <a:pt x="531" y="167"/>
                    </a:cubicBezTo>
                    <a:cubicBezTo>
                      <a:pt x="531" y="169"/>
                      <a:pt x="532" y="169"/>
                      <a:pt x="532" y="171"/>
                    </a:cubicBezTo>
                    <a:cubicBezTo>
                      <a:pt x="532" y="172"/>
                      <a:pt x="530" y="175"/>
                      <a:pt x="530" y="176"/>
                    </a:cubicBezTo>
                    <a:cubicBezTo>
                      <a:pt x="529" y="184"/>
                      <a:pt x="532" y="186"/>
                      <a:pt x="537" y="188"/>
                    </a:cubicBezTo>
                    <a:cubicBezTo>
                      <a:pt x="538" y="189"/>
                      <a:pt x="538" y="189"/>
                      <a:pt x="538" y="189"/>
                    </a:cubicBezTo>
                    <a:cubicBezTo>
                      <a:pt x="540" y="190"/>
                      <a:pt x="542" y="189"/>
                      <a:pt x="544" y="189"/>
                    </a:cubicBezTo>
                    <a:cubicBezTo>
                      <a:pt x="545" y="190"/>
                      <a:pt x="546" y="193"/>
                      <a:pt x="547" y="193"/>
                    </a:cubicBezTo>
                    <a:cubicBezTo>
                      <a:pt x="548" y="194"/>
                      <a:pt x="552" y="195"/>
                      <a:pt x="553" y="196"/>
                    </a:cubicBezTo>
                    <a:cubicBezTo>
                      <a:pt x="553" y="198"/>
                      <a:pt x="554" y="199"/>
                      <a:pt x="554" y="201"/>
                    </a:cubicBezTo>
                    <a:cubicBezTo>
                      <a:pt x="554" y="201"/>
                      <a:pt x="551" y="205"/>
                      <a:pt x="551" y="206"/>
                    </a:cubicBezTo>
                    <a:cubicBezTo>
                      <a:pt x="550" y="209"/>
                      <a:pt x="553" y="212"/>
                      <a:pt x="553" y="215"/>
                    </a:cubicBezTo>
                    <a:cubicBezTo>
                      <a:pt x="554" y="216"/>
                      <a:pt x="553" y="218"/>
                      <a:pt x="553" y="219"/>
                    </a:cubicBezTo>
                    <a:cubicBezTo>
                      <a:pt x="552" y="220"/>
                      <a:pt x="550" y="220"/>
                      <a:pt x="547" y="221"/>
                    </a:cubicBezTo>
                    <a:cubicBezTo>
                      <a:pt x="548" y="225"/>
                      <a:pt x="548" y="225"/>
                      <a:pt x="548" y="225"/>
                    </a:cubicBezTo>
                    <a:cubicBezTo>
                      <a:pt x="550" y="225"/>
                      <a:pt x="556" y="230"/>
                      <a:pt x="557" y="230"/>
                    </a:cubicBezTo>
                    <a:cubicBezTo>
                      <a:pt x="559" y="230"/>
                      <a:pt x="561" y="227"/>
                      <a:pt x="563" y="227"/>
                    </a:cubicBezTo>
                    <a:cubicBezTo>
                      <a:pt x="563" y="227"/>
                      <a:pt x="564" y="226"/>
                      <a:pt x="565" y="227"/>
                    </a:cubicBezTo>
                    <a:cubicBezTo>
                      <a:pt x="565" y="227"/>
                      <a:pt x="565" y="229"/>
                      <a:pt x="566" y="229"/>
                    </a:cubicBezTo>
                    <a:cubicBezTo>
                      <a:pt x="567" y="230"/>
                      <a:pt x="567" y="229"/>
                      <a:pt x="569" y="230"/>
                    </a:cubicBezTo>
                    <a:cubicBezTo>
                      <a:pt x="571" y="231"/>
                      <a:pt x="572" y="234"/>
                      <a:pt x="572" y="237"/>
                    </a:cubicBezTo>
                    <a:cubicBezTo>
                      <a:pt x="571" y="236"/>
                      <a:pt x="569" y="237"/>
                      <a:pt x="569" y="236"/>
                    </a:cubicBezTo>
                    <a:cubicBezTo>
                      <a:pt x="568" y="236"/>
                      <a:pt x="568" y="232"/>
                      <a:pt x="568" y="232"/>
                    </a:cubicBezTo>
                    <a:cubicBezTo>
                      <a:pt x="567" y="232"/>
                      <a:pt x="566" y="232"/>
                      <a:pt x="565" y="231"/>
                    </a:cubicBezTo>
                    <a:cubicBezTo>
                      <a:pt x="565" y="231"/>
                      <a:pt x="565" y="230"/>
                      <a:pt x="565" y="230"/>
                    </a:cubicBezTo>
                    <a:cubicBezTo>
                      <a:pt x="561" y="229"/>
                      <a:pt x="561" y="232"/>
                      <a:pt x="560" y="232"/>
                    </a:cubicBezTo>
                    <a:cubicBezTo>
                      <a:pt x="558" y="232"/>
                      <a:pt x="549" y="231"/>
                      <a:pt x="547" y="230"/>
                    </a:cubicBezTo>
                    <a:cubicBezTo>
                      <a:pt x="547" y="230"/>
                      <a:pt x="548" y="227"/>
                      <a:pt x="547" y="227"/>
                    </a:cubicBezTo>
                    <a:cubicBezTo>
                      <a:pt x="544" y="225"/>
                      <a:pt x="544" y="225"/>
                      <a:pt x="544" y="225"/>
                    </a:cubicBezTo>
                    <a:cubicBezTo>
                      <a:pt x="544" y="224"/>
                      <a:pt x="544" y="223"/>
                      <a:pt x="543" y="223"/>
                    </a:cubicBezTo>
                    <a:cubicBezTo>
                      <a:pt x="543" y="223"/>
                      <a:pt x="542" y="222"/>
                      <a:pt x="542" y="222"/>
                    </a:cubicBezTo>
                    <a:cubicBezTo>
                      <a:pt x="541" y="223"/>
                      <a:pt x="540" y="224"/>
                      <a:pt x="539" y="225"/>
                    </a:cubicBezTo>
                    <a:cubicBezTo>
                      <a:pt x="538" y="226"/>
                      <a:pt x="537" y="226"/>
                      <a:pt x="535" y="227"/>
                    </a:cubicBezTo>
                    <a:cubicBezTo>
                      <a:pt x="539" y="223"/>
                      <a:pt x="539" y="222"/>
                      <a:pt x="541" y="217"/>
                    </a:cubicBezTo>
                    <a:cubicBezTo>
                      <a:pt x="542" y="215"/>
                      <a:pt x="542" y="215"/>
                      <a:pt x="542" y="215"/>
                    </a:cubicBezTo>
                    <a:cubicBezTo>
                      <a:pt x="543" y="209"/>
                      <a:pt x="541" y="208"/>
                      <a:pt x="545" y="203"/>
                    </a:cubicBezTo>
                    <a:cubicBezTo>
                      <a:pt x="545" y="203"/>
                      <a:pt x="552" y="198"/>
                      <a:pt x="547" y="197"/>
                    </a:cubicBezTo>
                    <a:cubicBezTo>
                      <a:pt x="543" y="195"/>
                      <a:pt x="537" y="198"/>
                      <a:pt x="533" y="196"/>
                    </a:cubicBezTo>
                    <a:cubicBezTo>
                      <a:pt x="531" y="195"/>
                      <a:pt x="531" y="192"/>
                      <a:pt x="529" y="191"/>
                    </a:cubicBezTo>
                    <a:cubicBezTo>
                      <a:pt x="528" y="190"/>
                      <a:pt x="527" y="191"/>
                      <a:pt x="527" y="191"/>
                    </a:cubicBezTo>
                    <a:cubicBezTo>
                      <a:pt x="526" y="190"/>
                      <a:pt x="525" y="188"/>
                      <a:pt x="525" y="188"/>
                    </a:cubicBezTo>
                    <a:cubicBezTo>
                      <a:pt x="524" y="188"/>
                      <a:pt x="518" y="185"/>
                      <a:pt x="517" y="185"/>
                    </a:cubicBezTo>
                    <a:cubicBezTo>
                      <a:pt x="511" y="184"/>
                      <a:pt x="507" y="189"/>
                      <a:pt x="504" y="191"/>
                    </a:cubicBezTo>
                    <a:cubicBezTo>
                      <a:pt x="505" y="191"/>
                      <a:pt x="506" y="191"/>
                      <a:pt x="507" y="191"/>
                    </a:cubicBezTo>
                    <a:cubicBezTo>
                      <a:pt x="508" y="192"/>
                      <a:pt x="509" y="192"/>
                      <a:pt x="510" y="193"/>
                    </a:cubicBezTo>
                    <a:cubicBezTo>
                      <a:pt x="509" y="194"/>
                      <a:pt x="508" y="198"/>
                      <a:pt x="506" y="198"/>
                    </a:cubicBezTo>
                    <a:cubicBezTo>
                      <a:pt x="506" y="198"/>
                      <a:pt x="503" y="198"/>
                      <a:pt x="504" y="197"/>
                    </a:cubicBezTo>
                    <a:cubicBezTo>
                      <a:pt x="501" y="195"/>
                      <a:pt x="499" y="194"/>
                      <a:pt x="493" y="193"/>
                    </a:cubicBezTo>
                    <a:cubicBezTo>
                      <a:pt x="492" y="196"/>
                      <a:pt x="492" y="198"/>
                      <a:pt x="491" y="201"/>
                    </a:cubicBezTo>
                    <a:cubicBezTo>
                      <a:pt x="492" y="201"/>
                      <a:pt x="494" y="200"/>
                      <a:pt x="495" y="201"/>
                    </a:cubicBezTo>
                    <a:cubicBezTo>
                      <a:pt x="496" y="202"/>
                      <a:pt x="495" y="204"/>
                      <a:pt x="496" y="204"/>
                    </a:cubicBezTo>
                    <a:cubicBezTo>
                      <a:pt x="497" y="204"/>
                      <a:pt x="499" y="204"/>
                      <a:pt x="500" y="204"/>
                    </a:cubicBezTo>
                    <a:cubicBezTo>
                      <a:pt x="500" y="204"/>
                      <a:pt x="500" y="206"/>
                      <a:pt x="501" y="206"/>
                    </a:cubicBezTo>
                    <a:cubicBezTo>
                      <a:pt x="502" y="207"/>
                      <a:pt x="503" y="206"/>
                      <a:pt x="504" y="207"/>
                    </a:cubicBezTo>
                    <a:cubicBezTo>
                      <a:pt x="504" y="207"/>
                      <a:pt x="504" y="209"/>
                      <a:pt x="505" y="209"/>
                    </a:cubicBezTo>
                    <a:cubicBezTo>
                      <a:pt x="504" y="209"/>
                      <a:pt x="504" y="211"/>
                      <a:pt x="504" y="211"/>
                    </a:cubicBezTo>
                    <a:cubicBezTo>
                      <a:pt x="503" y="209"/>
                      <a:pt x="503" y="209"/>
                      <a:pt x="503" y="209"/>
                    </a:cubicBezTo>
                    <a:cubicBezTo>
                      <a:pt x="499" y="210"/>
                      <a:pt x="497" y="211"/>
                      <a:pt x="494" y="211"/>
                    </a:cubicBezTo>
                    <a:cubicBezTo>
                      <a:pt x="494" y="209"/>
                      <a:pt x="494" y="209"/>
                      <a:pt x="494" y="209"/>
                    </a:cubicBezTo>
                    <a:cubicBezTo>
                      <a:pt x="492" y="209"/>
                      <a:pt x="489" y="209"/>
                      <a:pt x="489" y="209"/>
                    </a:cubicBezTo>
                    <a:cubicBezTo>
                      <a:pt x="488" y="210"/>
                      <a:pt x="488" y="212"/>
                      <a:pt x="486" y="211"/>
                    </a:cubicBezTo>
                    <a:cubicBezTo>
                      <a:pt x="484" y="211"/>
                      <a:pt x="482" y="209"/>
                      <a:pt x="481" y="208"/>
                    </a:cubicBezTo>
                    <a:cubicBezTo>
                      <a:pt x="481" y="207"/>
                      <a:pt x="481" y="207"/>
                      <a:pt x="481" y="207"/>
                    </a:cubicBezTo>
                    <a:cubicBezTo>
                      <a:pt x="485" y="205"/>
                      <a:pt x="479" y="200"/>
                      <a:pt x="479" y="199"/>
                    </a:cubicBezTo>
                    <a:cubicBezTo>
                      <a:pt x="479" y="197"/>
                      <a:pt x="479" y="196"/>
                      <a:pt x="479" y="195"/>
                    </a:cubicBezTo>
                    <a:cubicBezTo>
                      <a:pt x="478" y="195"/>
                      <a:pt x="478" y="195"/>
                      <a:pt x="478" y="195"/>
                    </a:cubicBezTo>
                    <a:cubicBezTo>
                      <a:pt x="478" y="195"/>
                      <a:pt x="479" y="191"/>
                      <a:pt x="479" y="191"/>
                    </a:cubicBezTo>
                    <a:cubicBezTo>
                      <a:pt x="479" y="191"/>
                      <a:pt x="481" y="189"/>
                      <a:pt x="481" y="189"/>
                    </a:cubicBezTo>
                    <a:cubicBezTo>
                      <a:pt x="480" y="187"/>
                      <a:pt x="477" y="186"/>
                      <a:pt x="478" y="183"/>
                    </a:cubicBezTo>
                    <a:cubicBezTo>
                      <a:pt x="478" y="182"/>
                      <a:pt x="480" y="182"/>
                      <a:pt x="480" y="181"/>
                    </a:cubicBezTo>
                    <a:cubicBezTo>
                      <a:pt x="480" y="181"/>
                      <a:pt x="476" y="176"/>
                      <a:pt x="476" y="176"/>
                    </a:cubicBezTo>
                    <a:cubicBezTo>
                      <a:pt x="476" y="176"/>
                      <a:pt x="475" y="177"/>
                      <a:pt x="474" y="177"/>
                    </a:cubicBezTo>
                    <a:cubicBezTo>
                      <a:pt x="476" y="182"/>
                      <a:pt x="477" y="187"/>
                      <a:pt x="476" y="193"/>
                    </a:cubicBezTo>
                    <a:cubicBezTo>
                      <a:pt x="475" y="195"/>
                      <a:pt x="472" y="199"/>
                      <a:pt x="471" y="200"/>
                    </a:cubicBezTo>
                    <a:cubicBezTo>
                      <a:pt x="470" y="201"/>
                      <a:pt x="469" y="201"/>
                      <a:pt x="468" y="201"/>
                    </a:cubicBezTo>
                    <a:cubicBezTo>
                      <a:pt x="468" y="202"/>
                      <a:pt x="469" y="204"/>
                      <a:pt x="468" y="205"/>
                    </a:cubicBezTo>
                    <a:cubicBezTo>
                      <a:pt x="468" y="207"/>
                      <a:pt x="466" y="208"/>
                      <a:pt x="466" y="209"/>
                    </a:cubicBezTo>
                    <a:cubicBezTo>
                      <a:pt x="466" y="210"/>
                      <a:pt x="465" y="211"/>
                      <a:pt x="466" y="211"/>
                    </a:cubicBezTo>
                    <a:cubicBezTo>
                      <a:pt x="466" y="212"/>
                      <a:pt x="468" y="213"/>
                      <a:pt x="469" y="214"/>
                    </a:cubicBezTo>
                    <a:cubicBezTo>
                      <a:pt x="470" y="216"/>
                      <a:pt x="472" y="220"/>
                      <a:pt x="472" y="222"/>
                    </a:cubicBezTo>
                    <a:cubicBezTo>
                      <a:pt x="471" y="223"/>
                      <a:pt x="469" y="225"/>
                      <a:pt x="469" y="227"/>
                    </a:cubicBezTo>
                    <a:cubicBezTo>
                      <a:pt x="469" y="227"/>
                      <a:pt x="470" y="231"/>
                      <a:pt x="470" y="233"/>
                    </a:cubicBezTo>
                    <a:cubicBezTo>
                      <a:pt x="471" y="233"/>
                      <a:pt x="471" y="233"/>
                      <a:pt x="471" y="233"/>
                    </a:cubicBezTo>
                    <a:cubicBezTo>
                      <a:pt x="471" y="235"/>
                      <a:pt x="471" y="237"/>
                      <a:pt x="471" y="239"/>
                    </a:cubicBezTo>
                    <a:cubicBezTo>
                      <a:pt x="472" y="238"/>
                      <a:pt x="472" y="240"/>
                      <a:pt x="474" y="239"/>
                    </a:cubicBezTo>
                    <a:cubicBezTo>
                      <a:pt x="474" y="238"/>
                      <a:pt x="474" y="238"/>
                      <a:pt x="474" y="238"/>
                    </a:cubicBezTo>
                    <a:cubicBezTo>
                      <a:pt x="474" y="238"/>
                      <a:pt x="476" y="237"/>
                      <a:pt x="476" y="237"/>
                    </a:cubicBezTo>
                    <a:cubicBezTo>
                      <a:pt x="477" y="237"/>
                      <a:pt x="479" y="238"/>
                      <a:pt x="481" y="237"/>
                    </a:cubicBezTo>
                    <a:cubicBezTo>
                      <a:pt x="482" y="237"/>
                      <a:pt x="484" y="235"/>
                      <a:pt x="486" y="235"/>
                    </a:cubicBezTo>
                    <a:cubicBezTo>
                      <a:pt x="489" y="234"/>
                      <a:pt x="500" y="237"/>
                      <a:pt x="502" y="239"/>
                    </a:cubicBezTo>
                    <a:cubicBezTo>
                      <a:pt x="503" y="240"/>
                      <a:pt x="502" y="244"/>
                      <a:pt x="504" y="246"/>
                    </a:cubicBezTo>
                    <a:cubicBezTo>
                      <a:pt x="504" y="247"/>
                      <a:pt x="506" y="247"/>
                      <a:pt x="506" y="247"/>
                    </a:cubicBezTo>
                    <a:cubicBezTo>
                      <a:pt x="507" y="248"/>
                      <a:pt x="506" y="250"/>
                      <a:pt x="507" y="251"/>
                    </a:cubicBezTo>
                    <a:cubicBezTo>
                      <a:pt x="507" y="252"/>
                      <a:pt x="508" y="253"/>
                      <a:pt x="509" y="254"/>
                    </a:cubicBezTo>
                    <a:cubicBezTo>
                      <a:pt x="506" y="255"/>
                      <a:pt x="501" y="257"/>
                      <a:pt x="504" y="262"/>
                    </a:cubicBezTo>
                    <a:cubicBezTo>
                      <a:pt x="504" y="262"/>
                      <a:pt x="505" y="262"/>
                      <a:pt x="506" y="263"/>
                    </a:cubicBezTo>
                    <a:cubicBezTo>
                      <a:pt x="506" y="263"/>
                      <a:pt x="507" y="265"/>
                      <a:pt x="508" y="265"/>
                    </a:cubicBezTo>
                    <a:cubicBezTo>
                      <a:pt x="512" y="267"/>
                      <a:pt x="516" y="266"/>
                      <a:pt x="519" y="268"/>
                    </a:cubicBezTo>
                    <a:cubicBezTo>
                      <a:pt x="520" y="268"/>
                      <a:pt x="520" y="270"/>
                      <a:pt x="521" y="270"/>
                    </a:cubicBezTo>
                    <a:cubicBezTo>
                      <a:pt x="518" y="270"/>
                      <a:pt x="513" y="270"/>
                      <a:pt x="510" y="269"/>
                    </a:cubicBezTo>
                    <a:cubicBezTo>
                      <a:pt x="510" y="268"/>
                      <a:pt x="509" y="267"/>
                      <a:pt x="509" y="267"/>
                    </a:cubicBezTo>
                    <a:cubicBezTo>
                      <a:pt x="507" y="267"/>
                      <a:pt x="506" y="267"/>
                      <a:pt x="505" y="268"/>
                    </a:cubicBezTo>
                    <a:cubicBezTo>
                      <a:pt x="505" y="268"/>
                      <a:pt x="505" y="270"/>
                      <a:pt x="505" y="271"/>
                    </a:cubicBezTo>
                    <a:cubicBezTo>
                      <a:pt x="505" y="271"/>
                      <a:pt x="506" y="272"/>
                      <a:pt x="505" y="272"/>
                    </a:cubicBezTo>
                    <a:cubicBezTo>
                      <a:pt x="505" y="272"/>
                      <a:pt x="502" y="270"/>
                      <a:pt x="502" y="269"/>
                    </a:cubicBezTo>
                    <a:cubicBezTo>
                      <a:pt x="500" y="268"/>
                      <a:pt x="499" y="267"/>
                      <a:pt x="498" y="266"/>
                    </a:cubicBezTo>
                    <a:cubicBezTo>
                      <a:pt x="498" y="260"/>
                      <a:pt x="500" y="255"/>
                      <a:pt x="499" y="249"/>
                    </a:cubicBezTo>
                    <a:cubicBezTo>
                      <a:pt x="499" y="248"/>
                      <a:pt x="497" y="247"/>
                      <a:pt x="497" y="247"/>
                    </a:cubicBezTo>
                    <a:cubicBezTo>
                      <a:pt x="496" y="245"/>
                      <a:pt x="495" y="241"/>
                      <a:pt x="494" y="239"/>
                    </a:cubicBezTo>
                    <a:cubicBezTo>
                      <a:pt x="493" y="239"/>
                      <a:pt x="491" y="239"/>
                      <a:pt x="489" y="239"/>
                    </a:cubicBezTo>
                    <a:cubicBezTo>
                      <a:pt x="489" y="239"/>
                      <a:pt x="488" y="241"/>
                      <a:pt x="488" y="241"/>
                    </a:cubicBezTo>
                    <a:cubicBezTo>
                      <a:pt x="484" y="243"/>
                      <a:pt x="480" y="242"/>
                      <a:pt x="477" y="245"/>
                    </a:cubicBezTo>
                    <a:cubicBezTo>
                      <a:pt x="476" y="246"/>
                      <a:pt x="476" y="248"/>
                      <a:pt x="476" y="249"/>
                    </a:cubicBezTo>
                    <a:cubicBezTo>
                      <a:pt x="476" y="249"/>
                      <a:pt x="474" y="251"/>
                      <a:pt x="474" y="252"/>
                    </a:cubicBezTo>
                    <a:cubicBezTo>
                      <a:pt x="474" y="253"/>
                      <a:pt x="477" y="254"/>
                      <a:pt x="477" y="255"/>
                    </a:cubicBezTo>
                    <a:cubicBezTo>
                      <a:pt x="477" y="256"/>
                      <a:pt x="476" y="260"/>
                      <a:pt x="476" y="261"/>
                    </a:cubicBezTo>
                    <a:cubicBezTo>
                      <a:pt x="475" y="262"/>
                      <a:pt x="474" y="264"/>
                      <a:pt x="474" y="265"/>
                    </a:cubicBezTo>
                    <a:cubicBezTo>
                      <a:pt x="474" y="265"/>
                      <a:pt x="474" y="267"/>
                      <a:pt x="474" y="267"/>
                    </a:cubicBezTo>
                    <a:cubicBezTo>
                      <a:pt x="474" y="267"/>
                      <a:pt x="475" y="268"/>
                      <a:pt x="474" y="269"/>
                    </a:cubicBezTo>
                    <a:cubicBezTo>
                      <a:pt x="469" y="276"/>
                      <a:pt x="469" y="276"/>
                      <a:pt x="469" y="276"/>
                    </a:cubicBezTo>
                    <a:cubicBezTo>
                      <a:pt x="467" y="277"/>
                      <a:pt x="464" y="276"/>
                      <a:pt x="462" y="277"/>
                    </a:cubicBezTo>
                    <a:cubicBezTo>
                      <a:pt x="461" y="277"/>
                      <a:pt x="457" y="279"/>
                      <a:pt x="456" y="279"/>
                    </a:cubicBezTo>
                    <a:cubicBezTo>
                      <a:pt x="456" y="280"/>
                      <a:pt x="455" y="281"/>
                      <a:pt x="454" y="282"/>
                    </a:cubicBezTo>
                    <a:cubicBezTo>
                      <a:pt x="456" y="282"/>
                      <a:pt x="457" y="282"/>
                      <a:pt x="459" y="282"/>
                    </a:cubicBezTo>
                    <a:cubicBezTo>
                      <a:pt x="460" y="287"/>
                      <a:pt x="460" y="290"/>
                      <a:pt x="462" y="294"/>
                    </a:cubicBezTo>
                    <a:cubicBezTo>
                      <a:pt x="461" y="294"/>
                      <a:pt x="461" y="293"/>
                      <a:pt x="460" y="292"/>
                    </a:cubicBezTo>
                    <a:cubicBezTo>
                      <a:pt x="459" y="292"/>
                      <a:pt x="459" y="293"/>
                      <a:pt x="458" y="293"/>
                    </a:cubicBezTo>
                    <a:cubicBezTo>
                      <a:pt x="457" y="292"/>
                      <a:pt x="457" y="290"/>
                      <a:pt x="456" y="288"/>
                    </a:cubicBezTo>
                    <a:cubicBezTo>
                      <a:pt x="456" y="288"/>
                      <a:pt x="454" y="288"/>
                      <a:pt x="454" y="287"/>
                    </a:cubicBezTo>
                    <a:cubicBezTo>
                      <a:pt x="453" y="287"/>
                      <a:pt x="453" y="285"/>
                      <a:pt x="453" y="284"/>
                    </a:cubicBezTo>
                    <a:cubicBezTo>
                      <a:pt x="452" y="284"/>
                      <a:pt x="447" y="283"/>
                      <a:pt x="445" y="284"/>
                    </a:cubicBezTo>
                    <a:cubicBezTo>
                      <a:pt x="444" y="285"/>
                      <a:pt x="444" y="285"/>
                      <a:pt x="444" y="285"/>
                    </a:cubicBezTo>
                    <a:cubicBezTo>
                      <a:pt x="439" y="285"/>
                      <a:pt x="435" y="282"/>
                      <a:pt x="432" y="280"/>
                    </a:cubicBezTo>
                    <a:cubicBezTo>
                      <a:pt x="433" y="280"/>
                      <a:pt x="432" y="277"/>
                      <a:pt x="432" y="277"/>
                    </a:cubicBezTo>
                    <a:cubicBezTo>
                      <a:pt x="438" y="276"/>
                      <a:pt x="446" y="279"/>
                      <a:pt x="450" y="276"/>
                    </a:cubicBezTo>
                    <a:cubicBezTo>
                      <a:pt x="450" y="276"/>
                      <a:pt x="451" y="273"/>
                      <a:pt x="452" y="272"/>
                    </a:cubicBezTo>
                    <a:cubicBezTo>
                      <a:pt x="454" y="274"/>
                      <a:pt x="455" y="273"/>
                      <a:pt x="458" y="274"/>
                    </a:cubicBezTo>
                    <a:cubicBezTo>
                      <a:pt x="458" y="273"/>
                      <a:pt x="459" y="273"/>
                      <a:pt x="460" y="272"/>
                    </a:cubicBezTo>
                    <a:cubicBezTo>
                      <a:pt x="459" y="270"/>
                      <a:pt x="459" y="270"/>
                      <a:pt x="459" y="270"/>
                    </a:cubicBezTo>
                    <a:cubicBezTo>
                      <a:pt x="459" y="269"/>
                      <a:pt x="461" y="269"/>
                      <a:pt x="462" y="269"/>
                    </a:cubicBezTo>
                    <a:cubicBezTo>
                      <a:pt x="462" y="268"/>
                      <a:pt x="462" y="265"/>
                      <a:pt x="462" y="265"/>
                    </a:cubicBezTo>
                    <a:cubicBezTo>
                      <a:pt x="464" y="264"/>
                      <a:pt x="464" y="265"/>
                      <a:pt x="466" y="264"/>
                    </a:cubicBezTo>
                    <a:cubicBezTo>
                      <a:pt x="462" y="256"/>
                      <a:pt x="464" y="256"/>
                      <a:pt x="466" y="248"/>
                    </a:cubicBezTo>
                    <a:cubicBezTo>
                      <a:pt x="462" y="245"/>
                      <a:pt x="461" y="244"/>
                      <a:pt x="459" y="239"/>
                    </a:cubicBezTo>
                    <a:cubicBezTo>
                      <a:pt x="458" y="238"/>
                      <a:pt x="458" y="238"/>
                      <a:pt x="458" y="238"/>
                    </a:cubicBezTo>
                    <a:cubicBezTo>
                      <a:pt x="457" y="237"/>
                      <a:pt x="458" y="235"/>
                      <a:pt x="458" y="235"/>
                    </a:cubicBezTo>
                    <a:cubicBezTo>
                      <a:pt x="458" y="233"/>
                      <a:pt x="458" y="233"/>
                      <a:pt x="458" y="233"/>
                    </a:cubicBezTo>
                    <a:cubicBezTo>
                      <a:pt x="457" y="233"/>
                      <a:pt x="458" y="230"/>
                      <a:pt x="458" y="229"/>
                    </a:cubicBezTo>
                    <a:cubicBezTo>
                      <a:pt x="458" y="228"/>
                      <a:pt x="460" y="226"/>
                      <a:pt x="460" y="225"/>
                    </a:cubicBezTo>
                    <a:cubicBezTo>
                      <a:pt x="460" y="225"/>
                      <a:pt x="461" y="220"/>
                      <a:pt x="460" y="219"/>
                    </a:cubicBezTo>
                    <a:cubicBezTo>
                      <a:pt x="460" y="219"/>
                      <a:pt x="458" y="218"/>
                      <a:pt x="458" y="218"/>
                    </a:cubicBezTo>
                    <a:cubicBezTo>
                      <a:pt x="458" y="217"/>
                      <a:pt x="459" y="215"/>
                      <a:pt x="459" y="213"/>
                    </a:cubicBezTo>
                    <a:cubicBezTo>
                      <a:pt x="456" y="212"/>
                      <a:pt x="453" y="211"/>
                      <a:pt x="453" y="207"/>
                    </a:cubicBezTo>
                    <a:cubicBezTo>
                      <a:pt x="453" y="202"/>
                      <a:pt x="456" y="202"/>
                      <a:pt x="458" y="199"/>
                    </a:cubicBezTo>
                    <a:cubicBezTo>
                      <a:pt x="459" y="195"/>
                      <a:pt x="458" y="193"/>
                      <a:pt x="458" y="189"/>
                    </a:cubicBezTo>
                    <a:cubicBezTo>
                      <a:pt x="458" y="188"/>
                      <a:pt x="460" y="187"/>
                      <a:pt x="460" y="186"/>
                    </a:cubicBezTo>
                    <a:cubicBezTo>
                      <a:pt x="461" y="185"/>
                      <a:pt x="459" y="184"/>
                      <a:pt x="460" y="182"/>
                    </a:cubicBezTo>
                    <a:cubicBezTo>
                      <a:pt x="460" y="182"/>
                      <a:pt x="461" y="181"/>
                      <a:pt x="460" y="181"/>
                    </a:cubicBezTo>
                    <a:cubicBezTo>
                      <a:pt x="460" y="180"/>
                      <a:pt x="458" y="179"/>
                      <a:pt x="458" y="178"/>
                    </a:cubicBezTo>
                    <a:cubicBezTo>
                      <a:pt x="458" y="177"/>
                      <a:pt x="459" y="175"/>
                      <a:pt x="458" y="175"/>
                    </a:cubicBezTo>
                    <a:cubicBezTo>
                      <a:pt x="458" y="175"/>
                      <a:pt x="457" y="175"/>
                      <a:pt x="456" y="175"/>
                    </a:cubicBezTo>
                    <a:cubicBezTo>
                      <a:pt x="456" y="175"/>
                      <a:pt x="452" y="172"/>
                      <a:pt x="452" y="172"/>
                    </a:cubicBezTo>
                    <a:cubicBezTo>
                      <a:pt x="451" y="172"/>
                      <a:pt x="448" y="173"/>
                      <a:pt x="448" y="173"/>
                    </a:cubicBezTo>
                    <a:cubicBezTo>
                      <a:pt x="444" y="173"/>
                      <a:pt x="440" y="173"/>
                      <a:pt x="437" y="173"/>
                    </a:cubicBezTo>
                    <a:cubicBezTo>
                      <a:pt x="437" y="173"/>
                      <a:pt x="438" y="172"/>
                      <a:pt x="436" y="172"/>
                    </a:cubicBezTo>
                    <a:cubicBezTo>
                      <a:pt x="436" y="174"/>
                      <a:pt x="436" y="174"/>
                      <a:pt x="436" y="174"/>
                    </a:cubicBezTo>
                    <a:cubicBezTo>
                      <a:pt x="434" y="175"/>
                      <a:pt x="432" y="175"/>
                      <a:pt x="431" y="177"/>
                    </a:cubicBezTo>
                    <a:cubicBezTo>
                      <a:pt x="429" y="179"/>
                      <a:pt x="429" y="183"/>
                      <a:pt x="428" y="185"/>
                    </a:cubicBezTo>
                    <a:cubicBezTo>
                      <a:pt x="426" y="189"/>
                      <a:pt x="422" y="191"/>
                      <a:pt x="420" y="194"/>
                    </a:cubicBezTo>
                    <a:cubicBezTo>
                      <a:pt x="419" y="196"/>
                      <a:pt x="419" y="198"/>
                      <a:pt x="417" y="199"/>
                    </a:cubicBezTo>
                    <a:cubicBezTo>
                      <a:pt x="416" y="200"/>
                      <a:pt x="413" y="201"/>
                      <a:pt x="411" y="202"/>
                    </a:cubicBezTo>
                    <a:cubicBezTo>
                      <a:pt x="411" y="205"/>
                      <a:pt x="411" y="207"/>
                      <a:pt x="411" y="209"/>
                    </a:cubicBezTo>
                    <a:cubicBezTo>
                      <a:pt x="411" y="209"/>
                      <a:pt x="414" y="213"/>
                      <a:pt x="414" y="214"/>
                    </a:cubicBezTo>
                    <a:cubicBezTo>
                      <a:pt x="414" y="217"/>
                      <a:pt x="413" y="218"/>
                      <a:pt x="414" y="221"/>
                    </a:cubicBezTo>
                    <a:cubicBezTo>
                      <a:pt x="409" y="224"/>
                      <a:pt x="410" y="224"/>
                      <a:pt x="410" y="231"/>
                    </a:cubicBezTo>
                    <a:cubicBezTo>
                      <a:pt x="411" y="231"/>
                      <a:pt x="411" y="230"/>
                      <a:pt x="412" y="230"/>
                    </a:cubicBezTo>
                    <a:cubicBezTo>
                      <a:pt x="414" y="230"/>
                      <a:pt x="416" y="233"/>
                      <a:pt x="417" y="233"/>
                    </a:cubicBezTo>
                    <a:cubicBezTo>
                      <a:pt x="418" y="233"/>
                      <a:pt x="417" y="232"/>
                      <a:pt x="418" y="233"/>
                    </a:cubicBezTo>
                    <a:cubicBezTo>
                      <a:pt x="417" y="232"/>
                      <a:pt x="420" y="233"/>
                      <a:pt x="420" y="233"/>
                    </a:cubicBezTo>
                    <a:cubicBezTo>
                      <a:pt x="420" y="233"/>
                      <a:pt x="420" y="235"/>
                      <a:pt x="420" y="235"/>
                    </a:cubicBezTo>
                    <a:cubicBezTo>
                      <a:pt x="420" y="236"/>
                      <a:pt x="417" y="236"/>
                      <a:pt x="418" y="239"/>
                    </a:cubicBezTo>
                    <a:cubicBezTo>
                      <a:pt x="418" y="239"/>
                      <a:pt x="419" y="240"/>
                      <a:pt x="418" y="241"/>
                    </a:cubicBezTo>
                    <a:cubicBezTo>
                      <a:pt x="419" y="241"/>
                      <a:pt x="420" y="244"/>
                      <a:pt x="420" y="245"/>
                    </a:cubicBezTo>
                    <a:cubicBezTo>
                      <a:pt x="420" y="245"/>
                      <a:pt x="422" y="244"/>
                      <a:pt x="422" y="244"/>
                    </a:cubicBezTo>
                    <a:cubicBezTo>
                      <a:pt x="424" y="244"/>
                      <a:pt x="424" y="244"/>
                      <a:pt x="424" y="244"/>
                    </a:cubicBezTo>
                    <a:cubicBezTo>
                      <a:pt x="423" y="247"/>
                      <a:pt x="422" y="251"/>
                      <a:pt x="420" y="254"/>
                    </a:cubicBezTo>
                    <a:cubicBezTo>
                      <a:pt x="419" y="255"/>
                      <a:pt x="418" y="255"/>
                      <a:pt x="416" y="256"/>
                    </a:cubicBezTo>
                    <a:cubicBezTo>
                      <a:pt x="416" y="255"/>
                      <a:pt x="416" y="253"/>
                      <a:pt x="416" y="252"/>
                    </a:cubicBezTo>
                    <a:cubicBezTo>
                      <a:pt x="415" y="251"/>
                      <a:pt x="414" y="252"/>
                      <a:pt x="413" y="251"/>
                    </a:cubicBezTo>
                    <a:cubicBezTo>
                      <a:pt x="413" y="251"/>
                      <a:pt x="413" y="249"/>
                      <a:pt x="412" y="249"/>
                    </a:cubicBezTo>
                    <a:cubicBezTo>
                      <a:pt x="410" y="245"/>
                      <a:pt x="407" y="243"/>
                      <a:pt x="401" y="242"/>
                    </a:cubicBezTo>
                    <a:cubicBezTo>
                      <a:pt x="400" y="240"/>
                      <a:pt x="400" y="240"/>
                      <a:pt x="400" y="240"/>
                    </a:cubicBezTo>
                    <a:cubicBezTo>
                      <a:pt x="401" y="240"/>
                      <a:pt x="401" y="239"/>
                      <a:pt x="401" y="239"/>
                    </a:cubicBezTo>
                    <a:cubicBezTo>
                      <a:pt x="398" y="238"/>
                      <a:pt x="396" y="237"/>
                      <a:pt x="394" y="236"/>
                    </a:cubicBezTo>
                    <a:cubicBezTo>
                      <a:pt x="392" y="241"/>
                      <a:pt x="392" y="241"/>
                      <a:pt x="392" y="241"/>
                    </a:cubicBezTo>
                    <a:cubicBezTo>
                      <a:pt x="391" y="241"/>
                      <a:pt x="391" y="241"/>
                      <a:pt x="391" y="241"/>
                    </a:cubicBezTo>
                    <a:cubicBezTo>
                      <a:pt x="391" y="239"/>
                      <a:pt x="390" y="237"/>
                      <a:pt x="391" y="233"/>
                    </a:cubicBezTo>
                    <a:cubicBezTo>
                      <a:pt x="388" y="232"/>
                      <a:pt x="385" y="233"/>
                      <a:pt x="382" y="232"/>
                    </a:cubicBezTo>
                    <a:cubicBezTo>
                      <a:pt x="381" y="232"/>
                      <a:pt x="381" y="229"/>
                      <a:pt x="381" y="229"/>
                    </a:cubicBezTo>
                    <a:cubicBezTo>
                      <a:pt x="380" y="229"/>
                      <a:pt x="379" y="230"/>
                      <a:pt x="378" y="230"/>
                    </a:cubicBezTo>
                    <a:cubicBezTo>
                      <a:pt x="378" y="230"/>
                      <a:pt x="377" y="225"/>
                      <a:pt x="373" y="227"/>
                    </a:cubicBezTo>
                    <a:cubicBezTo>
                      <a:pt x="371" y="227"/>
                      <a:pt x="373" y="231"/>
                      <a:pt x="365" y="230"/>
                    </a:cubicBezTo>
                    <a:cubicBezTo>
                      <a:pt x="364" y="230"/>
                      <a:pt x="361" y="227"/>
                      <a:pt x="359" y="228"/>
                    </a:cubicBezTo>
                    <a:cubicBezTo>
                      <a:pt x="359" y="228"/>
                      <a:pt x="358" y="231"/>
                      <a:pt x="358" y="231"/>
                    </a:cubicBezTo>
                    <a:cubicBezTo>
                      <a:pt x="356" y="231"/>
                      <a:pt x="354" y="232"/>
                      <a:pt x="353" y="232"/>
                    </a:cubicBezTo>
                    <a:cubicBezTo>
                      <a:pt x="354" y="233"/>
                      <a:pt x="353" y="233"/>
                      <a:pt x="353" y="234"/>
                    </a:cubicBezTo>
                    <a:cubicBezTo>
                      <a:pt x="353" y="234"/>
                      <a:pt x="355" y="235"/>
                      <a:pt x="355" y="235"/>
                    </a:cubicBezTo>
                    <a:cubicBezTo>
                      <a:pt x="357" y="239"/>
                      <a:pt x="357" y="244"/>
                      <a:pt x="357" y="248"/>
                    </a:cubicBezTo>
                    <a:cubicBezTo>
                      <a:pt x="356" y="248"/>
                      <a:pt x="356" y="249"/>
                      <a:pt x="355" y="249"/>
                    </a:cubicBezTo>
                    <a:cubicBezTo>
                      <a:pt x="352" y="250"/>
                      <a:pt x="350" y="247"/>
                      <a:pt x="349" y="247"/>
                    </a:cubicBezTo>
                    <a:cubicBezTo>
                      <a:pt x="349" y="247"/>
                      <a:pt x="347" y="249"/>
                      <a:pt x="347" y="249"/>
                    </a:cubicBezTo>
                    <a:cubicBezTo>
                      <a:pt x="347" y="250"/>
                      <a:pt x="346" y="254"/>
                      <a:pt x="346" y="255"/>
                    </a:cubicBezTo>
                    <a:cubicBezTo>
                      <a:pt x="346" y="255"/>
                      <a:pt x="341" y="251"/>
                      <a:pt x="341" y="251"/>
                    </a:cubicBezTo>
                    <a:cubicBezTo>
                      <a:pt x="341" y="250"/>
                      <a:pt x="342" y="244"/>
                      <a:pt x="342" y="243"/>
                    </a:cubicBezTo>
                    <a:cubicBezTo>
                      <a:pt x="341" y="243"/>
                      <a:pt x="340" y="243"/>
                      <a:pt x="339" y="243"/>
                    </a:cubicBezTo>
                    <a:cubicBezTo>
                      <a:pt x="336" y="244"/>
                      <a:pt x="333" y="247"/>
                      <a:pt x="330" y="247"/>
                    </a:cubicBezTo>
                    <a:cubicBezTo>
                      <a:pt x="330" y="247"/>
                      <a:pt x="331" y="245"/>
                      <a:pt x="331" y="245"/>
                    </a:cubicBezTo>
                    <a:cubicBezTo>
                      <a:pt x="330" y="245"/>
                      <a:pt x="329" y="245"/>
                      <a:pt x="329" y="245"/>
                    </a:cubicBezTo>
                    <a:cubicBezTo>
                      <a:pt x="329" y="247"/>
                      <a:pt x="329" y="247"/>
                      <a:pt x="329" y="247"/>
                    </a:cubicBezTo>
                    <a:cubicBezTo>
                      <a:pt x="329" y="245"/>
                      <a:pt x="330" y="248"/>
                      <a:pt x="330" y="248"/>
                    </a:cubicBezTo>
                    <a:cubicBezTo>
                      <a:pt x="330" y="249"/>
                      <a:pt x="329" y="249"/>
                      <a:pt x="329" y="250"/>
                    </a:cubicBezTo>
                    <a:cubicBezTo>
                      <a:pt x="328" y="250"/>
                      <a:pt x="327" y="250"/>
                      <a:pt x="326" y="250"/>
                    </a:cubicBezTo>
                    <a:cubicBezTo>
                      <a:pt x="324" y="248"/>
                      <a:pt x="321" y="245"/>
                      <a:pt x="316" y="246"/>
                    </a:cubicBezTo>
                    <a:cubicBezTo>
                      <a:pt x="313" y="246"/>
                      <a:pt x="309" y="249"/>
                      <a:pt x="305" y="250"/>
                    </a:cubicBezTo>
                    <a:cubicBezTo>
                      <a:pt x="306" y="251"/>
                      <a:pt x="307" y="252"/>
                      <a:pt x="307" y="253"/>
                    </a:cubicBezTo>
                    <a:cubicBezTo>
                      <a:pt x="307" y="254"/>
                      <a:pt x="306" y="254"/>
                      <a:pt x="306" y="255"/>
                    </a:cubicBezTo>
                    <a:cubicBezTo>
                      <a:pt x="306" y="254"/>
                      <a:pt x="304" y="253"/>
                      <a:pt x="303" y="253"/>
                    </a:cubicBezTo>
                    <a:cubicBezTo>
                      <a:pt x="304" y="253"/>
                      <a:pt x="302" y="251"/>
                      <a:pt x="302" y="251"/>
                    </a:cubicBezTo>
                    <a:cubicBezTo>
                      <a:pt x="302" y="252"/>
                      <a:pt x="299" y="254"/>
                      <a:pt x="299" y="255"/>
                    </a:cubicBezTo>
                    <a:cubicBezTo>
                      <a:pt x="297" y="255"/>
                      <a:pt x="292" y="254"/>
                      <a:pt x="290" y="255"/>
                    </a:cubicBezTo>
                    <a:cubicBezTo>
                      <a:pt x="290" y="254"/>
                      <a:pt x="290" y="253"/>
                      <a:pt x="290" y="253"/>
                    </a:cubicBezTo>
                    <a:cubicBezTo>
                      <a:pt x="291" y="252"/>
                      <a:pt x="291" y="251"/>
                      <a:pt x="292" y="251"/>
                    </a:cubicBezTo>
                    <a:cubicBezTo>
                      <a:pt x="292" y="251"/>
                      <a:pt x="297" y="251"/>
                      <a:pt x="297" y="251"/>
                    </a:cubicBezTo>
                    <a:cubicBezTo>
                      <a:pt x="297" y="251"/>
                      <a:pt x="297" y="249"/>
                      <a:pt x="297" y="249"/>
                    </a:cubicBezTo>
                    <a:cubicBezTo>
                      <a:pt x="296" y="249"/>
                      <a:pt x="294" y="248"/>
                      <a:pt x="294" y="248"/>
                    </a:cubicBezTo>
                    <a:cubicBezTo>
                      <a:pt x="294" y="247"/>
                      <a:pt x="295" y="246"/>
                      <a:pt x="294" y="245"/>
                    </a:cubicBezTo>
                    <a:cubicBezTo>
                      <a:pt x="293" y="245"/>
                      <a:pt x="289" y="246"/>
                      <a:pt x="292" y="244"/>
                    </a:cubicBezTo>
                    <a:cubicBezTo>
                      <a:pt x="292" y="243"/>
                      <a:pt x="291" y="243"/>
                      <a:pt x="292" y="243"/>
                    </a:cubicBezTo>
                    <a:cubicBezTo>
                      <a:pt x="291" y="243"/>
                      <a:pt x="293" y="240"/>
                      <a:pt x="291" y="241"/>
                    </a:cubicBezTo>
                    <a:cubicBezTo>
                      <a:pt x="289" y="242"/>
                      <a:pt x="289" y="244"/>
                      <a:pt x="288" y="245"/>
                    </a:cubicBezTo>
                    <a:cubicBezTo>
                      <a:pt x="288" y="245"/>
                      <a:pt x="283" y="247"/>
                      <a:pt x="283" y="247"/>
                    </a:cubicBezTo>
                    <a:cubicBezTo>
                      <a:pt x="282" y="248"/>
                      <a:pt x="285" y="249"/>
                      <a:pt x="282" y="251"/>
                    </a:cubicBezTo>
                    <a:cubicBezTo>
                      <a:pt x="282" y="251"/>
                      <a:pt x="282" y="251"/>
                      <a:pt x="282" y="251"/>
                    </a:cubicBezTo>
                    <a:cubicBezTo>
                      <a:pt x="281" y="251"/>
                      <a:pt x="282" y="250"/>
                      <a:pt x="282" y="249"/>
                    </a:cubicBezTo>
                    <a:cubicBezTo>
                      <a:pt x="279" y="249"/>
                      <a:pt x="278" y="248"/>
                      <a:pt x="276" y="249"/>
                    </a:cubicBezTo>
                    <a:cubicBezTo>
                      <a:pt x="275" y="249"/>
                      <a:pt x="274" y="251"/>
                      <a:pt x="274" y="251"/>
                    </a:cubicBezTo>
                    <a:cubicBezTo>
                      <a:pt x="272" y="252"/>
                      <a:pt x="271" y="251"/>
                      <a:pt x="270" y="251"/>
                    </a:cubicBezTo>
                    <a:cubicBezTo>
                      <a:pt x="268" y="252"/>
                      <a:pt x="268" y="253"/>
                      <a:pt x="267" y="254"/>
                    </a:cubicBezTo>
                    <a:cubicBezTo>
                      <a:pt x="266" y="255"/>
                      <a:pt x="265" y="254"/>
                      <a:pt x="264" y="255"/>
                    </a:cubicBezTo>
                    <a:cubicBezTo>
                      <a:pt x="263" y="255"/>
                      <a:pt x="262" y="256"/>
                      <a:pt x="262" y="257"/>
                    </a:cubicBezTo>
                    <a:cubicBezTo>
                      <a:pt x="258" y="258"/>
                      <a:pt x="255" y="259"/>
                      <a:pt x="251" y="259"/>
                    </a:cubicBezTo>
                    <a:cubicBezTo>
                      <a:pt x="251" y="259"/>
                      <a:pt x="251" y="261"/>
                      <a:pt x="251" y="261"/>
                    </a:cubicBezTo>
                    <a:cubicBezTo>
                      <a:pt x="249" y="262"/>
                      <a:pt x="248" y="263"/>
                      <a:pt x="246" y="263"/>
                    </a:cubicBezTo>
                    <a:cubicBezTo>
                      <a:pt x="245" y="263"/>
                      <a:pt x="245" y="262"/>
                      <a:pt x="244" y="263"/>
                    </a:cubicBezTo>
                    <a:cubicBezTo>
                      <a:pt x="243" y="267"/>
                      <a:pt x="242" y="270"/>
                      <a:pt x="242" y="276"/>
                    </a:cubicBezTo>
                    <a:cubicBezTo>
                      <a:pt x="242" y="276"/>
                      <a:pt x="239" y="276"/>
                      <a:pt x="239" y="276"/>
                    </a:cubicBezTo>
                    <a:cubicBezTo>
                      <a:pt x="238" y="276"/>
                      <a:pt x="239" y="278"/>
                      <a:pt x="238" y="278"/>
                    </a:cubicBezTo>
                    <a:cubicBezTo>
                      <a:pt x="238" y="278"/>
                      <a:pt x="235" y="279"/>
                      <a:pt x="234" y="279"/>
                    </a:cubicBezTo>
                    <a:cubicBezTo>
                      <a:pt x="231" y="280"/>
                      <a:pt x="230" y="279"/>
                      <a:pt x="226" y="280"/>
                    </a:cubicBezTo>
                    <a:cubicBezTo>
                      <a:pt x="226" y="279"/>
                      <a:pt x="226" y="275"/>
                      <a:pt x="225" y="273"/>
                    </a:cubicBezTo>
                    <a:cubicBezTo>
                      <a:pt x="225" y="272"/>
                      <a:pt x="222" y="272"/>
                      <a:pt x="223" y="269"/>
                    </a:cubicBezTo>
                    <a:cubicBezTo>
                      <a:pt x="223" y="268"/>
                      <a:pt x="225" y="267"/>
                      <a:pt x="225" y="267"/>
                    </a:cubicBezTo>
                    <a:cubicBezTo>
                      <a:pt x="226" y="266"/>
                      <a:pt x="226" y="265"/>
                      <a:pt x="226" y="264"/>
                    </a:cubicBezTo>
                    <a:cubicBezTo>
                      <a:pt x="230" y="264"/>
                      <a:pt x="231" y="264"/>
                      <a:pt x="236" y="263"/>
                    </a:cubicBezTo>
                    <a:cubicBezTo>
                      <a:pt x="236" y="261"/>
                      <a:pt x="236" y="261"/>
                      <a:pt x="236" y="261"/>
                    </a:cubicBezTo>
                    <a:cubicBezTo>
                      <a:pt x="236" y="261"/>
                      <a:pt x="235" y="260"/>
                      <a:pt x="234" y="259"/>
                    </a:cubicBezTo>
                    <a:cubicBezTo>
                      <a:pt x="234" y="259"/>
                      <a:pt x="235" y="258"/>
                      <a:pt x="234" y="257"/>
                    </a:cubicBezTo>
                    <a:cubicBezTo>
                      <a:pt x="234" y="257"/>
                      <a:pt x="233" y="256"/>
                      <a:pt x="232" y="256"/>
                    </a:cubicBezTo>
                    <a:cubicBezTo>
                      <a:pt x="231" y="254"/>
                      <a:pt x="229" y="248"/>
                      <a:pt x="226" y="247"/>
                    </a:cubicBezTo>
                    <a:cubicBezTo>
                      <a:pt x="224" y="246"/>
                      <a:pt x="221" y="247"/>
                      <a:pt x="218" y="247"/>
                    </a:cubicBezTo>
                    <a:cubicBezTo>
                      <a:pt x="217" y="245"/>
                      <a:pt x="217" y="245"/>
                      <a:pt x="217" y="245"/>
                    </a:cubicBezTo>
                    <a:cubicBezTo>
                      <a:pt x="213" y="244"/>
                      <a:pt x="211" y="244"/>
                      <a:pt x="208" y="242"/>
                    </a:cubicBezTo>
                    <a:cubicBezTo>
                      <a:pt x="209" y="243"/>
                      <a:pt x="208" y="244"/>
                      <a:pt x="208" y="245"/>
                    </a:cubicBezTo>
                    <a:cubicBezTo>
                      <a:pt x="209" y="246"/>
                      <a:pt x="213" y="249"/>
                      <a:pt x="215" y="250"/>
                    </a:cubicBezTo>
                    <a:cubicBezTo>
                      <a:pt x="214" y="253"/>
                      <a:pt x="215" y="254"/>
                      <a:pt x="214" y="257"/>
                    </a:cubicBezTo>
                    <a:cubicBezTo>
                      <a:pt x="214" y="257"/>
                      <a:pt x="212" y="257"/>
                      <a:pt x="212" y="257"/>
                    </a:cubicBezTo>
                    <a:cubicBezTo>
                      <a:pt x="212" y="258"/>
                      <a:pt x="213" y="259"/>
                      <a:pt x="212" y="259"/>
                    </a:cubicBezTo>
                    <a:cubicBezTo>
                      <a:pt x="212" y="260"/>
                      <a:pt x="211" y="259"/>
                      <a:pt x="210" y="260"/>
                    </a:cubicBezTo>
                    <a:cubicBezTo>
                      <a:pt x="209" y="263"/>
                      <a:pt x="211" y="262"/>
                      <a:pt x="208" y="264"/>
                    </a:cubicBezTo>
                    <a:cubicBezTo>
                      <a:pt x="207" y="265"/>
                      <a:pt x="212" y="270"/>
                      <a:pt x="212" y="270"/>
                    </a:cubicBezTo>
                    <a:cubicBezTo>
                      <a:pt x="212" y="270"/>
                      <a:pt x="212" y="272"/>
                      <a:pt x="212" y="272"/>
                    </a:cubicBezTo>
                    <a:cubicBezTo>
                      <a:pt x="212" y="272"/>
                      <a:pt x="213" y="272"/>
                      <a:pt x="212" y="273"/>
                    </a:cubicBezTo>
                    <a:cubicBezTo>
                      <a:pt x="212" y="274"/>
                      <a:pt x="210" y="275"/>
                      <a:pt x="209" y="276"/>
                    </a:cubicBezTo>
                    <a:cubicBezTo>
                      <a:pt x="207" y="279"/>
                      <a:pt x="207" y="282"/>
                      <a:pt x="206" y="287"/>
                    </a:cubicBezTo>
                    <a:cubicBezTo>
                      <a:pt x="205" y="287"/>
                      <a:pt x="204" y="287"/>
                      <a:pt x="202" y="287"/>
                    </a:cubicBezTo>
                    <a:cubicBezTo>
                      <a:pt x="203" y="285"/>
                      <a:pt x="203" y="285"/>
                      <a:pt x="203" y="285"/>
                    </a:cubicBezTo>
                    <a:cubicBezTo>
                      <a:pt x="204" y="286"/>
                      <a:pt x="200" y="281"/>
                      <a:pt x="200" y="281"/>
                    </a:cubicBezTo>
                    <a:cubicBezTo>
                      <a:pt x="199" y="281"/>
                      <a:pt x="198" y="281"/>
                      <a:pt x="197" y="281"/>
                    </a:cubicBezTo>
                    <a:cubicBezTo>
                      <a:pt x="197" y="281"/>
                      <a:pt x="196" y="279"/>
                      <a:pt x="195" y="278"/>
                    </a:cubicBezTo>
                    <a:cubicBezTo>
                      <a:pt x="191" y="278"/>
                      <a:pt x="191" y="281"/>
                      <a:pt x="188" y="282"/>
                    </a:cubicBezTo>
                    <a:cubicBezTo>
                      <a:pt x="187" y="283"/>
                      <a:pt x="186" y="282"/>
                      <a:pt x="184" y="283"/>
                    </a:cubicBezTo>
                    <a:cubicBezTo>
                      <a:pt x="184" y="284"/>
                      <a:pt x="184" y="286"/>
                      <a:pt x="183" y="286"/>
                    </a:cubicBezTo>
                    <a:cubicBezTo>
                      <a:pt x="182" y="288"/>
                      <a:pt x="176" y="291"/>
                      <a:pt x="176" y="292"/>
                    </a:cubicBezTo>
                    <a:cubicBezTo>
                      <a:pt x="176" y="292"/>
                      <a:pt x="176" y="294"/>
                      <a:pt x="176" y="294"/>
                    </a:cubicBezTo>
                    <a:cubicBezTo>
                      <a:pt x="176" y="297"/>
                      <a:pt x="180" y="298"/>
                      <a:pt x="181" y="300"/>
                    </a:cubicBezTo>
                    <a:cubicBezTo>
                      <a:pt x="183" y="302"/>
                      <a:pt x="183" y="304"/>
                      <a:pt x="184" y="306"/>
                    </a:cubicBezTo>
                    <a:cubicBezTo>
                      <a:pt x="181" y="306"/>
                      <a:pt x="179" y="306"/>
                      <a:pt x="175" y="305"/>
                    </a:cubicBezTo>
                    <a:cubicBezTo>
                      <a:pt x="175" y="305"/>
                      <a:pt x="173" y="303"/>
                      <a:pt x="173" y="303"/>
                    </a:cubicBezTo>
                    <a:cubicBezTo>
                      <a:pt x="171" y="302"/>
                      <a:pt x="169" y="303"/>
                      <a:pt x="168" y="302"/>
                    </a:cubicBezTo>
                    <a:cubicBezTo>
                      <a:pt x="168" y="302"/>
                      <a:pt x="168" y="301"/>
                      <a:pt x="169" y="300"/>
                    </a:cubicBezTo>
                    <a:cubicBezTo>
                      <a:pt x="167" y="300"/>
                      <a:pt x="165" y="299"/>
                      <a:pt x="163" y="298"/>
                    </a:cubicBezTo>
                    <a:cubicBezTo>
                      <a:pt x="162" y="298"/>
                      <a:pt x="161" y="296"/>
                      <a:pt x="160" y="295"/>
                    </a:cubicBezTo>
                    <a:cubicBezTo>
                      <a:pt x="156" y="294"/>
                      <a:pt x="155" y="298"/>
                      <a:pt x="157" y="297"/>
                    </a:cubicBezTo>
                    <a:cubicBezTo>
                      <a:pt x="157" y="297"/>
                      <a:pt x="158" y="300"/>
                      <a:pt x="157" y="300"/>
                    </a:cubicBezTo>
                    <a:cubicBezTo>
                      <a:pt x="157" y="301"/>
                      <a:pt x="155" y="301"/>
                      <a:pt x="155" y="301"/>
                    </a:cubicBezTo>
                    <a:cubicBezTo>
                      <a:pt x="156" y="303"/>
                      <a:pt x="157" y="307"/>
                      <a:pt x="159" y="308"/>
                    </a:cubicBezTo>
                    <a:cubicBezTo>
                      <a:pt x="160" y="309"/>
                      <a:pt x="162" y="309"/>
                      <a:pt x="163" y="310"/>
                    </a:cubicBezTo>
                    <a:cubicBezTo>
                      <a:pt x="163" y="317"/>
                      <a:pt x="163" y="317"/>
                      <a:pt x="163" y="317"/>
                    </a:cubicBezTo>
                    <a:cubicBezTo>
                      <a:pt x="163" y="317"/>
                      <a:pt x="163" y="319"/>
                      <a:pt x="163" y="319"/>
                    </a:cubicBezTo>
                    <a:cubicBezTo>
                      <a:pt x="162" y="319"/>
                      <a:pt x="161" y="319"/>
                      <a:pt x="160" y="319"/>
                    </a:cubicBezTo>
                    <a:cubicBezTo>
                      <a:pt x="159" y="320"/>
                      <a:pt x="161" y="321"/>
                      <a:pt x="158" y="321"/>
                    </a:cubicBezTo>
                    <a:cubicBezTo>
                      <a:pt x="158" y="320"/>
                      <a:pt x="158" y="320"/>
                      <a:pt x="158" y="320"/>
                    </a:cubicBezTo>
                    <a:cubicBezTo>
                      <a:pt x="157" y="319"/>
                      <a:pt x="156" y="319"/>
                      <a:pt x="155" y="318"/>
                    </a:cubicBezTo>
                    <a:cubicBezTo>
                      <a:pt x="152" y="317"/>
                      <a:pt x="149" y="318"/>
                      <a:pt x="147" y="318"/>
                    </a:cubicBezTo>
                    <a:cubicBezTo>
                      <a:pt x="146" y="318"/>
                      <a:pt x="146" y="315"/>
                      <a:pt x="146" y="314"/>
                    </a:cubicBezTo>
                    <a:cubicBezTo>
                      <a:pt x="146" y="313"/>
                      <a:pt x="144" y="312"/>
                      <a:pt x="144" y="312"/>
                    </a:cubicBezTo>
                    <a:cubicBezTo>
                      <a:pt x="144" y="312"/>
                      <a:pt x="141" y="312"/>
                      <a:pt x="142" y="312"/>
                    </a:cubicBezTo>
                    <a:cubicBezTo>
                      <a:pt x="141" y="313"/>
                      <a:pt x="141" y="313"/>
                      <a:pt x="141" y="313"/>
                    </a:cubicBezTo>
                    <a:cubicBezTo>
                      <a:pt x="140" y="313"/>
                      <a:pt x="140" y="312"/>
                      <a:pt x="139" y="312"/>
                    </a:cubicBezTo>
                    <a:cubicBezTo>
                      <a:pt x="138" y="307"/>
                      <a:pt x="138" y="306"/>
                      <a:pt x="137" y="300"/>
                    </a:cubicBezTo>
                    <a:cubicBezTo>
                      <a:pt x="137" y="299"/>
                      <a:pt x="135" y="297"/>
                      <a:pt x="135" y="296"/>
                    </a:cubicBezTo>
                    <a:cubicBezTo>
                      <a:pt x="135" y="295"/>
                      <a:pt x="137" y="292"/>
                      <a:pt x="137" y="292"/>
                    </a:cubicBezTo>
                    <a:cubicBezTo>
                      <a:pt x="138" y="290"/>
                      <a:pt x="136" y="291"/>
                      <a:pt x="137" y="289"/>
                    </a:cubicBezTo>
                    <a:cubicBezTo>
                      <a:pt x="136" y="289"/>
                      <a:pt x="135" y="289"/>
                      <a:pt x="135" y="289"/>
                    </a:cubicBezTo>
                    <a:cubicBezTo>
                      <a:pt x="134" y="289"/>
                      <a:pt x="134" y="286"/>
                      <a:pt x="133" y="286"/>
                    </a:cubicBezTo>
                    <a:cubicBezTo>
                      <a:pt x="131" y="285"/>
                      <a:pt x="129" y="286"/>
                      <a:pt x="128" y="286"/>
                    </a:cubicBezTo>
                    <a:cubicBezTo>
                      <a:pt x="127" y="284"/>
                      <a:pt x="127" y="284"/>
                      <a:pt x="127" y="284"/>
                    </a:cubicBezTo>
                    <a:cubicBezTo>
                      <a:pt x="124" y="284"/>
                      <a:pt x="123" y="284"/>
                      <a:pt x="120" y="283"/>
                    </a:cubicBezTo>
                    <a:cubicBezTo>
                      <a:pt x="120" y="283"/>
                      <a:pt x="118" y="282"/>
                      <a:pt x="118" y="282"/>
                    </a:cubicBezTo>
                    <a:cubicBezTo>
                      <a:pt x="119" y="281"/>
                      <a:pt x="120" y="282"/>
                      <a:pt x="121" y="282"/>
                    </a:cubicBezTo>
                    <a:cubicBezTo>
                      <a:pt x="122" y="279"/>
                      <a:pt x="122" y="279"/>
                      <a:pt x="122" y="279"/>
                    </a:cubicBezTo>
                    <a:cubicBezTo>
                      <a:pt x="121" y="279"/>
                      <a:pt x="120" y="280"/>
                      <a:pt x="118" y="280"/>
                    </a:cubicBezTo>
                    <a:cubicBezTo>
                      <a:pt x="117" y="279"/>
                      <a:pt x="118" y="278"/>
                      <a:pt x="117" y="278"/>
                    </a:cubicBezTo>
                    <a:cubicBezTo>
                      <a:pt x="117" y="276"/>
                      <a:pt x="117" y="276"/>
                      <a:pt x="117" y="276"/>
                    </a:cubicBezTo>
                    <a:cubicBezTo>
                      <a:pt x="122" y="273"/>
                      <a:pt x="116" y="273"/>
                      <a:pt x="113" y="274"/>
                    </a:cubicBezTo>
                    <a:cubicBezTo>
                      <a:pt x="117" y="273"/>
                      <a:pt x="113" y="269"/>
                      <a:pt x="111" y="267"/>
                    </a:cubicBezTo>
                    <a:cubicBezTo>
                      <a:pt x="110" y="267"/>
                      <a:pt x="110" y="267"/>
                      <a:pt x="110" y="267"/>
                    </a:cubicBezTo>
                    <a:cubicBezTo>
                      <a:pt x="110" y="266"/>
                      <a:pt x="111" y="265"/>
                      <a:pt x="111" y="265"/>
                    </a:cubicBezTo>
                    <a:cubicBezTo>
                      <a:pt x="112" y="265"/>
                      <a:pt x="114" y="266"/>
                      <a:pt x="115" y="267"/>
                    </a:cubicBezTo>
                    <a:cubicBezTo>
                      <a:pt x="116" y="267"/>
                      <a:pt x="116" y="269"/>
                      <a:pt x="118" y="271"/>
                    </a:cubicBezTo>
                    <a:cubicBezTo>
                      <a:pt x="121" y="272"/>
                      <a:pt x="122" y="270"/>
                      <a:pt x="124" y="271"/>
                    </a:cubicBezTo>
                    <a:cubicBezTo>
                      <a:pt x="125" y="271"/>
                      <a:pt x="125" y="273"/>
                      <a:pt x="126" y="274"/>
                    </a:cubicBezTo>
                    <a:cubicBezTo>
                      <a:pt x="127" y="274"/>
                      <a:pt x="128" y="274"/>
                      <a:pt x="129" y="274"/>
                    </a:cubicBezTo>
                    <a:cubicBezTo>
                      <a:pt x="129" y="275"/>
                      <a:pt x="129" y="276"/>
                      <a:pt x="129" y="276"/>
                    </a:cubicBezTo>
                    <a:cubicBezTo>
                      <a:pt x="130" y="276"/>
                      <a:pt x="130" y="276"/>
                      <a:pt x="130" y="276"/>
                    </a:cubicBezTo>
                    <a:cubicBezTo>
                      <a:pt x="130" y="276"/>
                      <a:pt x="130" y="274"/>
                      <a:pt x="130" y="273"/>
                    </a:cubicBezTo>
                    <a:cubicBezTo>
                      <a:pt x="132" y="272"/>
                      <a:pt x="132" y="272"/>
                      <a:pt x="132" y="272"/>
                    </a:cubicBezTo>
                    <a:cubicBezTo>
                      <a:pt x="132" y="274"/>
                      <a:pt x="134" y="277"/>
                      <a:pt x="134" y="278"/>
                    </a:cubicBezTo>
                    <a:cubicBezTo>
                      <a:pt x="136" y="278"/>
                      <a:pt x="138" y="278"/>
                      <a:pt x="140" y="278"/>
                    </a:cubicBezTo>
                    <a:cubicBezTo>
                      <a:pt x="141" y="280"/>
                      <a:pt x="141" y="280"/>
                      <a:pt x="141" y="280"/>
                    </a:cubicBezTo>
                    <a:cubicBezTo>
                      <a:pt x="142" y="280"/>
                      <a:pt x="144" y="279"/>
                      <a:pt x="146" y="280"/>
                    </a:cubicBezTo>
                    <a:cubicBezTo>
                      <a:pt x="147" y="280"/>
                      <a:pt x="149" y="282"/>
                      <a:pt x="150" y="282"/>
                    </a:cubicBezTo>
                    <a:cubicBezTo>
                      <a:pt x="156" y="284"/>
                      <a:pt x="160" y="283"/>
                      <a:pt x="166" y="284"/>
                    </a:cubicBezTo>
                    <a:cubicBezTo>
                      <a:pt x="166" y="284"/>
                      <a:pt x="168" y="285"/>
                      <a:pt x="169" y="284"/>
                    </a:cubicBezTo>
                    <a:cubicBezTo>
                      <a:pt x="170" y="284"/>
                      <a:pt x="171" y="283"/>
                      <a:pt x="171" y="282"/>
                    </a:cubicBezTo>
                    <a:cubicBezTo>
                      <a:pt x="173" y="282"/>
                      <a:pt x="174" y="282"/>
                      <a:pt x="176" y="281"/>
                    </a:cubicBezTo>
                    <a:cubicBezTo>
                      <a:pt x="177" y="281"/>
                      <a:pt x="178" y="279"/>
                      <a:pt x="179" y="278"/>
                    </a:cubicBezTo>
                    <a:cubicBezTo>
                      <a:pt x="180" y="278"/>
                      <a:pt x="180" y="278"/>
                      <a:pt x="180" y="278"/>
                    </a:cubicBezTo>
                    <a:cubicBezTo>
                      <a:pt x="180" y="278"/>
                      <a:pt x="180" y="276"/>
                      <a:pt x="181" y="276"/>
                    </a:cubicBezTo>
                    <a:cubicBezTo>
                      <a:pt x="181" y="275"/>
                      <a:pt x="183" y="275"/>
                      <a:pt x="184" y="274"/>
                    </a:cubicBezTo>
                    <a:cubicBezTo>
                      <a:pt x="186" y="272"/>
                      <a:pt x="187" y="266"/>
                      <a:pt x="185" y="263"/>
                    </a:cubicBezTo>
                    <a:cubicBezTo>
                      <a:pt x="178" y="256"/>
                      <a:pt x="178" y="256"/>
                      <a:pt x="178" y="256"/>
                    </a:cubicBezTo>
                    <a:cubicBezTo>
                      <a:pt x="177" y="256"/>
                      <a:pt x="175" y="256"/>
                      <a:pt x="175" y="256"/>
                    </a:cubicBezTo>
                    <a:cubicBezTo>
                      <a:pt x="173" y="255"/>
                      <a:pt x="173" y="252"/>
                      <a:pt x="172" y="251"/>
                    </a:cubicBezTo>
                    <a:cubicBezTo>
                      <a:pt x="172" y="251"/>
                      <a:pt x="170" y="252"/>
                      <a:pt x="170" y="253"/>
                    </a:cubicBezTo>
                    <a:cubicBezTo>
                      <a:pt x="167" y="250"/>
                      <a:pt x="163" y="246"/>
                      <a:pt x="160" y="245"/>
                    </a:cubicBezTo>
                    <a:cubicBezTo>
                      <a:pt x="158" y="244"/>
                      <a:pt x="157" y="245"/>
                      <a:pt x="156" y="244"/>
                    </a:cubicBezTo>
                    <a:cubicBezTo>
                      <a:pt x="155" y="244"/>
                      <a:pt x="155" y="242"/>
                      <a:pt x="154" y="241"/>
                    </a:cubicBezTo>
                    <a:cubicBezTo>
                      <a:pt x="152" y="241"/>
                      <a:pt x="151" y="241"/>
                      <a:pt x="149" y="241"/>
                    </a:cubicBezTo>
                    <a:cubicBezTo>
                      <a:pt x="148" y="240"/>
                      <a:pt x="145" y="238"/>
                      <a:pt x="143" y="237"/>
                    </a:cubicBezTo>
                    <a:cubicBezTo>
                      <a:pt x="142" y="237"/>
                      <a:pt x="142" y="238"/>
                      <a:pt x="141" y="238"/>
                    </a:cubicBezTo>
                    <a:cubicBezTo>
                      <a:pt x="140" y="237"/>
                      <a:pt x="139" y="235"/>
                      <a:pt x="138" y="235"/>
                    </a:cubicBezTo>
                    <a:cubicBezTo>
                      <a:pt x="136" y="234"/>
                      <a:pt x="135" y="235"/>
                      <a:pt x="135" y="235"/>
                    </a:cubicBezTo>
                    <a:cubicBezTo>
                      <a:pt x="134" y="235"/>
                      <a:pt x="132" y="233"/>
                      <a:pt x="132" y="233"/>
                    </a:cubicBezTo>
                    <a:cubicBezTo>
                      <a:pt x="129" y="231"/>
                      <a:pt x="126" y="231"/>
                      <a:pt x="123" y="231"/>
                    </a:cubicBezTo>
                    <a:cubicBezTo>
                      <a:pt x="123" y="231"/>
                      <a:pt x="123" y="229"/>
                      <a:pt x="123" y="229"/>
                    </a:cubicBezTo>
                    <a:cubicBezTo>
                      <a:pt x="122" y="229"/>
                      <a:pt x="121" y="230"/>
                      <a:pt x="120" y="230"/>
                    </a:cubicBezTo>
                    <a:cubicBezTo>
                      <a:pt x="121" y="230"/>
                      <a:pt x="119" y="229"/>
                      <a:pt x="118" y="229"/>
                    </a:cubicBezTo>
                    <a:cubicBezTo>
                      <a:pt x="115" y="229"/>
                      <a:pt x="115" y="230"/>
                      <a:pt x="111" y="229"/>
                    </a:cubicBezTo>
                    <a:cubicBezTo>
                      <a:pt x="111" y="229"/>
                      <a:pt x="111" y="227"/>
                      <a:pt x="111" y="227"/>
                    </a:cubicBezTo>
                    <a:cubicBezTo>
                      <a:pt x="114" y="226"/>
                      <a:pt x="114" y="226"/>
                      <a:pt x="117" y="225"/>
                    </a:cubicBezTo>
                    <a:cubicBezTo>
                      <a:pt x="116" y="224"/>
                      <a:pt x="109" y="221"/>
                      <a:pt x="109" y="221"/>
                    </a:cubicBezTo>
                    <a:cubicBezTo>
                      <a:pt x="109" y="221"/>
                      <a:pt x="109" y="221"/>
                      <a:pt x="108" y="221"/>
                    </a:cubicBezTo>
                    <a:cubicBezTo>
                      <a:pt x="108" y="221"/>
                      <a:pt x="109" y="222"/>
                      <a:pt x="109" y="223"/>
                    </a:cubicBezTo>
                    <a:cubicBezTo>
                      <a:pt x="108" y="223"/>
                      <a:pt x="107" y="222"/>
                      <a:pt x="106" y="223"/>
                    </a:cubicBezTo>
                    <a:cubicBezTo>
                      <a:pt x="106" y="224"/>
                      <a:pt x="106" y="224"/>
                      <a:pt x="106" y="224"/>
                    </a:cubicBezTo>
                    <a:cubicBezTo>
                      <a:pt x="104" y="224"/>
                      <a:pt x="105" y="222"/>
                      <a:pt x="104" y="222"/>
                    </a:cubicBezTo>
                    <a:cubicBezTo>
                      <a:pt x="103" y="221"/>
                      <a:pt x="105" y="224"/>
                      <a:pt x="103" y="225"/>
                    </a:cubicBezTo>
                    <a:cubicBezTo>
                      <a:pt x="101" y="225"/>
                      <a:pt x="100" y="223"/>
                      <a:pt x="97" y="222"/>
                    </a:cubicBezTo>
                    <a:cubicBezTo>
                      <a:pt x="96" y="222"/>
                      <a:pt x="97" y="225"/>
                      <a:pt x="96" y="225"/>
                    </a:cubicBezTo>
                    <a:cubicBezTo>
                      <a:pt x="95" y="226"/>
                      <a:pt x="92" y="227"/>
                      <a:pt x="92" y="227"/>
                    </a:cubicBezTo>
                    <a:cubicBezTo>
                      <a:pt x="92" y="227"/>
                      <a:pt x="90" y="229"/>
                      <a:pt x="88" y="230"/>
                    </a:cubicBezTo>
                    <a:cubicBezTo>
                      <a:pt x="87" y="232"/>
                      <a:pt x="84" y="234"/>
                      <a:pt x="84" y="234"/>
                    </a:cubicBezTo>
                    <a:cubicBezTo>
                      <a:pt x="84" y="234"/>
                      <a:pt x="82" y="236"/>
                      <a:pt x="80" y="237"/>
                    </a:cubicBezTo>
                    <a:cubicBezTo>
                      <a:pt x="78" y="237"/>
                      <a:pt x="81" y="239"/>
                      <a:pt x="81" y="239"/>
                    </a:cubicBezTo>
                    <a:cubicBezTo>
                      <a:pt x="81" y="239"/>
                      <a:pt x="78" y="242"/>
                      <a:pt x="78" y="242"/>
                    </a:cubicBezTo>
                    <a:cubicBezTo>
                      <a:pt x="79" y="243"/>
                      <a:pt x="82" y="242"/>
                      <a:pt x="82" y="242"/>
                    </a:cubicBezTo>
                    <a:cubicBezTo>
                      <a:pt x="82" y="244"/>
                      <a:pt x="81" y="247"/>
                      <a:pt x="82" y="248"/>
                    </a:cubicBezTo>
                    <a:cubicBezTo>
                      <a:pt x="83" y="250"/>
                      <a:pt x="87" y="251"/>
                      <a:pt x="87" y="251"/>
                    </a:cubicBezTo>
                    <a:cubicBezTo>
                      <a:pt x="87" y="251"/>
                      <a:pt x="87" y="255"/>
                      <a:pt x="92" y="257"/>
                    </a:cubicBezTo>
                    <a:cubicBezTo>
                      <a:pt x="98" y="261"/>
                      <a:pt x="86" y="266"/>
                      <a:pt x="86" y="268"/>
                    </a:cubicBezTo>
                    <a:cubicBezTo>
                      <a:pt x="86" y="269"/>
                      <a:pt x="87" y="274"/>
                      <a:pt x="88" y="277"/>
                    </a:cubicBezTo>
                    <a:cubicBezTo>
                      <a:pt x="89" y="280"/>
                      <a:pt x="91" y="282"/>
                      <a:pt x="91" y="282"/>
                    </a:cubicBezTo>
                    <a:cubicBezTo>
                      <a:pt x="91" y="282"/>
                      <a:pt x="95" y="287"/>
                      <a:pt x="94" y="288"/>
                    </a:cubicBezTo>
                    <a:cubicBezTo>
                      <a:pt x="94" y="290"/>
                      <a:pt x="92" y="287"/>
                      <a:pt x="91" y="289"/>
                    </a:cubicBezTo>
                    <a:cubicBezTo>
                      <a:pt x="90" y="291"/>
                      <a:pt x="90" y="295"/>
                      <a:pt x="91" y="297"/>
                    </a:cubicBezTo>
                    <a:cubicBezTo>
                      <a:pt x="92" y="298"/>
                      <a:pt x="93" y="302"/>
                      <a:pt x="93" y="302"/>
                    </a:cubicBezTo>
                    <a:cubicBezTo>
                      <a:pt x="93" y="302"/>
                      <a:pt x="93" y="303"/>
                      <a:pt x="95" y="305"/>
                    </a:cubicBezTo>
                    <a:cubicBezTo>
                      <a:pt x="97" y="307"/>
                      <a:pt x="99" y="309"/>
                      <a:pt x="98" y="311"/>
                    </a:cubicBezTo>
                    <a:cubicBezTo>
                      <a:pt x="97" y="313"/>
                      <a:pt x="95" y="312"/>
                      <a:pt x="94" y="314"/>
                    </a:cubicBezTo>
                    <a:cubicBezTo>
                      <a:pt x="93" y="318"/>
                      <a:pt x="99" y="319"/>
                      <a:pt x="100" y="322"/>
                    </a:cubicBezTo>
                    <a:cubicBezTo>
                      <a:pt x="101" y="324"/>
                      <a:pt x="104" y="324"/>
                      <a:pt x="106" y="326"/>
                    </a:cubicBezTo>
                    <a:cubicBezTo>
                      <a:pt x="108" y="327"/>
                      <a:pt x="107" y="330"/>
                      <a:pt x="105" y="332"/>
                    </a:cubicBezTo>
                    <a:cubicBezTo>
                      <a:pt x="104" y="334"/>
                      <a:pt x="97" y="340"/>
                      <a:pt x="97" y="342"/>
                    </a:cubicBezTo>
                    <a:cubicBezTo>
                      <a:pt x="97" y="344"/>
                      <a:pt x="81" y="354"/>
                      <a:pt x="81" y="354"/>
                    </a:cubicBezTo>
                    <a:cubicBezTo>
                      <a:pt x="70" y="363"/>
                      <a:pt x="70" y="363"/>
                      <a:pt x="70" y="363"/>
                    </a:cubicBezTo>
                    <a:cubicBezTo>
                      <a:pt x="70" y="363"/>
                      <a:pt x="70" y="363"/>
                      <a:pt x="70" y="363"/>
                    </a:cubicBezTo>
                    <a:cubicBezTo>
                      <a:pt x="71" y="363"/>
                      <a:pt x="71" y="363"/>
                      <a:pt x="71" y="363"/>
                    </a:cubicBezTo>
                    <a:cubicBezTo>
                      <a:pt x="71" y="362"/>
                      <a:pt x="71" y="362"/>
                      <a:pt x="71" y="362"/>
                    </a:cubicBezTo>
                    <a:cubicBezTo>
                      <a:pt x="73" y="361"/>
                      <a:pt x="75" y="360"/>
                      <a:pt x="77" y="360"/>
                    </a:cubicBezTo>
                    <a:cubicBezTo>
                      <a:pt x="76" y="362"/>
                      <a:pt x="76" y="361"/>
                      <a:pt x="76" y="362"/>
                    </a:cubicBezTo>
                    <a:cubicBezTo>
                      <a:pt x="76" y="362"/>
                      <a:pt x="76" y="362"/>
                      <a:pt x="75" y="363"/>
                    </a:cubicBezTo>
                    <a:cubicBezTo>
                      <a:pt x="77" y="365"/>
                      <a:pt x="80" y="367"/>
                      <a:pt x="83" y="370"/>
                    </a:cubicBezTo>
                    <a:cubicBezTo>
                      <a:pt x="84" y="369"/>
                      <a:pt x="88" y="368"/>
                      <a:pt x="89" y="368"/>
                    </a:cubicBezTo>
                    <a:cubicBezTo>
                      <a:pt x="91" y="369"/>
                      <a:pt x="92" y="372"/>
                      <a:pt x="93" y="373"/>
                    </a:cubicBezTo>
                    <a:cubicBezTo>
                      <a:pt x="94" y="373"/>
                      <a:pt x="96" y="373"/>
                      <a:pt x="96" y="374"/>
                    </a:cubicBezTo>
                    <a:cubicBezTo>
                      <a:pt x="96" y="374"/>
                      <a:pt x="94" y="375"/>
                      <a:pt x="92" y="375"/>
                    </a:cubicBezTo>
                    <a:cubicBezTo>
                      <a:pt x="91" y="375"/>
                      <a:pt x="90" y="373"/>
                      <a:pt x="87" y="374"/>
                    </a:cubicBezTo>
                    <a:cubicBezTo>
                      <a:pt x="86" y="374"/>
                      <a:pt x="85" y="376"/>
                      <a:pt x="83" y="377"/>
                    </a:cubicBezTo>
                    <a:cubicBezTo>
                      <a:pt x="81" y="377"/>
                      <a:pt x="81" y="376"/>
                      <a:pt x="79" y="376"/>
                    </a:cubicBezTo>
                    <a:cubicBezTo>
                      <a:pt x="78" y="376"/>
                      <a:pt x="78" y="377"/>
                      <a:pt x="77" y="378"/>
                    </a:cubicBezTo>
                    <a:cubicBezTo>
                      <a:pt x="77" y="377"/>
                      <a:pt x="77" y="376"/>
                      <a:pt x="76" y="376"/>
                    </a:cubicBezTo>
                    <a:cubicBezTo>
                      <a:pt x="76" y="377"/>
                      <a:pt x="75" y="380"/>
                      <a:pt x="74" y="382"/>
                    </a:cubicBezTo>
                    <a:cubicBezTo>
                      <a:pt x="74" y="382"/>
                      <a:pt x="76" y="384"/>
                      <a:pt x="76" y="385"/>
                    </a:cubicBezTo>
                    <a:cubicBezTo>
                      <a:pt x="76" y="387"/>
                      <a:pt x="74" y="389"/>
                      <a:pt x="74" y="389"/>
                    </a:cubicBezTo>
                    <a:cubicBezTo>
                      <a:pt x="73" y="390"/>
                      <a:pt x="73" y="390"/>
                      <a:pt x="73" y="390"/>
                    </a:cubicBezTo>
                    <a:cubicBezTo>
                      <a:pt x="74" y="394"/>
                      <a:pt x="74" y="396"/>
                      <a:pt x="73" y="401"/>
                    </a:cubicBezTo>
                    <a:cubicBezTo>
                      <a:pt x="73" y="401"/>
                      <a:pt x="71" y="401"/>
                      <a:pt x="71" y="401"/>
                    </a:cubicBezTo>
                    <a:cubicBezTo>
                      <a:pt x="71" y="401"/>
                      <a:pt x="69" y="404"/>
                      <a:pt x="67" y="405"/>
                    </a:cubicBezTo>
                    <a:cubicBezTo>
                      <a:pt x="65" y="405"/>
                      <a:pt x="65" y="410"/>
                      <a:pt x="65" y="410"/>
                    </a:cubicBezTo>
                    <a:cubicBezTo>
                      <a:pt x="65" y="410"/>
                      <a:pt x="66" y="411"/>
                      <a:pt x="66" y="413"/>
                    </a:cubicBezTo>
                    <a:cubicBezTo>
                      <a:pt x="67" y="415"/>
                      <a:pt x="71" y="413"/>
                      <a:pt x="71" y="413"/>
                    </a:cubicBezTo>
                    <a:cubicBezTo>
                      <a:pt x="71" y="413"/>
                      <a:pt x="72" y="418"/>
                      <a:pt x="72" y="420"/>
                    </a:cubicBezTo>
                    <a:cubicBezTo>
                      <a:pt x="72" y="422"/>
                      <a:pt x="74" y="420"/>
                      <a:pt x="75" y="422"/>
                    </a:cubicBezTo>
                    <a:cubicBezTo>
                      <a:pt x="76" y="424"/>
                      <a:pt x="78" y="426"/>
                      <a:pt x="78" y="426"/>
                    </a:cubicBezTo>
                    <a:cubicBezTo>
                      <a:pt x="79" y="430"/>
                      <a:pt x="79" y="430"/>
                      <a:pt x="79" y="430"/>
                    </a:cubicBezTo>
                    <a:cubicBezTo>
                      <a:pt x="80" y="427"/>
                      <a:pt x="79" y="434"/>
                      <a:pt x="81" y="432"/>
                    </a:cubicBezTo>
                    <a:cubicBezTo>
                      <a:pt x="83" y="431"/>
                      <a:pt x="85" y="431"/>
                      <a:pt x="85" y="431"/>
                    </a:cubicBezTo>
                    <a:cubicBezTo>
                      <a:pt x="85" y="431"/>
                      <a:pt x="87" y="431"/>
                      <a:pt x="89" y="432"/>
                    </a:cubicBezTo>
                    <a:cubicBezTo>
                      <a:pt x="91" y="433"/>
                      <a:pt x="94" y="433"/>
                      <a:pt x="94" y="436"/>
                    </a:cubicBezTo>
                    <a:cubicBezTo>
                      <a:pt x="94" y="438"/>
                      <a:pt x="97" y="436"/>
                      <a:pt x="97" y="440"/>
                    </a:cubicBezTo>
                    <a:cubicBezTo>
                      <a:pt x="97" y="443"/>
                      <a:pt x="99" y="443"/>
                      <a:pt x="99" y="447"/>
                    </a:cubicBezTo>
                    <a:cubicBezTo>
                      <a:pt x="99" y="451"/>
                      <a:pt x="98" y="453"/>
                      <a:pt x="100" y="454"/>
                    </a:cubicBezTo>
                    <a:cubicBezTo>
                      <a:pt x="102" y="456"/>
                      <a:pt x="105" y="456"/>
                      <a:pt x="106" y="459"/>
                    </a:cubicBezTo>
                    <a:cubicBezTo>
                      <a:pt x="107" y="462"/>
                      <a:pt x="108" y="465"/>
                      <a:pt x="106" y="466"/>
                    </a:cubicBezTo>
                    <a:cubicBezTo>
                      <a:pt x="103" y="466"/>
                      <a:pt x="102" y="463"/>
                      <a:pt x="100" y="466"/>
                    </a:cubicBezTo>
                    <a:cubicBezTo>
                      <a:pt x="99" y="469"/>
                      <a:pt x="103" y="469"/>
                      <a:pt x="103" y="471"/>
                    </a:cubicBezTo>
                    <a:cubicBezTo>
                      <a:pt x="103" y="482"/>
                      <a:pt x="103" y="482"/>
                      <a:pt x="103" y="482"/>
                    </a:cubicBezTo>
                    <a:cubicBezTo>
                      <a:pt x="103" y="482"/>
                      <a:pt x="106" y="487"/>
                      <a:pt x="109" y="482"/>
                    </a:cubicBezTo>
                    <a:cubicBezTo>
                      <a:pt x="110" y="480"/>
                      <a:pt x="110" y="482"/>
                      <a:pt x="112" y="483"/>
                    </a:cubicBezTo>
                    <a:cubicBezTo>
                      <a:pt x="115" y="484"/>
                      <a:pt x="117" y="482"/>
                      <a:pt x="117" y="484"/>
                    </a:cubicBezTo>
                    <a:cubicBezTo>
                      <a:pt x="117" y="486"/>
                      <a:pt x="118" y="488"/>
                      <a:pt x="118" y="488"/>
                    </a:cubicBezTo>
                    <a:cubicBezTo>
                      <a:pt x="118" y="488"/>
                      <a:pt x="118" y="492"/>
                      <a:pt x="120" y="492"/>
                    </a:cubicBezTo>
                    <a:cubicBezTo>
                      <a:pt x="121" y="492"/>
                      <a:pt x="120" y="496"/>
                      <a:pt x="122" y="496"/>
                    </a:cubicBezTo>
                    <a:cubicBezTo>
                      <a:pt x="124" y="496"/>
                      <a:pt x="127" y="495"/>
                      <a:pt x="128" y="496"/>
                    </a:cubicBezTo>
                    <a:cubicBezTo>
                      <a:pt x="131" y="498"/>
                      <a:pt x="132" y="498"/>
                      <a:pt x="134" y="497"/>
                    </a:cubicBezTo>
                    <a:cubicBezTo>
                      <a:pt x="136" y="497"/>
                      <a:pt x="136" y="500"/>
                      <a:pt x="137" y="501"/>
                    </a:cubicBezTo>
                    <a:cubicBezTo>
                      <a:pt x="140" y="502"/>
                      <a:pt x="139" y="502"/>
                      <a:pt x="141" y="502"/>
                    </a:cubicBezTo>
                    <a:cubicBezTo>
                      <a:pt x="143" y="503"/>
                      <a:pt x="143" y="508"/>
                      <a:pt x="143" y="508"/>
                    </a:cubicBezTo>
                    <a:cubicBezTo>
                      <a:pt x="143" y="508"/>
                      <a:pt x="146" y="507"/>
                      <a:pt x="148" y="507"/>
                    </a:cubicBezTo>
                    <a:cubicBezTo>
                      <a:pt x="150" y="506"/>
                      <a:pt x="151" y="505"/>
                      <a:pt x="151" y="505"/>
                    </a:cubicBezTo>
                    <a:cubicBezTo>
                      <a:pt x="151" y="505"/>
                      <a:pt x="155" y="505"/>
                      <a:pt x="156" y="506"/>
                    </a:cubicBezTo>
                    <a:cubicBezTo>
                      <a:pt x="157" y="508"/>
                      <a:pt x="155" y="508"/>
                      <a:pt x="158" y="508"/>
                    </a:cubicBezTo>
                    <a:cubicBezTo>
                      <a:pt x="161" y="508"/>
                      <a:pt x="160" y="510"/>
                      <a:pt x="163" y="511"/>
                    </a:cubicBezTo>
                    <a:cubicBezTo>
                      <a:pt x="165" y="511"/>
                      <a:pt x="172" y="514"/>
                      <a:pt x="174" y="516"/>
                    </a:cubicBezTo>
                    <a:cubicBezTo>
                      <a:pt x="177" y="518"/>
                      <a:pt x="173" y="519"/>
                      <a:pt x="175" y="520"/>
                    </a:cubicBezTo>
                    <a:cubicBezTo>
                      <a:pt x="176" y="522"/>
                      <a:pt x="179" y="521"/>
                      <a:pt x="178" y="523"/>
                    </a:cubicBezTo>
                    <a:cubicBezTo>
                      <a:pt x="177" y="525"/>
                      <a:pt x="175" y="526"/>
                      <a:pt x="177" y="526"/>
                    </a:cubicBezTo>
                    <a:cubicBezTo>
                      <a:pt x="181" y="527"/>
                      <a:pt x="177" y="531"/>
                      <a:pt x="178" y="533"/>
                    </a:cubicBezTo>
                    <a:cubicBezTo>
                      <a:pt x="179" y="534"/>
                      <a:pt x="179" y="535"/>
                      <a:pt x="179" y="537"/>
                    </a:cubicBezTo>
                    <a:cubicBezTo>
                      <a:pt x="179" y="539"/>
                      <a:pt x="178" y="541"/>
                      <a:pt x="178" y="543"/>
                    </a:cubicBezTo>
                    <a:cubicBezTo>
                      <a:pt x="177" y="545"/>
                      <a:pt x="173" y="546"/>
                      <a:pt x="171" y="546"/>
                    </a:cubicBezTo>
                    <a:cubicBezTo>
                      <a:pt x="169" y="548"/>
                      <a:pt x="169" y="548"/>
                      <a:pt x="169" y="548"/>
                    </a:cubicBezTo>
                    <a:cubicBezTo>
                      <a:pt x="168" y="551"/>
                      <a:pt x="168" y="551"/>
                      <a:pt x="168" y="551"/>
                    </a:cubicBezTo>
                    <a:cubicBezTo>
                      <a:pt x="168" y="552"/>
                      <a:pt x="170" y="551"/>
                      <a:pt x="171" y="551"/>
                    </a:cubicBezTo>
                    <a:cubicBezTo>
                      <a:pt x="171" y="550"/>
                      <a:pt x="171" y="550"/>
                      <a:pt x="171" y="550"/>
                    </a:cubicBezTo>
                    <a:cubicBezTo>
                      <a:pt x="172" y="549"/>
                      <a:pt x="172" y="551"/>
                      <a:pt x="173" y="550"/>
                    </a:cubicBezTo>
                    <a:cubicBezTo>
                      <a:pt x="173" y="552"/>
                      <a:pt x="173" y="552"/>
                      <a:pt x="173" y="552"/>
                    </a:cubicBezTo>
                    <a:cubicBezTo>
                      <a:pt x="171" y="553"/>
                      <a:pt x="170" y="553"/>
                      <a:pt x="168" y="554"/>
                    </a:cubicBezTo>
                    <a:cubicBezTo>
                      <a:pt x="167" y="554"/>
                      <a:pt x="166" y="556"/>
                      <a:pt x="165" y="556"/>
                    </a:cubicBezTo>
                    <a:cubicBezTo>
                      <a:pt x="164" y="556"/>
                      <a:pt x="165" y="555"/>
                      <a:pt x="163" y="556"/>
                    </a:cubicBezTo>
                    <a:cubicBezTo>
                      <a:pt x="163" y="557"/>
                      <a:pt x="163" y="560"/>
                      <a:pt x="163" y="560"/>
                    </a:cubicBezTo>
                    <a:cubicBezTo>
                      <a:pt x="162" y="560"/>
                      <a:pt x="157" y="560"/>
                      <a:pt x="156" y="560"/>
                    </a:cubicBezTo>
                    <a:cubicBezTo>
                      <a:pt x="156" y="561"/>
                      <a:pt x="157" y="563"/>
                      <a:pt x="158" y="563"/>
                    </a:cubicBezTo>
                    <a:cubicBezTo>
                      <a:pt x="159" y="563"/>
                      <a:pt x="161" y="563"/>
                      <a:pt x="161" y="564"/>
                    </a:cubicBezTo>
                    <a:cubicBezTo>
                      <a:pt x="161" y="565"/>
                      <a:pt x="162" y="566"/>
                      <a:pt x="161" y="568"/>
                    </a:cubicBezTo>
                    <a:cubicBezTo>
                      <a:pt x="160" y="568"/>
                      <a:pt x="158" y="569"/>
                      <a:pt x="158" y="569"/>
                    </a:cubicBezTo>
                    <a:cubicBezTo>
                      <a:pt x="158" y="570"/>
                      <a:pt x="158" y="571"/>
                      <a:pt x="158" y="572"/>
                    </a:cubicBezTo>
                    <a:cubicBezTo>
                      <a:pt x="157" y="572"/>
                      <a:pt x="153" y="572"/>
                      <a:pt x="153" y="572"/>
                    </a:cubicBezTo>
                    <a:cubicBezTo>
                      <a:pt x="152" y="572"/>
                      <a:pt x="153" y="575"/>
                      <a:pt x="153" y="575"/>
                    </a:cubicBezTo>
                    <a:cubicBezTo>
                      <a:pt x="151" y="576"/>
                      <a:pt x="150" y="575"/>
                      <a:pt x="149" y="576"/>
                    </a:cubicBezTo>
                    <a:cubicBezTo>
                      <a:pt x="149" y="576"/>
                      <a:pt x="149" y="578"/>
                      <a:pt x="149" y="578"/>
                    </a:cubicBezTo>
                    <a:cubicBezTo>
                      <a:pt x="151" y="577"/>
                      <a:pt x="152" y="576"/>
                      <a:pt x="155" y="576"/>
                    </a:cubicBezTo>
                    <a:cubicBezTo>
                      <a:pt x="155" y="576"/>
                      <a:pt x="154" y="578"/>
                      <a:pt x="155" y="578"/>
                    </a:cubicBezTo>
                    <a:cubicBezTo>
                      <a:pt x="155" y="579"/>
                      <a:pt x="157" y="581"/>
                      <a:pt x="157" y="582"/>
                    </a:cubicBezTo>
                    <a:cubicBezTo>
                      <a:pt x="158" y="582"/>
                      <a:pt x="159" y="581"/>
                      <a:pt x="160" y="582"/>
                    </a:cubicBezTo>
                    <a:cubicBezTo>
                      <a:pt x="160" y="582"/>
                      <a:pt x="161" y="584"/>
                      <a:pt x="161" y="585"/>
                    </a:cubicBezTo>
                    <a:cubicBezTo>
                      <a:pt x="162" y="586"/>
                      <a:pt x="164" y="586"/>
                      <a:pt x="165" y="586"/>
                    </a:cubicBezTo>
                    <a:cubicBezTo>
                      <a:pt x="165" y="587"/>
                      <a:pt x="165" y="589"/>
                      <a:pt x="166" y="590"/>
                    </a:cubicBezTo>
                    <a:cubicBezTo>
                      <a:pt x="167" y="591"/>
                      <a:pt x="168" y="590"/>
                      <a:pt x="169" y="591"/>
                    </a:cubicBezTo>
                    <a:cubicBezTo>
                      <a:pt x="171" y="592"/>
                      <a:pt x="172" y="595"/>
                      <a:pt x="174" y="597"/>
                    </a:cubicBezTo>
                    <a:cubicBezTo>
                      <a:pt x="174" y="597"/>
                      <a:pt x="174" y="597"/>
                      <a:pt x="175" y="598"/>
                    </a:cubicBezTo>
                    <a:cubicBezTo>
                      <a:pt x="176" y="598"/>
                      <a:pt x="176" y="593"/>
                      <a:pt x="178" y="592"/>
                    </a:cubicBezTo>
                    <a:cubicBezTo>
                      <a:pt x="180" y="591"/>
                      <a:pt x="183" y="590"/>
                      <a:pt x="184" y="592"/>
                    </a:cubicBezTo>
                    <a:cubicBezTo>
                      <a:pt x="185" y="593"/>
                      <a:pt x="187" y="593"/>
                      <a:pt x="190" y="594"/>
                    </a:cubicBezTo>
                    <a:cubicBezTo>
                      <a:pt x="193" y="595"/>
                      <a:pt x="195" y="594"/>
                      <a:pt x="197" y="594"/>
                    </a:cubicBezTo>
                    <a:cubicBezTo>
                      <a:pt x="199" y="594"/>
                      <a:pt x="199" y="595"/>
                      <a:pt x="201" y="597"/>
                    </a:cubicBezTo>
                    <a:cubicBezTo>
                      <a:pt x="204" y="598"/>
                      <a:pt x="205" y="602"/>
                      <a:pt x="208" y="602"/>
                    </a:cubicBezTo>
                    <a:cubicBezTo>
                      <a:pt x="211" y="602"/>
                      <a:pt x="213" y="599"/>
                      <a:pt x="215" y="601"/>
                    </a:cubicBezTo>
                    <a:cubicBezTo>
                      <a:pt x="216" y="603"/>
                      <a:pt x="216" y="601"/>
                      <a:pt x="218" y="600"/>
                    </a:cubicBezTo>
                    <a:cubicBezTo>
                      <a:pt x="221" y="599"/>
                      <a:pt x="222" y="599"/>
                      <a:pt x="223" y="601"/>
                    </a:cubicBezTo>
                    <a:cubicBezTo>
                      <a:pt x="224" y="602"/>
                      <a:pt x="224" y="604"/>
                      <a:pt x="226" y="605"/>
                    </a:cubicBezTo>
                    <a:cubicBezTo>
                      <a:pt x="228" y="606"/>
                      <a:pt x="228" y="606"/>
                      <a:pt x="230" y="607"/>
                    </a:cubicBezTo>
                    <a:cubicBezTo>
                      <a:pt x="231" y="607"/>
                      <a:pt x="228" y="610"/>
                      <a:pt x="230" y="611"/>
                    </a:cubicBezTo>
                    <a:cubicBezTo>
                      <a:pt x="232" y="611"/>
                      <a:pt x="234" y="610"/>
                      <a:pt x="235" y="611"/>
                    </a:cubicBezTo>
                    <a:cubicBezTo>
                      <a:pt x="236" y="613"/>
                      <a:pt x="238" y="615"/>
                      <a:pt x="238" y="615"/>
                    </a:cubicBezTo>
                    <a:cubicBezTo>
                      <a:pt x="238" y="615"/>
                      <a:pt x="240" y="616"/>
                      <a:pt x="241" y="618"/>
                    </a:cubicBezTo>
                    <a:cubicBezTo>
                      <a:pt x="243" y="620"/>
                      <a:pt x="244" y="620"/>
                      <a:pt x="245" y="622"/>
                    </a:cubicBezTo>
                    <a:cubicBezTo>
                      <a:pt x="246" y="625"/>
                      <a:pt x="247" y="626"/>
                      <a:pt x="249" y="626"/>
                    </a:cubicBezTo>
                    <a:cubicBezTo>
                      <a:pt x="250" y="626"/>
                      <a:pt x="253" y="620"/>
                      <a:pt x="253" y="620"/>
                    </a:cubicBezTo>
                    <a:cubicBezTo>
                      <a:pt x="253" y="619"/>
                      <a:pt x="252" y="618"/>
                      <a:pt x="252" y="617"/>
                    </a:cubicBezTo>
                    <a:cubicBezTo>
                      <a:pt x="251" y="616"/>
                      <a:pt x="247" y="613"/>
                      <a:pt x="246" y="613"/>
                    </a:cubicBezTo>
                    <a:cubicBezTo>
                      <a:pt x="245" y="611"/>
                      <a:pt x="246" y="610"/>
                      <a:pt x="245" y="608"/>
                    </a:cubicBezTo>
                    <a:cubicBezTo>
                      <a:pt x="244" y="606"/>
                      <a:pt x="241" y="605"/>
                      <a:pt x="240" y="602"/>
                    </a:cubicBezTo>
                    <a:cubicBezTo>
                      <a:pt x="240" y="601"/>
                      <a:pt x="240" y="594"/>
                      <a:pt x="240" y="594"/>
                    </a:cubicBezTo>
                    <a:cubicBezTo>
                      <a:pt x="238" y="593"/>
                      <a:pt x="238" y="593"/>
                      <a:pt x="238" y="593"/>
                    </a:cubicBezTo>
                    <a:cubicBezTo>
                      <a:pt x="239" y="590"/>
                      <a:pt x="239" y="589"/>
                      <a:pt x="239" y="586"/>
                    </a:cubicBezTo>
                    <a:cubicBezTo>
                      <a:pt x="238" y="586"/>
                      <a:pt x="234" y="586"/>
                      <a:pt x="232" y="586"/>
                    </a:cubicBezTo>
                    <a:cubicBezTo>
                      <a:pt x="234" y="584"/>
                      <a:pt x="232" y="584"/>
                      <a:pt x="232" y="581"/>
                    </a:cubicBezTo>
                    <a:cubicBezTo>
                      <a:pt x="232" y="581"/>
                      <a:pt x="234" y="580"/>
                      <a:pt x="234" y="580"/>
                    </a:cubicBezTo>
                    <a:cubicBezTo>
                      <a:pt x="235" y="579"/>
                      <a:pt x="234" y="577"/>
                      <a:pt x="234" y="576"/>
                    </a:cubicBezTo>
                    <a:cubicBezTo>
                      <a:pt x="235" y="574"/>
                      <a:pt x="236" y="571"/>
                      <a:pt x="237" y="569"/>
                    </a:cubicBezTo>
                    <a:cubicBezTo>
                      <a:pt x="237" y="569"/>
                      <a:pt x="239" y="567"/>
                      <a:pt x="239" y="566"/>
                    </a:cubicBezTo>
                    <a:cubicBezTo>
                      <a:pt x="239" y="566"/>
                      <a:pt x="238" y="565"/>
                      <a:pt x="238" y="566"/>
                    </a:cubicBezTo>
                    <a:cubicBezTo>
                      <a:pt x="238" y="564"/>
                      <a:pt x="238" y="564"/>
                      <a:pt x="238" y="564"/>
                    </a:cubicBezTo>
                    <a:cubicBezTo>
                      <a:pt x="238" y="564"/>
                      <a:pt x="238" y="564"/>
                      <a:pt x="238" y="564"/>
                    </a:cubicBezTo>
                    <a:cubicBezTo>
                      <a:pt x="237" y="564"/>
                      <a:pt x="238" y="562"/>
                      <a:pt x="238" y="562"/>
                    </a:cubicBezTo>
                    <a:cubicBezTo>
                      <a:pt x="238" y="562"/>
                      <a:pt x="239" y="562"/>
                      <a:pt x="240" y="563"/>
                    </a:cubicBezTo>
                    <a:cubicBezTo>
                      <a:pt x="241" y="563"/>
                      <a:pt x="241" y="562"/>
                      <a:pt x="242" y="562"/>
                    </a:cubicBezTo>
                    <a:cubicBezTo>
                      <a:pt x="242" y="562"/>
                      <a:pt x="242" y="560"/>
                      <a:pt x="242" y="560"/>
                    </a:cubicBezTo>
                    <a:cubicBezTo>
                      <a:pt x="244" y="560"/>
                      <a:pt x="244" y="560"/>
                      <a:pt x="244" y="560"/>
                    </a:cubicBezTo>
                    <a:cubicBezTo>
                      <a:pt x="244" y="560"/>
                      <a:pt x="243" y="562"/>
                      <a:pt x="244" y="563"/>
                    </a:cubicBezTo>
                    <a:cubicBezTo>
                      <a:pt x="244" y="563"/>
                      <a:pt x="246" y="563"/>
                      <a:pt x="246" y="563"/>
                    </a:cubicBezTo>
                    <a:cubicBezTo>
                      <a:pt x="245" y="564"/>
                      <a:pt x="246" y="564"/>
                      <a:pt x="246" y="565"/>
                    </a:cubicBezTo>
                    <a:cubicBezTo>
                      <a:pt x="247" y="565"/>
                      <a:pt x="249" y="563"/>
                      <a:pt x="250" y="562"/>
                    </a:cubicBezTo>
                    <a:cubicBezTo>
                      <a:pt x="250" y="562"/>
                      <a:pt x="249" y="561"/>
                      <a:pt x="250" y="560"/>
                    </a:cubicBezTo>
                    <a:cubicBezTo>
                      <a:pt x="249" y="560"/>
                      <a:pt x="248" y="560"/>
                      <a:pt x="247" y="560"/>
                    </a:cubicBezTo>
                    <a:cubicBezTo>
                      <a:pt x="247" y="560"/>
                      <a:pt x="246" y="559"/>
                      <a:pt x="246" y="559"/>
                    </a:cubicBezTo>
                    <a:cubicBezTo>
                      <a:pt x="247" y="559"/>
                      <a:pt x="247" y="558"/>
                      <a:pt x="247" y="558"/>
                    </a:cubicBezTo>
                    <a:cubicBezTo>
                      <a:pt x="248" y="558"/>
                      <a:pt x="248" y="558"/>
                      <a:pt x="248" y="560"/>
                    </a:cubicBezTo>
                    <a:cubicBezTo>
                      <a:pt x="249" y="559"/>
                      <a:pt x="250" y="560"/>
                      <a:pt x="250" y="560"/>
                    </a:cubicBezTo>
                    <a:cubicBezTo>
                      <a:pt x="251" y="559"/>
                      <a:pt x="250" y="558"/>
                      <a:pt x="251" y="558"/>
                    </a:cubicBezTo>
                    <a:cubicBezTo>
                      <a:pt x="251" y="558"/>
                      <a:pt x="249" y="554"/>
                      <a:pt x="250" y="553"/>
                    </a:cubicBezTo>
                    <a:cubicBezTo>
                      <a:pt x="251" y="552"/>
                      <a:pt x="250" y="549"/>
                      <a:pt x="250" y="549"/>
                    </a:cubicBezTo>
                    <a:cubicBezTo>
                      <a:pt x="246" y="541"/>
                      <a:pt x="246" y="541"/>
                      <a:pt x="246" y="541"/>
                    </a:cubicBezTo>
                    <a:cubicBezTo>
                      <a:pt x="246" y="541"/>
                      <a:pt x="242" y="543"/>
                      <a:pt x="242" y="541"/>
                    </a:cubicBezTo>
                    <a:cubicBezTo>
                      <a:pt x="241" y="539"/>
                      <a:pt x="243" y="535"/>
                      <a:pt x="240" y="534"/>
                    </a:cubicBezTo>
                    <a:cubicBezTo>
                      <a:pt x="238" y="533"/>
                      <a:pt x="236" y="531"/>
                      <a:pt x="237" y="530"/>
                    </a:cubicBezTo>
                    <a:cubicBezTo>
                      <a:pt x="239" y="528"/>
                      <a:pt x="241" y="524"/>
                      <a:pt x="241" y="524"/>
                    </a:cubicBezTo>
                    <a:cubicBezTo>
                      <a:pt x="241" y="524"/>
                      <a:pt x="243" y="523"/>
                      <a:pt x="243" y="521"/>
                    </a:cubicBezTo>
                    <a:cubicBezTo>
                      <a:pt x="242" y="519"/>
                      <a:pt x="240" y="518"/>
                      <a:pt x="240" y="518"/>
                    </a:cubicBezTo>
                    <a:cubicBezTo>
                      <a:pt x="240" y="518"/>
                      <a:pt x="244" y="514"/>
                      <a:pt x="243" y="510"/>
                    </a:cubicBezTo>
                    <a:cubicBezTo>
                      <a:pt x="242" y="509"/>
                      <a:pt x="246" y="510"/>
                      <a:pt x="247" y="508"/>
                    </a:cubicBezTo>
                    <a:cubicBezTo>
                      <a:pt x="247" y="506"/>
                      <a:pt x="250" y="503"/>
                      <a:pt x="251" y="505"/>
                    </a:cubicBezTo>
                    <a:cubicBezTo>
                      <a:pt x="252" y="507"/>
                      <a:pt x="254" y="511"/>
                      <a:pt x="254" y="511"/>
                    </a:cubicBezTo>
                    <a:cubicBezTo>
                      <a:pt x="260" y="508"/>
                      <a:pt x="260" y="508"/>
                      <a:pt x="260" y="508"/>
                    </a:cubicBezTo>
                    <a:cubicBezTo>
                      <a:pt x="260" y="508"/>
                      <a:pt x="255" y="505"/>
                      <a:pt x="256" y="503"/>
                    </a:cubicBezTo>
                    <a:cubicBezTo>
                      <a:pt x="256" y="501"/>
                      <a:pt x="256" y="497"/>
                      <a:pt x="258" y="497"/>
                    </a:cubicBezTo>
                    <a:cubicBezTo>
                      <a:pt x="260" y="497"/>
                      <a:pt x="260" y="493"/>
                      <a:pt x="262" y="494"/>
                    </a:cubicBezTo>
                    <a:cubicBezTo>
                      <a:pt x="264" y="495"/>
                      <a:pt x="268" y="494"/>
                      <a:pt x="268" y="494"/>
                    </a:cubicBezTo>
                    <a:cubicBezTo>
                      <a:pt x="268" y="494"/>
                      <a:pt x="274" y="489"/>
                      <a:pt x="275" y="487"/>
                    </a:cubicBezTo>
                    <a:cubicBezTo>
                      <a:pt x="276" y="485"/>
                      <a:pt x="274" y="484"/>
                      <a:pt x="274" y="484"/>
                    </a:cubicBezTo>
                    <a:cubicBezTo>
                      <a:pt x="281" y="483"/>
                      <a:pt x="281" y="483"/>
                      <a:pt x="281" y="483"/>
                    </a:cubicBezTo>
                    <a:cubicBezTo>
                      <a:pt x="281" y="485"/>
                      <a:pt x="281" y="485"/>
                      <a:pt x="281" y="485"/>
                    </a:cubicBezTo>
                    <a:cubicBezTo>
                      <a:pt x="286" y="485"/>
                      <a:pt x="286" y="485"/>
                      <a:pt x="286" y="485"/>
                    </a:cubicBezTo>
                    <a:cubicBezTo>
                      <a:pt x="286" y="485"/>
                      <a:pt x="284" y="483"/>
                      <a:pt x="286" y="483"/>
                    </a:cubicBezTo>
                    <a:cubicBezTo>
                      <a:pt x="287" y="483"/>
                      <a:pt x="289" y="483"/>
                      <a:pt x="290" y="485"/>
                    </a:cubicBezTo>
                    <a:cubicBezTo>
                      <a:pt x="291" y="487"/>
                      <a:pt x="291" y="489"/>
                      <a:pt x="291" y="489"/>
                    </a:cubicBezTo>
                    <a:cubicBezTo>
                      <a:pt x="291" y="489"/>
                      <a:pt x="294" y="489"/>
                      <a:pt x="296" y="490"/>
                    </a:cubicBezTo>
                    <a:cubicBezTo>
                      <a:pt x="298" y="491"/>
                      <a:pt x="299" y="492"/>
                      <a:pt x="301" y="494"/>
                    </a:cubicBezTo>
                    <a:cubicBezTo>
                      <a:pt x="302" y="496"/>
                      <a:pt x="302" y="498"/>
                      <a:pt x="304" y="498"/>
                    </a:cubicBezTo>
                    <a:cubicBezTo>
                      <a:pt x="306" y="498"/>
                      <a:pt x="308" y="497"/>
                      <a:pt x="309" y="499"/>
                    </a:cubicBezTo>
                    <a:cubicBezTo>
                      <a:pt x="310" y="501"/>
                      <a:pt x="307" y="504"/>
                      <a:pt x="307" y="504"/>
                    </a:cubicBezTo>
                    <a:cubicBezTo>
                      <a:pt x="312" y="505"/>
                      <a:pt x="312" y="505"/>
                      <a:pt x="312" y="505"/>
                    </a:cubicBezTo>
                    <a:cubicBezTo>
                      <a:pt x="312" y="505"/>
                      <a:pt x="312" y="499"/>
                      <a:pt x="313" y="499"/>
                    </a:cubicBezTo>
                    <a:cubicBezTo>
                      <a:pt x="314" y="499"/>
                      <a:pt x="314" y="497"/>
                      <a:pt x="317" y="498"/>
                    </a:cubicBezTo>
                    <a:cubicBezTo>
                      <a:pt x="321" y="500"/>
                      <a:pt x="323" y="502"/>
                      <a:pt x="325" y="500"/>
                    </a:cubicBezTo>
                    <a:cubicBezTo>
                      <a:pt x="327" y="499"/>
                      <a:pt x="329" y="497"/>
                      <a:pt x="332" y="496"/>
                    </a:cubicBezTo>
                    <a:cubicBezTo>
                      <a:pt x="335" y="495"/>
                      <a:pt x="335" y="499"/>
                      <a:pt x="337" y="499"/>
                    </a:cubicBezTo>
                    <a:cubicBezTo>
                      <a:pt x="339" y="498"/>
                      <a:pt x="338" y="496"/>
                      <a:pt x="340" y="498"/>
                    </a:cubicBezTo>
                    <a:cubicBezTo>
                      <a:pt x="342" y="499"/>
                      <a:pt x="345" y="504"/>
                      <a:pt x="345" y="504"/>
                    </a:cubicBezTo>
                    <a:cubicBezTo>
                      <a:pt x="350" y="506"/>
                      <a:pt x="350" y="506"/>
                      <a:pt x="350" y="506"/>
                    </a:cubicBezTo>
                    <a:cubicBezTo>
                      <a:pt x="354" y="506"/>
                      <a:pt x="354" y="506"/>
                      <a:pt x="354" y="506"/>
                    </a:cubicBezTo>
                    <a:cubicBezTo>
                      <a:pt x="354" y="506"/>
                      <a:pt x="358" y="504"/>
                      <a:pt x="358" y="500"/>
                    </a:cubicBezTo>
                    <a:cubicBezTo>
                      <a:pt x="355" y="498"/>
                      <a:pt x="352" y="497"/>
                      <a:pt x="352" y="497"/>
                    </a:cubicBezTo>
                    <a:cubicBezTo>
                      <a:pt x="349" y="494"/>
                      <a:pt x="349" y="494"/>
                      <a:pt x="349" y="494"/>
                    </a:cubicBezTo>
                    <a:cubicBezTo>
                      <a:pt x="352" y="488"/>
                      <a:pt x="352" y="488"/>
                      <a:pt x="352" y="488"/>
                    </a:cubicBezTo>
                    <a:cubicBezTo>
                      <a:pt x="352" y="485"/>
                      <a:pt x="352" y="485"/>
                      <a:pt x="352" y="485"/>
                    </a:cubicBezTo>
                    <a:cubicBezTo>
                      <a:pt x="348" y="480"/>
                      <a:pt x="348" y="480"/>
                      <a:pt x="348" y="480"/>
                    </a:cubicBezTo>
                    <a:cubicBezTo>
                      <a:pt x="348" y="476"/>
                      <a:pt x="348" y="476"/>
                      <a:pt x="348" y="476"/>
                    </a:cubicBezTo>
                    <a:cubicBezTo>
                      <a:pt x="349" y="472"/>
                      <a:pt x="349" y="472"/>
                      <a:pt x="349" y="472"/>
                    </a:cubicBezTo>
                    <a:cubicBezTo>
                      <a:pt x="349" y="467"/>
                      <a:pt x="349" y="467"/>
                      <a:pt x="349" y="467"/>
                    </a:cubicBezTo>
                    <a:cubicBezTo>
                      <a:pt x="354" y="463"/>
                      <a:pt x="354" y="463"/>
                      <a:pt x="354" y="463"/>
                    </a:cubicBezTo>
                    <a:cubicBezTo>
                      <a:pt x="354" y="459"/>
                      <a:pt x="354" y="459"/>
                      <a:pt x="354" y="459"/>
                    </a:cubicBezTo>
                    <a:cubicBezTo>
                      <a:pt x="353" y="456"/>
                      <a:pt x="353" y="456"/>
                      <a:pt x="353" y="456"/>
                    </a:cubicBezTo>
                    <a:cubicBezTo>
                      <a:pt x="357" y="454"/>
                      <a:pt x="357" y="454"/>
                      <a:pt x="357" y="454"/>
                    </a:cubicBezTo>
                    <a:cubicBezTo>
                      <a:pt x="361" y="456"/>
                      <a:pt x="361" y="456"/>
                      <a:pt x="361" y="456"/>
                    </a:cubicBezTo>
                    <a:cubicBezTo>
                      <a:pt x="367" y="456"/>
                      <a:pt x="367" y="456"/>
                      <a:pt x="367" y="456"/>
                    </a:cubicBezTo>
                    <a:cubicBezTo>
                      <a:pt x="370" y="458"/>
                      <a:pt x="370" y="458"/>
                      <a:pt x="370" y="458"/>
                    </a:cubicBezTo>
                    <a:cubicBezTo>
                      <a:pt x="378" y="457"/>
                      <a:pt x="378" y="457"/>
                      <a:pt x="378" y="457"/>
                    </a:cubicBezTo>
                    <a:cubicBezTo>
                      <a:pt x="384" y="455"/>
                      <a:pt x="384" y="455"/>
                      <a:pt x="384" y="455"/>
                    </a:cubicBezTo>
                    <a:cubicBezTo>
                      <a:pt x="393" y="455"/>
                      <a:pt x="393" y="455"/>
                      <a:pt x="393" y="455"/>
                    </a:cubicBezTo>
                    <a:cubicBezTo>
                      <a:pt x="401" y="453"/>
                      <a:pt x="401" y="453"/>
                      <a:pt x="401" y="453"/>
                    </a:cubicBezTo>
                    <a:cubicBezTo>
                      <a:pt x="404" y="453"/>
                      <a:pt x="404" y="453"/>
                      <a:pt x="404" y="453"/>
                    </a:cubicBezTo>
                    <a:cubicBezTo>
                      <a:pt x="412" y="448"/>
                      <a:pt x="412" y="448"/>
                      <a:pt x="412" y="448"/>
                    </a:cubicBezTo>
                    <a:cubicBezTo>
                      <a:pt x="418" y="446"/>
                      <a:pt x="418" y="446"/>
                      <a:pt x="418" y="446"/>
                    </a:cubicBezTo>
                    <a:cubicBezTo>
                      <a:pt x="422" y="446"/>
                      <a:pt x="422" y="446"/>
                      <a:pt x="422" y="446"/>
                    </a:cubicBezTo>
                    <a:cubicBezTo>
                      <a:pt x="424" y="448"/>
                      <a:pt x="424" y="448"/>
                      <a:pt x="424" y="448"/>
                    </a:cubicBezTo>
                    <a:cubicBezTo>
                      <a:pt x="427" y="449"/>
                      <a:pt x="427" y="449"/>
                      <a:pt x="427" y="449"/>
                    </a:cubicBezTo>
                    <a:cubicBezTo>
                      <a:pt x="427" y="452"/>
                      <a:pt x="427" y="452"/>
                      <a:pt x="427" y="452"/>
                    </a:cubicBezTo>
                    <a:cubicBezTo>
                      <a:pt x="426" y="456"/>
                      <a:pt x="426" y="456"/>
                      <a:pt x="426" y="456"/>
                    </a:cubicBezTo>
                    <a:cubicBezTo>
                      <a:pt x="429" y="456"/>
                      <a:pt x="429" y="456"/>
                      <a:pt x="429" y="456"/>
                    </a:cubicBezTo>
                    <a:cubicBezTo>
                      <a:pt x="433" y="461"/>
                      <a:pt x="433" y="461"/>
                      <a:pt x="433" y="461"/>
                    </a:cubicBezTo>
                    <a:cubicBezTo>
                      <a:pt x="436" y="459"/>
                      <a:pt x="436" y="459"/>
                      <a:pt x="436" y="459"/>
                    </a:cubicBezTo>
                    <a:cubicBezTo>
                      <a:pt x="440" y="455"/>
                      <a:pt x="440" y="455"/>
                      <a:pt x="440" y="455"/>
                    </a:cubicBezTo>
                    <a:cubicBezTo>
                      <a:pt x="446" y="458"/>
                      <a:pt x="446" y="458"/>
                      <a:pt x="446" y="458"/>
                    </a:cubicBezTo>
                    <a:cubicBezTo>
                      <a:pt x="447" y="460"/>
                      <a:pt x="447" y="460"/>
                      <a:pt x="447" y="460"/>
                    </a:cubicBezTo>
                    <a:cubicBezTo>
                      <a:pt x="450" y="458"/>
                      <a:pt x="450" y="458"/>
                      <a:pt x="450" y="458"/>
                    </a:cubicBezTo>
                    <a:cubicBezTo>
                      <a:pt x="450" y="458"/>
                      <a:pt x="452" y="457"/>
                      <a:pt x="453" y="460"/>
                    </a:cubicBezTo>
                    <a:cubicBezTo>
                      <a:pt x="454" y="463"/>
                      <a:pt x="453" y="463"/>
                      <a:pt x="453" y="463"/>
                    </a:cubicBezTo>
                    <a:cubicBezTo>
                      <a:pt x="461" y="464"/>
                      <a:pt x="461" y="464"/>
                      <a:pt x="461" y="464"/>
                    </a:cubicBezTo>
                    <a:cubicBezTo>
                      <a:pt x="468" y="461"/>
                      <a:pt x="468" y="461"/>
                      <a:pt x="468" y="461"/>
                    </a:cubicBezTo>
                    <a:cubicBezTo>
                      <a:pt x="476" y="457"/>
                      <a:pt x="476" y="457"/>
                      <a:pt x="476" y="457"/>
                    </a:cubicBezTo>
                    <a:cubicBezTo>
                      <a:pt x="483" y="454"/>
                      <a:pt x="483" y="454"/>
                      <a:pt x="483" y="454"/>
                    </a:cubicBezTo>
                    <a:cubicBezTo>
                      <a:pt x="490" y="453"/>
                      <a:pt x="490" y="453"/>
                      <a:pt x="490" y="453"/>
                    </a:cubicBezTo>
                    <a:cubicBezTo>
                      <a:pt x="491" y="454"/>
                      <a:pt x="491" y="454"/>
                      <a:pt x="491" y="454"/>
                    </a:cubicBezTo>
                    <a:cubicBezTo>
                      <a:pt x="491" y="459"/>
                      <a:pt x="491" y="459"/>
                      <a:pt x="491" y="459"/>
                    </a:cubicBezTo>
                    <a:cubicBezTo>
                      <a:pt x="497" y="468"/>
                      <a:pt x="497" y="468"/>
                      <a:pt x="497" y="468"/>
                    </a:cubicBezTo>
                    <a:cubicBezTo>
                      <a:pt x="503" y="483"/>
                      <a:pt x="503" y="483"/>
                      <a:pt x="503" y="483"/>
                    </a:cubicBezTo>
                    <a:cubicBezTo>
                      <a:pt x="508" y="493"/>
                      <a:pt x="508" y="493"/>
                      <a:pt x="508" y="493"/>
                    </a:cubicBezTo>
                    <a:cubicBezTo>
                      <a:pt x="508" y="493"/>
                      <a:pt x="511" y="499"/>
                      <a:pt x="514" y="499"/>
                    </a:cubicBezTo>
                    <a:cubicBezTo>
                      <a:pt x="516" y="499"/>
                      <a:pt x="522" y="497"/>
                      <a:pt x="522" y="497"/>
                    </a:cubicBezTo>
                    <a:cubicBezTo>
                      <a:pt x="531" y="497"/>
                      <a:pt x="531" y="497"/>
                      <a:pt x="531" y="497"/>
                    </a:cubicBezTo>
                    <a:cubicBezTo>
                      <a:pt x="534" y="497"/>
                      <a:pt x="539" y="504"/>
                      <a:pt x="539" y="504"/>
                    </a:cubicBezTo>
                    <a:cubicBezTo>
                      <a:pt x="541" y="510"/>
                      <a:pt x="541" y="510"/>
                      <a:pt x="541" y="510"/>
                    </a:cubicBezTo>
                    <a:cubicBezTo>
                      <a:pt x="543" y="516"/>
                      <a:pt x="543" y="516"/>
                      <a:pt x="543" y="516"/>
                    </a:cubicBezTo>
                    <a:cubicBezTo>
                      <a:pt x="544" y="519"/>
                      <a:pt x="544" y="519"/>
                      <a:pt x="544" y="519"/>
                    </a:cubicBezTo>
                    <a:cubicBezTo>
                      <a:pt x="549" y="521"/>
                      <a:pt x="549" y="521"/>
                      <a:pt x="549" y="521"/>
                    </a:cubicBezTo>
                    <a:cubicBezTo>
                      <a:pt x="555" y="520"/>
                      <a:pt x="555" y="520"/>
                      <a:pt x="555" y="520"/>
                    </a:cubicBezTo>
                    <a:cubicBezTo>
                      <a:pt x="566" y="515"/>
                      <a:pt x="566" y="515"/>
                      <a:pt x="566" y="515"/>
                    </a:cubicBezTo>
                    <a:cubicBezTo>
                      <a:pt x="572" y="514"/>
                      <a:pt x="572" y="514"/>
                      <a:pt x="572" y="514"/>
                    </a:cubicBezTo>
                    <a:cubicBezTo>
                      <a:pt x="577" y="514"/>
                      <a:pt x="577" y="514"/>
                      <a:pt x="577" y="514"/>
                    </a:cubicBezTo>
                    <a:cubicBezTo>
                      <a:pt x="579" y="518"/>
                      <a:pt x="579" y="518"/>
                      <a:pt x="579" y="518"/>
                    </a:cubicBezTo>
                    <a:cubicBezTo>
                      <a:pt x="582" y="522"/>
                      <a:pt x="582" y="522"/>
                      <a:pt x="582" y="522"/>
                    </a:cubicBezTo>
                    <a:cubicBezTo>
                      <a:pt x="584" y="524"/>
                      <a:pt x="584" y="524"/>
                      <a:pt x="584" y="524"/>
                    </a:cubicBezTo>
                    <a:cubicBezTo>
                      <a:pt x="590" y="525"/>
                      <a:pt x="590" y="525"/>
                      <a:pt x="590" y="525"/>
                    </a:cubicBezTo>
                    <a:cubicBezTo>
                      <a:pt x="593" y="523"/>
                      <a:pt x="593" y="523"/>
                      <a:pt x="593" y="523"/>
                    </a:cubicBezTo>
                    <a:cubicBezTo>
                      <a:pt x="598" y="522"/>
                      <a:pt x="598" y="522"/>
                      <a:pt x="598" y="522"/>
                    </a:cubicBezTo>
                    <a:cubicBezTo>
                      <a:pt x="601" y="520"/>
                      <a:pt x="601" y="520"/>
                      <a:pt x="601" y="520"/>
                    </a:cubicBezTo>
                    <a:cubicBezTo>
                      <a:pt x="603" y="517"/>
                      <a:pt x="603" y="517"/>
                      <a:pt x="603" y="517"/>
                    </a:cubicBezTo>
                    <a:cubicBezTo>
                      <a:pt x="603" y="515"/>
                      <a:pt x="603" y="515"/>
                      <a:pt x="603" y="515"/>
                    </a:cubicBezTo>
                    <a:cubicBezTo>
                      <a:pt x="605" y="512"/>
                      <a:pt x="605" y="512"/>
                      <a:pt x="605" y="512"/>
                    </a:cubicBezTo>
                    <a:cubicBezTo>
                      <a:pt x="609" y="510"/>
                      <a:pt x="609" y="510"/>
                      <a:pt x="609" y="510"/>
                    </a:cubicBezTo>
                    <a:cubicBezTo>
                      <a:pt x="613" y="508"/>
                      <a:pt x="613" y="508"/>
                      <a:pt x="613" y="508"/>
                    </a:cubicBezTo>
                    <a:cubicBezTo>
                      <a:pt x="619" y="506"/>
                      <a:pt x="619" y="506"/>
                      <a:pt x="619" y="506"/>
                    </a:cubicBezTo>
                    <a:cubicBezTo>
                      <a:pt x="622" y="503"/>
                      <a:pt x="622" y="503"/>
                      <a:pt x="622" y="503"/>
                    </a:cubicBezTo>
                    <a:cubicBezTo>
                      <a:pt x="627" y="503"/>
                      <a:pt x="627" y="503"/>
                      <a:pt x="627" y="503"/>
                    </a:cubicBezTo>
                    <a:cubicBezTo>
                      <a:pt x="632" y="504"/>
                      <a:pt x="632" y="504"/>
                      <a:pt x="632" y="504"/>
                    </a:cubicBezTo>
                    <a:cubicBezTo>
                      <a:pt x="634" y="507"/>
                      <a:pt x="634" y="507"/>
                      <a:pt x="634" y="507"/>
                    </a:cubicBezTo>
                    <a:cubicBezTo>
                      <a:pt x="639" y="504"/>
                      <a:pt x="639" y="504"/>
                      <a:pt x="639" y="504"/>
                    </a:cubicBezTo>
                    <a:cubicBezTo>
                      <a:pt x="645" y="508"/>
                      <a:pt x="645" y="508"/>
                      <a:pt x="645" y="508"/>
                    </a:cubicBezTo>
                    <a:cubicBezTo>
                      <a:pt x="650" y="510"/>
                      <a:pt x="650" y="510"/>
                      <a:pt x="650" y="510"/>
                    </a:cubicBezTo>
                    <a:cubicBezTo>
                      <a:pt x="656" y="511"/>
                      <a:pt x="656" y="511"/>
                      <a:pt x="656" y="511"/>
                    </a:cubicBezTo>
                    <a:cubicBezTo>
                      <a:pt x="662" y="512"/>
                      <a:pt x="662" y="512"/>
                      <a:pt x="662" y="512"/>
                    </a:cubicBezTo>
                    <a:cubicBezTo>
                      <a:pt x="670" y="511"/>
                      <a:pt x="670" y="511"/>
                      <a:pt x="670" y="511"/>
                    </a:cubicBezTo>
                    <a:cubicBezTo>
                      <a:pt x="677" y="511"/>
                      <a:pt x="677" y="511"/>
                      <a:pt x="677" y="511"/>
                    </a:cubicBezTo>
                    <a:cubicBezTo>
                      <a:pt x="679" y="509"/>
                      <a:pt x="679" y="509"/>
                      <a:pt x="679" y="509"/>
                    </a:cubicBezTo>
                    <a:cubicBezTo>
                      <a:pt x="678" y="503"/>
                      <a:pt x="678" y="503"/>
                      <a:pt x="678" y="503"/>
                    </a:cubicBezTo>
                    <a:cubicBezTo>
                      <a:pt x="676" y="499"/>
                      <a:pt x="676" y="499"/>
                      <a:pt x="676" y="499"/>
                    </a:cubicBezTo>
                    <a:cubicBezTo>
                      <a:pt x="671" y="497"/>
                      <a:pt x="671" y="497"/>
                      <a:pt x="671" y="497"/>
                    </a:cubicBezTo>
                    <a:cubicBezTo>
                      <a:pt x="673" y="493"/>
                      <a:pt x="673" y="493"/>
                      <a:pt x="673" y="493"/>
                    </a:cubicBezTo>
                    <a:cubicBezTo>
                      <a:pt x="675" y="490"/>
                      <a:pt x="675" y="490"/>
                      <a:pt x="675" y="490"/>
                    </a:cubicBezTo>
                    <a:cubicBezTo>
                      <a:pt x="677" y="486"/>
                      <a:pt x="677" y="486"/>
                      <a:pt x="677" y="486"/>
                    </a:cubicBezTo>
                    <a:cubicBezTo>
                      <a:pt x="683" y="487"/>
                      <a:pt x="683" y="487"/>
                      <a:pt x="683" y="487"/>
                    </a:cubicBezTo>
                    <a:cubicBezTo>
                      <a:pt x="687" y="488"/>
                      <a:pt x="687" y="488"/>
                      <a:pt x="687" y="488"/>
                    </a:cubicBezTo>
                    <a:cubicBezTo>
                      <a:pt x="693" y="488"/>
                      <a:pt x="693" y="488"/>
                      <a:pt x="693" y="488"/>
                    </a:cubicBezTo>
                    <a:cubicBezTo>
                      <a:pt x="696" y="491"/>
                      <a:pt x="696" y="491"/>
                      <a:pt x="696" y="491"/>
                    </a:cubicBezTo>
                    <a:cubicBezTo>
                      <a:pt x="702" y="491"/>
                      <a:pt x="702" y="491"/>
                      <a:pt x="702" y="491"/>
                    </a:cubicBezTo>
                    <a:cubicBezTo>
                      <a:pt x="710" y="498"/>
                      <a:pt x="710" y="498"/>
                      <a:pt x="710" y="498"/>
                    </a:cubicBezTo>
                    <a:cubicBezTo>
                      <a:pt x="715" y="502"/>
                      <a:pt x="715" y="502"/>
                      <a:pt x="715" y="502"/>
                    </a:cubicBezTo>
                    <a:cubicBezTo>
                      <a:pt x="718" y="508"/>
                      <a:pt x="718" y="508"/>
                      <a:pt x="718" y="508"/>
                    </a:cubicBezTo>
                    <a:cubicBezTo>
                      <a:pt x="721" y="510"/>
                      <a:pt x="721" y="510"/>
                      <a:pt x="721" y="510"/>
                    </a:cubicBezTo>
                    <a:cubicBezTo>
                      <a:pt x="727" y="514"/>
                      <a:pt x="727" y="514"/>
                      <a:pt x="727" y="514"/>
                    </a:cubicBezTo>
                    <a:cubicBezTo>
                      <a:pt x="731" y="513"/>
                      <a:pt x="731" y="513"/>
                      <a:pt x="731" y="513"/>
                    </a:cubicBezTo>
                    <a:cubicBezTo>
                      <a:pt x="734" y="513"/>
                      <a:pt x="734" y="513"/>
                      <a:pt x="734" y="513"/>
                    </a:cubicBezTo>
                    <a:cubicBezTo>
                      <a:pt x="739" y="512"/>
                      <a:pt x="739" y="512"/>
                      <a:pt x="739" y="512"/>
                    </a:cubicBezTo>
                    <a:cubicBezTo>
                      <a:pt x="742" y="509"/>
                      <a:pt x="742" y="509"/>
                      <a:pt x="742" y="509"/>
                    </a:cubicBezTo>
                    <a:cubicBezTo>
                      <a:pt x="748" y="511"/>
                      <a:pt x="748" y="511"/>
                      <a:pt x="748" y="511"/>
                    </a:cubicBezTo>
                    <a:cubicBezTo>
                      <a:pt x="756" y="513"/>
                      <a:pt x="756" y="513"/>
                      <a:pt x="756" y="513"/>
                    </a:cubicBezTo>
                    <a:cubicBezTo>
                      <a:pt x="759" y="514"/>
                      <a:pt x="759" y="514"/>
                      <a:pt x="759" y="514"/>
                    </a:cubicBezTo>
                    <a:cubicBezTo>
                      <a:pt x="759" y="517"/>
                      <a:pt x="759" y="517"/>
                      <a:pt x="759" y="517"/>
                    </a:cubicBezTo>
                    <a:cubicBezTo>
                      <a:pt x="762" y="520"/>
                      <a:pt x="762" y="520"/>
                      <a:pt x="762" y="520"/>
                    </a:cubicBezTo>
                    <a:cubicBezTo>
                      <a:pt x="767" y="520"/>
                      <a:pt x="767" y="520"/>
                      <a:pt x="767" y="520"/>
                    </a:cubicBezTo>
                    <a:cubicBezTo>
                      <a:pt x="771" y="523"/>
                      <a:pt x="771" y="523"/>
                      <a:pt x="771" y="523"/>
                    </a:cubicBezTo>
                    <a:cubicBezTo>
                      <a:pt x="775" y="523"/>
                      <a:pt x="775" y="523"/>
                      <a:pt x="775" y="523"/>
                    </a:cubicBezTo>
                    <a:cubicBezTo>
                      <a:pt x="779" y="521"/>
                      <a:pt x="779" y="521"/>
                      <a:pt x="779" y="521"/>
                    </a:cubicBezTo>
                    <a:cubicBezTo>
                      <a:pt x="783" y="522"/>
                      <a:pt x="783" y="522"/>
                      <a:pt x="783" y="522"/>
                    </a:cubicBezTo>
                    <a:cubicBezTo>
                      <a:pt x="788" y="524"/>
                      <a:pt x="788" y="524"/>
                      <a:pt x="788" y="524"/>
                    </a:cubicBezTo>
                    <a:cubicBezTo>
                      <a:pt x="795" y="522"/>
                      <a:pt x="795" y="522"/>
                      <a:pt x="795" y="522"/>
                    </a:cubicBezTo>
                    <a:cubicBezTo>
                      <a:pt x="799" y="520"/>
                      <a:pt x="799" y="520"/>
                      <a:pt x="799" y="520"/>
                    </a:cubicBezTo>
                    <a:cubicBezTo>
                      <a:pt x="807" y="519"/>
                      <a:pt x="807" y="519"/>
                      <a:pt x="807" y="519"/>
                    </a:cubicBezTo>
                    <a:cubicBezTo>
                      <a:pt x="815" y="513"/>
                      <a:pt x="815" y="513"/>
                      <a:pt x="815" y="513"/>
                    </a:cubicBezTo>
                    <a:cubicBezTo>
                      <a:pt x="817" y="512"/>
                      <a:pt x="817" y="512"/>
                      <a:pt x="817" y="512"/>
                    </a:cubicBezTo>
                    <a:cubicBezTo>
                      <a:pt x="823" y="517"/>
                      <a:pt x="823" y="517"/>
                      <a:pt x="823" y="517"/>
                    </a:cubicBezTo>
                    <a:cubicBezTo>
                      <a:pt x="828" y="516"/>
                      <a:pt x="828" y="516"/>
                      <a:pt x="828" y="516"/>
                    </a:cubicBezTo>
                    <a:cubicBezTo>
                      <a:pt x="834" y="518"/>
                      <a:pt x="834" y="518"/>
                      <a:pt x="834" y="518"/>
                    </a:cubicBezTo>
                    <a:cubicBezTo>
                      <a:pt x="838" y="516"/>
                      <a:pt x="838" y="516"/>
                      <a:pt x="838" y="516"/>
                    </a:cubicBezTo>
                    <a:cubicBezTo>
                      <a:pt x="844" y="519"/>
                      <a:pt x="844" y="519"/>
                      <a:pt x="844" y="519"/>
                    </a:cubicBezTo>
                    <a:cubicBezTo>
                      <a:pt x="847" y="522"/>
                      <a:pt x="847" y="522"/>
                      <a:pt x="847" y="522"/>
                    </a:cubicBezTo>
                    <a:cubicBezTo>
                      <a:pt x="853" y="517"/>
                      <a:pt x="853" y="517"/>
                      <a:pt x="853" y="517"/>
                    </a:cubicBezTo>
                    <a:cubicBezTo>
                      <a:pt x="853" y="517"/>
                      <a:pt x="859" y="515"/>
                      <a:pt x="859" y="513"/>
                    </a:cubicBezTo>
                    <a:cubicBezTo>
                      <a:pt x="856" y="512"/>
                      <a:pt x="863" y="507"/>
                      <a:pt x="863" y="507"/>
                    </a:cubicBezTo>
                    <a:cubicBezTo>
                      <a:pt x="865" y="503"/>
                      <a:pt x="865" y="503"/>
                      <a:pt x="865" y="503"/>
                    </a:cubicBezTo>
                    <a:cubicBezTo>
                      <a:pt x="868" y="499"/>
                      <a:pt x="868" y="499"/>
                      <a:pt x="868" y="499"/>
                    </a:cubicBezTo>
                    <a:cubicBezTo>
                      <a:pt x="867" y="494"/>
                      <a:pt x="867" y="494"/>
                      <a:pt x="867" y="494"/>
                    </a:cubicBezTo>
                    <a:cubicBezTo>
                      <a:pt x="869" y="492"/>
                      <a:pt x="869" y="492"/>
                      <a:pt x="869" y="492"/>
                    </a:cubicBezTo>
                    <a:cubicBezTo>
                      <a:pt x="870" y="488"/>
                      <a:pt x="870" y="488"/>
                      <a:pt x="870" y="488"/>
                    </a:cubicBezTo>
                    <a:cubicBezTo>
                      <a:pt x="869" y="483"/>
                      <a:pt x="869" y="483"/>
                      <a:pt x="869" y="483"/>
                    </a:cubicBezTo>
                    <a:cubicBezTo>
                      <a:pt x="867" y="484"/>
                      <a:pt x="867" y="484"/>
                      <a:pt x="867" y="484"/>
                    </a:cubicBezTo>
                    <a:cubicBezTo>
                      <a:pt x="867" y="481"/>
                      <a:pt x="867" y="481"/>
                      <a:pt x="867" y="481"/>
                    </a:cubicBezTo>
                    <a:cubicBezTo>
                      <a:pt x="869" y="480"/>
                      <a:pt x="869" y="480"/>
                      <a:pt x="869" y="480"/>
                    </a:cubicBezTo>
                    <a:cubicBezTo>
                      <a:pt x="872" y="476"/>
                      <a:pt x="872" y="476"/>
                      <a:pt x="872" y="476"/>
                    </a:cubicBezTo>
                    <a:cubicBezTo>
                      <a:pt x="876" y="473"/>
                      <a:pt x="876" y="473"/>
                      <a:pt x="876" y="473"/>
                    </a:cubicBezTo>
                    <a:cubicBezTo>
                      <a:pt x="879" y="470"/>
                      <a:pt x="879" y="470"/>
                      <a:pt x="879" y="470"/>
                    </a:cubicBezTo>
                    <a:cubicBezTo>
                      <a:pt x="884" y="470"/>
                      <a:pt x="884" y="470"/>
                      <a:pt x="884" y="470"/>
                    </a:cubicBezTo>
                    <a:cubicBezTo>
                      <a:pt x="889" y="468"/>
                      <a:pt x="889" y="468"/>
                      <a:pt x="889" y="468"/>
                    </a:cubicBezTo>
                    <a:cubicBezTo>
                      <a:pt x="891" y="467"/>
                      <a:pt x="891" y="467"/>
                      <a:pt x="891" y="467"/>
                    </a:cubicBezTo>
                    <a:cubicBezTo>
                      <a:pt x="897" y="468"/>
                      <a:pt x="897" y="468"/>
                      <a:pt x="897" y="468"/>
                    </a:cubicBezTo>
                    <a:cubicBezTo>
                      <a:pt x="900" y="471"/>
                      <a:pt x="900" y="471"/>
                      <a:pt x="900" y="471"/>
                    </a:cubicBezTo>
                    <a:cubicBezTo>
                      <a:pt x="903" y="474"/>
                      <a:pt x="903" y="474"/>
                      <a:pt x="903" y="474"/>
                    </a:cubicBezTo>
                    <a:cubicBezTo>
                      <a:pt x="907" y="477"/>
                      <a:pt x="907" y="477"/>
                      <a:pt x="907" y="477"/>
                    </a:cubicBezTo>
                    <a:cubicBezTo>
                      <a:pt x="913" y="478"/>
                      <a:pt x="913" y="478"/>
                      <a:pt x="913" y="478"/>
                    </a:cubicBezTo>
                    <a:cubicBezTo>
                      <a:pt x="917" y="482"/>
                      <a:pt x="917" y="482"/>
                      <a:pt x="917" y="482"/>
                    </a:cubicBezTo>
                    <a:cubicBezTo>
                      <a:pt x="920" y="485"/>
                      <a:pt x="920" y="485"/>
                      <a:pt x="920" y="485"/>
                    </a:cubicBezTo>
                    <a:cubicBezTo>
                      <a:pt x="923" y="490"/>
                      <a:pt x="923" y="490"/>
                      <a:pt x="923" y="490"/>
                    </a:cubicBezTo>
                    <a:cubicBezTo>
                      <a:pt x="923" y="493"/>
                      <a:pt x="923" y="493"/>
                      <a:pt x="923" y="493"/>
                    </a:cubicBezTo>
                    <a:cubicBezTo>
                      <a:pt x="924" y="499"/>
                      <a:pt x="924" y="499"/>
                      <a:pt x="924" y="499"/>
                    </a:cubicBezTo>
                    <a:cubicBezTo>
                      <a:pt x="928" y="505"/>
                      <a:pt x="928" y="505"/>
                      <a:pt x="928" y="505"/>
                    </a:cubicBezTo>
                    <a:cubicBezTo>
                      <a:pt x="931" y="510"/>
                      <a:pt x="931" y="510"/>
                      <a:pt x="931" y="510"/>
                    </a:cubicBezTo>
                    <a:cubicBezTo>
                      <a:pt x="934" y="513"/>
                      <a:pt x="934" y="513"/>
                      <a:pt x="934" y="513"/>
                    </a:cubicBezTo>
                    <a:cubicBezTo>
                      <a:pt x="937" y="513"/>
                      <a:pt x="937" y="513"/>
                      <a:pt x="937" y="513"/>
                    </a:cubicBezTo>
                    <a:cubicBezTo>
                      <a:pt x="941" y="513"/>
                      <a:pt x="941" y="513"/>
                      <a:pt x="941" y="513"/>
                    </a:cubicBezTo>
                    <a:cubicBezTo>
                      <a:pt x="946" y="515"/>
                      <a:pt x="946" y="515"/>
                      <a:pt x="946" y="515"/>
                    </a:cubicBezTo>
                    <a:cubicBezTo>
                      <a:pt x="949" y="518"/>
                      <a:pt x="949" y="518"/>
                      <a:pt x="949" y="518"/>
                    </a:cubicBezTo>
                    <a:cubicBezTo>
                      <a:pt x="950" y="521"/>
                      <a:pt x="950" y="521"/>
                      <a:pt x="950" y="521"/>
                    </a:cubicBezTo>
                    <a:cubicBezTo>
                      <a:pt x="952" y="526"/>
                      <a:pt x="952" y="526"/>
                      <a:pt x="952" y="526"/>
                    </a:cubicBezTo>
                    <a:cubicBezTo>
                      <a:pt x="955" y="530"/>
                      <a:pt x="955" y="530"/>
                      <a:pt x="955" y="530"/>
                    </a:cubicBezTo>
                    <a:cubicBezTo>
                      <a:pt x="957" y="533"/>
                      <a:pt x="957" y="533"/>
                      <a:pt x="957" y="533"/>
                    </a:cubicBezTo>
                    <a:cubicBezTo>
                      <a:pt x="956" y="537"/>
                      <a:pt x="956" y="537"/>
                      <a:pt x="956" y="537"/>
                    </a:cubicBezTo>
                    <a:cubicBezTo>
                      <a:pt x="958" y="541"/>
                      <a:pt x="958" y="541"/>
                      <a:pt x="958" y="541"/>
                    </a:cubicBezTo>
                    <a:cubicBezTo>
                      <a:pt x="962" y="543"/>
                      <a:pt x="962" y="543"/>
                      <a:pt x="962" y="543"/>
                    </a:cubicBezTo>
                    <a:cubicBezTo>
                      <a:pt x="966" y="545"/>
                      <a:pt x="966" y="545"/>
                      <a:pt x="966" y="545"/>
                    </a:cubicBezTo>
                    <a:cubicBezTo>
                      <a:pt x="969" y="544"/>
                      <a:pt x="969" y="544"/>
                      <a:pt x="969" y="544"/>
                    </a:cubicBezTo>
                    <a:cubicBezTo>
                      <a:pt x="972" y="542"/>
                      <a:pt x="972" y="542"/>
                      <a:pt x="972" y="542"/>
                    </a:cubicBezTo>
                    <a:cubicBezTo>
                      <a:pt x="975" y="539"/>
                      <a:pt x="975" y="539"/>
                      <a:pt x="975" y="539"/>
                    </a:cubicBezTo>
                    <a:cubicBezTo>
                      <a:pt x="978" y="537"/>
                      <a:pt x="978" y="537"/>
                      <a:pt x="978" y="537"/>
                    </a:cubicBezTo>
                    <a:cubicBezTo>
                      <a:pt x="981" y="537"/>
                      <a:pt x="981" y="537"/>
                      <a:pt x="981" y="537"/>
                    </a:cubicBezTo>
                    <a:cubicBezTo>
                      <a:pt x="985" y="536"/>
                      <a:pt x="985" y="536"/>
                      <a:pt x="985" y="536"/>
                    </a:cubicBezTo>
                    <a:cubicBezTo>
                      <a:pt x="987" y="533"/>
                      <a:pt x="987" y="533"/>
                      <a:pt x="987" y="533"/>
                    </a:cubicBezTo>
                    <a:cubicBezTo>
                      <a:pt x="991" y="531"/>
                      <a:pt x="991" y="531"/>
                      <a:pt x="991" y="531"/>
                    </a:cubicBezTo>
                    <a:cubicBezTo>
                      <a:pt x="989" y="537"/>
                      <a:pt x="989" y="537"/>
                      <a:pt x="989" y="537"/>
                    </a:cubicBezTo>
                    <a:cubicBezTo>
                      <a:pt x="989" y="540"/>
                      <a:pt x="989" y="540"/>
                      <a:pt x="989" y="540"/>
                    </a:cubicBezTo>
                    <a:cubicBezTo>
                      <a:pt x="991" y="542"/>
                      <a:pt x="991" y="542"/>
                      <a:pt x="991" y="542"/>
                    </a:cubicBezTo>
                    <a:cubicBezTo>
                      <a:pt x="991" y="547"/>
                      <a:pt x="991" y="547"/>
                      <a:pt x="991" y="547"/>
                    </a:cubicBezTo>
                    <a:cubicBezTo>
                      <a:pt x="988" y="549"/>
                      <a:pt x="988" y="549"/>
                      <a:pt x="988" y="549"/>
                    </a:cubicBezTo>
                    <a:cubicBezTo>
                      <a:pt x="989" y="552"/>
                      <a:pt x="989" y="552"/>
                      <a:pt x="989" y="552"/>
                    </a:cubicBezTo>
                    <a:cubicBezTo>
                      <a:pt x="988" y="559"/>
                      <a:pt x="988" y="559"/>
                      <a:pt x="988" y="559"/>
                    </a:cubicBezTo>
                    <a:cubicBezTo>
                      <a:pt x="986" y="563"/>
                      <a:pt x="986" y="563"/>
                      <a:pt x="986" y="563"/>
                    </a:cubicBezTo>
                    <a:cubicBezTo>
                      <a:pt x="982" y="566"/>
                      <a:pt x="982" y="566"/>
                      <a:pt x="982" y="566"/>
                    </a:cubicBezTo>
                    <a:cubicBezTo>
                      <a:pt x="979" y="568"/>
                      <a:pt x="979" y="568"/>
                      <a:pt x="979" y="568"/>
                    </a:cubicBezTo>
                    <a:cubicBezTo>
                      <a:pt x="978" y="571"/>
                      <a:pt x="978" y="571"/>
                      <a:pt x="978" y="571"/>
                    </a:cubicBezTo>
                    <a:cubicBezTo>
                      <a:pt x="974" y="573"/>
                      <a:pt x="974" y="573"/>
                      <a:pt x="974" y="573"/>
                    </a:cubicBezTo>
                    <a:cubicBezTo>
                      <a:pt x="974" y="574"/>
                      <a:pt x="972" y="576"/>
                      <a:pt x="972" y="576"/>
                    </a:cubicBezTo>
                    <a:cubicBezTo>
                      <a:pt x="972" y="578"/>
                      <a:pt x="972" y="581"/>
                      <a:pt x="971" y="584"/>
                    </a:cubicBezTo>
                    <a:cubicBezTo>
                      <a:pt x="971" y="584"/>
                      <a:pt x="969" y="583"/>
                      <a:pt x="969" y="584"/>
                    </a:cubicBezTo>
                    <a:cubicBezTo>
                      <a:pt x="969" y="582"/>
                      <a:pt x="967" y="582"/>
                      <a:pt x="967" y="580"/>
                    </a:cubicBezTo>
                    <a:cubicBezTo>
                      <a:pt x="968" y="579"/>
                      <a:pt x="969" y="578"/>
                      <a:pt x="969" y="576"/>
                    </a:cubicBezTo>
                    <a:cubicBezTo>
                      <a:pt x="969" y="576"/>
                      <a:pt x="967" y="574"/>
                      <a:pt x="967" y="574"/>
                    </a:cubicBezTo>
                    <a:cubicBezTo>
                      <a:pt x="965" y="576"/>
                      <a:pt x="965" y="576"/>
                      <a:pt x="965" y="576"/>
                    </a:cubicBezTo>
                    <a:cubicBezTo>
                      <a:pt x="962" y="578"/>
                      <a:pt x="962" y="578"/>
                      <a:pt x="962" y="578"/>
                    </a:cubicBezTo>
                    <a:cubicBezTo>
                      <a:pt x="962" y="582"/>
                      <a:pt x="962" y="582"/>
                      <a:pt x="962" y="582"/>
                    </a:cubicBezTo>
                    <a:cubicBezTo>
                      <a:pt x="961" y="586"/>
                      <a:pt x="961" y="586"/>
                      <a:pt x="961" y="586"/>
                    </a:cubicBezTo>
                    <a:cubicBezTo>
                      <a:pt x="961" y="592"/>
                      <a:pt x="961" y="592"/>
                      <a:pt x="961" y="592"/>
                    </a:cubicBezTo>
                    <a:cubicBezTo>
                      <a:pt x="961" y="596"/>
                      <a:pt x="961" y="596"/>
                      <a:pt x="961" y="596"/>
                    </a:cubicBezTo>
                    <a:cubicBezTo>
                      <a:pt x="958" y="598"/>
                      <a:pt x="958" y="598"/>
                      <a:pt x="958" y="598"/>
                    </a:cubicBezTo>
                    <a:cubicBezTo>
                      <a:pt x="959" y="601"/>
                      <a:pt x="959" y="601"/>
                      <a:pt x="959" y="601"/>
                    </a:cubicBezTo>
                    <a:cubicBezTo>
                      <a:pt x="957" y="604"/>
                      <a:pt x="957" y="604"/>
                      <a:pt x="957" y="604"/>
                    </a:cubicBezTo>
                    <a:cubicBezTo>
                      <a:pt x="958" y="605"/>
                      <a:pt x="958" y="605"/>
                      <a:pt x="958" y="605"/>
                    </a:cubicBezTo>
                    <a:cubicBezTo>
                      <a:pt x="958" y="605"/>
                      <a:pt x="960" y="605"/>
                      <a:pt x="961" y="605"/>
                    </a:cubicBezTo>
                    <a:cubicBezTo>
                      <a:pt x="961" y="604"/>
                      <a:pt x="961" y="602"/>
                      <a:pt x="961" y="602"/>
                    </a:cubicBezTo>
                    <a:cubicBezTo>
                      <a:pt x="962" y="601"/>
                      <a:pt x="963" y="602"/>
                      <a:pt x="963" y="602"/>
                    </a:cubicBezTo>
                    <a:cubicBezTo>
                      <a:pt x="965" y="601"/>
                      <a:pt x="967" y="598"/>
                      <a:pt x="967" y="596"/>
                    </a:cubicBezTo>
                    <a:cubicBezTo>
                      <a:pt x="968" y="596"/>
                      <a:pt x="969" y="595"/>
                      <a:pt x="969" y="596"/>
                    </a:cubicBezTo>
                    <a:cubicBezTo>
                      <a:pt x="971" y="596"/>
                      <a:pt x="968" y="600"/>
                      <a:pt x="972" y="598"/>
                    </a:cubicBezTo>
                    <a:cubicBezTo>
                      <a:pt x="973" y="597"/>
                      <a:pt x="973" y="597"/>
                      <a:pt x="974" y="596"/>
                    </a:cubicBezTo>
                    <a:cubicBezTo>
                      <a:pt x="973" y="600"/>
                      <a:pt x="973" y="600"/>
                      <a:pt x="975" y="603"/>
                    </a:cubicBezTo>
                    <a:cubicBezTo>
                      <a:pt x="976" y="603"/>
                      <a:pt x="976" y="603"/>
                      <a:pt x="976" y="603"/>
                    </a:cubicBezTo>
                    <a:cubicBezTo>
                      <a:pt x="977" y="604"/>
                      <a:pt x="976" y="605"/>
                      <a:pt x="977" y="606"/>
                    </a:cubicBezTo>
                    <a:cubicBezTo>
                      <a:pt x="979" y="605"/>
                      <a:pt x="979" y="605"/>
                      <a:pt x="979" y="605"/>
                    </a:cubicBezTo>
                    <a:cubicBezTo>
                      <a:pt x="982" y="606"/>
                      <a:pt x="981" y="609"/>
                      <a:pt x="985" y="607"/>
                    </a:cubicBezTo>
                    <a:cubicBezTo>
                      <a:pt x="987" y="606"/>
                      <a:pt x="991" y="598"/>
                      <a:pt x="993" y="597"/>
                    </a:cubicBezTo>
                    <a:cubicBezTo>
                      <a:pt x="994" y="597"/>
                      <a:pt x="994" y="597"/>
                      <a:pt x="994" y="597"/>
                    </a:cubicBezTo>
                    <a:cubicBezTo>
                      <a:pt x="994" y="596"/>
                      <a:pt x="994" y="594"/>
                      <a:pt x="995" y="594"/>
                    </a:cubicBezTo>
                    <a:cubicBezTo>
                      <a:pt x="995" y="594"/>
                      <a:pt x="998" y="594"/>
                      <a:pt x="998" y="594"/>
                    </a:cubicBezTo>
                    <a:cubicBezTo>
                      <a:pt x="999" y="591"/>
                      <a:pt x="998" y="589"/>
                      <a:pt x="999" y="587"/>
                    </a:cubicBezTo>
                    <a:cubicBezTo>
                      <a:pt x="1000" y="586"/>
                      <a:pt x="1001" y="586"/>
                      <a:pt x="1001" y="586"/>
                    </a:cubicBezTo>
                    <a:cubicBezTo>
                      <a:pt x="1002" y="585"/>
                      <a:pt x="1002" y="583"/>
                      <a:pt x="1002" y="583"/>
                    </a:cubicBezTo>
                    <a:cubicBezTo>
                      <a:pt x="1003" y="582"/>
                      <a:pt x="1003" y="584"/>
                      <a:pt x="1004" y="582"/>
                    </a:cubicBezTo>
                    <a:cubicBezTo>
                      <a:pt x="1005" y="582"/>
                      <a:pt x="1006" y="579"/>
                      <a:pt x="1006" y="578"/>
                    </a:cubicBezTo>
                    <a:cubicBezTo>
                      <a:pt x="1011" y="572"/>
                      <a:pt x="1011" y="572"/>
                      <a:pt x="1011" y="572"/>
                    </a:cubicBezTo>
                    <a:cubicBezTo>
                      <a:pt x="1012" y="572"/>
                      <a:pt x="1013" y="572"/>
                      <a:pt x="1014" y="572"/>
                    </a:cubicBezTo>
                    <a:cubicBezTo>
                      <a:pt x="1015" y="571"/>
                      <a:pt x="1015" y="569"/>
                      <a:pt x="1015" y="568"/>
                    </a:cubicBezTo>
                    <a:cubicBezTo>
                      <a:pt x="1016" y="567"/>
                      <a:pt x="1019" y="566"/>
                      <a:pt x="1019" y="565"/>
                    </a:cubicBezTo>
                    <a:cubicBezTo>
                      <a:pt x="1023" y="558"/>
                      <a:pt x="1023" y="558"/>
                      <a:pt x="1023" y="558"/>
                    </a:cubicBezTo>
                    <a:cubicBezTo>
                      <a:pt x="1023" y="557"/>
                      <a:pt x="1022" y="557"/>
                      <a:pt x="1023" y="555"/>
                    </a:cubicBezTo>
                    <a:cubicBezTo>
                      <a:pt x="1023" y="553"/>
                      <a:pt x="1026" y="548"/>
                      <a:pt x="1027" y="547"/>
                    </a:cubicBezTo>
                    <a:cubicBezTo>
                      <a:pt x="1028" y="547"/>
                      <a:pt x="1029" y="547"/>
                      <a:pt x="1029" y="546"/>
                    </a:cubicBezTo>
                    <a:cubicBezTo>
                      <a:pt x="1030" y="545"/>
                      <a:pt x="1030" y="543"/>
                      <a:pt x="1031" y="541"/>
                    </a:cubicBezTo>
                    <a:cubicBezTo>
                      <a:pt x="1032" y="538"/>
                      <a:pt x="1037" y="537"/>
                      <a:pt x="1038" y="534"/>
                    </a:cubicBezTo>
                    <a:cubicBezTo>
                      <a:pt x="1039" y="533"/>
                      <a:pt x="1038" y="531"/>
                      <a:pt x="1039" y="529"/>
                    </a:cubicBezTo>
                    <a:cubicBezTo>
                      <a:pt x="1039" y="529"/>
                      <a:pt x="1041" y="529"/>
                      <a:pt x="1041" y="528"/>
                    </a:cubicBezTo>
                    <a:cubicBezTo>
                      <a:pt x="1041" y="528"/>
                      <a:pt x="1039" y="525"/>
                      <a:pt x="1039" y="525"/>
                    </a:cubicBezTo>
                    <a:cubicBezTo>
                      <a:pt x="1039" y="524"/>
                      <a:pt x="1042" y="521"/>
                      <a:pt x="1042" y="520"/>
                    </a:cubicBezTo>
                    <a:cubicBezTo>
                      <a:pt x="1042" y="517"/>
                      <a:pt x="1041" y="515"/>
                      <a:pt x="1041" y="514"/>
                    </a:cubicBezTo>
                    <a:cubicBezTo>
                      <a:pt x="1041" y="514"/>
                      <a:pt x="1042" y="512"/>
                      <a:pt x="1042" y="510"/>
                    </a:cubicBezTo>
                    <a:cubicBezTo>
                      <a:pt x="1040" y="510"/>
                      <a:pt x="1040" y="510"/>
                      <a:pt x="1040" y="510"/>
                    </a:cubicBezTo>
                    <a:cubicBezTo>
                      <a:pt x="1040" y="509"/>
                      <a:pt x="1040" y="508"/>
                      <a:pt x="1040" y="507"/>
                    </a:cubicBezTo>
                    <a:cubicBezTo>
                      <a:pt x="1043" y="503"/>
                      <a:pt x="1043" y="505"/>
                      <a:pt x="1041" y="501"/>
                    </a:cubicBezTo>
                    <a:cubicBezTo>
                      <a:pt x="1042" y="499"/>
                      <a:pt x="1045" y="497"/>
                      <a:pt x="1045" y="496"/>
                    </a:cubicBezTo>
                    <a:cubicBezTo>
                      <a:pt x="1045" y="495"/>
                      <a:pt x="1045" y="494"/>
                      <a:pt x="1045" y="493"/>
                    </a:cubicBezTo>
                    <a:cubicBezTo>
                      <a:pt x="1045" y="493"/>
                      <a:pt x="1047" y="492"/>
                      <a:pt x="1047" y="492"/>
                    </a:cubicBezTo>
                    <a:cubicBezTo>
                      <a:pt x="1047" y="490"/>
                      <a:pt x="1046" y="490"/>
                      <a:pt x="1045" y="490"/>
                    </a:cubicBezTo>
                    <a:cubicBezTo>
                      <a:pt x="1045" y="490"/>
                      <a:pt x="1045" y="487"/>
                      <a:pt x="1046" y="489"/>
                    </a:cubicBezTo>
                    <a:cubicBezTo>
                      <a:pt x="1046" y="487"/>
                      <a:pt x="1046" y="487"/>
                      <a:pt x="1046" y="487"/>
                    </a:cubicBezTo>
                    <a:cubicBezTo>
                      <a:pt x="1046" y="488"/>
                      <a:pt x="1047" y="486"/>
                      <a:pt x="1045" y="485"/>
                    </a:cubicBezTo>
                    <a:cubicBezTo>
                      <a:pt x="1045" y="485"/>
                      <a:pt x="1045" y="481"/>
                      <a:pt x="1045" y="481"/>
                    </a:cubicBezTo>
                    <a:cubicBezTo>
                      <a:pt x="1048" y="479"/>
                      <a:pt x="1050" y="481"/>
                      <a:pt x="1052" y="482"/>
                    </a:cubicBezTo>
                    <a:cubicBezTo>
                      <a:pt x="1052" y="478"/>
                      <a:pt x="1052" y="478"/>
                      <a:pt x="1052" y="478"/>
                    </a:cubicBezTo>
                    <a:cubicBezTo>
                      <a:pt x="1051" y="478"/>
                      <a:pt x="1051" y="479"/>
                      <a:pt x="1051" y="479"/>
                    </a:cubicBezTo>
                    <a:cubicBezTo>
                      <a:pt x="1049" y="479"/>
                      <a:pt x="1047" y="478"/>
                      <a:pt x="1046" y="477"/>
                    </a:cubicBezTo>
                    <a:cubicBezTo>
                      <a:pt x="1046" y="477"/>
                      <a:pt x="1046" y="475"/>
                      <a:pt x="1046" y="475"/>
                    </a:cubicBezTo>
                    <a:cubicBezTo>
                      <a:pt x="1046" y="475"/>
                      <a:pt x="1044" y="476"/>
                      <a:pt x="1044" y="476"/>
                    </a:cubicBezTo>
                    <a:cubicBezTo>
                      <a:pt x="1039" y="472"/>
                      <a:pt x="1039" y="472"/>
                      <a:pt x="1039" y="472"/>
                    </a:cubicBezTo>
                    <a:cubicBezTo>
                      <a:pt x="1038" y="470"/>
                      <a:pt x="1040" y="469"/>
                      <a:pt x="1039" y="468"/>
                    </a:cubicBezTo>
                    <a:cubicBezTo>
                      <a:pt x="1038" y="467"/>
                      <a:pt x="1035" y="467"/>
                      <a:pt x="1034" y="467"/>
                    </a:cubicBezTo>
                    <a:cubicBezTo>
                      <a:pt x="1034" y="467"/>
                      <a:pt x="1033" y="465"/>
                      <a:pt x="1033" y="465"/>
                    </a:cubicBezTo>
                    <a:cubicBezTo>
                      <a:pt x="1030" y="464"/>
                      <a:pt x="1027" y="464"/>
                      <a:pt x="1025" y="464"/>
                    </a:cubicBezTo>
                    <a:cubicBezTo>
                      <a:pt x="1025" y="466"/>
                      <a:pt x="1025" y="468"/>
                      <a:pt x="1025" y="470"/>
                    </a:cubicBezTo>
                    <a:cubicBezTo>
                      <a:pt x="1024" y="470"/>
                      <a:pt x="1022" y="469"/>
                      <a:pt x="1021" y="469"/>
                    </a:cubicBezTo>
                    <a:cubicBezTo>
                      <a:pt x="1020" y="470"/>
                      <a:pt x="1019" y="473"/>
                      <a:pt x="1017" y="474"/>
                    </a:cubicBezTo>
                    <a:cubicBezTo>
                      <a:pt x="1017" y="474"/>
                      <a:pt x="1015" y="474"/>
                      <a:pt x="1015" y="474"/>
                    </a:cubicBezTo>
                    <a:cubicBezTo>
                      <a:pt x="1017" y="468"/>
                      <a:pt x="1019" y="468"/>
                      <a:pt x="1013" y="465"/>
                    </a:cubicBezTo>
                    <a:cubicBezTo>
                      <a:pt x="1013" y="466"/>
                      <a:pt x="1012" y="468"/>
                      <a:pt x="1012" y="470"/>
                    </a:cubicBezTo>
                    <a:cubicBezTo>
                      <a:pt x="1012" y="470"/>
                      <a:pt x="1010" y="470"/>
                      <a:pt x="1009" y="470"/>
                    </a:cubicBezTo>
                    <a:cubicBezTo>
                      <a:pt x="1010" y="464"/>
                      <a:pt x="1010" y="462"/>
                      <a:pt x="1009" y="457"/>
                    </a:cubicBezTo>
                    <a:cubicBezTo>
                      <a:pt x="1004" y="457"/>
                      <a:pt x="1001" y="458"/>
                      <a:pt x="996" y="457"/>
                    </a:cubicBezTo>
                    <a:cubicBezTo>
                      <a:pt x="997" y="454"/>
                      <a:pt x="999" y="450"/>
                      <a:pt x="1001" y="449"/>
                    </a:cubicBezTo>
                    <a:cubicBezTo>
                      <a:pt x="1001" y="448"/>
                      <a:pt x="1002" y="449"/>
                      <a:pt x="1003" y="448"/>
                    </a:cubicBezTo>
                    <a:cubicBezTo>
                      <a:pt x="1004" y="446"/>
                      <a:pt x="1005" y="444"/>
                      <a:pt x="1007" y="443"/>
                    </a:cubicBezTo>
                    <a:cubicBezTo>
                      <a:pt x="1008" y="442"/>
                      <a:pt x="1008" y="443"/>
                      <a:pt x="1009" y="442"/>
                    </a:cubicBezTo>
                    <a:cubicBezTo>
                      <a:pt x="1011" y="441"/>
                      <a:pt x="1012" y="438"/>
                      <a:pt x="1014" y="437"/>
                    </a:cubicBezTo>
                    <a:cubicBezTo>
                      <a:pt x="1015" y="436"/>
                      <a:pt x="1017" y="436"/>
                      <a:pt x="1017" y="435"/>
                    </a:cubicBezTo>
                    <a:cubicBezTo>
                      <a:pt x="1018" y="435"/>
                      <a:pt x="1017" y="433"/>
                      <a:pt x="1017" y="432"/>
                    </a:cubicBezTo>
                    <a:cubicBezTo>
                      <a:pt x="1018" y="431"/>
                      <a:pt x="1021" y="431"/>
                      <a:pt x="1022" y="429"/>
                    </a:cubicBezTo>
                    <a:cubicBezTo>
                      <a:pt x="1022" y="429"/>
                      <a:pt x="1022" y="427"/>
                      <a:pt x="1022" y="426"/>
                    </a:cubicBezTo>
                    <a:cubicBezTo>
                      <a:pt x="1022" y="426"/>
                      <a:pt x="1024" y="424"/>
                      <a:pt x="1024" y="423"/>
                    </a:cubicBezTo>
                    <a:cubicBezTo>
                      <a:pt x="1024" y="423"/>
                      <a:pt x="1023" y="422"/>
                      <a:pt x="1023" y="421"/>
                    </a:cubicBezTo>
                    <a:cubicBezTo>
                      <a:pt x="1024" y="421"/>
                      <a:pt x="1024" y="420"/>
                      <a:pt x="1025" y="420"/>
                    </a:cubicBezTo>
                    <a:cubicBezTo>
                      <a:pt x="1026" y="421"/>
                      <a:pt x="1025" y="421"/>
                      <a:pt x="1026" y="421"/>
                    </a:cubicBezTo>
                    <a:cubicBezTo>
                      <a:pt x="1027" y="420"/>
                      <a:pt x="1027" y="418"/>
                      <a:pt x="1029" y="417"/>
                    </a:cubicBezTo>
                    <a:cubicBezTo>
                      <a:pt x="1030" y="417"/>
                      <a:pt x="1030" y="417"/>
                      <a:pt x="1030" y="417"/>
                    </a:cubicBezTo>
                    <a:cubicBezTo>
                      <a:pt x="1030" y="417"/>
                      <a:pt x="1030" y="416"/>
                      <a:pt x="1031" y="415"/>
                    </a:cubicBezTo>
                    <a:cubicBezTo>
                      <a:pt x="1032" y="415"/>
                      <a:pt x="1033" y="415"/>
                      <a:pt x="1034" y="414"/>
                    </a:cubicBezTo>
                    <a:cubicBezTo>
                      <a:pt x="1035" y="414"/>
                      <a:pt x="1035" y="412"/>
                      <a:pt x="1036" y="411"/>
                    </a:cubicBezTo>
                    <a:cubicBezTo>
                      <a:pt x="1036" y="411"/>
                      <a:pt x="1038" y="412"/>
                      <a:pt x="1038" y="411"/>
                    </a:cubicBezTo>
                    <a:cubicBezTo>
                      <a:pt x="1039" y="411"/>
                      <a:pt x="1038" y="409"/>
                      <a:pt x="1039" y="408"/>
                    </a:cubicBezTo>
                    <a:cubicBezTo>
                      <a:pt x="1041" y="408"/>
                      <a:pt x="1042" y="407"/>
                      <a:pt x="1044" y="407"/>
                    </a:cubicBezTo>
                    <a:cubicBezTo>
                      <a:pt x="1045" y="401"/>
                      <a:pt x="1047" y="397"/>
                      <a:pt x="1050" y="393"/>
                    </a:cubicBezTo>
                    <a:cubicBezTo>
                      <a:pt x="1051" y="392"/>
                      <a:pt x="1054" y="391"/>
                      <a:pt x="1054" y="389"/>
                    </a:cubicBezTo>
                    <a:cubicBezTo>
                      <a:pt x="1054" y="388"/>
                      <a:pt x="1053" y="388"/>
                      <a:pt x="1053" y="386"/>
                    </a:cubicBezTo>
                    <a:cubicBezTo>
                      <a:pt x="1055" y="386"/>
                      <a:pt x="1055" y="387"/>
                      <a:pt x="1057" y="387"/>
                    </a:cubicBezTo>
                    <a:cubicBezTo>
                      <a:pt x="1058" y="387"/>
                      <a:pt x="1059" y="384"/>
                      <a:pt x="1060" y="383"/>
                    </a:cubicBezTo>
                    <a:cubicBezTo>
                      <a:pt x="1062" y="382"/>
                      <a:pt x="1063" y="382"/>
                      <a:pt x="1065" y="382"/>
                    </a:cubicBezTo>
                    <a:cubicBezTo>
                      <a:pt x="1065" y="381"/>
                      <a:pt x="1065" y="378"/>
                      <a:pt x="1065" y="378"/>
                    </a:cubicBezTo>
                    <a:cubicBezTo>
                      <a:pt x="1066" y="378"/>
                      <a:pt x="1067" y="379"/>
                      <a:pt x="1069" y="380"/>
                    </a:cubicBezTo>
                    <a:cubicBezTo>
                      <a:pt x="1069" y="378"/>
                      <a:pt x="1069" y="378"/>
                      <a:pt x="1069" y="378"/>
                    </a:cubicBezTo>
                    <a:cubicBezTo>
                      <a:pt x="1071" y="379"/>
                      <a:pt x="1069" y="380"/>
                      <a:pt x="1069" y="382"/>
                    </a:cubicBezTo>
                    <a:cubicBezTo>
                      <a:pt x="1078" y="380"/>
                      <a:pt x="1086" y="380"/>
                      <a:pt x="1092" y="382"/>
                    </a:cubicBezTo>
                    <a:cubicBezTo>
                      <a:pt x="1092" y="382"/>
                      <a:pt x="1091" y="385"/>
                      <a:pt x="1092" y="386"/>
                    </a:cubicBezTo>
                    <a:cubicBezTo>
                      <a:pt x="1092" y="387"/>
                      <a:pt x="1092" y="387"/>
                      <a:pt x="1092" y="387"/>
                    </a:cubicBezTo>
                    <a:cubicBezTo>
                      <a:pt x="1094" y="387"/>
                      <a:pt x="1095" y="387"/>
                      <a:pt x="1096" y="386"/>
                    </a:cubicBezTo>
                    <a:cubicBezTo>
                      <a:pt x="1098" y="382"/>
                      <a:pt x="1098" y="382"/>
                      <a:pt x="1098" y="382"/>
                    </a:cubicBezTo>
                    <a:cubicBezTo>
                      <a:pt x="1099" y="382"/>
                      <a:pt x="1099" y="381"/>
                      <a:pt x="1100" y="382"/>
                    </a:cubicBezTo>
                    <a:cubicBezTo>
                      <a:pt x="1100" y="384"/>
                      <a:pt x="1100" y="384"/>
                      <a:pt x="1100" y="384"/>
                    </a:cubicBezTo>
                    <a:cubicBezTo>
                      <a:pt x="1101" y="385"/>
                      <a:pt x="1106" y="386"/>
                      <a:pt x="1108" y="386"/>
                    </a:cubicBezTo>
                    <a:cubicBezTo>
                      <a:pt x="1110" y="386"/>
                      <a:pt x="1112" y="384"/>
                      <a:pt x="1114" y="385"/>
                    </a:cubicBezTo>
                    <a:cubicBezTo>
                      <a:pt x="1115" y="385"/>
                      <a:pt x="1114" y="387"/>
                      <a:pt x="1117" y="388"/>
                    </a:cubicBezTo>
                    <a:cubicBezTo>
                      <a:pt x="1119" y="388"/>
                      <a:pt x="1119" y="384"/>
                      <a:pt x="1118" y="385"/>
                    </a:cubicBezTo>
                    <a:cubicBezTo>
                      <a:pt x="1118" y="383"/>
                      <a:pt x="1117" y="384"/>
                      <a:pt x="1119" y="383"/>
                    </a:cubicBezTo>
                    <a:cubicBezTo>
                      <a:pt x="1119" y="382"/>
                      <a:pt x="1118" y="380"/>
                      <a:pt x="1118" y="380"/>
                    </a:cubicBezTo>
                    <a:cubicBezTo>
                      <a:pt x="1122" y="377"/>
                      <a:pt x="1124" y="380"/>
                      <a:pt x="1127" y="380"/>
                    </a:cubicBezTo>
                    <a:cubicBezTo>
                      <a:pt x="1130" y="381"/>
                      <a:pt x="1131" y="380"/>
                      <a:pt x="1134" y="380"/>
                    </a:cubicBezTo>
                    <a:cubicBezTo>
                      <a:pt x="1134" y="380"/>
                      <a:pt x="1133" y="381"/>
                      <a:pt x="1134" y="381"/>
                    </a:cubicBezTo>
                    <a:cubicBezTo>
                      <a:pt x="1133" y="381"/>
                      <a:pt x="1136" y="382"/>
                      <a:pt x="1136" y="382"/>
                    </a:cubicBezTo>
                    <a:cubicBezTo>
                      <a:pt x="1137" y="381"/>
                      <a:pt x="1137" y="380"/>
                      <a:pt x="1138" y="380"/>
                    </a:cubicBezTo>
                    <a:cubicBezTo>
                      <a:pt x="1139" y="379"/>
                      <a:pt x="1140" y="379"/>
                      <a:pt x="1142" y="378"/>
                    </a:cubicBezTo>
                    <a:cubicBezTo>
                      <a:pt x="1142" y="379"/>
                      <a:pt x="1142" y="380"/>
                      <a:pt x="1142" y="381"/>
                    </a:cubicBezTo>
                    <a:cubicBezTo>
                      <a:pt x="1143" y="382"/>
                      <a:pt x="1146" y="384"/>
                      <a:pt x="1147" y="385"/>
                    </a:cubicBezTo>
                    <a:cubicBezTo>
                      <a:pt x="1146" y="387"/>
                      <a:pt x="1146" y="387"/>
                      <a:pt x="1146" y="387"/>
                    </a:cubicBezTo>
                    <a:cubicBezTo>
                      <a:pt x="1143" y="387"/>
                      <a:pt x="1141" y="387"/>
                      <a:pt x="1138" y="387"/>
                    </a:cubicBezTo>
                    <a:cubicBezTo>
                      <a:pt x="1140" y="395"/>
                      <a:pt x="1138" y="393"/>
                      <a:pt x="1148" y="393"/>
                    </a:cubicBezTo>
                    <a:cubicBezTo>
                      <a:pt x="1148" y="390"/>
                      <a:pt x="1148" y="390"/>
                      <a:pt x="1148" y="390"/>
                    </a:cubicBezTo>
                    <a:cubicBezTo>
                      <a:pt x="1151" y="391"/>
                      <a:pt x="1152" y="391"/>
                      <a:pt x="1154" y="392"/>
                    </a:cubicBezTo>
                    <a:cubicBezTo>
                      <a:pt x="1155" y="392"/>
                      <a:pt x="1155" y="390"/>
                      <a:pt x="1155" y="389"/>
                    </a:cubicBezTo>
                    <a:cubicBezTo>
                      <a:pt x="1156" y="389"/>
                      <a:pt x="1157" y="389"/>
                      <a:pt x="1158" y="389"/>
                    </a:cubicBezTo>
                    <a:cubicBezTo>
                      <a:pt x="1158" y="388"/>
                      <a:pt x="1158" y="387"/>
                      <a:pt x="1159" y="387"/>
                    </a:cubicBezTo>
                    <a:cubicBezTo>
                      <a:pt x="1159" y="387"/>
                      <a:pt x="1160" y="387"/>
                      <a:pt x="1161" y="387"/>
                    </a:cubicBezTo>
                    <a:cubicBezTo>
                      <a:pt x="1162" y="387"/>
                      <a:pt x="1161" y="388"/>
                      <a:pt x="1162" y="389"/>
                    </a:cubicBezTo>
                    <a:cubicBezTo>
                      <a:pt x="1166" y="388"/>
                      <a:pt x="1166" y="388"/>
                      <a:pt x="1171" y="387"/>
                    </a:cubicBezTo>
                    <a:cubicBezTo>
                      <a:pt x="1170" y="385"/>
                      <a:pt x="1170" y="384"/>
                      <a:pt x="1170" y="383"/>
                    </a:cubicBezTo>
                    <a:cubicBezTo>
                      <a:pt x="1169" y="383"/>
                      <a:pt x="1169" y="383"/>
                      <a:pt x="1169" y="383"/>
                    </a:cubicBezTo>
                    <a:cubicBezTo>
                      <a:pt x="1169" y="383"/>
                      <a:pt x="1167" y="382"/>
                      <a:pt x="1166" y="382"/>
                    </a:cubicBezTo>
                    <a:cubicBezTo>
                      <a:pt x="1166" y="382"/>
                      <a:pt x="1164" y="384"/>
                      <a:pt x="1164" y="384"/>
                    </a:cubicBezTo>
                    <a:cubicBezTo>
                      <a:pt x="1162" y="384"/>
                      <a:pt x="1162" y="383"/>
                      <a:pt x="1161" y="383"/>
                    </a:cubicBezTo>
                    <a:cubicBezTo>
                      <a:pt x="1161" y="382"/>
                      <a:pt x="1163" y="376"/>
                      <a:pt x="1162" y="376"/>
                    </a:cubicBezTo>
                    <a:cubicBezTo>
                      <a:pt x="1163" y="375"/>
                      <a:pt x="1163" y="376"/>
                      <a:pt x="1164" y="376"/>
                    </a:cubicBezTo>
                    <a:cubicBezTo>
                      <a:pt x="1164" y="374"/>
                      <a:pt x="1165" y="370"/>
                      <a:pt x="1168" y="369"/>
                    </a:cubicBezTo>
                    <a:cubicBezTo>
                      <a:pt x="1169" y="368"/>
                      <a:pt x="1170" y="369"/>
                      <a:pt x="1171" y="368"/>
                    </a:cubicBezTo>
                    <a:cubicBezTo>
                      <a:pt x="1171" y="368"/>
                      <a:pt x="1172" y="366"/>
                      <a:pt x="1173" y="366"/>
                    </a:cubicBezTo>
                    <a:cubicBezTo>
                      <a:pt x="1173" y="365"/>
                      <a:pt x="1175" y="366"/>
                      <a:pt x="1177" y="366"/>
                    </a:cubicBezTo>
                    <a:cubicBezTo>
                      <a:pt x="1177" y="365"/>
                      <a:pt x="1177" y="363"/>
                      <a:pt x="1178" y="363"/>
                    </a:cubicBezTo>
                    <a:cubicBezTo>
                      <a:pt x="1180" y="362"/>
                      <a:pt x="1180" y="362"/>
                      <a:pt x="1180" y="362"/>
                    </a:cubicBezTo>
                    <a:cubicBezTo>
                      <a:pt x="1180" y="360"/>
                      <a:pt x="1178" y="360"/>
                      <a:pt x="1179" y="358"/>
                    </a:cubicBezTo>
                    <a:cubicBezTo>
                      <a:pt x="1180" y="358"/>
                      <a:pt x="1180" y="358"/>
                      <a:pt x="1180" y="358"/>
                    </a:cubicBezTo>
                    <a:cubicBezTo>
                      <a:pt x="1184" y="357"/>
                      <a:pt x="1183" y="354"/>
                      <a:pt x="1184" y="353"/>
                    </a:cubicBezTo>
                    <a:cubicBezTo>
                      <a:pt x="1185" y="352"/>
                      <a:pt x="1185" y="354"/>
                      <a:pt x="1186" y="354"/>
                    </a:cubicBezTo>
                    <a:cubicBezTo>
                      <a:pt x="1187" y="353"/>
                      <a:pt x="1188" y="351"/>
                      <a:pt x="1189" y="351"/>
                    </a:cubicBezTo>
                    <a:cubicBezTo>
                      <a:pt x="1192" y="350"/>
                      <a:pt x="1194" y="351"/>
                      <a:pt x="1197" y="350"/>
                    </a:cubicBezTo>
                    <a:cubicBezTo>
                      <a:pt x="1199" y="350"/>
                      <a:pt x="1203" y="348"/>
                      <a:pt x="1205" y="348"/>
                    </a:cubicBezTo>
                    <a:cubicBezTo>
                      <a:pt x="1206" y="349"/>
                      <a:pt x="1207" y="353"/>
                      <a:pt x="1209" y="353"/>
                    </a:cubicBezTo>
                    <a:cubicBezTo>
                      <a:pt x="1209" y="353"/>
                      <a:pt x="1211" y="353"/>
                      <a:pt x="1211" y="352"/>
                    </a:cubicBezTo>
                    <a:cubicBezTo>
                      <a:pt x="1213" y="351"/>
                      <a:pt x="1214" y="350"/>
                      <a:pt x="1215" y="349"/>
                    </a:cubicBezTo>
                    <a:cubicBezTo>
                      <a:pt x="1215" y="349"/>
                      <a:pt x="1216" y="354"/>
                      <a:pt x="1215" y="355"/>
                    </a:cubicBezTo>
                    <a:cubicBezTo>
                      <a:pt x="1215" y="356"/>
                      <a:pt x="1214" y="355"/>
                      <a:pt x="1213" y="356"/>
                    </a:cubicBezTo>
                    <a:cubicBezTo>
                      <a:pt x="1212" y="357"/>
                      <a:pt x="1212" y="360"/>
                      <a:pt x="1211" y="363"/>
                    </a:cubicBezTo>
                    <a:cubicBezTo>
                      <a:pt x="1213" y="362"/>
                      <a:pt x="1214" y="363"/>
                      <a:pt x="1215" y="362"/>
                    </a:cubicBezTo>
                    <a:cubicBezTo>
                      <a:pt x="1215" y="362"/>
                      <a:pt x="1217" y="357"/>
                      <a:pt x="1217" y="361"/>
                    </a:cubicBezTo>
                    <a:cubicBezTo>
                      <a:pt x="1216" y="362"/>
                      <a:pt x="1216" y="362"/>
                      <a:pt x="1216" y="362"/>
                    </a:cubicBezTo>
                    <a:cubicBezTo>
                      <a:pt x="1216" y="362"/>
                      <a:pt x="1216" y="363"/>
                      <a:pt x="1216" y="364"/>
                    </a:cubicBezTo>
                    <a:cubicBezTo>
                      <a:pt x="1215" y="364"/>
                      <a:pt x="1214" y="364"/>
                      <a:pt x="1214" y="364"/>
                    </a:cubicBezTo>
                    <a:cubicBezTo>
                      <a:pt x="1214" y="365"/>
                      <a:pt x="1214" y="366"/>
                      <a:pt x="1214" y="366"/>
                    </a:cubicBezTo>
                    <a:cubicBezTo>
                      <a:pt x="1216" y="368"/>
                      <a:pt x="1216" y="368"/>
                      <a:pt x="1216" y="368"/>
                    </a:cubicBezTo>
                    <a:cubicBezTo>
                      <a:pt x="1218" y="366"/>
                      <a:pt x="1219" y="364"/>
                      <a:pt x="1220" y="363"/>
                    </a:cubicBezTo>
                    <a:cubicBezTo>
                      <a:pt x="1221" y="362"/>
                      <a:pt x="1222" y="362"/>
                      <a:pt x="1223" y="361"/>
                    </a:cubicBezTo>
                    <a:cubicBezTo>
                      <a:pt x="1224" y="361"/>
                      <a:pt x="1223" y="359"/>
                      <a:pt x="1223" y="359"/>
                    </a:cubicBezTo>
                    <a:cubicBezTo>
                      <a:pt x="1224" y="358"/>
                      <a:pt x="1225" y="359"/>
                      <a:pt x="1225" y="358"/>
                    </a:cubicBezTo>
                    <a:cubicBezTo>
                      <a:pt x="1226" y="358"/>
                      <a:pt x="1226" y="356"/>
                      <a:pt x="1227" y="356"/>
                    </a:cubicBezTo>
                    <a:cubicBezTo>
                      <a:pt x="1228" y="354"/>
                      <a:pt x="1232" y="350"/>
                      <a:pt x="1235" y="350"/>
                    </a:cubicBezTo>
                    <a:cubicBezTo>
                      <a:pt x="1240" y="350"/>
                      <a:pt x="1235" y="355"/>
                      <a:pt x="1243" y="352"/>
                    </a:cubicBezTo>
                    <a:cubicBezTo>
                      <a:pt x="1242" y="351"/>
                      <a:pt x="1243" y="348"/>
                      <a:pt x="1241" y="350"/>
                    </a:cubicBezTo>
                    <a:cubicBezTo>
                      <a:pt x="1241" y="348"/>
                      <a:pt x="1240" y="345"/>
                      <a:pt x="1240" y="343"/>
                    </a:cubicBezTo>
                    <a:cubicBezTo>
                      <a:pt x="1241" y="343"/>
                      <a:pt x="1242" y="343"/>
                      <a:pt x="1243" y="342"/>
                    </a:cubicBezTo>
                    <a:cubicBezTo>
                      <a:pt x="1243" y="341"/>
                      <a:pt x="1242" y="340"/>
                      <a:pt x="1243" y="339"/>
                    </a:cubicBezTo>
                    <a:cubicBezTo>
                      <a:pt x="1243" y="339"/>
                      <a:pt x="1245" y="338"/>
                      <a:pt x="1246" y="338"/>
                    </a:cubicBezTo>
                    <a:cubicBezTo>
                      <a:pt x="1247" y="338"/>
                      <a:pt x="1249" y="336"/>
                      <a:pt x="1250" y="336"/>
                    </a:cubicBezTo>
                    <a:cubicBezTo>
                      <a:pt x="1253" y="336"/>
                      <a:pt x="1255" y="340"/>
                      <a:pt x="1259" y="341"/>
                    </a:cubicBezTo>
                    <a:cubicBezTo>
                      <a:pt x="1259" y="341"/>
                      <a:pt x="1257" y="342"/>
                      <a:pt x="1256" y="342"/>
                    </a:cubicBezTo>
                    <a:cubicBezTo>
                      <a:pt x="1251" y="341"/>
                      <a:pt x="1253" y="339"/>
                      <a:pt x="1249" y="343"/>
                    </a:cubicBezTo>
                    <a:cubicBezTo>
                      <a:pt x="1249" y="343"/>
                      <a:pt x="1247" y="344"/>
                      <a:pt x="1247" y="344"/>
                    </a:cubicBezTo>
                    <a:cubicBezTo>
                      <a:pt x="1247" y="347"/>
                      <a:pt x="1249" y="349"/>
                      <a:pt x="1249" y="352"/>
                    </a:cubicBezTo>
                    <a:cubicBezTo>
                      <a:pt x="1249" y="352"/>
                      <a:pt x="1247" y="353"/>
                      <a:pt x="1247" y="354"/>
                    </a:cubicBezTo>
                    <a:cubicBezTo>
                      <a:pt x="1245" y="357"/>
                      <a:pt x="1246" y="358"/>
                      <a:pt x="1247" y="361"/>
                    </a:cubicBezTo>
                    <a:cubicBezTo>
                      <a:pt x="1245" y="362"/>
                      <a:pt x="1245" y="362"/>
                      <a:pt x="1245" y="362"/>
                    </a:cubicBezTo>
                    <a:cubicBezTo>
                      <a:pt x="1244" y="362"/>
                      <a:pt x="1245" y="364"/>
                      <a:pt x="1245" y="364"/>
                    </a:cubicBezTo>
                    <a:cubicBezTo>
                      <a:pt x="1241" y="365"/>
                      <a:pt x="1238" y="364"/>
                      <a:pt x="1235" y="364"/>
                    </a:cubicBezTo>
                    <a:cubicBezTo>
                      <a:pt x="1235" y="364"/>
                      <a:pt x="1234" y="366"/>
                      <a:pt x="1233" y="366"/>
                    </a:cubicBezTo>
                    <a:cubicBezTo>
                      <a:pt x="1232" y="367"/>
                      <a:pt x="1230" y="366"/>
                      <a:pt x="1229" y="366"/>
                    </a:cubicBezTo>
                    <a:cubicBezTo>
                      <a:pt x="1228" y="366"/>
                      <a:pt x="1228" y="367"/>
                      <a:pt x="1227" y="368"/>
                    </a:cubicBezTo>
                    <a:cubicBezTo>
                      <a:pt x="1227" y="374"/>
                      <a:pt x="1227" y="374"/>
                      <a:pt x="1227" y="374"/>
                    </a:cubicBezTo>
                    <a:cubicBezTo>
                      <a:pt x="1227" y="374"/>
                      <a:pt x="1224" y="374"/>
                      <a:pt x="1224" y="375"/>
                    </a:cubicBezTo>
                    <a:cubicBezTo>
                      <a:pt x="1224" y="375"/>
                      <a:pt x="1224" y="377"/>
                      <a:pt x="1224" y="378"/>
                    </a:cubicBezTo>
                    <a:cubicBezTo>
                      <a:pt x="1221" y="382"/>
                      <a:pt x="1221" y="382"/>
                      <a:pt x="1221" y="382"/>
                    </a:cubicBezTo>
                    <a:cubicBezTo>
                      <a:pt x="1220" y="382"/>
                      <a:pt x="1219" y="382"/>
                      <a:pt x="1217" y="383"/>
                    </a:cubicBezTo>
                    <a:cubicBezTo>
                      <a:pt x="1216" y="384"/>
                      <a:pt x="1217" y="385"/>
                      <a:pt x="1216" y="387"/>
                    </a:cubicBezTo>
                    <a:cubicBezTo>
                      <a:pt x="1216" y="388"/>
                      <a:pt x="1213" y="388"/>
                      <a:pt x="1212" y="389"/>
                    </a:cubicBezTo>
                    <a:cubicBezTo>
                      <a:pt x="1212" y="389"/>
                      <a:pt x="1210" y="392"/>
                      <a:pt x="1209" y="392"/>
                    </a:cubicBezTo>
                    <a:cubicBezTo>
                      <a:pt x="1209" y="393"/>
                      <a:pt x="1210" y="394"/>
                      <a:pt x="1209" y="394"/>
                    </a:cubicBezTo>
                    <a:cubicBezTo>
                      <a:pt x="1208" y="396"/>
                      <a:pt x="1203" y="399"/>
                      <a:pt x="1201" y="401"/>
                    </a:cubicBezTo>
                    <a:cubicBezTo>
                      <a:pt x="1201" y="402"/>
                      <a:pt x="1200" y="404"/>
                      <a:pt x="1199" y="405"/>
                    </a:cubicBezTo>
                    <a:cubicBezTo>
                      <a:pt x="1197" y="406"/>
                      <a:pt x="1196" y="404"/>
                      <a:pt x="1195" y="404"/>
                    </a:cubicBezTo>
                    <a:cubicBezTo>
                      <a:pt x="1193" y="404"/>
                      <a:pt x="1193" y="408"/>
                      <a:pt x="1191" y="408"/>
                    </a:cubicBezTo>
                    <a:cubicBezTo>
                      <a:pt x="1190" y="408"/>
                      <a:pt x="1185" y="408"/>
                      <a:pt x="1184" y="408"/>
                    </a:cubicBezTo>
                    <a:cubicBezTo>
                      <a:pt x="1184" y="409"/>
                      <a:pt x="1184" y="409"/>
                      <a:pt x="1184" y="409"/>
                    </a:cubicBezTo>
                    <a:cubicBezTo>
                      <a:pt x="1184" y="410"/>
                      <a:pt x="1186" y="411"/>
                      <a:pt x="1187" y="411"/>
                    </a:cubicBezTo>
                    <a:cubicBezTo>
                      <a:pt x="1186" y="415"/>
                      <a:pt x="1185" y="418"/>
                      <a:pt x="1185" y="422"/>
                    </a:cubicBezTo>
                    <a:cubicBezTo>
                      <a:pt x="1180" y="422"/>
                      <a:pt x="1182" y="423"/>
                      <a:pt x="1179" y="425"/>
                    </a:cubicBezTo>
                    <a:cubicBezTo>
                      <a:pt x="1178" y="425"/>
                      <a:pt x="1177" y="425"/>
                      <a:pt x="1177" y="425"/>
                    </a:cubicBezTo>
                    <a:cubicBezTo>
                      <a:pt x="1176" y="428"/>
                      <a:pt x="1177" y="430"/>
                      <a:pt x="1176" y="433"/>
                    </a:cubicBezTo>
                    <a:cubicBezTo>
                      <a:pt x="1176" y="434"/>
                      <a:pt x="1174" y="437"/>
                      <a:pt x="1174" y="438"/>
                    </a:cubicBezTo>
                    <a:cubicBezTo>
                      <a:pt x="1173" y="443"/>
                      <a:pt x="1173" y="448"/>
                      <a:pt x="1174" y="452"/>
                    </a:cubicBezTo>
                    <a:cubicBezTo>
                      <a:pt x="1175" y="455"/>
                      <a:pt x="1177" y="458"/>
                      <a:pt x="1178" y="461"/>
                    </a:cubicBezTo>
                    <a:cubicBezTo>
                      <a:pt x="1178" y="466"/>
                      <a:pt x="1177" y="471"/>
                      <a:pt x="1178" y="477"/>
                    </a:cubicBezTo>
                    <a:cubicBezTo>
                      <a:pt x="1178" y="477"/>
                      <a:pt x="1179" y="484"/>
                      <a:pt x="1179" y="485"/>
                    </a:cubicBezTo>
                    <a:cubicBezTo>
                      <a:pt x="1179" y="486"/>
                      <a:pt x="1181" y="487"/>
                      <a:pt x="1181" y="489"/>
                    </a:cubicBezTo>
                    <a:cubicBezTo>
                      <a:pt x="1183" y="492"/>
                      <a:pt x="1181" y="495"/>
                      <a:pt x="1181" y="499"/>
                    </a:cubicBezTo>
                    <a:cubicBezTo>
                      <a:pt x="1181" y="499"/>
                      <a:pt x="1183" y="500"/>
                      <a:pt x="1183" y="501"/>
                    </a:cubicBezTo>
                    <a:cubicBezTo>
                      <a:pt x="1184" y="502"/>
                      <a:pt x="1183" y="503"/>
                      <a:pt x="1183" y="504"/>
                    </a:cubicBezTo>
                    <a:cubicBezTo>
                      <a:pt x="1184" y="504"/>
                      <a:pt x="1185" y="504"/>
                      <a:pt x="1185" y="504"/>
                    </a:cubicBezTo>
                    <a:cubicBezTo>
                      <a:pt x="1186" y="504"/>
                      <a:pt x="1197" y="493"/>
                      <a:pt x="1197" y="493"/>
                    </a:cubicBezTo>
                    <a:cubicBezTo>
                      <a:pt x="1199" y="489"/>
                      <a:pt x="1196" y="485"/>
                      <a:pt x="1198" y="481"/>
                    </a:cubicBezTo>
                    <a:cubicBezTo>
                      <a:pt x="1198" y="481"/>
                      <a:pt x="1200" y="481"/>
                      <a:pt x="1200" y="481"/>
                    </a:cubicBezTo>
                    <a:cubicBezTo>
                      <a:pt x="1201" y="481"/>
                      <a:pt x="1202" y="479"/>
                      <a:pt x="1203" y="479"/>
                    </a:cubicBezTo>
                    <a:cubicBezTo>
                      <a:pt x="1205" y="478"/>
                      <a:pt x="1207" y="479"/>
                      <a:pt x="1209" y="479"/>
                    </a:cubicBezTo>
                    <a:cubicBezTo>
                      <a:pt x="1209" y="477"/>
                      <a:pt x="1209" y="477"/>
                      <a:pt x="1209" y="477"/>
                    </a:cubicBezTo>
                    <a:cubicBezTo>
                      <a:pt x="1208" y="476"/>
                      <a:pt x="1207" y="471"/>
                      <a:pt x="1208" y="468"/>
                    </a:cubicBezTo>
                    <a:cubicBezTo>
                      <a:pt x="1208" y="468"/>
                      <a:pt x="1213" y="461"/>
                      <a:pt x="1213" y="461"/>
                    </a:cubicBezTo>
                    <a:cubicBezTo>
                      <a:pt x="1217" y="457"/>
                      <a:pt x="1220" y="457"/>
                      <a:pt x="1225" y="459"/>
                    </a:cubicBezTo>
                    <a:cubicBezTo>
                      <a:pt x="1226" y="458"/>
                      <a:pt x="1227" y="455"/>
                      <a:pt x="1228" y="455"/>
                    </a:cubicBezTo>
                    <a:cubicBezTo>
                      <a:pt x="1229" y="455"/>
                      <a:pt x="1229" y="455"/>
                      <a:pt x="1229" y="455"/>
                    </a:cubicBezTo>
                    <a:cubicBezTo>
                      <a:pt x="1229" y="454"/>
                      <a:pt x="1230" y="453"/>
                      <a:pt x="1229" y="452"/>
                    </a:cubicBezTo>
                    <a:cubicBezTo>
                      <a:pt x="1229" y="451"/>
                      <a:pt x="1225" y="448"/>
                      <a:pt x="1224" y="447"/>
                    </a:cubicBezTo>
                    <a:cubicBezTo>
                      <a:pt x="1225" y="444"/>
                      <a:pt x="1226" y="439"/>
                      <a:pt x="1226" y="436"/>
                    </a:cubicBezTo>
                    <a:cubicBezTo>
                      <a:pt x="1228" y="435"/>
                      <a:pt x="1229" y="435"/>
                      <a:pt x="1231" y="435"/>
                    </a:cubicBezTo>
                    <a:cubicBezTo>
                      <a:pt x="1231" y="435"/>
                      <a:pt x="1232" y="433"/>
                      <a:pt x="1233" y="433"/>
                    </a:cubicBezTo>
                    <a:cubicBezTo>
                      <a:pt x="1234" y="433"/>
                      <a:pt x="1236" y="434"/>
                      <a:pt x="1237" y="435"/>
                    </a:cubicBezTo>
                    <a:cubicBezTo>
                      <a:pt x="1238" y="434"/>
                      <a:pt x="1238" y="433"/>
                      <a:pt x="1239" y="433"/>
                    </a:cubicBezTo>
                    <a:cubicBezTo>
                      <a:pt x="1239" y="431"/>
                      <a:pt x="1239" y="430"/>
                      <a:pt x="1239" y="428"/>
                    </a:cubicBezTo>
                    <a:cubicBezTo>
                      <a:pt x="1237" y="428"/>
                      <a:pt x="1236" y="428"/>
                      <a:pt x="1234" y="429"/>
                    </a:cubicBezTo>
                    <a:cubicBezTo>
                      <a:pt x="1234" y="428"/>
                      <a:pt x="1234" y="427"/>
                      <a:pt x="1234" y="426"/>
                    </a:cubicBezTo>
                    <a:cubicBezTo>
                      <a:pt x="1234" y="425"/>
                      <a:pt x="1231" y="424"/>
                      <a:pt x="1231" y="423"/>
                    </a:cubicBezTo>
                    <a:cubicBezTo>
                      <a:pt x="1231" y="421"/>
                      <a:pt x="1232" y="420"/>
                      <a:pt x="1233" y="419"/>
                    </a:cubicBezTo>
                    <a:cubicBezTo>
                      <a:pt x="1233" y="418"/>
                      <a:pt x="1233" y="416"/>
                      <a:pt x="1233" y="415"/>
                    </a:cubicBezTo>
                    <a:cubicBezTo>
                      <a:pt x="1234" y="414"/>
                      <a:pt x="1235" y="414"/>
                      <a:pt x="1236" y="413"/>
                    </a:cubicBezTo>
                    <a:cubicBezTo>
                      <a:pt x="1237" y="413"/>
                      <a:pt x="1238" y="409"/>
                      <a:pt x="1238" y="409"/>
                    </a:cubicBezTo>
                    <a:cubicBezTo>
                      <a:pt x="1238" y="409"/>
                      <a:pt x="1238" y="407"/>
                      <a:pt x="1238" y="407"/>
                    </a:cubicBezTo>
                    <a:cubicBezTo>
                      <a:pt x="1236" y="406"/>
                      <a:pt x="1235" y="406"/>
                      <a:pt x="1232" y="405"/>
                    </a:cubicBezTo>
                    <a:cubicBezTo>
                      <a:pt x="1232" y="406"/>
                      <a:pt x="1232" y="406"/>
                      <a:pt x="1232" y="406"/>
                    </a:cubicBezTo>
                    <a:cubicBezTo>
                      <a:pt x="1231" y="406"/>
                      <a:pt x="1230" y="405"/>
                      <a:pt x="1230" y="405"/>
                    </a:cubicBezTo>
                    <a:cubicBezTo>
                      <a:pt x="1228" y="398"/>
                      <a:pt x="1229" y="395"/>
                      <a:pt x="1234" y="391"/>
                    </a:cubicBezTo>
                    <a:cubicBezTo>
                      <a:pt x="1234" y="391"/>
                      <a:pt x="1236" y="390"/>
                      <a:pt x="1236" y="389"/>
                    </a:cubicBezTo>
                    <a:cubicBezTo>
                      <a:pt x="1236" y="389"/>
                      <a:pt x="1236" y="388"/>
                      <a:pt x="1236" y="388"/>
                    </a:cubicBezTo>
                    <a:cubicBezTo>
                      <a:pt x="1237" y="387"/>
                      <a:pt x="1238" y="388"/>
                      <a:pt x="1239" y="387"/>
                    </a:cubicBezTo>
                    <a:cubicBezTo>
                      <a:pt x="1239" y="386"/>
                      <a:pt x="1238" y="384"/>
                      <a:pt x="1239" y="384"/>
                    </a:cubicBezTo>
                    <a:cubicBezTo>
                      <a:pt x="1239" y="384"/>
                      <a:pt x="1241" y="384"/>
                      <a:pt x="1241" y="384"/>
                    </a:cubicBezTo>
                    <a:cubicBezTo>
                      <a:pt x="1241" y="382"/>
                      <a:pt x="1239" y="382"/>
                      <a:pt x="1240" y="380"/>
                    </a:cubicBezTo>
                    <a:cubicBezTo>
                      <a:pt x="1241" y="380"/>
                      <a:pt x="1241" y="380"/>
                      <a:pt x="1241" y="380"/>
                    </a:cubicBezTo>
                    <a:cubicBezTo>
                      <a:pt x="1243" y="379"/>
                      <a:pt x="1243" y="376"/>
                      <a:pt x="1244" y="374"/>
                    </a:cubicBezTo>
                    <a:cubicBezTo>
                      <a:pt x="1244" y="374"/>
                      <a:pt x="1246" y="374"/>
                      <a:pt x="1246" y="374"/>
                    </a:cubicBezTo>
                    <a:cubicBezTo>
                      <a:pt x="1246" y="374"/>
                      <a:pt x="1247" y="376"/>
                      <a:pt x="1247" y="376"/>
                    </a:cubicBezTo>
                    <a:cubicBezTo>
                      <a:pt x="1249" y="377"/>
                      <a:pt x="1249" y="375"/>
                      <a:pt x="1251" y="376"/>
                    </a:cubicBezTo>
                    <a:cubicBezTo>
                      <a:pt x="1252" y="376"/>
                      <a:pt x="1252" y="377"/>
                      <a:pt x="1253" y="378"/>
                    </a:cubicBezTo>
                    <a:cubicBezTo>
                      <a:pt x="1253" y="378"/>
                      <a:pt x="1254" y="377"/>
                      <a:pt x="1255" y="378"/>
                    </a:cubicBezTo>
                    <a:cubicBezTo>
                      <a:pt x="1255" y="377"/>
                      <a:pt x="1255" y="375"/>
                      <a:pt x="1255" y="374"/>
                    </a:cubicBezTo>
                    <a:cubicBezTo>
                      <a:pt x="1255" y="374"/>
                      <a:pt x="1262" y="371"/>
                      <a:pt x="1263" y="370"/>
                    </a:cubicBezTo>
                    <a:cubicBezTo>
                      <a:pt x="1263" y="370"/>
                      <a:pt x="1265" y="367"/>
                      <a:pt x="1265" y="367"/>
                    </a:cubicBezTo>
                    <a:cubicBezTo>
                      <a:pt x="1268" y="365"/>
                      <a:pt x="1264" y="372"/>
                      <a:pt x="1264" y="374"/>
                    </a:cubicBezTo>
                    <a:cubicBezTo>
                      <a:pt x="1264" y="378"/>
                      <a:pt x="1265" y="380"/>
                      <a:pt x="1269" y="378"/>
                    </a:cubicBezTo>
                    <a:cubicBezTo>
                      <a:pt x="1274" y="371"/>
                      <a:pt x="1274" y="371"/>
                      <a:pt x="1274" y="371"/>
                    </a:cubicBezTo>
                    <a:cubicBezTo>
                      <a:pt x="1274" y="370"/>
                      <a:pt x="1274" y="369"/>
                      <a:pt x="1274" y="368"/>
                    </a:cubicBezTo>
                    <a:cubicBezTo>
                      <a:pt x="1275" y="367"/>
                      <a:pt x="1275" y="368"/>
                      <a:pt x="1276" y="368"/>
                    </a:cubicBezTo>
                    <a:cubicBezTo>
                      <a:pt x="1276" y="368"/>
                      <a:pt x="1276" y="367"/>
                      <a:pt x="1277" y="367"/>
                    </a:cubicBezTo>
                    <a:cubicBezTo>
                      <a:pt x="1277" y="367"/>
                      <a:pt x="1278" y="367"/>
                      <a:pt x="1279" y="367"/>
                    </a:cubicBezTo>
                    <a:cubicBezTo>
                      <a:pt x="1279" y="367"/>
                      <a:pt x="1280" y="364"/>
                      <a:pt x="1283" y="364"/>
                    </a:cubicBezTo>
                    <a:cubicBezTo>
                      <a:pt x="1285" y="364"/>
                      <a:pt x="1289" y="368"/>
                      <a:pt x="1290" y="369"/>
                    </a:cubicBezTo>
                    <a:cubicBezTo>
                      <a:pt x="1292" y="370"/>
                      <a:pt x="1293" y="368"/>
                      <a:pt x="1294" y="370"/>
                    </a:cubicBezTo>
                    <a:cubicBezTo>
                      <a:pt x="1294" y="370"/>
                      <a:pt x="1293" y="373"/>
                      <a:pt x="1294" y="374"/>
                    </a:cubicBezTo>
                    <a:cubicBezTo>
                      <a:pt x="1294" y="374"/>
                      <a:pt x="1300" y="377"/>
                      <a:pt x="1301" y="378"/>
                    </a:cubicBezTo>
                    <a:cubicBezTo>
                      <a:pt x="1302" y="376"/>
                      <a:pt x="1302" y="372"/>
                      <a:pt x="1303" y="370"/>
                    </a:cubicBezTo>
                    <a:cubicBezTo>
                      <a:pt x="1304" y="369"/>
                      <a:pt x="1306" y="368"/>
                      <a:pt x="1306" y="368"/>
                    </a:cubicBezTo>
                    <a:cubicBezTo>
                      <a:pt x="1306" y="366"/>
                      <a:pt x="1306" y="366"/>
                      <a:pt x="1306" y="366"/>
                    </a:cubicBezTo>
                    <a:cubicBezTo>
                      <a:pt x="1308" y="365"/>
                      <a:pt x="1310" y="366"/>
                      <a:pt x="1311" y="365"/>
                    </a:cubicBezTo>
                    <a:cubicBezTo>
                      <a:pt x="1312" y="364"/>
                      <a:pt x="1312" y="362"/>
                      <a:pt x="1312" y="362"/>
                    </a:cubicBezTo>
                    <a:cubicBezTo>
                      <a:pt x="1311" y="361"/>
                      <a:pt x="1311" y="361"/>
                      <a:pt x="1311" y="361"/>
                    </a:cubicBezTo>
                    <a:cubicBezTo>
                      <a:pt x="1313" y="360"/>
                      <a:pt x="1315" y="360"/>
                      <a:pt x="1315" y="360"/>
                    </a:cubicBezTo>
                    <a:cubicBezTo>
                      <a:pt x="1315" y="360"/>
                      <a:pt x="1317" y="361"/>
                      <a:pt x="1318" y="360"/>
                    </a:cubicBezTo>
                    <a:cubicBezTo>
                      <a:pt x="1319" y="360"/>
                      <a:pt x="1320" y="358"/>
                      <a:pt x="1320" y="357"/>
                    </a:cubicBezTo>
                    <a:cubicBezTo>
                      <a:pt x="1320" y="356"/>
                      <a:pt x="1319" y="356"/>
                      <a:pt x="1318" y="354"/>
                    </a:cubicBezTo>
                    <a:cubicBezTo>
                      <a:pt x="1324" y="357"/>
                      <a:pt x="1327" y="357"/>
                      <a:pt x="1325" y="350"/>
                    </a:cubicBezTo>
                    <a:cubicBezTo>
                      <a:pt x="1327" y="351"/>
                      <a:pt x="1328" y="351"/>
                      <a:pt x="1330" y="352"/>
                    </a:cubicBezTo>
                    <a:cubicBezTo>
                      <a:pt x="1331" y="351"/>
                      <a:pt x="1332" y="350"/>
                      <a:pt x="1333" y="349"/>
                    </a:cubicBezTo>
                    <a:close/>
                    <a:moveTo>
                      <a:pt x="335" y="0"/>
                    </a:moveTo>
                    <a:cubicBezTo>
                      <a:pt x="335" y="2"/>
                      <a:pt x="335" y="2"/>
                      <a:pt x="335" y="2"/>
                    </a:cubicBezTo>
                    <a:cubicBezTo>
                      <a:pt x="337" y="2"/>
                      <a:pt x="341" y="2"/>
                      <a:pt x="341" y="2"/>
                    </a:cubicBezTo>
                    <a:cubicBezTo>
                      <a:pt x="343" y="3"/>
                      <a:pt x="341" y="0"/>
                      <a:pt x="341" y="0"/>
                    </a:cubicBezTo>
                    <a:cubicBezTo>
                      <a:pt x="340" y="0"/>
                      <a:pt x="337" y="0"/>
                      <a:pt x="335" y="0"/>
                    </a:cubicBezTo>
                    <a:close/>
                    <a:moveTo>
                      <a:pt x="327" y="5"/>
                    </a:moveTo>
                    <a:cubicBezTo>
                      <a:pt x="327" y="5"/>
                      <a:pt x="327" y="8"/>
                      <a:pt x="327" y="9"/>
                    </a:cubicBezTo>
                    <a:cubicBezTo>
                      <a:pt x="328" y="9"/>
                      <a:pt x="327" y="9"/>
                      <a:pt x="328" y="10"/>
                    </a:cubicBezTo>
                    <a:cubicBezTo>
                      <a:pt x="329" y="10"/>
                      <a:pt x="335" y="9"/>
                      <a:pt x="331" y="7"/>
                    </a:cubicBezTo>
                    <a:cubicBezTo>
                      <a:pt x="330" y="7"/>
                      <a:pt x="328" y="6"/>
                      <a:pt x="327" y="5"/>
                    </a:cubicBezTo>
                    <a:close/>
                    <a:moveTo>
                      <a:pt x="318" y="9"/>
                    </a:moveTo>
                    <a:cubicBezTo>
                      <a:pt x="318" y="9"/>
                      <a:pt x="317" y="12"/>
                      <a:pt x="317" y="13"/>
                    </a:cubicBezTo>
                    <a:cubicBezTo>
                      <a:pt x="305" y="13"/>
                      <a:pt x="314" y="16"/>
                      <a:pt x="319" y="15"/>
                    </a:cubicBezTo>
                    <a:cubicBezTo>
                      <a:pt x="320" y="14"/>
                      <a:pt x="323" y="12"/>
                      <a:pt x="324" y="12"/>
                    </a:cubicBezTo>
                    <a:cubicBezTo>
                      <a:pt x="324" y="11"/>
                      <a:pt x="324" y="11"/>
                      <a:pt x="324" y="11"/>
                    </a:cubicBezTo>
                    <a:cubicBezTo>
                      <a:pt x="323" y="11"/>
                      <a:pt x="321" y="11"/>
                      <a:pt x="320" y="11"/>
                    </a:cubicBezTo>
                    <a:cubicBezTo>
                      <a:pt x="319" y="10"/>
                      <a:pt x="320" y="9"/>
                      <a:pt x="318" y="9"/>
                    </a:cubicBezTo>
                    <a:close/>
                    <a:moveTo>
                      <a:pt x="334" y="11"/>
                    </a:moveTo>
                    <a:cubicBezTo>
                      <a:pt x="334" y="11"/>
                      <a:pt x="332" y="13"/>
                      <a:pt x="334" y="13"/>
                    </a:cubicBezTo>
                    <a:cubicBezTo>
                      <a:pt x="336" y="13"/>
                      <a:pt x="338" y="10"/>
                      <a:pt x="334" y="11"/>
                    </a:cubicBezTo>
                    <a:close/>
                    <a:moveTo>
                      <a:pt x="325" y="14"/>
                    </a:moveTo>
                    <a:cubicBezTo>
                      <a:pt x="325" y="14"/>
                      <a:pt x="323" y="16"/>
                      <a:pt x="323" y="16"/>
                    </a:cubicBezTo>
                    <a:cubicBezTo>
                      <a:pt x="323" y="16"/>
                      <a:pt x="325" y="16"/>
                      <a:pt x="325" y="17"/>
                    </a:cubicBezTo>
                    <a:cubicBezTo>
                      <a:pt x="326" y="16"/>
                      <a:pt x="326" y="14"/>
                      <a:pt x="327" y="14"/>
                    </a:cubicBezTo>
                    <a:cubicBezTo>
                      <a:pt x="326" y="14"/>
                      <a:pt x="325" y="14"/>
                      <a:pt x="325" y="14"/>
                    </a:cubicBezTo>
                    <a:close/>
                    <a:moveTo>
                      <a:pt x="331" y="19"/>
                    </a:moveTo>
                    <a:cubicBezTo>
                      <a:pt x="332" y="19"/>
                      <a:pt x="332" y="21"/>
                      <a:pt x="333" y="21"/>
                    </a:cubicBezTo>
                    <a:cubicBezTo>
                      <a:pt x="334" y="22"/>
                      <a:pt x="333" y="19"/>
                      <a:pt x="333" y="19"/>
                    </a:cubicBezTo>
                    <a:cubicBezTo>
                      <a:pt x="333" y="19"/>
                      <a:pt x="332" y="19"/>
                      <a:pt x="331" y="19"/>
                    </a:cubicBezTo>
                    <a:close/>
                    <a:moveTo>
                      <a:pt x="306" y="19"/>
                    </a:moveTo>
                    <a:cubicBezTo>
                      <a:pt x="307" y="20"/>
                      <a:pt x="305" y="20"/>
                      <a:pt x="308" y="22"/>
                    </a:cubicBezTo>
                    <a:cubicBezTo>
                      <a:pt x="308" y="23"/>
                      <a:pt x="308" y="23"/>
                      <a:pt x="308" y="23"/>
                    </a:cubicBezTo>
                    <a:cubicBezTo>
                      <a:pt x="309" y="22"/>
                      <a:pt x="312" y="22"/>
                      <a:pt x="311" y="22"/>
                    </a:cubicBezTo>
                    <a:cubicBezTo>
                      <a:pt x="313" y="23"/>
                      <a:pt x="312" y="20"/>
                      <a:pt x="310" y="19"/>
                    </a:cubicBezTo>
                    <a:cubicBezTo>
                      <a:pt x="309" y="19"/>
                      <a:pt x="307" y="19"/>
                      <a:pt x="306" y="19"/>
                    </a:cubicBezTo>
                    <a:close/>
                    <a:moveTo>
                      <a:pt x="319" y="19"/>
                    </a:moveTo>
                    <a:cubicBezTo>
                      <a:pt x="320" y="20"/>
                      <a:pt x="320" y="22"/>
                      <a:pt x="321" y="22"/>
                    </a:cubicBezTo>
                    <a:cubicBezTo>
                      <a:pt x="322" y="23"/>
                      <a:pt x="324" y="22"/>
                      <a:pt x="325" y="23"/>
                    </a:cubicBezTo>
                    <a:cubicBezTo>
                      <a:pt x="326" y="24"/>
                      <a:pt x="326" y="25"/>
                      <a:pt x="327" y="25"/>
                    </a:cubicBezTo>
                    <a:cubicBezTo>
                      <a:pt x="328" y="25"/>
                      <a:pt x="328" y="25"/>
                      <a:pt x="329" y="25"/>
                    </a:cubicBezTo>
                    <a:cubicBezTo>
                      <a:pt x="335" y="21"/>
                      <a:pt x="322" y="20"/>
                      <a:pt x="319" y="19"/>
                    </a:cubicBezTo>
                    <a:close/>
                    <a:moveTo>
                      <a:pt x="315" y="20"/>
                    </a:moveTo>
                    <a:cubicBezTo>
                      <a:pt x="313" y="23"/>
                      <a:pt x="313" y="23"/>
                      <a:pt x="313" y="23"/>
                    </a:cubicBezTo>
                    <a:cubicBezTo>
                      <a:pt x="314" y="23"/>
                      <a:pt x="314" y="24"/>
                      <a:pt x="314" y="25"/>
                    </a:cubicBezTo>
                    <a:cubicBezTo>
                      <a:pt x="315" y="24"/>
                      <a:pt x="316" y="24"/>
                      <a:pt x="316" y="24"/>
                    </a:cubicBezTo>
                    <a:cubicBezTo>
                      <a:pt x="317" y="24"/>
                      <a:pt x="317" y="26"/>
                      <a:pt x="317" y="27"/>
                    </a:cubicBezTo>
                    <a:cubicBezTo>
                      <a:pt x="319" y="27"/>
                      <a:pt x="319" y="26"/>
                      <a:pt x="320" y="26"/>
                    </a:cubicBezTo>
                    <a:cubicBezTo>
                      <a:pt x="322" y="26"/>
                      <a:pt x="324" y="28"/>
                      <a:pt x="325" y="29"/>
                    </a:cubicBezTo>
                    <a:cubicBezTo>
                      <a:pt x="327" y="29"/>
                      <a:pt x="328" y="27"/>
                      <a:pt x="329" y="27"/>
                    </a:cubicBezTo>
                    <a:cubicBezTo>
                      <a:pt x="327" y="26"/>
                      <a:pt x="323" y="25"/>
                      <a:pt x="321" y="24"/>
                    </a:cubicBezTo>
                    <a:cubicBezTo>
                      <a:pt x="320" y="23"/>
                      <a:pt x="318" y="20"/>
                      <a:pt x="317" y="20"/>
                    </a:cubicBezTo>
                    <a:cubicBezTo>
                      <a:pt x="316" y="20"/>
                      <a:pt x="315" y="20"/>
                      <a:pt x="315" y="20"/>
                    </a:cubicBezTo>
                    <a:close/>
                    <a:moveTo>
                      <a:pt x="334" y="23"/>
                    </a:moveTo>
                    <a:cubicBezTo>
                      <a:pt x="334" y="23"/>
                      <a:pt x="332" y="24"/>
                      <a:pt x="332" y="24"/>
                    </a:cubicBezTo>
                    <a:cubicBezTo>
                      <a:pt x="332" y="24"/>
                      <a:pt x="331" y="26"/>
                      <a:pt x="331" y="26"/>
                    </a:cubicBezTo>
                    <a:cubicBezTo>
                      <a:pt x="332" y="26"/>
                      <a:pt x="333" y="27"/>
                      <a:pt x="334" y="27"/>
                    </a:cubicBezTo>
                    <a:cubicBezTo>
                      <a:pt x="334" y="27"/>
                      <a:pt x="337" y="22"/>
                      <a:pt x="334" y="23"/>
                    </a:cubicBezTo>
                    <a:close/>
                    <a:moveTo>
                      <a:pt x="306" y="26"/>
                    </a:moveTo>
                    <a:cubicBezTo>
                      <a:pt x="306" y="26"/>
                      <a:pt x="305" y="27"/>
                      <a:pt x="305" y="27"/>
                    </a:cubicBezTo>
                    <a:cubicBezTo>
                      <a:pt x="303" y="29"/>
                      <a:pt x="306" y="27"/>
                      <a:pt x="307" y="28"/>
                    </a:cubicBezTo>
                    <a:cubicBezTo>
                      <a:pt x="309" y="28"/>
                      <a:pt x="307" y="30"/>
                      <a:pt x="309" y="30"/>
                    </a:cubicBezTo>
                    <a:cubicBezTo>
                      <a:pt x="310" y="29"/>
                      <a:pt x="310" y="29"/>
                      <a:pt x="310" y="29"/>
                    </a:cubicBezTo>
                    <a:cubicBezTo>
                      <a:pt x="311" y="28"/>
                      <a:pt x="313" y="29"/>
                      <a:pt x="313" y="29"/>
                    </a:cubicBezTo>
                    <a:cubicBezTo>
                      <a:pt x="313" y="27"/>
                      <a:pt x="313" y="27"/>
                      <a:pt x="313" y="27"/>
                    </a:cubicBezTo>
                    <a:cubicBezTo>
                      <a:pt x="312" y="27"/>
                      <a:pt x="307" y="26"/>
                      <a:pt x="306" y="26"/>
                    </a:cubicBezTo>
                    <a:close/>
                    <a:moveTo>
                      <a:pt x="391" y="26"/>
                    </a:moveTo>
                    <a:cubicBezTo>
                      <a:pt x="389" y="26"/>
                      <a:pt x="387" y="30"/>
                      <a:pt x="385" y="31"/>
                    </a:cubicBezTo>
                    <a:cubicBezTo>
                      <a:pt x="383" y="31"/>
                      <a:pt x="381" y="30"/>
                      <a:pt x="379" y="31"/>
                    </a:cubicBezTo>
                    <a:cubicBezTo>
                      <a:pt x="379" y="31"/>
                      <a:pt x="381" y="33"/>
                      <a:pt x="381" y="33"/>
                    </a:cubicBezTo>
                    <a:cubicBezTo>
                      <a:pt x="380" y="33"/>
                      <a:pt x="379" y="33"/>
                      <a:pt x="378" y="33"/>
                    </a:cubicBezTo>
                    <a:cubicBezTo>
                      <a:pt x="378" y="33"/>
                      <a:pt x="378" y="35"/>
                      <a:pt x="378" y="35"/>
                    </a:cubicBezTo>
                    <a:cubicBezTo>
                      <a:pt x="378" y="36"/>
                      <a:pt x="379" y="35"/>
                      <a:pt x="380" y="36"/>
                    </a:cubicBezTo>
                    <a:cubicBezTo>
                      <a:pt x="381" y="37"/>
                      <a:pt x="381" y="39"/>
                      <a:pt x="382" y="39"/>
                    </a:cubicBezTo>
                    <a:cubicBezTo>
                      <a:pt x="383" y="40"/>
                      <a:pt x="384" y="39"/>
                      <a:pt x="385" y="40"/>
                    </a:cubicBezTo>
                    <a:cubicBezTo>
                      <a:pt x="386" y="38"/>
                      <a:pt x="388" y="35"/>
                      <a:pt x="390" y="35"/>
                    </a:cubicBezTo>
                    <a:cubicBezTo>
                      <a:pt x="391" y="34"/>
                      <a:pt x="393" y="35"/>
                      <a:pt x="394" y="35"/>
                    </a:cubicBezTo>
                    <a:cubicBezTo>
                      <a:pt x="395" y="34"/>
                      <a:pt x="395" y="31"/>
                      <a:pt x="397" y="31"/>
                    </a:cubicBezTo>
                    <a:cubicBezTo>
                      <a:pt x="397" y="30"/>
                      <a:pt x="398" y="31"/>
                      <a:pt x="399" y="31"/>
                    </a:cubicBezTo>
                    <a:cubicBezTo>
                      <a:pt x="399" y="30"/>
                      <a:pt x="399" y="28"/>
                      <a:pt x="399" y="28"/>
                    </a:cubicBezTo>
                    <a:cubicBezTo>
                      <a:pt x="397" y="27"/>
                      <a:pt x="394" y="25"/>
                      <a:pt x="391" y="26"/>
                    </a:cubicBezTo>
                    <a:close/>
                    <a:moveTo>
                      <a:pt x="319" y="28"/>
                    </a:moveTo>
                    <a:cubicBezTo>
                      <a:pt x="318" y="28"/>
                      <a:pt x="316" y="29"/>
                      <a:pt x="315" y="29"/>
                    </a:cubicBezTo>
                    <a:cubicBezTo>
                      <a:pt x="315" y="29"/>
                      <a:pt x="315" y="32"/>
                      <a:pt x="315" y="32"/>
                    </a:cubicBezTo>
                    <a:cubicBezTo>
                      <a:pt x="316" y="32"/>
                      <a:pt x="319" y="30"/>
                      <a:pt x="320" y="31"/>
                    </a:cubicBezTo>
                    <a:cubicBezTo>
                      <a:pt x="320" y="31"/>
                      <a:pt x="322" y="33"/>
                      <a:pt x="323" y="33"/>
                    </a:cubicBezTo>
                    <a:cubicBezTo>
                      <a:pt x="326" y="32"/>
                      <a:pt x="324" y="30"/>
                      <a:pt x="324" y="29"/>
                    </a:cubicBezTo>
                    <a:cubicBezTo>
                      <a:pt x="324" y="29"/>
                      <a:pt x="324" y="29"/>
                      <a:pt x="324" y="29"/>
                    </a:cubicBezTo>
                    <a:cubicBezTo>
                      <a:pt x="322" y="28"/>
                      <a:pt x="320" y="28"/>
                      <a:pt x="319" y="28"/>
                    </a:cubicBezTo>
                    <a:close/>
                    <a:moveTo>
                      <a:pt x="661" y="30"/>
                    </a:moveTo>
                    <a:cubicBezTo>
                      <a:pt x="659" y="33"/>
                      <a:pt x="658" y="34"/>
                      <a:pt x="654" y="35"/>
                    </a:cubicBezTo>
                    <a:cubicBezTo>
                      <a:pt x="652" y="37"/>
                      <a:pt x="652" y="37"/>
                      <a:pt x="652" y="37"/>
                    </a:cubicBezTo>
                    <a:cubicBezTo>
                      <a:pt x="651" y="37"/>
                      <a:pt x="651" y="35"/>
                      <a:pt x="650" y="36"/>
                    </a:cubicBezTo>
                    <a:cubicBezTo>
                      <a:pt x="649" y="36"/>
                      <a:pt x="650" y="37"/>
                      <a:pt x="650" y="38"/>
                    </a:cubicBezTo>
                    <a:cubicBezTo>
                      <a:pt x="646" y="40"/>
                      <a:pt x="646" y="40"/>
                      <a:pt x="646" y="40"/>
                    </a:cubicBezTo>
                    <a:cubicBezTo>
                      <a:pt x="646" y="41"/>
                      <a:pt x="647" y="43"/>
                      <a:pt x="647" y="42"/>
                    </a:cubicBezTo>
                    <a:cubicBezTo>
                      <a:pt x="647" y="43"/>
                      <a:pt x="647" y="44"/>
                      <a:pt x="647" y="44"/>
                    </a:cubicBezTo>
                    <a:cubicBezTo>
                      <a:pt x="645" y="46"/>
                      <a:pt x="642" y="45"/>
                      <a:pt x="639" y="46"/>
                    </a:cubicBezTo>
                    <a:cubicBezTo>
                      <a:pt x="638" y="46"/>
                      <a:pt x="636" y="49"/>
                      <a:pt x="635" y="49"/>
                    </a:cubicBezTo>
                    <a:cubicBezTo>
                      <a:pt x="637" y="49"/>
                      <a:pt x="640" y="49"/>
                      <a:pt x="642" y="49"/>
                    </a:cubicBezTo>
                    <a:cubicBezTo>
                      <a:pt x="642" y="49"/>
                      <a:pt x="642" y="51"/>
                      <a:pt x="642" y="51"/>
                    </a:cubicBezTo>
                    <a:cubicBezTo>
                      <a:pt x="651" y="54"/>
                      <a:pt x="651" y="54"/>
                      <a:pt x="651" y="54"/>
                    </a:cubicBezTo>
                    <a:cubicBezTo>
                      <a:pt x="655" y="54"/>
                      <a:pt x="657" y="51"/>
                      <a:pt x="660" y="50"/>
                    </a:cubicBezTo>
                    <a:cubicBezTo>
                      <a:pt x="660" y="50"/>
                      <a:pt x="662" y="51"/>
                      <a:pt x="661" y="51"/>
                    </a:cubicBezTo>
                    <a:cubicBezTo>
                      <a:pt x="664" y="52"/>
                      <a:pt x="665" y="51"/>
                      <a:pt x="668" y="52"/>
                    </a:cubicBezTo>
                    <a:cubicBezTo>
                      <a:pt x="666" y="52"/>
                      <a:pt x="663" y="54"/>
                      <a:pt x="662" y="54"/>
                    </a:cubicBezTo>
                    <a:cubicBezTo>
                      <a:pt x="660" y="55"/>
                      <a:pt x="660" y="53"/>
                      <a:pt x="658" y="54"/>
                    </a:cubicBezTo>
                    <a:cubicBezTo>
                      <a:pt x="658" y="54"/>
                      <a:pt x="657" y="56"/>
                      <a:pt x="657" y="56"/>
                    </a:cubicBezTo>
                    <a:cubicBezTo>
                      <a:pt x="656" y="57"/>
                      <a:pt x="654" y="57"/>
                      <a:pt x="652" y="58"/>
                    </a:cubicBezTo>
                    <a:cubicBezTo>
                      <a:pt x="652" y="59"/>
                      <a:pt x="653" y="60"/>
                      <a:pt x="652" y="61"/>
                    </a:cubicBezTo>
                    <a:cubicBezTo>
                      <a:pt x="646" y="62"/>
                      <a:pt x="651" y="60"/>
                      <a:pt x="646" y="63"/>
                    </a:cubicBezTo>
                    <a:cubicBezTo>
                      <a:pt x="646" y="64"/>
                      <a:pt x="645" y="63"/>
                      <a:pt x="644" y="64"/>
                    </a:cubicBezTo>
                    <a:cubicBezTo>
                      <a:pt x="644" y="64"/>
                      <a:pt x="645" y="65"/>
                      <a:pt x="644" y="66"/>
                    </a:cubicBezTo>
                    <a:cubicBezTo>
                      <a:pt x="648" y="66"/>
                      <a:pt x="649" y="65"/>
                      <a:pt x="652" y="64"/>
                    </a:cubicBezTo>
                    <a:cubicBezTo>
                      <a:pt x="653" y="66"/>
                      <a:pt x="652" y="66"/>
                      <a:pt x="652" y="67"/>
                    </a:cubicBezTo>
                    <a:cubicBezTo>
                      <a:pt x="652" y="68"/>
                      <a:pt x="653" y="67"/>
                      <a:pt x="653" y="68"/>
                    </a:cubicBezTo>
                    <a:cubicBezTo>
                      <a:pt x="655" y="68"/>
                      <a:pt x="658" y="67"/>
                      <a:pt x="660" y="67"/>
                    </a:cubicBezTo>
                    <a:cubicBezTo>
                      <a:pt x="661" y="69"/>
                      <a:pt x="661" y="69"/>
                      <a:pt x="661" y="69"/>
                    </a:cubicBezTo>
                    <a:cubicBezTo>
                      <a:pt x="662" y="69"/>
                      <a:pt x="663" y="68"/>
                      <a:pt x="664" y="68"/>
                    </a:cubicBezTo>
                    <a:cubicBezTo>
                      <a:pt x="667" y="69"/>
                      <a:pt x="675" y="73"/>
                      <a:pt x="678" y="72"/>
                    </a:cubicBezTo>
                    <a:cubicBezTo>
                      <a:pt x="678" y="70"/>
                      <a:pt x="678" y="70"/>
                      <a:pt x="678" y="70"/>
                    </a:cubicBezTo>
                    <a:cubicBezTo>
                      <a:pt x="680" y="70"/>
                      <a:pt x="680" y="70"/>
                      <a:pt x="680" y="70"/>
                    </a:cubicBezTo>
                    <a:cubicBezTo>
                      <a:pt x="681" y="70"/>
                      <a:pt x="682" y="72"/>
                      <a:pt x="683" y="72"/>
                    </a:cubicBezTo>
                    <a:cubicBezTo>
                      <a:pt x="684" y="72"/>
                      <a:pt x="684" y="71"/>
                      <a:pt x="684" y="70"/>
                    </a:cubicBezTo>
                    <a:cubicBezTo>
                      <a:pt x="687" y="69"/>
                      <a:pt x="690" y="69"/>
                      <a:pt x="692" y="68"/>
                    </a:cubicBezTo>
                    <a:cubicBezTo>
                      <a:pt x="692" y="68"/>
                      <a:pt x="693" y="67"/>
                      <a:pt x="693" y="67"/>
                    </a:cubicBezTo>
                    <a:cubicBezTo>
                      <a:pt x="692" y="67"/>
                      <a:pt x="692" y="66"/>
                      <a:pt x="692" y="65"/>
                    </a:cubicBezTo>
                    <a:cubicBezTo>
                      <a:pt x="692" y="65"/>
                      <a:pt x="694" y="65"/>
                      <a:pt x="695" y="65"/>
                    </a:cubicBezTo>
                    <a:cubicBezTo>
                      <a:pt x="697" y="61"/>
                      <a:pt x="698" y="62"/>
                      <a:pt x="695" y="58"/>
                    </a:cubicBezTo>
                    <a:cubicBezTo>
                      <a:pt x="691" y="52"/>
                      <a:pt x="691" y="56"/>
                      <a:pt x="689" y="60"/>
                    </a:cubicBezTo>
                    <a:cubicBezTo>
                      <a:pt x="687" y="60"/>
                      <a:pt x="686" y="60"/>
                      <a:pt x="684" y="60"/>
                    </a:cubicBezTo>
                    <a:cubicBezTo>
                      <a:pt x="685" y="60"/>
                      <a:pt x="686" y="60"/>
                      <a:pt x="686" y="59"/>
                    </a:cubicBezTo>
                    <a:cubicBezTo>
                      <a:pt x="687" y="58"/>
                      <a:pt x="686" y="55"/>
                      <a:pt x="686" y="55"/>
                    </a:cubicBezTo>
                    <a:cubicBezTo>
                      <a:pt x="686" y="55"/>
                      <a:pt x="686" y="53"/>
                      <a:pt x="686" y="53"/>
                    </a:cubicBezTo>
                    <a:cubicBezTo>
                      <a:pt x="684" y="52"/>
                      <a:pt x="683" y="52"/>
                      <a:pt x="680" y="51"/>
                    </a:cubicBezTo>
                    <a:cubicBezTo>
                      <a:pt x="680" y="51"/>
                      <a:pt x="679" y="53"/>
                      <a:pt x="679" y="53"/>
                    </a:cubicBezTo>
                    <a:cubicBezTo>
                      <a:pt x="677" y="54"/>
                      <a:pt x="674" y="53"/>
                      <a:pt x="672" y="53"/>
                    </a:cubicBezTo>
                    <a:cubicBezTo>
                      <a:pt x="674" y="52"/>
                      <a:pt x="674" y="52"/>
                      <a:pt x="674" y="52"/>
                    </a:cubicBezTo>
                    <a:cubicBezTo>
                      <a:pt x="680" y="50"/>
                      <a:pt x="679" y="50"/>
                      <a:pt x="680" y="44"/>
                    </a:cubicBezTo>
                    <a:cubicBezTo>
                      <a:pt x="677" y="43"/>
                      <a:pt x="673" y="41"/>
                      <a:pt x="672" y="39"/>
                    </a:cubicBezTo>
                    <a:cubicBezTo>
                      <a:pt x="671" y="38"/>
                      <a:pt x="672" y="37"/>
                      <a:pt x="671" y="37"/>
                    </a:cubicBezTo>
                    <a:cubicBezTo>
                      <a:pt x="670" y="35"/>
                      <a:pt x="667" y="35"/>
                      <a:pt x="666" y="34"/>
                    </a:cubicBezTo>
                    <a:cubicBezTo>
                      <a:pt x="666" y="34"/>
                      <a:pt x="666" y="32"/>
                      <a:pt x="666" y="32"/>
                    </a:cubicBezTo>
                    <a:cubicBezTo>
                      <a:pt x="665" y="31"/>
                      <a:pt x="664" y="31"/>
                      <a:pt x="662" y="31"/>
                    </a:cubicBezTo>
                    <a:lnTo>
                      <a:pt x="661" y="30"/>
                    </a:lnTo>
                    <a:close/>
                    <a:moveTo>
                      <a:pt x="222" y="35"/>
                    </a:moveTo>
                    <a:cubicBezTo>
                      <a:pt x="221" y="35"/>
                      <a:pt x="219" y="36"/>
                      <a:pt x="219" y="37"/>
                    </a:cubicBezTo>
                    <a:cubicBezTo>
                      <a:pt x="216" y="37"/>
                      <a:pt x="214" y="36"/>
                      <a:pt x="212" y="37"/>
                    </a:cubicBezTo>
                    <a:cubicBezTo>
                      <a:pt x="211" y="37"/>
                      <a:pt x="210" y="39"/>
                      <a:pt x="209" y="39"/>
                    </a:cubicBezTo>
                    <a:cubicBezTo>
                      <a:pt x="207" y="40"/>
                      <a:pt x="206" y="38"/>
                      <a:pt x="203" y="39"/>
                    </a:cubicBezTo>
                    <a:cubicBezTo>
                      <a:pt x="202" y="39"/>
                      <a:pt x="201" y="42"/>
                      <a:pt x="200" y="42"/>
                    </a:cubicBezTo>
                    <a:cubicBezTo>
                      <a:pt x="199" y="42"/>
                      <a:pt x="199" y="45"/>
                      <a:pt x="199" y="45"/>
                    </a:cubicBezTo>
                    <a:cubicBezTo>
                      <a:pt x="200" y="45"/>
                      <a:pt x="204" y="44"/>
                      <a:pt x="204" y="44"/>
                    </a:cubicBezTo>
                    <a:cubicBezTo>
                      <a:pt x="205" y="45"/>
                      <a:pt x="211" y="47"/>
                      <a:pt x="211" y="47"/>
                    </a:cubicBezTo>
                    <a:cubicBezTo>
                      <a:pt x="211" y="47"/>
                      <a:pt x="217" y="43"/>
                      <a:pt x="218" y="43"/>
                    </a:cubicBezTo>
                    <a:cubicBezTo>
                      <a:pt x="222" y="43"/>
                      <a:pt x="221" y="45"/>
                      <a:pt x="223" y="46"/>
                    </a:cubicBezTo>
                    <a:cubicBezTo>
                      <a:pt x="224" y="46"/>
                      <a:pt x="225" y="47"/>
                      <a:pt x="226" y="46"/>
                    </a:cubicBezTo>
                    <a:cubicBezTo>
                      <a:pt x="226" y="45"/>
                      <a:pt x="226" y="45"/>
                      <a:pt x="226" y="45"/>
                    </a:cubicBezTo>
                    <a:cubicBezTo>
                      <a:pt x="230" y="44"/>
                      <a:pt x="230" y="44"/>
                      <a:pt x="232" y="40"/>
                    </a:cubicBezTo>
                    <a:cubicBezTo>
                      <a:pt x="234" y="40"/>
                      <a:pt x="236" y="42"/>
                      <a:pt x="238" y="41"/>
                    </a:cubicBezTo>
                    <a:cubicBezTo>
                      <a:pt x="238" y="41"/>
                      <a:pt x="240" y="39"/>
                      <a:pt x="240" y="39"/>
                    </a:cubicBezTo>
                    <a:cubicBezTo>
                      <a:pt x="244" y="39"/>
                      <a:pt x="248" y="41"/>
                      <a:pt x="250" y="41"/>
                    </a:cubicBezTo>
                    <a:cubicBezTo>
                      <a:pt x="251" y="41"/>
                      <a:pt x="254" y="41"/>
                      <a:pt x="256" y="40"/>
                    </a:cubicBezTo>
                    <a:cubicBezTo>
                      <a:pt x="254" y="40"/>
                      <a:pt x="251" y="38"/>
                      <a:pt x="249" y="37"/>
                    </a:cubicBezTo>
                    <a:cubicBezTo>
                      <a:pt x="248" y="36"/>
                      <a:pt x="248" y="36"/>
                      <a:pt x="248" y="36"/>
                    </a:cubicBezTo>
                    <a:cubicBezTo>
                      <a:pt x="247" y="35"/>
                      <a:pt x="245" y="36"/>
                      <a:pt x="244" y="36"/>
                    </a:cubicBezTo>
                    <a:cubicBezTo>
                      <a:pt x="242" y="35"/>
                      <a:pt x="242" y="35"/>
                      <a:pt x="242" y="35"/>
                    </a:cubicBezTo>
                    <a:cubicBezTo>
                      <a:pt x="240" y="34"/>
                      <a:pt x="234" y="35"/>
                      <a:pt x="232" y="35"/>
                    </a:cubicBezTo>
                    <a:cubicBezTo>
                      <a:pt x="232" y="34"/>
                      <a:pt x="229" y="35"/>
                      <a:pt x="230" y="35"/>
                    </a:cubicBezTo>
                    <a:cubicBezTo>
                      <a:pt x="227" y="35"/>
                      <a:pt x="224" y="34"/>
                      <a:pt x="222" y="35"/>
                    </a:cubicBezTo>
                    <a:close/>
                    <a:moveTo>
                      <a:pt x="264" y="37"/>
                    </a:moveTo>
                    <a:cubicBezTo>
                      <a:pt x="265" y="37"/>
                      <a:pt x="262" y="37"/>
                      <a:pt x="262" y="37"/>
                    </a:cubicBezTo>
                    <a:cubicBezTo>
                      <a:pt x="263" y="38"/>
                      <a:pt x="265" y="42"/>
                      <a:pt x="263" y="40"/>
                    </a:cubicBezTo>
                    <a:cubicBezTo>
                      <a:pt x="261" y="41"/>
                      <a:pt x="258" y="43"/>
                      <a:pt x="255" y="44"/>
                    </a:cubicBezTo>
                    <a:cubicBezTo>
                      <a:pt x="251" y="44"/>
                      <a:pt x="247" y="42"/>
                      <a:pt x="244" y="42"/>
                    </a:cubicBezTo>
                    <a:cubicBezTo>
                      <a:pt x="241" y="41"/>
                      <a:pt x="239" y="42"/>
                      <a:pt x="236" y="42"/>
                    </a:cubicBezTo>
                    <a:cubicBezTo>
                      <a:pt x="236" y="44"/>
                      <a:pt x="236" y="44"/>
                      <a:pt x="236" y="44"/>
                    </a:cubicBezTo>
                    <a:cubicBezTo>
                      <a:pt x="237" y="44"/>
                      <a:pt x="239" y="44"/>
                      <a:pt x="240" y="44"/>
                    </a:cubicBezTo>
                    <a:cubicBezTo>
                      <a:pt x="240" y="44"/>
                      <a:pt x="241" y="47"/>
                      <a:pt x="240" y="46"/>
                    </a:cubicBezTo>
                    <a:cubicBezTo>
                      <a:pt x="235" y="49"/>
                      <a:pt x="243" y="50"/>
                      <a:pt x="246" y="50"/>
                    </a:cubicBezTo>
                    <a:cubicBezTo>
                      <a:pt x="245" y="51"/>
                      <a:pt x="244" y="53"/>
                      <a:pt x="244" y="53"/>
                    </a:cubicBezTo>
                    <a:cubicBezTo>
                      <a:pt x="246" y="53"/>
                      <a:pt x="247" y="51"/>
                      <a:pt x="248" y="50"/>
                    </a:cubicBezTo>
                    <a:cubicBezTo>
                      <a:pt x="249" y="50"/>
                      <a:pt x="250" y="51"/>
                      <a:pt x="251" y="51"/>
                    </a:cubicBezTo>
                    <a:cubicBezTo>
                      <a:pt x="251" y="51"/>
                      <a:pt x="253" y="50"/>
                      <a:pt x="254" y="50"/>
                    </a:cubicBezTo>
                    <a:cubicBezTo>
                      <a:pt x="254" y="50"/>
                      <a:pt x="253" y="47"/>
                      <a:pt x="254" y="47"/>
                    </a:cubicBezTo>
                    <a:cubicBezTo>
                      <a:pt x="257" y="46"/>
                      <a:pt x="261" y="48"/>
                      <a:pt x="264" y="48"/>
                    </a:cubicBezTo>
                    <a:cubicBezTo>
                      <a:pt x="265" y="48"/>
                      <a:pt x="264" y="48"/>
                      <a:pt x="266" y="48"/>
                    </a:cubicBezTo>
                    <a:cubicBezTo>
                      <a:pt x="265" y="47"/>
                      <a:pt x="265" y="45"/>
                      <a:pt x="264" y="44"/>
                    </a:cubicBezTo>
                    <a:cubicBezTo>
                      <a:pt x="267" y="44"/>
                      <a:pt x="270" y="45"/>
                      <a:pt x="272" y="44"/>
                    </a:cubicBezTo>
                    <a:cubicBezTo>
                      <a:pt x="274" y="43"/>
                      <a:pt x="274" y="43"/>
                      <a:pt x="274" y="43"/>
                    </a:cubicBezTo>
                    <a:cubicBezTo>
                      <a:pt x="276" y="42"/>
                      <a:pt x="276" y="42"/>
                      <a:pt x="276" y="42"/>
                    </a:cubicBezTo>
                    <a:cubicBezTo>
                      <a:pt x="276" y="42"/>
                      <a:pt x="276" y="40"/>
                      <a:pt x="276" y="40"/>
                    </a:cubicBezTo>
                    <a:cubicBezTo>
                      <a:pt x="275" y="40"/>
                      <a:pt x="276" y="39"/>
                      <a:pt x="275" y="39"/>
                    </a:cubicBezTo>
                    <a:cubicBezTo>
                      <a:pt x="273" y="39"/>
                      <a:pt x="272" y="40"/>
                      <a:pt x="270" y="40"/>
                    </a:cubicBezTo>
                    <a:cubicBezTo>
                      <a:pt x="270" y="39"/>
                      <a:pt x="270" y="39"/>
                      <a:pt x="270" y="39"/>
                    </a:cubicBezTo>
                    <a:cubicBezTo>
                      <a:pt x="271" y="39"/>
                      <a:pt x="271" y="38"/>
                      <a:pt x="271" y="37"/>
                    </a:cubicBezTo>
                    <a:cubicBezTo>
                      <a:pt x="267" y="37"/>
                      <a:pt x="267" y="38"/>
                      <a:pt x="264" y="37"/>
                    </a:cubicBezTo>
                    <a:close/>
                    <a:moveTo>
                      <a:pt x="293" y="38"/>
                    </a:moveTo>
                    <a:cubicBezTo>
                      <a:pt x="293" y="38"/>
                      <a:pt x="294" y="39"/>
                      <a:pt x="294" y="39"/>
                    </a:cubicBezTo>
                    <a:cubicBezTo>
                      <a:pt x="294" y="39"/>
                      <a:pt x="296" y="37"/>
                      <a:pt x="293" y="38"/>
                    </a:cubicBezTo>
                    <a:close/>
                    <a:moveTo>
                      <a:pt x="297" y="39"/>
                    </a:moveTo>
                    <a:cubicBezTo>
                      <a:pt x="297" y="39"/>
                      <a:pt x="296" y="42"/>
                      <a:pt x="297" y="42"/>
                    </a:cubicBezTo>
                    <a:cubicBezTo>
                      <a:pt x="297" y="42"/>
                      <a:pt x="300" y="42"/>
                      <a:pt x="299" y="41"/>
                    </a:cubicBezTo>
                    <a:cubicBezTo>
                      <a:pt x="300" y="42"/>
                      <a:pt x="299" y="40"/>
                      <a:pt x="299" y="40"/>
                    </a:cubicBezTo>
                    <a:cubicBezTo>
                      <a:pt x="298" y="39"/>
                      <a:pt x="298" y="40"/>
                      <a:pt x="297" y="39"/>
                    </a:cubicBezTo>
                    <a:close/>
                    <a:moveTo>
                      <a:pt x="331" y="40"/>
                    </a:moveTo>
                    <a:cubicBezTo>
                      <a:pt x="329" y="40"/>
                      <a:pt x="330" y="45"/>
                      <a:pt x="330" y="48"/>
                    </a:cubicBezTo>
                    <a:cubicBezTo>
                      <a:pt x="331" y="49"/>
                      <a:pt x="332" y="48"/>
                      <a:pt x="333" y="48"/>
                    </a:cubicBezTo>
                    <a:cubicBezTo>
                      <a:pt x="334" y="49"/>
                      <a:pt x="334" y="50"/>
                      <a:pt x="335" y="50"/>
                    </a:cubicBezTo>
                    <a:cubicBezTo>
                      <a:pt x="337" y="46"/>
                      <a:pt x="337" y="47"/>
                      <a:pt x="341" y="44"/>
                    </a:cubicBezTo>
                    <a:cubicBezTo>
                      <a:pt x="341" y="44"/>
                      <a:pt x="341" y="43"/>
                      <a:pt x="341" y="42"/>
                    </a:cubicBezTo>
                    <a:cubicBezTo>
                      <a:pt x="339" y="42"/>
                      <a:pt x="338" y="42"/>
                      <a:pt x="336" y="42"/>
                    </a:cubicBezTo>
                    <a:cubicBezTo>
                      <a:pt x="335" y="42"/>
                      <a:pt x="332" y="40"/>
                      <a:pt x="331" y="40"/>
                    </a:cubicBezTo>
                    <a:close/>
                    <a:moveTo>
                      <a:pt x="289" y="42"/>
                    </a:moveTo>
                    <a:cubicBezTo>
                      <a:pt x="289" y="42"/>
                      <a:pt x="288" y="44"/>
                      <a:pt x="288" y="44"/>
                    </a:cubicBezTo>
                    <a:cubicBezTo>
                      <a:pt x="287" y="45"/>
                      <a:pt x="285" y="44"/>
                      <a:pt x="284" y="44"/>
                    </a:cubicBezTo>
                    <a:cubicBezTo>
                      <a:pt x="284" y="44"/>
                      <a:pt x="284" y="47"/>
                      <a:pt x="285" y="47"/>
                    </a:cubicBezTo>
                    <a:cubicBezTo>
                      <a:pt x="287" y="48"/>
                      <a:pt x="291" y="48"/>
                      <a:pt x="294" y="49"/>
                    </a:cubicBezTo>
                    <a:cubicBezTo>
                      <a:pt x="294" y="48"/>
                      <a:pt x="295" y="47"/>
                      <a:pt x="295" y="45"/>
                    </a:cubicBezTo>
                    <a:cubicBezTo>
                      <a:pt x="294" y="44"/>
                      <a:pt x="291" y="42"/>
                      <a:pt x="289" y="42"/>
                    </a:cubicBezTo>
                    <a:close/>
                    <a:moveTo>
                      <a:pt x="324" y="44"/>
                    </a:moveTo>
                    <a:cubicBezTo>
                      <a:pt x="323" y="44"/>
                      <a:pt x="320" y="46"/>
                      <a:pt x="319" y="46"/>
                    </a:cubicBezTo>
                    <a:cubicBezTo>
                      <a:pt x="313" y="51"/>
                      <a:pt x="324" y="51"/>
                      <a:pt x="327" y="51"/>
                    </a:cubicBezTo>
                    <a:cubicBezTo>
                      <a:pt x="326" y="51"/>
                      <a:pt x="327" y="50"/>
                      <a:pt x="327" y="50"/>
                    </a:cubicBezTo>
                    <a:cubicBezTo>
                      <a:pt x="326" y="49"/>
                      <a:pt x="326" y="49"/>
                      <a:pt x="325" y="48"/>
                    </a:cubicBezTo>
                    <a:cubicBezTo>
                      <a:pt x="327" y="47"/>
                      <a:pt x="332" y="43"/>
                      <a:pt x="324" y="44"/>
                    </a:cubicBezTo>
                    <a:close/>
                    <a:moveTo>
                      <a:pt x="306" y="45"/>
                    </a:moveTo>
                    <a:cubicBezTo>
                      <a:pt x="306" y="45"/>
                      <a:pt x="306" y="48"/>
                      <a:pt x="307" y="48"/>
                    </a:cubicBezTo>
                    <a:cubicBezTo>
                      <a:pt x="309" y="48"/>
                      <a:pt x="308" y="46"/>
                      <a:pt x="309" y="45"/>
                    </a:cubicBezTo>
                    <a:cubicBezTo>
                      <a:pt x="308" y="45"/>
                      <a:pt x="307" y="45"/>
                      <a:pt x="306" y="45"/>
                    </a:cubicBezTo>
                    <a:close/>
                    <a:moveTo>
                      <a:pt x="297" y="46"/>
                    </a:moveTo>
                    <a:cubicBezTo>
                      <a:pt x="298" y="48"/>
                      <a:pt x="298" y="48"/>
                      <a:pt x="298" y="48"/>
                    </a:cubicBezTo>
                    <a:cubicBezTo>
                      <a:pt x="298" y="47"/>
                      <a:pt x="299" y="46"/>
                      <a:pt x="297" y="46"/>
                    </a:cubicBezTo>
                    <a:close/>
                    <a:moveTo>
                      <a:pt x="266" y="49"/>
                    </a:moveTo>
                    <a:cubicBezTo>
                      <a:pt x="259" y="52"/>
                      <a:pt x="263" y="52"/>
                      <a:pt x="268" y="53"/>
                    </a:cubicBezTo>
                    <a:cubicBezTo>
                      <a:pt x="268" y="49"/>
                      <a:pt x="268" y="49"/>
                      <a:pt x="268" y="49"/>
                    </a:cubicBezTo>
                    <a:cubicBezTo>
                      <a:pt x="268" y="49"/>
                      <a:pt x="266" y="49"/>
                      <a:pt x="266" y="49"/>
                    </a:cubicBezTo>
                    <a:close/>
                    <a:moveTo>
                      <a:pt x="343" y="50"/>
                    </a:moveTo>
                    <a:cubicBezTo>
                      <a:pt x="342" y="51"/>
                      <a:pt x="341" y="53"/>
                      <a:pt x="339" y="54"/>
                    </a:cubicBezTo>
                    <a:cubicBezTo>
                      <a:pt x="341" y="55"/>
                      <a:pt x="344" y="59"/>
                      <a:pt x="347" y="57"/>
                    </a:cubicBezTo>
                    <a:cubicBezTo>
                      <a:pt x="349" y="56"/>
                      <a:pt x="347" y="53"/>
                      <a:pt x="347" y="52"/>
                    </a:cubicBezTo>
                    <a:cubicBezTo>
                      <a:pt x="346" y="52"/>
                      <a:pt x="347" y="52"/>
                      <a:pt x="346" y="50"/>
                    </a:cubicBezTo>
                    <a:cubicBezTo>
                      <a:pt x="345" y="50"/>
                      <a:pt x="344" y="51"/>
                      <a:pt x="343" y="50"/>
                    </a:cubicBezTo>
                    <a:close/>
                    <a:moveTo>
                      <a:pt x="275" y="52"/>
                    </a:moveTo>
                    <a:cubicBezTo>
                      <a:pt x="273" y="53"/>
                      <a:pt x="272" y="55"/>
                      <a:pt x="271" y="56"/>
                    </a:cubicBezTo>
                    <a:cubicBezTo>
                      <a:pt x="268" y="58"/>
                      <a:pt x="276" y="57"/>
                      <a:pt x="278" y="57"/>
                    </a:cubicBezTo>
                    <a:cubicBezTo>
                      <a:pt x="278" y="55"/>
                      <a:pt x="277" y="54"/>
                      <a:pt x="277" y="52"/>
                    </a:cubicBezTo>
                    <a:cubicBezTo>
                      <a:pt x="277" y="52"/>
                      <a:pt x="275" y="52"/>
                      <a:pt x="275" y="52"/>
                    </a:cubicBezTo>
                    <a:close/>
                    <a:moveTo>
                      <a:pt x="710" y="58"/>
                    </a:moveTo>
                    <a:cubicBezTo>
                      <a:pt x="710" y="60"/>
                      <a:pt x="710" y="60"/>
                      <a:pt x="710" y="60"/>
                    </a:cubicBezTo>
                    <a:cubicBezTo>
                      <a:pt x="710" y="61"/>
                      <a:pt x="709" y="61"/>
                      <a:pt x="709" y="61"/>
                    </a:cubicBezTo>
                    <a:cubicBezTo>
                      <a:pt x="708" y="60"/>
                      <a:pt x="708" y="60"/>
                      <a:pt x="708" y="60"/>
                    </a:cubicBezTo>
                    <a:cubicBezTo>
                      <a:pt x="708" y="60"/>
                      <a:pt x="707" y="60"/>
                      <a:pt x="706" y="60"/>
                    </a:cubicBezTo>
                    <a:cubicBezTo>
                      <a:pt x="706" y="62"/>
                      <a:pt x="707" y="64"/>
                      <a:pt x="706" y="67"/>
                    </a:cubicBezTo>
                    <a:cubicBezTo>
                      <a:pt x="705" y="68"/>
                      <a:pt x="702" y="69"/>
                      <a:pt x="702" y="71"/>
                    </a:cubicBezTo>
                    <a:cubicBezTo>
                      <a:pt x="702" y="72"/>
                      <a:pt x="704" y="73"/>
                      <a:pt x="703" y="74"/>
                    </a:cubicBezTo>
                    <a:cubicBezTo>
                      <a:pt x="703" y="75"/>
                      <a:pt x="701" y="74"/>
                      <a:pt x="701" y="74"/>
                    </a:cubicBezTo>
                    <a:cubicBezTo>
                      <a:pt x="699" y="80"/>
                      <a:pt x="697" y="82"/>
                      <a:pt x="692" y="85"/>
                    </a:cubicBezTo>
                    <a:cubicBezTo>
                      <a:pt x="692" y="85"/>
                      <a:pt x="692" y="87"/>
                      <a:pt x="692" y="87"/>
                    </a:cubicBezTo>
                    <a:cubicBezTo>
                      <a:pt x="698" y="87"/>
                      <a:pt x="701" y="86"/>
                      <a:pt x="705" y="82"/>
                    </a:cubicBezTo>
                    <a:cubicBezTo>
                      <a:pt x="705" y="82"/>
                      <a:pt x="706" y="80"/>
                      <a:pt x="706" y="80"/>
                    </a:cubicBezTo>
                    <a:cubicBezTo>
                      <a:pt x="707" y="80"/>
                      <a:pt x="717" y="84"/>
                      <a:pt x="718" y="84"/>
                    </a:cubicBezTo>
                    <a:cubicBezTo>
                      <a:pt x="719" y="83"/>
                      <a:pt x="720" y="82"/>
                      <a:pt x="722" y="81"/>
                    </a:cubicBezTo>
                    <a:cubicBezTo>
                      <a:pt x="722" y="81"/>
                      <a:pt x="723" y="81"/>
                      <a:pt x="724" y="81"/>
                    </a:cubicBezTo>
                    <a:cubicBezTo>
                      <a:pt x="728" y="80"/>
                      <a:pt x="726" y="79"/>
                      <a:pt x="733" y="79"/>
                    </a:cubicBezTo>
                    <a:cubicBezTo>
                      <a:pt x="733" y="78"/>
                      <a:pt x="734" y="76"/>
                      <a:pt x="734" y="75"/>
                    </a:cubicBezTo>
                    <a:cubicBezTo>
                      <a:pt x="733" y="70"/>
                      <a:pt x="728" y="70"/>
                      <a:pt x="724" y="68"/>
                    </a:cubicBezTo>
                    <a:cubicBezTo>
                      <a:pt x="722" y="67"/>
                      <a:pt x="720" y="67"/>
                      <a:pt x="720" y="64"/>
                    </a:cubicBezTo>
                    <a:cubicBezTo>
                      <a:pt x="720" y="64"/>
                      <a:pt x="720" y="64"/>
                      <a:pt x="720" y="64"/>
                    </a:cubicBezTo>
                    <a:cubicBezTo>
                      <a:pt x="719" y="63"/>
                      <a:pt x="719" y="64"/>
                      <a:pt x="719" y="64"/>
                    </a:cubicBezTo>
                    <a:cubicBezTo>
                      <a:pt x="715" y="65"/>
                      <a:pt x="719" y="61"/>
                      <a:pt x="713" y="66"/>
                    </a:cubicBezTo>
                    <a:cubicBezTo>
                      <a:pt x="713" y="65"/>
                      <a:pt x="712" y="64"/>
                      <a:pt x="712" y="64"/>
                    </a:cubicBezTo>
                    <a:cubicBezTo>
                      <a:pt x="715" y="63"/>
                      <a:pt x="712" y="59"/>
                      <a:pt x="710" y="58"/>
                    </a:cubicBezTo>
                    <a:close/>
                    <a:moveTo>
                      <a:pt x="410" y="104"/>
                    </a:moveTo>
                    <a:cubicBezTo>
                      <a:pt x="409" y="104"/>
                      <a:pt x="408" y="107"/>
                      <a:pt x="407" y="107"/>
                    </a:cubicBezTo>
                    <a:cubicBezTo>
                      <a:pt x="406" y="107"/>
                      <a:pt x="405" y="107"/>
                      <a:pt x="404" y="107"/>
                    </a:cubicBezTo>
                    <a:cubicBezTo>
                      <a:pt x="403" y="108"/>
                      <a:pt x="402" y="110"/>
                      <a:pt x="401" y="112"/>
                    </a:cubicBezTo>
                    <a:cubicBezTo>
                      <a:pt x="400" y="111"/>
                      <a:pt x="399" y="110"/>
                      <a:pt x="399" y="110"/>
                    </a:cubicBezTo>
                    <a:cubicBezTo>
                      <a:pt x="396" y="110"/>
                      <a:pt x="395" y="113"/>
                      <a:pt x="393" y="114"/>
                    </a:cubicBezTo>
                    <a:cubicBezTo>
                      <a:pt x="391" y="114"/>
                      <a:pt x="392" y="112"/>
                      <a:pt x="391" y="113"/>
                    </a:cubicBezTo>
                    <a:cubicBezTo>
                      <a:pt x="389" y="113"/>
                      <a:pt x="386" y="117"/>
                      <a:pt x="384" y="117"/>
                    </a:cubicBezTo>
                    <a:cubicBezTo>
                      <a:pt x="381" y="117"/>
                      <a:pt x="381" y="116"/>
                      <a:pt x="379" y="116"/>
                    </a:cubicBezTo>
                    <a:cubicBezTo>
                      <a:pt x="379" y="116"/>
                      <a:pt x="378" y="118"/>
                      <a:pt x="377" y="118"/>
                    </a:cubicBezTo>
                    <a:cubicBezTo>
                      <a:pt x="377" y="118"/>
                      <a:pt x="370" y="118"/>
                      <a:pt x="370" y="118"/>
                    </a:cubicBezTo>
                    <a:cubicBezTo>
                      <a:pt x="370" y="117"/>
                      <a:pt x="370" y="117"/>
                      <a:pt x="370" y="117"/>
                    </a:cubicBezTo>
                    <a:cubicBezTo>
                      <a:pt x="366" y="116"/>
                      <a:pt x="365" y="115"/>
                      <a:pt x="361" y="116"/>
                    </a:cubicBezTo>
                    <a:cubicBezTo>
                      <a:pt x="361" y="117"/>
                      <a:pt x="361" y="119"/>
                      <a:pt x="361" y="121"/>
                    </a:cubicBezTo>
                    <a:cubicBezTo>
                      <a:pt x="358" y="121"/>
                      <a:pt x="354" y="121"/>
                      <a:pt x="354" y="121"/>
                    </a:cubicBezTo>
                    <a:cubicBezTo>
                      <a:pt x="354" y="121"/>
                      <a:pt x="352" y="121"/>
                      <a:pt x="353" y="122"/>
                    </a:cubicBezTo>
                    <a:cubicBezTo>
                      <a:pt x="352" y="121"/>
                      <a:pt x="350" y="121"/>
                      <a:pt x="350" y="121"/>
                    </a:cubicBezTo>
                    <a:cubicBezTo>
                      <a:pt x="349" y="121"/>
                      <a:pt x="347" y="123"/>
                      <a:pt x="346" y="124"/>
                    </a:cubicBezTo>
                    <a:cubicBezTo>
                      <a:pt x="344" y="124"/>
                      <a:pt x="343" y="123"/>
                      <a:pt x="341" y="124"/>
                    </a:cubicBezTo>
                    <a:cubicBezTo>
                      <a:pt x="341" y="125"/>
                      <a:pt x="340" y="127"/>
                      <a:pt x="339" y="127"/>
                    </a:cubicBezTo>
                    <a:cubicBezTo>
                      <a:pt x="337" y="128"/>
                      <a:pt x="335" y="127"/>
                      <a:pt x="333" y="128"/>
                    </a:cubicBezTo>
                    <a:cubicBezTo>
                      <a:pt x="333" y="128"/>
                      <a:pt x="333" y="130"/>
                      <a:pt x="333" y="130"/>
                    </a:cubicBezTo>
                    <a:cubicBezTo>
                      <a:pt x="332" y="131"/>
                      <a:pt x="330" y="131"/>
                      <a:pt x="329" y="132"/>
                    </a:cubicBezTo>
                    <a:cubicBezTo>
                      <a:pt x="329" y="132"/>
                      <a:pt x="329" y="132"/>
                      <a:pt x="329" y="132"/>
                    </a:cubicBezTo>
                    <a:cubicBezTo>
                      <a:pt x="327" y="133"/>
                      <a:pt x="323" y="130"/>
                      <a:pt x="319" y="132"/>
                    </a:cubicBezTo>
                    <a:cubicBezTo>
                      <a:pt x="319" y="132"/>
                      <a:pt x="319" y="134"/>
                      <a:pt x="318" y="134"/>
                    </a:cubicBezTo>
                    <a:cubicBezTo>
                      <a:pt x="316" y="137"/>
                      <a:pt x="313" y="135"/>
                      <a:pt x="311" y="134"/>
                    </a:cubicBezTo>
                    <a:cubicBezTo>
                      <a:pt x="309" y="137"/>
                      <a:pt x="309" y="137"/>
                      <a:pt x="309" y="137"/>
                    </a:cubicBezTo>
                    <a:cubicBezTo>
                      <a:pt x="309" y="137"/>
                      <a:pt x="309" y="137"/>
                      <a:pt x="311" y="138"/>
                    </a:cubicBezTo>
                    <a:cubicBezTo>
                      <a:pt x="309" y="140"/>
                      <a:pt x="307" y="139"/>
                      <a:pt x="311" y="142"/>
                    </a:cubicBezTo>
                    <a:cubicBezTo>
                      <a:pt x="309" y="142"/>
                      <a:pt x="308" y="142"/>
                      <a:pt x="306" y="142"/>
                    </a:cubicBezTo>
                    <a:cubicBezTo>
                      <a:pt x="307" y="140"/>
                      <a:pt x="304" y="142"/>
                      <a:pt x="304" y="142"/>
                    </a:cubicBezTo>
                    <a:cubicBezTo>
                      <a:pt x="304" y="143"/>
                      <a:pt x="304" y="145"/>
                      <a:pt x="304" y="146"/>
                    </a:cubicBezTo>
                    <a:cubicBezTo>
                      <a:pt x="304" y="146"/>
                      <a:pt x="302" y="145"/>
                      <a:pt x="301" y="145"/>
                    </a:cubicBezTo>
                    <a:cubicBezTo>
                      <a:pt x="301" y="146"/>
                      <a:pt x="300" y="149"/>
                      <a:pt x="301" y="148"/>
                    </a:cubicBezTo>
                    <a:cubicBezTo>
                      <a:pt x="300" y="147"/>
                      <a:pt x="300" y="148"/>
                      <a:pt x="300" y="147"/>
                    </a:cubicBezTo>
                    <a:cubicBezTo>
                      <a:pt x="298" y="146"/>
                      <a:pt x="298" y="148"/>
                      <a:pt x="301" y="148"/>
                    </a:cubicBezTo>
                    <a:cubicBezTo>
                      <a:pt x="301" y="150"/>
                      <a:pt x="301" y="150"/>
                      <a:pt x="301" y="150"/>
                    </a:cubicBezTo>
                    <a:cubicBezTo>
                      <a:pt x="299" y="150"/>
                      <a:pt x="300" y="148"/>
                      <a:pt x="297" y="149"/>
                    </a:cubicBezTo>
                    <a:cubicBezTo>
                      <a:pt x="296" y="149"/>
                      <a:pt x="294" y="154"/>
                      <a:pt x="292" y="154"/>
                    </a:cubicBezTo>
                    <a:cubicBezTo>
                      <a:pt x="290" y="154"/>
                      <a:pt x="289" y="154"/>
                      <a:pt x="288" y="154"/>
                    </a:cubicBezTo>
                    <a:cubicBezTo>
                      <a:pt x="288" y="154"/>
                      <a:pt x="288" y="157"/>
                      <a:pt x="288" y="157"/>
                    </a:cubicBezTo>
                    <a:cubicBezTo>
                      <a:pt x="292" y="158"/>
                      <a:pt x="294" y="157"/>
                      <a:pt x="299" y="157"/>
                    </a:cubicBezTo>
                    <a:cubicBezTo>
                      <a:pt x="293" y="158"/>
                      <a:pt x="293" y="159"/>
                      <a:pt x="292" y="164"/>
                    </a:cubicBezTo>
                    <a:cubicBezTo>
                      <a:pt x="293" y="164"/>
                      <a:pt x="292" y="165"/>
                      <a:pt x="293" y="165"/>
                    </a:cubicBezTo>
                    <a:cubicBezTo>
                      <a:pt x="294" y="165"/>
                      <a:pt x="295" y="164"/>
                      <a:pt x="296" y="164"/>
                    </a:cubicBezTo>
                    <a:cubicBezTo>
                      <a:pt x="295" y="165"/>
                      <a:pt x="293" y="168"/>
                      <a:pt x="292" y="169"/>
                    </a:cubicBezTo>
                    <a:cubicBezTo>
                      <a:pt x="292" y="169"/>
                      <a:pt x="291" y="168"/>
                      <a:pt x="290" y="168"/>
                    </a:cubicBezTo>
                    <a:cubicBezTo>
                      <a:pt x="288" y="168"/>
                      <a:pt x="286" y="170"/>
                      <a:pt x="284" y="170"/>
                    </a:cubicBezTo>
                    <a:cubicBezTo>
                      <a:pt x="285" y="174"/>
                      <a:pt x="284" y="174"/>
                      <a:pt x="286" y="178"/>
                    </a:cubicBezTo>
                    <a:cubicBezTo>
                      <a:pt x="285" y="178"/>
                      <a:pt x="284" y="178"/>
                      <a:pt x="283" y="178"/>
                    </a:cubicBezTo>
                    <a:cubicBezTo>
                      <a:pt x="282" y="179"/>
                      <a:pt x="283" y="181"/>
                      <a:pt x="283" y="182"/>
                    </a:cubicBezTo>
                    <a:cubicBezTo>
                      <a:pt x="282" y="182"/>
                      <a:pt x="282" y="182"/>
                      <a:pt x="281" y="183"/>
                    </a:cubicBezTo>
                    <a:cubicBezTo>
                      <a:pt x="280" y="183"/>
                      <a:pt x="281" y="184"/>
                      <a:pt x="282" y="184"/>
                    </a:cubicBezTo>
                    <a:cubicBezTo>
                      <a:pt x="282" y="184"/>
                      <a:pt x="282" y="185"/>
                      <a:pt x="283" y="185"/>
                    </a:cubicBezTo>
                    <a:cubicBezTo>
                      <a:pt x="282" y="185"/>
                      <a:pt x="282" y="187"/>
                      <a:pt x="282" y="187"/>
                    </a:cubicBezTo>
                    <a:cubicBezTo>
                      <a:pt x="280" y="188"/>
                      <a:pt x="279" y="188"/>
                      <a:pt x="276" y="187"/>
                    </a:cubicBezTo>
                    <a:cubicBezTo>
                      <a:pt x="273" y="192"/>
                      <a:pt x="274" y="194"/>
                      <a:pt x="276" y="200"/>
                    </a:cubicBezTo>
                    <a:cubicBezTo>
                      <a:pt x="277" y="200"/>
                      <a:pt x="278" y="200"/>
                      <a:pt x="279" y="200"/>
                    </a:cubicBezTo>
                    <a:cubicBezTo>
                      <a:pt x="279" y="200"/>
                      <a:pt x="279" y="198"/>
                      <a:pt x="279" y="198"/>
                    </a:cubicBezTo>
                    <a:cubicBezTo>
                      <a:pt x="279" y="198"/>
                      <a:pt x="281" y="198"/>
                      <a:pt x="282" y="198"/>
                    </a:cubicBezTo>
                    <a:cubicBezTo>
                      <a:pt x="282" y="198"/>
                      <a:pt x="281" y="196"/>
                      <a:pt x="282" y="195"/>
                    </a:cubicBezTo>
                    <a:cubicBezTo>
                      <a:pt x="282" y="196"/>
                      <a:pt x="284" y="196"/>
                      <a:pt x="284" y="197"/>
                    </a:cubicBezTo>
                    <a:cubicBezTo>
                      <a:pt x="284" y="198"/>
                      <a:pt x="284" y="198"/>
                      <a:pt x="284" y="198"/>
                    </a:cubicBezTo>
                    <a:cubicBezTo>
                      <a:pt x="286" y="199"/>
                      <a:pt x="287" y="197"/>
                      <a:pt x="287" y="197"/>
                    </a:cubicBezTo>
                    <a:cubicBezTo>
                      <a:pt x="288" y="196"/>
                      <a:pt x="290" y="196"/>
                      <a:pt x="292" y="195"/>
                    </a:cubicBezTo>
                    <a:cubicBezTo>
                      <a:pt x="291" y="196"/>
                      <a:pt x="291" y="197"/>
                      <a:pt x="291" y="197"/>
                    </a:cubicBezTo>
                    <a:cubicBezTo>
                      <a:pt x="291" y="197"/>
                      <a:pt x="289" y="199"/>
                      <a:pt x="290" y="199"/>
                    </a:cubicBezTo>
                    <a:cubicBezTo>
                      <a:pt x="290" y="199"/>
                      <a:pt x="291" y="201"/>
                      <a:pt x="292" y="202"/>
                    </a:cubicBezTo>
                    <a:cubicBezTo>
                      <a:pt x="295" y="202"/>
                      <a:pt x="295" y="202"/>
                      <a:pt x="298" y="201"/>
                    </a:cubicBezTo>
                    <a:cubicBezTo>
                      <a:pt x="298" y="202"/>
                      <a:pt x="298" y="205"/>
                      <a:pt x="298" y="205"/>
                    </a:cubicBezTo>
                    <a:cubicBezTo>
                      <a:pt x="296" y="206"/>
                      <a:pt x="297" y="204"/>
                      <a:pt x="295" y="205"/>
                    </a:cubicBezTo>
                    <a:cubicBezTo>
                      <a:pt x="295" y="207"/>
                      <a:pt x="295" y="207"/>
                      <a:pt x="295" y="207"/>
                    </a:cubicBezTo>
                    <a:cubicBezTo>
                      <a:pt x="293" y="206"/>
                      <a:pt x="293" y="206"/>
                      <a:pt x="292" y="207"/>
                    </a:cubicBezTo>
                    <a:cubicBezTo>
                      <a:pt x="289" y="208"/>
                      <a:pt x="294" y="209"/>
                      <a:pt x="294" y="209"/>
                    </a:cubicBezTo>
                    <a:cubicBezTo>
                      <a:pt x="294" y="209"/>
                      <a:pt x="295" y="212"/>
                      <a:pt x="293" y="211"/>
                    </a:cubicBezTo>
                    <a:cubicBezTo>
                      <a:pt x="293" y="212"/>
                      <a:pt x="292" y="212"/>
                      <a:pt x="291" y="212"/>
                    </a:cubicBezTo>
                    <a:cubicBezTo>
                      <a:pt x="292" y="215"/>
                      <a:pt x="292" y="215"/>
                      <a:pt x="292" y="215"/>
                    </a:cubicBezTo>
                    <a:cubicBezTo>
                      <a:pt x="294" y="214"/>
                      <a:pt x="298" y="213"/>
                      <a:pt x="300" y="213"/>
                    </a:cubicBezTo>
                    <a:cubicBezTo>
                      <a:pt x="301" y="213"/>
                      <a:pt x="303" y="216"/>
                      <a:pt x="304" y="217"/>
                    </a:cubicBezTo>
                    <a:cubicBezTo>
                      <a:pt x="305" y="217"/>
                      <a:pt x="305" y="217"/>
                      <a:pt x="305" y="217"/>
                    </a:cubicBezTo>
                    <a:cubicBezTo>
                      <a:pt x="306" y="216"/>
                      <a:pt x="305" y="215"/>
                      <a:pt x="305" y="214"/>
                    </a:cubicBezTo>
                    <a:cubicBezTo>
                      <a:pt x="305" y="214"/>
                      <a:pt x="307" y="213"/>
                      <a:pt x="307" y="212"/>
                    </a:cubicBezTo>
                    <a:cubicBezTo>
                      <a:pt x="311" y="215"/>
                      <a:pt x="313" y="215"/>
                      <a:pt x="318" y="213"/>
                    </a:cubicBezTo>
                    <a:cubicBezTo>
                      <a:pt x="319" y="215"/>
                      <a:pt x="318" y="215"/>
                      <a:pt x="319" y="215"/>
                    </a:cubicBezTo>
                    <a:cubicBezTo>
                      <a:pt x="319" y="215"/>
                      <a:pt x="320" y="214"/>
                      <a:pt x="319" y="213"/>
                    </a:cubicBezTo>
                    <a:cubicBezTo>
                      <a:pt x="319" y="213"/>
                      <a:pt x="318" y="212"/>
                      <a:pt x="317" y="212"/>
                    </a:cubicBezTo>
                    <a:cubicBezTo>
                      <a:pt x="318" y="212"/>
                      <a:pt x="317" y="210"/>
                      <a:pt x="317" y="209"/>
                    </a:cubicBezTo>
                    <a:cubicBezTo>
                      <a:pt x="320" y="210"/>
                      <a:pt x="321" y="209"/>
                      <a:pt x="323" y="210"/>
                    </a:cubicBezTo>
                    <a:cubicBezTo>
                      <a:pt x="324" y="210"/>
                      <a:pt x="324" y="212"/>
                      <a:pt x="327" y="212"/>
                    </a:cubicBezTo>
                    <a:cubicBezTo>
                      <a:pt x="327" y="212"/>
                      <a:pt x="330" y="210"/>
                      <a:pt x="331" y="209"/>
                    </a:cubicBezTo>
                    <a:cubicBezTo>
                      <a:pt x="322" y="207"/>
                      <a:pt x="316" y="204"/>
                      <a:pt x="313" y="197"/>
                    </a:cubicBezTo>
                    <a:cubicBezTo>
                      <a:pt x="312" y="197"/>
                      <a:pt x="313" y="195"/>
                      <a:pt x="312" y="195"/>
                    </a:cubicBezTo>
                    <a:cubicBezTo>
                      <a:pt x="310" y="194"/>
                      <a:pt x="310" y="194"/>
                      <a:pt x="310" y="194"/>
                    </a:cubicBezTo>
                    <a:cubicBezTo>
                      <a:pt x="310" y="192"/>
                      <a:pt x="313" y="190"/>
                      <a:pt x="309" y="188"/>
                    </a:cubicBezTo>
                    <a:cubicBezTo>
                      <a:pt x="309" y="187"/>
                      <a:pt x="309" y="187"/>
                      <a:pt x="309" y="187"/>
                    </a:cubicBezTo>
                    <a:cubicBezTo>
                      <a:pt x="310" y="186"/>
                      <a:pt x="311" y="186"/>
                      <a:pt x="311" y="186"/>
                    </a:cubicBezTo>
                    <a:cubicBezTo>
                      <a:pt x="311" y="185"/>
                      <a:pt x="311" y="185"/>
                      <a:pt x="311" y="185"/>
                    </a:cubicBezTo>
                    <a:cubicBezTo>
                      <a:pt x="312" y="186"/>
                      <a:pt x="312" y="182"/>
                      <a:pt x="312" y="182"/>
                    </a:cubicBezTo>
                    <a:cubicBezTo>
                      <a:pt x="312" y="182"/>
                      <a:pt x="311" y="182"/>
                      <a:pt x="311" y="181"/>
                    </a:cubicBezTo>
                    <a:cubicBezTo>
                      <a:pt x="311" y="180"/>
                      <a:pt x="311" y="180"/>
                      <a:pt x="311" y="180"/>
                    </a:cubicBezTo>
                    <a:cubicBezTo>
                      <a:pt x="311" y="180"/>
                      <a:pt x="313" y="179"/>
                      <a:pt x="313" y="179"/>
                    </a:cubicBezTo>
                    <a:cubicBezTo>
                      <a:pt x="314" y="177"/>
                      <a:pt x="313" y="174"/>
                      <a:pt x="313" y="173"/>
                    </a:cubicBezTo>
                    <a:cubicBezTo>
                      <a:pt x="314" y="172"/>
                      <a:pt x="316" y="172"/>
                      <a:pt x="316" y="171"/>
                    </a:cubicBezTo>
                    <a:cubicBezTo>
                      <a:pt x="316" y="171"/>
                      <a:pt x="316" y="170"/>
                      <a:pt x="316" y="169"/>
                    </a:cubicBezTo>
                    <a:cubicBezTo>
                      <a:pt x="316" y="169"/>
                      <a:pt x="315" y="168"/>
                      <a:pt x="315" y="168"/>
                    </a:cubicBezTo>
                    <a:cubicBezTo>
                      <a:pt x="314" y="168"/>
                      <a:pt x="312" y="168"/>
                      <a:pt x="311" y="168"/>
                    </a:cubicBezTo>
                    <a:cubicBezTo>
                      <a:pt x="310" y="168"/>
                      <a:pt x="309" y="166"/>
                      <a:pt x="309" y="166"/>
                    </a:cubicBezTo>
                    <a:cubicBezTo>
                      <a:pt x="306" y="165"/>
                      <a:pt x="303" y="167"/>
                      <a:pt x="302" y="167"/>
                    </a:cubicBezTo>
                    <a:cubicBezTo>
                      <a:pt x="301" y="163"/>
                      <a:pt x="301" y="163"/>
                      <a:pt x="301" y="163"/>
                    </a:cubicBezTo>
                    <a:cubicBezTo>
                      <a:pt x="302" y="164"/>
                      <a:pt x="306" y="167"/>
                      <a:pt x="309" y="165"/>
                    </a:cubicBezTo>
                    <a:cubicBezTo>
                      <a:pt x="309" y="165"/>
                      <a:pt x="308" y="164"/>
                      <a:pt x="310" y="164"/>
                    </a:cubicBezTo>
                    <a:cubicBezTo>
                      <a:pt x="310" y="164"/>
                      <a:pt x="311" y="166"/>
                      <a:pt x="311" y="167"/>
                    </a:cubicBezTo>
                    <a:cubicBezTo>
                      <a:pt x="313" y="167"/>
                      <a:pt x="316" y="166"/>
                      <a:pt x="316" y="166"/>
                    </a:cubicBezTo>
                    <a:cubicBezTo>
                      <a:pt x="317" y="165"/>
                      <a:pt x="319" y="165"/>
                      <a:pt x="319" y="163"/>
                    </a:cubicBezTo>
                    <a:cubicBezTo>
                      <a:pt x="320" y="163"/>
                      <a:pt x="319" y="162"/>
                      <a:pt x="319" y="161"/>
                    </a:cubicBezTo>
                    <a:cubicBezTo>
                      <a:pt x="318" y="162"/>
                      <a:pt x="319" y="160"/>
                      <a:pt x="319" y="159"/>
                    </a:cubicBezTo>
                    <a:cubicBezTo>
                      <a:pt x="319" y="159"/>
                      <a:pt x="320" y="161"/>
                      <a:pt x="321" y="161"/>
                    </a:cubicBezTo>
                    <a:cubicBezTo>
                      <a:pt x="321" y="161"/>
                      <a:pt x="322" y="160"/>
                      <a:pt x="323" y="161"/>
                    </a:cubicBezTo>
                    <a:cubicBezTo>
                      <a:pt x="325" y="159"/>
                      <a:pt x="322" y="159"/>
                      <a:pt x="323" y="157"/>
                    </a:cubicBezTo>
                    <a:cubicBezTo>
                      <a:pt x="324" y="157"/>
                      <a:pt x="326" y="157"/>
                      <a:pt x="327" y="157"/>
                    </a:cubicBezTo>
                    <a:cubicBezTo>
                      <a:pt x="327" y="156"/>
                      <a:pt x="327" y="156"/>
                      <a:pt x="327" y="156"/>
                    </a:cubicBezTo>
                    <a:cubicBezTo>
                      <a:pt x="327" y="155"/>
                      <a:pt x="326" y="152"/>
                      <a:pt x="325" y="151"/>
                    </a:cubicBezTo>
                    <a:cubicBezTo>
                      <a:pt x="326" y="151"/>
                      <a:pt x="327" y="150"/>
                      <a:pt x="328" y="151"/>
                    </a:cubicBezTo>
                    <a:cubicBezTo>
                      <a:pt x="329" y="154"/>
                      <a:pt x="329" y="154"/>
                      <a:pt x="329" y="154"/>
                    </a:cubicBezTo>
                    <a:cubicBezTo>
                      <a:pt x="332" y="152"/>
                      <a:pt x="332" y="152"/>
                      <a:pt x="332" y="152"/>
                    </a:cubicBezTo>
                    <a:cubicBezTo>
                      <a:pt x="333" y="150"/>
                      <a:pt x="332" y="149"/>
                      <a:pt x="333" y="148"/>
                    </a:cubicBezTo>
                    <a:cubicBezTo>
                      <a:pt x="334" y="148"/>
                      <a:pt x="335" y="148"/>
                      <a:pt x="335" y="148"/>
                    </a:cubicBezTo>
                    <a:cubicBezTo>
                      <a:pt x="335" y="147"/>
                      <a:pt x="336" y="145"/>
                      <a:pt x="335" y="146"/>
                    </a:cubicBezTo>
                    <a:cubicBezTo>
                      <a:pt x="334" y="145"/>
                      <a:pt x="335" y="144"/>
                      <a:pt x="334" y="144"/>
                    </a:cubicBezTo>
                    <a:cubicBezTo>
                      <a:pt x="336" y="144"/>
                      <a:pt x="337" y="144"/>
                      <a:pt x="339" y="143"/>
                    </a:cubicBezTo>
                    <a:cubicBezTo>
                      <a:pt x="339" y="142"/>
                      <a:pt x="339" y="141"/>
                      <a:pt x="339" y="141"/>
                    </a:cubicBezTo>
                    <a:cubicBezTo>
                      <a:pt x="340" y="141"/>
                      <a:pt x="343" y="141"/>
                      <a:pt x="345" y="142"/>
                    </a:cubicBezTo>
                    <a:cubicBezTo>
                      <a:pt x="345" y="140"/>
                      <a:pt x="344" y="139"/>
                      <a:pt x="346" y="139"/>
                    </a:cubicBezTo>
                    <a:cubicBezTo>
                      <a:pt x="347" y="139"/>
                      <a:pt x="349" y="141"/>
                      <a:pt x="351" y="140"/>
                    </a:cubicBezTo>
                    <a:cubicBezTo>
                      <a:pt x="352" y="140"/>
                      <a:pt x="351" y="137"/>
                      <a:pt x="351" y="137"/>
                    </a:cubicBezTo>
                    <a:cubicBezTo>
                      <a:pt x="352" y="136"/>
                      <a:pt x="353" y="137"/>
                      <a:pt x="354" y="137"/>
                    </a:cubicBezTo>
                    <a:cubicBezTo>
                      <a:pt x="355" y="137"/>
                      <a:pt x="355" y="134"/>
                      <a:pt x="356" y="134"/>
                    </a:cubicBezTo>
                    <a:cubicBezTo>
                      <a:pt x="357" y="133"/>
                      <a:pt x="358" y="134"/>
                      <a:pt x="359" y="134"/>
                    </a:cubicBezTo>
                    <a:cubicBezTo>
                      <a:pt x="360" y="132"/>
                      <a:pt x="360" y="132"/>
                      <a:pt x="360" y="132"/>
                    </a:cubicBezTo>
                    <a:cubicBezTo>
                      <a:pt x="360" y="132"/>
                      <a:pt x="367" y="130"/>
                      <a:pt x="367" y="130"/>
                    </a:cubicBezTo>
                    <a:cubicBezTo>
                      <a:pt x="369" y="129"/>
                      <a:pt x="369" y="131"/>
                      <a:pt x="372" y="130"/>
                    </a:cubicBezTo>
                    <a:cubicBezTo>
                      <a:pt x="374" y="130"/>
                      <a:pt x="378" y="126"/>
                      <a:pt x="380" y="126"/>
                    </a:cubicBezTo>
                    <a:cubicBezTo>
                      <a:pt x="381" y="126"/>
                      <a:pt x="382" y="128"/>
                      <a:pt x="383" y="128"/>
                    </a:cubicBezTo>
                    <a:cubicBezTo>
                      <a:pt x="383" y="128"/>
                      <a:pt x="384" y="126"/>
                      <a:pt x="384" y="126"/>
                    </a:cubicBezTo>
                    <a:cubicBezTo>
                      <a:pt x="385" y="126"/>
                      <a:pt x="386" y="126"/>
                      <a:pt x="387" y="126"/>
                    </a:cubicBezTo>
                    <a:cubicBezTo>
                      <a:pt x="387" y="126"/>
                      <a:pt x="389" y="124"/>
                      <a:pt x="389" y="124"/>
                    </a:cubicBezTo>
                    <a:cubicBezTo>
                      <a:pt x="393" y="123"/>
                      <a:pt x="396" y="124"/>
                      <a:pt x="401" y="123"/>
                    </a:cubicBezTo>
                    <a:cubicBezTo>
                      <a:pt x="401" y="123"/>
                      <a:pt x="403" y="121"/>
                      <a:pt x="404" y="121"/>
                    </a:cubicBezTo>
                    <a:cubicBezTo>
                      <a:pt x="405" y="121"/>
                      <a:pt x="407" y="121"/>
                      <a:pt x="408" y="121"/>
                    </a:cubicBezTo>
                    <a:cubicBezTo>
                      <a:pt x="408" y="121"/>
                      <a:pt x="409" y="119"/>
                      <a:pt x="410" y="119"/>
                    </a:cubicBezTo>
                    <a:cubicBezTo>
                      <a:pt x="411" y="119"/>
                      <a:pt x="412" y="119"/>
                      <a:pt x="412" y="119"/>
                    </a:cubicBezTo>
                    <a:cubicBezTo>
                      <a:pt x="413" y="119"/>
                      <a:pt x="413" y="117"/>
                      <a:pt x="413" y="117"/>
                    </a:cubicBezTo>
                    <a:cubicBezTo>
                      <a:pt x="415" y="116"/>
                      <a:pt x="415" y="117"/>
                      <a:pt x="416" y="116"/>
                    </a:cubicBezTo>
                    <a:cubicBezTo>
                      <a:pt x="417" y="115"/>
                      <a:pt x="418" y="111"/>
                      <a:pt x="418" y="109"/>
                    </a:cubicBezTo>
                    <a:cubicBezTo>
                      <a:pt x="418" y="108"/>
                      <a:pt x="415" y="108"/>
                      <a:pt x="415" y="108"/>
                    </a:cubicBezTo>
                    <a:cubicBezTo>
                      <a:pt x="415" y="107"/>
                      <a:pt x="415" y="105"/>
                      <a:pt x="414" y="105"/>
                    </a:cubicBezTo>
                    <a:cubicBezTo>
                      <a:pt x="414" y="104"/>
                      <a:pt x="411" y="104"/>
                      <a:pt x="410" y="104"/>
                    </a:cubicBezTo>
                    <a:close/>
                    <a:moveTo>
                      <a:pt x="1027" y="120"/>
                    </a:moveTo>
                    <a:cubicBezTo>
                      <a:pt x="1025" y="121"/>
                      <a:pt x="1021" y="127"/>
                      <a:pt x="1019" y="128"/>
                    </a:cubicBezTo>
                    <a:cubicBezTo>
                      <a:pt x="1019" y="128"/>
                      <a:pt x="1019" y="128"/>
                      <a:pt x="1019" y="128"/>
                    </a:cubicBezTo>
                    <a:cubicBezTo>
                      <a:pt x="1018" y="129"/>
                      <a:pt x="1019" y="130"/>
                      <a:pt x="1019" y="132"/>
                    </a:cubicBezTo>
                    <a:cubicBezTo>
                      <a:pt x="1018" y="132"/>
                      <a:pt x="1016" y="133"/>
                      <a:pt x="1016" y="134"/>
                    </a:cubicBezTo>
                    <a:cubicBezTo>
                      <a:pt x="1016" y="137"/>
                      <a:pt x="1017" y="138"/>
                      <a:pt x="1017" y="140"/>
                    </a:cubicBezTo>
                    <a:cubicBezTo>
                      <a:pt x="1017" y="140"/>
                      <a:pt x="1016" y="139"/>
                      <a:pt x="1016" y="140"/>
                    </a:cubicBezTo>
                    <a:cubicBezTo>
                      <a:pt x="1016" y="141"/>
                      <a:pt x="1018" y="141"/>
                      <a:pt x="1018" y="142"/>
                    </a:cubicBezTo>
                    <a:cubicBezTo>
                      <a:pt x="1018" y="142"/>
                      <a:pt x="1018" y="143"/>
                      <a:pt x="1018" y="144"/>
                    </a:cubicBezTo>
                    <a:cubicBezTo>
                      <a:pt x="1019" y="144"/>
                      <a:pt x="1019" y="144"/>
                      <a:pt x="1019" y="144"/>
                    </a:cubicBezTo>
                    <a:cubicBezTo>
                      <a:pt x="1018" y="144"/>
                      <a:pt x="1020" y="146"/>
                      <a:pt x="1017" y="146"/>
                    </a:cubicBezTo>
                    <a:cubicBezTo>
                      <a:pt x="1017" y="146"/>
                      <a:pt x="1017" y="146"/>
                      <a:pt x="1017" y="146"/>
                    </a:cubicBezTo>
                    <a:cubicBezTo>
                      <a:pt x="1018" y="147"/>
                      <a:pt x="1019" y="146"/>
                      <a:pt x="1020" y="147"/>
                    </a:cubicBezTo>
                    <a:cubicBezTo>
                      <a:pt x="1021" y="147"/>
                      <a:pt x="1021" y="150"/>
                      <a:pt x="1021" y="150"/>
                    </a:cubicBezTo>
                    <a:cubicBezTo>
                      <a:pt x="1023" y="152"/>
                      <a:pt x="1026" y="152"/>
                      <a:pt x="1029" y="153"/>
                    </a:cubicBezTo>
                    <a:cubicBezTo>
                      <a:pt x="1030" y="152"/>
                      <a:pt x="1033" y="149"/>
                      <a:pt x="1034" y="147"/>
                    </a:cubicBezTo>
                    <a:cubicBezTo>
                      <a:pt x="1034" y="146"/>
                      <a:pt x="1034" y="145"/>
                      <a:pt x="1034" y="144"/>
                    </a:cubicBezTo>
                    <a:cubicBezTo>
                      <a:pt x="1035" y="144"/>
                      <a:pt x="1035" y="144"/>
                      <a:pt x="1035" y="144"/>
                    </a:cubicBezTo>
                    <a:cubicBezTo>
                      <a:pt x="1040" y="138"/>
                      <a:pt x="1040" y="138"/>
                      <a:pt x="1040" y="138"/>
                    </a:cubicBezTo>
                    <a:cubicBezTo>
                      <a:pt x="1040" y="137"/>
                      <a:pt x="1039" y="132"/>
                      <a:pt x="1039" y="132"/>
                    </a:cubicBezTo>
                    <a:cubicBezTo>
                      <a:pt x="1038" y="131"/>
                      <a:pt x="1036" y="130"/>
                      <a:pt x="1035" y="130"/>
                    </a:cubicBezTo>
                    <a:cubicBezTo>
                      <a:pt x="1035" y="129"/>
                      <a:pt x="1035" y="127"/>
                      <a:pt x="1035" y="126"/>
                    </a:cubicBezTo>
                    <a:cubicBezTo>
                      <a:pt x="1034" y="126"/>
                      <a:pt x="1033" y="126"/>
                      <a:pt x="1032" y="126"/>
                    </a:cubicBezTo>
                    <a:cubicBezTo>
                      <a:pt x="1031" y="126"/>
                      <a:pt x="1030" y="123"/>
                      <a:pt x="1029" y="123"/>
                    </a:cubicBezTo>
                    <a:cubicBezTo>
                      <a:pt x="1028" y="122"/>
                      <a:pt x="1028" y="123"/>
                      <a:pt x="1027" y="122"/>
                    </a:cubicBezTo>
                    <a:cubicBezTo>
                      <a:pt x="1027" y="122"/>
                      <a:pt x="1028" y="119"/>
                      <a:pt x="1027" y="120"/>
                    </a:cubicBezTo>
                    <a:close/>
                    <a:moveTo>
                      <a:pt x="727" y="122"/>
                    </a:moveTo>
                    <a:cubicBezTo>
                      <a:pt x="731" y="123"/>
                      <a:pt x="728" y="125"/>
                      <a:pt x="730" y="126"/>
                    </a:cubicBezTo>
                    <a:cubicBezTo>
                      <a:pt x="731" y="126"/>
                      <a:pt x="731" y="125"/>
                      <a:pt x="732" y="126"/>
                    </a:cubicBezTo>
                    <a:cubicBezTo>
                      <a:pt x="732" y="127"/>
                      <a:pt x="732" y="127"/>
                      <a:pt x="732" y="127"/>
                    </a:cubicBezTo>
                    <a:cubicBezTo>
                      <a:pt x="731" y="127"/>
                      <a:pt x="729" y="129"/>
                      <a:pt x="728" y="129"/>
                    </a:cubicBezTo>
                    <a:cubicBezTo>
                      <a:pt x="727" y="129"/>
                      <a:pt x="726" y="129"/>
                      <a:pt x="726" y="129"/>
                    </a:cubicBezTo>
                    <a:cubicBezTo>
                      <a:pt x="725" y="129"/>
                      <a:pt x="724" y="131"/>
                      <a:pt x="724" y="132"/>
                    </a:cubicBezTo>
                    <a:cubicBezTo>
                      <a:pt x="722" y="132"/>
                      <a:pt x="720" y="132"/>
                      <a:pt x="718" y="133"/>
                    </a:cubicBezTo>
                    <a:cubicBezTo>
                      <a:pt x="718" y="133"/>
                      <a:pt x="718" y="135"/>
                      <a:pt x="718" y="136"/>
                    </a:cubicBezTo>
                    <a:cubicBezTo>
                      <a:pt x="716" y="137"/>
                      <a:pt x="714" y="136"/>
                      <a:pt x="714" y="138"/>
                    </a:cubicBezTo>
                    <a:cubicBezTo>
                      <a:pt x="713" y="138"/>
                      <a:pt x="714" y="139"/>
                      <a:pt x="714" y="140"/>
                    </a:cubicBezTo>
                    <a:cubicBezTo>
                      <a:pt x="713" y="140"/>
                      <a:pt x="712" y="140"/>
                      <a:pt x="712" y="140"/>
                    </a:cubicBezTo>
                    <a:cubicBezTo>
                      <a:pt x="710" y="137"/>
                      <a:pt x="712" y="137"/>
                      <a:pt x="706" y="136"/>
                    </a:cubicBezTo>
                    <a:cubicBezTo>
                      <a:pt x="708" y="133"/>
                      <a:pt x="707" y="132"/>
                      <a:pt x="708" y="129"/>
                    </a:cubicBezTo>
                    <a:cubicBezTo>
                      <a:pt x="708" y="129"/>
                      <a:pt x="709" y="128"/>
                      <a:pt x="710" y="128"/>
                    </a:cubicBezTo>
                    <a:cubicBezTo>
                      <a:pt x="710" y="129"/>
                      <a:pt x="711" y="130"/>
                      <a:pt x="712" y="131"/>
                    </a:cubicBezTo>
                    <a:cubicBezTo>
                      <a:pt x="715" y="130"/>
                      <a:pt x="719" y="130"/>
                      <a:pt x="722" y="129"/>
                    </a:cubicBezTo>
                    <a:cubicBezTo>
                      <a:pt x="724" y="128"/>
                      <a:pt x="726" y="127"/>
                      <a:pt x="728" y="126"/>
                    </a:cubicBezTo>
                    <a:cubicBezTo>
                      <a:pt x="727" y="126"/>
                      <a:pt x="728" y="124"/>
                      <a:pt x="726" y="125"/>
                    </a:cubicBezTo>
                    <a:cubicBezTo>
                      <a:pt x="726" y="124"/>
                      <a:pt x="726" y="122"/>
                      <a:pt x="727" y="122"/>
                    </a:cubicBezTo>
                    <a:close/>
                    <a:moveTo>
                      <a:pt x="1063" y="127"/>
                    </a:moveTo>
                    <a:cubicBezTo>
                      <a:pt x="1063" y="128"/>
                      <a:pt x="1065" y="129"/>
                      <a:pt x="1065" y="130"/>
                    </a:cubicBezTo>
                    <a:cubicBezTo>
                      <a:pt x="1066" y="132"/>
                      <a:pt x="1064" y="136"/>
                      <a:pt x="1065" y="138"/>
                    </a:cubicBezTo>
                    <a:cubicBezTo>
                      <a:pt x="1065" y="139"/>
                      <a:pt x="1067" y="141"/>
                      <a:pt x="1067" y="142"/>
                    </a:cubicBezTo>
                    <a:cubicBezTo>
                      <a:pt x="1068" y="142"/>
                      <a:pt x="1069" y="142"/>
                      <a:pt x="1070" y="142"/>
                    </a:cubicBezTo>
                    <a:cubicBezTo>
                      <a:pt x="1071" y="141"/>
                      <a:pt x="1072" y="140"/>
                      <a:pt x="1073" y="139"/>
                    </a:cubicBezTo>
                    <a:cubicBezTo>
                      <a:pt x="1074" y="138"/>
                      <a:pt x="1075" y="138"/>
                      <a:pt x="1077" y="138"/>
                    </a:cubicBezTo>
                    <a:cubicBezTo>
                      <a:pt x="1078" y="134"/>
                      <a:pt x="1078" y="129"/>
                      <a:pt x="1072" y="130"/>
                    </a:cubicBezTo>
                    <a:cubicBezTo>
                      <a:pt x="1072" y="130"/>
                      <a:pt x="1071" y="131"/>
                      <a:pt x="1069" y="131"/>
                    </a:cubicBezTo>
                    <a:cubicBezTo>
                      <a:pt x="1068" y="131"/>
                      <a:pt x="1067" y="128"/>
                      <a:pt x="1066" y="128"/>
                    </a:cubicBezTo>
                    <a:cubicBezTo>
                      <a:pt x="1065" y="127"/>
                      <a:pt x="1064" y="127"/>
                      <a:pt x="1063" y="127"/>
                    </a:cubicBezTo>
                    <a:close/>
                    <a:moveTo>
                      <a:pt x="1101" y="128"/>
                    </a:moveTo>
                    <a:cubicBezTo>
                      <a:pt x="1101" y="130"/>
                      <a:pt x="1101" y="133"/>
                      <a:pt x="1100" y="136"/>
                    </a:cubicBezTo>
                    <a:cubicBezTo>
                      <a:pt x="1101" y="136"/>
                      <a:pt x="1106" y="139"/>
                      <a:pt x="1106" y="140"/>
                    </a:cubicBezTo>
                    <a:cubicBezTo>
                      <a:pt x="1108" y="140"/>
                      <a:pt x="1111" y="139"/>
                      <a:pt x="1112" y="140"/>
                    </a:cubicBezTo>
                    <a:cubicBezTo>
                      <a:pt x="1113" y="140"/>
                      <a:pt x="1113" y="141"/>
                      <a:pt x="1114" y="142"/>
                    </a:cubicBezTo>
                    <a:cubicBezTo>
                      <a:pt x="1115" y="142"/>
                      <a:pt x="1121" y="141"/>
                      <a:pt x="1123" y="140"/>
                    </a:cubicBezTo>
                    <a:cubicBezTo>
                      <a:pt x="1124" y="140"/>
                      <a:pt x="1123" y="139"/>
                      <a:pt x="1124" y="138"/>
                    </a:cubicBezTo>
                    <a:cubicBezTo>
                      <a:pt x="1125" y="137"/>
                      <a:pt x="1128" y="136"/>
                      <a:pt x="1131" y="136"/>
                    </a:cubicBezTo>
                    <a:cubicBezTo>
                      <a:pt x="1130" y="133"/>
                      <a:pt x="1130" y="133"/>
                      <a:pt x="1130" y="133"/>
                    </a:cubicBezTo>
                    <a:cubicBezTo>
                      <a:pt x="1130" y="133"/>
                      <a:pt x="1128" y="131"/>
                      <a:pt x="1128" y="131"/>
                    </a:cubicBezTo>
                    <a:cubicBezTo>
                      <a:pt x="1126" y="130"/>
                      <a:pt x="1121" y="130"/>
                      <a:pt x="1118" y="130"/>
                    </a:cubicBezTo>
                    <a:cubicBezTo>
                      <a:pt x="1118" y="129"/>
                      <a:pt x="1116" y="128"/>
                      <a:pt x="1116" y="128"/>
                    </a:cubicBezTo>
                    <a:cubicBezTo>
                      <a:pt x="1114" y="127"/>
                      <a:pt x="1111" y="129"/>
                      <a:pt x="1110" y="129"/>
                    </a:cubicBezTo>
                    <a:cubicBezTo>
                      <a:pt x="1106" y="129"/>
                      <a:pt x="1104" y="128"/>
                      <a:pt x="1101" y="128"/>
                    </a:cubicBezTo>
                    <a:close/>
                    <a:moveTo>
                      <a:pt x="1040" y="152"/>
                    </a:moveTo>
                    <a:cubicBezTo>
                      <a:pt x="1040" y="152"/>
                      <a:pt x="1039" y="153"/>
                      <a:pt x="1039" y="154"/>
                    </a:cubicBezTo>
                    <a:cubicBezTo>
                      <a:pt x="1038" y="156"/>
                      <a:pt x="1040" y="155"/>
                      <a:pt x="1040" y="156"/>
                    </a:cubicBezTo>
                    <a:cubicBezTo>
                      <a:pt x="1039" y="156"/>
                      <a:pt x="1042" y="157"/>
                      <a:pt x="1042" y="157"/>
                    </a:cubicBezTo>
                    <a:cubicBezTo>
                      <a:pt x="1042" y="157"/>
                      <a:pt x="1043" y="157"/>
                      <a:pt x="1043" y="156"/>
                    </a:cubicBezTo>
                    <a:cubicBezTo>
                      <a:pt x="1043" y="156"/>
                      <a:pt x="1043" y="155"/>
                      <a:pt x="1043" y="154"/>
                    </a:cubicBezTo>
                    <a:cubicBezTo>
                      <a:pt x="1043" y="154"/>
                      <a:pt x="1042" y="152"/>
                      <a:pt x="1043" y="152"/>
                    </a:cubicBezTo>
                    <a:cubicBezTo>
                      <a:pt x="1042" y="152"/>
                      <a:pt x="1040" y="152"/>
                      <a:pt x="1040" y="152"/>
                    </a:cubicBezTo>
                    <a:close/>
                    <a:moveTo>
                      <a:pt x="1053" y="155"/>
                    </a:moveTo>
                    <a:cubicBezTo>
                      <a:pt x="1052" y="155"/>
                      <a:pt x="1051" y="157"/>
                      <a:pt x="1051" y="157"/>
                    </a:cubicBezTo>
                    <a:cubicBezTo>
                      <a:pt x="1049" y="158"/>
                      <a:pt x="1046" y="158"/>
                      <a:pt x="1045" y="159"/>
                    </a:cubicBezTo>
                    <a:cubicBezTo>
                      <a:pt x="1043" y="161"/>
                      <a:pt x="1044" y="163"/>
                      <a:pt x="1041" y="164"/>
                    </a:cubicBezTo>
                    <a:cubicBezTo>
                      <a:pt x="1040" y="165"/>
                      <a:pt x="1039" y="165"/>
                      <a:pt x="1037" y="165"/>
                    </a:cubicBezTo>
                    <a:cubicBezTo>
                      <a:pt x="1038" y="167"/>
                      <a:pt x="1038" y="167"/>
                      <a:pt x="1038" y="167"/>
                    </a:cubicBezTo>
                    <a:cubicBezTo>
                      <a:pt x="1039" y="168"/>
                      <a:pt x="1041" y="167"/>
                      <a:pt x="1043" y="167"/>
                    </a:cubicBezTo>
                    <a:cubicBezTo>
                      <a:pt x="1043" y="168"/>
                      <a:pt x="1045" y="169"/>
                      <a:pt x="1046" y="169"/>
                    </a:cubicBezTo>
                    <a:cubicBezTo>
                      <a:pt x="1049" y="170"/>
                      <a:pt x="1049" y="168"/>
                      <a:pt x="1052" y="168"/>
                    </a:cubicBezTo>
                    <a:cubicBezTo>
                      <a:pt x="1052" y="168"/>
                      <a:pt x="1054" y="170"/>
                      <a:pt x="1055" y="170"/>
                    </a:cubicBezTo>
                    <a:cubicBezTo>
                      <a:pt x="1059" y="171"/>
                      <a:pt x="1064" y="171"/>
                      <a:pt x="1068" y="171"/>
                    </a:cubicBezTo>
                    <a:cubicBezTo>
                      <a:pt x="1068" y="169"/>
                      <a:pt x="1069" y="166"/>
                      <a:pt x="1068" y="163"/>
                    </a:cubicBezTo>
                    <a:cubicBezTo>
                      <a:pt x="1067" y="162"/>
                      <a:pt x="1065" y="162"/>
                      <a:pt x="1064" y="161"/>
                    </a:cubicBezTo>
                    <a:cubicBezTo>
                      <a:pt x="1063" y="161"/>
                      <a:pt x="1063" y="160"/>
                      <a:pt x="1063" y="159"/>
                    </a:cubicBezTo>
                    <a:cubicBezTo>
                      <a:pt x="1060" y="157"/>
                      <a:pt x="1059" y="157"/>
                      <a:pt x="1055" y="156"/>
                    </a:cubicBezTo>
                    <a:cubicBezTo>
                      <a:pt x="1055" y="156"/>
                      <a:pt x="1053" y="155"/>
                      <a:pt x="1053" y="155"/>
                    </a:cubicBezTo>
                    <a:close/>
                    <a:moveTo>
                      <a:pt x="1387" y="202"/>
                    </a:moveTo>
                    <a:cubicBezTo>
                      <a:pt x="1385" y="204"/>
                      <a:pt x="1385" y="205"/>
                      <a:pt x="1382" y="206"/>
                    </a:cubicBezTo>
                    <a:cubicBezTo>
                      <a:pt x="1382" y="206"/>
                      <a:pt x="1381" y="206"/>
                      <a:pt x="1380" y="206"/>
                    </a:cubicBezTo>
                    <a:cubicBezTo>
                      <a:pt x="1376" y="211"/>
                      <a:pt x="1376" y="211"/>
                      <a:pt x="1376" y="211"/>
                    </a:cubicBezTo>
                    <a:cubicBezTo>
                      <a:pt x="1375" y="212"/>
                      <a:pt x="1376" y="213"/>
                      <a:pt x="1376" y="213"/>
                    </a:cubicBezTo>
                    <a:cubicBezTo>
                      <a:pt x="1379" y="214"/>
                      <a:pt x="1384" y="215"/>
                      <a:pt x="1387" y="215"/>
                    </a:cubicBezTo>
                    <a:cubicBezTo>
                      <a:pt x="1388" y="214"/>
                      <a:pt x="1389" y="212"/>
                      <a:pt x="1392" y="212"/>
                    </a:cubicBezTo>
                    <a:cubicBezTo>
                      <a:pt x="1392" y="213"/>
                      <a:pt x="1392" y="213"/>
                      <a:pt x="1392" y="213"/>
                    </a:cubicBezTo>
                    <a:cubicBezTo>
                      <a:pt x="1395" y="214"/>
                      <a:pt x="1402" y="214"/>
                      <a:pt x="1405" y="215"/>
                    </a:cubicBezTo>
                    <a:cubicBezTo>
                      <a:pt x="1405" y="212"/>
                      <a:pt x="1406" y="211"/>
                      <a:pt x="1405" y="209"/>
                    </a:cubicBezTo>
                    <a:cubicBezTo>
                      <a:pt x="1404" y="209"/>
                      <a:pt x="1403" y="207"/>
                      <a:pt x="1403" y="207"/>
                    </a:cubicBezTo>
                    <a:cubicBezTo>
                      <a:pt x="1400" y="205"/>
                      <a:pt x="1396" y="206"/>
                      <a:pt x="1393" y="205"/>
                    </a:cubicBezTo>
                    <a:cubicBezTo>
                      <a:pt x="1391" y="205"/>
                      <a:pt x="1389" y="203"/>
                      <a:pt x="1387" y="202"/>
                    </a:cubicBezTo>
                    <a:close/>
                    <a:moveTo>
                      <a:pt x="1285" y="219"/>
                    </a:moveTo>
                    <a:cubicBezTo>
                      <a:pt x="1284" y="220"/>
                      <a:pt x="1284" y="219"/>
                      <a:pt x="1283" y="220"/>
                    </a:cubicBezTo>
                    <a:cubicBezTo>
                      <a:pt x="1282" y="221"/>
                      <a:pt x="1283" y="222"/>
                      <a:pt x="1283" y="223"/>
                    </a:cubicBezTo>
                    <a:cubicBezTo>
                      <a:pt x="1285" y="225"/>
                      <a:pt x="1287" y="227"/>
                      <a:pt x="1291" y="225"/>
                    </a:cubicBezTo>
                    <a:cubicBezTo>
                      <a:pt x="1291" y="225"/>
                      <a:pt x="1291" y="224"/>
                      <a:pt x="1292" y="223"/>
                    </a:cubicBezTo>
                    <a:lnTo>
                      <a:pt x="1285" y="219"/>
                    </a:lnTo>
                    <a:close/>
                    <a:moveTo>
                      <a:pt x="133" y="335"/>
                    </a:moveTo>
                    <a:cubicBezTo>
                      <a:pt x="134" y="335"/>
                      <a:pt x="136" y="336"/>
                      <a:pt x="136" y="336"/>
                    </a:cubicBezTo>
                    <a:cubicBezTo>
                      <a:pt x="137" y="337"/>
                      <a:pt x="139" y="336"/>
                      <a:pt x="141" y="336"/>
                    </a:cubicBezTo>
                    <a:cubicBezTo>
                      <a:pt x="141" y="337"/>
                      <a:pt x="142" y="338"/>
                      <a:pt x="143" y="338"/>
                    </a:cubicBezTo>
                    <a:cubicBezTo>
                      <a:pt x="143" y="341"/>
                      <a:pt x="141" y="344"/>
                      <a:pt x="143" y="347"/>
                    </a:cubicBezTo>
                    <a:cubicBezTo>
                      <a:pt x="143" y="348"/>
                      <a:pt x="145" y="349"/>
                      <a:pt x="146" y="350"/>
                    </a:cubicBezTo>
                    <a:cubicBezTo>
                      <a:pt x="146" y="350"/>
                      <a:pt x="149" y="354"/>
                      <a:pt x="148" y="354"/>
                    </a:cubicBezTo>
                    <a:cubicBezTo>
                      <a:pt x="146" y="355"/>
                      <a:pt x="147" y="356"/>
                      <a:pt x="147" y="358"/>
                    </a:cubicBezTo>
                    <a:cubicBezTo>
                      <a:pt x="146" y="359"/>
                      <a:pt x="145" y="359"/>
                      <a:pt x="145" y="360"/>
                    </a:cubicBezTo>
                    <a:cubicBezTo>
                      <a:pt x="145" y="360"/>
                      <a:pt x="144" y="361"/>
                      <a:pt x="144" y="361"/>
                    </a:cubicBezTo>
                    <a:cubicBezTo>
                      <a:pt x="144" y="360"/>
                      <a:pt x="142" y="358"/>
                      <a:pt x="141" y="357"/>
                    </a:cubicBezTo>
                    <a:cubicBezTo>
                      <a:pt x="141" y="356"/>
                      <a:pt x="139" y="353"/>
                      <a:pt x="138" y="353"/>
                    </a:cubicBezTo>
                    <a:cubicBezTo>
                      <a:pt x="138" y="353"/>
                      <a:pt x="136" y="353"/>
                      <a:pt x="136" y="353"/>
                    </a:cubicBezTo>
                    <a:cubicBezTo>
                      <a:pt x="135" y="352"/>
                      <a:pt x="136" y="351"/>
                      <a:pt x="135" y="350"/>
                    </a:cubicBezTo>
                    <a:cubicBezTo>
                      <a:pt x="135" y="349"/>
                      <a:pt x="132" y="349"/>
                      <a:pt x="131" y="348"/>
                    </a:cubicBezTo>
                    <a:cubicBezTo>
                      <a:pt x="131" y="348"/>
                      <a:pt x="131" y="346"/>
                      <a:pt x="131" y="346"/>
                    </a:cubicBezTo>
                    <a:cubicBezTo>
                      <a:pt x="132" y="347"/>
                      <a:pt x="133" y="346"/>
                      <a:pt x="134" y="346"/>
                    </a:cubicBezTo>
                    <a:cubicBezTo>
                      <a:pt x="134" y="347"/>
                      <a:pt x="134" y="348"/>
                      <a:pt x="135" y="348"/>
                    </a:cubicBezTo>
                    <a:cubicBezTo>
                      <a:pt x="136" y="354"/>
                      <a:pt x="136" y="348"/>
                      <a:pt x="134" y="346"/>
                    </a:cubicBezTo>
                    <a:cubicBezTo>
                      <a:pt x="135" y="346"/>
                      <a:pt x="135" y="346"/>
                      <a:pt x="135" y="346"/>
                    </a:cubicBezTo>
                    <a:cubicBezTo>
                      <a:pt x="135" y="346"/>
                      <a:pt x="135" y="346"/>
                      <a:pt x="135" y="345"/>
                    </a:cubicBezTo>
                    <a:cubicBezTo>
                      <a:pt x="140" y="344"/>
                      <a:pt x="138" y="349"/>
                      <a:pt x="139" y="339"/>
                    </a:cubicBezTo>
                    <a:cubicBezTo>
                      <a:pt x="138" y="339"/>
                      <a:pt x="137" y="339"/>
                      <a:pt x="135" y="340"/>
                    </a:cubicBezTo>
                    <a:cubicBezTo>
                      <a:pt x="135" y="340"/>
                      <a:pt x="135" y="340"/>
                      <a:pt x="135" y="340"/>
                    </a:cubicBezTo>
                    <a:cubicBezTo>
                      <a:pt x="134" y="340"/>
                      <a:pt x="134" y="338"/>
                      <a:pt x="133" y="338"/>
                    </a:cubicBezTo>
                    <a:cubicBezTo>
                      <a:pt x="133" y="338"/>
                      <a:pt x="134" y="336"/>
                      <a:pt x="133" y="336"/>
                    </a:cubicBezTo>
                    <a:cubicBezTo>
                      <a:pt x="132" y="336"/>
                      <a:pt x="132" y="335"/>
                      <a:pt x="133" y="335"/>
                    </a:cubicBezTo>
                    <a:close/>
                    <a:moveTo>
                      <a:pt x="99" y="347"/>
                    </a:moveTo>
                    <a:cubicBezTo>
                      <a:pt x="101" y="347"/>
                      <a:pt x="99" y="348"/>
                      <a:pt x="100" y="348"/>
                    </a:cubicBezTo>
                    <a:cubicBezTo>
                      <a:pt x="101" y="349"/>
                      <a:pt x="103" y="348"/>
                      <a:pt x="104" y="348"/>
                    </a:cubicBezTo>
                    <a:cubicBezTo>
                      <a:pt x="104" y="349"/>
                      <a:pt x="105" y="351"/>
                      <a:pt x="105" y="352"/>
                    </a:cubicBezTo>
                    <a:cubicBezTo>
                      <a:pt x="106" y="352"/>
                      <a:pt x="107" y="352"/>
                      <a:pt x="108" y="352"/>
                    </a:cubicBezTo>
                    <a:cubicBezTo>
                      <a:pt x="113" y="356"/>
                      <a:pt x="114" y="360"/>
                      <a:pt x="117" y="366"/>
                    </a:cubicBezTo>
                    <a:cubicBezTo>
                      <a:pt x="115" y="366"/>
                      <a:pt x="115" y="365"/>
                      <a:pt x="113" y="365"/>
                    </a:cubicBezTo>
                    <a:cubicBezTo>
                      <a:pt x="113" y="367"/>
                      <a:pt x="114" y="368"/>
                      <a:pt x="113" y="369"/>
                    </a:cubicBezTo>
                    <a:cubicBezTo>
                      <a:pt x="112" y="369"/>
                      <a:pt x="111" y="368"/>
                      <a:pt x="111" y="368"/>
                    </a:cubicBezTo>
                    <a:cubicBezTo>
                      <a:pt x="108" y="368"/>
                      <a:pt x="108" y="369"/>
                      <a:pt x="105" y="372"/>
                    </a:cubicBezTo>
                    <a:cubicBezTo>
                      <a:pt x="104" y="371"/>
                      <a:pt x="103" y="371"/>
                      <a:pt x="101" y="371"/>
                    </a:cubicBezTo>
                    <a:cubicBezTo>
                      <a:pt x="101" y="370"/>
                      <a:pt x="102" y="368"/>
                      <a:pt x="101" y="367"/>
                    </a:cubicBezTo>
                    <a:cubicBezTo>
                      <a:pt x="101" y="365"/>
                      <a:pt x="97" y="364"/>
                      <a:pt x="97" y="362"/>
                    </a:cubicBezTo>
                    <a:cubicBezTo>
                      <a:pt x="96" y="360"/>
                      <a:pt x="97" y="359"/>
                      <a:pt x="96" y="357"/>
                    </a:cubicBezTo>
                    <a:cubicBezTo>
                      <a:pt x="96" y="356"/>
                      <a:pt x="93" y="356"/>
                      <a:pt x="93" y="355"/>
                    </a:cubicBezTo>
                    <a:cubicBezTo>
                      <a:pt x="92" y="354"/>
                      <a:pt x="92" y="353"/>
                      <a:pt x="91" y="352"/>
                    </a:cubicBezTo>
                    <a:cubicBezTo>
                      <a:pt x="93" y="352"/>
                      <a:pt x="93" y="352"/>
                      <a:pt x="93" y="352"/>
                    </a:cubicBezTo>
                    <a:cubicBezTo>
                      <a:pt x="93" y="351"/>
                      <a:pt x="94" y="349"/>
                      <a:pt x="94" y="349"/>
                    </a:cubicBezTo>
                    <a:cubicBezTo>
                      <a:pt x="94" y="349"/>
                      <a:pt x="95" y="349"/>
                      <a:pt x="95" y="350"/>
                    </a:cubicBezTo>
                    <a:cubicBezTo>
                      <a:pt x="96" y="350"/>
                      <a:pt x="97" y="350"/>
                      <a:pt x="97" y="350"/>
                    </a:cubicBezTo>
                    <a:cubicBezTo>
                      <a:pt x="98" y="348"/>
                      <a:pt x="97" y="347"/>
                      <a:pt x="99" y="347"/>
                    </a:cubicBezTo>
                    <a:close/>
                    <a:moveTo>
                      <a:pt x="1245" y="386"/>
                    </a:moveTo>
                    <a:cubicBezTo>
                      <a:pt x="1245" y="387"/>
                      <a:pt x="1244" y="388"/>
                      <a:pt x="1243" y="389"/>
                    </a:cubicBezTo>
                    <a:cubicBezTo>
                      <a:pt x="1242" y="389"/>
                      <a:pt x="1240" y="390"/>
                      <a:pt x="1239" y="391"/>
                    </a:cubicBezTo>
                    <a:cubicBezTo>
                      <a:pt x="1239" y="392"/>
                      <a:pt x="1239" y="395"/>
                      <a:pt x="1239" y="397"/>
                    </a:cubicBezTo>
                    <a:cubicBezTo>
                      <a:pt x="1237" y="396"/>
                      <a:pt x="1240" y="399"/>
                      <a:pt x="1240" y="399"/>
                    </a:cubicBezTo>
                    <a:cubicBezTo>
                      <a:pt x="1242" y="396"/>
                      <a:pt x="1244" y="394"/>
                      <a:pt x="1247" y="391"/>
                    </a:cubicBezTo>
                    <a:cubicBezTo>
                      <a:pt x="1247" y="390"/>
                      <a:pt x="1247" y="388"/>
                      <a:pt x="1247" y="386"/>
                    </a:cubicBezTo>
                    <a:lnTo>
                      <a:pt x="1245" y="386"/>
                    </a:lnTo>
                    <a:close/>
                    <a:moveTo>
                      <a:pt x="75" y="403"/>
                    </a:moveTo>
                    <a:cubicBezTo>
                      <a:pt x="76" y="404"/>
                      <a:pt x="76" y="405"/>
                      <a:pt x="75" y="405"/>
                    </a:cubicBezTo>
                    <a:cubicBezTo>
                      <a:pt x="75" y="405"/>
                      <a:pt x="73" y="403"/>
                      <a:pt x="75" y="403"/>
                    </a:cubicBezTo>
                    <a:close/>
                    <a:moveTo>
                      <a:pt x="775" y="439"/>
                    </a:moveTo>
                    <a:cubicBezTo>
                      <a:pt x="776" y="439"/>
                      <a:pt x="776" y="439"/>
                      <a:pt x="776" y="439"/>
                    </a:cubicBezTo>
                    <a:cubicBezTo>
                      <a:pt x="776" y="439"/>
                      <a:pt x="777" y="441"/>
                      <a:pt x="777" y="441"/>
                    </a:cubicBezTo>
                    <a:cubicBezTo>
                      <a:pt x="777" y="443"/>
                      <a:pt x="775" y="443"/>
                      <a:pt x="775" y="444"/>
                    </a:cubicBezTo>
                    <a:cubicBezTo>
                      <a:pt x="775" y="445"/>
                      <a:pt x="775" y="453"/>
                      <a:pt x="775" y="453"/>
                    </a:cubicBezTo>
                    <a:cubicBezTo>
                      <a:pt x="775" y="454"/>
                      <a:pt x="777" y="455"/>
                      <a:pt x="776" y="457"/>
                    </a:cubicBezTo>
                    <a:cubicBezTo>
                      <a:pt x="776" y="458"/>
                      <a:pt x="774" y="460"/>
                      <a:pt x="773" y="460"/>
                    </a:cubicBezTo>
                    <a:cubicBezTo>
                      <a:pt x="773" y="461"/>
                      <a:pt x="773" y="463"/>
                      <a:pt x="772" y="465"/>
                    </a:cubicBezTo>
                    <a:cubicBezTo>
                      <a:pt x="771" y="464"/>
                      <a:pt x="771" y="463"/>
                      <a:pt x="770" y="463"/>
                    </a:cubicBezTo>
                    <a:cubicBezTo>
                      <a:pt x="770" y="463"/>
                      <a:pt x="769" y="464"/>
                      <a:pt x="768" y="464"/>
                    </a:cubicBezTo>
                    <a:cubicBezTo>
                      <a:pt x="768" y="465"/>
                      <a:pt x="768" y="465"/>
                      <a:pt x="768" y="466"/>
                    </a:cubicBezTo>
                    <a:cubicBezTo>
                      <a:pt x="768" y="466"/>
                      <a:pt x="764" y="469"/>
                      <a:pt x="767" y="469"/>
                    </a:cubicBezTo>
                    <a:cubicBezTo>
                      <a:pt x="767" y="469"/>
                      <a:pt x="769" y="468"/>
                      <a:pt x="769" y="468"/>
                    </a:cubicBezTo>
                    <a:cubicBezTo>
                      <a:pt x="769" y="468"/>
                      <a:pt x="769" y="470"/>
                      <a:pt x="769" y="470"/>
                    </a:cubicBezTo>
                    <a:cubicBezTo>
                      <a:pt x="768" y="471"/>
                      <a:pt x="766" y="471"/>
                      <a:pt x="765" y="472"/>
                    </a:cubicBezTo>
                    <a:cubicBezTo>
                      <a:pt x="765" y="472"/>
                      <a:pt x="764" y="476"/>
                      <a:pt x="763" y="477"/>
                    </a:cubicBezTo>
                    <a:cubicBezTo>
                      <a:pt x="762" y="477"/>
                      <a:pt x="759" y="476"/>
                      <a:pt x="758" y="477"/>
                    </a:cubicBezTo>
                    <a:cubicBezTo>
                      <a:pt x="758" y="477"/>
                      <a:pt x="758" y="479"/>
                      <a:pt x="758" y="479"/>
                    </a:cubicBezTo>
                    <a:cubicBezTo>
                      <a:pt x="758" y="480"/>
                      <a:pt x="753" y="484"/>
                      <a:pt x="753" y="484"/>
                    </a:cubicBezTo>
                    <a:cubicBezTo>
                      <a:pt x="751" y="484"/>
                      <a:pt x="751" y="483"/>
                      <a:pt x="749" y="483"/>
                    </a:cubicBezTo>
                    <a:cubicBezTo>
                      <a:pt x="747" y="485"/>
                      <a:pt x="745" y="487"/>
                      <a:pt x="744" y="489"/>
                    </a:cubicBezTo>
                    <a:cubicBezTo>
                      <a:pt x="743" y="490"/>
                      <a:pt x="744" y="492"/>
                      <a:pt x="743" y="493"/>
                    </a:cubicBezTo>
                    <a:cubicBezTo>
                      <a:pt x="741" y="493"/>
                      <a:pt x="741" y="493"/>
                      <a:pt x="741" y="493"/>
                    </a:cubicBezTo>
                    <a:cubicBezTo>
                      <a:pt x="741" y="493"/>
                      <a:pt x="740" y="495"/>
                      <a:pt x="740" y="495"/>
                    </a:cubicBezTo>
                    <a:cubicBezTo>
                      <a:pt x="738" y="498"/>
                      <a:pt x="734" y="501"/>
                      <a:pt x="728" y="500"/>
                    </a:cubicBezTo>
                    <a:cubicBezTo>
                      <a:pt x="727" y="500"/>
                      <a:pt x="724" y="498"/>
                      <a:pt x="723" y="497"/>
                    </a:cubicBezTo>
                    <a:cubicBezTo>
                      <a:pt x="723" y="496"/>
                      <a:pt x="723" y="496"/>
                      <a:pt x="723" y="496"/>
                    </a:cubicBezTo>
                    <a:cubicBezTo>
                      <a:pt x="731" y="495"/>
                      <a:pt x="733" y="493"/>
                      <a:pt x="737" y="488"/>
                    </a:cubicBezTo>
                    <a:cubicBezTo>
                      <a:pt x="738" y="487"/>
                      <a:pt x="739" y="486"/>
                      <a:pt x="740" y="485"/>
                    </a:cubicBezTo>
                    <a:cubicBezTo>
                      <a:pt x="742" y="482"/>
                      <a:pt x="742" y="479"/>
                      <a:pt x="744" y="478"/>
                    </a:cubicBezTo>
                    <a:cubicBezTo>
                      <a:pt x="746" y="477"/>
                      <a:pt x="748" y="477"/>
                      <a:pt x="749" y="475"/>
                    </a:cubicBezTo>
                    <a:cubicBezTo>
                      <a:pt x="750" y="474"/>
                      <a:pt x="750" y="473"/>
                      <a:pt x="751" y="472"/>
                    </a:cubicBezTo>
                    <a:cubicBezTo>
                      <a:pt x="752" y="471"/>
                      <a:pt x="754" y="471"/>
                      <a:pt x="755" y="470"/>
                    </a:cubicBezTo>
                    <a:cubicBezTo>
                      <a:pt x="757" y="468"/>
                      <a:pt x="758" y="466"/>
                      <a:pt x="759" y="464"/>
                    </a:cubicBezTo>
                    <a:cubicBezTo>
                      <a:pt x="760" y="463"/>
                      <a:pt x="763" y="462"/>
                      <a:pt x="763" y="461"/>
                    </a:cubicBezTo>
                    <a:cubicBezTo>
                      <a:pt x="764" y="459"/>
                      <a:pt x="764" y="457"/>
                      <a:pt x="765" y="456"/>
                    </a:cubicBezTo>
                    <a:cubicBezTo>
                      <a:pt x="765" y="455"/>
                      <a:pt x="767" y="455"/>
                      <a:pt x="767" y="454"/>
                    </a:cubicBezTo>
                    <a:cubicBezTo>
                      <a:pt x="768" y="453"/>
                      <a:pt x="767" y="451"/>
                      <a:pt x="768" y="449"/>
                    </a:cubicBezTo>
                    <a:cubicBezTo>
                      <a:pt x="768" y="449"/>
                      <a:pt x="770" y="448"/>
                      <a:pt x="770" y="448"/>
                    </a:cubicBezTo>
                    <a:cubicBezTo>
                      <a:pt x="772" y="446"/>
                      <a:pt x="771" y="444"/>
                      <a:pt x="772" y="441"/>
                    </a:cubicBezTo>
                    <a:cubicBezTo>
                      <a:pt x="772" y="441"/>
                      <a:pt x="774" y="439"/>
                      <a:pt x="775" y="439"/>
                    </a:cubicBezTo>
                    <a:close/>
                    <a:moveTo>
                      <a:pt x="1016" y="449"/>
                    </a:moveTo>
                    <a:cubicBezTo>
                      <a:pt x="1012" y="453"/>
                      <a:pt x="1013" y="454"/>
                      <a:pt x="1018" y="456"/>
                    </a:cubicBezTo>
                    <a:cubicBezTo>
                      <a:pt x="1019" y="455"/>
                      <a:pt x="1019" y="453"/>
                      <a:pt x="1021" y="452"/>
                    </a:cubicBezTo>
                    <a:cubicBezTo>
                      <a:pt x="1019" y="451"/>
                      <a:pt x="1018" y="450"/>
                      <a:pt x="1016" y="449"/>
                    </a:cubicBezTo>
                    <a:close/>
                    <a:moveTo>
                      <a:pt x="1063" y="459"/>
                    </a:moveTo>
                    <a:cubicBezTo>
                      <a:pt x="1062" y="460"/>
                      <a:pt x="1062" y="461"/>
                      <a:pt x="1062" y="463"/>
                    </a:cubicBezTo>
                    <a:cubicBezTo>
                      <a:pt x="1061" y="463"/>
                      <a:pt x="1060" y="462"/>
                      <a:pt x="1059" y="463"/>
                    </a:cubicBezTo>
                    <a:cubicBezTo>
                      <a:pt x="1060" y="467"/>
                      <a:pt x="1060" y="469"/>
                      <a:pt x="1061" y="474"/>
                    </a:cubicBezTo>
                    <a:cubicBezTo>
                      <a:pt x="1059" y="475"/>
                      <a:pt x="1058" y="476"/>
                      <a:pt x="1056" y="477"/>
                    </a:cubicBezTo>
                    <a:cubicBezTo>
                      <a:pt x="1056" y="477"/>
                      <a:pt x="1056" y="479"/>
                      <a:pt x="1056" y="480"/>
                    </a:cubicBezTo>
                    <a:cubicBezTo>
                      <a:pt x="1056" y="480"/>
                      <a:pt x="1054" y="481"/>
                      <a:pt x="1054" y="481"/>
                    </a:cubicBezTo>
                    <a:cubicBezTo>
                      <a:pt x="1053" y="484"/>
                      <a:pt x="1055" y="485"/>
                      <a:pt x="1055" y="487"/>
                    </a:cubicBezTo>
                    <a:cubicBezTo>
                      <a:pt x="1054" y="489"/>
                      <a:pt x="1053" y="490"/>
                      <a:pt x="1053" y="493"/>
                    </a:cubicBezTo>
                    <a:cubicBezTo>
                      <a:pt x="1053" y="494"/>
                      <a:pt x="1055" y="497"/>
                      <a:pt x="1055" y="498"/>
                    </a:cubicBezTo>
                    <a:cubicBezTo>
                      <a:pt x="1056" y="502"/>
                      <a:pt x="1055" y="503"/>
                      <a:pt x="1055" y="507"/>
                    </a:cubicBezTo>
                    <a:cubicBezTo>
                      <a:pt x="1055" y="507"/>
                      <a:pt x="1057" y="512"/>
                      <a:pt x="1057" y="512"/>
                    </a:cubicBezTo>
                    <a:cubicBezTo>
                      <a:pt x="1057" y="516"/>
                      <a:pt x="1055" y="521"/>
                      <a:pt x="1055" y="524"/>
                    </a:cubicBezTo>
                    <a:cubicBezTo>
                      <a:pt x="1055" y="526"/>
                      <a:pt x="1056" y="530"/>
                      <a:pt x="1056" y="531"/>
                    </a:cubicBezTo>
                    <a:cubicBezTo>
                      <a:pt x="1056" y="531"/>
                      <a:pt x="1055" y="532"/>
                      <a:pt x="1055" y="532"/>
                    </a:cubicBezTo>
                    <a:cubicBezTo>
                      <a:pt x="1055" y="535"/>
                      <a:pt x="1056" y="538"/>
                      <a:pt x="1057" y="540"/>
                    </a:cubicBezTo>
                    <a:cubicBezTo>
                      <a:pt x="1057" y="542"/>
                      <a:pt x="1057" y="546"/>
                      <a:pt x="1056" y="548"/>
                    </a:cubicBezTo>
                    <a:cubicBezTo>
                      <a:pt x="1055" y="550"/>
                      <a:pt x="1055" y="550"/>
                      <a:pt x="1055" y="550"/>
                    </a:cubicBezTo>
                    <a:cubicBezTo>
                      <a:pt x="1054" y="553"/>
                      <a:pt x="1055" y="554"/>
                      <a:pt x="1055" y="556"/>
                    </a:cubicBezTo>
                    <a:cubicBezTo>
                      <a:pt x="1054" y="558"/>
                      <a:pt x="1054" y="558"/>
                      <a:pt x="1054" y="558"/>
                    </a:cubicBezTo>
                    <a:cubicBezTo>
                      <a:pt x="1053" y="560"/>
                      <a:pt x="1053" y="563"/>
                      <a:pt x="1053" y="566"/>
                    </a:cubicBezTo>
                    <a:cubicBezTo>
                      <a:pt x="1053" y="566"/>
                      <a:pt x="1054" y="566"/>
                      <a:pt x="1055" y="566"/>
                    </a:cubicBezTo>
                    <a:cubicBezTo>
                      <a:pt x="1055" y="565"/>
                      <a:pt x="1055" y="565"/>
                      <a:pt x="1055" y="564"/>
                    </a:cubicBezTo>
                    <a:cubicBezTo>
                      <a:pt x="1056" y="562"/>
                      <a:pt x="1056" y="558"/>
                      <a:pt x="1058" y="558"/>
                    </a:cubicBezTo>
                    <a:cubicBezTo>
                      <a:pt x="1058" y="557"/>
                      <a:pt x="1059" y="558"/>
                      <a:pt x="1060" y="558"/>
                    </a:cubicBezTo>
                    <a:cubicBezTo>
                      <a:pt x="1060" y="559"/>
                      <a:pt x="1060" y="559"/>
                      <a:pt x="1061" y="560"/>
                    </a:cubicBezTo>
                    <a:cubicBezTo>
                      <a:pt x="1061" y="561"/>
                      <a:pt x="1062" y="561"/>
                      <a:pt x="1063" y="562"/>
                    </a:cubicBezTo>
                    <a:cubicBezTo>
                      <a:pt x="1063" y="562"/>
                      <a:pt x="1064" y="563"/>
                      <a:pt x="1064" y="563"/>
                    </a:cubicBezTo>
                    <a:cubicBezTo>
                      <a:pt x="1065" y="564"/>
                      <a:pt x="1064" y="565"/>
                      <a:pt x="1065" y="567"/>
                    </a:cubicBezTo>
                    <a:cubicBezTo>
                      <a:pt x="1067" y="566"/>
                      <a:pt x="1067" y="566"/>
                      <a:pt x="1067" y="566"/>
                    </a:cubicBezTo>
                    <a:cubicBezTo>
                      <a:pt x="1066" y="563"/>
                      <a:pt x="1067" y="559"/>
                      <a:pt x="1066" y="557"/>
                    </a:cubicBezTo>
                    <a:cubicBezTo>
                      <a:pt x="1063" y="556"/>
                      <a:pt x="1063" y="556"/>
                      <a:pt x="1063" y="556"/>
                    </a:cubicBezTo>
                    <a:cubicBezTo>
                      <a:pt x="1062" y="552"/>
                      <a:pt x="1060" y="549"/>
                      <a:pt x="1060" y="544"/>
                    </a:cubicBezTo>
                    <a:cubicBezTo>
                      <a:pt x="1060" y="540"/>
                      <a:pt x="1062" y="536"/>
                      <a:pt x="1063" y="532"/>
                    </a:cubicBezTo>
                    <a:cubicBezTo>
                      <a:pt x="1064" y="530"/>
                      <a:pt x="1063" y="528"/>
                      <a:pt x="1064" y="525"/>
                    </a:cubicBezTo>
                    <a:cubicBezTo>
                      <a:pt x="1067" y="516"/>
                      <a:pt x="1073" y="524"/>
                      <a:pt x="1076" y="527"/>
                    </a:cubicBezTo>
                    <a:cubicBezTo>
                      <a:pt x="1076" y="525"/>
                      <a:pt x="1076" y="523"/>
                      <a:pt x="1075" y="522"/>
                    </a:cubicBezTo>
                    <a:cubicBezTo>
                      <a:pt x="1074" y="522"/>
                      <a:pt x="1074" y="522"/>
                      <a:pt x="1074" y="522"/>
                    </a:cubicBezTo>
                    <a:cubicBezTo>
                      <a:pt x="1073" y="520"/>
                      <a:pt x="1074" y="519"/>
                      <a:pt x="1072" y="517"/>
                    </a:cubicBezTo>
                    <a:cubicBezTo>
                      <a:pt x="1072" y="517"/>
                      <a:pt x="1071" y="517"/>
                      <a:pt x="1070" y="517"/>
                    </a:cubicBezTo>
                    <a:cubicBezTo>
                      <a:pt x="1067" y="513"/>
                      <a:pt x="1067" y="513"/>
                      <a:pt x="1067" y="513"/>
                    </a:cubicBezTo>
                    <a:cubicBezTo>
                      <a:pt x="1066" y="510"/>
                      <a:pt x="1069" y="510"/>
                      <a:pt x="1069" y="508"/>
                    </a:cubicBezTo>
                    <a:cubicBezTo>
                      <a:pt x="1069" y="506"/>
                      <a:pt x="1067" y="501"/>
                      <a:pt x="1067" y="501"/>
                    </a:cubicBezTo>
                    <a:cubicBezTo>
                      <a:pt x="1066" y="498"/>
                      <a:pt x="1067" y="494"/>
                      <a:pt x="1068" y="491"/>
                    </a:cubicBezTo>
                    <a:cubicBezTo>
                      <a:pt x="1068" y="491"/>
                      <a:pt x="1065" y="491"/>
                      <a:pt x="1067" y="490"/>
                    </a:cubicBezTo>
                    <a:cubicBezTo>
                      <a:pt x="1067" y="490"/>
                      <a:pt x="1068" y="485"/>
                      <a:pt x="1069" y="485"/>
                    </a:cubicBezTo>
                    <a:cubicBezTo>
                      <a:pt x="1069" y="479"/>
                      <a:pt x="1065" y="478"/>
                      <a:pt x="1065" y="474"/>
                    </a:cubicBezTo>
                    <a:cubicBezTo>
                      <a:pt x="1064" y="469"/>
                      <a:pt x="1067" y="469"/>
                      <a:pt x="1066" y="464"/>
                    </a:cubicBezTo>
                    <a:cubicBezTo>
                      <a:pt x="1066" y="463"/>
                      <a:pt x="1064" y="461"/>
                      <a:pt x="1063" y="459"/>
                    </a:cubicBezTo>
                    <a:close/>
                    <a:moveTo>
                      <a:pt x="1176" y="505"/>
                    </a:moveTo>
                    <a:cubicBezTo>
                      <a:pt x="1175" y="505"/>
                      <a:pt x="1174" y="507"/>
                      <a:pt x="1174" y="507"/>
                    </a:cubicBezTo>
                    <a:cubicBezTo>
                      <a:pt x="1171" y="508"/>
                      <a:pt x="1169" y="507"/>
                      <a:pt x="1170" y="509"/>
                    </a:cubicBezTo>
                    <a:cubicBezTo>
                      <a:pt x="1171" y="510"/>
                      <a:pt x="1170" y="511"/>
                      <a:pt x="1172" y="510"/>
                    </a:cubicBezTo>
                    <a:cubicBezTo>
                      <a:pt x="1172" y="510"/>
                      <a:pt x="1180" y="504"/>
                      <a:pt x="1176" y="505"/>
                    </a:cubicBezTo>
                    <a:close/>
                    <a:moveTo>
                      <a:pt x="1164" y="518"/>
                    </a:moveTo>
                    <a:cubicBezTo>
                      <a:pt x="1164" y="520"/>
                      <a:pt x="1164" y="520"/>
                      <a:pt x="1164" y="520"/>
                    </a:cubicBezTo>
                    <a:cubicBezTo>
                      <a:pt x="1164" y="520"/>
                      <a:pt x="1164" y="521"/>
                      <a:pt x="1165" y="521"/>
                    </a:cubicBezTo>
                    <a:cubicBezTo>
                      <a:pt x="1165" y="521"/>
                      <a:pt x="1167" y="517"/>
                      <a:pt x="1164" y="518"/>
                    </a:cubicBezTo>
                    <a:close/>
                    <a:moveTo>
                      <a:pt x="1158" y="528"/>
                    </a:moveTo>
                    <a:cubicBezTo>
                      <a:pt x="1159" y="529"/>
                      <a:pt x="1159" y="529"/>
                      <a:pt x="1159" y="529"/>
                    </a:cubicBezTo>
                    <a:cubicBezTo>
                      <a:pt x="1159" y="528"/>
                      <a:pt x="1159" y="528"/>
                      <a:pt x="1158" y="528"/>
                    </a:cubicBezTo>
                    <a:close/>
                    <a:moveTo>
                      <a:pt x="1140" y="550"/>
                    </a:moveTo>
                    <a:cubicBezTo>
                      <a:pt x="1139" y="551"/>
                      <a:pt x="1138" y="553"/>
                      <a:pt x="1138" y="554"/>
                    </a:cubicBezTo>
                    <a:cubicBezTo>
                      <a:pt x="1132" y="562"/>
                      <a:pt x="1141" y="552"/>
                      <a:pt x="1141" y="552"/>
                    </a:cubicBezTo>
                    <a:cubicBezTo>
                      <a:pt x="1141" y="552"/>
                      <a:pt x="1141" y="551"/>
                      <a:pt x="1141" y="550"/>
                    </a:cubicBezTo>
                    <a:lnTo>
                      <a:pt x="1140" y="550"/>
                    </a:lnTo>
                    <a:close/>
                    <a:moveTo>
                      <a:pt x="1125" y="562"/>
                    </a:moveTo>
                    <a:cubicBezTo>
                      <a:pt x="1124" y="562"/>
                      <a:pt x="1122" y="564"/>
                      <a:pt x="1121" y="565"/>
                    </a:cubicBezTo>
                    <a:cubicBezTo>
                      <a:pt x="1120" y="565"/>
                      <a:pt x="1120" y="565"/>
                      <a:pt x="1120" y="565"/>
                    </a:cubicBezTo>
                    <a:cubicBezTo>
                      <a:pt x="1120" y="566"/>
                      <a:pt x="1121" y="567"/>
                      <a:pt x="1120" y="568"/>
                    </a:cubicBezTo>
                    <a:cubicBezTo>
                      <a:pt x="1120" y="568"/>
                      <a:pt x="1117" y="572"/>
                      <a:pt x="1120" y="571"/>
                    </a:cubicBezTo>
                    <a:cubicBezTo>
                      <a:pt x="1122" y="570"/>
                      <a:pt x="1125" y="566"/>
                      <a:pt x="1126" y="564"/>
                    </a:cubicBezTo>
                    <a:cubicBezTo>
                      <a:pt x="1126" y="563"/>
                      <a:pt x="1126" y="561"/>
                      <a:pt x="1125" y="562"/>
                    </a:cubicBezTo>
                    <a:close/>
                    <a:moveTo>
                      <a:pt x="1111" y="570"/>
                    </a:moveTo>
                    <a:cubicBezTo>
                      <a:pt x="1110" y="572"/>
                      <a:pt x="1110" y="574"/>
                      <a:pt x="1109" y="576"/>
                    </a:cubicBezTo>
                    <a:cubicBezTo>
                      <a:pt x="1109" y="577"/>
                      <a:pt x="1107" y="577"/>
                      <a:pt x="1107" y="577"/>
                    </a:cubicBezTo>
                    <a:cubicBezTo>
                      <a:pt x="1106" y="576"/>
                      <a:pt x="1107" y="576"/>
                      <a:pt x="1105" y="575"/>
                    </a:cubicBezTo>
                    <a:cubicBezTo>
                      <a:pt x="1104" y="575"/>
                      <a:pt x="1104" y="577"/>
                      <a:pt x="1104" y="578"/>
                    </a:cubicBezTo>
                    <a:cubicBezTo>
                      <a:pt x="1103" y="578"/>
                      <a:pt x="1101" y="577"/>
                      <a:pt x="1101" y="578"/>
                    </a:cubicBezTo>
                    <a:cubicBezTo>
                      <a:pt x="1101" y="580"/>
                      <a:pt x="1101" y="580"/>
                      <a:pt x="1101" y="580"/>
                    </a:cubicBezTo>
                    <a:cubicBezTo>
                      <a:pt x="1100" y="581"/>
                      <a:pt x="1098" y="582"/>
                      <a:pt x="1097" y="583"/>
                    </a:cubicBezTo>
                    <a:cubicBezTo>
                      <a:pt x="1096" y="584"/>
                      <a:pt x="1098" y="584"/>
                      <a:pt x="1098" y="584"/>
                    </a:cubicBezTo>
                    <a:cubicBezTo>
                      <a:pt x="1099" y="584"/>
                      <a:pt x="1100" y="582"/>
                      <a:pt x="1101" y="582"/>
                    </a:cubicBezTo>
                    <a:cubicBezTo>
                      <a:pt x="1102" y="581"/>
                      <a:pt x="1104" y="581"/>
                      <a:pt x="1105" y="580"/>
                    </a:cubicBezTo>
                    <a:cubicBezTo>
                      <a:pt x="1106" y="580"/>
                      <a:pt x="1106" y="579"/>
                      <a:pt x="1106" y="578"/>
                    </a:cubicBezTo>
                    <a:cubicBezTo>
                      <a:pt x="1108" y="577"/>
                      <a:pt x="1110" y="578"/>
                      <a:pt x="1111" y="577"/>
                    </a:cubicBezTo>
                    <a:cubicBezTo>
                      <a:pt x="1113" y="575"/>
                      <a:pt x="1112" y="573"/>
                      <a:pt x="1112" y="570"/>
                    </a:cubicBezTo>
                    <a:lnTo>
                      <a:pt x="1111" y="570"/>
                    </a:lnTo>
                    <a:close/>
                    <a:moveTo>
                      <a:pt x="1090" y="586"/>
                    </a:moveTo>
                    <a:cubicBezTo>
                      <a:pt x="1089" y="588"/>
                      <a:pt x="1088" y="589"/>
                      <a:pt x="1087" y="590"/>
                    </a:cubicBezTo>
                    <a:cubicBezTo>
                      <a:pt x="1087" y="590"/>
                      <a:pt x="1084" y="597"/>
                      <a:pt x="1086" y="595"/>
                    </a:cubicBezTo>
                    <a:cubicBezTo>
                      <a:pt x="1088" y="594"/>
                      <a:pt x="1087" y="592"/>
                      <a:pt x="1088" y="591"/>
                    </a:cubicBezTo>
                    <a:cubicBezTo>
                      <a:pt x="1089" y="590"/>
                      <a:pt x="1091" y="589"/>
                      <a:pt x="1092" y="588"/>
                    </a:cubicBezTo>
                    <a:cubicBezTo>
                      <a:pt x="1093" y="588"/>
                      <a:pt x="1093" y="588"/>
                      <a:pt x="1093" y="588"/>
                    </a:cubicBezTo>
                    <a:cubicBezTo>
                      <a:pt x="1093" y="586"/>
                      <a:pt x="1093" y="586"/>
                      <a:pt x="1093" y="586"/>
                    </a:cubicBezTo>
                    <a:cubicBezTo>
                      <a:pt x="1092" y="586"/>
                      <a:pt x="1091" y="586"/>
                      <a:pt x="1090" y="586"/>
                    </a:cubicBezTo>
                    <a:close/>
                    <a:moveTo>
                      <a:pt x="1094" y="594"/>
                    </a:moveTo>
                    <a:cubicBezTo>
                      <a:pt x="1094" y="594"/>
                      <a:pt x="1095" y="596"/>
                      <a:pt x="1095" y="596"/>
                    </a:cubicBezTo>
                    <a:cubicBezTo>
                      <a:pt x="1096" y="596"/>
                      <a:pt x="1096" y="595"/>
                      <a:pt x="1096" y="595"/>
                    </a:cubicBezTo>
                    <a:cubicBezTo>
                      <a:pt x="1098" y="594"/>
                      <a:pt x="1096" y="594"/>
                      <a:pt x="1094" y="594"/>
                    </a:cubicBezTo>
                    <a:close/>
                    <a:moveTo>
                      <a:pt x="256" y="229"/>
                    </a:moveTo>
                    <a:cubicBezTo>
                      <a:pt x="255" y="230"/>
                      <a:pt x="253" y="230"/>
                      <a:pt x="253" y="231"/>
                    </a:cubicBezTo>
                    <a:cubicBezTo>
                      <a:pt x="253" y="232"/>
                      <a:pt x="253" y="233"/>
                      <a:pt x="253" y="234"/>
                    </a:cubicBezTo>
                    <a:cubicBezTo>
                      <a:pt x="251" y="234"/>
                      <a:pt x="253" y="236"/>
                      <a:pt x="253" y="236"/>
                    </a:cubicBezTo>
                    <a:cubicBezTo>
                      <a:pt x="253" y="237"/>
                      <a:pt x="253" y="238"/>
                      <a:pt x="253" y="239"/>
                    </a:cubicBezTo>
                    <a:cubicBezTo>
                      <a:pt x="253" y="239"/>
                      <a:pt x="255" y="239"/>
                      <a:pt x="256" y="240"/>
                    </a:cubicBezTo>
                    <a:cubicBezTo>
                      <a:pt x="257" y="240"/>
                      <a:pt x="257" y="241"/>
                      <a:pt x="259" y="241"/>
                    </a:cubicBezTo>
                    <a:cubicBezTo>
                      <a:pt x="260" y="240"/>
                      <a:pt x="265" y="233"/>
                      <a:pt x="262" y="231"/>
                    </a:cubicBezTo>
                    <a:cubicBezTo>
                      <a:pt x="261" y="230"/>
                      <a:pt x="257" y="230"/>
                      <a:pt x="256" y="229"/>
                    </a:cubicBezTo>
                    <a:close/>
                    <a:moveTo>
                      <a:pt x="167" y="302"/>
                    </a:moveTo>
                    <a:cubicBezTo>
                      <a:pt x="168" y="302"/>
                      <a:pt x="167" y="304"/>
                      <a:pt x="167" y="304"/>
                    </a:cubicBezTo>
                    <a:cubicBezTo>
                      <a:pt x="165" y="305"/>
                      <a:pt x="166" y="303"/>
                      <a:pt x="167" y="302"/>
                    </a:cubicBezTo>
                    <a:close/>
                    <a:moveTo>
                      <a:pt x="128" y="319"/>
                    </a:moveTo>
                    <a:cubicBezTo>
                      <a:pt x="130" y="319"/>
                      <a:pt x="132" y="321"/>
                      <a:pt x="134" y="322"/>
                    </a:cubicBezTo>
                    <a:cubicBezTo>
                      <a:pt x="135" y="323"/>
                      <a:pt x="135" y="323"/>
                      <a:pt x="136" y="324"/>
                    </a:cubicBezTo>
                    <a:cubicBezTo>
                      <a:pt x="139" y="323"/>
                      <a:pt x="137" y="326"/>
                      <a:pt x="137" y="326"/>
                    </a:cubicBezTo>
                    <a:cubicBezTo>
                      <a:pt x="131" y="326"/>
                      <a:pt x="131" y="326"/>
                      <a:pt x="131" y="326"/>
                    </a:cubicBezTo>
                    <a:cubicBezTo>
                      <a:pt x="130" y="324"/>
                      <a:pt x="130" y="323"/>
                      <a:pt x="129" y="322"/>
                    </a:cubicBezTo>
                    <a:cubicBezTo>
                      <a:pt x="129" y="322"/>
                      <a:pt x="126" y="319"/>
                      <a:pt x="128" y="319"/>
                    </a:cubicBezTo>
                    <a:close/>
                    <a:moveTo>
                      <a:pt x="155" y="366"/>
                    </a:moveTo>
                    <a:cubicBezTo>
                      <a:pt x="159" y="366"/>
                      <a:pt x="160" y="371"/>
                      <a:pt x="154" y="370"/>
                    </a:cubicBezTo>
                    <a:cubicBezTo>
                      <a:pt x="151" y="369"/>
                      <a:pt x="151" y="365"/>
                      <a:pt x="155" y="366"/>
                    </a:cubicBezTo>
                    <a:close/>
                    <a:moveTo>
                      <a:pt x="158" y="382"/>
                    </a:moveTo>
                    <a:cubicBezTo>
                      <a:pt x="158" y="382"/>
                      <a:pt x="162" y="388"/>
                      <a:pt x="159" y="387"/>
                    </a:cubicBezTo>
                    <a:cubicBezTo>
                      <a:pt x="158" y="387"/>
                      <a:pt x="158" y="385"/>
                      <a:pt x="157" y="385"/>
                    </a:cubicBezTo>
                    <a:cubicBezTo>
                      <a:pt x="156" y="384"/>
                      <a:pt x="155" y="385"/>
                      <a:pt x="154" y="386"/>
                    </a:cubicBezTo>
                    <a:cubicBezTo>
                      <a:pt x="154" y="384"/>
                      <a:pt x="154" y="384"/>
                      <a:pt x="154" y="384"/>
                    </a:cubicBezTo>
                    <a:cubicBezTo>
                      <a:pt x="155" y="384"/>
                      <a:pt x="156" y="385"/>
                      <a:pt x="157" y="384"/>
                    </a:cubicBezTo>
                    <a:cubicBezTo>
                      <a:pt x="157" y="384"/>
                      <a:pt x="157" y="383"/>
                      <a:pt x="158" y="382"/>
                    </a:cubicBezTo>
                    <a:close/>
                    <a:moveTo>
                      <a:pt x="161" y="387"/>
                    </a:moveTo>
                    <a:cubicBezTo>
                      <a:pt x="164" y="390"/>
                      <a:pt x="164" y="390"/>
                      <a:pt x="169" y="391"/>
                    </a:cubicBezTo>
                    <a:cubicBezTo>
                      <a:pt x="168" y="393"/>
                      <a:pt x="168" y="393"/>
                      <a:pt x="167" y="393"/>
                    </a:cubicBezTo>
                    <a:cubicBezTo>
                      <a:pt x="167" y="395"/>
                      <a:pt x="168" y="396"/>
                      <a:pt x="168" y="397"/>
                    </a:cubicBezTo>
                    <a:cubicBezTo>
                      <a:pt x="168" y="398"/>
                      <a:pt x="166" y="396"/>
                      <a:pt x="165" y="397"/>
                    </a:cubicBezTo>
                    <a:cubicBezTo>
                      <a:pt x="165" y="397"/>
                      <a:pt x="165" y="399"/>
                      <a:pt x="165" y="399"/>
                    </a:cubicBezTo>
                    <a:cubicBezTo>
                      <a:pt x="164" y="399"/>
                      <a:pt x="162" y="400"/>
                      <a:pt x="162" y="400"/>
                    </a:cubicBezTo>
                    <a:cubicBezTo>
                      <a:pt x="160" y="400"/>
                      <a:pt x="156" y="396"/>
                      <a:pt x="155" y="395"/>
                    </a:cubicBezTo>
                    <a:cubicBezTo>
                      <a:pt x="154" y="394"/>
                      <a:pt x="154" y="392"/>
                      <a:pt x="153" y="391"/>
                    </a:cubicBezTo>
                    <a:cubicBezTo>
                      <a:pt x="148" y="387"/>
                      <a:pt x="157" y="392"/>
                      <a:pt x="157" y="392"/>
                    </a:cubicBezTo>
                    <a:cubicBezTo>
                      <a:pt x="157" y="392"/>
                      <a:pt x="158" y="391"/>
                      <a:pt x="160" y="391"/>
                    </a:cubicBezTo>
                    <a:cubicBezTo>
                      <a:pt x="160" y="390"/>
                      <a:pt x="160" y="388"/>
                      <a:pt x="161" y="387"/>
                    </a:cubicBezTo>
                    <a:close/>
                    <a:moveTo>
                      <a:pt x="754" y="473"/>
                    </a:moveTo>
                    <a:cubicBezTo>
                      <a:pt x="753" y="473"/>
                      <a:pt x="753" y="474"/>
                      <a:pt x="755" y="474"/>
                    </a:cubicBezTo>
                    <a:cubicBezTo>
                      <a:pt x="755" y="474"/>
                      <a:pt x="756" y="472"/>
                      <a:pt x="754" y="473"/>
                    </a:cubicBezTo>
                    <a:close/>
                    <a:moveTo>
                      <a:pt x="1126" y="199"/>
                    </a:moveTo>
                    <a:cubicBezTo>
                      <a:pt x="1126" y="199"/>
                      <a:pt x="1125" y="202"/>
                      <a:pt x="1126" y="201"/>
                    </a:cubicBezTo>
                    <a:cubicBezTo>
                      <a:pt x="1127" y="201"/>
                      <a:pt x="1127" y="198"/>
                      <a:pt x="1126" y="199"/>
                    </a:cubicBezTo>
                    <a:close/>
                    <a:moveTo>
                      <a:pt x="1129" y="199"/>
                    </a:moveTo>
                    <a:cubicBezTo>
                      <a:pt x="1129" y="199"/>
                      <a:pt x="1129" y="201"/>
                      <a:pt x="1128" y="201"/>
                    </a:cubicBezTo>
                    <a:cubicBezTo>
                      <a:pt x="1127" y="203"/>
                      <a:pt x="1125" y="204"/>
                      <a:pt x="1123" y="205"/>
                    </a:cubicBezTo>
                    <a:cubicBezTo>
                      <a:pt x="1118" y="209"/>
                      <a:pt x="1118" y="211"/>
                      <a:pt x="1118" y="211"/>
                    </a:cubicBezTo>
                    <a:cubicBezTo>
                      <a:pt x="1117" y="212"/>
                      <a:pt x="1120" y="212"/>
                      <a:pt x="1120" y="212"/>
                    </a:cubicBezTo>
                    <a:cubicBezTo>
                      <a:pt x="1121" y="212"/>
                      <a:pt x="1128" y="204"/>
                      <a:pt x="1130" y="203"/>
                    </a:cubicBezTo>
                    <a:cubicBezTo>
                      <a:pt x="1130" y="203"/>
                      <a:pt x="1131" y="198"/>
                      <a:pt x="1129" y="199"/>
                    </a:cubicBezTo>
                    <a:close/>
                    <a:moveTo>
                      <a:pt x="1136" y="202"/>
                    </a:moveTo>
                    <a:cubicBezTo>
                      <a:pt x="1135" y="205"/>
                      <a:pt x="1134" y="208"/>
                      <a:pt x="1133" y="211"/>
                    </a:cubicBezTo>
                    <a:cubicBezTo>
                      <a:pt x="1135" y="211"/>
                      <a:pt x="1140" y="212"/>
                      <a:pt x="1144" y="211"/>
                    </a:cubicBezTo>
                    <a:cubicBezTo>
                      <a:pt x="1145" y="211"/>
                      <a:pt x="1146" y="208"/>
                      <a:pt x="1144" y="209"/>
                    </a:cubicBezTo>
                    <a:cubicBezTo>
                      <a:pt x="1141" y="203"/>
                      <a:pt x="1142" y="205"/>
                      <a:pt x="1136" y="202"/>
                    </a:cubicBezTo>
                    <a:close/>
                    <a:moveTo>
                      <a:pt x="1130" y="205"/>
                    </a:moveTo>
                    <a:cubicBezTo>
                      <a:pt x="1130" y="205"/>
                      <a:pt x="1129" y="206"/>
                      <a:pt x="1128" y="207"/>
                    </a:cubicBezTo>
                    <a:cubicBezTo>
                      <a:pt x="1127" y="209"/>
                      <a:pt x="1127" y="209"/>
                      <a:pt x="1127" y="209"/>
                    </a:cubicBezTo>
                    <a:cubicBezTo>
                      <a:pt x="1129" y="209"/>
                      <a:pt x="1131" y="209"/>
                      <a:pt x="1132" y="209"/>
                    </a:cubicBezTo>
                    <a:cubicBezTo>
                      <a:pt x="1131" y="208"/>
                      <a:pt x="1132" y="205"/>
                      <a:pt x="1132" y="205"/>
                    </a:cubicBezTo>
                    <a:cubicBezTo>
                      <a:pt x="1132" y="205"/>
                      <a:pt x="1131" y="205"/>
                      <a:pt x="1130" y="205"/>
                    </a:cubicBezTo>
                    <a:close/>
                    <a:moveTo>
                      <a:pt x="1126" y="209"/>
                    </a:moveTo>
                    <a:cubicBezTo>
                      <a:pt x="1125" y="210"/>
                      <a:pt x="1123" y="212"/>
                      <a:pt x="1126" y="211"/>
                    </a:cubicBezTo>
                    <a:cubicBezTo>
                      <a:pt x="1126" y="211"/>
                      <a:pt x="1127" y="209"/>
                      <a:pt x="1126" y="209"/>
                    </a:cubicBezTo>
                    <a:close/>
                    <a:moveTo>
                      <a:pt x="1217" y="227"/>
                    </a:moveTo>
                    <a:cubicBezTo>
                      <a:pt x="1218" y="228"/>
                      <a:pt x="1218" y="228"/>
                      <a:pt x="1218" y="228"/>
                    </a:cubicBezTo>
                    <a:cubicBezTo>
                      <a:pt x="1218" y="227"/>
                      <a:pt x="1219" y="227"/>
                      <a:pt x="1217" y="227"/>
                    </a:cubicBezTo>
                    <a:close/>
                    <a:moveTo>
                      <a:pt x="1219" y="232"/>
                    </a:moveTo>
                    <a:cubicBezTo>
                      <a:pt x="1219" y="232"/>
                      <a:pt x="1219" y="234"/>
                      <a:pt x="1219" y="234"/>
                    </a:cubicBezTo>
                    <a:cubicBezTo>
                      <a:pt x="1221" y="235"/>
                      <a:pt x="1220" y="232"/>
                      <a:pt x="1219" y="232"/>
                    </a:cubicBezTo>
                    <a:close/>
                    <a:moveTo>
                      <a:pt x="803" y="151"/>
                    </a:moveTo>
                    <a:cubicBezTo>
                      <a:pt x="803" y="152"/>
                      <a:pt x="803" y="152"/>
                      <a:pt x="803" y="152"/>
                    </a:cubicBezTo>
                    <a:cubicBezTo>
                      <a:pt x="802" y="152"/>
                      <a:pt x="800" y="152"/>
                      <a:pt x="799" y="152"/>
                    </a:cubicBezTo>
                    <a:cubicBezTo>
                      <a:pt x="799" y="154"/>
                      <a:pt x="799" y="154"/>
                      <a:pt x="799" y="154"/>
                    </a:cubicBezTo>
                    <a:cubicBezTo>
                      <a:pt x="799" y="154"/>
                      <a:pt x="798" y="155"/>
                      <a:pt x="798" y="157"/>
                    </a:cubicBezTo>
                    <a:cubicBezTo>
                      <a:pt x="799" y="157"/>
                      <a:pt x="801" y="157"/>
                      <a:pt x="802" y="157"/>
                    </a:cubicBezTo>
                    <a:cubicBezTo>
                      <a:pt x="803" y="157"/>
                      <a:pt x="803" y="155"/>
                      <a:pt x="804" y="155"/>
                    </a:cubicBezTo>
                    <a:cubicBezTo>
                      <a:pt x="804" y="154"/>
                      <a:pt x="804" y="153"/>
                      <a:pt x="804" y="153"/>
                    </a:cubicBezTo>
                    <a:cubicBezTo>
                      <a:pt x="804" y="153"/>
                      <a:pt x="806" y="151"/>
                      <a:pt x="803" y="151"/>
                    </a:cubicBezTo>
                    <a:close/>
                    <a:moveTo>
                      <a:pt x="785" y="166"/>
                    </a:moveTo>
                    <a:cubicBezTo>
                      <a:pt x="785" y="166"/>
                      <a:pt x="784" y="168"/>
                      <a:pt x="784" y="168"/>
                    </a:cubicBezTo>
                    <a:cubicBezTo>
                      <a:pt x="783" y="169"/>
                      <a:pt x="784" y="166"/>
                      <a:pt x="785" y="166"/>
                    </a:cubicBezTo>
                    <a:close/>
                    <a:moveTo>
                      <a:pt x="925" y="169"/>
                    </a:moveTo>
                    <a:cubicBezTo>
                      <a:pt x="925" y="172"/>
                      <a:pt x="925" y="172"/>
                      <a:pt x="925" y="172"/>
                    </a:cubicBezTo>
                    <a:cubicBezTo>
                      <a:pt x="926" y="172"/>
                      <a:pt x="927" y="172"/>
                      <a:pt x="928" y="172"/>
                    </a:cubicBezTo>
                    <a:cubicBezTo>
                      <a:pt x="927" y="169"/>
                      <a:pt x="927" y="169"/>
                      <a:pt x="927" y="169"/>
                    </a:cubicBezTo>
                    <a:cubicBezTo>
                      <a:pt x="927" y="169"/>
                      <a:pt x="925" y="170"/>
                      <a:pt x="925" y="169"/>
                    </a:cubicBezTo>
                    <a:close/>
                    <a:moveTo>
                      <a:pt x="808" y="173"/>
                    </a:moveTo>
                    <a:cubicBezTo>
                      <a:pt x="808" y="173"/>
                      <a:pt x="810" y="174"/>
                      <a:pt x="810" y="174"/>
                    </a:cubicBezTo>
                    <a:cubicBezTo>
                      <a:pt x="810" y="175"/>
                      <a:pt x="810" y="176"/>
                      <a:pt x="811" y="177"/>
                    </a:cubicBezTo>
                    <a:cubicBezTo>
                      <a:pt x="809" y="179"/>
                      <a:pt x="807" y="182"/>
                      <a:pt x="805" y="184"/>
                    </a:cubicBezTo>
                    <a:cubicBezTo>
                      <a:pt x="804" y="184"/>
                      <a:pt x="806" y="185"/>
                      <a:pt x="805" y="186"/>
                    </a:cubicBezTo>
                    <a:cubicBezTo>
                      <a:pt x="804" y="186"/>
                      <a:pt x="804" y="186"/>
                      <a:pt x="804" y="186"/>
                    </a:cubicBezTo>
                    <a:cubicBezTo>
                      <a:pt x="804" y="186"/>
                      <a:pt x="804" y="183"/>
                      <a:pt x="803" y="183"/>
                    </a:cubicBezTo>
                    <a:cubicBezTo>
                      <a:pt x="803" y="183"/>
                      <a:pt x="805" y="181"/>
                      <a:pt x="805" y="181"/>
                    </a:cubicBezTo>
                    <a:cubicBezTo>
                      <a:pt x="807" y="176"/>
                      <a:pt x="801" y="178"/>
                      <a:pt x="808" y="175"/>
                    </a:cubicBezTo>
                    <a:cubicBezTo>
                      <a:pt x="808" y="174"/>
                      <a:pt x="807" y="174"/>
                      <a:pt x="808" y="173"/>
                    </a:cubicBezTo>
                    <a:close/>
                    <a:moveTo>
                      <a:pt x="918" y="173"/>
                    </a:moveTo>
                    <a:cubicBezTo>
                      <a:pt x="918" y="173"/>
                      <a:pt x="916" y="176"/>
                      <a:pt x="918" y="175"/>
                    </a:cubicBezTo>
                    <a:cubicBezTo>
                      <a:pt x="919" y="175"/>
                      <a:pt x="921" y="172"/>
                      <a:pt x="918" y="173"/>
                    </a:cubicBezTo>
                    <a:close/>
                    <a:moveTo>
                      <a:pt x="921" y="173"/>
                    </a:moveTo>
                    <a:cubicBezTo>
                      <a:pt x="920" y="173"/>
                      <a:pt x="922" y="174"/>
                      <a:pt x="922" y="174"/>
                    </a:cubicBezTo>
                    <a:cubicBezTo>
                      <a:pt x="921" y="174"/>
                      <a:pt x="923" y="172"/>
                      <a:pt x="921" y="173"/>
                    </a:cubicBezTo>
                    <a:close/>
                    <a:moveTo>
                      <a:pt x="929" y="173"/>
                    </a:moveTo>
                    <a:cubicBezTo>
                      <a:pt x="928" y="174"/>
                      <a:pt x="926" y="176"/>
                      <a:pt x="929" y="175"/>
                    </a:cubicBezTo>
                    <a:cubicBezTo>
                      <a:pt x="929" y="175"/>
                      <a:pt x="931" y="173"/>
                      <a:pt x="929" y="173"/>
                    </a:cubicBezTo>
                    <a:close/>
                    <a:moveTo>
                      <a:pt x="895" y="174"/>
                    </a:moveTo>
                    <a:cubicBezTo>
                      <a:pt x="894" y="176"/>
                      <a:pt x="894" y="176"/>
                      <a:pt x="894" y="176"/>
                    </a:cubicBezTo>
                    <a:cubicBezTo>
                      <a:pt x="898" y="176"/>
                      <a:pt x="897" y="174"/>
                      <a:pt x="895" y="174"/>
                    </a:cubicBezTo>
                    <a:close/>
                    <a:moveTo>
                      <a:pt x="931" y="175"/>
                    </a:moveTo>
                    <a:cubicBezTo>
                      <a:pt x="930" y="175"/>
                      <a:pt x="931" y="176"/>
                      <a:pt x="932" y="176"/>
                    </a:cubicBezTo>
                    <a:cubicBezTo>
                      <a:pt x="935" y="176"/>
                      <a:pt x="936" y="174"/>
                      <a:pt x="931" y="175"/>
                    </a:cubicBezTo>
                    <a:close/>
                    <a:moveTo>
                      <a:pt x="912" y="175"/>
                    </a:moveTo>
                    <a:cubicBezTo>
                      <a:pt x="912" y="177"/>
                      <a:pt x="910" y="181"/>
                      <a:pt x="912" y="181"/>
                    </a:cubicBezTo>
                    <a:cubicBezTo>
                      <a:pt x="912" y="181"/>
                      <a:pt x="913" y="179"/>
                      <a:pt x="913" y="179"/>
                    </a:cubicBezTo>
                    <a:cubicBezTo>
                      <a:pt x="914" y="179"/>
                      <a:pt x="915" y="179"/>
                      <a:pt x="916" y="179"/>
                    </a:cubicBezTo>
                    <a:cubicBezTo>
                      <a:pt x="915" y="178"/>
                      <a:pt x="915" y="177"/>
                      <a:pt x="914" y="175"/>
                    </a:cubicBezTo>
                    <a:cubicBezTo>
                      <a:pt x="914" y="175"/>
                      <a:pt x="912" y="176"/>
                      <a:pt x="912" y="175"/>
                    </a:cubicBezTo>
                    <a:close/>
                    <a:moveTo>
                      <a:pt x="938" y="176"/>
                    </a:moveTo>
                    <a:cubicBezTo>
                      <a:pt x="938" y="176"/>
                      <a:pt x="936" y="177"/>
                      <a:pt x="936" y="177"/>
                    </a:cubicBezTo>
                    <a:cubicBezTo>
                      <a:pt x="936" y="178"/>
                      <a:pt x="936" y="178"/>
                      <a:pt x="936" y="178"/>
                    </a:cubicBezTo>
                    <a:cubicBezTo>
                      <a:pt x="938" y="179"/>
                      <a:pt x="939" y="179"/>
                      <a:pt x="942" y="179"/>
                    </a:cubicBezTo>
                    <a:cubicBezTo>
                      <a:pt x="942" y="179"/>
                      <a:pt x="942" y="178"/>
                      <a:pt x="942" y="177"/>
                    </a:cubicBezTo>
                    <a:cubicBezTo>
                      <a:pt x="943" y="178"/>
                      <a:pt x="943" y="177"/>
                      <a:pt x="943" y="176"/>
                    </a:cubicBezTo>
                    <a:cubicBezTo>
                      <a:pt x="941" y="176"/>
                      <a:pt x="938" y="176"/>
                      <a:pt x="938" y="176"/>
                    </a:cubicBezTo>
                    <a:close/>
                    <a:moveTo>
                      <a:pt x="926" y="178"/>
                    </a:moveTo>
                    <a:cubicBezTo>
                      <a:pt x="926" y="178"/>
                      <a:pt x="920" y="185"/>
                      <a:pt x="925" y="183"/>
                    </a:cubicBezTo>
                    <a:cubicBezTo>
                      <a:pt x="925" y="181"/>
                      <a:pt x="925" y="181"/>
                      <a:pt x="925" y="181"/>
                    </a:cubicBezTo>
                    <a:cubicBezTo>
                      <a:pt x="927" y="180"/>
                      <a:pt x="930" y="176"/>
                      <a:pt x="926" y="178"/>
                    </a:cubicBezTo>
                    <a:close/>
                    <a:moveTo>
                      <a:pt x="889" y="179"/>
                    </a:moveTo>
                    <a:cubicBezTo>
                      <a:pt x="891" y="180"/>
                      <a:pt x="891" y="180"/>
                      <a:pt x="891" y="180"/>
                    </a:cubicBezTo>
                    <a:cubicBezTo>
                      <a:pt x="893" y="180"/>
                      <a:pt x="892" y="179"/>
                      <a:pt x="893" y="179"/>
                    </a:cubicBezTo>
                    <a:cubicBezTo>
                      <a:pt x="892" y="179"/>
                      <a:pt x="890" y="179"/>
                      <a:pt x="889" y="179"/>
                    </a:cubicBezTo>
                    <a:close/>
                    <a:moveTo>
                      <a:pt x="919" y="181"/>
                    </a:moveTo>
                    <a:cubicBezTo>
                      <a:pt x="919" y="182"/>
                      <a:pt x="918" y="183"/>
                      <a:pt x="918" y="183"/>
                    </a:cubicBezTo>
                    <a:cubicBezTo>
                      <a:pt x="919" y="184"/>
                      <a:pt x="919" y="185"/>
                      <a:pt x="920" y="185"/>
                    </a:cubicBezTo>
                    <a:cubicBezTo>
                      <a:pt x="923" y="186"/>
                      <a:pt x="919" y="181"/>
                      <a:pt x="919" y="181"/>
                    </a:cubicBezTo>
                    <a:close/>
                    <a:moveTo>
                      <a:pt x="933" y="181"/>
                    </a:moveTo>
                    <a:cubicBezTo>
                      <a:pt x="934" y="183"/>
                      <a:pt x="934" y="183"/>
                      <a:pt x="934" y="183"/>
                    </a:cubicBezTo>
                    <a:cubicBezTo>
                      <a:pt x="934" y="183"/>
                      <a:pt x="935" y="181"/>
                      <a:pt x="933" y="181"/>
                    </a:cubicBezTo>
                    <a:close/>
                    <a:moveTo>
                      <a:pt x="939" y="182"/>
                    </a:moveTo>
                    <a:cubicBezTo>
                      <a:pt x="939" y="184"/>
                      <a:pt x="938" y="185"/>
                      <a:pt x="939" y="186"/>
                    </a:cubicBezTo>
                    <a:cubicBezTo>
                      <a:pt x="940" y="187"/>
                      <a:pt x="940" y="187"/>
                      <a:pt x="940" y="187"/>
                    </a:cubicBezTo>
                    <a:cubicBezTo>
                      <a:pt x="943" y="187"/>
                      <a:pt x="943" y="187"/>
                      <a:pt x="943" y="187"/>
                    </a:cubicBezTo>
                    <a:cubicBezTo>
                      <a:pt x="943" y="187"/>
                      <a:pt x="943" y="185"/>
                      <a:pt x="943" y="185"/>
                    </a:cubicBezTo>
                    <a:cubicBezTo>
                      <a:pt x="942" y="184"/>
                      <a:pt x="941" y="183"/>
                      <a:pt x="941" y="182"/>
                    </a:cubicBezTo>
                    <a:cubicBezTo>
                      <a:pt x="940" y="182"/>
                      <a:pt x="939" y="182"/>
                      <a:pt x="939" y="182"/>
                    </a:cubicBezTo>
                    <a:close/>
                    <a:moveTo>
                      <a:pt x="931" y="183"/>
                    </a:moveTo>
                    <a:cubicBezTo>
                      <a:pt x="930" y="185"/>
                      <a:pt x="929" y="186"/>
                      <a:pt x="928" y="187"/>
                    </a:cubicBezTo>
                    <a:cubicBezTo>
                      <a:pt x="936" y="189"/>
                      <a:pt x="940" y="188"/>
                      <a:pt x="931" y="183"/>
                    </a:cubicBezTo>
                    <a:close/>
                    <a:moveTo>
                      <a:pt x="922" y="186"/>
                    </a:moveTo>
                    <a:cubicBezTo>
                      <a:pt x="921" y="186"/>
                      <a:pt x="920" y="189"/>
                      <a:pt x="920" y="189"/>
                    </a:cubicBezTo>
                    <a:cubicBezTo>
                      <a:pt x="921" y="189"/>
                      <a:pt x="921" y="190"/>
                      <a:pt x="922" y="191"/>
                    </a:cubicBezTo>
                    <a:cubicBezTo>
                      <a:pt x="922" y="190"/>
                      <a:pt x="923" y="190"/>
                      <a:pt x="924" y="190"/>
                    </a:cubicBezTo>
                    <a:cubicBezTo>
                      <a:pt x="924" y="189"/>
                      <a:pt x="924" y="189"/>
                      <a:pt x="924" y="189"/>
                    </a:cubicBezTo>
                    <a:cubicBezTo>
                      <a:pt x="923" y="188"/>
                      <a:pt x="922" y="186"/>
                      <a:pt x="922" y="186"/>
                    </a:cubicBezTo>
                    <a:close/>
                    <a:moveTo>
                      <a:pt x="932" y="189"/>
                    </a:moveTo>
                    <a:cubicBezTo>
                      <a:pt x="933" y="191"/>
                      <a:pt x="933" y="191"/>
                      <a:pt x="933" y="191"/>
                    </a:cubicBezTo>
                    <a:cubicBezTo>
                      <a:pt x="934" y="191"/>
                      <a:pt x="936" y="191"/>
                      <a:pt x="936" y="191"/>
                    </a:cubicBezTo>
                    <a:cubicBezTo>
                      <a:pt x="936" y="189"/>
                      <a:pt x="936" y="189"/>
                      <a:pt x="936" y="189"/>
                    </a:cubicBezTo>
                    <a:cubicBezTo>
                      <a:pt x="935" y="189"/>
                      <a:pt x="933" y="190"/>
                      <a:pt x="932" y="189"/>
                    </a:cubicBezTo>
                    <a:close/>
                    <a:moveTo>
                      <a:pt x="938" y="191"/>
                    </a:moveTo>
                    <a:cubicBezTo>
                      <a:pt x="938" y="191"/>
                      <a:pt x="935" y="194"/>
                      <a:pt x="938" y="193"/>
                    </a:cubicBezTo>
                    <a:cubicBezTo>
                      <a:pt x="938" y="193"/>
                      <a:pt x="940" y="190"/>
                      <a:pt x="938" y="191"/>
                    </a:cubicBezTo>
                    <a:close/>
                    <a:moveTo>
                      <a:pt x="619" y="28"/>
                    </a:moveTo>
                    <a:cubicBezTo>
                      <a:pt x="618" y="29"/>
                      <a:pt x="618" y="29"/>
                      <a:pt x="618" y="29"/>
                    </a:cubicBezTo>
                    <a:cubicBezTo>
                      <a:pt x="613" y="31"/>
                      <a:pt x="616" y="33"/>
                      <a:pt x="620" y="33"/>
                    </a:cubicBezTo>
                    <a:cubicBezTo>
                      <a:pt x="622" y="33"/>
                      <a:pt x="624" y="31"/>
                      <a:pt x="626" y="30"/>
                    </a:cubicBezTo>
                    <a:cubicBezTo>
                      <a:pt x="626" y="30"/>
                      <a:pt x="624" y="30"/>
                      <a:pt x="625" y="29"/>
                    </a:cubicBezTo>
                    <a:cubicBezTo>
                      <a:pt x="624" y="29"/>
                      <a:pt x="622" y="29"/>
                      <a:pt x="621" y="29"/>
                    </a:cubicBezTo>
                    <a:cubicBezTo>
                      <a:pt x="620" y="29"/>
                      <a:pt x="620" y="28"/>
                      <a:pt x="619" y="28"/>
                    </a:cubicBezTo>
                    <a:close/>
                    <a:moveTo>
                      <a:pt x="626" y="52"/>
                    </a:moveTo>
                    <a:cubicBezTo>
                      <a:pt x="625" y="53"/>
                      <a:pt x="627" y="55"/>
                      <a:pt x="626" y="56"/>
                    </a:cubicBezTo>
                    <a:cubicBezTo>
                      <a:pt x="626" y="56"/>
                      <a:pt x="624" y="57"/>
                      <a:pt x="624" y="57"/>
                    </a:cubicBezTo>
                    <a:cubicBezTo>
                      <a:pt x="624" y="59"/>
                      <a:pt x="624" y="60"/>
                      <a:pt x="625" y="61"/>
                    </a:cubicBezTo>
                    <a:cubicBezTo>
                      <a:pt x="626" y="62"/>
                      <a:pt x="626" y="62"/>
                      <a:pt x="626" y="62"/>
                    </a:cubicBezTo>
                    <a:cubicBezTo>
                      <a:pt x="626" y="63"/>
                      <a:pt x="625" y="62"/>
                      <a:pt x="625" y="64"/>
                    </a:cubicBezTo>
                    <a:cubicBezTo>
                      <a:pt x="628" y="64"/>
                      <a:pt x="638" y="64"/>
                      <a:pt x="642" y="62"/>
                    </a:cubicBezTo>
                    <a:cubicBezTo>
                      <a:pt x="648" y="59"/>
                      <a:pt x="637" y="56"/>
                      <a:pt x="635" y="55"/>
                    </a:cubicBezTo>
                    <a:cubicBezTo>
                      <a:pt x="634" y="55"/>
                      <a:pt x="634" y="53"/>
                      <a:pt x="633" y="52"/>
                    </a:cubicBezTo>
                    <a:cubicBezTo>
                      <a:pt x="632" y="52"/>
                      <a:pt x="627" y="52"/>
                      <a:pt x="626" y="52"/>
                    </a:cubicBezTo>
                    <a:close/>
                    <a:moveTo>
                      <a:pt x="668" y="113"/>
                    </a:moveTo>
                    <a:cubicBezTo>
                      <a:pt x="668" y="113"/>
                      <a:pt x="668" y="114"/>
                      <a:pt x="668" y="114"/>
                    </a:cubicBezTo>
                    <a:cubicBezTo>
                      <a:pt x="666" y="114"/>
                      <a:pt x="665" y="114"/>
                      <a:pt x="664" y="114"/>
                    </a:cubicBezTo>
                    <a:cubicBezTo>
                      <a:pt x="664" y="114"/>
                      <a:pt x="661" y="114"/>
                      <a:pt x="660" y="114"/>
                    </a:cubicBezTo>
                    <a:cubicBezTo>
                      <a:pt x="659" y="116"/>
                      <a:pt x="659" y="116"/>
                      <a:pt x="659" y="116"/>
                    </a:cubicBezTo>
                    <a:cubicBezTo>
                      <a:pt x="661" y="116"/>
                      <a:pt x="664" y="119"/>
                      <a:pt x="668" y="118"/>
                    </a:cubicBezTo>
                    <a:cubicBezTo>
                      <a:pt x="668" y="118"/>
                      <a:pt x="675" y="113"/>
                      <a:pt x="668" y="113"/>
                    </a:cubicBezTo>
                    <a:close/>
                    <a:moveTo>
                      <a:pt x="636" y="119"/>
                    </a:moveTo>
                    <a:cubicBezTo>
                      <a:pt x="636" y="121"/>
                      <a:pt x="636" y="121"/>
                      <a:pt x="636" y="121"/>
                    </a:cubicBezTo>
                    <a:cubicBezTo>
                      <a:pt x="639" y="121"/>
                      <a:pt x="639" y="119"/>
                      <a:pt x="636" y="119"/>
                    </a:cubicBezTo>
                    <a:close/>
                    <a:moveTo>
                      <a:pt x="575" y="165"/>
                    </a:moveTo>
                    <a:cubicBezTo>
                      <a:pt x="578" y="164"/>
                      <a:pt x="577" y="166"/>
                      <a:pt x="577" y="166"/>
                    </a:cubicBezTo>
                    <a:cubicBezTo>
                      <a:pt x="576" y="166"/>
                      <a:pt x="575" y="166"/>
                      <a:pt x="575" y="166"/>
                    </a:cubicBezTo>
                    <a:cubicBezTo>
                      <a:pt x="574" y="167"/>
                      <a:pt x="574" y="168"/>
                      <a:pt x="573" y="169"/>
                    </a:cubicBezTo>
                    <a:cubicBezTo>
                      <a:pt x="571" y="170"/>
                      <a:pt x="574" y="165"/>
                      <a:pt x="575" y="165"/>
                    </a:cubicBezTo>
                    <a:close/>
                    <a:moveTo>
                      <a:pt x="724" y="184"/>
                    </a:moveTo>
                    <a:cubicBezTo>
                      <a:pt x="727" y="184"/>
                      <a:pt x="733" y="186"/>
                      <a:pt x="726" y="187"/>
                    </a:cubicBezTo>
                    <a:cubicBezTo>
                      <a:pt x="723" y="187"/>
                      <a:pt x="721" y="184"/>
                      <a:pt x="724" y="184"/>
                    </a:cubicBezTo>
                    <a:close/>
                    <a:moveTo>
                      <a:pt x="712" y="192"/>
                    </a:moveTo>
                    <a:cubicBezTo>
                      <a:pt x="712" y="192"/>
                      <a:pt x="713" y="193"/>
                      <a:pt x="713" y="194"/>
                    </a:cubicBezTo>
                    <a:cubicBezTo>
                      <a:pt x="711" y="194"/>
                      <a:pt x="710" y="192"/>
                      <a:pt x="712" y="192"/>
                    </a:cubicBezTo>
                    <a:close/>
                    <a:moveTo>
                      <a:pt x="442" y="160"/>
                    </a:moveTo>
                    <a:cubicBezTo>
                      <a:pt x="442" y="161"/>
                      <a:pt x="440" y="161"/>
                      <a:pt x="440" y="161"/>
                    </a:cubicBezTo>
                    <a:cubicBezTo>
                      <a:pt x="440" y="163"/>
                      <a:pt x="441" y="164"/>
                      <a:pt x="440" y="165"/>
                    </a:cubicBezTo>
                    <a:cubicBezTo>
                      <a:pt x="440" y="166"/>
                      <a:pt x="438" y="167"/>
                      <a:pt x="438" y="167"/>
                    </a:cubicBezTo>
                    <a:cubicBezTo>
                      <a:pt x="438" y="167"/>
                      <a:pt x="439" y="168"/>
                      <a:pt x="438" y="169"/>
                    </a:cubicBezTo>
                    <a:cubicBezTo>
                      <a:pt x="439" y="169"/>
                      <a:pt x="442" y="169"/>
                      <a:pt x="441" y="169"/>
                    </a:cubicBezTo>
                    <a:cubicBezTo>
                      <a:pt x="447" y="167"/>
                      <a:pt x="446" y="168"/>
                      <a:pt x="446" y="161"/>
                    </a:cubicBezTo>
                    <a:cubicBezTo>
                      <a:pt x="445" y="161"/>
                      <a:pt x="444" y="161"/>
                      <a:pt x="442" y="160"/>
                    </a:cubicBezTo>
                    <a:close/>
                    <a:moveTo>
                      <a:pt x="515" y="166"/>
                    </a:moveTo>
                    <a:cubicBezTo>
                      <a:pt x="514" y="167"/>
                      <a:pt x="513" y="168"/>
                      <a:pt x="512" y="169"/>
                    </a:cubicBezTo>
                    <a:cubicBezTo>
                      <a:pt x="512" y="170"/>
                      <a:pt x="511" y="171"/>
                      <a:pt x="512" y="171"/>
                    </a:cubicBezTo>
                    <a:cubicBezTo>
                      <a:pt x="512" y="172"/>
                      <a:pt x="513" y="172"/>
                      <a:pt x="514" y="173"/>
                    </a:cubicBezTo>
                    <a:cubicBezTo>
                      <a:pt x="514" y="173"/>
                      <a:pt x="515" y="174"/>
                      <a:pt x="515" y="174"/>
                    </a:cubicBezTo>
                    <a:cubicBezTo>
                      <a:pt x="516" y="174"/>
                      <a:pt x="517" y="174"/>
                      <a:pt x="518" y="174"/>
                    </a:cubicBezTo>
                    <a:cubicBezTo>
                      <a:pt x="519" y="172"/>
                      <a:pt x="520" y="169"/>
                      <a:pt x="518" y="167"/>
                    </a:cubicBezTo>
                    <a:cubicBezTo>
                      <a:pt x="518" y="166"/>
                      <a:pt x="516" y="167"/>
                      <a:pt x="515" y="166"/>
                    </a:cubicBezTo>
                    <a:close/>
                    <a:moveTo>
                      <a:pt x="470" y="171"/>
                    </a:moveTo>
                    <a:cubicBezTo>
                      <a:pt x="470" y="172"/>
                      <a:pt x="470" y="174"/>
                      <a:pt x="471" y="174"/>
                    </a:cubicBezTo>
                    <a:cubicBezTo>
                      <a:pt x="472" y="174"/>
                      <a:pt x="471" y="174"/>
                      <a:pt x="472" y="173"/>
                    </a:cubicBezTo>
                    <a:cubicBezTo>
                      <a:pt x="473" y="173"/>
                      <a:pt x="472" y="171"/>
                      <a:pt x="472" y="171"/>
                    </a:cubicBezTo>
                    <a:cubicBezTo>
                      <a:pt x="471" y="171"/>
                      <a:pt x="470" y="172"/>
                      <a:pt x="470" y="171"/>
                    </a:cubicBezTo>
                    <a:close/>
                    <a:moveTo>
                      <a:pt x="506" y="177"/>
                    </a:moveTo>
                    <a:cubicBezTo>
                      <a:pt x="505" y="178"/>
                      <a:pt x="503" y="181"/>
                      <a:pt x="502" y="181"/>
                    </a:cubicBezTo>
                    <a:cubicBezTo>
                      <a:pt x="501" y="182"/>
                      <a:pt x="501" y="181"/>
                      <a:pt x="500" y="182"/>
                    </a:cubicBezTo>
                    <a:cubicBezTo>
                      <a:pt x="500" y="183"/>
                      <a:pt x="501" y="184"/>
                      <a:pt x="500" y="185"/>
                    </a:cubicBezTo>
                    <a:cubicBezTo>
                      <a:pt x="502" y="185"/>
                      <a:pt x="502" y="185"/>
                      <a:pt x="502" y="185"/>
                    </a:cubicBezTo>
                    <a:cubicBezTo>
                      <a:pt x="503" y="185"/>
                      <a:pt x="504" y="183"/>
                      <a:pt x="505" y="183"/>
                    </a:cubicBezTo>
                    <a:cubicBezTo>
                      <a:pt x="507" y="182"/>
                      <a:pt x="508" y="183"/>
                      <a:pt x="509" y="183"/>
                    </a:cubicBezTo>
                    <a:cubicBezTo>
                      <a:pt x="510" y="182"/>
                      <a:pt x="511" y="181"/>
                      <a:pt x="512" y="181"/>
                    </a:cubicBezTo>
                    <a:cubicBezTo>
                      <a:pt x="512" y="180"/>
                      <a:pt x="512" y="179"/>
                      <a:pt x="512" y="179"/>
                    </a:cubicBezTo>
                    <a:cubicBezTo>
                      <a:pt x="510" y="178"/>
                      <a:pt x="508" y="177"/>
                      <a:pt x="506" y="177"/>
                    </a:cubicBezTo>
                    <a:close/>
                    <a:moveTo>
                      <a:pt x="505" y="211"/>
                    </a:moveTo>
                    <a:cubicBezTo>
                      <a:pt x="506" y="212"/>
                      <a:pt x="506" y="212"/>
                      <a:pt x="506" y="212"/>
                    </a:cubicBezTo>
                    <a:cubicBezTo>
                      <a:pt x="509" y="213"/>
                      <a:pt x="508" y="213"/>
                      <a:pt x="505" y="214"/>
                    </a:cubicBezTo>
                    <a:cubicBezTo>
                      <a:pt x="505" y="214"/>
                      <a:pt x="503" y="210"/>
                      <a:pt x="505" y="211"/>
                    </a:cubicBezTo>
                    <a:close/>
                    <a:moveTo>
                      <a:pt x="321" y="211"/>
                    </a:moveTo>
                    <a:cubicBezTo>
                      <a:pt x="322" y="212"/>
                      <a:pt x="322" y="213"/>
                      <a:pt x="322" y="213"/>
                    </a:cubicBezTo>
                    <a:cubicBezTo>
                      <a:pt x="323" y="214"/>
                      <a:pt x="325" y="214"/>
                      <a:pt x="324" y="213"/>
                    </a:cubicBezTo>
                    <a:cubicBezTo>
                      <a:pt x="323" y="212"/>
                      <a:pt x="322" y="212"/>
                      <a:pt x="321" y="211"/>
                    </a:cubicBezTo>
                    <a:close/>
                    <a:moveTo>
                      <a:pt x="338" y="216"/>
                    </a:moveTo>
                    <a:cubicBezTo>
                      <a:pt x="338" y="216"/>
                      <a:pt x="338" y="219"/>
                      <a:pt x="338" y="219"/>
                    </a:cubicBezTo>
                    <a:cubicBezTo>
                      <a:pt x="338" y="219"/>
                      <a:pt x="337" y="219"/>
                      <a:pt x="337" y="219"/>
                    </a:cubicBezTo>
                    <a:cubicBezTo>
                      <a:pt x="337" y="219"/>
                      <a:pt x="337" y="222"/>
                      <a:pt x="337" y="221"/>
                    </a:cubicBezTo>
                    <a:cubicBezTo>
                      <a:pt x="338" y="222"/>
                      <a:pt x="337" y="223"/>
                      <a:pt x="337" y="223"/>
                    </a:cubicBezTo>
                    <a:cubicBezTo>
                      <a:pt x="338" y="224"/>
                      <a:pt x="339" y="225"/>
                      <a:pt x="339" y="225"/>
                    </a:cubicBezTo>
                    <a:cubicBezTo>
                      <a:pt x="340" y="226"/>
                      <a:pt x="343" y="224"/>
                      <a:pt x="345" y="225"/>
                    </a:cubicBezTo>
                    <a:cubicBezTo>
                      <a:pt x="345" y="225"/>
                      <a:pt x="347" y="229"/>
                      <a:pt x="347" y="229"/>
                    </a:cubicBezTo>
                    <a:cubicBezTo>
                      <a:pt x="348" y="229"/>
                      <a:pt x="350" y="229"/>
                      <a:pt x="351" y="229"/>
                    </a:cubicBezTo>
                    <a:cubicBezTo>
                      <a:pt x="351" y="229"/>
                      <a:pt x="353" y="230"/>
                      <a:pt x="354" y="229"/>
                    </a:cubicBezTo>
                    <a:cubicBezTo>
                      <a:pt x="354" y="229"/>
                      <a:pt x="355" y="228"/>
                      <a:pt x="355" y="228"/>
                    </a:cubicBezTo>
                    <a:cubicBezTo>
                      <a:pt x="354" y="225"/>
                      <a:pt x="353" y="224"/>
                      <a:pt x="349" y="222"/>
                    </a:cubicBezTo>
                    <a:cubicBezTo>
                      <a:pt x="348" y="221"/>
                      <a:pt x="346" y="221"/>
                      <a:pt x="345" y="220"/>
                    </a:cubicBezTo>
                    <a:cubicBezTo>
                      <a:pt x="344" y="219"/>
                      <a:pt x="342" y="216"/>
                      <a:pt x="341" y="216"/>
                    </a:cubicBezTo>
                    <a:cubicBezTo>
                      <a:pt x="340" y="216"/>
                      <a:pt x="339" y="216"/>
                      <a:pt x="338" y="216"/>
                    </a:cubicBezTo>
                    <a:close/>
                    <a:moveTo>
                      <a:pt x="0" y="456"/>
                    </a:moveTo>
                    <a:cubicBezTo>
                      <a:pt x="0" y="456"/>
                      <a:pt x="3" y="459"/>
                      <a:pt x="10" y="461"/>
                    </a:cubicBezTo>
                    <a:cubicBezTo>
                      <a:pt x="16" y="463"/>
                      <a:pt x="18" y="462"/>
                      <a:pt x="21" y="462"/>
                    </a:cubicBezTo>
                    <a:cubicBezTo>
                      <a:pt x="25" y="462"/>
                      <a:pt x="26" y="463"/>
                      <a:pt x="26" y="463"/>
                    </a:cubicBezTo>
                    <a:cubicBezTo>
                      <a:pt x="30" y="461"/>
                      <a:pt x="30" y="461"/>
                      <a:pt x="30" y="461"/>
                    </a:cubicBezTo>
                    <a:cubicBezTo>
                      <a:pt x="28" y="453"/>
                      <a:pt x="28" y="453"/>
                      <a:pt x="28" y="453"/>
                    </a:cubicBezTo>
                    <a:cubicBezTo>
                      <a:pt x="28" y="453"/>
                      <a:pt x="20" y="453"/>
                      <a:pt x="18" y="451"/>
                    </a:cubicBezTo>
                    <a:cubicBezTo>
                      <a:pt x="16" y="449"/>
                      <a:pt x="11" y="443"/>
                      <a:pt x="11" y="443"/>
                    </a:cubicBezTo>
                    <a:cubicBezTo>
                      <a:pt x="10" y="444"/>
                      <a:pt x="9" y="445"/>
                      <a:pt x="8" y="445"/>
                    </a:cubicBezTo>
                    <a:cubicBezTo>
                      <a:pt x="8" y="445"/>
                      <a:pt x="10" y="440"/>
                      <a:pt x="8" y="441"/>
                    </a:cubicBezTo>
                    <a:cubicBezTo>
                      <a:pt x="8" y="441"/>
                      <a:pt x="6" y="442"/>
                      <a:pt x="8" y="442"/>
                    </a:cubicBezTo>
                    <a:cubicBezTo>
                      <a:pt x="7" y="443"/>
                      <a:pt x="6" y="443"/>
                      <a:pt x="5" y="444"/>
                    </a:cubicBezTo>
                    <a:cubicBezTo>
                      <a:pt x="4" y="444"/>
                      <a:pt x="4" y="444"/>
                      <a:pt x="4" y="444"/>
                    </a:cubicBezTo>
                    <a:cubicBezTo>
                      <a:pt x="3" y="445"/>
                      <a:pt x="3" y="447"/>
                      <a:pt x="2" y="449"/>
                    </a:cubicBezTo>
                    <a:cubicBezTo>
                      <a:pt x="3" y="449"/>
                      <a:pt x="4" y="448"/>
                      <a:pt x="4" y="449"/>
                    </a:cubicBezTo>
                    <a:cubicBezTo>
                      <a:pt x="4" y="449"/>
                      <a:pt x="3" y="450"/>
                      <a:pt x="2" y="450"/>
                    </a:cubicBezTo>
                    <a:cubicBezTo>
                      <a:pt x="2" y="451"/>
                      <a:pt x="3" y="452"/>
                      <a:pt x="2" y="453"/>
                    </a:cubicBezTo>
                    <a:cubicBezTo>
                      <a:pt x="2" y="453"/>
                      <a:pt x="1" y="454"/>
                      <a:pt x="0" y="454"/>
                    </a:cubicBezTo>
                    <a:cubicBezTo>
                      <a:pt x="0" y="455"/>
                      <a:pt x="0" y="455"/>
                      <a:pt x="0" y="456"/>
                    </a:cubicBezTo>
                    <a:close/>
                    <a:moveTo>
                      <a:pt x="354" y="46"/>
                    </a:moveTo>
                    <a:cubicBezTo>
                      <a:pt x="356" y="47"/>
                      <a:pt x="358" y="49"/>
                      <a:pt x="360" y="48"/>
                    </a:cubicBezTo>
                    <a:cubicBezTo>
                      <a:pt x="362" y="47"/>
                      <a:pt x="360" y="41"/>
                      <a:pt x="359" y="40"/>
                    </a:cubicBezTo>
                    <a:cubicBezTo>
                      <a:pt x="361" y="40"/>
                      <a:pt x="363" y="41"/>
                      <a:pt x="365" y="40"/>
                    </a:cubicBezTo>
                    <a:cubicBezTo>
                      <a:pt x="366" y="39"/>
                      <a:pt x="366" y="39"/>
                      <a:pt x="366" y="39"/>
                    </a:cubicBezTo>
                    <a:cubicBezTo>
                      <a:pt x="367" y="39"/>
                      <a:pt x="368" y="39"/>
                      <a:pt x="369" y="40"/>
                    </a:cubicBezTo>
                    <a:cubicBezTo>
                      <a:pt x="369" y="39"/>
                      <a:pt x="369" y="38"/>
                      <a:pt x="369" y="37"/>
                    </a:cubicBezTo>
                    <a:cubicBezTo>
                      <a:pt x="369" y="36"/>
                      <a:pt x="367" y="34"/>
                      <a:pt x="366" y="33"/>
                    </a:cubicBezTo>
                    <a:cubicBezTo>
                      <a:pt x="365" y="33"/>
                      <a:pt x="364" y="34"/>
                      <a:pt x="363" y="34"/>
                    </a:cubicBezTo>
                    <a:cubicBezTo>
                      <a:pt x="361" y="32"/>
                      <a:pt x="366" y="31"/>
                      <a:pt x="359" y="31"/>
                    </a:cubicBezTo>
                    <a:cubicBezTo>
                      <a:pt x="357" y="32"/>
                      <a:pt x="357" y="32"/>
                      <a:pt x="357" y="32"/>
                    </a:cubicBezTo>
                    <a:cubicBezTo>
                      <a:pt x="355" y="32"/>
                      <a:pt x="355" y="31"/>
                      <a:pt x="353" y="31"/>
                    </a:cubicBezTo>
                    <a:cubicBezTo>
                      <a:pt x="353" y="32"/>
                      <a:pt x="352" y="35"/>
                      <a:pt x="351" y="36"/>
                    </a:cubicBezTo>
                    <a:cubicBezTo>
                      <a:pt x="350" y="38"/>
                      <a:pt x="347" y="38"/>
                      <a:pt x="347" y="41"/>
                    </a:cubicBezTo>
                    <a:cubicBezTo>
                      <a:pt x="346" y="46"/>
                      <a:pt x="348" y="48"/>
                      <a:pt x="353" y="47"/>
                    </a:cubicBezTo>
                    <a:lnTo>
                      <a:pt x="354" y="46"/>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12" name="Freeform 91">
                <a:extLst>
                  <a:ext uri="{FF2B5EF4-FFF2-40B4-BE49-F238E27FC236}">
                    <a16:creationId xmlns:a16="http://schemas.microsoft.com/office/drawing/2014/main" id="{C10A5517-F85B-9718-6C58-1EB75A19433B}"/>
                  </a:ext>
                </a:extLst>
              </p:cNvPr>
              <p:cNvSpPr>
                <a:spLocks noEditPoints="1"/>
              </p:cNvSpPr>
              <p:nvPr/>
            </p:nvSpPr>
            <p:spPr bwMode="auto">
              <a:xfrm>
                <a:off x="3449" y="129"/>
                <a:ext cx="2879" cy="1229"/>
              </a:xfrm>
              <a:custGeom>
                <a:avLst/>
                <a:gdLst>
                  <a:gd name="T0" fmla="*/ 1394 w 1468"/>
                  <a:gd name="T1" fmla="*/ 299 h 626"/>
                  <a:gd name="T2" fmla="*/ 1455 w 1468"/>
                  <a:gd name="T3" fmla="*/ 286 h 626"/>
                  <a:gd name="T4" fmla="*/ 1302 w 1468"/>
                  <a:gd name="T5" fmla="*/ 219 h 626"/>
                  <a:gd name="T6" fmla="*/ 1197 w 1468"/>
                  <a:gd name="T7" fmla="*/ 210 h 626"/>
                  <a:gd name="T8" fmla="*/ 1084 w 1468"/>
                  <a:gd name="T9" fmla="*/ 187 h 626"/>
                  <a:gd name="T10" fmla="*/ 983 w 1468"/>
                  <a:gd name="T11" fmla="*/ 201 h 626"/>
                  <a:gd name="T12" fmla="*/ 904 w 1468"/>
                  <a:gd name="T13" fmla="*/ 185 h 626"/>
                  <a:gd name="T14" fmla="*/ 850 w 1468"/>
                  <a:gd name="T15" fmla="*/ 162 h 626"/>
                  <a:gd name="T16" fmla="*/ 765 w 1468"/>
                  <a:gd name="T17" fmla="*/ 170 h 626"/>
                  <a:gd name="T18" fmla="*/ 719 w 1468"/>
                  <a:gd name="T19" fmla="*/ 94 h 626"/>
                  <a:gd name="T20" fmla="*/ 615 w 1468"/>
                  <a:gd name="T21" fmla="*/ 127 h 626"/>
                  <a:gd name="T22" fmla="*/ 553 w 1468"/>
                  <a:gd name="T23" fmla="*/ 196 h 626"/>
                  <a:gd name="T24" fmla="*/ 496 w 1468"/>
                  <a:gd name="T25" fmla="*/ 204 h 626"/>
                  <a:gd name="T26" fmla="*/ 507 w 1468"/>
                  <a:gd name="T27" fmla="*/ 251 h 626"/>
                  <a:gd name="T28" fmla="*/ 450 w 1468"/>
                  <a:gd name="T29" fmla="*/ 276 h 626"/>
                  <a:gd name="T30" fmla="*/ 417 w 1468"/>
                  <a:gd name="T31" fmla="*/ 233 h 626"/>
                  <a:gd name="T32" fmla="*/ 329 w 1468"/>
                  <a:gd name="T33" fmla="*/ 247 h 626"/>
                  <a:gd name="T34" fmla="*/ 223 w 1468"/>
                  <a:gd name="T35" fmla="*/ 269 h 626"/>
                  <a:gd name="T36" fmla="*/ 157 w 1468"/>
                  <a:gd name="T37" fmla="*/ 297 h 626"/>
                  <a:gd name="T38" fmla="*/ 130 w 1468"/>
                  <a:gd name="T39" fmla="*/ 276 h 626"/>
                  <a:gd name="T40" fmla="*/ 104 w 1468"/>
                  <a:gd name="T41" fmla="*/ 222 h 626"/>
                  <a:gd name="T42" fmla="*/ 83 w 1468"/>
                  <a:gd name="T43" fmla="*/ 377 h 626"/>
                  <a:gd name="T44" fmla="*/ 151 w 1468"/>
                  <a:gd name="T45" fmla="*/ 505 h 626"/>
                  <a:gd name="T46" fmla="*/ 178 w 1468"/>
                  <a:gd name="T47" fmla="*/ 592 h 626"/>
                  <a:gd name="T48" fmla="*/ 250 w 1468"/>
                  <a:gd name="T49" fmla="*/ 562 h 626"/>
                  <a:gd name="T50" fmla="*/ 325 w 1468"/>
                  <a:gd name="T51" fmla="*/ 500 h 626"/>
                  <a:gd name="T52" fmla="*/ 453 w 1468"/>
                  <a:gd name="T53" fmla="*/ 460 h 626"/>
                  <a:gd name="T54" fmla="*/ 645 w 1468"/>
                  <a:gd name="T55" fmla="*/ 508 h 626"/>
                  <a:gd name="T56" fmla="*/ 817 w 1468"/>
                  <a:gd name="T57" fmla="*/ 512 h 626"/>
                  <a:gd name="T58" fmla="*/ 950 w 1468"/>
                  <a:gd name="T59" fmla="*/ 521 h 626"/>
                  <a:gd name="T60" fmla="*/ 957 w 1468"/>
                  <a:gd name="T61" fmla="*/ 604 h 626"/>
                  <a:gd name="T62" fmla="*/ 1045 w 1468"/>
                  <a:gd name="T63" fmla="*/ 496 h 626"/>
                  <a:gd name="T64" fmla="*/ 1030 w 1468"/>
                  <a:gd name="T65" fmla="*/ 417 h 626"/>
                  <a:gd name="T66" fmla="*/ 1154 w 1468"/>
                  <a:gd name="T67" fmla="*/ 392 h 626"/>
                  <a:gd name="T68" fmla="*/ 1223 w 1468"/>
                  <a:gd name="T69" fmla="*/ 359 h 626"/>
                  <a:gd name="T70" fmla="*/ 1177 w 1468"/>
                  <a:gd name="T71" fmla="*/ 425 h 626"/>
                  <a:gd name="T72" fmla="*/ 1234 w 1468"/>
                  <a:gd name="T73" fmla="*/ 391 h 626"/>
                  <a:gd name="T74" fmla="*/ 335 w 1468"/>
                  <a:gd name="T75" fmla="*/ 0 h 626"/>
                  <a:gd name="T76" fmla="*/ 313 w 1468"/>
                  <a:gd name="T77" fmla="*/ 23 h 626"/>
                  <a:gd name="T78" fmla="*/ 323 w 1468"/>
                  <a:gd name="T79" fmla="*/ 33 h 626"/>
                  <a:gd name="T80" fmla="*/ 695 w 1468"/>
                  <a:gd name="T81" fmla="*/ 65 h 626"/>
                  <a:gd name="T82" fmla="*/ 222 w 1468"/>
                  <a:gd name="T83" fmla="*/ 35 h 626"/>
                  <a:gd name="T84" fmla="*/ 336 w 1468"/>
                  <a:gd name="T85" fmla="*/ 42 h 626"/>
                  <a:gd name="T86" fmla="*/ 706 w 1468"/>
                  <a:gd name="T87" fmla="*/ 67 h 626"/>
                  <a:gd name="T88" fmla="*/ 329 w 1468"/>
                  <a:gd name="T89" fmla="*/ 132 h 626"/>
                  <a:gd name="T90" fmla="*/ 287 w 1468"/>
                  <a:gd name="T91" fmla="*/ 197 h 626"/>
                  <a:gd name="T92" fmla="*/ 311 w 1468"/>
                  <a:gd name="T93" fmla="*/ 168 h 626"/>
                  <a:gd name="T94" fmla="*/ 404 w 1468"/>
                  <a:gd name="T95" fmla="*/ 121 h 626"/>
                  <a:gd name="T96" fmla="*/ 724 w 1468"/>
                  <a:gd name="T97" fmla="*/ 132 h 626"/>
                  <a:gd name="T98" fmla="*/ 1042 w 1468"/>
                  <a:gd name="T99" fmla="*/ 157 h 626"/>
                  <a:gd name="T100" fmla="*/ 141 w 1468"/>
                  <a:gd name="T101" fmla="*/ 336 h 626"/>
                  <a:gd name="T102" fmla="*/ 94 w 1468"/>
                  <a:gd name="T103" fmla="*/ 349 h 626"/>
                  <a:gd name="T104" fmla="*/ 737 w 1468"/>
                  <a:gd name="T105" fmla="*/ 488 h 626"/>
                  <a:gd name="T106" fmla="*/ 1060 w 1468"/>
                  <a:gd name="T107" fmla="*/ 558 h 626"/>
                  <a:gd name="T108" fmla="*/ 1125 w 1468"/>
                  <a:gd name="T109" fmla="*/ 562 h 626"/>
                  <a:gd name="T110" fmla="*/ 256 w 1468"/>
                  <a:gd name="T111" fmla="*/ 229 h 626"/>
                  <a:gd name="T112" fmla="*/ 1118 w 1468"/>
                  <a:gd name="T113" fmla="*/ 211 h 626"/>
                  <a:gd name="T114" fmla="*/ 810 w 1468"/>
                  <a:gd name="T115" fmla="*/ 174 h 626"/>
                  <a:gd name="T116" fmla="*/ 891 w 1468"/>
                  <a:gd name="T117" fmla="*/ 180 h 626"/>
                  <a:gd name="T118" fmla="*/ 626 w 1468"/>
                  <a:gd name="T119" fmla="*/ 56 h 626"/>
                  <a:gd name="T120" fmla="*/ 515 w 1468"/>
                  <a:gd name="T121" fmla="*/ 174 h 626"/>
                  <a:gd name="T122" fmla="*/ 0 w 1468"/>
                  <a:gd name="T123" fmla="*/ 456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68" h="626">
                    <a:moveTo>
                      <a:pt x="1333" y="349"/>
                    </a:moveTo>
                    <a:cubicBezTo>
                      <a:pt x="1336" y="347"/>
                      <a:pt x="1339" y="348"/>
                      <a:pt x="1342" y="346"/>
                    </a:cubicBezTo>
                    <a:cubicBezTo>
                      <a:pt x="1342" y="346"/>
                      <a:pt x="1343" y="345"/>
                      <a:pt x="1343" y="345"/>
                    </a:cubicBezTo>
                    <a:cubicBezTo>
                      <a:pt x="1346" y="343"/>
                      <a:pt x="1350" y="342"/>
                      <a:pt x="1354" y="341"/>
                    </a:cubicBezTo>
                    <a:cubicBezTo>
                      <a:pt x="1356" y="340"/>
                      <a:pt x="1356" y="340"/>
                      <a:pt x="1356" y="340"/>
                    </a:cubicBezTo>
                    <a:cubicBezTo>
                      <a:pt x="1357" y="339"/>
                      <a:pt x="1357" y="341"/>
                      <a:pt x="1358" y="341"/>
                    </a:cubicBezTo>
                    <a:cubicBezTo>
                      <a:pt x="1359" y="341"/>
                      <a:pt x="1363" y="339"/>
                      <a:pt x="1364" y="340"/>
                    </a:cubicBezTo>
                    <a:cubicBezTo>
                      <a:pt x="1365" y="340"/>
                      <a:pt x="1367" y="342"/>
                      <a:pt x="1368" y="342"/>
                    </a:cubicBezTo>
                    <a:cubicBezTo>
                      <a:pt x="1373" y="344"/>
                      <a:pt x="1375" y="341"/>
                      <a:pt x="1378" y="339"/>
                    </a:cubicBezTo>
                    <a:cubicBezTo>
                      <a:pt x="1377" y="338"/>
                      <a:pt x="1376" y="338"/>
                      <a:pt x="1376" y="338"/>
                    </a:cubicBezTo>
                    <a:cubicBezTo>
                      <a:pt x="1375" y="335"/>
                      <a:pt x="1378" y="334"/>
                      <a:pt x="1376" y="333"/>
                    </a:cubicBezTo>
                    <a:cubicBezTo>
                      <a:pt x="1374" y="332"/>
                      <a:pt x="1373" y="333"/>
                      <a:pt x="1372" y="332"/>
                    </a:cubicBezTo>
                    <a:cubicBezTo>
                      <a:pt x="1372" y="331"/>
                      <a:pt x="1373" y="330"/>
                      <a:pt x="1373" y="330"/>
                    </a:cubicBezTo>
                    <a:cubicBezTo>
                      <a:pt x="1372" y="328"/>
                      <a:pt x="1372" y="328"/>
                      <a:pt x="1372" y="328"/>
                    </a:cubicBezTo>
                    <a:cubicBezTo>
                      <a:pt x="1371" y="327"/>
                      <a:pt x="1372" y="326"/>
                      <a:pt x="1371" y="324"/>
                    </a:cubicBezTo>
                    <a:cubicBezTo>
                      <a:pt x="1371" y="324"/>
                      <a:pt x="1370" y="324"/>
                      <a:pt x="1370" y="324"/>
                    </a:cubicBezTo>
                    <a:cubicBezTo>
                      <a:pt x="1368" y="321"/>
                      <a:pt x="1367" y="319"/>
                      <a:pt x="1366" y="316"/>
                    </a:cubicBezTo>
                    <a:cubicBezTo>
                      <a:pt x="1363" y="317"/>
                      <a:pt x="1362" y="317"/>
                      <a:pt x="1360" y="317"/>
                    </a:cubicBezTo>
                    <a:cubicBezTo>
                      <a:pt x="1360" y="316"/>
                      <a:pt x="1360" y="314"/>
                      <a:pt x="1361" y="314"/>
                    </a:cubicBezTo>
                    <a:cubicBezTo>
                      <a:pt x="1361" y="313"/>
                      <a:pt x="1362" y="313"/>
                      <a:pt x="1363" y="313"/>
                    </a:cubicBezTo>
                    <a:cubicBezTo>
                      <a:pt x="1363" y="312"/>
                      <a:pt x="1362" y="310"/>
                      <a:pt x="1362" y="310"/>
                    </a:cubicBezTo>
                    <a:cubicBezTo>
                      <a:pt x="1358" y="312"/>
                      <a:pt x="1359" y="313"/>
                      <a:pt x="1355" y="310"/>
                    </a:cubicBezTo>
                    <a:cubicBezTo>
                      <a:pt x="1350" y="310"/>
                      <a:pt x="1350" y="310"/>
                      <a:pt x="1350" y="310"/>
                    </a:cubicBezTo>
                    <a:cubicBezTo>
                      <a:pt x="1351" y="310"/>
                      <a:pt x="1351" y="308"/>
                      <a:pt x="1352" y="308"/>
                    </a:cubicBezTo>
                    <a:cubicBezTo>
                      <a:pt x="1354" y="308"/>
                      <a:pt x="1357" y="309"/>
                      <a:pt x="1360" y="309"/>
                    </a:cubicBezTo>
                    <a:cubicBezTo>
                      <a:pt x="1360" y="308"/>
                      <a:pt x="1360" y="308"/>
                      <a:pt x="1360" y="308"/>
                    </a:cubicBezTo>
                    <a:cubicBezTo>
                      <a:pt x="1365" y="310"/>
                      <a:pt x="1370" y="312"/>
                      <a:pt x="1376" y="311"/>
                    </a:cubicBezTo>
                    <a:cubicBezTo>
                      <a:pt x="1378" y="311"/>
                      <a:pt x="1384" y="309"/>
                      <a:pt x="1386" y="307"/>
                    </a:cubicBezTo>
                    <a:cubicBezTo>
                      <a:pt x="1387" y="306"/>
                      <a:pt x="1385" y="305"/>
                      <a:pt x="1386" y="304"/>
                    </a:cubicBezTo>
                    <a:cubicBezTo>
                      <a:pt x="1386" y="303"/>
                      <a:pt x="1388" y="301"/>
                      <a:pt x="1389" y="300"/>
                    </a:cubicBezTo>
                    <a:cubicBezTo>
                      <a:pt x="1389" y="299"/>
                      <a:pt x="1388" y="298"/>
                      <a:pt x="1389" y="298"/>
                    </a:cubicBezTo>
                    <a:cubicBezTo>
                      <a:pt x="1387" y="297"/>
                      <a:pt x="1386" y="296"/>
                      <a:pt x="1384" y="295"/>
                    </a:cubicBezTo>
                    <a:cubicBezTo>
                      <a:pt x="1385" y="294"/>
                      <a:pt x="1385" y="294"/>
                      <a:pt x="1385" y="292"/>
                    </a:cubicBezTo>
                    <a:cubicBezTo>
                      <a:pt x="1386" y="292"/>
                      <a:pt x="1386" y="292"/>
                      <a:pt x="1386" y="292"/>
                    </a:cubicBezTo>
                    <a:cubicBezTo>
                      <a:pt x="1387" y="291"/>
                      <a:pt x="1386" y="289"/>
                      <a:pt x="1386" y="289"/>
                    </a:cubicBezTo>
                    <a:cubicBezTo>
                      <a:pt x="1386" y="288"/>
                      <a:pt x="1386" y="288"/>
                      <a:pt x="1386" y="288"/>
                    </a:cubicBezTo>
                    <a:cubicBezTo>
                      <a:pt x="1387" y="287"/>
                      <a:pt x="1387" y="286"/>
                      <a:pt x="1388" y="286"/>
                    </a:cubicBezTo>
                    <a:cubicBezTo>
                      <a:pt x="1389" y="286"/>
                      <a:pt x="1390" y="286"/>
                      <a:pt x="1392" y="286"/>
                    </a:cubicBezTo>
                    <a:cubicBezTo>
                      <a:pt x="1387" y="290"/>
                      <a:pt x="1392" y="290"/>
                      <a:pt x="1392" y="292"/>
                    </a:cubicBezTo>
                    <a:cubicBezTo>
                      <a:pt x="1392" y="293"/>
                      <a:pt x="1392" y="293"/>
                      <a:pt x="1392" y="293"/>
                    </a:cubicBezTo>
                    <a:cubicBezTo>
                      <a:pt x="1390" y="295"/>
                      <a:pt x="1391" y="296"/>
                      <a:pt x="1390" y="298"/>
                    </a:cubicBezTo>
                    <a:cubicBezTo>
                      <a:pt x="1391" y="299"/>
                      <a:pt x="1393" y="298"/>
                      <a:pt x="1394" y="299"/>
                    </a:cubicBezTo>
                    <a:cubicBezTo>
                      <a:pt x="1395" y="299"/>
                      <a:pt x="1396" y="302"/>
                      <a:pt x="1396" y="302"/>
                    </a:cubicBezTo>
                    <a:cubicBezTo>
                      <a:pt x="1398" y="302"/>
                      <a:pt x="1403" y="300"/>
                      <a:pt x="1404" y="299"/>
                    </a:cubicBezTo>
                    <a:cubicBezTo>
                      <a:pt x="1405" y="299"/>
                      <a:pt x="1405" y="297"/>
                      <a:pt x="1405" y="296"/>
                    </a:cubicBezTo>
                    <a:cubicBezTo>
                      <a:pt x="1407" y="296"/>
                      <a:pt x="1407" y="296"/>
                      <a:pt x="1407" y="296"/>
                    </a:cubicBezTo>
                    <a:cubicBezTo>
                      <a:pt x="1407" y="296"/>
                      <a:pt x="1407" y="298"/>
                      <a:pt x="1407" y="298"/>
                    </a:cubicBezTo>
                    <a:cubicBezTo>
                      <a:pt x="1409" y="298"/>
                      <a:pt x="1412" y="297"/>
                      <a:pt x="1413" y="298"/>
                    </a:cubicBezTo>
                    <a:cubicBezTo>
                      <a:pt x="1414" y="298"/>
                      <a:pt x="1414" y="298"/>
                      <a:pt x="1414" y="298"/>
                    </a:cubicBezTo>
                    <a:cubicBezTo>
                      <a:pt x="1415" y="301"/>
                      <a:pt x="1419" y="303"/>
                      <a:pt x="1418" y="306"/>
                    </a:cubicBezTo>
                    <a:cubicBezTo>
                      <a:pt x="1418" y="307"/>
                      <a:pt x="1417" y="308"/>
                      <a:pt x="1417" y="308"/>
                    </a:cubicBezTo>
                    <a:cubicBezTo>
                      <a:pt x="1418" y="309"/>
                      <a:pt x="1421" y="312"/>
                      <a:pt x="1422" y="312"/>
                    </a:cubicBezTo>
                    <a:cubicBezTo>
                      <a:pt x="1424" y="313"/>
                      <a:pt x="1425" y="311"/>
                      <a:pt x="1425" y="311"/>
                    </a:cubicBezTo>
                    <a:cubicBezTo>
                      <a:pt x="1427" y="311"/>
                      <a:pt x="1434" y="315"/>
                      <a:pt x="1435" y="316"/>
                    </a:cubicBezTo>
                    <a:cubicBezTo>
                      <a:pt x="1435" y="316"/>
                      <a:pt x="1435" y="318"/>
                      <a:pt x="1435" y="318"/>
                    </a:cubicBezTo>
                    <a:cubicBezTo>
                      <a:pt x="1437" y="318"/>
                      <a:pt x="1438" y="318"/>
                      <a:pt x="1439" y="318"/>
                    </a:cubicBezTo>
                    <a:cubicBezTo>
                      <a:pt x="1439" y="318"/>
                      <a:pt x="1439" y="316"/>
                      <a:pt x="1439" y="316"/>
                    </a:cubicBezTo>
                    <a:cubicBezTo>
                      <a:pt x="1441" y="316"/>
                      <a:pt x="1441" y="316"/>
                      <a:pt x="1441" y="316"/>
                    </a:cubicBezTo>
                    <a:cubicBezTo>
                      <a:pt x="1440" y="315"/>
                      <a:pt x="1442" y="315"/>
                      <a:pt x="1442" y="315"/>
                    </a:cubicBezTo>
                    <a:cubicBezTo>
                      <a:pt x="1442" y="315"/>
                      <a:pt x="1442" y="318"/>
                      <a:pt x="1442" y="318"/>
                    </a:cubicBezTo>
                    <a:cubicBezTo>
                      <a:pt x="1443" y="318"/>
                      <a:pt x="1443" y="318"/>
                      <a:pt x="1443" y="318"/>
                    </a:cubicBezTo>
                    <a:cubicBezTo>
                      <a:pt x="1445" y="320"/>
                      <a:pt x="1444" y="318"/>
                      <a:pt x="1446" y="319"/>
                    </a:cubicBezTo>
                    <a:cubicBezTo>
                      <a:pt x="1446" y="318"/>
                      <a:pt x="1446" y="318"/>
                      <a:pt x="1446" y="318"/>
                    </a:cubicBezTo>
                    <a:cubicBezTo>
                      <a:pt x="1448" y="318"/>
                      <a:pt x="1448" y="318"/>
                      <a:pt x="1451" y="318"/>
                    </a:cubicBezTo>
                    <a:cubicBezTo>
                      <a:pt x="1450" y="318"/>
                      <a:pt x="1449" y="316"/>
                      <a:pt x="1449" y="316"/>
                    </a:cubicBezTo>
                    <a:cubicBezTo>
                      <a:pt x="1448" y="315"/>
                      <a:pt x="1448" y="314"/>
                      <a:pt x="1447" y="314"/>
                    </a:cubicBezTo>
                    <a:cubicBezTo>
                      <a:pt x="1447" y="313"/>
                      <a:pt x="1448" y="312"/>
                      <a:pt x="1447" y="311"/>
                    </a:cubicBezTo>
                    <a:cubicBezTo>
                      <a:pt x="1447" y="311"/>
                      <a:pt x="1446" y="311"/>
                      <a:pt x="1445" y="310"/>
                    </a:cubicBezTo>
                    <a:cubicBezTo>
                      <a:pt x="1447" y="309"/>
                      <a:pt x="1449" y="309"/>
                      <a:pt x="1451" y="308"/>
                    </a:cubicBezTo>
                    <a:cubicBezTo>
                      <a:pt x="1451" y="308"/>
                      <a:pt x="1451" y="304"/>
                      <a:pt x="1451" y="304"/>
                    </a:cubicBezTo>
                    <a:cubicBezTo>
                      <a:pt x="1449" y="304"/>
                      <a:pt x="1449" y="305"/>
                      <a:pt x="1447" y="304"/>
                    </a:cubicBezTo>
                    <a:cubicBezTo>
                      <a:pt x="1447" y="301"/>
                      <a:pt x="1447" y="301"/>
                      <a:pt x="1447" y="301"/>
                    </a:cubicBezTo>
                    <a:cubicBezTo>
                      <a:pt x="1451" y="302"/>
                      <a:pt x="1453" y="301"/>
                      <a:pt x="1456" y="301"/>
                    </a:cubicBezTo>
                    <a:cubicBezTo>
                      <a:pt x="1456" y="301"/>
                      <a:pt x="1457" y="302"/>
                      <a:pt x="1458" y="302"/>
                    </a:cubicBezTo>
                    <a:cubicBezTo>
                      <a:pt x="1458" y="303"/>
                      <a:pt x="1458" y="303"/>
                      <a:pt x="1458" y="303"/>
                    </a:cubicBezTo>
                    <a:cubicBezTo>
                      <a:pt x="1459" y="303"/>
                      <a:pt x="1460" y="303"/>
                      <a:pt x="1461" y="303"/>
                    </a:cubicBezTo>
                    <a:cubicBezTo>
                      <a:pt x="1462" y="302"/>
                      <a:pt x="1462" y="301"/>
                      <a:pt x="1462" y="299"/>
                    </a:cubicBezTo>
                    <a:cubicBezTo>
                      <a:pt x="1462" y="299"/>
                      <a:pt x="1465" y="299"/>
                      <a:pt x="1465" y="299"/>
                    </a:cubicBezTo>
                    <a:cubicBezTo>
                      <a:pt x="1466" y="299"/>
                      <a:pt x="1464" y="296"/>
                      <a:pt x="1465" y="295"/>
                    </a:cubicBezTo>
                    <a:cubicBezTo>
                      <a:pt x="1466" y="294"/>
                      <a:pt x="1467" y="295"/>
                      <a:pt x="1468" y="294"/>
                    </a:cubicBezTo>
                    <a:cubicBezTo>
                      <a:pt x="1468" y="293"/>
                      <a:pt x="1468" y="293"/>
                      <a:pt x="1468" y="293"/>
                    </a:cubicBezTo>
                    <a:cubicBezTo>
                      <a:pt x="1467" y="293"/>
                      <a:pt x="1466" y="293"/>
                      <a:pt x="1465" y="293"/>
                    </a:cubicBezTo>
                    <a:cubicBezTo>
                      <a:pt x="1465" y="293"/>
                      <a:pt x="1464" y="291"/>
                      <a:pt x="1464" y="291"/>
                    </a:cubicBezTo>
                    <a:cubicBezTo>
                      <a:pt x="1461" y="289"/>
                      <a:pt x="1458" y="289"/>
                      <a:pt x="1455" y="286"/>
                    </a:cubicBezTo>
                    <a:cubicBezTo>
                      <a:pt x="1455" y="286"/>
                      <a:pt x="1455" y="285"/>
                      <a:pt x="1455" y="284"/>
                    </a:cubicBezTo>
                    <a:cubicBezTo>
                      <a:pt x="1454" y="284"/>
                      <a:pt x="1452" y="283"/>
                      <a:pt x="1451" y="282"/>
                    </a:cubicBezTo>
                    <a:cubicBezTo>
                      <a:pt x="1451" y="281"/>
                      <a:pt x="1451" y="280"/>
                      <a:pt x="1450" y="279"/>
                    </a:cubicBezTo>
                    <a:cubicBezTo>
                      <a:pt x="1449" y="278"/>
                      <a:pt x="1447" y="278"/>
                      <a:pt x="1445" y="278"/>
                    </a:cubicBezTo>
                    <a:cubicBezTo>
                      <a:pt x="1444" y="276"/>
                      <a:pt x="1444" y="276"/>
                      <a:pt x="1444" y="276"/>
                    </a:cubicBezTo>
                    <a:cubicBezTo>
                      <a:pt x="1440" y="276"/>
                      <a:pt x="1433" y="277"/>
                      <a:pt x="1429" y="278"/>
                    </a:cubicBezTo>
                    <a:cubicBezTo>
                      <a:pt x="1430" y="281"/>
                      <a:pt x="1430" y="282"/>
                      <a:pt x="1431" y="285"/>
                    </a:cubicBezTo>
                    <a:cubicBezTo>
                      <a:pt x="1429" y="284"/>
                      <a:pt x="1428" y="284"/>
                      <a:pt x="1427" y="284"/>
                    </a:cubicBezTo>
                    <a:cubicBezTo>
                      <a:pt x="1427" y="282"/>
                      <a:pt x="1428" y="276"/>
                      <a:pt x="1427" y="274"/>
                    </a:cubicBezTo>
                    <a:cubicBezTo>
                      <a:pt x="1427" y="273"/>
                      <a:pt x="1424" y="273"/>
                      <a:pt x="1423" y="272"/>
                    </a:cubicBezTo>
                    <a:cubicBezTo>
                      <a:pt x="1423" y="271"/>
                      <a:pt x="1423" y="269"/>
                      <a:pt x="1423" y="269"/>
                    </a:cubicBezTo>
                    <a:cubicBezTo>
                      <a:pt x="1421" y="268"/>
                      <a:pt x="1419" y="269"/>
                      <a:pt x="1417" y="268"/>
                    </a:cubicBezTo>
                    <a:cubicBezTo>
                      <a:pt x="1417" y="268"/>
                      <a:pt x="1417" y="266"/>
                      <a:pt x="1416" y="265"/>
                    </a:cubicBezTo>
                    <a:cubicBezTo>
                      <a:pt x="1415" y="264"/>
                      <a:pt x="1413" y="265"/>
                      <a:pt x="1411" y="264"/>
                    </a:cubicBezTo>
                    <a:cubicBezTo>
                      <a:pt x="1411" y="263"/>
                      <a:pt x="1410" y="262"/>
                      <a:pt x="1409" y="261"/>
                    </a:cubicBezTo>
                    <a:cubicBezTo>
                      <a:pt x="1409" y="261"/>
                      <a:pt x="1408" y="261"/>
                      <a:pt x="1407" y="261"/>
                    </a:cubicBezTo>
                    <a:cubicBezTo>
                      <a:pt x="1404" y="259"/>
                      <a:pt x="1402" y="256"/>
                      <a:pt x="1400" y="255"/>
                    </a:cubicBezTo>
                    <a:cubicBezTo>
                      <a:pt x="1398" y="255"/>
                      <a:pt x="1398" y="255"/>
                      <a:pt x="1398" y="255"/>
                    </a:cubicBezTo>
                    <a:cubicBezTo>
                      <a:pt x="1397" y="254"/>
                      <a:pt x="1399" y="254"/>
                      <a:pt x="1399" y="253"/>
                    </a:cubicBezTo>
                    <a:cubicBezTo>
                      <a:pt x="1399" y="252"/>
                      <a:pt x="1397" y="250"/>
                      <a:pt x="1397" y="250"/>
                    </a:cubicBezTo>
                    <a:cubicBezTo>
                      <a:pt x="1395" y="250"/>
                      <a:pt x="1395" y="251"/>
                      <a:pt x="1393" y="251"/>
                    </a:cubicBezTo>
                    <a:cubicBezTo>
                      <a:pt x="1392" y="249"/>
                      <a:pt x="1392" y="249"/>
                      <a:pt x="1392" y="249"/>
                    </a:cubicBezTo>
                    <a:cubicBezTo>
                      <a:pt x="1389" y="248"/>
                      <a:pt x="1388" y="248"/>
                      <a:pt x="1386" y="247"/>
                    </a:cubicBezTo>
                    <a:cubicBezTo>
                      <a:pt x="1385" y="244"/>
                      <a:pt x="1384" y="242"/>
                      <a:pt x="1381" y="240"/>
                    </a:cubicBezTo>
                    <a:cubicBezTo>
                      <a:pt x="1380" y="239"/>
                      <a:pt x="1379" y="239"/>
                      <a:pt x="1378" y="239"/>
                    </a:cubicBezTo>
                    <a:cubicBezTo>
                      <a:pt x="1378" y="238"/>
                      <a:pt x="1378" y="237"/>
                      <a:pt x="1378" y="236"/>
                    </a:cubicBezTo>
                    <a:cubicBezTo>
                      <a:pt x="1378" y="235"/>
                      <a:pt x="1377" y="234"/>
                      <a:pt x="1376" y="233"/>
                    </a:cubicBezTo>
                    <a:cubicBezTo>
                      <a:pt x="1374" y="233"/>
                      <a:pt x="1371" y="234"/>
                      <a:pt x="1369" y="233"/>
                    </a:cubicBezTo>
                    <a:cubicBezTo>
                      <a:pt x="1368" y="233"/>
                      <a:pt x="1367" y="231"/>
                      <a:pt x="1366" y="231"/>
                    </a:cubicBezTo>
                    <a:cubicBezTo>
                      <a:pt x="1361" y="230"/>
                      <a:pt x="1361" y="234"/>
                      <a:pt x="1356" y="232"/>
                    </a:cubicBezTo>
                    <a:cubicBezTo>
                      <a:pt x="1355" y="231"/>
                      <a:pt x="1354" y="228"/>
                      <a:pt x="1353" y="227"/>
                    </a:cubicBezTo>
                    <a:cubicBezTo>
                      <a:pt x="1351" y="225"/>
                      <a:pt x="1348" y="226"/>
                      <a:pt x="1345" y="225"/>
                    </a:cubicBezTo>
                    <a:cubicBezTo>
                      <a:pt x="1342" y="223"/>
                      <a:pt x="1342" y="223"/>
                      <a:pt x="1342" y="223"/>
                    </a:cubicBezTo>
                    <a:cubicBezTo>
                      <a:pt x="1342" y="221"/>
                      <a:pt x="1342" y="221"/>
                      <a:pt x="1342" y="221"/>
                    </a:cubicBezTo>
                    <a:cubicBezTo>
                      <a:pt x="1340" y="221"/>
                      <a:pt x="1340" y="222"/>
                      <a:pt x="1340" y="223"/>
                    </a:cubicBezTo>
                    <a:cubicBezTo>
                      <a:pt x="1337" y="223"/>
                      <a:pt x="1333" y="223"/>
                      <a:pt x="1330" y="223"/>
                    </a:cubicBezTo>
                    <a:cubicBezTo>
                      <a:pt x="1329" y="222"/>
                      <a:pt x="1326" y="221"/>
                      <a:pt x="1324" y="221"/>
                    </a:cubicBezTo>
                    <a:cubicBezTo>
                      <a:pt x="1323" y="221"/>
                      <a:pt x="1323" y="223"/>
                      <a:pt x="1320" y="223"/>
                    </a:cubicBezTo>
                    <a:cubicBezTo>
                      <a:pt x="1320" y="223"/>
                      <a:pt x="1319" y="221"/>
                      <a:pt x="1318" y="221"/>
                    </a:cubicBezTo>
                    <a:cubicBezTo>
                      <a:pt x="1315" y="220"/>
                      <a:pt x="1311" y="222"/>
                      <a:pt x="1307" y="221"/>
                    </a:cubicBezTo>
                    <a:cubicBezTo>
                      <a:pt x="1306" y="221"/>
                      <a:pt x="1305" y="219"/>
                      <a:pt x="1304" y="219"/>
                    </a:cubicBezTo>
                    <a:cubicBezTo>
                      <a:pt x="1304" y="219"/>
                      <a:pt x="1303" y="220"/>
                      <a:pt x="1302" y="219"/>
                    </a:cubicBezTo>
                    <a:cubicBezTo>
                      <a:pt x="1303" y="224"/>
                      <a:pt x="1303" y="224"/>
                      <a:pt x="1302" y="228"/>
                    </a:cubicBezTo>
                    <a:cubicBezTo>
                      <a:pt x="1302" y="228"/>
                      <a:pt x="1303" y="228"/>
                      <a:pt x="1304" y="228"/>
                    </a:cubicBezTo>
                    <a:cubicBezTo>
                      <a:pt x="1304" y="229"/>
                      <a:pt x="1306" y="229"/>
                      <a:pt x="1306" y="230"/>
                    </a:cubicBezTo>
                    <a:cubicBezTo>
                      <a:pt x="1307" y="232"/>
                      <a:pt x="1306" y="235"/>
                      <a:pt x="1306" y="237"/>
                    </a:cubicBezTo>
                    <a:cubicBezTo>
                      <a:pt x="1306" y="238"/>
                      <a:pt x="1304" y="237"/>
                      <a:pt x="1304" y="237"/>
                    </a:cubicBezTo>
                    <a:cubicBezTo>
                      <a:pt x="1304" y="237"/>
                      <a:pt x="1302" y="240"/>
                      <a:pt x="1302" y="241"/>
                    </a:cubicBezTo>
                    <a:cubicBezTo>
                      <a:pt x="1301" y="241"/>
                      <a:pt x="1300" y="240"/>
                      <a:pt x="1300" y="241"/>
                    </a:cubicBezTo>
                    <a:cubicBezTo>
                      <a:pt x="1300" y="241"/>
                      <a:pt x="1300" y="243"/>
                      <a:pt x="1300" y="243"/>
                    </a:cubicBezTo>
                    <a:cubicBezTo>
                      <a:pt x="1299" y="244"/>
                      <a:pt x="1296" y="243"/>
                      <a:pt x="1295" y="243"/>
                    </a:cubicBezTo>
                    <a:cubicBezTo>
                      <a:pt x="1295" y="243"/>
                      <a:pt x="1295" y="244"/>
                      <a:pt x="1294" y="245"/>
                    </a:cubicBezTo>
                    <a:cubicBezTo>
                      <a:pt x="1293" y="245"/>
                      <a:pt x="1291" y="245"/>
                      <a:pt x="1289" y="245"/>
                    </a:cubicBezTo>
                    <a:cubicBezTo>
                      <a:pt x="1288" y="243"/>
                      <a:pt x="1287" y="238"/>
                      <a:pt x="1287" y="236"/>
                    </a:cubicBezTo>
                    <a:cubicBezTo>
                      <a:pt x="1286" y="235"/>
                      <a:pt x="1284" y="236"/>
                      <a:pt x="1283" y="235"/>
                    </a:cubicBezTo>
                    <a:cubicBezTo>
                      <a:pt x="1282" y="233"/>
                      <a:pt x="1283" y="228"/>
                      <a:pt x="1283" y="227"/>
                    </a:cubicBezTo>
                    <a:cubicBezTo>
                      <a:pt x="1281" y="228"/>
                      <a:pt x="1279" y="230"/>
                      <a:pt x="1279" y="231"/>
                    </a:cubicBezTo>
                    <a:cubicBezTo>
                      <a:pt x="1277" y="231"/>
                      <a:pt x="1279" y="230"/>
                      <a:pt x="1277" y="230"/>
                    </a:cubicBezTo>
                    <a:cubicBezTo>
                      <a:pt x="1275" y="230"/>
                      <a:pt x="1271" y="233"/>
                      <a:pt x="1269" y="233"/>
                    </a:cubicBezTo>
                    <a:cubicBezTo>
                      <a:pt x="1268" y="233"/>
                      <a:pt x="1269" y="230"/>
                      <a:pt x="1269" y="230"/>
                    </a:cubicBezTo>
                    <a:cubicBezTo>
                      <a:pt x="1267" y="229"/>
                      <a:pt x="1263" y="228"/>
                      <a:pt x="1262" y="228"/>
                    </a:cubicBezTo>
                    <a:cubicBezTo>
                      <a:pt x="1261" y="228"/>
                      <a:pt x="1257" y="228"/>
                      <a:pt x="1255" y="229"/>
                    </a:cubicBezTo>
                    <a:cubicBezTo>
                      <a:pt x="1255" y="229"/>
                      <a:pt x="1254" y="231"/>
                      <a:pt x="1254" y="231"/>
                    </a:cubicBezTo>
                    <a:cubicBezTo>
                      <a:pt x="1252" y="231"/>
                      <a:pt x="1251" y="230"/>
                      <a:pt x="1250" y="229"/>
                    </a:cubicBezTo>
                    <a:cubicBezTo>
                      <a:pt x="1250" y="229"/>
                      <a:pt x="1250" y="227"/>
                      <a:pt x="1250" y="227"/>
                    </a:cubicBezTo>
                    <a:cubicBezTo>
                      <a:pt x="1246" y="227"/>
                      <a:pt x="1240" y="228"/>
                      <a:pt x="1235" y="227"/>
                    </a:cubicBezTo>
                    <a:cubicBezTo>
                      <a:pt x="1234" y="227"/>
                      <a:pt x="1234" y="226"/>
                      <a:pt x="1233" y="227"/>
                    </a:cubicBezTo>
                    <a:cubicBezTo>
                      <a:pt x="1232" y="227"/>
                      <a:pt x="1229" y="230"/>
                      <a:pt x="1228" y="230"/>
                    </a:cubicBezTo>
                    <a:cubicBezTo>
                      <a:pt x="1226" y="230"/>
                      <a:pt x="1225" y="230"/>
                      <a:pt x="1223" y="231"/>
                    </a:cubicBezTo>
                    <a:cubicBezTo>
                      <a:pt x="1223" y="233"/>
                      <a:pt x="1222" y="237"/>
                      <a:pt x="1221" y="240"/>
                    </a:cubicBezTo>
                    <a:cubicBezTo>
                      <a:pt x="1221" y="240"/>
                      <a:pt x="1219" y="242"/>
                      <a:pt x="1219" y="242"/>
                    </a:cubicBezTo>
                    <a:cubicBezTo>
                      <a:pt x="1219" y="241"/>
                      <a:pt x="1220" y="240"/>
                      <a:pt x="1219" y="239"/>
                    </a:cubicBezTo>
                    <a:cubicBezTo>
                      <a:pt x="1218" y="238"/>
                      <a:pt x="1218" y="238"/>
                      <a:pt x="1218" y="238"/>
                    </a:cubicBezTo>
                    <a:cubicBezTo>
                      <a:pt x="1218" y="237"/>
                      <a:pt x="1218" y="236"/>
                      <a:pt x="1218" y="235"/>
                    </a:cubicBezTo>
                    <a:cubicBezTo>
                      <a:pt x="1218" y="234"/>
                      <a:pt x="1216" y="233"/>
                      <a:pt x="1216" y="233"/>
                    </a:cubicBezTo>
                    <a:cubicBezTo>
                      <a:pt x="1215" y="231"/>
                      <a:pt x="1216" y="230"/>
                      <a:pt x="1215" y="229"/>
                    </a:cubicBezTo>
                    <a:cubicBezTo>
                      <a:pt x="1214" y="229"/>
                      <a:pt x="1212" y="229"/>
                      <a:pt x="1211" y="229"/>
                    </a:cubicBezTo>
                    <a:cubicBezTo>
                      <a:pt x="1211" y="228"/>
                      <a:pt x="1212" y="225"/>
                      <a:pt x="1212" y="225"/>
                    </a:cubicBezTo>
                    <a:cubicBezTo>
                      <a:pt x="1211" y="223"/>
                      <a:pt x="1211" y="225"/>
                      <a:pt x="1211" y="223"/>
                    </a:cubicBezTo>
                    <a:cubicBezTo>
                      <a:pt x="1212" y="222"/>
                      <a:pt x="1213" y="221"/>
                      <a:pt x="1213" y="221"/>
                    </a:cubicBezTo>
                    <a:cubicBezTo>
                      <a:pt x="1212" y="219"/>
                      <a:pt x="1210" y="216"/>
                      <a:pt x="1208" y="215"/>
                    </a:cubicBezTo>
                    <a:cubicBezTo>
                      <a:pt x="1208" y="215"/>
                      <a:pt x="1206" y="216"/>
                      <a:pt x="1206" y="215"/>
                    </a:cubicBezTo>
                    <a:cubicBezTo>
                      <a:pt x="1205" y="214"/>
                      <a:pt x="1205" y="212"/>
                      <a:pt x="1203" y="211"/>
                    </a:cubicBezTo>
                    <a:cubicBezTo>
                      <a:pt x="1202" y="210"/>
                      <a:pt x="1200" y="211"/>
                      <a:pt x="1197" y="210"/>
                    </a:cubicBezTo>
                    <a:cubicBezTo>
                      <a:pt x="1196" y="210"/>
                      <a:pt x="1195" y="208"/>
                      <a:pt x="1193" y="207"/>
                    </a:cubicBezTo>
                    <a:cubicBezTo>
                      <a:pt x="1193" y="208"/>
                      <a:pt x="1191" y="209"/>
                      <a:pt x="1191" y="209"/>
                    </a:cubicBezTo>
                    <a:cubicBezTo>
                      <a:pt x="1191" y="210"/>
                      <a:pt x="1191" y="210"/>
                      <a:pt x="1191" y="210"/>
                    </a:cubicBezTo>
                    <a:cubicBezTo>
                      <a:pt x="1190" y="210"/>
                      <a:pt x="1189" y="208"/>
                      <a:pt x="1187" y="209"/>
                    </a:cubicBezTo>
                    <a:cubicBezTo>
                      <a:pt x="1185" y="209"/>
                      <a:pt x="1184" y="211"/>
                      <a:pt x="1181" y="211"/>
                    </a:cubicBezTo>
                    <a:cubicBezTo>
                      <a:pt x="1180" y="209"/>
                      <a:pt x="1180" y="209"/>
                      <a:pt x="1180" y="209"/>
                    </a:cubicBezTo>
                    <a:cubicBezTo>
                      <a:pt x="1179" y="209"/>
                      <a:pt x="1177" y="210"/>
                      <a:pt x="1174" y="209"/>
                    </a:cubicBezTo>
                    <a:cubicBezTo>
                      <a:pt x="1173" y="209"/>
                      <a:pt x="1171" y="208"/>
                      <a:pt x="1169" y="208"/>
                    </a:cubicBezTo>
                    <a:cubicBezTo>
                      <a:pt x="1166" y="208"/>
                      <a:pt x="1164" y="212"/>
                      <a:pt x="1160" y="211"/>
                    </a:cubicBezTo>
                    <a:cubicBezTo>
                      <a:pt x="1157" y="211"/>
                      <a:pt x="1157" y="209"/>
                      <a:pt x="1153" y="209"/>
                    </a:cubicBezTo>
                    <a:cubicBezTo>
                      <a:pt x="1150" y="210"/>
                      <a:pt x="1146" y="213"/>
                      <a:pt x="1142" y="213"/>
                    </a:cubicBezTo>
                    <a:cubicBezTo>
                      <a:pt x="1139" y="213"/>
                      <a:pt x="1136" y="212"/>
                      <a:pt x="1132" y="213"/>
                    </a:cubicBezTo>
                    <a:cubicBezTo>
                      <a:pt x="1130" y="213"/>
                      <a:pt x="1127" y="214"/>
                      <a:pt x="1124" y="213"/>
                    </a:cubicBezTo>
                    <a:cubicBezTo>
                      <a:pt x="1123" y="213"/>
                      <a:pt x="1122" y="214"/>
                      <a:pt x="1122" y="214"/>
                    </a:cubicBezTo>
                    <a:cubicBezTo>
                      <a:pt x="1118" y="213"/>
                      <a:pt x="1117" y="213"/>
                      <a:pt x="1113" y="214"/>
                    </a:cubicBezTo>
                    <a:cubicBezTo>
                      <a:pt x="1115" y="210"/>
                      <a:pt x="1117" y="208"/>
                      <a:pt x="1121" y="205"/>
                    </a:cubicBezTo>
                    <a:cubicBezTo>
                      <a:pt x="1120" y="203"/>
                      <a:pt x="1120" y="203"/>
                      <a:pt x="1120" y="203"/>
                    </a:cubicBezTo>
                    <a:cubicBezTo>
                      <a:pt x="1119" y="203"/>
                      <a:pt x="1118" y="203"/>
                      <a:pt x="1116" y="203"/>
                    </a:cubicBezTo>
                    <a:cubicBezTo>
                      <a:pt x="1117" y="202"/>
                      <a:pt x="1116" y="200"/>
                      <a:pt x="1116" y="199"/>
                    </a:cubicBezTo>
                    <a:cubicBezTo>
                      <a:pt x="1118" y="199"/>
                      <a:pt x="1118" y="199"/>
                      <a:pt x="1118" y="199"/>
                    </a:cubicBezTo>
                    <a:cubicBezTo>
                      <a:pt x="1116" y="198"/>
                      <a:pt x="1119" y="197"/>
                      <a:pt x="1119" y="197"/>
                    </a:cubicBezTo>
                    <a:cubicBezTo>
                      <a:pt x="1120" y="198"/>
                      <a:pt x="1120" y="200"/>
                      <a:pt x="1120" y="201"/>
                    </a:cubicBezTo>
                    <a:cubicBezTo>
                      <a:pt x="1121" y="200"/>
                      <a:pt x="1123" y="199"/>
                      <a:pt x="1124" y="199"/>
                    </a:cubicBezTo>
                    <a:cubicBezTo>
                      <a:pt x="1124" y="198"/>
                      <a:pt x="1124" y="197"/>
                      <a:pt x="1125" y="195"/>
                    </a:cubicBezTo>
                    <a:cubicBezTo>
                      <a:pt x="1123" y="193"/>
                      <a:pt x="1120" y="190"/>
                      <a:pt x="1118" y="190"/>
                    </a:cubicBezTo>
                    <a:cubicBezTo>
                      <a:pt x="1116" y="190"/>
                      <a:pt x="1116" y="191"/>
                      <a:pt x="1114" y="191"/>
                    </a:cubicBezTo>
                    <a:cubicBezTo>
                      <a:pt x="1114" y="191"/>
                      <a:pt x="1112" y="188"/>
                      <a:pt x="1111" y="188"/>
                    </a:cubicBezTo>
                    <a:cubicBezTo>
                      <a:pt x="1107" y="187"/>
                      <a:pt x="1103" y="188"/>
                      <a:pt x="1099" y="189"/>
                    </a:cubicBezTo>
                    <a:cubicBezTo>
                      <a:pt x="1097" y="194"/>
                      <a:pt x="1094" y="196"/>
                      <a:pt x="1092" y="201"/>
                    </a:cubicBezTo>
                    <a:cubicBezTo>
                      <a:pt x="1092" y="201"/>
                      <a:pt x="1091" y="203"/>
                      <a:pt x="1091" y="203"/>
                    </a:cubicBezTo>
                    <a:cubicBezTo>
                      <a:pt x="1091" y="203"/>
                      <a:pt x="1083" y="205"/>
                      <a:pt x="1083" y="205"/>
                    </a:cubicBezTo>
                    <a:cubicBezTo>
                      <a:pt x="1082" y="204"/>
                      <a:pt x="1082" y="204"/>
                      <a:pt x="1082" y="204"/>
                    </a:cubicBezTo>
                    <a:cubicBezTo>
                      <a:pt x="1080" y="203"/>
                      <a:pt x="1084" y="202"/>
                      <a:pt x="1085" y="201"/>
                    </a:cubicBezTo>
                    <a:cubicBezTo>
                      <a:pt x="1085" y="200"/>
                      <a:pt x="1083" y="200"/>
                      <a:pt x="1083" y="199"/>
                    </a:cubicBezTo>
                    <a:cubicBezTo>
                      <a:pt x="1083" y="199"/>
                      <a:pt x="1084" y="198"/>
                      <a:pt x="1083" y="197"/>
                    </a:cubicBezTo>
                    <a:cubicBezTo>
                      <a:pt x="1088" y="196"/>
                      <a:pt x="1087" y="196"/>
                      <a:pt x="1089" y="191"/>
                    </a:cubicBezTo>
                    <a:cubicBezTo>
                      <a:pt x="1090" y="192"/>
                      <a:pt x="1091" y="192"/>
                      <a:pt x="1091" y="192"/>
                    </a:cubicBezTo>
                    <a:cubicBezTo>
                      <a:pt x="1091" y="193"/>
                      <a:pt x="1091" y="193"/>
                      <a:pt x="1091" y="193"/>
                    </a:cubicBezTo>
                    <a:cubicBezTo>
                      <a:pt x="1090" y="193"/>
                      <a:pt x="1089" y="195"/>
                      <a:pt x="1092" y="196"/>
                    </a:cubicBezTo>
                    <a:cubicBezTo>
                      <a:pt x="1093" y="194"/>
                      <a:pt x="1093" y="193"/>
                      <a:pt x="1094" y="190"/>
                    </a:cubicBezTo>
                    <a:cubicBezTo>
                      <a:pt x="1088" y="190"/>
                      <a:pt x="1081" y="191"/>
                      <a:pt x="1076" y="191"/>
                    </a:cubicBezTo>
                    <a:cubicBezTo>
                      <a:pt x="1074" y="183"/>
                      <a:pt x="1075" y="186"/>
                      <a:pt x="1084" y="187"/>
                    </a:cubicBezTo>
                    <a:cubicBezTo>
                      <a:pt x="1084" y="185"/>
                      <a:pt x="1084" y="185"/>
                      <a:pt x="1084" y="185"/>
                    </a:cubicBezTo>
                    <a:cubicBezTo>
                      <a:pt x="1081" y="185"/>
                      <a:pt x="1078" y="184"/>
                      <a:pt x="1074" y="183"/>
                    </a:cubicBezTo>
                    <a:cubicBezTo>
                      <a:pt x="1072" y="182"/>
                      <a:pt x="1072" y="182"/>
                      <a:pt x="1072" y="182"/>
                    </a:cubicBezTo>
                    <a:cubicBezTo>
                      <a:pt x="1070" y="182"/>
                      <a:pt x="1069" y="183"/>
                      <a:pt x="1066" y="183"/>
                    </a:cubicBezTo>
                    <a:cubicBezTo>
                      <a:pt x="1064" y="183"/>
                      <a:pt x="1061" y="181"/>
                      <a:pt x="1060" y="181"/>
                    </a:cubicBezTo>
                    <a:cubicBezTo>
                      <a:pt x="1058" y="180"/>
                      <a:pt x="1057" y="181"/>
                      <a:pt x="1055" y="181"/>
                    </a:cubicBezTo>
                    <a:cubicBezTo>
                      <a:pt x="1055" y="181"/>
                      <a:pt x="1050" y="179"/>
                      <a:pt x="1049" y="179"/>
                    </a:cubicBezTo>
                    <a:cubicBezTo>
                      <a:pt x="1049" y="178"/>
                      <a:pt x="1048" y="176"/>
                      <a:pt x="1047" y="176"/>
                    </a:cubicBezTo>
                    <a:cubicBezTo>
                      <a:pt x="1046" y="176"/>
                      <a:pt x="1043" y="176"/>
                      <a:pt x="1041" y="176"/>
                    </a:cubicBezTo>
                    <a:cubicBezTo>
                      <a:pt x="1042" y="176"/>
                      <a:pt x="1041" y="178"/>
                      <a:pt x="1042" y="178"/>
                    </a:cubicBezTo>
                    <a:cubicBezTo>
                      <a:pt x="1043" y="178"/>
                      <a:pt x="1043" y="178"/>
                      <a:pt x="1044" y="178"/>
                    </a:cubicBezTo>
                    <a:cubicBezTo>
                      <a:pt x="1044" y="178"/>
                      <a:pt x="1044" y="179"/>
                      <a:pt x="1045" y="179"/>
                    </a:cubicBezTo>
                    <a:cubicBezTo>
                      <a:pt x="1045" y="179"/>
                      <a:pt x="1045" y="180"/>
                      <a:pt x="1045" y="180"/>
                    </a:cubicBezTo>
                    <a:cubicBezTo>
                      <a:pt x="1045" y="182"/>
                      <a:pt x="1045" y="182"/>
                      <a:pt x="1045" y="182"/>
                    </a:cubicBezTo>
                    <a:cubicBezTo>
                      <a:pt x="1042" y="182"/>
                      <a:pt x="1039" y="182"/>
                      <a:pt x="1036" y="182"/>
                    </a:cubicBezTo>
                    <a:cubicBezTo>
                      <a:pt x="1036" y="182"/>
                      <a:pt x="1036" y="185"/>
                      <a:pt x="1035" y="186"/>
                    </a:cubicBezTo>
                    <a:cubicBezTo>
                      <a:pt x="1036" y="186"/>
                      <a:pt x="1041" y="187"/>
                      <a:pt x="1040" y="187"/>
                    </a:cubicBezTo>
                    <a:cubicBezTo>
                      <a:pt x="1041" y="187"/>
                      <a:pt x="1042" y="187"/>
                      <a:pt x="1043" y="187"/>
                    </a:cubicBezTo>
                    <a:cubicBezTo>
                      <a:pt x="1044" y="189"/>
                      <a:pt x="1044" y="189"/>
                      <a:pt x="1044" y="189"/>
                    </a:cubicBezTo>
                    <a:cubicBezTo>
                      <a:pt x="1037" y="187"/>
                      <a:pt x="1032" y="188"/>
                      <a:pt x="1035" y="197"/>
                    </a:cubicBezTo>
                    <a:cubicBezTo>
                      <a:pt x="1035" y="198"/>
                      <a:pt x="1036" y="199"/>
                      <a:pt x="1037" y="199"/>
                    </a:cubicBezTo>
                    <a:cubicBezTo>
                      <a:pt x="1036" y="200"/>
                      <a:pt x="1037" y="201"/>
                      <a:pt x="1037" y="203"/>
                    </a:cubicBezTo>
                    <a:cubicBezTo>
                      <a:pt x="1036" y="203"/>
                      <a:pt x="1034" y="204"/>
                      <a:pt x="1033" y="203"/>
                    </a:cubicBezTo>
                    <a:cubicBezTo>
                      <a:pt x="1032" y="203"/>
                      <a:pt x="1032" y="202"/>
                      <a:pt x="1030" y="202"/>
                    </a:cubicBezTo>
                    <a:cubicBezTo>
                      <a:pt x="1030" y="202"/>
                      <a:pt x="1029" y="203"/>
                      <a:pt x="1028" y="203"/>
                    </a:cubicBezTo>
                    <a:cubicBezTo>
                      <a:pt x="1028" y="202"/>
                      <a:pt x="1028" y="202"/>
                      <a:pt x="1029" y="200"/>
                    </a:cubicBezTo>
                    <a:cubicBezTo>
                      <a:pt x="1028" y="200"/>
                      <a:pt x="1028" y="199"/>
                      <a:pt x="1027" y="198"/>
                    </a:cubicBezTo>
                    <a:cubicBezTo>
                      <a:pt x="1027" y="198"/>
                      <a:pt x="1024" y="199"/>
                      <a:pt x="1025" y="199"/>
                    </a:cubicBezTo>
                    <a:cubicBezTo>
                      <a:pt x="1025" y="199"/>
                      <a:pt x="1024" y="199"/>
                      <a:pt x="1023" y="199"/>
                    </a:cubicBezTo>
                    <a:cubicBezTo>
                      <a:pt x="1023" y="200"/>
                      <a:pt x="1024" y="200"/>
                      <a:pt x="1023" y="200"/>
                    </a:cubicBezTo>
                    <a:cubicBezTo>
                      <a:pt x="1023" y="200"/>
                      <a:pt x="1022" y="202"/>
                      <a:pt x="1022" y="203"/>
                    </a:cubicBezTo>
                    <a:cubicBezTo>
                      <a:pt x="1023" y="203"/>
                      <a:pt x="1024" y="204"/>
                      <a:pt x="1024" y="205"/>
                    </a:cubicBezTo>
                    <a:cubicBezTo>
                      <a:pt x="1021" y="206"/>
                      <a:pt x="1019" y="207"/>
                      <a:pt x="1015" y="207"/>
                    </a:cubicBezTo>
                    <a:cubicBezTo>
                      <a:pt x="1015" y="205"/>
                      <a:pt x="1015" y="205"/>
                      <a:pt x="1015" y="205"/>
                    </a:cubicBezTo>
                    <a:cubicBezTo>
                      <a:pt x="1014" y="205"/>
                      <a:pt x="1012" y="206"/>
                      <a:pt x="1011" y="205"/>
                    </a:cubicBezTo>
                    <a:cubicBezTo>
                      <a:pt x="1011" y="205"/>
                      <a:pt x="1011" y="204"/>
                      <a:pt x="1011" y="203"/>
                    </a:cubicBezTo>
                    <a:cubicBezTo>
                      <a:pt x="1008" y="201"/>
                      <a:pt x="1005" y="199"/>
                      <a:pt x="1002" y="198"/>
                    </a:cubicBezTo>
                    <a:cubicBezTo>
                      <a:pt x="1002" y="197"/>
                      <a:pt x="1002" y="197"/>
                      <a:pt x="1002" y="197"/>
                    </a:cubicBezTo>
                    <a:cubicBezTo>
                      <a:pt x="1001" y="197"/>
                      <a:pt x="1000" y="198"/>
                      <a:pt x="999" y="197"/>
                    </a:cubicBezTo>
                    <a:cubicBezTo>
                      <a:pt x="998" y="197"/>
                      <a:pt x="997" y="195"/>
                      <a:pt x="997" y="195"/>
                    </a:cubicBezTo>
                    <a:cubicBezTo>
                      <a:pt x="992" y="195"/>
                      <a:pt x="989" y="200"/>
                      <a:pt x="986" y="201"/>
                    </a:cubicBezTo>
                    <a:cubicBezTo>
                      <a:pt x="985" y="202"/>
                      <a:pt x="984" y="201"/>
                      <a:pt x="983" y="201"/>
                    </a:cubicBezTo>
                    <a:cubicBezTo>
                      <a:pt x="982" y="201"/>
                      <a:pt x="980" y="203"/>
                      <a:pt x="979" y="203"/>
                    </a:cubicBezTo>
                    <a:cubicBezTo>
                      <a:pt x="980" y="201"/>
                      <a:pt x="980" y="199"/>
                      <a:pt x="980" y="197"/>
                    </a:cubicBezTo>
                    <a:cubicBezTo>
                      <a:pt x="980" y="197"/>
                      <a:pt x="979" y="197"/>
                      <a:pt x="979" y="196"/>
                    </a:cubicBezTo>
                    <a:cubicBezTo>
                      <a:pt x="978" y="196"/>
                      <a:pt x="977" y="196"/>
                      <a:pt x="977" y="195"/>
                    </a:cubicBezTo>
                    <a:cubicBezTo>
                      <a:pt x="976" y="194"/>
                      <a:pt x="977" y="193"/>
                      <a:pt x="977" y="192"/>
                    </a:cubicBezTo>
                    <a:cubicBezTo>
                      <a:pt x="977" y="192"/>
                      <a:pt x="975" y="192"/>
                      <a:pt x="975" y="191"/>
                    </a:cubicBezTo>
                    <a:cubicBezTo>
                      <a:pt x="972" y="197"/>
                      <a:pt x="972" y="197"/>
                      <a:pt x="972" y="197"/>
                    </a:cubicBezTo>
                    <a:cubicBezTo>
                      <a:pt x="972" y="199"/>
                      <a:pt x="973" y="201"/>
                      <a:pt x="973" y="202"/>
                    </a:cubicBezTo>
                    <a:cubicBezTo>
                      <a:pt x="973" y="202"/>
                      <a:pt x="970" y="203"/>
                      <a:pt x="970" y="203"/>
                    </a:cubicBezTo>
                    <a:cubicBezTo>
                      <a:pt x="970" y="211"/>
                      <a:pt x="969" y="211"/>
                      <a:pt x="966" y="215"/>
                    </a:cubicBezTo>
                    <a:cubicBezTo>
                      <a:pt x="966" y="216"/>
                      <a:pt x="965" y="218"/>
                      <a:pt x="965" y="219"/>
                    </a:cubicBezTo>
                    <a:cubicBezTo>
                      <a:pt x="964" y="219"/>
                      <a:pt x="963" y="219"/>
                      <a:pt x="962" y="219"/>
                    </a:cubicBezTo>
                    <a:cubicBezTo>
                      <a:pt x="962" y="218"/>
                      <a:pt x="961" y="218"/>
                      <a:pt x="961" y="218"/>
                    </a:cubicBezTo>
                    <a:cubicBezTo>
                      <a:pt x="962" y="215"/>
                      <a:pt x="962" y="214"/>
                      <a:pt x="963" y="211"/>
                    </a:cubicBezTo>
                    <a:cubicBezTo>
                      <a:pt x="962" y="211"/>
                      <a:pt x="961" y="211"/>
                      <a:pt x="961" y="211"/>
                    </a:cubicBezTo>
                    <a:cubicBezTo>
                      <a:pt x="961" y="213"/>
                      <a:pt x="961" y="213"/>
                      <a:pt x="961" y="213"/>
                    </a:cubicBezTo>
                    <a:cubicBezTo>
                      <a:pt x="958" y="213"/>
                      <a:pt x="955" y="209"/>
                      <a:pt x="954" y="208"/>
                    </a:cubicBezTo>
                    <a:cubicBezTo>
                      <a:pt x="951" y="209"/>
                      <a:pt x="950" y="208"/>
                      <a:pt x="948" y="209"/>
                    </a:cubicBezTo>
                    <a:cubicBezTo>
                      <a:pt x="946" y="207"/>
                      <a:pt x="945" y="206"/>
                      <a:pt x="944" y="203"/>
                    </a:cubicBezTo>
                    <a:cubicBezTo>
                      <a:pt x="943" y="204"/>
                      <a:pt x="942" y="204"/>
                      <a:pt x="940" y="205"/>
                    </a:cubicBezTo>
                    <a:cubicBezTo>
                      <a:pt x="940" y="204"/>
                      <a:pt x="941" y="203"/>
                      <a:pt x="940" y="203"/>
                    </a:cubicBezTo>
                    <a:cubicBezTo>
                      <a:pt x="940" y="203"/>
                      <a:pt x="940" y="201"/>
                      <a:pt x="941" y="201"/>
                    </a:cubicBezTo>
                    <a:cubicBezTo>
                      <a:pt x="945" y="198"/>
                      <a:pt x="946" y="202"/>
                      <a:pt x="943" y="196"/>
                    </a:cubicBezTo>
                    <a:cubicBezTo>
                      <a:pt x="942" y="196"/>
                      <a:pt x="942" y="196"/>
                      <a:pt x="942" y="196"/>
                    </a:cubicBezTo>
                    <a:cubicBezTo>
                      <a:pt x="941" y="197"/>
                      <a:pt x="942" y="198"/>
                      <a:pt x="942" y="198"/>
                    </a:cubicBezTo>
                    <a:cubicBezTo>
                      <a:pt x="942" y="198"/>
                      <a:pt x="942" y="199"/>
                      <a:pt x="942" y="199"/>
                    </a:cubicBezTo>
                    <a:cubicBezTo>
                      <a:pt x="941" y="199"/>
                      <a:pt x="939" y="199"/>
                      <a:pt x="938" y="199"/>
                    </a:cubicBezTo>
                    <a:cubicBezTo>
                      <a:pt x="936" y="194"/>
                      <a:pt x="932" y="192"/>
                      <a:pt x="928" y="189"/>
                    </a:cubicBezTo>
                    <a:cubicBezTo>
                      <a:pt x="927" y="189"/>
                      <a:pt x="926" y="189"/>
                      <a:pt x="925" y="189"/>
                    </a:cubicBezTo>
                    <a:cubicBezTo>
                      <a:pt x="922" y="192"/>
                      <a:pt x="926" y="196"/>
                      <a:pt x="926" y="197"/>
                    </a:cubicBezTo>
                    <a:cubicBezTo>
                      <a:pt x="926" y="197"/>
                      <a:pt x="926" y="199"/>
                      <a:pt x="926" y="198"/>
                    </a:cubicBezTo>
                    <a:cubicBezTo>
                      <a:pt x="925" y="198"/>
                      <a:pt x="926" y="200"/>
                      <a:pt x="925" y="199"/>
                    </a:cubicBezTo>
                    <a:cubicBezTo>
                      <a:pt x="923" y="197"/>
                      <a:pt x="923" y="192"/>
                      <a:pt x="920" y="190"/>
                    </a:cubicBezTo>
                    <a:cubicBezTo>
                      <a:pt x="919" y="190"/>
                      <a:pt x="918" y="190"/>
                      <a:pt x="917" y="190"/>
                    </a:cubicBezTo>
                    <a:cubicBezTo>
                      <a:pt x="916" y="190"/>
                      <a:pt x="909" y="187"/>
                      <a:pt x="912" y="187"/>
                    </a:cubicBezTo>
                    <a:cubicBezTo>
                      <a:pt x="914" y="188"/>
                      <a:pt x="915" y="188"/>
                      <a:pt x="918" y="188"/>
                    </a:cubicBezTo>
                    <a:cubicBezTo>
                      <a:pt x="917" y="186"/>
                      <a:pt x="917" y="185"/>
                      <a:pt x="916" y="183"/>
                    </a:cubicBezTo>
                    <a:cubicBezTo>
                      <a:pt x="915" y="184"/>
                      <a:pt x="914" y="184"/>
                      <a:pt x="912" y="184"/>
                    </a:cubicBezTo>
                    <a:cubicBezTo>
                      <a:pt x="911" y="187"/>
                      <a:pt x="911" y="187"/>
                      <a:pt x="911" y="187"/>
                    </a:cubicBezTo>
                    <a:cubicBezTo>
                      <a:pt x="910" y="187"/>
                      <a:pt x="910" y="187"/>
                      <a:pt x="910" y="187"/>
                    </a:cubicBezTo>
                    <a:cubicBezTo>
                      <a:pt x="909" y="187"/>
                      <a:pt x="908" y="185"/>
                      <a:pt x="907" y="185"/>
                    </a:cubicBezTo>
                    <a:cubicBezTo>
                      <a:pt x="905" y="184"/>
                      <a:pt x="904" y="185"/>
                      <a:pt x="904" y="185"/>
                    </a:cubicBezTo>
                    <a:cubicBezTo>
                      <a:pt x="904" y="185"/>
                      <a:pt x="905" y="185"/>
                      <a:pt x="906" y="184"/>
                    </a:cubicBezTo>
                    <a:cubicBezTo>
                      <a:pt x="906" y="184"/>
                      <a:pt x="907" y="183"/>
                      <a:pt x="908" y="182"/>
                    </a:cubicBezTo>
                    <a:cubicBezTo>
                      <a:pt x="908" y="182"/>
                      <a:pt x="906" y="180"/>
                      <a:pt x="906" y="180"/>
                    </a:cubicBezTo>
                    <a:cubicBezTo>
                      <a:pt x="906" y="180"/>
                      <a:pt x="903" y="181"/>
                      <a:pt x="904" y="181"/>
                    </a:cubicBezTo>
                    <a:cubicBezTo>
                      <a:pt x="898" y="182"/>
                      <a:pt x="904" y="180"/>
                      <a:pt x="904" y="179"/>
                    </a:cubicBezTo>
                    <a:cubicBezTo>
                      <a:pt x="906" y="178"/>
                      <a:pt x="905" y="178"/>
                      <a:pt x="905" y="176"/>
                    </a:cubicBezTo>
                    <a:cubicBezTo>
                      <a:pt x="906" y="176"/>
                      <a:pt x="907" y="176"/>
                      <a:pt x="908" y="176"/>
                    </a:cubicBezTo>
                    <a:cubicBezTo>
                      <a:pt x="909" y="176"/>
                      <a:pt x="911" y="174"/>
                      <a:pt x="911" y="174"/>
                    </a:cubicBezTo>
                    <a:cubicBezTo>
                      <a:pt x="912" y="174"/>
                      <a:pt x="913" y="174"/>
                      <a:pt x="914" y="174"/>
                    </a:cubicBezTo>
                    <a:cubicBezTo>
                      <a:pt x="916" y="173"/>
                      <a:pt x="917" y="170"/>
                      <a:pt x="919" y="169"/>
                    </a:cubicBezTo>
                    <a:cubicBezTo>
                      <a:pt x="920" y="169"/>
                      <a:pt x="920" y="169"/>
                      <a:pt x="920" y="169"/>
                    </a:cubicBezTo>
                    <a:cubicBezTo>
                      <a:pt x="920" y="168"/>
                      <a:pt x="919" y="166"/>
                      <a:pt x="920" y="165"/>
                    </a:cubicBezTo>
                    <a:cubicBezTo>
                      <a:pt x="918" y="165"/>
                      <a:pt x="916" y="166"/>
                      <a:pt x="914" y="165"/>
                    </a:cubicBezTo>
                    <a:cubicBezTo>
                      <a:pt x="913" y="165"/>
                      <a:pt x="912" y="162"/>
                      <a:pt x="911" y="161"/>
                    </a:cubicBezTo>
                    <a:cubicBezTo>
                      <a:pt x="910" y="161"/>
                      <a:pt x="909" y="162"/>
                      <a:pt x="908" y="161"/>
                    </a:cubicBezTo>
                    <a:cubicBezTo>
                      <a:pt x="907" y="161"/>
                      <a:pt x="907" y="160"/>
                      <a:pt x="907" y="159"/>
                    </a:cubicBezTo>
                    <a:cubicBezTo>
                      <a:pt x="905" y="158"/>
                      <a:pt x="900" y="158"/>
                      <a:pt x="898" y="159"/>
                    </a:cubicBezTo>
                    <a:cubicBezTo>
                      <a:pt x="889" y="161"/>
                      <a:pt x="888" y="162"/>
                      <a:pt x="889" y="169"/>
                    </a:cubicBezTo>
                    <a:cubicBezTo>
                      <a:pt x="891" y="170"/>
                      <a:pt x="891" y="169"/>
                      <a:pt x="892" y="170"/>
                    </a:cubicBezTo>
                    <a:cubicBezTo>
                      <a:pt x="892" y="170"/>
                      <a:pt x="892" y="173"/>
                      <a:pt x="892" y="173"/>
                    </a:cubicBezTo>
                    <a:cubicBezTo>
                      <a:pt x="894" y="174"/>
                      <a:pt x="897" y="172"/>
                      <a:pt x="899" y="173"/>
                    </a:cubicBezTo>
                    <a:cubicBezTo>
                      <a:pt x="899" y="173"/>
                      <a:pt x="901" y="175"/>
                      <a:pt x="902" y="175"/>
                    </a:cubicBezTo>
                    <a:cubicBezTo>
                      <a:pt x="904" y="176"/>
                      <a:pt x="901" y="176"/>
                      <a:pt x="900" y="177"/>
                    </a:cubicBezTo>
                    <a:cubicBezTo>
                      <a:pt x="900" y="177"/>
                      <a:pt x="900" y="180"/>
                      <a:pt x="901" y="179"/>
                    </a:cubicBezTo>
                    <a:cubicBezTo>
                      <a:pt x="896" y="180"/>
                      <a:pt x="896" y="180"/>
                      <a:pt x="896" y="180"/>
                    </a:cubicBezTo>
                    <a:cubicBezTo>
                      <a:pt x="895" y="181"/>
                      <a:pt x="895" y="182"/>
                      <a:pt x="896" y="183"/>
                    </a:cubicBezTo>
                    <a:cubicBezTo>
                      <a:pt x="892" y="183"/>
                      <a:pt x="889" y="183"/>
                      <a:pt x="886" y="182"/>
                    </a:cubicBezTo>
                    <a:cubicBezTo>
                      <a:pt x="885" y="182"/>
                      <a:pt x="884" y="179"/>
                      <a:pt x="882" y="179"/>
                    </a:cubicBezTo>
                    <a:cubicBezTo>
                      <a:pt x="881" y="178"/>
                      <a:pt x="881" y="180"/>
                      <a:pt x="880" y="179"/>
                    </a:cubicBezTo>
                    <a:cubicBezTo>
                      <a:pt x="879" y="179"/>
                      <a:pt x="876" y="177"/>
                      <a:pt x="875" y="177"/>
                    </a:cubicBezTo>
                    <a:cubicBezTo>
                      <a:pt x="874" y="177"/>
                      <a:pt x="873" y="178"/>
                      <a:pt x="873" y="178"/>
                    </a:cubicBezTo>
                    <a:cubicBezTo>
                      <a:pt x="870" y="179"/>
                      <a:pt x="868" y="176"/>
                      <a:pt x="865" y="177"/>
                    </a:cubicBezTo>
                    <a:cubicBezTo>
                      <a:pt x="865" y="177"/>
                      <a:pt x="865" y="179"/>
                      <a:pt x="865" y="179"/>
                    </a:cubicBezTo>
                    <a:cubicBezTo>
                      <a:pt x="865" y="179"/>
                      <a:pt x="864" y="179"/>
                      <a:pt x="863" y="179"/>
                    </a:cubicBezTo>
                    <a:cubicBezTo>
                      <a:pt x="862" y="178"/>
                      <a:pt x="861" y="176"/>
                      <a:pt x="860" y="175"/>
                    </a:cubicBezTo>
                    <a:cubicBezTo>
                      <a:pt x="859" y="175"/>
                      <a:pt x="858" y="176"/>
                      <a:pt x="857" y="175"/>
                    </a:cubicBezTo>
                    <a:cubicBezTo>
                      <a:pt x="856" y="174"/>
                      <a:pt x="856" y="174"/>
                      <a:pt x="856" y="174"/>
                    </a:cubicBezTo>
                    <a:cubicBezTo>
                      <a:pt x="855" y="173"/>
                      <a:pt x="854" y="174"/>
                      <a:pt x="852" y="173"/>
                    </a:cubicBezTo>
                    <a:cubicBezTo>
                      <a:pt x="851" y="173"/>
                      <a:pt x="850" y="172"/>
                      <a:pt x="848" y="171"/>
                    </a:cubicBezTo>
                    <a:cubicBezTo>
                      <a:pt x="849" y="170"/>
                      <a:pt x="848" y="170"/>
                      <a:pt x="848" y="169"/>
                    </a:cubicBezTo>
                    <a:cubicBezTo>
                      <a:pt x="850" y="169"/>
                      <a:pt x="850" y="169"/>
                      <a:pt x="850" y="169"/>
                    </a:cubicBezTo>
                    <a:cubicBezTo>
                      <a:pt x="850" y="166"/>
                      <a:pt x="850" y="164"/>
                      <a:pt x="850" y="162"/>
                    </a:cubicBezTo>
                    <a:cubicBezTo>
                      <a:pt x="847" y="162"/>
                      <a:pt x="844" y="161"/>
                      <a:pt x="839" y="161"/>
                    </a:cubicBezTo>
                    <a:cubicBezTo>
                      <a:pt x="839" y="162"/>
                      <a:pt x="837" y="162"/>
                      <a:pt x="835" y="162"/>
                    </a:cubicBezTo>
                    <a:cubicBezTo>
                      <a:pt x="834" y="160"/>
                      <a:pt x="834" y="160"/>
                      <a:pt x="834" y="160"/>
                    </a:cubicBezTo>
                    <a:cubicBezTo>
                      <a:pt x="833" y="160"/>
                      <a:pt x="831" y="161"/>
                      <a:pt x="829" y="161"/>
                    </a:cubicBezTo>
                    <a:cubicBezTo>
                      <a:pt x="827" y="161"/>
                      <a:pt x="824" y="158"/>
                      <a:pt x="821" y="158"/>
                    </a:cubicBezTo>
                    <a:cubicBezTo>
                      <a:pt x="820" y="158"/>
                      <a:pt x="819" y="160"/>
                      <a:pt x="819" y="161"/>
                    </a:cubicBezTo>
                    <a:cubicBezTo>
                      <a:pt x="814" y="164"/>
                      <a:pt x="810" y="165"/>
                      <a:pt x="807" y="170"/>
                    </a:cubicBezTo>
                    <a:cubicBezTo>
                      <a:pt x="807" y="171"/>
                      <a:pt x="807" y="172"/>
                      <a:pt x="807" y="173"/>
                    </a:cubicBezTo>
                    <a:cubicBezTo>
                      <a:pt x="807" y="172"/>
                      <a:pt x="806" y="172"/>
                      <a:pt x="805" y="172"/>
                    </a:cubicBezTo>
                    <a:cubicBezTo>
                      <a:pt x="805" y="172"/>
                      <a:pt x="806" y="170"/>
                      <a:pt x="805" y="169"/>
                    </a:cubicBezTo>
                    <a:cubicBezTo>
                      <a:pt x="805" y="168"/>
                      <a:pt x="807" y="167"/>
                      <a:pt x="807" y="164"/>
                    </a:cubicBezTo>
                    <a:cubicBezTo>
                      <a:pt x="807" y="164"/>
                      <a:pt x="805" y="162"/>
                      <a:pt x="805" y="162"/>
                    </a:cubicBezTo>
                    <a:cubicBezTo>
                      <a:pt x="805" y="162"/>
                      <a:pt x="802" y="161"/>
                      <a:pt x="803" y="161"/>
                    </a:cubicBezTo>
                    <a:cubicBezTo>
                      <a:pt x="803" y="163"/>
                      <a:pt x="803" y="165"/>
                      <a:pt x="803" y="166"/>
                    </a:cubicBezTo>
                    <a:cubicBezTo>
                      <a:pt x="790" y="166"/>
                      <a:pt x="793" y="168"/>
                      <a:pt x="789" y="159"/>
                    </a:cubicBezTo>
                    <a:cubicBezTo>
                      <a:pt x="787" y="159"/>
                      <a:pt x="787" y="159"/>
                      <a:pt x="787" y="159"/>
                    </a:cubicBezTo>
                    <a:cubicBezTo>
                      <a:pt x="787" y="160"/>
                      <a:pt x="787" y="160"/>
                      <a:pt x="787" y="161"/>
                    </a:cubicBezTo>
                    <a:cubicBezTo>
                      <a:pt x="785" y="161"/>
                      <a:pt x="787" y="162"/>
                      <a:pt x="785" y="162"/>
                    </a:cubicBezTo>
                    <a:cubicBezTo>
                      <a:pt x="783" y="162"/>
                      <a:pt x="784" y="158"/>
                      <a:pt x="780" y="161"/>
                    </a:cubicBezTo>
                    <a:cubicBezTo>
                      <a:pt x="780" y="161"/>
                      <a:pt x="779" y="163"/>
                      <a:pt x="779" y="163"/>
                    </a:cubicBezTo>
                    <a:cubicBezTo>
                      <a:pt x="779" y="164"/>
                      <a:pt x="778" y="164"/>
                      <a:pt x="777" y="165"/>
                    </a:cubicBezTo>
                    <a:cubicBezTo>
                      <a:pt x="777" y="166"/>
                      <a:pt x="777" y="166"/>
                      <a:pt x="777" y="166"/>
                    </a:cubicBezTo>
                    <a:cubicBezTo>
                      <a:pt x="776" y="165"/>
                      <a:pt x="776" y="168"/>
                      <a:pt x="776" y="168"/>
                    </a:cubicBezTo>
                    <a:cubicBezTo>
                      <a:pt x="776" y="168"/>
                      <a:pt x="777" y="170"/>
                      <a:pt x="777" y="170"/>
                    </a:cubicBezTo>
                    <a:cubicBezTo>
                      <a:pt x="778" y="170"/>
                      <a:pt x="781" y="171"/>
                      <a:pt x="781" y="171"/>
                    </a:cubicBezTo>
                    <a:cubicBezTo>
                      <a:pt x="781" y="171"/>
                      <a:pt x="780" y="173"/>
                      <a:pt x="779" y="173"/>
                    </a:cubicBezTo>
                    <a:cubicBezTo>
                      <a:pt x="776" y="174"/>
                      <a:pt x="775" y="172"/>
                      <a:pt x="773" y="171"/>
                    </a:cubicBezTo>
                    <a:cubicBezTo>
                      <a:pt x="773" y="172"/>
                      <a:pt x="774" y="172"/>
                      <a:pt x="774" y="173"/>
                    </a:cubicBezTo>
                    <a:cubicBezTo>
                      <a:pt x="773" y="174"/>
                      <a:pt x="772" y="176"/>
                      <a:pt x="771" y="176"/>
                    </a:cubicBezTo>
                    <a:cubicBezTo>
                      <a:pt x="769" y="177"/>
                      <a:pt x="767" y="176"/>
                      <a:pt x="765" y="177"/>
                    </a:cubicBezTo>
                    <a:cubicBezTo>
                      <a:pt x="764" y="178"/>
                      <a:pt x="766" y="179"/>
                      <a:pt x="764" y="179"/>
                    </a:cubicBezTo>
                    <a:cubicBezTo>
                      <a:pt x="761" y="179"/>
                      <a:pt x="758" y="176"/>
                      <a:pt x="753" y="178"/>
                    </a:cubicBezTo>
                    <a:cubicBezTo>
                      <a:pt x="753" y="179"/>
                      <a:pt x="753" y="179"/>
                      <a:pt x="753" y="179"/>
                    </a:cubicBezTo>
                    <a:cubicBezTo>
                      <a:pt x="752" y="179"/>
                      <a:pt x="754" y="180"/>
                      <a:pt x="753" y="181"/>
                    </a:cubicBezTo>
                    <a:cubicBezTo>
                      <a:pt x="749" y="183"/>
                      <a:pt x="749" y="183"/>
                      <a:pt x="749" y="183"/>
                    </a:cubicBezTo>
                    <a:cubicBezTo>
                      <a:pt x="745" y="184"/>
                      <a:pt x="738" y="184"/>
                      <a:pt x="733" y="184"/>
                    </a:cubicBezTo>
                    <a:cubicBezTo>
                      <a:pt x="734" y="183"/>
                      <a:pt x="734" y="183"/>
                      <a:pt x="734" y="183"/>
                    </a:cubicBezTo>
                    <a:cubicBezTo>
                      <a:pt x="739" y="181"/>
                      <a:pt x="746" y="182"/>
                      <a:pt x="749" y="179"/>
                    </a:cubicBezTo>
                    <a:cubicBezTo>
                      <a:pt x="751" y="178"/>
                      <a:pt x="750" y="175"/>
                      <a:pt x="753" y="174"/>
                    </a:cubicBezTo>
                    <a:cubicBezTo>
                      <a:pt x="755" y="173"/>
                      <a:pt x="756" y="174"/>
                      <a:pt x="758" y="173"/>
                    </a:cubicBezTo>
                    <a:cubicBezTo>
                      <a:pt x="759" y="173"/>
                      <a:pt x="760" y="172"/>
                      <a:pt x="760" y="171"/>
                    </a:cubicBezTo>
                    <a:cubicBezTo>
                      <a:pt x="762" y="171"/>
                      <a:pt x="764" y="171"/>
                      <a:pt x="765" y="170"/>
                    </a:cubicBezTo>
                    <a:cubicBezTo>
                      <a:pt x="767" y="169"/>
                      <a:pt x="767" y="165"/>
                      <a:pt x="769" y="164"/>
                    </a:cubicBezTo>
                    <a:cubicBezTo>
                      <a:pt x="771" y="163"/>
                      <a:pt x="772" y="164"/>
                      <a:pt x="773" y="163"/>
                    </a:cubicBezTo>
                    <a:cubicBezTo>
                      <a:pt x="772" y="161"/>
                      <a:pt x="772" y="160"/>
                      <a:pt x="772" y="157"/>
                    </a:cubicBezTo>
                    <a:cubicBezTo>
                      <a:pt x="773" y="157"/>
                      <a:pt x="774" y="157"/>
                      <a:pt x="775" y="156"/>
                    </a:cubicBezTo>
                    <a:cubicBezTo>
                      <a:pt x="775" y="155"/>
                      <a:pt x="775" y="153"/>
                      <a:pt x="775" y="153"/>
                    </a:cubicBezTo>
                    <a:cubicBezTo>
                      <a:pt x="777" y="152"/>
                      <a:pt x="779" y="153"/>
                      <a:pt x="780" y="153"/>
                    </a:cubicBezTo>
                    <a:cubicBezTo>
                      <a:pt x="781" y="153"/>
                      <a:pt x="786" y="152"/>
                      <a:pt x="788" y="151"/>
                    </a:cubicBezTo>
                    <a:cubicBezTo>
                      <a:pt x="788" y="151"/>
                      <a:pt x="790" y="149"/>
                      <a:pt x="790" y="149"/>
                    </a:cubicBezTo>
                    <a:cubicBezTo>
                      <a:pt x="791" y="148"/>
                      <a:pt x="793" y="149"/>
                      <a:pt x="795" y="149"/>
                    </a:cubicBezTo>
                    <a:cubicBezTo>
                      <a:pt x="797" y="149"/>
                      <a:pt x="811" y="145"/>
                      <a:pt x="813" y="144"/>
                    </a:cubicBezTo>
                    <a:cubicBezTo>
                      <a:pt x="817" y="140"/>
                      <a:pt x="809" y="134"/>
                      <a:pt x="807" y="134"/>
                    </a:cubicBezTo>
                    <a:cubicBezTo>
                      <a:pt x="807" y="133"/>
                      <a:pt x="807" y="131"/>
                      <a:pt x="808" y="131"/>
                    </a:cubicBezTo>
                    <a:cubicBezTo>
                      <a:pt x="808" y="131"/>
                      <a:pt x="809" y="132"/>
                      <a:pt x="809" y="132"/>
                    </a:cubicBezTo>
                    <a:cubicBezTo>
                      <a:pt x="810" y="133"/>
                      <a:pt x="811" y="132"/>
                      <a:pt x="813" y="133"/>
                    </a:cubicBezTo>
                    <a:cubicBezTo>
                      <a:pt x="813" y="130"/>
                      <a:pt x="815" y="127"/>
                      <a:pt x="813" y="124"/>
                    </a:cubicBezTo>
                    <a:cubicBezTo>
                      <a:pt x="812" y="124"/>
                      <a:pt x="810" y="124"/>
                      <a:pt x="810" y="124"/>
                    </a:cubicBezTo>
                    <a:cubicBezTo>
                      <a:pt x="809" y="122"/>
                      <a:pt x="808" y="120"/>
                      <a:pt x="808" y="117"/>
                    </a:cubicBezTo>
                    <a:cubicBezTo>
                      <a:pt x="805" y="116"/>
                      <a:pt x="799" y="116"/>
                      <a:pt x="798" y="114"/>
                    </a:cubicBezTo>
                    <a:cubicBezTo>
                      <a:pt x="796" y="111"/>
                      <a:pt x="798" y="108"/>
                      <a:pt x="795" y="106"/>
                    </a:cubicBezTo>
                    <a:cubicBezTo>
                      <a:pt x="794" y="106"/>
                      <a:pt x="794" y="106"/>
                      <a:pt x="794" y="106"/>
                    </a:cubicBezTo>
                    <a:cubicBezTo>
                      <a:pt x="793" y="106"/>
                      <a:pt x="792" y="107"/>
                      <a:pt x="792" y="107"/>
                    </a:cubicBezTo>
                    <a:cubicBezTo>
                      <a:pt x="790" y="107"/>
                      <a:pt x="789" y="107"/>
                      <a:pt x="787" y="107"/>
                    </a:cubicBezTo>
                    <a:cubicBezTo>
                      <a:pt x="787" y="107"/>
                      <a:pt x="785" y="109"/>
                      <a:pt x="785" y="109"/>
                    </a:cubicBezTo>
                    <a:cubicBezTo>
                      <a:pt x="783" y="109"/>
                      <a:pt x="783" y="107"/>
                      <a:pt x="782" y="107"/>
                    </a:cubicBezTo>
                    <a:cubicBezTo>
                      <a:pt x="780" y="106"/>
                      <a:pt x="768" y="109"/>
                      <a:pt x="767" y="110"/>
                    </a:cubicBezTo>
                    <a:cubicBezTo>
                      <a:pt x="766" y="110"/>
                      <a:pt x="765" y="112"/>
                      <a:pt x="765" y="113"/>
                    </a:cubicBezTo>
                    <a:cubicBezTo>
                      <a:pt x="763" y="115"/>
                      <a:pt x="759" y="116"/>
                      <a:pt x="756" y="116"/>
                    </a:cubicBezTo>
                    <a:cubicBezTo>
                      <a:pt x="757" y="113"/>
                      <a:pt x="758" y="110"/>
                      <a:pt x="759" y="107"/>
                    </a:cubicBezTo>
                    <a:cubicBezTo>
                      <a:pt x="758" y="107"/>
                      <a:pt x="755" y="107"/>
                      <a:pt x="753" y="106"/>
                    </a:cubicBezTo>
                    <a:cubicBezTo>
                      <a:pt x="752" y="104"/>
                      <a:pt x="752" y="104"/>
                      <a:pt x="752" y="104"/>
                    </a:cubicBezTo>
                    <a:cubicBezTo>
                      <a:pt x="749" y="104"/>
                      <a:pt x="748" y="106"/>
                      <a:pt x="745" y="106"/>
                    </a:cubicBezTo>
                    <a:cubicBezTo>
                      <a:pt x="744" y="105"/>
                      <a:pt x="745" y="105"/>
                      <a:pt x="745" y="105"/>
                    </a:cubicBezTo>
                    <a:cubicBezTo>
                      <a:pt x="747" y="102"/>
                      <a:pt x="742" y="104"/>
                      <a:pt x="741" y="104"/>
                    </a:cubicBezTo>
                    <a:cubicBezTo>
                      <a:pt x="741" y="103"/>
                      <a:pt x="743" y="100"/>
                      <a:pt x="744" y="100"/>
                    </a:cubicBezTo>
                    <a:cubicBezTo>
                      <a:pt x="745" y="99"/>
                      <a:pt x="746" y="100"/>
                      <a:pt x="746" y="100"/>
                    </a:cubicBezTo>
                    <a:cubicBezTo>
                      <a:pt x="745" y="99"/>
                      <a:pt x="746" y="97"/>
                      <a:pt x="745" y="96"/>
                    </a:cubicBezTo>
                    <a:cubicBezTo>
                      <a:pt x="743" y="96"/>
                      <a:pt x="741" y="97"/>
                      <a:pt x="740" y="96"/>
                    </a:cubicBezTo>
                    <a:cubicBezTo>
                      <a:pt x="739" y="96"/>
                      <a:pt x="740" y="94"/>
                      <a:pt x="739" y="93"/>
                    </a:cubicBezTo>
                    <a:cubicBezTo>
                      <a:pt x="738" y="93"/>
                      <a:pt x="737" y="94"/>
                      <a:pt x="734" y="94"/>
                    </a:cubicBezTo>
                    <a:cubicBezTo>
                      <a:pt x="734" y="94"/>
                      <a:pt x="732" y="92"/>
                      <a:pt x="730" y="92"/>
                    </a:cubicBezTo>
                    <a:cubicBezTo>
                      <a:pt x="729" y="93"/>
                      <a:pt x="728" y="96"/>
                      <a:pt x="726" y="96"/>
                    </a:cubicBezTo>
                    <a:cubicBezTo>
                      <a:pt x="723" y="96"/>
                      <a:pt x="723" y="94"/>
                      <a:pt x="719" y="94"/>
                    </a:cubicBezTo>
                    <a:cubicBezTo>
                      <a:pt x="718" y="96"/>
                      <a:pt x="718" y="96"/>
                      <a:pt x="718" y="96"/>
                    </a:cubicBezTo>
                    <a:cubicBezTo>
                      <a:pt x="716" y="97"/>
                      <a:pt x="715" y="96"/>
                      <a:pt x="713" y="97"/>
                    </a:cubicBezTo>
                    <a:cubicBezTo>
                      <a:pt x="711" y="98"/>
                      <a:pt x="713" y="99"/>
                      <a:pt x="712" y="101"/>
                    </a:cubicBezTo>
                    <a:cubicBezTo>
                      <a:pt x="711" y="101"/>
                      <a:pt x="705" y="105"/>
                      <a:pt x="704" y="106"/>
                    </a:cubicBezTo>
                    <a:cubicBezTo>
                      <a:pt x="704" y="106"/>
                      <a:pt x="704" y="106"/>
                      <a:pt x="704" y="106"/>
                    </a:cubicBezTo>
                    <a:cubicBezTo>
                      <a:pt x="703" y="107"/>
                      <a:pt x="704" y="109"/>
                      <a:pt x="704" y="110"/>
                    </a:cubicBezTo>
                    <a:cubicBezTo>
                      <a:pt x="706" y="112"/>
                      <a:pt x="707" y="113"/>
                      <a:pt x="709" y="116"/>
                    </a:cubicBezTo>
                    <a:cubicBezTo>
                      <a:pt x="708" y="115"/>
                      <a:pt x="707" y="116"/>
                      <a:pt x="706" y="116"/>
                    </a:cubicBezTo>
                    <a:cubicBezTo>
                      <a:pt x="705" y="115"/>
                      <a:pt x="703" y="113"/>
                      <a:pt x="703" y="113"/>
                    </a:cubicBezTo>
                    <a:cubicBezTo>
                      <a:pt x="701" y="113"/>
                      <a:pt x="700" y="114"/>
                      <a:pt x="700" y="114"/>
                    </a:cubicBezTo>
                    <a:cubicBezTo>
                      <a:pt x="696" y="115"/>
                      <a:pt x="691" y="114"/>
                      <a:pt x="687" y="114"/>
                    </a:cubicBezTo>
                    <a:cubicBezTo>
                      <a:pt x="687" y="114"/>
                      <a:pt x="687" y="116"/>
                      <a:pt x="688" y="116"/>
                    </a:cubicBezTo>
                    <a:cubicBezTo>
                      <a:pt x="689" y="117"/>
                      <a:pt x="689" y="116"/>
                      <a:pt x="690" y="117"/>
                    </a:cubicBezTo>
                    <a:cubicBezTo>
                      <a:pt x="692" y="118"/>
                      <a:pt x="692" y="122"/>
                      <a:pt x="693" y="125"/>
                    </a:cubicBezTo>
                    <a:cubicBezTo>
                      <a:pt x="693" y="125"/>
                      <a:pt x="691" y="125"/>
                      <a:pt x="691" y="126"/>
                    </a:cubicBezTo>
                    <a:cubicBezTo>
                      <a:pt x="690" y="128"/>
                      <a:pt x="690" y="128"/>
                      <a:pt x="690" y="128"/>
                    </a:cubicBezTo>
                    <a:cubicBezTo>
                      <a:pt x="688" y="128"/>
                      <a:pt x="692" y="121"/>
                      <a:pt x="690" y="120"/>
                    </a:cubicBezTo>
                    <a:cubicBezTo>
                      <a:pt x="685" y="116"/>
                      <a:pt x="684" y="119"/>
                      <a:pt x="681" y="122"/>
                    </a:cubicBezTo>
                    <a:cubicBezTo>
                      <a:pt x="680" y="123"/>
                      <a:pt x="678" y="124"/>
                      <a:pt x="677" y="125"/>
                    </a:cubicBezTo>
                    <a:cubicBezTo>
                      <a:pt x="677" y="125"/>
                      <a:pt x="676" y="124"/>
                      <a:pt x="674" y="124"/>
                    </a:cubicBezTo>
                    <a:cubicBezTo>
                      <a:pt x="674" y="124"/>
                      <a:pt x="673" y="126"/>
                      <a:pt x="673" y="127"/>
                    </a:cubicBezTo>
                    <a:cubicBezTo>
                      <a:pt x="672" y="127"/>
                      <a:pt x="672" y="127"/>
                      <a:pt x="672" y="127"/>
                    </a:cubicBezTo>
                    <a:cubicBezTo>
                      <a:pt x="671" y="126"/>
                      <a:pt x="672" y="125"/>
                      <a:pt x="672" y="124"/>
                    </a:cubicBezTo>
                    <a:cubicBezTo>
                      <a:pt x="670" y="124"/>
                      <a:pt x="670" y="124"/>
                      <a:pt x="670" y="124"/>
                    </a:cubicBezTo>
                    <a:cubicBezTo>
                      <a:pt x="669" y="124"/>
                      <a:pt x="670" y="126"/>
                      <a:pt x="669" y="126"/>
                    </a:cubicBezTo>
                    <a:cubicBezTo>
                      <a:pt x="667" y="127"/>
                      <a:pt x="665" y="127"/>
                      <a:pt x="664" y="128"/>
                    </a:cubicBezTo>
                    <a:cubicBezTo>
                      <a:pt x="664" y="126"/>
                      <a:pt x="664" y="126"/>
                      <a:pt x="664" y="126"/>
                    </a:cubicBezTo>
                    <a:cubicBezTo>
                      <a:pt x="666" y="125"/>
                      <a:pt x="667" y="124"/>
                      <a:pt x="668" y="122"/>
                    </a:cubicBezTo>
                    <a:cubicBezTo>
                      <a:pt x="670" y="123"/>
                      <a:pt x="669" y="120"/>
                      <a:pt x="667" y="119"/>
                    </a:cubicBezTo>
                    <a:cubicBezTo>
                      <a:pt x="664" y="117"/>
                      <a:pt x="663" y="120"/>
                      <a:pt x="660" y="120"/>
                    </a:cubicBezTo>
                    <a:cubicBezTo>
                      <a:pt x="659" y="120"/>
                      <a:pt x="658" y="118"/>
                      <a:pt x="656" y="118"/>
                    </a:cubicBezTo>
                    <a:cubicBezTo>
                      <a:pt x="655" y="120"/>
                      <a:pt x="655" y="120"/>
                      <a:pt x="655" y="120"/>
                    </a:cubicBezTo>
                    <a:cubicBezTo>
                      <a:pt x="653" y="120"/>
                      <a:pt x="653" y="119"/>
                      <a:pt x="652" y="118"/>
                    </a:cubicBezTo>
                    <a:cubicBezTo>
                      <a:pt x="651" y="118"/>
                      <a:pt x="647" y="118"/>
                      <a:pt x="648" y="118"/>
                    </a:cubicBezTo>
                    <a:cubicBezTo>
                      <a:pt x="646" y="118"/>
                      <a:pt x="646" y="118"/>
                      <a:pt x="646" y="118"/>
                    </a:cubicBezTo>
                    <a:cubicBezTo>
                      <a:pt x="646" y="118"/>
                      <a:pt x="647" y="119"/>
                      <a:pt x="645" y="120"/>
                    </a:cubicBezTo>
                    <a:cubicBezTo>
                      <a:pt x="644" y="120"/>
                      <a:pt x="643" y="118"/>
                      <a:pt x="642" y="118"/>
                    </a:cubicBezTo>
                    <a:cubicBezTo>
                      <a:pt x="636" y="118"/>
                      <a:pt x="643" y="122"/>
                      <a:pt x="638" y="123"/>
                    </a:cubicBezTo>
                    <a:cubicBezTo>
                      <a:pt x="635" y="123"/>
                      <a:pt x="633" y="122"/>
                      <a:pt x="630" y="123"/>
                    </a:cubicBezTo>
                    <a:cubicBezTo>
                      <a:pt x="629" y="123"/>
                      <a:pt x="626" y="125"/>
                      <a:pt x="626" y="125"/>
                    </a:cubicBezTo>
                    <a:cubicBezTo>
                      <a:pt x="623" y="126"/>
                      <a:pt x="622" y="124"/>
                      <a:pt x="619" y="125"/>
                    </a:cubicBezTo>
                    <a:cubicBezTo>
                      <a:pt x="619" y="125"/>
                      <a:pt x="615" y="127"/>
                      <a:pt x="615" y="127"/>
                    </a:cubicBezTo>
                    <a:cubicBezTo>
                      <a:pt x="613" y="127"/>
                      <a:pt x="613" y="125"/>
                      <a:pt x="611" y="126"/>
                    </a:cubicBezTo>
                    <a:cubicBezTo>
                      <a:pt x="608" y="126"/>
                      <a:pt x="607" y="128"/>
                      <a:pt x="605" y="129"/>
                    </a:cubicBezTo>
                    <a:cubicBezTo>
                      <a:pt x="604" y="130"/>
                      <a:pt x="603" y="129"/>
                      <a:pt x="602" y="130"/>
                    </a:cubicBezTo>
                    <a:cubicBezTo>
                      <a:pt x="601" y="131"/>
                      <a:pt x="601" y="131"/>
                      <a:pt x="601" y="131"/>
                    </a:cubicBezTo>
                    <a:cubicBezTo>
                      <a:pt x="600" y="131"/>
                      <a:pt x="598" y="131"/>
                      <a:pt x="597" y="131"/>
                    </a:cubicBezTo>
                    <a:cubicBezTo>
                      <a:pt x="595" y="132"/>
                      <a:pt x="595" y="132"/>
                      <a:pt x="595" y="132"/>
                    </a:cubicBezTo>
                    <a:cubicBezTo>
                      <a:pt x="592" y="133"/>
                      <a:pt x="591" y="132"/>
                      <a:pt x="587" y="132"/>
                    </a:cubicBezTo>
                    <a:cubicBezTo>
                      <a:pt x="588" y="132"/>
                      <a:pt x="587" y="133"/>
                      <a:pt x="588" y="134"/>
                    </a:cubicBezTo>
                    <a:cubicBezTo>
                      <a:pt x="589" y="134"/>
                      <a:pt x="590" y="133"/>
                      <a:pt x="591" y="134"/>
                    </a:cubicBezTo>
                    <a:cubicBezTo>
                      <a:pt x="591" y="134"/>
                      <a:pt x="591" y="135"/>
                      <a:pt x="592" y="135"/>
                    </a:cubicBezTo>
                    <a:cubicBezTo>
                      <a:pt x="591" y="135"/>
                      <a:pt x="592" y="136"/>
                      <a:pt x="591" y="137"/>
                    </a:cubicBezTo>
                    <a:cubicBezTo>
                      <a:pt x="591" y="137"/>
                      <a:pt x="589" y="137"/>
                      <a:pt x="589" y="137"/>
                    </a:cubicBezTo>
                    <a:cubicBezTo>
                      <a:pt x="587" y="139"/>
                      <a:pt x="587" y="141"/>
                      <a:pt x="587" y="144"/>
                    </a:cubicBezTo>
                    <a:cubicBezTo>
                      <a:pt x="584" y="142"/>
                      <a:pt x="582" y="142"/>
                      <a:pt x="579" y="140"/>
                    </a:cubicBezTo>
                    <a:cubicBezTo>
                      <a:pt x="579" y="141"/>
                      <a:pt x="578" y="143"/>
                      <a:pt x="578" y="144"/>
                    </a:cubicBezTo>
                    <a:cubicBezTo>
                      <a:pt x="579" y="144"/>
                      <a:pt x="581" y="143"/>
                      <a:pt x="583" y="144"/>
                    </a:cubicBezTo>
                    <a:cubicBezTo>
                      <a:pt x="584" y="145"/>
                      <a:pt x="583" y="147"/>
                      <a:pt x="585" y="148"/>
                    </a:cubicBezTo>
                    <a:cubicBezTo>
                      <a:pt x="585" y="149"/>
                      <a:pt x="585" y="149"/>
                      <a:pt x="585" y="149"/>
                    </a:cubicBezTo>
                    <a:cubicBezTo>
                      <a:pt x="581" y="148"/>
                      <a:pt x="581" y="148"/>
                      <a:pt x="577" y="149"/>
                    </a:cubicBezTo>
                    <a:cubicBezTo>
                      <a:pt x="577" y="149"/>
                      <a:pt x="577" y="151"/>
                      <a:pt x="577" y="151"/>
                    </a:cubicBezTo>
                    <a:cubicBezTo>
                      <a:pt x="579" y="152"/>
                      <a:pt x="581" y="152"/>
                      <a:pt x="582" y="154"/>
                    </a:cubicBezTo>
                    <a:cubicBezTo>
                      <a:pt x="583" y="154"/>
                      <a:pt x="589" y="164"/>
                      <a:pt x="586" y="165"/>
                    </a:cubicBezTo>
                    <a:cubicBezTo>
                      <a:pt x="585" y="166"/>
                      <a:pt x="578" y="165"/>
                      <a:pt x="581" y="163"/>
                    </a:cubicBezTo>
                    <a:cubicBezTo>
                      <a:pt x="585" y="162"/>
                      <a:pt x="581" y="159"/>
                      <a:pt x="579" y="158"/>
                    </a:cubicBezTo>
                    <a:cubicBezTo>
                      <a:pt x="576" y="158"/>
                      <a:pt x="574" y="160"/>
                      <a:pt x="571" y="160"/>
                    </a:cubicBezTo>
                    <a:cubicBezTo>
                      <a:pt x="570" y="160"/>
                      <a:pt x="569" y="159"/>
                      <a:pt x="568" y="159"/>
                    </a:cubicBezTo>
                    <a:cubicBezTo>
                      <a:pt x="567" y="161"/>
                      <a:pt x="567" y="161"/>
                      <a:pt x="567" y="161"/>
                    </a:cubicBezTo>
                    <a:cubicBezTo>
                      <a:pt x="564" y="162"/>
                      <a:pt x="564" y="159"/>
                      <a:pt x="562" y="159"/>
                    </a:cubicBezTo>
                    <a:cubicBezTo>
                      <a:pt x="558" y="158"/>
                      <a:pt x="555" y="161"/>
                      <a:pt x="553" y="161"/>
                    </a:cubicBezTo>
                    <a:cubicBezTo>
                      <a:pt x="551" y="161"/>
                      <a:pt x="550" y="160"/>
                      <a:pt x="547" y="160"/>
                    </a:cubicBezTo>
                    <a:cubicBezTo>
                      <a:pt x="545" y="161"/>
                      <a:pt x="545" y="161"/>
                      <a:pt x="545" y="161"/>
                    </a:cubicBezTo>
                    <a:cubicBezTo>
                      <a:pt x="543" y="162"/>
                      <a:pt x="541" y="161"/>
                      <a:pt x="539" y="161"/>
                    </a:cubicBezTo>
                    <a:cubicBezTo>
                      <a:pt x="537" y="163"/>
                      <a:pt x="537" y="163"/>
                      <a:pt x="537" y="163"/>
                    </a:cubicBezTo>
                    <a:cubicBezTo>
                      <a:pt x="536" y="163"/>
                      <a:pt x="535" y="162"/>
                      <a:pt x="534" y="163"/>
                    </a:cubicBezTo>
                    <a:cubicBezTo>
                      <a:pt x="534" y="163"/>
                      <a:pt x="531" y="167"/>
                      <a:pt x="531" y="167"/>
                    </a:cubicBezTo>
                    <a:cubicBezTo>
                      <a:pt x="531" y="169"/>
                      <a:pt x="532" y="169"/>
                      <a:pt x="532" y="171"/>
                    </a:cubicBezTo>
                    <a:cubicBezTo>
                      <a:pt x="532" y="172"/>
                      <a:pt x="530" y="175"/>
                      <a:pt x="530" y="176"/>
                    </a:cubicBezTo>
                    <a:cubicBezTo>
                      <a:pt x="529" y="184"/>
                      <a:pt x="532" y="186"/>
                      <a:pt x="537" y="188"/>
                    </a:cubicBezTo>
                    <a:cubicBezTo>
                      <a:pt x="538" y="189"/>
                      <a:pt x="538" y="189"/>
                      <a:pt x="538" y="189"/>
                    </a:cubicBezTo>
                    <a:cubicBezTo>
                      <a:pt x="540" y="190"/>
                      <a:pt x="542" y="189"/>
                      <a:pt x="544" y="189"/>
                    </a:cubicBezTo>
                    <a:cubicBezTo>
                      <a:pt x="545" y="190"/>
                      <a:pt x="546" y="193"/>
                      <a:pt x="547" y="193"/>
                    </a:cubicBezTo>
                    <a:cubicBezTo>
                      <a:pt x="548" y="194"/>
                      <a:pt x="552" y="195"/>
                      <a:pt x="553" y="196"/>
                    </a:cubicBezTo>
                    <a:cubicBezTo>
                      <a:pt x="553" y="198"/>
                      <a:pt x="554" y="199"/>
                      <a:pt x="554" y="201"/>
                    </a:cubicBezTo>
                    <a:cubicBezTo>
                      <a:pt x="554" y="201"/>
                      <a:pt x="551" y="205"/>
                      <a:pt x="551" y="206"/>
                    </a:cubicBezTo>
                    <a:cubicBezTo>
                      <a:pt x="550" y="209"/>
                      <a:pt x="553" y="212"/>
                      <a:pt x="553" y="215"/>
                    </a:cubicBezTo>
                    <a:cubicBezTo>
                      <a:pt x="554" y="216"/>
                      <a:pt x="553" y="218"/>
                      <a:pt x="553" y="219"/>
                    </a:cubicBezTo>
                    <a:cubicBezTo>
                      <a:pt x="552" y="220"/>
                      <a:pt x="550" y="220"/>
                      <a:pt x="547" y="221"/>
                    </a:cubicBezTo>
                    <a:cubicBezTo>
                      <a:pt x="548" y="225"/>
                      <a:pt x="548" y="225"/>
                      <a:pt x="548" y="225"/>
                    </a:cubicBezTo>
                    <a:cubicBezTo>
                      <a:pt x="550" y="225"/>
                      <a:pt x="556" y="230"/>
                      <a:pt x="557" y="230"/>
                    </a:cubicBezTo>
                    <a:cubicBezTo>
                      <a:pt x="559" y="230"/>
                      <a:pt x="561" y="227"/>
                      <a:pt x="563" y="227"/>
                    </a:cubicBezTo>
                    <a:cubicBezTo>
                      <a:pt x="563" y="227"/>
                      <a:pt x="564" y="226"/>
                      <a:pt x="565" y="227"/>
                    </a:cubicBezTo>
                    <a:cubicBezTo>
                      <a:pt x="565" y="227"/>
                      <a:pt x="565" y="229"/>
                      <a:pt x="566" y="229"/>
                    </a:cubicBezTo>
                    <a:cubicBezTo>
                      <a:pt x="567" y="230"/>
                      <a:pt x="567" y="229"/>
                      <a:pt x="569" y="230"/>
                    </a:cubicBezTo>
                    <a:cubicBezTo>
                      <a:pt x="571" y="231"/>
                      <a:pt x="572" y="234"/>
                      <a:pt x="572" y="237"/>
                    </a:cubicBezTo>
                    <a:cubicBezTo>
                      <a:pt x="571" y="236"/>
                      <a:pt x="569" y="237"/>
                      <a:pt x="569" y="236"/>
                    </a:cubicBezTo>
                    <a:cubicBezTo>
                      <a:pt x="568" y="236"/>
                      <a:pt x="568" y="232"/>
                      <a:pt x="568" y="232"/>
                    </a:cubicBezTo>
                    <a:cubicBezTo>
                      <a:pt x="567" y="232"/>
                      <a:pt x="566" y="232"/>
                      <a:pt x="565" y="231"/>
                    </a:cubicBezTo>
                    <a:cubicBezTo>
                      <a:pt x="565" y="231"/>
                      <a:pt x="565" y="230"/>
                      <a:pt x="565" y="230"/>
                    </a:cubicBezTo>
                    <a:cubicBezTo>
                      <a:pt x="561" y="229"/>
                      <a:pt x="561" y="232"/>
                      <a:pt x="560" y="232"/>
                    </a:cubicBezTo>
                    <a:cubicBezTo>
                      <a:pt x="558" y="232"/>
                      <a:pt x="549" y="231"/>
                      <a:pt x="547" y="230"/>
                    </a:cubicBezTo>
                    <a:cubicBezTo>
                      <a:pt x="547" y="230"/>
                      <a:pt x="548" y="227"/>
                      <a:pt x="547" y="227"/>
                    </a:cubicBezTo>
                    <a:cubicBezTo>
                      <a:pt x="544" y="225"/>
                      <a:pt x="544" y="225"/>
                      <a:pt x="544" y="225"/>
                    </a:cubicBezTo>
                    <a:cubicBezTo>
                      <a:pt x="544" y="224"/>
                      <a:pt x="544" y="223"/>
                      <a:pt x="543" y="223"/>
                    </a:cubicBezTo>
                    <a:cubicBezTo>
                      <a:pt x="543" y="223"/>
                      <a:pt x="542" y="222"/>
                      <a:pt x="542" y="222"/>
                    </a:cubicBezTo>
                    <a:cubicBezTo>
                      <a:pt x="541" y="223"/>
                      <a:pt x="540" y="224"/>
                      <a:pt x="539" y="225"/>
                    </a:cubicBezTo>
                    <a:cubicBezTo>
                      <a:pt x="538" y="226"/>
                      <a:pt x="537" y="226"/>
                      <a:pt x="535" y="227"/>
                    </a:cubicBezTo>
                    <a:cubicBezTo>
                      <a:pt x="539" y="223"/>
                      <a:pt x="539" y="222"/>
                      <a:pt x="541" y="217"/>
                    </a:cubicBezTo>
                    <a:cubicBezTo>
                      <a:pt x="542" y="215"/>
                      <a:pt x="542" y="215"/>
                      <a:pt x="542" y="215"/>
                    </a:cubicBezTo>
                    <a:cubicBezTo>
                      <a:pt x="543" y="209"/>
                      <a:pt x="541" y="208"/>
                      <a:pt x="545" y="203"/>
                    </a:cubicBezTo>
                    <a:cubicBezTo>
                      <a:pt x="545" y="203"/>
                      <a:pt x="552" y="198"/>
                      <a:pt x="547" y="197"/>
                    </a:cubicBezTo>
                    <a:cubicBezTo>
                      <a:pt x="543" y="195"/>
                      <a:pt x="537" y="198"/>
                      <a:pt x="533" y="196"/>
                    </a:cubicBezTo>
                    <a:cubicBezTo>
                      <a:pt x="531" y="195"/>
                      <a:pt x="531" y="192"/>
                      <a:pt x="529" y="191"/>
                    </a:cubicBezTo>
                    <a:cubicBezTo>
                      <a:pt x="528" y="190"/>
                      <a:pt x="527" y="191"/>
                      <a:pt x="527" y="191"/>
                    </a:cubicBezTo>
                    <a:cubicBezTo>
                      <a:pt x="526" y="190"/>
                      <a:pt x="525" y="188"/>
                      <a:pt x="525" y="188"/>
                    </a:cubicBezTo>
                    <a:cubicBezTo>
                      <a:pt x="524" y="188"/>
                      <a:pt x="518" y="185"/>
                      <a:pt x="517" y="185"/>
                    </a:cubicBezTo>
                    <a:cubicBezTo>
                      <a:pt x="511" y="184"/>
                      <a:pt x="507" y="189"/>
                      <a:pt x="504" y="191"/>
                    </a:cubicBezTo>
                    <a:cubicBezTo>
                      <a:pt x="505" y="191"/>
                      <a:pt x="506" y="191"/>
                      <a:pt x="507" y="191"/>
                    </a:cubicBezTo>
                    <a:cubicBezTo>
                      <a:pt x="508" y="192"/>
                      <a:pt x="509" y="192"/>
                      <a:pt x="510" y="193"/>
                    </a:cubicBezTo>
                    <a:cubicBezTo>
                      <a:pt x="509" y="194"/>
                      <a:pt x="508" y="198"/>
                      <a:pt x="506" y="198"/>
                    </a:cubicBezTo>
                    <a:cubicBezTo>
                      <a:pt x="506" y="198"/>
                      <a:pt x="503" y="198"/>
                      <a:pt x="504" y="197"/>
                    </a:cubicBezTo>
                    <a:cubicBezTo>
                      <a:pt x="501" y="195"/>
                      <a:pt x="499" y="194"/>
                      <a:pt x="493" y="193"/>
                    </a:cubicBezTo>
                    <a:cubicBezTo>
                      <a:pt x="492" y="196"/>
                      <a:pt x="492" y="198"/>
                      <a:pt x="491" y="201"/>
                    </a:cubicBezTo>
                    <a:cubicBezTo>
                      <a:pt x="492" y="201"/>
                      <a:pt x="494" y="200"/>
                      <a:pt x="495" y="201"/>
                    </a:cubicBezTo>
                    <a:cubicBezTo>
                      <a:pt x="496" y="202"/>
                      <a:pt x="495" y="204"/>
                      <a:pt x="496" y="204"/>
                    </a:cubicBezTo>
                    <a:cubicBezTo>
                      <a:pt x="497" y="204"/>
                      <a:pt x="499" y="204"/>
                      <a:pt x="500" y="204"/>
                    </a:cubicBezTo>
                    <a:cubicBezTo>
                      <a:pt x="500" y="204"/>
                      <a:pt x="500" y="206"/>
                      <a:pt x="501" y="206"/>
                    </a:cubicBezTo>
                    <a:cubicBezTo>
                      <a:pt x="502" y="207"/>
                      <a:pt x="503" y="206"/>
                      <a:pt x="504" y="207"/>
                    </a:cubicBezTo>
                    <a:cubicBezTo>
                      <a:pt x="504" y="207"/>
                      <a:pt x="504" y="209"/>
                      <a:pt x="505" y="209"/>
                    </a:cubicBezTo>
                    <a:cubicBezTo>
                      <a:pt x="504" y="209"/>
                      <a:pt x="504" y="211"/>
                      <a:pt x="504" y="211"/>
                    </a:cubicBezTo>
                    <a:cubicBezTo>
                      <a:pt x="503" y="209"/>
                      <a:pt x="503" y="209"/>
                      <a:pt x="503" y="209"/>
                    </a:cubicBezTo>
                    <a:cubicBezTo>
                      <a:pt x="499" y="210"/>
                      <a:pt x="497" y="211"/>
                      <a:pt x="494" y="211"/>
                    </a:cubicBezTo>
                    <a:cubicBezTo>
                      <a:pt x="494" y="209"/>
                      <a:pt x="494" y="209"/>
                      <a:pt x="494" y="209"/>
                    </a:cubicBezTo>
                    <a:cubicBezTo>
                      <a:pt x="492" y="209"/>
                      <a:pt x="489" y="209"/>
                      <a:pt x="489" y="209"/>
                    </a:cubicBezTo>
                    <a:cubicBezTo>
                      <a:pt x="488" y="210"/>
                      <a:pt x="488" y="212"/>
                      <a:pt x="486" y="211"/>
                    </a:cubicBezTo>
                    <a:cubicBezTo>
                      <a:pt x="484" y="211"/>
                      <a:pt x="482" y="209"/>
                      <a:pt x="481" y="208"/>
                    </a:cubicBezTo>
                    <a:cubicBezTo>
                      <a:pt x="481" y="207"/>
                      <a:pt x="481" y="207"/>
                      <a:pt x="481" y="207"/>
                    </a:cubicBezTo>
                    <a:cubicBezTo>
                      <a:pt x="485" y="205"/>
                      <a:pt x="479" y="200"/>
                      <a:pt x="479" y="199"/>
                    </a:cubicBezTo>
                    <a:cubicBezTo>
                      <a:pt x="479" y="197"/>
                      <a:pt x="479" y="196"/>
                      <a:pt x="479" y="195"/>
                    </a:cubicBezTo>
                    <a:cubicBezTo>
                      <a:pt x="478" y="195"/>
                      <a:pt x="478" y="195"/>
                      <a:pt x="478" y="195"/>
                    </a:cubicBezTo>
                    <a:cubicBezTo>
                      <a:pt x="478" y="195"/>
                      <a:pt x="479" y="191"/>
                      <a:pt x="479" y="191"/>
                    </a:cubicBezTo>
                    <a:cubicBezTo>
                      <a:pt x="479" y="191"/>
                      <a:pt x="481" y="189"/>
                      <a:pt x="481" y="189"/>
                    </a:cubicBezTo>
                    <a:cubicBezTo>
                      <a:pt x="480" y="187"/>
                      <a:pt x="477" y="186"/>
                      <a:pt x="478" y="183"/>
                    </a:cubicBezTo>
                    <a:cubicBezTo>
                      <a:pt x="478" y="182"/>
                      <a:pt x="480" y="182"/>
                      <a:pt x="480" y="181"/>
                    </a:cubicBezTo>
                    <a:cubicBezTo>
                      <a:pt x="480" y="181"/>
                      <a:pt x="476" y="176"/>
                      <a:pt x="476" y="176"/>
                    </a:cubicBezTo>
                    <a:cubicBezTo>
                      <a:pt x="476" y="176"/>
                      <a:pt x="475" y="177"/>
                      <a:pt x="474" y="177"/>
                    </a:cubicBezTo>
                    <a:cubicBezTo>
                      <a:pt x="476" y="182"/>
                      <a:pt x="477" y="187"/>
                      <a:pt x="476" y="193"/>
                    </a:cubicBezTo>
                    <a:cubicBezTo>
                      <a:pt x="475" y="195"/>
                      <a:pt x="472" y="199"/>
                      <a:pt x="471" y="200"/>
                    </a:cubicBezTo>
                    <a:cubicBezTo>
                      <a:pt x="470" y="201"/>
                      <a:pt x="469" y="201"/>
                      <a:pt x="468" y="201"/>
                    </a:cubicBezTo>
                    <a:cubicBezTo>
                      <a:pt x="468" y="202"/>
                      <a:pt x="469" y="204"/>
                      <a:pt x="468" y="205"/>
                    </a:cubicBezTo>
                    <a:cubicBezTo>
                      <a:pt x="468" y="207"/>
                      <a:pt x="466" y="208"/>
                      <a:pt x="466" y="209"/>
                    </a:cubicBezTo>
                    <a:cubicBezTo>
                      <a:pt x="466" y="210"/>
                      <a:pt x="465" y="211"/>
                      <a:pt x="466" y="211"/>
                    </a:cubicBezTo>
                    <a:cubicBezTo>
                      <a:pt x="466" y="212"/>
                      <a:pt x="468" y="213"/>
                      <a:pt x="469" y="214"/>
                    </a:cubicBezTo>
                    <a:cubicBezTo>
                      <a:pt x="470" y="216"/>
                      <a:pt x="472" y="220"/>
                      <a:pt x="472" y="222"/>
                    </a:cubicBezTo>
                    <a:cubicBezTo>
                      <a:pt x="471" y="223"/>
                      <a:pt x="469" y="225"/>
                      <a:pt x="469" y="227"/>
                    </a:cubicBezTo>
                    <a:cubicBezTo>
                      <a:pt x="469" y="227"/>
                      <a:pt x="470" y="231"/>
                      <a:pt x="470" y="233"/>
                    </a:cubicBezTo>
                    <a:cubicBezTo>
                      <a:pt x="471" y="233"/>
                      <a:pt x="471" y="233"/>
                      <a:pt x="471" y="233"/>
                    </a:cubicBezTo>
                    <a:cubicBezTo>
                      <a:pt x="471" y="235"/>
                      <a:pt x="471" y="237"/>
                      <a:pt x="471" y="239"/>
                    </a:cubicBezTo>
                    <a:cubicBezTo>
                      <a:pt x="472" y="238"/>
                      <a:pt x="472" y="240"/>
                      <a:pt x="474" y="239"/>
                    </a:cubicBezTo>
                    <a:cubicBezTo>
                      <a:pt x="474" y="238"/>
                      <a:pt x="474" y="238"/>
                      <a:pt x="474" y="238"/>
                    </a:cubicBezTo>
                    <a:cubicBezTo>
                      <a:pt x="474" y="238"/>
                      <a:pt x="476" y="237"/>
                      <a:pt x="476" y="237"/>
                    </a:cubicBezTo>
                    <a:cubicBezTo>
                      <a:pt x="477" y="237"/>
                      <a:pt x="479" y="238"/>
                      <a:pt x="481" y="237"/>
                    </a:cubicBezTo>
                    <a:cubicBezTo>
                      <a:pt x="482" y="237"/>
                      <a:pt x="484" y="235"/>
                      <a:pt x="486" y="235"/>
                    </a:cubicBezTo>
                    <a:cubicBezTo>
                      <a:pt x="489" y="234"/>
                      <a:pt x="500" y="237"/>
                      <a:pt x="502" y="239"/>
                    </a:cubicBezTo>
                    <a:cubicBezTo>
                      <a:pt x="503" y="240"/>
                      <a:pt x="502" y="244"/>
                      <a:pt x="504" y="246"/>
                    </a:cubicBezTo>
                    <a:cubicBezTo>
                      <a:pt x="504" y="247"/>
                      <a:pt x="506" y="247"/>
                      <a:pt x="506" y="247"/>
                    </a:cubicBezTo>
                    <a:cubicBezTo>
                      <a:pt x="507" y="248"/>
                      <a:pt x="506" y="250"/>
                      <a:pt x="507" y="251"/>
                    </a:cubicBezTo>
                    <a:cubicBezTo>
                      <a:pt x="507" y="252"/>
                      <a:pt x="508" y="253"/>
                      <a:pt x="509" y="254"/>
                    </a:cubicBezTo>
                    <a:cubicBezTo>
                      <a:pt x="506" y="255"/>
                      <a:pt x="501" y="257"/>
                      <a:pt x="504" y="262"/>
                    </a:cubicBezTo>
                    <a:cubicBezTo>
                      <a:pt x="504" y="262"/>
                      <a:pt x="505" y="262"/>
                      <a:pt x="506" y="263"/>
                    </a:cubicBezTo>
                    <a:cubicBezTo>
                      <a:pt x="506" y="263"/>
                      <a:pt x="507" y="265"/>
                      <a:pt x="508" y="265"/>
                    </a:cubicBezTo>
                    <a:cubicBezTo>
                      <a:pt x="512" y="267"/>
                      <a:pt x="516" y="266"/>
                      <a:pt x="519" y="268"/>
                    </a:cubicBezTo>
                    <a:cubicBezTo>
                      <a:pt x="520" y="268"/>
                      <a:pt x="520" y="270"/>
                      <a:pt x="521" y="270"/>
                    </a:cubicBezTo>
                    <a:cubicBezTo>
                      <a:pt x="518" y="270"/>
                      <a:pt x="513" y="270"/>
                      <a:pt x="510" y="269"/>
                    </a:cubicBezTo>
                    <a:cubicBezTo>
                      <a:pt x="510" y="268"/>
                      <a:pt x="509" y="267"/>
                      <a:pt x="509" y="267"/>
                    </a:cubicBezTo>
                    <a:cubicBezTo>
                      <a:pt x="507" y="267"/>
                      <a:pt x="506" y="267"/>
                      <a:pt x="505" y="268"/>
                    </a:cubicBezTo>
                    <a:cubicBezTo>
                      <a:pt x="505" y="268"/>
                      <a:pt x="505" y="270"/>
                      <a:pt x="505" y="271"/>
                    </a:cubicBezTo>
                    <a:cubicBezTo>
                      <a:pt x="505" y="271"/>
                      <a:pt x="506" y="272"/>
                      <a:pt x="505" y="272"/>
                    </a:cubicBezTo>
                    <a:cubicBezTo>
                      <a:pt x="505" y="272"/>
                      <a:pt x="502" y="270"/>
                      <a:pt x="502" y="269"/>
                    </a:cubicBezTo>
                    <a:cubicBezTo>
                      <a:pt x="500" y="268"/>
                      <a:pt x="499" y="267"/>
                      <a:pt x="498" y="266"/>
                    </a:cubicBezTo>
                    <a:cubicBezTo>
                      <a:pt x="498" y="260"/>
                      <a:pt x="500" y="255"/>
                      <a:pt x="499" y="249"/>
                    </a:cubicBezTo>
                    <a:cubicBezTo>
                      <a:pt x="499" y="248"/>
                      <a:pt x="497" y="247"/>
                      <a:pt x="497" y="247"/>
                    </a:cubicBezTo>
                    <a:cubicBezTo>
                      <a:pt x="496" y="245"/>
                      <a:pt x="495" y="241"/>
                      <a:pt x="494" y="239"/>
                    </a:cubicBezTo>
                    <a:cubicBezTo>
                      <a:pt x="493" y="239"/>
                      <a:pt x="491" y="239"/>
                      <a:pt x="489" y="239"/>
                    </a:cubicBezTo>
                    <a:cubicBezTo>
                      <a:pt x="489" y="239"/>
                      <a:pt x="488" y="241"/>
                      <a:pt x="488" y="241"/>
                    </a:cubicBezTo>
                    <a:cubicBezTo>
                      <a:pt x="484" y="243"/>
                      <a:pt x="480" y="242"/>
                      <a:pt x="477" y="245"/>
                    </a:cubicBezTo>
                    <a:cubicBezTo>
                      <a:pt x="476" y="246"/>
                      <a:pt x="476" y="248"/>
                      <a:pt x="476" y="249"/>
                    </a:cubicBezTo>
                    <a:cubicBezTo>
                      <a:pt x="476" y="249"/>
                      <a:pt x="474" y="251"/>
                      <a:pt x="474" y="252"/>
                    </a:cubicBezTo>
                    <a:cubicBezTo>
                      <a:pt x="474" y="253"/>
                      <a:pt x="477" y="254"/>
                      <a:pt x="477" y="255"/>
                    </a:cubicBezTo>
                    <a:cubicBezTo>
                      <a:pt x="477" y="256"/>
                      <a:pt x="476" y="260"/>
                      <a:pt x="476" y="261"/>
                    </a:cubicBezTo>
                    <a:cubicBezTo>
                      <a:pt x="475" y="262"/>
                      <a:pt x="474" y="264"/>
                      <a:pt x="474" y="265"/>
                    </a:cubicBezTo>
                    <a:cubicBezTo>
                      <a:pt x="474" y="265"/>
                      <a:pt x="474" y="267"/>
                      <a:pt x="474" y="267"/>
                    </a:cubicBezTo>
                    <a:cubicBezTo>
                      <a:pt x="474" y="267"/>
                      <a:pt x="475" y="268"/>
                      <a:pt x="474" y="269"/>
                    </a:cubicBezTo>
                    <a:cubicBezTo>
                      <a:pt x="469" y="276"/>
                      <a:pt x="469" y="276"/>
                      <a:pt x="469" y="276"/>
                    </a:cubicBezTo>
                    <a:cubicBezTo>
                      <a:pt x="467" y="277"/>
                      <a:pt x="464" y="276"/>
                      <a:pt x="462" y="277"/>
                    </a:cubicBezTo>
                    <a:cubicBezTo>
                      <a:pt x="461" y="277"/>
                      <a:pt x="457" y="279"/>
                      <a:pt x="456" y="279"/>
                    </a:cubicBezTo>
                    <a:cubicBezTo>
                      <a:pt x="456" y="280"/>
                      <a:pt x="455" y="281"/>
                      <a:pt x="454" y="282"/>
                    </a:cubicBezTo>
                    <a:cubicBezTo>
                      <a:pt x="456" y="282"/>
                      <a:pt x="457" y="282"/>
                      <a:pt x="459" y="282"/>
                    </a:cubicBezTo>
                    <a:cubicBezTo>
                      <a:pt x="460" y="287"/>
                      <a:pt x="460" y="290"/>
                      <a:pt x="462" y="294"/>
                    </a:cubicBezTo>
                    <a:cubicBezTo>
                      <a:pt x="461" y="294"/>
                      <a:pt x="461" y="293"/>
                      <a:pt x="460" y="292"/>
                    </a:cubicBezTo>
                    <a:cubicBezTo>
                      <a:pt x="459" y="292"/>
                      <a:pt x="459" y="293"/>
                      <a:pt x="458" y="293"/>
                    </a:cubicBezTo>
                    <a:cubicBezTo>
                      <a:pt x="457" y="292"/>
                      <a:pt x="457" y="290"/>
                      <a:pt x="456" y="288"/>
                    </a:cubicBezTo>
                    <a:cubicBezTo>
                      <a:pt x="456" y="288"/>
                      <a:pt x="454" y="288"/>
                      <a:pt x="454" y="287"/>
                    </a:cubicBezTo>
                    <a:cubicBezTo>
                      <a:pt x="453" y="287"/>
                      <a:pt x="453" y="285"/>
                      <a:pt x="453" y="284"/>
                    </a:cubicBezTo>
                    <a:cubicBezTo>
                      <a:pt x="452" y="284"/>
                      <a:pt x="447" y="283"/>
                      <a:pt x="445" y="284"/>
                    </a:cubicBezTo>
                    <a:cubicBezTo>
                      <a:pt x="444" y="285"/>
                      <a:pt x="444" y="285"/>
                      <a:pt x="444" y="285"/>
                    </a:cubicBezTo>
                    <a:cubicBezTo>
                      <a:pt x="439" y="285"/>
                      <a:pt x="435" y="282"/>
                      <a:pt x="432" y="280"/>
                    </a:cubicBezTo>
                    <a:cubicBezTo>
                      <a:pt x="433" y="280"/>
                      <a:pt x="432" y="277"/>
                      <a:pt x="432" y="277"/>
                    </a:cubicBezTo>
                    <a:cubicBezTo>
                      <a:pt x="438" y="276"/>
                      <a:pt x="446" y="279"/>
                      <a:pt x="450" y="276"/>
                    </a:cubicBezTo>
                    <a:cubicBezTo>
                      <a:pt x="450" y="276"/>
                      <a:pt x="451" y="273"/>
                      <a:pt x="452" y="272"/>
                    </a:cubicBezTo>
                    <a:cubicBezTo>
                      <a:pt x="454" y="274"/>
                      <a:pt x="455" y="273"/>
                      <a:pt x="458" y="274"/>
                    </a:cubicBezTo>
                    <a:cubicBezTo>
                      <a:pt x="458" y="273"/>
                      <a:pt x="459" y="273"/>
                      <a:pt x="460" y="272"/>
                    </a:cubicBezTo>
                    <a:cubicBezTo>
                      <a:pt x="459" y="270"/>
                      <a:pt x="459" y="270"/>
                      <a:pt x="459" y="270"/>
                    </a:cubicBezTo>
                    <a:cubicBezTo>
                      <a:pt x="459" y="269"/>
                      <a:pt x="461" y="269"/>
                      <a:pt x="462" y="269"/>
                    </a:cubicBezTo>
                    <a:cubicBezTo>
                      <a:pt x="462" y="268"/>
                      <a:pt x="462" y="265"/>
                      <a:pt x="462" y="265"/>
                    </a:cubicBezTo>
                    <a:cubicBezTo>
                      <a:pt x="464" y="264"/>
                      <a:pt x="464" y="265"/>
                      <a:pt x="466" y="264"/>
                    </a:cubicBezTo>
                    <a:cubicBezTo>
                      <a:pt x="462" y="256"/>
                      <a:pt x="464" y="256"/>
                      <a:pt x="466" y="248"/>
                    </a:cubicBezTo>
                    <a:cubicBezTo>
                      <a:pt x="462" y="245"/>
                      <a:pt x="461" y="244"/>
                      <a:pt x="459" y="239"/>
                    </a:cubicBezTo>
                    <a:cubicBezTo>
                      <a:pt x="458" y="238"/>
                      <a:pt x="458" y="238"/>
                      <a:pt x="458" y="238"/>
                    </a:cubicBezTo>
                    <a:cubicBezTo>
                      <a:pt x="457" y="237"/>
                      <a:pt x="458" y="235"/>
                      <a:pt x="458" y="235"/>
                    </a:cubicBezTo>
                    <a:cubicBezTo>
                      <a:pt x="458" y="233"/>
                      <a:pt x="458" y="233"/>
                      <a:pt x="458" y="233"/>
                    </a:cubicBezTo>
                    <a:cubicBezTo>
                      <a:pt x="457" y="233"/>
                      <a:pt x="458" y="230"/>
                      <a:pt x="458" y="229"/>
                    </a:cubicBezTo>
                    <a:cubicBezTo>
                      <a:pt x="458" y="228"/>
                      <a:pt x="460" y="226"/>
                      <a:pt x="460" y="225"/>
                    </a:cubicBezTo>
                    <a:cubicBezTo>
                      <a:pt x="460" y="225"/>
                      <a:pt x="461" y="220"/>
                      <a:pt x="460" y="219"/>
                    </a:cubicBezTo>
                    <a:cubicBezTo>
                      <a:pt x="460" y="219"/>
                      <a:pt x="458" y="218"/>
                      <a:pt x="458" y="218"/>
                    </a:cubicBezTo>
                    <a:cubicBezTo>
                      <a:pt x="458" y="217"/>
                      <a:pt x="459" y="215"/>
                      <a:pt x="459" y="213"/>
                    </a:cubicBezTo>
                    <a:cubicBezTo>
                      <a:pt x="456" y="212"/>
                      <a:pt x="453" y="211"/>
                      <a:pt x="453" y="207"/>
                    </a:cubicBezTo>
                    <a:cubicBezTo>
                      <a:pt x="453" y="202"/>
                      <a:pt x="456" y="202"/>
                      <a:pt x="458" y="199"/>
                    </a:cubicBezTo>
                    <a:cubicBezTo>
                      <a:pt x="459" y="195"/>
                      <a:pt x="458" y="193"/>
                      <a:pt x="458" y="189"/>
                    </a:cubicBezTo>
                    <a:cubicBezTo>
                      <a:pt x="458" y="188"/>
                      <a:pt x="460" y="187"/>
                      <a:pt x="460" y="186"/>
                    </a:cubicBezTo>
                    <a:cubicBezTo>
                      <a:pt x="461" y="185"/>
                      <a:pt x="459" y="184"/>
                      <a:pt x="460" y="182"/>
                    </a:cubicBezTo>
                    <a:cubicBezTo>
                      <a:pt x="460" y="182"/>
                      <a:pt x="461" y="181"/>
                      <a:pt x="460" y="181"/>
                    </a:cubicBezTo>
                    <a:cubicBezTo>
                      <a:pt x="460" y="180"/>
                      <a:pt x="458" y="179"/>
                      <a:pt x="458" y="178"/>
                    </a:cubicBezTo>
                    <a:cubicBezTo>
                      <a:pt x="458" y="177"/>
                      <a:pt x="459" y="175"/>
                      <a:pt x="458" y="175"/>
                    </a:cubicBezTo>
                    <a:cubicBezTo>
                      <a:pt x="458" y="175"/>
                      <a:pt x="457" y="175"/>
                      <a:pt x="456" y="175"/>
                    </a:cubicBezTo>
                    <a:cubicBezTo>
                      <a:pt x="456" y="175"/>
                      <a:pt x="452" y="172"/>
                      <a:pt x="452" y="172"/>
                    </a:cubicBezTo>
                    <a:cubicBezTo>
                      <a:pt x="451" y="172"/>
                      <a:pt x="448" y="173"/>
                      <a:pt x="448" y="173"/>
                    </a:cubicBezTo>
                    <a:cubicBezTo>
                      <a:pt x="444" y="173"/>
                      <a:pt x="440" y="173"/>
                      <a:pt x="437" y="173"/>
                    </a:cubicBezTo>
                    <a:cubicBezTo>
                      <a:pt x="437" y="173"/>
                      <a:pt x="438" y="172"/>
                      <a:pt x="436" y="172"/>
                    </a:cubicBezTo>
                    <a:cubicBezTo>
                      <a:pt x="436" y="174"/>
                      <a:pt x="436" y="174"/>
                      <a:pt x="436" y="174"/>
                    </a:cubicBezTo>
                    <a:cubicBezTo>
                      <a:pt x="434" y="175"/>
                      <a:pt x="432" y="175"/>
                      <a:pt x="431" y="177"/>
                    </a:cubicBezTo>
                    <a:cubicBezTo>
                      <a:pt x="429" y="179"/>
                      <a:pt x="429" y="183"/>
                      <a:pt x="428" y="185"/>
                    </a:cubicBezTo>
                    <a:cubicBezTo>
                      <a:pt x="426" y="189"/>
                      <a:pt x="422" y="191"/>
                      <a:pt x="420" y="194"/>
                    </a:cubicBezTo>
                    <a:cubicBezTo>
                      <a:pt x="419" y="196"/>
                      <a:pt x="419" y="198"/>
                      <a:pt x="417" y="199"/>
                    </a:cubicBezTo>
                    <a:cubicBezTo>
                      <a:pt x="416" y="200"/>
                      <a:pt x="413" y="201"/>
                      <a:pt x="411" y="202"/>
                    </a:cubicBezTo>
                    <a:cubicBezTo>
                      <a:pt x="411" y="205"/>
                      <a:pt x="411" y="207"/>
                      <a:pt x="411" y="209"/>
                    </a:cubicBezTo>
                    <a:cubicBezTo>
                      <a:pt x="411" y="209"/>
                      <a:pt x="414" y="213"/>
                      <a:pt x="414" y="214"/>
                    </a:cubicBezTo>
                    <a:cubicBezTo>
                      <a:pt x="414" y="217"/>
                      <a:pt x="413" y="218"/>
                      <a:pt x="414" y="221"/>
                    </a:cubicBezTo>
                    <a:cubicBezTo>
                      <a:pt x="409" y="224"/>
                      <a:pt x="410" y="224"/>
                      <a:pt x="410" y="231"/>
                    </a:cubicBezTo>
                    <a:cubicBezTo>
                      <a:pt x="411" y="231"/>
                      <a:pt x="411" y="230"/>
                      <a:pt x="412" y="230"/>
                    </a:cubicBezTo>
                    <a:cubicBezTo>
                      <a:pt x="414" y="230"/>
                      <a:pt x="416" y="233"/>
                      <a:pt x="417" y="233"/>
                    </a:cubicBezTo>
                    <a:cubicBezTo>
                      <a:pt x="418" y="233"/>
                      <a:pt x="417" y="232"/>
                      <a:pt x="418" y="233"/>
                    </a:cubicBezTo>
                    <a:cubicBezTo>
                      <a:pt x="417" y="232"/>
                      <a:pt x="420" y="233"/>
                      <a:pt x="420" y="233"/>
                    </a:cubicBezTo>
                    <a:cubicBezTo>
                      <a:pt x="420" y="233"/>
                      <a:pt x="420" y="235"/>
                      <a:pt x="420" y="235"/>
                    </a:cubicBezTo>
                    <a:cubicBezTo>
                      <a:pt x="420" y="236"/>
                      <a:pt x="417" y="236"/>
                      <a:pt x="418" y="239"/>
                    </a:cubicBezTo>
                    <a:cubicBezTo>
                      <a:pt x="418" y="239"/>
                      <a:pt x="419" y="240"/>
                      <a:pt x="418" y="241"/>
                    </a:cubicBezTo>
                    <a:cubicBezTo>
                      <a:pt x="419" y="241"/>
                      <a:pt x="420" y="244"/>
                      <a:pt x="420" y="245"/>
                    </a:cubicBezTo>
                    <a:cubicBezTo>
                      <a:pt x="420" y="245"/>
                      <a:pt x="422" y="244"/>
                      <a:pt x="422" y="244"/>
                    </a:cubicBezTo>
                    <a:cubicBezTo>
                      <a:pt x="424" y="244"/>
                      <a:pt x="424" y="244"/>
                      <a:pt x="424" y="244"/>
                    </a:cubicBezTo>
                    <a:cubicBezTo>
                      <a:pt x="423" y="247"/>
                      <a:pt x="422" y="251"/>
                      <a:pt x="420" y="254"/>
                    </a:cubicBezTo>
                    <a:cubicBezTo>
                      <a:pt x="419" y="255"/>
                      <a:pt x="418" y="255"/>
                      <a:pt x="416" y="256"/>
                    </a:cubicBezTo>
                    <a:cubicBezTo>
                      <a:pt x="416" y="255"/>
                      <a:pt x="416" y="253"/>
                      <a:pt x="416" y="252"/>
                    </a:cubicBezTo>
                    <a:cubicBezTo>
                      <a:pt x="415" y="251"/>
                      <a:pt x="414" y="252"/>
                      <a:pt x="413" y="251"/>
                    </a:cubicBezTo>
                    <a:cubicBezTo>
                      <a:pt x="413" y="251"/>
                      <a:pt x="413" y="249"/>
                      <a:pt x="412" y="249"/>
                    </a:cubicBezTo>
                    <a:cubicBezTo>
                      <a:pt x="410" y="245"/>
                      <a:pt x="407" y="243"/>
                      <a:pt x="401" y="242"/>
                    </a:cubicBezTo>
                    <a:cubicBezTo>
                      <a:pt x="400" y="240"/>
                      <a:pt x="400" y="240"/>
                      <a:pt x="400" y="240"/>
                    </a:cubicBezTo>
                    <a:cubicBezTo>
                      <a:pt x="401" y="240"/>
                      <a:pt x="401" y="239"/>
                      <a:pt x="401" y="239"/>
                    </a:cubicBezTo>
                    <a:cubicBezTo>
                      <a:pt x="398" y="238"/>
                      <a:pt x="396" y="237"/>
                      <a:pt x="394" y="236"/>
                    </a:cubicBezTo>
                    <a:cubicBezTo>
                      <a:pt x="392" y="241"/>
                      <a:pt x="392" y="241"/>
                      <a:pt x="392" y="241"/>
                    </a:cubicBezTo>
                    <a:cubicBezTo>
                      <a:pt x="391" y="241"/>
                      <a:pt x="391" y="241"/>
                      <a:pt x="391" y="241"/>
                    </a:cubicBezTo>
                    <a:cubicBezTo>
                      <a:pt x="391" y="239"/>
                      <a:pt x="390" y="237"/>
                      <a:pt x="391" y="233"/>
                    </a:cubicBezTo>
                    <a:cubicBezTo>
                      <a:pt x="388" y="232"/>
                      <a:pt x="385" y="233"/>
                      <a:pt x="382" y="232"/>
                    </a:cubicBezTo>
                    <a:cubicBezTo>
                      <a:pt x="381" y="232"/>
                      <a:pt x="381" y="229"/>
                      <a:pt x="381" y="229"/>
                    </a:cubicBezTo>
                    <a:cubicBezTo>
                      <a:pt x="380" y="229"/>
                      <a:pt x="379" y="230"/>
                      <a:pt x="378" y="230"/>
                    </a:cubicBezTo>
                    <a:cubicBezTo>
                      <a:pt x="378" y="230"/>
                      <a:pt x="377" y="225"/>
                      <a:pt x="373" y="227"/>
                    </a:cubicBezTo>
                    <a:cubicBezTo>
                      <a:pt x="371" y="227"/>
                      <a:pt x="373" y="231"/>
                      <a:pt x="365" y="230"/>
                    </a:cubicBezTo>
                    <a:cubicBezTo>
                      <a:pt x="364" y="230"/>
                      <a:pt x="361" y="227"/>
                      <a:pt x="359" y="228"/>
                    </a:cubicBezTo>
                    <a:cubicBezTo>
                      <a:pt x="359" y="228"/>
                      <a:pt x="358" y="231"/>
                      <a:pt x="358" y="231"/>
                    </a:cubicBezTo>
                    <a:cubicBezTo>
                      <a:pt x="356" y="231"/>
                      <a:pt x="354" y="232"/>
                      <a:pt x="353" y="232"/>
                    </a:cubicBezTo>
                    <a:cubicBezTo>
                      <a:pt x="354" y="233"/>
                      <a:pt x="353" y="233"/>
                      <a:pt x="353" y="234"/>
                    </a:cubicBezTo>
                    <a:cubicBezTo>
                      <a:pt x="353" y="234"/>
                      <a:pt x="355" y="235"/>
                      <a:pt x="355" y="235"/>
                    </a:cubicBezTo>
                    <a:cubicBezTo>
                      <a:pt x="357" y="239"/>
                      <a:pt x="357" y="244"/>
                      <a:pt x="357" y="248"/>
                    </a:cubicBezTo>
                    <a:cubicBezTo>
                      <a:pt x="356" y="248"/>
                      <a:pt x="356" y="249"/>
                      <a:pt x="355" y="249"/>
                    </a:cubicBezTo>
                    <a:cubicBezTo>
                      <a:pt x="352" y="250"/>
                      <a:pt x="350" y="247"/>
                      <a:pt x="349" y="247"/>
                    </a:cubicBezTo>
                    <a:cubicBezTo>
                      <a:pt x="349" y="247"/>
                      <a:pt x="347" y="249"/>
                      <a:pt x="347" y="249"/>
                    </a:cubicBezTo>
                    <a:cubicBezTo>
                      <a:pt x="347" y="250"/>
                      <a:pt x="346" y="254"/>
                      <a:pt x="346" y="255"/>
                    </a:cubicBezTo>
                    <a:cubicBezTo>
                      <a:pt x="346" y="255"/>
                      <a:pt x="341" y="251"/>
                      <a:pt x="341" y="251"/>
                    </a:cubicBezTo>
                    <a:cubicBezTo>
                      <a:pt x="341" y="250"/>
                      <a:pt x="342" y="244"/>
                      <a:pt x="342" y="243"/>
                    </a:cubicBezTo>
                    <a:cubicBezTo>
                      <a:pt x="341" y="243"/>
                      <a:pt x="340" y="243"/>
                      <a:pt x="339" y="243"/>
                    </a:cubicBezTo>
                    <a:cubicBezTo>
                      <a:pt x="336" y="244"/>
                      <a:pt x="333" y="247"/>
                      <a:pt x="330" y="247"/>
                    </a:cubicBezTo>
                    <a:cubicBezTo>
                      <a:pt x="330" y="247"/>
                      <a:pt x="331" y="245"/>
                      <a:pt x="331" y="245"/>
                    </a:cubicBezTo>
                    <a:cubicBezTo>
                      <a:pt x="330" y="245"/>
                      <a:pt x="329" y="245"/>
                      <a:pt x="329" y="245"/>
                    </a:cubicBezTo>
                    <a:cubicBezTo>
                      <a:pt x="329" y="247"/>
                      <a:pt x="329" y="247"/>
                      <a:pt x="329" y="247"/>
                    </a:cubicBezTo>
                    <a:cubicBezTo>
                      <a:pt x="329" y="245"/>
                      <a:pt x="330" y="248"/>
                      <a:pt x="330" y="248"/>
                    </a:cubicBezTo>
                    <a:cubicBezTo>
                      <a:pt x="330" y="249"/>
                      <a:pt x="329" y="249"/>
                      <a:pt x="329" y="250"/>
                    </a:cubicBezTo>
                    <a:cubicBezTo>
                      <a:pt x="328" y="250"/>
                      <a:pt x="327" y="250"/>
                      <a:pt x="326" y="250"/>
                    </a:cubicBezTo>
                    <a:cubicBezTo>
                      <a:pt x="324" y="248"/>
                      <a:pt x="321" y="245"/>
                      <a:pt x="316" y="246"/>
                    </a:cubicBezTo>
                    <a:cubicBezTo>
                      <a:pt x="313" y="246"/>
                      <a:pt x="309" y="249"/>
                      <a:pt x="305" y="250"/>
                    </a:cubicBezTo>
                    <a:cubicBezTo>
                      <a:pt x="306" y="251"/>
                      <a:pt x="307" y="252"/>
                      <a:pt x="307" y="253"/>
                    </a:cubicBezTo>
                    <a:cubicBezTo>
                      <a:pt x="307" y="254"/>
                      <a:pt x="306" y="254"/>
                      <a:pt x="306" y="255"/>
                    </a:cubicBezTo>
                    <a:cubicBezTo>
                      <a:pt x="306" y="254"/>
                      <a:pt x="304" y="253"/>
                      <a:pt x="303" y="253"/>
                    </a:cubicBezTo>
                    <a:cubicBezTo>
                      <a:pt x="304" y="253"/>
                      <a:pt x="302" y="251"/>
                      <a:pt x="302" y="251"/>
                    </a:cubicBezTo>
                    <a:cubicBezTo>
                      <a:pt x="302" y="252"/>
                      <a:pt x="299" y="254"/>
                      <a:pt x="299" y="255"/>
                    </a:cubicBezTo>
                    <a:cubicBezTo>
                      <a:pt x="297" y="255"/>
                      <a:pt x="292" y="254"/>
                      <a:pt x="290" y="255"/>
                    </a:cubicBezTo>
                    <a:cubicBezTo>
                      <a:pt x="290" y="254"/>
                      <a:pt x="290" y="253"/>
                      <a:pt x="290" y="253"/>
                    </a:cubicBezTo>
                    <a:cubicBezTo>
                      <a:pt x="291" y="252"/>
                      <a:pt x="291" y="251"/>
                      <a:pt x="292" y="251"/>
                    </a:cubicBezTo>
                    <a:cubicBezTo>
                      <a:pt x="292" y="251"/>
                      <a:pt x="297" y="251"/>
                      <a:pt x="297" y="251"/>
                    </a:cubicBezTo>
                    <a:cubicBezTo>
                      <a:pt x="297" y="251"/>
                      <a:pt x="297" y="249"/>
                      <a:pt x="297" y="249"/>
                    </a:cubicBezTo>
                    <a:cubicBezTo>
                      <a:pt x="296" y="249"/>
                      <a:pt x="294" y="248"/>
                      <a:pt x="294" y="248"/>
                    </a:cubicBezTo>
                    <a:cubicBezTo>
                      <a:pt x="294" y="247"/>
                      <a:pt x="295" y="246"/>
                      <a:pt x="294" y="245"/>
                    </a:cubicBezTo>
                    <a:cubicBezTo>
                      <a:pt x="293" y="245"/>
                      <a:pt x="289" y="246"/>
                      <a:pt x="292" y="244"/>
                    </a:cubicBezTo>
                    <a:cubicBezTo>
                      <a:pt x="292" y="243"/>
                      <a:pt x="291" y="243"/>
                      <a:pt x="292" y="243"/>
                    </a:cubicBezTo>
                    <a:cubicBezTo>
                      <a:pt x="291" y="243"/>
                      <a:pt x="293" y="240"/>
                      <a:pt x="291" y="241"/>
                    </a:cubicBezTo>
                    <a:cubicBezTo>
                      <a:pt x="289" y="242"/>
                      <a:pt x="289" y="244"/>
                      <a:pt x="288" y="245"/>
                    </a:cubicBezTo>
                    <a:cubicBezTo>
                      <a:pt x="288" y="245"/>
                      <a:pt x="283" y="247"/>
                      <a:pt x="283" y="247"/>
                    </a:cubicBezTo>
                    <a:cubicBezTo>
                      <a:pt x="282" y="248"/>
                      <a:pt x="285" y="249"/>
                      <a:pt x="282" y="251"/>
                    </a:cubicBezTo>
                    <a:cubicBezTo>
                      <a:pt x="282" y="251"/>
                      <a:pt x="282" y="251"/>
                      <a:pt x="282" y="251"/>
                    </a:cubicBezTo>
                    <a:cubicBezTo>
                      <a:pt x="281" y="251"/>
                      <a:pt x="282" y="250"/>
                      <a:pt x="282" y="249"/>
                    </a:cubicBezTo>
                    <a:cubicBezTo>
                      <a:pt x="279" y="249"/>
                      <a:pt x="278" y="248"/>
                      <a:pt x="276" y="249"/>
                    </a:cubicBezTo>
                    <a:cubicBezTo>
                      <a:pt x="275" y="249"/>
                      <a:pt x="274" y="251"/>
                      <a:pt x="274" y="251"/>
                    </a:cubicBezTo>
                    <a:cubicBezTo>
                      <a:pt x="272" y="252"/>
                      <a:pt x="271" y="251"/>
                      <a:pt x="270" y="251"/>
                    </a:cubicBezTo>
                    <a:cubicBezTo>
                      <a:pt x="268" y="252"/>
                      <a:pt x="268" y="253"/>
                      <a:pt x="267" y="254"/>
                    </a:cubicBezTo>
                    <a:cubicBezTo>
                      <a:pt x="266" y="255"/>
                      <a:pt x="265" y="254"/>
                      <a:pt x="264" y="255"/>
                    </a:cubicBezTo>
                    <a:cubicBezTo>
                      <a:pt x="263" y="255"/>
                      <a:pt x="262" y="256"/>
                      <a:pt x="262" y="257"/>
                    </a:cubicBezTo>
                    <a:cubicBezTo>
                      <a:pt x="258" y="258"/>
                      <a:pt x="255" y="259"/>
                      <a:pt x="251" y="259"/>
                    </a:cubicBezTo>
                    <a:cubicBezTo>
                      <a:pt x="251" y="259"/>
                      <a:pt x="251" y="261"/>
                      <a:pt x="251" y="261"/>
                    </a:cubicBezTo>
                    <a:cubicBezTo>
                      <a:pt x="249" y="262"/>
                      <a:pt x="248" y="263"/>
                      <a:pt x="246" y="263"/>
                    </a:cubicBezTo>
                    <a:cubicBezTo>
                      <a:pt x="245" y="263"/>
                      <a:pt x="245" y="262"/>
                      <a:pt x="244" y="263"/>
                    </a:cubicBezTo>
                    <a:cubicBezTo>
                      <a:pt x="243" y="267"/>
                      <a:pt x="242" y="270"/>
                      <a:pt x="242" y="276"/>
                    </a:cubicBezTo>
                    <a:cubicBezTo>
                      <a:pt x="242" y="276"/>
                      <a:pt x="239" y="276"/>
                      <a:pt x="239" y="276"/>
                    </a:cubicBezTo>
                    <a:cubicBezTo>
                      <a:pt x="238" y="276"/>
                      <a:pt x="239" y="278"/>
                      <a:pt x="238" y="278"/>
                    </a:cubicBezTo>
                    <a:cubicBezTo>
                      <a:pt x="238" y="278"/>
                      <a:pt x="235" y="279"/>
                      <a:pt x="234" y="279"/>
                    </a:cubicBezTo>
                    <a:cubicBezTo>
                      <a:pt x="231" y="280"/>
                      <a:pt x="230" y="279"/>
                      <a:pt x="226" y="280"/>
                    </a:cubicBezTo>
                    <a:cubicBezTo>
                      <a:pt x="226" y="279"/>
                      <a:pt x="226" y="275"/>
                      <a:pt x="225" y="273"/>
                    </a:cubicBezTo>
                    <a:cubicBezTo>
                      <a:pt x="225" y="272"/>
                      <a:pt x="222" y="272"/>
                      <a:pt x="223" y="269"/>
                    </a:cubicBezTo>
                    <a:cubicBezTo>
                      <a:pt x="223" y="268"/>
                      <a:pt x="225" y="267"/>
                      <a:pt x="225" y="267"/>
                    </a:cubicBezTo>
                    <a:cubicBezTo>
                      <a:pt x="226" y="266"/>
                      <a:pt x="226" y="265"/>
                      <a:pt x="226" y="264"/>
                    </a:cubicBezTo>
                    <a:cubicBezTo>
                      <a:pt x="230" y="264"/>
                      <a:pt x="231" y="264"/>
                      <a:pt x="236" y="263"/>
                    </a:cubicBezTo>
                    <a:cubicBezTo>
                      <a:pt x="236" y="261"/>
                      <a:pt x="236" y="261"/>
                      <a:pt x="236" y="261"/>
                    </a:cubicBezTo>
                    <a:cubicBezTo>
                      <a:pt x="236" y="261"/>
                      <a:pt x="235" y="260"/>
                      <a:pt x="234" y="259"/>
                    </a:cubicBezTo>
                    <a:cubicBezTo>
                      <a:pt x="234" y="259"/>
                      <a:pt x="235" y="258"/>
                      <a:pt x="234" y="257"/>
                    </a:cubicBezTo>
                    <a:cubicBezTo>
                      <a:pt x="234" y="257"/>
                      <a:pt x="233" y="256"/>
                      <a:pt x="232" y="256"/>
                    </a:cubicBezTo>
                    <a:cubicBezTo>
                      <a:pt x="231" y="254"/>
                      <a:pt x="229" y="248"/>
                      <a:pt x="226" y="247"/>
                    </a:cubicBezTo>
                    <a:cubicBezTo>
                      <a:pt x="224" y="246"/>
                      <a:pt x="221" y="247"/>
                      <a:pt x="218" y="247"/>
                    </a:cubicBezTo>
                    <a:cubicBezTo>
                      <a:pt x="217" y="245"/>
                      <a:pt x="217" y="245"/>
                      <a:pt x="217" y="245"/>
                    </a:cubicBezTo>
                    <a:cubicBezTo>
                      <a:pt x="213" y="244"/>
                      <a:pt x="211" y="244"/>
                      <a:pt x="208" y="242"/>
                    </a:cubicBezTo>
                    <a:cubicBezTo>
                      <a:pt x="209" y="243"/>
                      <a:pt x="208" y="244"/>
                      <a:pt x="208" y="245"/>
                    </a:cubicBezTo>
                    <a:cubicBezTo>
                      <a:pt x="209" y="246"/>
                      <a:pt x="213" y="249"/>
                      <a:pt x="215" y="250"/>
                    </a:cubicBezTo>
                    <a:cubicBezTo>
                      <a:pt x="214" y="253"/>
                      <a:pt x="215" y="254"/>
                      <a:pt x="214" y="257"/>
                    </a:cubicBezTo>
                    <a:cubicBezTo>
                      <a:pt x="214" y="257"/>
                      <a:pt x="212" y="257"/>
                      <a:pt x="212" y="257"/>
                    </a:cubicBezTo>
                    <a:cubicBezTo>
                      <a:pt x="212" y="258"/>
                      <a:pt x="213" y="259"/>
                      <a:pt x="212" y="259"/>
                    </a:cubicBezTo>
                    <a:cubicBezTo>
                      <a:pt x="212" y="260"/>
                      <a:pt x="211" y="259"/>
                      <a:pt x="210" y="260"/>
                    </a:cubicBezTo>
                    <a:cubicBezTo>
                      <a:pt x="209" y="263"/>
                      <a:pt x="211" y="262"/>
                      <a:pt x="208" y="264"/>
                    </a:cubicBezTo>
                    <a:cubicBezTo>
                      <a:pt x="207" y="265"/>
                      <a:pt x="212" y="270"/>
                      <a:pt x="212" y="270"/>
                    </a:cubicBezTo>
                    <a:cubicBezTo>
                      <a:pt x="212" y="270"/>
                      <a:pt x="212" y="272"/>
                      <a:pt x="212" y="272"/>
                    </a:cubicBezTo>
                    <a:cubicBezTo>
                      <a:pt x="212" y="272"/>
                      <a:pt x="213" y="272"/>
                      <a:pt x="212" y="273"/>
                    </a:cubicBezTo>
                    <a:cubicBezTo>
                      <a:pt x="212" y="274"/>
                      <a:pt x="210" y="275"/>
                      <a:pt x="209" y="276"/>
                    </a:cubicBezTo>
                    <a:cubicBezTo>
                      <a:pt x="207" y="279"/>
                      <a:pt x="207" y="282"/>
                      <a:pt x="206" y="287"/>
                    </a:cubicBezTo>
                    <a:cubicBezTo>
                      <a:pt x="205" y="287"/>
                      <a:pt x="204" y="287"/>
                      <a:pt x="202" y="287"/>
                    </a:cubicBezTo>
                    <a:cubicBezTo>
                      <a:pt x="203" y="285"/>
                      <a:pt x="203" y="285"/>
                      <a:pt x="203" y="285"/>
                    </a:cubicBezTo>
                    <a:cubicBezTo>
                      <a:pt x="204" y="286"/>
                      <a:pt x="200" y="281"/>
                      <a:pt x="200" y="281"/>
                    </a:cubicBezTo>
                    <a:cubicBezTo>
                      <a:pt x="199" y="281"/>
                      <a:pt x="198" y="281"/>
                      <a:pt x="197" y="281"/>
                    </a:cubicBezTo>
                    <a:cubicBezTo>
                      <a:pt x="197" y="281"/>
                      <a:pt x="196" y="279"/>
                      <a:pt x="195" y="278"/>
                    </a:cubicBezTo>
                    <a:cubicBezTo>
                      <a:pt x="191" y="278"/>
                      <a:pt x="191" y="281"/>
                      <a:pt x="188" y="282"/>
                    </a:cubicBezTo>
                    <a:cubicBezTo>
                      <a:pt x="187" y="283"/>
                      <a:pt x="186" y="282"/>
                      <a:pt x="184" y="283"/>
                    </a:cubicBezTo>
                    <a:cubicBezTo>
                      <a:pt x="184" y="284"/>
                      <a:pt x="184" y="286"/>
                      <a:pt x="183" y="286"/>
                    </a:cubicBezTo>
                    <a:cubicBezTo>
                      <a:pt x="182" y="288"/>
                      <a:pt x="176" y="291"/>
                      <a:pt x="176" y="292"/>
                    </a:cubicBezTo>
                    <a:cubicBezTo>
                      <a:pt x="176" y="292"/>
                      <a:pt x="176" y="294"/>
                      <a:pt x="176" y="294"/>
                    </a:cubicBezTo>
                    <a:cubicBezTo>
                      <a:pt x="176" y="297"/>
                      <a:pt x="180" y="298"/>
                      <a:pt x="181" y="300"/>
                    </a:cubicBezTo>
                    <a:cubicBezTo>
                      <a:pt x="183" y="302"/>
                      <a:pt x="183" y="304"/>
                      <a:pt x="184" y="306"/>
                    </a:cubicBezTo>
                    <a:cubicBezTo>
                      <a:pt x="181" y="306"/>
                      <a:pt x="179" y="306"/>
                      <a:pt x="175" y="305"/>
                    </a:cubicBezTo>
                    <a:cubicBezTo>
                      <a:pt x="175" y="305"/>
                      <a:pt x="173" y="303"/>
                      <a:pt x="173" y="303"/>
                    </a:cubicBezTo>
                    <a:cubicBezTo>
                      <a:pt x="171" y="302"/>
                      <a:pt x="169" y="303"/>
                      <a:pt x="168" y="302"/>
                    </a:cubicBezTo>
                    <a:cubicBezTo>
                      <a:pt x="168" y="302"/>
                      <a:pt x="168" y="301"/>
                      <a:pt x="169" y="300"/>
                    </a:cubicBezTo>
                    <a:cubicBezTo>
                      <a:pt x="167" y="300"/>
                      <a:pt x="165" y="299"/>
                      <a:pt x="163" y="298"/>
                    </a:cubicBezTo>
                    <a:cubicBezTo>
                      <a:pt x="162" y="298"/>
                      <a:pt x="161" y="296"/>
                      <a:pt x="160" y="295"/>
                    </a:cubicBezTo>
                    <a:cubicBezTo>
                      <a:pt x="156" y="294"/>
                      <a:pt x="155" y="298"/>
                      <a:pt x="157" y="297"/>
                    </a:cubicBezTo>
                    <a:cubicBezTo>
                      <a:pt x="157" y="297"/>
                      <a:pt x="158" y="300"/>
                      <a:pt x="157" y="300"/>
                    </a:cubicBezTo>
                    <a:cubicBezTo>
                      <a:pt x="157" y="301"/>
                      <a:pt x="155" y="301"/>
                      <a:pt x="155" y="301"/>
                    </a:cubicBezTo>
                    <a:cubicBezTo>
                      <a:pt x="156" y="303"/>
                      <a:pt x="157" y="307"/>
                      <a:pt x="159" y="308"/>
                    </a:cubicBezTo>
                    <a:cubicBezTo>
                      <a:pt x="160" y="309"/>
                      <a:pt x="162" y="309"/>
                      <a:pt x="163" y="310"/>
                    </a:cubicBezTo>
                    <a:cubicBezTo>
                      <a:pt x="163" y="317"/>
                      <a:pt x="163" y="317"/>
                      <a:pt x="163" y="317"/>
                    </a:cubicBezTo>
                    <a:cubicBezTo>
                      <a:pt x="163" y="317"/>
                      <a:pt x="163" y="319"/>
                      <a:pt x="163" y="319"/>
                    </a:cubicBezTo>
                    <a:cubicBezTo>
                      <a:pt x="162" y="319"/>
                      <a:pt x="161" y="319"/>
                      <a:pt x="160" y="319"/>
                    </a:cubicBezTo>
                    <a:cubicBezTo>
                      <a:pt x="159" y="320"/>
                      <a:pt x="161" y="321"/>
                      <a:pt x="158" y="321"/>
                    </a:cubicBezTo>
                    <a:cubicBezTo>
                      <a:pt x="158" y="320"/>
                      <a:pt x="158" y="320"/>
                      <a:pt x="158" y="320"/>
                    </a:cubicBezTo>
                    <a:cubicBezTo>
                      <a:pt x="157" y="319"/>
                      <a:pt x="156" y="319"/>
                      <a:pt x="155" y="318"/>
                    </a:cubicBezTo>
                    <a:cubicBezTo>
                      <a:pt x="152" y="317"/>
                      <a:pt x="149" y="318"/>
                      <a:pt x="147" y="318"/>
                    </a:cubicBezTo>
                    <a:cubicBezTo>
                      <a:pt x="146" y="318"/>
                      <a:pt x="146" y="315"/>
                      <a:pt x="146" y="314"/>
                    </a:cubicBezTo>
                    <a:cubicBezTo>
                      <a:pt x="146" y="313"/>
                      <a:pt x="144" y="312"/>
                      <a:pt x="144" y="312"/>
                    </a:cubicBezTo>
                    <a:cubicBezTo>
                      <a:pt x="144" y="312"/>
                      <a:pt x="141" y="312"/>
                      <a:pt x="142" y="312"/>
                    </a:cubicBezTo>
                    <a:cubicBezTo>
                      <a:pt x="141" y="313"/>
                      <a:pt x="141" y="313"/>
                      <a:pt x="141" y="313"/>
                    </a:cubicBezTo>
                    <a:cubicBezTo>
                      <a:pt x="140" y="313"/>
                      <a:pt x="140" y="312"/>
                      <a:pt x="139" y="312"/>
                    </a:cubicBezTo>
                    <a:cubicBezTo>
                      <a:pt x="138" y="307"/>
                      <a:pt x="138" y="306"/>
                      <a:pt x="137" y="300"/>
                    </a:cubicBezTo>
                    <a:cubicBezTo>
                      <a:pt x="137" y="299"/>
                      <a:pt x="135" y="297"/>
                      <a:pt x="135" y="296"/>
                    </a:cubicBezTo>
                    <a:cubicBezTo>
                      <a:pt x="135" y="295"/>
                      <a:pt x="137" y="292"/>
                      <a:pt x="137" y="292"/>
                    </a:cubicBezTo>
                    <a:cubicBezTo>
                      <a:pt x="138" y="290"/>
                      <a:pt x="136" y="291"/>
                      <a:pt x="137" y="289"/>
                    </a:cubicBezTo>
                    <a:cubicBezTo>
                      <a:pt x="136" y="289"/>
                      <a:pt x="135" y="289"/>
                      <a:pt x="135" y="289"/>
                    </a:cubicBezTo>
                    <a:cubicBezTo>
                      <a:pt x="134" y="289"/>
                      <a:pt x="134" y="286"/>
                      <a:pt x="133" y="286"/>
                    </a:cubicBezTo>
                    <a:cubicBezTo>
                      <a:pt x="131" y="285"/>
                      <a:pt x="129" y="286"/>
                      <a:pt x="128" y="286"/>
                    </a:cubicBezTo>
                    <a:cubicBezTo>
                      <a:pt x="127" y="284"/>
                      <a:pt x="127" y="284"/>
                      <a:pt x="127" y="284"/>
                    </a:cubicBezTo>
                    <a:cubicBezTo>
                      <a:pt x="124" y="284"/>
                      <a:pt x="123" y="284"/>
                      <a:pt x="120" y="283"/>
                    </a:cubicBezTo>
                    <a:cubicBezTo>
                      <a:pt x="120" y="283"/>
                      <a:pt x="118" y="282"/>
                      <a:pt x="118" y="282"/>
                    </a:cubicBezTo>
                    <a:cubicBezTo>
                      <a:pt x="119" y="281"/>
                      <a:pt x="120" y="282"/>
                      <a:pt x="121" y="282"/>
                    </a:cubicBezTo>
                    <a:cubicBezTo>
                      <a:pt x="122" y="279"/>
                      <a:pt x="122" y="279"/>
                      <a:pt x="122" y="279"/>
                    </a:cubicBezTo>
                    <a:cubicBezTo>
                      <a:pt x="121" y="279"/>
                      <a:pt x="120" y="280"/>
                      <a:pt x="118" y="280"/>
                    </a:cubicBezTo>
                    <a:cubicBezTo>
                      <a:pt x="117" y="279"/>
                      <a:pt x="118" y="278"/>
                      <a:pt x="117" y="278"/>
                    </a:cubicBezTo>
                    <a:cubicBezTo>
                      <a:pt x="117" y="276"/>
                      <a:pt x="117" y="276"/>
                      <a:pt x="117" y="276"/>
                    </a:cubicBezTo>
                    <a:cubicBezTo>
                      <a:pt x="122" y="273"/>
                      <a:pt x="116" y="273"/>
                      <a:pt x="113" y="274"/>
                    </a:cubicBezTo>
                    <a:cubicBezTo>
                      <a:pt x="117" y="273"/>
                      <a:pt x="113" y="269"/>
                      <a:pt x="111" y="267"/>
                    </a:cubicBezTo>
                    <a:cubicBezTo>
                      <a:pt x="110" y="267"/>
                      <a:pt x="110" y="267"/>
                      <a:pt x="110" y="267"/>
                    </a:cubicBezTo>
                    <a:cubicBezTo>
                      <a:pt x="110" y="266"/>
                      <a:pt x="111" y="265"/>
                      <a:pt x="111" y="265"/>
                    </a:cubicBezTo>
                    <a:cubicBezTo>
                      <a:pt x="112" y="265"/>
                      <a:pt x="114" y="266"/>
                      <a:pt x="115" y="267"/>
                    </a:cubicBezTo>
                    <a:cubicBezTo>
                      <a:pt x="116" y="267"/>
                      <a:pt x="116" y="269"/>
                      <a:pt x="118" y="271"/>
                    </a:cubicBezTo>
                    <a:cubicBezTo>
                      <a:pt x="121" y="272"/>
                      <a:pt x="122" y="270"/>
                      <a:pt x="124" y="271"/>
                    </a:cubicBezTo>
                    <a:cubicBezTo>
                      <a:pt x="125" y="271"/>
                      <a:pt x="125" y="273"/>
                      <a:pt x="126" y="274"/>
                    </a:cubicBezTo>
                    <a:cubicBezTo>
                      <a:pt x="127" y="274"/>
                      <a:pt x="128" y="274"/>
                      <a:pt x="129" y="274"/>
                    </a:cubicBezTo>
                    <a:cubicBezTo>
                      <a:pt x="129" y="275"/>
                      <a:pt x="129" y="276"/>
                      <a:pt x="129" y="276"/>
                    </a:cubicBezTo>
                    <a:cubicBezTo>
                      <a:pt x="130" y="276"/>
                      <a:pt x="130" y="276"/>
                      <a:pt x="130" y="276"/>
                    </a:cubicBezTo>
                    <a:cubicBezTo>
                      <a:pt x="130" y="276"/>
                      <a:pt x="130" y="274"/>
                      <a:pt x="130" y="273"/>
                    </a:cubicBezTo>
                    <a:cubicBezTo>
                      <a:pt x="132" y="272"/>
                      <a:pt x="132" y="272"/>
                      <a:pt x="132" y="272"/>
                    </a:cubicBezTo>
                    <a:cubicBezTo>
                      <a:pt x="132" y="274"/>
                      <a:pt x="134" y="277"/>
                      <a:pt x="134" y="278"/>
                    </a:cubicBezTo>
                    <a:cubicBezTo>
                      <a:pt x="136" y="278"/>
                      <a:pt x="138" y="278"/>
                      <a:pt x="140" y="278"/>
                    </a:cubicBezTo>
                    <a:cubicBezTo>
                      <a:pt x="141" y="280"/>
                      <a:pt x="141" y="280"/>
                      <a:pt x="141" y="280"/>
                    </a:cubicBezTo>
                    <a:cubicBezTo>
                      <a:pt x="142" y="280"/>
                      <a:pt x="144" y="279"/>
                      <a:pt x="146" y="280"/>
                    </a:cubicBezTo>
                    <a:cubicBezTo>
                      <a:pt x="147" y="280"/>
                      <a:pt x="149" y="282"/>
                      <a:pt x="150" y="282"/>
                    </a:cubicBezTo>
                    <a:cubicBezTo>
                      <a:pt x="156" y="284"/>
                      <a:pt x="160" y="283"/>
                      <a:pt x="166" y="284"/>
                    </a:cubicBezTo>
                    <a:cubicBezTo>
                      <a:pt x="166" y="284"/>
                      <a:pt x="168" y="285"/>
                      <a:pt x="169" y="284"/>
                    </a:cubicBezTo>
                    <a:cubicBezTo>
                      <a:pt x="170" y="284"/>
                      <a:pt x="171" y="283"/>
                      <a:pt x="171" y="282"/>
                    </a:cubicBezTo>
                    <a:cubicBezTo>
                      <a:pt x="173" y="282"/>
                      <a:pt x="174" y="282"/>
                      <a:pt x="176" y="281"/>
                    </a:cubicBezTo>
                    <a:cubicBezTo>
                      <a:pt x="177" y="281"/>
                      <a:pt x="178" y="279"/>
                      <a:pt x="179" y="278"/>
                    </a:cubicBezTo>
                    <a:cubicBezTo>
                      <a:pt x="180" y="278"/>
                      <a:pt x="180" y="278"/>
                      <a:pt x="180" y="278"/>
                    </a:cubicBezTo>
                    <a:cubicBezTo>
                      <a:pt x="180" y="278"/>
                      <a:pt x="180" y="276"/>
                      <a:pt x="181" y="276"/>
                    </a:cubicBezTo>
                    <a:cubicBezTo>
                      <a:pt x="181" y="275"/>
                      <a:pt x="183" y="275"/>
                      <a:pt x="184" y="274"/>
                    </a:cubicBezTo>
                    <a:cubicBezTo>
                      <a:pt x="186" y="272"/>
                      <a:pt x="187" y="266"/>
                      <a:pt x="185" y="263"/>
                    </a:cubicBezTo>
                    <a:cubicBezTo>
                      <a:pt x="178" y="256"/>
                      <a:pt x="178" y="256"/>
                      <a:pt x="178" y="256"/>
                    </a:cubicBezTo>
                    <a:cubicBezTo>
                      <a:pt x="177" y="256"/>
                      <a:pt x="175" y="256"/>
                      <a:pt x="175" y="256"/>
                    </a:cubicBezTo>
                    <a:cubicBezTo>
                      <a:pt x="173" y="255"/>
                      <a:pt x="173" y="252"/>
                      <a:pt x="172" y="251"/>
                    </a:cubicBezTo>
                    <a:cubicBezTo>
                      <a:pt x="172" y="251"/>
                      <a:pt x="170" y="252"/>
                      <a:pt x="170" y="253"/>
                    </a:cubicBezTo>
                    <a:cubicBezTo>
                      <a:pt x="167" y="250"/>
                      <a:pt x="163" y="246"/>
                      <a:pt x="160" y="245"/>
                    </a:cubicBezTo>
                    <a:cubicBezTo>
                      <a:pt x="158" y="244"/>
                      <a:pt x="157" y="245"/>
                      <a:pt x="156" y="244"/>
                    </a:cubicBezTo>
                    <a:cubicBezTo>
                      <a:pt x="155" y="244"/>
                      <a:pt x="155" y="242"/>
                      <a:pt x="154" y="241"/>
                    </a:cubicBezTo>
                    <a:cubicBezTo>
                      <a:pt x="152" y="241"/>
                      <a:pt x="151" y="241"/>
                      <a:pt x="149" y="241"/>
                    </a:cubicBezTo>
                    <a:cubicBezTo>
                      <a:pt x="148" y="240"/>
                      <a:pt x="145" y="238"/>
                      <a:pt x="143" y="237"/>
                    </a:cubicBezTo>
                    <a:cubicBezTo>
                      <a:pt x="142" y="237"/>
                      <a:pt x="142" y="238"/>
                      <a:pt x="141" y="238"/>
                    </a:cubicBezTo>
                    <a:cubicBezTo>
                      <a:pt x="140" y="237"/>
                      <a:pt x="139" y="235"/>
                      <a:pt x="138" y="235"/>
                    </a:cubicBezTo>
                    <a:cubicBezTo>
                      <a:pt x="136" y="234"/>
                      <a:pt x="135" y="235"/>
                      <a:pt x="135" y="235"/>
                    </a:cubicBezTo>
                    <a:cubicBezTo>
                      <a:pt x="134" y="235"/>
                      <a:pt x="132" y="233"/>
                      <a:pt x="132" y="233"/>
                    </a:cubicBezTo>
                    <a:cubicBezTo>
                      <a:pt x="129" y="231"/>
                      <a:pt x="126" y="231"/>
                      <a:pt x="123" y="231"/>
                    </a:cubicBezTo>
                    <a:cubicBezTo>
                      <a:pt x="123" y="231"/>
                      <a:pt x="123" y="229"/>
                      <a:pt x="123" y="229"/>
                    </a:cubicBezTo>
                    <a:cubicBezTo>
                      <a:pt x="122" y="229"/>
                      <a:pt x="121" y="230"/>
                      <a:pt x="120" y="230"/>
                    </a:cubicBezTo>
                    <a:cubicBezTo>
                      <a:pt x="121" y="230"/>
                      <a:pt x="119" y="229"/>
                      <a:pt x="118" y="229"/>
                    </a:cubicBezTo>
                    <a:cubicBezTo>
                      <a:pt x="115" y="229"/>
                      <a:pt x="115" y="230"/>
                      <a:pt x="111" y="229"/>
                    </a:cubicBezTo>
                    <a:cubicBezTo>
                      <a:pt x="111" y="229"/>
                      <a:pt x="111" y="227"/>
                      <a:pt x="111" y="227"/>
                    </a:cubicBezTo>
                    <a:cubicBezTo>
                      <a:pt x="114" y="226"/>
                      <a:pt x="114" y="226"/>
                      <a:pt x="117" y="225"/>
                    </a:cubicBezTo>
                    <a:cubicBezTo>
                      <a:pt x="116" y="224"/>
                      <a:pt x="109" y="221"/>
                      <a:pt x="109" y="221"/>
                    </a:cubicBezTo>
                    <a:cubicBezTo>
                      <a:pt x="109" y="221"/>
                      <a:pt x="109" y="221"/>
                      <a:pt x="108" y="221"/>
                    </a:cubicBezTo>
                    <a:cubicBezTo>
                      <a:pt x="108" y="221"/>
                      <a:pt x="109" y="222"/>
                      <a:pt x="109" y="223"/>
                    </a:cubicBezTo>
                    <a:cubicBezTo>
                      <a:pt x="108" y="223"/>
                      <a:pt x="107" y="222"/>
                      <a:pt x="106" y="223"/>
                    </a:cubicBezTo>
                    <a:cubicBezTo>
                      <a:pt x="106" y="224"/>
                      <a:pt x="106" y="224"/>
                      <a:pt x="106" y="224"/>
                    </a:cubicBezTo>
                    <a:cubicBezTo>
                      <a:pt x="104" y="224"/>
                      <a:pt x="105" y="222"/>
                      <a:pt x="104" y="222"/>
                    </a:cubicBezTo>
                    <a:cubicBezTo>
                      <a:pt x="103" y="221"/>
                      <a:pt x="105" y="224"/>
                      <a:pt x="103" y="225"/>
                    </a:cubicBezTo>
                    <a:cubicBezTo>
                      <a:pt x="101" y="225"/>
                      <a:pt x="100" y="223"/>
                      <a:pt x="97" y="222"/>
                    </a:cubicBezTo>
                    <a:cubicBezTo>
                      <a:pt x="96" y="222"/>
                      <a:pt x="97" y="225"/>
                      <a:pt x="96" y="225"/>
                    </a:cubicBezTo>
                    <a:cubicBezTo>
                      <a:pt x="95" y="226"/>
                      <a:pt x="92" y="227"/>
                      <a:pt x="92" y="227"/>
                    </a:cubicBezTo>
                    <a:cubicBezTo>
                      <a:pt x="92" y="227"/>
                      <a:pt x="90" y="229"/>
                      <a:pt x="88" y="230"/>
                    </a:cubicBezTo>
                    <a:cubicBezTo>
                      <a:pt x="87" y="232"/>
                      <a:pt x="84" y="234"/>
                      <a:pt x="84" y="234"/>
                    </a:cubicBezTo>
                    <a:cubicBezTo>
                      <a:pt x="84" y="234"/>
                      <a:pt x="82" y="236"/>
                      <a:pt x="80" y="237"/>
                    </a:cubicBezTo>
                    <a:cubicBezTo>
                      <a:pt x="78" y="237"/>
                      <a:pt x="81" y="239"/>
                      <a:pt x="81" y="239"/>
                    </a:cubicBezTo>
                    <a:cubicBezTo>
                      <a:pt x="81" y="239"/>
                      <a:pt x="78" y="242"/>
                      <a:pt x="78" y="242"/>
                    </a:cubicBezTo>
                    <a:cubicBezTo>
                      <a:pt x="79" y="243"/>
                      <a:pt x="82" y="242"/>
                      <a:pt x="82" y="242"/>
                    </a:cubicBezTo>
                    <a:cubicBezTo>
                      <a:pt x="82" y="244"/>
                      <a:pt x="81" y="247"/>
                      <a:pt x="82" y="248"/>
                    </a:cubicBezTo>
                    <a:cubicBezTo>
                      <a:pt x="83" y="250"/>
                      <a:pt x="87" y="251"/>
                      <a:pt x="87" y="251"/>
                    </a:cubicBezTo>
                    <a:cubicBezTo>
                      <a:pt x="87" y="251"/>
                      <a:pt x="87" y="255"/>
                      <a:pt x="92" y="257"/>
                    </a:cubicBezTo>
                    <a:cubicBezTo>
                      <a:pt x="98" y="261"/>
                      <a:pt x="86" y="266"/>
                      <a:pt x="86" y="268"/>
                    </a:cubicBezTo>
                    <a:cubicBezTo>
                      <a:pt x="86" y="269"/>
                      <a:pt x="87" y="274"/>
                      <a:pt x="88" y="277"/>
                    </a:cubicBezTo>
                    <a:cubicBezTo>
                      <a:pt x="89" y="280"/>
                      <a:pt x="91" y="282"/>
                      <a:pt x="91" y="282"/>
                    </a:cubicBezTo>
                    <a:cubicBezTo>
                      <a:pt x="91" y="282"/>
                      <a:pt x="95" y="287"/>
                      <a:pt x="94" y="288"/>
                    </a:cubicBezTo>
                    <a:cubicBezTo>
                      <a:pt x="94" y="290"/>
                      <a:pt x="92" y="287"/>
                      <a:pt x="91" y="289"/>
                    </a:cubicBezTo>
                    <a:cubicBezTo>
                      <a:pt x="90" y="291"/>
                      <a:pt x="90" y="295"/>
                      <a:pt x="91" y="297"/>
                    </a:cubicBezTo>
                    <a:cubicBezTo>
                      <a:pt x="92" y="298"/>
                      <a:pt x="93" y="302"/>
                      <a:pt x="93" y="302"/>
                    </a:cubicBezTo>
                    <a:cubicBezTo>
                      <a:pt x="93" y="302"/>
                      <a:pt x="93" y="303"/>
                      <a:pt x="95" y="305"/>
                    </a:cubicBezTo>
                    <a:cubicBezTo>
                      <a:pt x="97" y="307"/>
                      <a:pt x="99" y="309"/>
                      <a:pt x="98" y="311"/>
                    </a:cubicBezTo>
                    <a:cubicBezTo>
                      <a:pt x="97" y="313"/>
                      <a:pt x="95" y="312"/>
                      <a:pt x="94" y="314"/>
                    </a:cubicBezTo>
                    <a:cubicBezTo>
                      <a:pt x="93" y="318"/>
                      <a:pt x="99" y="319"/>
                      <a:pt x="100" y="322"/>
                    </a:cubicBezTo>
                    <a:cubicBezTo>
                      <a:pt x="101" y="324"/>
                      <a:pt x="104" y="324"/>
                      <a:pt x="106" y="326"/>
                    </a:cubicBezTo>
                    <a:cubicBezTo>
                      <a:pt x="108" y="327"/>
                      <a:pt x="107" y="330"/>
                      <a:pt x="105" y="332"/>
                    </a:cubicBezTo>
                    <a:cubicBezTo>
                      <a:pt x="104" y="334"/>
                      <a:pt x="97" y="340"/>
                      <a:pt x="97" y="342"/>
                    </a:cubicBezTo>
                    <a:cubicBezTo>
                      <a:pt x="97" y="344"/>
                      <a:pt x="81" y="354"/>
                      <a:pt x="81" y="354"/>
                    </a:cubicBezTo>
                    <a:cubicBezTo>
                      <a:pt x="70" y="363"/>
                      <a:pt x="70" y="363"/>
                      <a:pt x="70" y="363"/>
                    </a:cubicBezTo>
                    <a:cubicBezTo>
                      <a:pt x="70" y="363"/>
                      <a:pt x="70" y="363"/>
                      <a:pt x="70" y="363"/>
                    </a:cubicBezTo>
                    <a:cubicBezTo>
                      <a:pt x="71" y="363"/>
                      <a:pt x="71" y="363"/>
                      <a:pt x="71" y="363"/>
                    </a:cubicBezTo>
                    <a:cubicBezTo>
                      <a:pt x="71" y="362"/>
                      <a:pt x="71" y="362"/>
                      <a:pt x="71" y="362"/>
                    </a:cubicBezTo>
                    <a:cubicBezTo>
                      <a:pt x="73" y="361"/>
                      <a:pt x="75" y="360"/>
                      <a:pt x="77" y="360"/>
                    </a:cubicBezTo>
                    <a:cubicBezTo>
                      <a:pt x="76" y="362"/>
                      <a:pt x="76" y="361"/>
                      <a:pt x="76" y="362"/>
                    </a:cubicBezTo>
                    <a:cubicBezTo>
                      <a:pt x="76" y="362"/>
                      <a:pt x="76" y="362"/>
                      <a:pt x="75" y="363"/>
                    </a:cubicBezTo>
                    <a:cubicBezTo>
                      <a:pt x="77" y="365"/>
                      <a:pt x="80" y="367"/>
                      <a:pt x="83" y="370"/>
                    </a:cubicBezTo>
                    <a:cubicBezTo>
                      <a:pt x="84" y="369"/>
                      <a:pt x="88" y="368"/>
                      <a:pt x="89" y="368"/>
                    </a:cubicBezTo>
                    <a:cubicBezTo>
                      <a:pt x="91" y="369"/>
                      <a:pt x="92" y="372"/>
                      <a:pt x="93" y="373"/>
                    </a:cubicBezTo>
                    <a:cubicBezTo>
                      <a:pt x="94" y="373"/>
                      <a:pt x="96" y="373"/>
                      <a:pt x="96" y="374"/>
                    </a:cubicBezTo>
                    <a:cubicBezTo>
                      <a:pt x="96" y="374"/>
                      <a:pt x="94" y="375"/>
                      <a:pt x="92" y="375"/>
                    </a:cubicBezTo>
                    <a:cubicBezTo>
                      <a:pt x="91" y="375"/>
                      <a:pt x="90" y="373"/>
                      <a:pt x="87" y="374"/>
                    </a:cubicBezTo>
                    <a:cubicBezTo>
                      <a:pt x="86" y="374"/>
                      <a:pt x="85" y="376"/>
                      <a:pt x="83" y="377"/>
                    </a:cubicBezTo>
                    <a:cubicBezTo>
                      <a:pt x="81" y="377"/>
                      <a:pt x="81" y="376"/>
                      <a:pt x="79" y="376"/>
                    </a:cubicBezTo>
                    <a:cubicBezTo>
                      <a:pt x="78" y="376"/>
                      <a:pt x="78" y="377"/>
                      <a:pt x="77" y="378"/>
                    </a:cubicBezTo>
                    <a:cubicBezTo>
                      <a:pt x="77" y="377"/>
                      <a:pt x="77" y="376"/>
                      <a:pt x="76" y="376"/>
                    </a:cubicBezTo>
                    <a:cubicBezTo>
                      <a:pt x="76" y="377"/>
                      <a:pt x="75" y="380"/>
                      <a:pt x="74" y="382"/>
                    </a:cubicBezTo>
                    <a:cubicBezTo>
                      <a:pt x="74" y="382"/>
                      <a:pt x="76" y="384"/>
                      <a:pt x="76" y="385"/>
                    </a:cubicBezTo>
                    <a:cubicBezTo>
                      <a:pt x="76" y="387"/>
                      <a:pt x="74" y="389"/>
                      <a:pt x="74" y="389"/>
                    </a:cubicBezTo>
                    <a:cubicBezTo>
                      <a:pt x="73" y="390"/>
                      <a:pt x="73" y="390"/>
                      <a:pt x="73" y="390"/>
                    </a:cubicBezTo>
                    <a:cubicBezTo>
                      <a:pt x="74" y="394"/>
                      <a:pt x="74" y="396"/>
                      <a:pt x="73" y="401"/>
                    </a:cubicBezTo>
                    <a:cubicBezTo>
                      <a:pt x="73" y="401"/>
                      <a:pt x="71" y="401"/>
                      <a:pt x="71" y="401"/>
                    </a:cubicBezTo>
                    <a:cubicBezTo>
                      <a:pt x="71" y="401"/>
                      <a:pt x="69" y="404"/>
                      <a:pt x="67" y="405"/>
                    </a:cubicBezTo>
                    <a:cubicBezTo>
                      <a:pt x="65" y="405"/>
                      <a:pt x="65" y="410"/>
                      <a:pt x="65" y="410"/>
                    </a:cubicBezTo>
                    <a:cubicBezTo>
                      <a:pt x="65" y="410"/>
                      <a:pt x="66" y="411"/>
                      <a:pt x="66" y="413"/>
                    </a:cubicBezTo>
                    <a:cubicBezTo>
                      <a:pt x="67" y="415"/>
                      <a:pt x="71" y="413"/>
                      <a:pt x="71" y="413"/>
                    </a:cubicBezTo>
                    <a:cubicBezTo>
                      <a:pt x="71" y="413"/>
                      <a:pt x="72" y="418"/>
                      <a:pt x="72" y="420"/>
                    </a:cubicBezTo>
                    <a:cubicBezTo>
                      <a:pt x="72" y="422"/>
                      <a:pt x="74" y="420"/>
                      <a:pt x="75" y="422"/>
                    </a:cubicBezTo>
                    <a:cubicBezTo>
                      <a:pt x="76" y="424"/>
                      <a:pt x="78" y="426"/>
                      <a:pt x="78" y="426"/>
                    </a:cubicBezTo>
                    <a:cubicBezTo>
                      <a:pt x="79" y="430"/>
                      <a:pt x="79" y="430"/>
                      <a:pt x="79" y="430"/>
                    </a:cubicBezTo>
                    <a:cubicBezTo>
                      <a:pt x="80" y="427"/>
                      <a:pt x="79" y="434"/>
                      <a:pt x="81" y="432"/>
                    </a:cubicBezTo>
                    <a:cubicBezTo>
                      <a:pt x="83" y="431"/>
                      <a:pt x="85" y="431"/>
                      <a:pt x="85" y="431"/>
                    </a:cubicBezTo>
                    <a:cubicBezTo>
                      <a:pt x="85" y="431"/>
                      <a:pt x="87" y="431"/>
                      <a:pt x="89" y="432"/>
                    </a:cubicBezTo>
                    <a:cubicBezTo>
                      <a:pt x="91" y="433"/>
                      <a:pt x="94" y="433"/>
                      <a:pt x="94" y="436"/>
                    </a:cubicBezTo>
                    <a:cubicBezTo>
                      <a:pt x="94" y="438"/>
                      <a:pt x="97" y="436"/>
                      <a:pt x="97" y="440"/>
                    </a:cubicBezTo>
                    <a:cubicBezTo>
                      <a:pt x="97" y="443"/>
                      <a:pt x="99" y="443"/>
                      <a:pt x="99" y="447"/>
                    </a:cubicBezTo>
                    <a:cubicBezTo>
                      <a:pt x="99" y="451"/>
                      <a:pt x="98" y="453"/>
                      <a:pt x="100" y="454"/>
                    </a:cubicBezTo>
                    <a:cubicBezTo>
                      <a:pt x="102" y="456"/>
                      <a:pt x="105" y="456"/>
                      <a:pt x="106" y="459"/>
                    </a:cubicBezTo>
                    <a:cubicBezTo>
                      <a:pt x="107" y="462"/>
                      <a:pt x="108" y="465"/>
                      <a:pt x="106" y="466"/>
                    </a:cubicBezTo>
                    <a:cubicBezTo>
                      <a:pt x="103" y="466"/>
                      <a:pt x="102" y="463"/>
                      <a:pt x="100" y="466"/>
                    </a:cubicBezTo>
                    <a:cubicBezTo>
                      <a:pt x="99" y="469"/>
                      <a:pt x="103" y="469"/>
                      <a:pt x="103" y="471"/>
                    </a:cubicBezTo>
                    <a:cubicBezTo>
                      <a:pt x="103" y="482"/>
                      <a:pt x="103" y="482"/>
                      <a:pt x="103" y="482"/>
                    </a:cubicBezTo>
                    <a:cubicBezTo>
                      <a:pt x="103" y="482"/>
                      <a:pt x="106" y="487"/>
                      <a:pt x="109" y="482"/>
                    </a:cubicBezTo>
                    <a:cubicBezTo>
                      <a:pt x="110" y="480"/>
                      <a:pt x="110" y="482"/>
                      <a:pt x="112" y="483"/>
                    </a:cubicBezTo>
                    <a:cubicBezTo>
                      <a:pt x="115" y="484"/>
                      <a:pt x="117" y="482"/>
                      <a:pt x="117" y="484"/>
                    </a:cubicBezTo>
                    <a:cubicBezTo>
                      <a:pt x="117" y="486"/>
                      <a:pt x="118" y="488"/>
                      <a:pt x="118" y="488"/>
                    </a:cubicBezTo>
                    <a:cubicBezTo>
                      <a:pt x="118" y="488"/>
                      <a:pt x="118" y="492"/>
                      <a:pt x="120" y="492"/>
                    </a:cubicBezTo>
                    <a:cubicBezTo>
                      <a:pt x="121" y="492"/>
                      <a:pt x="120" y="496"/>
                      <a:pt x="122" y="496"/>
                    </a:cubicBezTo>
                    <a:cubicBezTo>
                      <a:pt x="124" y="496"/>
                      <a:pt x="127" y="495"/>
                      <a:pt x="128" y="496"/>
                    </a:cubicBezTo>
                    <a:cubicBezTo>
                      <a:pt x="131" y="498"/>
                      <a:pt x="132" y="498"/>
                      <a:pt x="134" y="497"/>
                    </a:cubicBezTo>
                    <a:cubicBezTo>
                      <a:pt x="136" y="497"/>
                      <a:pt x="136" y="500"/>
                      <a:pt x="137" y="501"/>
                    </a:cubicBezTo>
                    <a:cubicBezTo>
                      <a:pt x="140" y="502"/>
                      <a:pt x="139" y="502"/>
                      <a:pt x="141" y="502"/>
                    </a:cubicBezTo>
                    <a:cubicBezTo>
                      <a:pt x="143" y="503"/>
                      <a:pt x="143" y="508"/>
                      <a:pt x="143" y="508"/>
                    </a:cubicBezTo>
                    <a:cubicBezTo>
                      <a:pt x="143" y="508"/>
                      <a:pt x="146" y="507"/>
                      <a:pt x="148" y="507"/>
                    </a:cubicBezTo>
                    <a:cubicBezTo>
                      <a:pt x="150" y="506"/>
                      <a:pt x="151" y="505"/>
                      <a:pt x="151" y="505"/>
                    </a:cubicBezTo>
                    <a:cubicBezTo>
                      <a:pt x="151" y="505"/>
                      <a:pt x="155" y="505"/>
                      <a:pt x="156" y="506"/>
                    </a:cubicBezTo>
                    <a:cubicBezTo>
                      <a:pt x="157" y="508"/>
                      <a:pt x="155" y="508"/>
                      <a:pt x="158" y="508"/>
                    </a:cubicBezTo>
                    <a:cubicBezTo>
                      <a:pt x="161" y="508"/>
                      <a:pt x="160" y="510"/>
                      <a:pt x="163" y="511"/>
                    </a:cubicBezTo>
                    <a:cubicBezTo>
                      <a:pt x="165" y="511"/>
                      <a:pt x="172" y="514"/>
                      <a:pt x="174" y="516"/>
                    </a:cubicBezTo>
                    <a:cubicBezTo>
                      <a:pt x="177" y="518"/>
                      <a:pt x="173" y="519"/>
                      <a:pt x="175" y="520"/>
                    </a:cubicBezTo>
                    <a:cubicBezTo>
                      <a:pt x="176" y="522"/>
                      <a:pt x="179" y="521"/>
                      <a:pt x="178" y="523"/>
                    </a:cubicBezTo>
                    <a:cubicBezTo>
                      <a:pt x="177" y="525"/>
                      <a:pt x="175" y="526"/>
                      <a:pt x="177" y="526"/>
                    </a:cubicBezTo>
                    <a:cubicBezTo>
                      <a:pt x="181" y="527"/>
                      <a:pt x="177" y="531"/>
                      <a:pt x="178" y="533"/>
                    </a:cubicBezTo>
                    <a:cubicBezTo>
                      <a:pt x="179" y="534"/>
                      <a:pt x="179" y="535"/>
                      <a:pt x="179" y="537"/>
                    </a:cubicBezTo>
                    <a:cubicBezTo>
                      <a:pt x="179" y="539"/>
                      <a:pt x="178" y="541"/>
                      <a:pt x="178" y="543"/>
                    </a:cubicBezTo>
                    <a:cubicBezTo>
                      <a:pt x="177" y="545"/>
                      <a:pt x="173" y="546"/>
                      <a:pt x="171" y="546"/>
                    </a:cubicBezTo>
                    <a:cubicBezTo>
                      <a:pt x="169" y="548"/>
                      <a:pt x="169" y="548"/>
                      <a:pt x="169" y="548"/>
                    </a:cubicBezTo>
                    <a:cubicBezTo>
                      <a:pt x="168" y="551"/>
                      <a:pt x="168" y="551"/>
                      <a:pt x="168" y="551"/>
                    </a:cubicBezTo>
                    <a:cubicBezTo>
                      <a:pt x="168" y="552"/>
                      <a:pt x="170" y="551"/>
                      <a:pt x="171" y="551"/>
                    </a:cubicBezTo>
                    <a:cubicBezTo>
                      <a:pt x="171" y="550"/>
                      <a:pt x="171" y="550"/>
                      <a:pt x="171" y="550"/>
                    </a:cubicBezTo>
                    <a:cubicBezTo>
                      <a:pt x="172" y="549"/>
                      <a:pt x="172" y="551"/>
                      <a:pt x="173" y="550"/>
                    </a:cubicBezTo>
                    <a:cubicBezTo>
                      <a:pt x="173" y="552"/>
                      <a:pt x="173" y="552"/>
                      <a:pt x="173" y="552"/>
                    </a:cubicBezTo>
                    <a:cubicBezTo>
                      <a:pt x="171" y="553"/>
                      <a:pt x="170" y="553"/>
                      <a:pt x="168" y="554"/>
                    </a:cubicBezTo>
                    <a:cubicBezTo>
                      <a:pt x="167" y="554"/>
                      <a:pt x="166" y="556"/>
                      <a:pt x="165" y="556"/>
                    </a:cubicBezTo>
                    <a:cubicBezTo>
                      <a:pt x="164" y="556"/>
                      <a:pt x="165" y="555"/>
                      <a:pt x="163" y="556"/>
                    </a:cubicBezTo>
                    <a:cubicBezTo>
                      <a:pt x="163" y="557"/>
                      <a:pt x="163" y="560"/>
                      <a:pt x="163" y="560"/>
                    </a:cubicBezTo>
                    <a:cubicBezTo>
                      <a:pt x="162" y="560"/>
                      <a:pt x="157" y="560"/>
                      <a:pt x="156" y="560"/>
                    </a:cubicBezTo>
                    <a:cubicBezTo>
                      <a:pt x="156" y="561"/>
                      <a:pt x="157" y="563"/>
                      <a:pt x="158" y="563"/>
                    </a:cubicBezTo>
                    <a:cubicBezTo>
                      <a:pt x="159" y="563"/>
                      <a:pt x="161" y="563"/>
                      <a:pt x="161" y="564"/>
                    </a:cubicBezTo>
                    <a:cubicBezTo>
                      <a:pt x="161" y="565"/>
                      <a:pt x="162" y="566"/>
                      <a:pt x="161" y="568"/>
                    </a:cubicBezTo>
                    <a:cubicBezTo>
                      <a:pt x="160" y="568"/>
                      <a:pt x="158" y="569"/>
                      <a:pt x="158" y="569"/>
                    </a:cubicBezTo>
                    <a:cubicBezTo>
                      <a:pt x="158" y="570"/>
                      <a:pt x="158" y="571"/>
                      <a:pt x="158" y="572"/>
                    </a:cubicBezTo>
                    <a:cubicBezTo>
                      <a:pt x="157" y="572"/>
                      <a:pt x="153" y="572"/>
                      <a:pt x="153" y="572"/>
                    </a:cubicBezTo>
                    <a:cubicBezTo>
                      <a:pt x="152" y="572"/>
                      <a:pt x="153" y="575"/>
                      <a:pt x="153" y="575"/>
                    </a:cubicBezTo>
                    <a:cubicBezTo>
                      <a:pt x="151" y="576"/>
                      <a:pt x="150" y="575"/>
                      <a:pt x="149" y="576"/>
                    </a:cubicBezTo>
                    <a:cubicBezTo>
                      <a:pt x="149" y="576"/>
                      <a:pt x="149" y="578"/>
                      <a:pt x="149" y="578"/>
                    </a:cubicBezTo>
                    <a:cubicBezTo>
                      <a:pt x="151" y="577"/>
                      <a:pt x="152" y="576"/>
                      <a:pt x="155" y="576"/>
                    </a:cubicBezTo>
                    <a:cubicBezTo>
                      <a:pt x="155" y="576"/>
                      <a:pt x="154" y="578"/>
                      <a:pt x="155" y="578"/>
                    </a:cubicBezTo>
                    <a:cubicBezTo>
                      <a:pt x="155" y="579"/>
                      <a:pt x="157" y="581"/>
                      <a:pt x="157" y="582"/>
                    </a:cubicBezTo>
                    <a:cubicBezTo>
                      <a:pt x="158" y="582"/>
                      <a:pt x="159" y="581"/>
                      <a:pt x="160" y="582"/>
                    </a:cubicBezTo>
                    <a:cubicBezTo>
                      <a:pt x="160" y="582"/>
                      <a:pt x="161" y="584"/>
                      <a:pt x="161" y="585"/>
                    </a:cubicBezTo>
                    <a:cubicBezTo>
                      <a:pt x="162" y="586"/>
                      <a:pt x="164" y="586"/>
                      <a:pt x="165" y="586"/>
                    </a:cubicBezTo>
                    <a:cubicBezTo>
                      <a:pt x="165" y="587"/>
                      <a:pt x="165" y="589"/>
                      <a:pt x="166" y="590"/>
                    </a:cubicBezTo>
                    <a:cubicBezTo>
                      <a:pt x="167" y="591"/>
                      <a:pt x="168" y="590"/>
                      <a:pt x="169" y="591"/>
                    </a:cubicBezTo>
                    <a:cubicBezTo>
                      <a:pt x="171" y="592"/>
                      <a:pt x="172" y="595"/>
                      <a:pt x="174" y="597"/>
                    </a:cubicBezTo>
                    <a:cubicBezTo>
                      <a:pt x="174" y="597"/>
                      <a:pt x="174" y="597"/>
                      <a:pt x="175" y="598"/>
                    </a:cubicBezTo>
                    <a:cubicBezTo>
                      <a:pt x="176" y="598"/>
                      <a:pt x="176" y="593"/>
                      <a:pt x="178" y="592"/>
                    </a:cubicBezTo>
                    <a:cubicBezTo>
                      <a:pt x="180" y="591"/>
                      <a:pt x="183" y="590"/>
                      <a:pt x="184" y="592"/>
                    </a:cubicBezTo>
                    <a:cubicBezTo>
                      <a:pt x="185" y="593"/>
                      <a:pt x="187" y="593"/>
                      <a:pt x="190" y="594"/>
                    </a:cubicBezTo>
                    <a:cubicBezTo>
                      <a:pt x="193" y="595"/>
                      <a:pt x="195" y="594"/>
                      <a:pt x="197" y="594"/>
                    </a:cubicBezTo>
                    <a:cubicBezTo>
                      <a:pt x="199" y="594"/>
                      <a:pt x="199" y="595"/>
                      <a:pt x="201" y="597"/>
                    </a:cubicBezTo>
                    <a:cubicBezTo>
                      <a:pt x="204" y="598"/>
                      <a:pt x="205" y="602"/>
                      <a:pt x="208" y="602"/>
                    </a:cubicBezTo>
                    <a:cubicBezTo>
                      <a:pt x="211" y="602"/>
                      <a:pt x="213" y="599"/>
                      <a:pt x="215" y="601"/>
                    </a:cubicBezTo>
                    <a:cubicBezTo>
                      <a:pt x="216" y="603"/>
                      <a:pt x="216" y="601"/>
                      <a:pt x="218" y="600"/>
                    </a:cubicBezTo>
                    <a:cubicBezTo>
                      <a:pt x="221" y="599"/>
                      <a:pt x="222" y="599"/>
                      <a:pt x="223" y="601"/>
                    </a:cubicBezTo>
                    <a:cubicBezTo>
                      <a:pt x="224" y="602"/>
                      <a:pt x="224" y="604"/>
                      <a:pt x="226" y="605"/>
                    </a:cubicBezTo>
                    <a:cubicBezTo>
                      <a:pt x="228" y="606"/>
                      <a:pt x="228" y="606"/>
                      <a:pt x="230" y="607"/>
                    </a:cubicBezTo>
                    <a:cubicBezTo>
                      <a:pt x="231" y="607"/>
                      <a:pt x="228" y="610"/>
                      <a:pt x="230" y="611"/>
                    </a:cubicBezTo>
                    <a:cubicBezTo>
                      <a:pt x="232" y="611"/>
                      <a:pt x="234" y="610"/>
                      <a:pt x="235" y="611"/>
                    </a:cubicBezTo>
                    <a:cubicBezTo>
                      <a:pt x="236" y="613"/>
                      <a:pt x="238" y="615"/>
                      <a:pt x="238" y="615"/>
                    </a:cubicBezTo>
                    <a:cubicBezTo>
                      <a:pt x="238" y="615"/>
                      <a:pt x="240" y="616"/>
                      <a:pt x="241" y="618"/>
                    </a:cubicBezTo>
                    <a:cubicBezTo>
                      <a:pt x="243" y="620"/>
                      <a:pt x="244" y="620"/>
                      <a:pt x="245" y="622"/>
                    </a:cubicBezTo>
                    <a:cubicBezTo>
                      <a:pt x="246" y="625"/>
                      <a:pt x="247" y="626"/>
                      <a:pt x="249" y="626"/>
                    </a:cubicBezTo>
                    <a:cubicBezTo>
                      <a:pt x="250" y="626"/>
                      <a:pt x="253" y="620"/>
                      <a:pt x="253" y="620"/>
                    </a:cubicBezTo>
                    <a:cubicBezTo>
                      <a:pt x="253" y="619"/>
                      <a:pt x="252" y="618"/>
                      <a:pt x="252" y="617"/>
                    </a:cubicBezTo>
                    <a:cubicBezTo>
                      <a:pt x="251" y="616"/>
                      <a:pt x="247" y="613"/>
                      <a:pt x="246" y="613"/>
                    </a:cubicBezTo>
                    <a:cubicBezTo>
                      <a:pt x="245" y="611"/>
                      <a:pt x="246" y="610"/>
                      <a:pt x="245" y="608"/>
                    </a:cubicBezTo>
                    <a:cubicBezTo>
                      <a:pt x="244" y="606"/>
                      <a:pt x="241" y="605"/>
                      <a:pt x="240" y="602"/>
                    </a:cubicBezTo>
                    <a:cubicBezTo>
                      <a:pt x="240" y="601"/>
                      <a:pt x="240" y="594"/>
                      <a:pt x="240" y="594"/>
                    </a:cubicBezTo>
                    <a:cubicBezTo>
                      <a:pt x="238" y="593"/>
                      <a:pt x="238" y="593"/>
                      <a:pt x="238" y="593"/>
                    </a:cubicBezTo>
                    <a:cubicBezTo>
                      <a:pt x="239" y="590"/>
                      <a:pt x="239" y="589"/>
                      <a:pt x="239" y="586"/>
                    </a:cubicBezTo>
                    <a:cubicBezTo>
                      <a:pt x="238" y="586"/>
                      <a:pt x="234" y="586"/>
                      <a:pt x="232" y="586"/>
                    </a:cubicBezTo>
                    <a:cubicBezTo>
                      <a:pt x="234" y="584"/>
                      <a:pt x="232" y="584"/>
                      <a:pt x="232" y="581"/>
                    </a:cubicBezTo>
                    <a:cubicBezTo>
                      <a:pt x="232" y="581"/>
                      <a:pt x="234" y="580"/>
                      <a:pt x="234" y="580"/>
                    </a:cubicBezTo>
                    <a:cubicBezTo>
                      <a:pt x="235" y="579"/>
                      <a:pt x="234" y="577"/>
                      <a:pt x="234" y="576"/>
                    </a:cubicBezTo>
                    <a:cubicBezTo>
                      <a:pt x="235" y="574"/>
                      <a:pt x="236" y="571"/>
                      <a:pt x="237" y="569"/>
                    </a:cubicBezTo>
                    <a:cubicBezTo>
                      <a:pt x="237" y="569"/>
                      <a:pt x="239" y="567"/>
                      <a:pt x="239" y="566"/>
                    </a:cubicBezTo>
                    <a:cubicBezTo>
                      <a:pt x="239" y="566"/>
                      <a:pt x="238" y="565"/>
                      <a:pt x="238" y="566"/>
                    </a:cubicBezTo>
                    <a:cubicBezTo>
                      <a:pt x="238" y="564"/>
                      <a:pt x="238" y="564"/>
                      <a:pt x="238" y="564"/>
                    </a:cubicBezTo>
                    <a:cubicBezTo>
                      <a:pt x="238" y="564"/>
                      <a:pt x="238" y="564"/>
                      <a:pt x="238" y="564"/>
                    </a:cubicBezTo>
                    <a:cubicBezTo>
                      <a:pt x="237" y="564"/>
                      <a:pt x="238" y="562"/>
                      <a:pt x="238" y="562"/>
                    </a:cubicBezTo>
                    <a:cubicBezTo>
                      <a:pt x="238" y="562"/>
                      <a:pt x="239" y="562"/>
                      <a:pt x="240" y="563"/>
                    </a:cubicBezTo>
                    <a:cubicBezTo>
                      <a:pt x="241" y="563"/>
                      <a:pt x="241" y="562"/>
                      <a:pt x="242" y="562"/>
                    </a:cubicBezTo>
                    <a:cubicBezTo>
                      <a:pt x="242" y="562"/>
                      <a:pt x="242" y="560"/>
                      <a:pt x="242" y="560"/>
                    </a:cubicBezTo>
                    <a:cubicBezTo>
                      <a:pt x="244" y="560"/>
                      <a:pt x="244" y="560"/>
                      <a:pt x="244" y="560"/>
                    </a:cubicBezTo>
                    <a:cubicBezTo>
                      <a:pt x="244" y="560"/>
                      <a:pt x="243" y="562"/>
                      <a:pt x="244" y="563"/>
                    </a:cubicBezTo>
                    <a:cubicBezTo>
                      <a:pt x="244" y="563"/>
                      <a:pt x="246" y="563"/>
                      <a:pt x="246" y="563"/>
                    </a:cubicBezTo>
                    <a:cubicBezTo>
                      <a:pt x="245" y="564"/>
                      <a:pt x="246" y="564"/>
                      <a:pt x="246" y="565"/>
                    </a:cubicBezTo>
                    <a:cubicBezTo>
                      <a:pt x="247" y="565"/>
                      <a:pt x="249" y="563"/>
                      <a:pt x="250" y="562"/>
                    </a:cubicBezTo>
                    <a:cubicBezTo>
                      <a:pt x="250" y="562"/>
                      <a:pt x="249" y="561"/>
                      <a:pt x="250" y="560"/>
                    </a:cubicBezTo>
                    <a:cubicBezTo>
                      <a:pt x="249" y="560"/>
                      <a:pt x="248" y="560"/>
                      <a:pt x="247" y="560"/>
                    </a:cubicBezTo>
                    <a:cubicBezTo>
                      <a:pt x="247" y="560"/>
                      <a:pt x="246" y="559"/>
                      <a:pt x="246" y="559"/>
                    </a:cubicBezTo>
                    <a:cubicBezTo>
                      <a:pt x="247" y="559"/>
                      <a:pt x="247" y="558"/>
                      <a:pt x="247" y="558"/>
                    </a:cubicBezTo>
                    <a:cubicBezTo>
                      <a:pt x="248" y="558"/>
                      <a:pt x="248" y="558"/>
                      <a:pt x="248" y="560"/>
                    </a:cubicBezTo>
                    <a:cubicBezTo>
                      <a:pt x="249" y="559"/>
                      <a:pt x="250" y="560"/>
                      <a:pt x="250" y="560"/>
                    </a:cubicBezTo>
                    <a:cubicBezTo>
                      <a:pt x="251" y="559"/>
                      <a:pt x="250" y="558"/>
                      <a:pt x="251" y="558"/>
                    </a:cubicBezTo>
                    <a:cubicBezTo>
                      <a:pt x="251" y="558"/>
                      <a:pt x="249" y="554"/>
                      <a:pt x="250" y="553"/>
                    </a:cubicBezTo>
                    <a:cubicBezTo>
                      <a:pt x="251" y="552"/>
                      <a:pt x="250" y="549"/>
                      <a:pt x="250" y="549"/>
                    </a:cubicBezTo>
                    <a:cubicBezTo>
                      <a:pt x="246" y="541"/>
                      <a:pt x="246" y="541"/>
                      <a:pt x="246" y="541"/>
                    </a:cubicBezTo>
                    <a:cubicBezTo>
                      <a:pt x="246" y="541"/>
                      <a:pt x="242" y="543"/>
                      <a:pt x="242" y="541"/>
                    </a:cubicBezTo>
                    <a:cubicBezTo>
                      <a:pt x="241" y="539"/>
                      <a:pt x="243" y="535"/>
                      <a:pt x="240" y="534"/>
                    </a:cubicBezTo>
                    <a:cubicBezTo>
                      <a:pt x="238" y="533"/>
                      <a:pt x="236" y="531"/>
                      <a:pt x="237" y="530"/>
                    </a:cubicBezTo>
                    <a:cubicBezTo>
                      <a:pt x="239" y="528"/>
                      <a:pt x="241" y="524"/>
                      <a:pt x="241" y="524"/>
                    </a:cubicBezTo>
                    <a:cubicBezTo>
                      <a:pt x="241" y="524"/>
                      <a:pt x="243" y="523"/>
                      <a:pt x="243" y="521"/>
                    </a:cubicBezTo>
                    <a:cubicBezTo>
                      <a:pt x="242" y="519"/>
                      <a:pt x="240" y="518"/>
                      <a:pt x="240" y="518"/>
                    </a:cubicBezTo>
                    <a:cubicBezTo>
                      <a:pt x="240" y="518"/>
                      <a:pt x="244" y="514"/>
                      <a:pt x="243" y="510"/>
                    </a:cubicBezTo>
                    <a:cubicBezTo>
                      <a:pt x="242" y="509"/>
                      <a:pt x="246" y="510"/>
                      <a:pt x="247" y="508"/>
                    </a:cubicBezTo>
                    <a:cubicBezTo>
                      <a:pt x="247" y="506"/>
                      <a:pt x="250" y="503"/>
                      <a:pt x="251" y="505"/>
                    </a:cubicBezTo>
                    <a:cubicBezTo>
                      <a:pt x="252" y="507"/>
                      <a:pt x="254" y="511"/>
                      <a:pt x="254" y="511"/>
                    </a:cubicBezTo>
                    <a:cubicBezTo>
                      <a:pt x="260" y="508"/>
                      <a:pt x="260" y="508"/>
                      <a:pt x="260" y="508"/>
                    </a:cubicBezTo>
                    <a:cubicBezTo>
                      <a:pt x="260" y="508"/>
                      <a:pt x="255" y="505"/>
                      <a:pt x="256" y="503"/>
                    </a:cubicBezTo>
                    <a:cubicBezTo>
                      <a:pt x="256" y="501"/>
                      <a:pt x="256" y="497"/>
                      <a:pt x="258" y="497"/>
                    </a:cubicBezTo>
                    <a:cubicBezTo>
                      <a:pt x="260" y="497"/>
                      <a:pt x="260" y="493"/>
                      <a:pt x="262" y="494"/>
                    </a:cubicBezTo>
                    <a:cubicBezTo>
                      <a:pt x="264" y="495"/>
                      <a:pt x="268" y="494"/>
                      <a:pt x="268" y="494"/>
                    </a:cubicBezTo>
                    <a:cubicBezTo>
                      <a:pt x="268" y="494"/>
                      <a:pt x="274" y="489"/>
                      <a:pt x="275" y="487"/>
                    </a:cubicBezTo>
                    <a:cubicBezTo>
                      <a:pt x="276" y="485"/>
                      <a:pt x="274" y="484"/>
                      <a:pt x="274" y="484"/>
                    </a:cubicBezTo>
                    <a:cubicBezTo>
                      <a:pt x="281" y="483"/>
                      <a:pt x="281" y="483"/>
                      <a:pt x="281" y="483"/>
                    </a:cubicBezTo>
                    <a:cubicBezTo>
                      <a:pt x="281" y="485"/>
                      <a:pt x="281" y="485"/>
                      <a:pt x="281" y="485"/>
                    </a:cubicBezTo>
                    <a:cubicBezTo>
                      <a:pt x="286" y="485"/>
                      <a:pt x="286" y="485"/>
                      <a:pt x="286" y="485"/>
                    </a:cubicBezTo>
                    <a:cubicBezTo>
                      <a:pt x="286" y="485"/>
                      <a:pt x="284" y="483"/>
                      <a:pt x="286" y="483"/>
                    </a:cubicBezTo>
                    <a:cubicBezTo>
                      <a:pt x="287" y="483"/>
                      <a:pt x="289" y="483"/>
                      <a:pt x="290" y="485"/>
                    </a:cubicBezTo>
                    <a:cubicBezTo>
                      <a:pt x="291" y="487"/>
                      <a:pt x="291" y="489"/>
                      <a:pt x="291" y="489"/>
                    </a:cubicBezTo>
                    <a:cubicBezTo>
                      <a:pt x="291" y="489"/>
                      <a:pt x="294" y="489"/>
                      <a:pt x="296" y="490"/>
                    </a:cubicBezTo>
                    <a:cubicBezTo>
                      <a:pt x="298" y="491"/>
                      <a:pt x="299" y="492"/>
                      <a:pt x="301" y="494"/>
                    </a:cubicBezTo>
                    <a:cubicBezTo>
                      <a:pt x="302" y="496"/>
                      <a:pt x="302" y="498"/>
                      <a:pt x="304" y="498"/>
                    </a:cubicBezTo>
                    <a:cubicBezTo>
                      <a:pt x="306" y="498"/>
                      <a:pt x="308" y="497"/>
                      <a:pt x="309" y="499"/>
                    </a:cubicBezTo>
                    <a:cubicBezTo>
                      <a:pt x="310" y="501"/>
                      <a:pt x="307" y="504"/>
                      <a:pt x="307" y="504"/>
                    </a:cubicBezTo>
                    <a:cubicBezTo>
                      <a:pt x="312" y="505"/>
                      <a:pt x="312" y="505"/>
                      <a:pt x="312" y="505"/>
                    </a:cubicBezTo>
                    <a:cubicBezTo>
                      <a:pt x="312" y="505"/>
                      <a:pt x="312" y="499"/>
                      <a:pt x="313" y="499"/>
                    </a:cubicBezTo>
                    <a:cubicBezTo>
                      <a:pt x="314" y="499"/>
                      <a:pt x="314" y="497"/>
                      <a:pt x="317" y="498"/>
                    </a:cubicBezTo>
                    <a:cubicBezTo>
                      <a:pt x="321" y="500"/>
                      <a:pt x="323" y="502"/>
                      <a:pt x="325" y="500"/>
                    </a:cubicBezTo>
                    <a:cubicBezTo>
                      <a:pt x="327" y="499"/>
                      <a:pt x="329" y="497"/>
                      <a:pt x="332" y="496"/>
                    </a:cubicBezTo>
                    <a:cubicBezTo>
                      <a:pt x="335" y="495"/>
                      <a:pt x="335" y="499"/>
                      <a:pt x="337" y="499"/>
                    </a:cubicBezTo>
                    <a:cubicBezTo>
                      <a:pt x="339" y="498"/>
                      <a:pt x="338" y="496"/>
                      <a:pt x="340" y="498"/>
                    </a:cubicBezTo>
                    <a:cubicBezTo>
                      <a:pt x="342" y="499"/>
                      <a:pt x="345" y="504"/>
                      <a:pt x="345" y="504"/>
                    </a:cubicBezTo>
                    <a:cubicBezTo>
                      <a:pt x="350" y="506"/>
                      <a:pt x="350" y="506"/>
                      <a:pt x="350" y="506"/>
                    </a:cubicBezTo>
                    <a:cubicBezTo>
                      <a:pt x="354" y="506"/>
                      <a:pt x="354" y="506"/>
                      <a:pt x="354" y="506"/>
                    </a:cubicBezTo>
                    <a:cubicBezTo>
                      <a:pt x="354" y="506"/>
                      <a:pt x="358" y="504"/>
                      <a:pt x="358" y="500"/>
                    </a:cubicBezTo>
                    <a:cubicBezTo>
                      <a:pt x="355" y="498"/>
                      <a:pt x="352" y="497"/>
                      <a:pt x="352" y="497"/>
                    </a:cubicBezTo>
                    <a:cubicBezTo>
                      <a:pt x="349" y="494"/>
                      <a:pt x="349" y="494"/>
                      <a:pt x="349" y="494"/>
                    </a:cubicBezTo>
                    <a:cubicBezTo>
                      <a:pt x="352" y="488"/>
                      <a:pt x="352" y="488"/>
                      <a:pt x="352" y="488"/>
                    </a:cubicBezTo>
                    <a:cubicBezTo>
                      <a:pt x="352" y="485"/>
                      <a:pt x="352" y="485"/>
                      <a:pt x="352" y="485"/>
                    </a:cubicBezTo>
                    <a:cubicBezTo>
                      <a:pt x="348" y="480"/>
                      <a:pt x="348" y="480"/>
                      <a:pt x="348" y="480"/>
                    </a:cubicBezTo>
                    <a:cubicBezTo>
                      <a:pt x="348" y="476"/>
                      <a:pt x="348" y="476"/>
                      <a:pt x="348" y="476"/>
                    </a:cubicBezTo>
                    <a:cubicBezTo>
                      <a:pt x="349" y="472"/>
                      <a:pt x="349" y="472"/>
                      <a:pt x="349" y="472"/>
                    </a:cubicBezTo>
                    <a:cubicBezTo>
                      <a:pt x="349" y="467"/>
                      <a:pt x="349" y="467"/>
                      <a:pt x="349" y="467"/>
                    </a:cubicBezTo>
                    <a:cubicBezTo>
                      <a:pt x="354" y="463"/>
                      <a:pt x="354" y="463"/>
                      <a:pt x="354" y="463"/>
                    </a:cubicBezTo>
                    <a:cubicBezTo>
                      <a:pt x="354" y="459"/>
                      <a:pt x="354" y="459"/>
                      <a:pt x="354" y="459"/>
                    </a:cubicBezTo>
                    <a:cubicBezTo>
                      <a:pt x="353" y="456"/>
                      <a:pt x="353" y="456"/>
                      <a:pt x="353" y="456"/>
                    </a:cubicBezTo>
                    <a:cubicBezTo>
                      <a:pt x="357" y="454"/>
                      <a:pt x="357" y="454"/>
                      <a:pt x="357" y="454"/>
                    </a:cubicBezTo>
                    <a:cubicBezTo>
                      <a:pt x="361" y="456"/>
                      <a:pt x="361" y="456"/>
                      <a:pt x="361" y="456"/>
                    </a:cubicBezTo>
                    <a:cubicBezTo>
                      <a:pt x="367" y="456"/>
                      <a:pt x="367" y="456"/>
                      <a:pt x="367" y="456"/>
                    </a:cubicBezTo>
                    <a:cubicBezTo>
                      <a:pt x="370" y="458"/>
                      <a:pt x="370" y="458"/>
                      <a:pt x="370" y="458"/>
                    </a:cubicBezTo>
                    <a:cubicBezTo>
                      <a:pt x="378" y="457"/>
                      <a:pt x="378" y="457"/>
                      <a:pt x="378" y="457"/>
                    </a:cubicBezTo>
                    <a:cubicBezTo>
                      <a:pt x="384" y="455"/>
                      <a:pt x="384" y="455"/>
                      <a:pt x="384" y="455"/>
                    </a:cubicBezTo>
                    <a:cubicBezTo>
                      <a:pt x="393" y="455"/>
                      <a:pt x="393" y="455"/>
                      <a:pt x="393" y="455"/>
                    </a:cubicBezTo>
                    <a:cubicBezTo>
                      <a:pt x="401" y="453"/>
                      <a:pt x="401" y="453"/>
                      <a:pt x="401" y="453"/>
                    </a:cubicBezTo>
                    <a:cubicBezTo>
                      <a:pt x="404" y="453"/>
                      <a:pt x="404" y="453"/>
                      <a:pt x="404" y="453"/>
                    </a:cubicBezTo>
                    <a:cubicBezTo>
                      <a:pt x="412" y="448"/>
                      <a:pt x="412" y="448"/>
                      <a:pt x="412" y="448"/>
                    </a:cubicBezTo>
                    <a:cubicBezTo>
                      <a:pt x="418" y="446"/>
                      <a:pt x="418" y="446"/>
                      <a:pt x="418" y="446"/>
                    </a:cubicBezTo>
                    <a:cubicBezTo>
                      <a:pt x="422" y="446"/>
                      <a:pt x="422" y="446"/>
                      <a:pt x="422" y="446"/>
                    </a:cubicBezTo>
                    <a:cubicBezTo>
                      <a:pt x="424" y="448"/>
                      <a:pt x="424" y="448"/>
                      <a:pt x="424" y="448"/>
                    </a:cubicBezTo>
                    <a:cubicBezTo>
                      <a:pt x="427" y="449"/>
                      <a:pt x="427" y="449"/>
                      <a:pt x="427" y="449"/>
                    </a:cubicBezTo>
                    <a:cubicBezTo>
                      <a:pt x="427" y="452"/>
                      <a:pt x="427" y="452"/>
                      <a:pt x="427" y="452"/>
                    </a:cubicBezTo>
                    <a:cubicBezTo>
                      <a:pt x="426" y="456"/>
                      <a:pt x="426" y="456"/>
                      <a:pt x="426" y="456"/>
                    </a:cubicBezTo>
                    <a:cubicBezTo>
                      <a:pt x="429" y="456"/>
                      <a:pt x="429" y="456"/>
                      <a:pt x="429" y="456"/>
                    </a:cubicBezTo>
                    <a:cubicBezTo>
                      <a:pt x="433" y="461"/>
                      <a:pt x="433" y="461"/>
                      <a:pt x="433" y="461"/>
                    </a:cubicBezTo>
                    <a:cubicBezTo>
                      <a:pt x="436" y="459"/>
                      <a:pt x="436" y="459"/>
                      <a:pt x="436" y="459"/>
                    </a:cubicBezTo>
                    <a:cubicBezTo>
                      <a:pt x="440" y="455"/>
                      <a:pt x="440" y="455"/>
                      <a:pt x="440" y="455"/>
                    </a:cubicBezTo>
                    <a:cubicBezTo>
                      <a:pt x="446" y="458"/>
                      <a:pt x="446" y="458"/>
                      <a:pt x="446" y="458"/>
                    </a:cubicBezTo>
                    <a:cubicBezTo>
                      <a:pt x="447" y="460"/>
                      <a:pt x="447" y="460"/>
                      <a:pt x="447" y="460"/>
                    </a:cubicBezTo>
                    <a:cubicBezTo>
                      <a:pt x="450" y="458"/>
                      <a:pt x="450" y="458"/>
                      <a:pt x="450" y="458"/>
                    </a:cubicBezTo>
                    <a:cubicBezTo>
                      <a:pt x="450" y="458"/>
                      <a:pt x="452" y="457"/>
                      <a:pt x="453" y="460"/>
                    </a:cubicBezTo>
                    <a:cubicBezTo>
                      <a:pt x="454" y="463"/>
                      <a:pt x="453" y="463"/>
                      <a:pt x="453" y="463"/>
                    </a:cubicBezTo>
                    <a:cubicBezTo>
                      <a:pt x="461" y="464"/>
                      <a:pt x="461" y="464"/>
                      <a:pt x="461" y="464"/>
                    </a:cubicBezTo>
                    <a:cubicBezTo>
                      <a:pt x="468" y="461"/>
                      <a:pt x="468" y="461"/>
                      <a:pt x="468" y="461"/>
                    </a:cubicBezTo>
                    <a:cubicBezTo>
                      <a:pt x="476" y="457"/>
                      <a:pt x="476" y="457"/>
                      <a:pt x="476" y="457"/>
                    </a:cubicBezTo>
                    <a:cubicBezTo>
                      <a:pt x="483" y="454"/>
                      <a:pt x="483" y="454"/>
                      <a:pt x="483" y="454"/>
                    </a:cubicBezTo>
                    <a:cubicBezTo>
                      <a:pt x="490" y="453"/>
                      <a:pt x="490" y="453"/>
                      <a:pt x="490" y="453"/>
                    </a:cubicBezTo>
                    <a:cubicBezTo>
                      <a:pt x="491" y="454"/>
                      <a:pt x="491" y="454"/>
                      <a:pt x="491" y="454"/>
                    </a:cubicBezTo>
                    <a:cubicBezTo>
                      <a:pt x="491" y="459"/>
                      <a:pt x="491" y="459"/>
                      <a:pt x="491" y="459"/>
                    </a:cubicBezTo>
                    <a:cubicBezTo>
                      <a:pt x="497" y="468"/>
                      <a:pt x="497" y="468"/>
                      <a:pt x="497" y="468"/>
                    </a:cubicBezTo>
                    <a:cubicBezTo>
                      <a:pt x="503" y="483"/>
                      <a:pt x="503" y="483"/>
                      <a:pt x="503" y="483"/>
                    </a:cubicBezTo>
                    <a:cubicBezTo>
                      <a:pt x="508" y="493"/>
                      <a:pt x="508" y="493"/>
                      <a:pt x="508" y="493"/>
                    </a:cubicBezTo>
                    <a:cubicBezTo>
                      <a:pt x="508" y="493"/>
                      <a:pt x="511" y="499"/>
                      <a:pt x="514" y="499"/>
                    </a:cubicBezTo>
                    <a:cubicBezTo>
                      <a:pt x="516" y="499"/>
                      <a:pt x="522" y="497"/>
                      <a:pt x="522" y="497"/>
                    </a:cubicBezTo>
                    <a:cubicBezTo>
                      <a:pt x="531" y="497"/>
                      <a:pt x="531" y="497"/>
                      <a:pt x="531" y="497"/>
                    </a:cubicBezTo>
                    <a:cubicBezTo>
                      <a:pt x="534" y="497"/>
                      <a:pt x="539" y="504"/>
                      <a:pt x="539" y="504"/>
                    </a:cubicBezTo>
                    <a:cubicBezTo>
                      <a:pt x="541" y="510"/>
                      <a:pt x="541" y="510"/>
                      <a:pt x="541" y="510"/>
                    </a:cubicBezTo>
                    <a:cubicBezTo>
                      <a:pt x="543" y="516"/>
                      <a:pt x="543" y="516"/>
                      <a:pt x="543" y="516"/>
                    </a:cubicBezTo>
                    <a:cubicBezTo>
                      <a:pt x="544" y="519"/>
                      <a:pt x="544" y="519"/>
                      <a:pt x="544" y="519"/>
                    </a:cubicBezTo>
                    <a:cubicBezTo>
                      <a:pt x="549" y="521"/>
                      <a:pt x="549" y="521"/>
                      <a:pt x="549" y="521"/>
                    </a:cubicBezTo>
                    <a:cubicBezTo>
                      <a:pt x="555" y="520"/>
                      <a:pt x="555" y="520"/>
                      <a:pt x="555" y="520"/>
                    </a:cubicBezTo>
                    <a:cubicBezTo>
                      <a:pt x="566" y="515"/>
                      <a:pt x="566" y="515"/>
                      <a:pt x="566" y="515"/>
                    </a:cubicBezTo>
                    <a:cubicBezTo>
                      <a:pt x="572" y="514"/>
                      <a:pt x="572" y="514"/>
                      <a:pt x="572" y="514"/>
                    </a:cubicBezTo>
                    <a:cubicBezTo>
                      <a:pt x="577" y="514"/>
                      <a:pt x="577" y="514"/>
                      <a:pt x="577" y="514"/>
                    </a:cubicBezTo>
                    <a:cubicBezTo>
                      <a:pt x="579" y="518"/>
                      <a:pt x="579" y="518"/>
                      <a:pt x="579" y="518"/>
                    </a:cubicBezTo>
                    <a:cubicBezTo>
                      <a:pt x="582" y="522"/>
                      <a:pt x="582" y="522"/>
                      <a:pt x="582" y="522"/>
                    </a:cubicBezTo>
                    <a:cubicBezTo>
                      <a:pt x="584" y="524"/>
                      <a:pt x="584" y="524"/>
                      <a:pt x="584" y="524"/>
                    </a:cubicBezTo>
                    <a:cubicBezTo>
                      <a:pt x="590" y="525"/>
                      <a:pt x="590" y="525"/>
                      <a:pt x="590" y="525"/>
                    </a:cubicBezTo>
                    <a:cubicBezTo>
                      <a:pt x="593" y="523"/>
                      <a:pt x="593" y="523"/>
                      <a:pt x="593" y="523"/>
                    </a:cubicBezTo>
                    <a:cubicBezTo>
                      <a:pt x="598" y="522"/>
                      <a:pt x="598" y="522"/>
                      <a:pt x="598" y="522"/>
                    </a:cubicBezTo>
                    <a:cubicBezTo>
                      <a:pt x="601" y="520"/>
                      <a:pt x="601" y="520"/>
                      <a:pt x="601" y="520"/>
                    </a:cubicBezTo>
                    <a:cubicBezTo>
                      <a:pt x="603" y="517"/>
                      <a:pt x="603" y="517"/>
                      <a:pt x="603" y="517"/>
                    </a:cubicBezTo>
                    <a:cubicBezTo>
                      <a:pt x="603" y="515"/>
                      <a:pt x="603" y="515"/>
                      <a:pt x="603" y="515"/>
                    </a:cubicBezTo>
                    <a:cubicBezTo>
                      <a:pt x="605" y="512"/>
                      <a:pt x="605" y="512"/>
                      <a:pt x="605" y="512"/>
                    </a:cubicBezTo>
                    <a:cubicBezTo>
                      <a:pt x="609" y="510"/>
                      <a:pt x="609" y="510"/>
                      <a:pt x="609" y="510"/>
                    </a:cubicBezTo>
                    <a:cubicBezTo>
                      <a:pt x="613" y="508"/>
                      <a:pt x="613" y="508"/>
                      <a:pt x="613" y="508"/>
                    </a:cubicBezTo>
                    <a:cubicBezTo>
                      <a:pt x="619" y="506"/>
                      <a:pt x="619" y="506"/>
                      <a:pt x="619" y="506"/>
                    </a:cubicBezTo>
                    <a:cubicBezTo>
                      <a:pt x="622" y="503"/>
                      <a:pt x="622" y="503"/>
                      <a:pt x="622" y="503"/>
                    </a:cubicBezTo>
                    <a:cubicBezTo>
                      <a:pt x="627" y="503"/>
                      <a:pt x="627" y="503"/>
                      <a:pt x="627" y="503"/>
                    </a:cubicBezTo>
                    <a:cubicBezTo>
                      <a:pt x="632" y="504"/>
                      <a:pt x="632" y="504"/>
                      <a:pt x="632" y="504"/>
                    </a:cubicBezTo>
                    <a:cubicBezTo>
                      <a:pt x="634" y="507"/>
                      <a:pt x="634" y="507"/>
                      <a:pt x="634" y="507"/>
                    </a:cubicBezTo>
                    <a:cubicBezTo>
                      <a:pt x="639" y="504"/>
                      <a:pt x="639" y="504"/>
                      <a:pt x="639" y="504"/>
                    </a:cubicBezTo>
                    <a:cubicBezTo>
                      <a:pt x="645" y="508"/>
                      <a:pt x="645" y="508"/>
                      <a:pt x="645" y="508"/>
                    </a:cubicBezTo>
                    <a:cubicBezTo>
                      <a:pt x="650" y="510"/>
                      <a:pt x="650" y="510"/>
                      <a:pt x="650" y="510"/>
                    </a:cubicBezTo>
                    <a:cubicBezTo>
                      <a:pt x="656" y="511"/>
                      <a:pt x="656" y="511"/>
                      <a:pt x="656" y="511"/>
                    </a:cubicBezTo>
                    <a:cubicBezTo>
                      <a:pt x="662" y="512"/>
                      <a:pt x="662" y="512"/>
                      <a:pt x="662" y="512"/>
                    </a:cubicBezTo>
                    <a:cubicBezTo>
                      <a:pt x="670" y="511"/>
                      <a:pt x="670" y="511"/>
                      <a:pt x="670" y="511"/>
                    </a:cubicBezTo>
                    <a:cubicBezTo>
                      <a:pt x="677" y="511"/>
                      <a:pt x="677" y="511"/>
                      <a:pt x="677" y="511"/>
                    </a:cubicBezTo>
                    <a:cubicBezTo>
                      <a:pt x="679" y="509"/>
                      <a:pt x="679" y="509"/>
                      <a:pt x="679" y="509"/>
                    </a:cubicBezTo>
                    <a:cubicBezTo>
                      <a:pt x="678" y="503"/>
                      <a:pt x="678" y="503"/>
                      <a:pt x="678" y="503"/>
                    </a:cubicBezTo>
                    <a:cubicBezTo>
                      <a:pt x="676" y="499"/>
                      <a:pt x="676" y="499"/>
                      <a:pt x="676" y="499"/>
                    </a:cubicBezTo>
                    <a:cubicBezTo>
                      <a:pt x="671" y="497"/>
                      <a:pt x="671" y="497"/>
                      <a:pt x="671" y="497"/>
                    </a:cubicBezTo>
                    <a:cubicBezTo>
                      <a:pt x="673" y="493"/>
                      <a:pt x="673" y="493"/>
                      <a:pt x="673" y="493"/>
                    </a:cubicBezTo>
                    <a:cubicBezTo>
                      <a:pt x="675" y="490"/>
                      <a:pt x="675" y="490"/>
                      <a:pt x="675" y="490"/>
                    </a:cubicBezTo>
                    <a:cubicBezTo>
                      <a:pt x="677" y="486"/>
                      <a:pt x="677" y="486"/>
                      <a:pt x="677" y="486"/>
                    </a:cubicBezTo>
                    <a:cubicBezTo>
                      <a:pt x="683" y="487"/>
                      <a:pt x="683" y="487"/>
                      <a:pt x="683" y="487"/>
                    </a:cubicBezTo>
                    <a:cubicBezTo>
                      <a:pt x="687" y="488"/>
                      <a:pt x="687" y="488"/>
                      <a:pt x="687" y="488"/>
                    </a:cubicBezTo>
                    <a:cubicBezTo>
                      <a:pt x="693" y="488"/>
                      <a:pt x="693" y="488"/>
                      <a:pt x="693" y="488"/>
                    </a:cubicBezTo>
                    <a:cubicBezTo>
                      <a:pt x="696" y="491"/>
                      <a:pt x="696" y="491"/>
                      <a:pt x="696" y="491"/>
                    </a:cubicBezTo>
                    <a:cubicBezTo>
                      <a:pt x="702" y="491"/>
                      <a:pt x="702" y="491"/>
                      <a:pt x="702" y="491"/>
                    </a:cubicBezTo>
                    <a:cubicBezTo>
                      <a:pt x="710" y="498"/>
                      <a:pt x="710" y="498"/>
                      <a:pt x="710" y="498"/>
                    </a:cubicBezTo>
                    <a:cubicBezTo>
                      <a:pt x="715" y="502"/>
                      <a:pt x="715" y="502"/>
                      <a:pt x="715" y="502"/>
                    </a:cubicBezTo>
                    <a:cubicBezTo>
                      <a:pt x="718" y="508"/>
                      <a:pt x="718" y="508"/>
                      <a:pt x="718" y="508"/>
                    </a:cubicBezTo>
                    <a:cubicBezTo>
                      <a:pt x="721" y="510"/>
                      <a:pt x="721" y="510"/>
                      <a:pt x="721" y="510"/>
                    </a:cubicBezTo>
                    <a:cubicBezTo>
                      <a:pt x="727" y="514"/>
                      <a:pt x="727" y="514"/>
                      <a:pt x="727" y="514"/>
                    </a:cubicBezTo>
                    <a:cubicBezTo>
                      <a:pt x="731" y="513"/>
                      <a:pt x="731" y="513"/>
                      <a:pt x="731" y="513"/>
                    </a:cubicBezTo>
                    <a:cubicBezTo>
                      <a:pt x="734" y="513"/>
                      <a:pt x="734" y="513"/>
                      <a:pt x="734" y="513"/>
                    </a:cubicBezTo>
                    <a:cubicBezTo>
                      <a:pt x="739" y="512"/>
                      <a:pt x="739" y="512"/>
                      <a:pt x="739" y="512"/>
                    </a:cubicBezTo>
                    <a:cubicBezTo>
                      <a:pt x="742" y="509"/>
                      <a:pt x="742" y="509"/>
                      <a:pt x="742" y="509"/>
                    </a:cubicBezTo>
                    <a:cubicBezTo>
                      <a:pt x="748" y="511"/>
                      <a:pt x="748" y="511"/>
                      <a:pt x="748" y="511"/>
                    </a:cubicBezTo>
                    <a:cubicBezTo>
                      <a:pt x="756" y="513"/>
                      <a:pt x="756" y="513"/>
                      <a:pt x="756" y="513"/>
                    </a:cubicBezTo>
                    <a:cubicBezTo>
                      <a:pt x="759" y="514"/>
                      <a:pt x="759" y="514"/>
                      <a:pt x="759" y="514"/>
                    </a:cubicBezTo>
                    <a:cubicBezTo>
                      <a:pt x="759" y="517"/>
                      <a:pt x="759" y="517"/>
                      <a:pt x="759" y="517"/>
                    </a:cubicBezTo>
                    <a:cubicBezTo>
                      <a:pt x="762" y="520"/>
                      <a:pt x="762" y="520"/>
                      <a:pt x="762" y="520"/>
                    </a:cubicBezTo>
                    <a:cubicBezTo>
                      <a:pt x="767" y="520"/>
                      <a:pt x="767" y="520"/>
                      <a:pt x="767" y="520"/>
                    </a:cubicBezTo>
                    <a:cubicBezTo>
                      <a:pt x="771" y="523"/>
                      <a:pt x="771" y="523"/>
                      <a:pt x="771" y="523"/>
                    </a:cubicBezTo>
                    <a:cubicBezTo>
                      <a:pt x="775" y="523"/>
                      <a:pt x="775" y="523"/>
                      <a:pt x="775" y="523"/>
                    </a:cubicBezTo>
                    <a:cubicBezTo>
                      <a:pt x="779" y="521"/>
                      <a:pt x="779" y="521"/>
                      <a:pt x="779" y="521"/>
                    </a:cubicBezTo>
                    <a:cubicBezTo>
                      <a:pt x="783" y="522"/>
                      <a:pt x="783" y="522"/>
                      <a:pt x="783" y="522"/>
                    </a:cubicBezTo>
                    <a:cubicBezTo>
                      <a:pt x="788" y="524"/>
                      <a:pt x="788" y="524"/>
                      <a:pt x="788" y="524"/>
                    </a:cubicBezTo>
                    <a:cubicBezTo>
                      <a:pt x="795" y="522"/>
                      <a:pt x="795" y="522"/>
                      <a:pt x="795" y="522"/>
                    </a:cubicBezTo>
                    <a:cubicBezTo>
                      <a:pt x="799" y="520"/>
                      <a:pt x="799" y="520"/>
                      <a:pt x="799" y="520"/>
                    </a:cubicBezTo>
                    <a:cubicBezTo>
                      <a:pt x="807" y="519"/>
                      <a:pt x="807" y="519"/>
                      <a:pt x="807" y="519"/>
                    </a:cubicBezTo>
                    <a:cubicBezTo>
                      <a:pt x="815" y="513"/>
                      <a:pt x="815" y="513"/>
                      <a:pt x="815" y="513"/>
                    </a:cubicBezTo>
                    <a:cubicBezTo>
                      <a:pt x="817" y="512"/>
                      <a:pt x="817" y="512"/>
                      <a:pt x="817" y="512"/>
                    </a:cubicBezTo>
                    <a:cubicBezTo>
                      <a:pt x="823" y="517"/>
                      <a:pt x="823" y="517"/>
                      <a:pt x="823" y="517"/>
                    </a:cubicBezTo>
                    <a:cubicBezTo>
                      <a:pt x="828" y="516"/>
                      <a:pt x="828" y="516"/>
                      <a:pt x="828" y="516"/>
                    </a:cubicBezTo>
                    <a:cubicBezTo>
                      <a:pt x="834" y="518"/>
                      <a:pt x="834" y="518"/>
                      <a:pt x="834" y="518"/>
                    </a:cubicBezTo>
                    <a:cubicBezTo>
                      <a:pt x="838" y="516"/>
                      <a:pt x="838" y="516"/>
                      <a:pt x="838" y="516"/>
                    </a:cubicBezTo>
                    <a:cubicBezTo>
                      <a:pt x="844" y="519"/>
                      <a:pt x="844" y="519"/>
                      <a:pt x="844" y="519"/>
                    </a:cubicBezTo>
                    <a:cubicBezTo>
                      <a:pt x="847" y="522"/>
                      <a:pt x="847" y="522"/>
                      <a:pt x="847" y="522"/>
                    </a:cubicBezTo>
                    <a:cubicBezTo>
                      <a:pt x="853" y="517"/>
                      <a:pt x="853" y="517"/>
                      <a:pt x="853" y="517"/>
                    </a:cubicBezTo>
                    <a:cubicBezTo>
                      <a:pt x="853" y="517"/>
                      <a:pt x="859" y="515"/>
                      <a:pt x="859" y="513"/>
                    </a:cubicBezTo>
                    <a:cubicBezTo>
                      <a:pt x="856" y="512"/>
                      <a:pt x="863" y="507"/>
                      <a:pt x="863" y="507"/>
                    </a:cubicBezTo>
                    <a:cubicBezTo>
                      <a:pt x="865" y="503"/>
                      <a:pt x="865" y="503"/>
                      <a:pt x="865" y="503"/>
                    </a:cubicBezTo>
                    <a:cubicBezTo>
                      <a:pt x="868" y="499"/>
                      <a:pt x="868" y="499"/>
                      <a:pt x="868" y="499"/>
                    </a:cubicBezTo>
                    <a:cubicBezTo>
                      <a:pt x="867" y="494"/>
                      <a:pt x="867" y="494"/>
                      <a:pt x="867" y="494"/>
                    </a:cubicBezTo>
                    <a:cubicBezTo>
                      <a:pt x="869" y="492"/>
                      <a:pt x="869" y="492"/>
                      <a:pt x="869" y="492"/>
                    </a:cubicBezTo>
                    <a:cubicBezTo>
                      <a:pt x="870" y="488"/>
                      <a:pt x="870" y="488"/>
                      <a:pt x="870" y="488"/>
                    </a:cubicBezTo>
                    <a:cubicBezTo>
                      <a:pt x="869" y="483"/>
                      <a:pt x="869" y="483"/>
                      <a:pt x="869" y="483"/>
                    </a:cubicBezTo>
                    <a:cubicBezTo>
                      <a:pt x="867" y="484"/>
                      <a:pt x="867" y="484"/>
                      <a:pt x="867" y="484"/>
                    </a:cubicBezTo>
                    <a:cubicBezTo>
                      <a:pt x="867" y="481"/>
                      <a:pt x="867" y="481"/>
                      <a:pt x="867" y="481"/>
                    </a:cubicBezTo>
                    <a:cubicBezTo>
                      <a:pt x="869" y="480"/>
                      <a:pt x="869" y="480"/>
                      <a:pt x="869" y="480"/>
                    </a:cubicBezTo>
                    <a:cubicBezTo>
                      <a:pt x="872" y="476"/>
                      <a:pt x="872" y="476"/>
                      <a:pt x="872" y="476"/>
                    </a:cubicBezTo>
                    <a:cubicBezTo>
                      <a:pt x="876" y="473"/>
                      <a:pt x="876" y="473"/>
                      <a:pt x="876" y="473"/>
                    </a:cubicBezTo>
                    <a:cubicBezTo>
                      <a:pt x="879" y="470"/>
                      <a:pt x="879" y="470"/>
                      <a:pt x="879" y="470"/>
                    </a:cubicBezTo>
                    <a:cubicBezTo>
                      <a:pt x="884" y="470"/>
                      <a:pt x="884" y="470"/>
                      <a:pt x="884" y="470"/>
                    </a:cubicBezTo>
                    <a:cubicBezTo>
                      <a:pt x="889" y="468"/>
                      <a:pt x="889" y="468"/>
                      <a:pt x="889" y="468"/>
                    </a:cubicBezTo>
                    <a:cubicBezTo>
                      <a:pt x="891" y="467"/>
                      <a:pt x="891" y="467"/>
                      <a:pt x="891" y="467"/>
                    </a:cubicBezTo>
                    <a:cubicBezTo>
                      <a:pt x="897" y="468"/>
                      <a:pt x="897" y="468"/>
                      <a:pt x="897" y="468"/>
                    </a:cubicBezTo>
                    <a:cubicBezTo>
                      <a:pt x="900" y="471"/>
                      <a:pt x="900" y="471"/>
                      <a:pt x="900" y="471"/>
                    </a:cubicBezTo>
                    <a:cubicBezTo>
                      <a:pt x="903" y="474"/>
                      <a:pt x="903" y="474"/>
                      <a:pt x="903" y="474"/>
                    </a:cubicBezTo>
                    <a:cubicBezTo>
                      <a:pt x="907" y="477"/>
                      <a:pt x="907" y="477"/>
                      <a:pt x="907" y="477"/>
                    </a:cubicBezTo>
                    <a:cubicBezTo>
                      <a:pt x="913" y="478"/>
                      <a:pt x="913" y="478"/>
                      <a:pt x="913" y="478"/>
                    </a:cubicBezTo>
                    <a:cubicBezTo>
                      <a:pt x="917" y="482"/>
                      <a:pt x="917" y="482"/>
                      <a:pt x="917" y="482"/>
                    </a:cubicBezTo>
                    <a:cubicBezTo>
                      <a:pt x="920" y="485"/>
                      <a:pt x="920" y="485"/>
                      <a:pt x="920" y="485"/>
                    </a:cubicBezTo>
                    <a:cubicBezTo>
                      <a:pt x="923" y="490"/>
                      <a:pt x="923" y="490"/>
                      <a:pt x="923" y="490"/>
                    </a:cubicBezTo>
                    <a:cubicBezTo>
                      <a:pt x="923" y="493"/>
                      <a:pt x="923" y="493"/>
                      <a:pt x="923" y="493"/>
                    </a:cubicBezTo>
                    <a:cubicBezTo>
                      <a:pt x="924" y="499"/>
                      <a:pt x="924" y="499"/>
                      <a:pt x="924" y="499"/>
                    </a:cubicBezTo>
                    <a:cubicBezTo>
                      <a:pt x="928" y="505"/>
                      <a:pt x="928" y="505"/>
                      <a:pt x="928" y="505"/>
                    </a:cubicBezTo>
                    <a:cubicBezTo>
                      <a:pt x="931" y="510"/>
                      <a:pt x="931" y="510"/>
                      <a:pt x="931" y="510"/>
                    </a:cubicBezTo>
                    <a:cubicBezTo>
                      <a:pt x="934" y="513"/>
                      <a:pt x="934" y="513"/>
                      <a:pt x="934" y="513"/>
                    </a:cubicBezTo>
                    <a:cubicBezTo>
                      <a:pt x="937" y="513"/>
                      <a:pt x="937" y="513"/>
                      <a:pt x="937" y="513"/>
                    </a:cubicBezTo>
                    <a:cubicBezTo>
                      <a:pt x="941" y="513"/>
                      <a:pt x="941" y="513"/>
                      <a:pt x="941" y="513"/>
                    </a:cubicBezTo>
                    <a:cubicBezTo>
                      <a:pt x="946" y="515"/>
                      <a:pt x="946" y="515"/>
                      <a:pt x="946" y="515"/>
                    </a:cubicBezTo>
                    <a:cubicBezTo>
                      <a:pt x="949" y="518"/>
                      <a:pt x="949" y="518"/>
                      <a:pt x="949" y="518"/>
                    </a:cubicBezTo>
                    <a:cubicBezTo>
                      <a:pt x="950" y="521"/>
                      <a:pt x="950" y="521"/>
                      <a:pt x="950" y="521"/>
                    </a:cubicBezTo>
                    <a:cubicBezTo>
                      <a:pt x="952" y="526"/>
                      <a:pt x="952" y="526"/>
                      <a:pt x="952" y="526"/>
                    </a:cubicBezTo>
                    <a:cubicBezTo>
                      <a:pt x="955" y="530"/>
                      <a:pt x="955" y="530"/>
                      <a:pt x="955" y="530"/>
                    </a:cubicBezTo>
                    <a:cubicBezTo>
                      <a:pt x="957" y="533"/>
                      <a:pt x="957" y="533"/>
                      <a:pt x="957" y="533"/>
                    </a:cubicBezTo>
                    <a:cubicBezTo>
                      <a:pt x="956" y="537"/>
                      <a:pt x="956" y="537"/>
                      <a:pt x="956" y="537"/>
                    </a:cubicBezTo>
                    <a:cubicBezTo>
                      <a:pt x="958" y="541"/>
                      <a:pt x="958" y="541"/>
                      <a:pt x="958" y="541"/>
                    </a:cubicBezTo>
                    <a:cubicBezTo>
                      <a:pt x="962" y="543"/>
                      <a:pt x="962" y="543"/>
                      <a:pt x="962" y="543"/>
                    </a:cubicBezTo>
                    <a:cubicBezTo>
                      <a:pt x="966" y="545"/>
                      <a:pt x="966" y="545"/>
                      <a:pt x="966" y="545"/>
                    </a:cubicBezTo>
                    <a:cubicBezTo>
                      <a:pt x="969" y="544"/>
                      <a:pt x="969" y="544"/>
                      <a:pt x="969" y="544"/>
                    </a:cubicBezTo>
                    <a:cubicBezTo>
                      <a:pt x="972" y="542"/>
                      <a:pt x="972" y="542"/>
                      <a:pt x="972" y="542"/>
                    </a:cubicBezTo>
                    <a:cubicBezTo>
                      <a:pt x="975" y="539"/>
                      <a:pt x="975" y="539"/>
                      <a:pt x="975" y="539"/>
                    </a:cubicBezTo>
                    <a:cubicBezTo>
                      <a:pt x="978" y="537"/>
                      <a:pt x="978" y="537"/>
                      <a:pt x="978" y="537"/>
                    </a:cubicBezTo>
                    <a:cubicBezTo>
                      <a:pt x="981" y="537"/>
                      <a:pt x="981" y="537"/>
                      <a:pt x="981" y="537"/>
                    </a:cubicBezTo>
                    <a:cubicBezTo>
                      <a:pt x="985" y="536"/>
                      <a:pt x="985" y="536"/>
                      <a:pt x="985" y="536"/>
                    </a:cubicBezTo>
                    <a:cubicBezTo>
                      <a:pt x="987" y="533"/>
                      <a:pt x="987" y="533"/>
                      <a:pt x="987" y="533"/>
                    </a:cubicBezTo>
                    <a:cubicBezTo>
                      <a:pt x="991" y="531"/>
                      <a:pt x="991" y="531"/>
                      <a:pt x="991" y="531"/>
                    </a:cubicBezTo>
                    <a:cubicBezTo>
                      <a:pt x="989" y="537"/>
                      <a:pt x="989" y="537"/>
                      <a:pt x="989" y="537"/>
                    </a:cubicBezTo>
                    <a:cubicBezTo>
                      <a:pt x="989" y="540"/>
                      <a:pt x="989" y="540"/>
                      <a:pt x="989" y="540"/>
                    </a:cubicBezTo>
                    <a:cubicBezTo>
                      <a:pt x="991" y="542"/>
                      <a:pt x="991" y="542"/>
                      <a:pt x="991" y="542"/>
                    </a:cubicBezTo>
                    <a:cubicBezTo>
                      <a:pt x="991" y="547"/>
                      <a:pt x="991" y="547"/>
                      <a:pt x="991" y="547"/>
                    </a:cubicBezTo>
                    <a:cubicBezTo>
                      <a:pt x="988" y="549"/>
                      <a:pt x="988" y="549"/>
                      <a:pt x="988" y="549"/>
                    </a:cubicBezTo>
                    <a:cubicBezTo>
                      <a:pt x="989" y="552"/>
                      <a:pt x="989" y="552"/>
                      <a:pt x="989" y="552"/>
                    </a:cubicBezTo>
                    <a:cubicBezTo>
                      <a:pt x="988" y="559"/>
                      <a:pt x="988" y="559"/>
                      <a:pt x="988" y="559"/>
                    </a:cubicBezTo>
                    <a:cubicBezTo>
                      <a:pt x="986" y="563"/>
                      <a:pt x="986" y="563"/>
                      <a:pt x="986" y="563"/>
                    </a:cubicBezTo>
                    <a:cubicBezTo>
                      <a:pt x="982" y="566"/>
                      <a:pt x="982" y="566"/>
                      <a:pt x="982" y="566"/>
                    </a:cubicBezTo>
                    <a:cubicBezTo>
                      <a:pt x="979" y="568"/>
                      <a:pt x="979" y="568"/>
                      <a:pt x="979" y="568"/>
                    </a:cubicBezTo>
                    <a:cubicBezTo>
                      <a:pt x="978" y="571"/>
                      <a:pt x="978" y="571"/>
                      <a:pt x="978" y="571"/>
                    </a:cubicBezTo>
                    <a:cubicBezTo>
                      <a:pt x="974" y="573"/>
                      <a:pt x="974" y="573"/>
                      <a:pt x="974" y="573"/>
                    </a:cubicBezTo>
                    <a:cubicBezTo>
                      <a:pt x="974" y="574"/>
                      <a:pt x="972" y="576"/>
                      <a:pt x="972" y="576"/>
                    </a:cubicBezTo>
                    <a:cubicBezTo>
                      <a:pt x="972" y="578"/>
                      <a:pt x="972" y="581"/>
                      <a:pt x="971" y="584"/>
                    </a:cubicBezTo>
                    <a:cubicBezTo>
                      <a:pt x="971" y="584"/>
                      <a:pt x="969" y="583"/>
                      <a:pt x="969" y="584"/>
                    </a:cubicBezTo>
                    <a:cubicBezTo>
                      <a:pt x="969" y="582"/>
                      <a:pt x="967" y="582"/>
                      <a:pt x="967" y="580"/>
                    </a:cubicBezTo>
                    <a:cubicBezTo>
                      <a:pt x="968" y="579"/>
                      <a:pt x="969" y="578"/>
                      <a:pt x="969" y="576"/>
                    </a:cubicBezTo>
                    <a:cubicBezTo>
                      <a:pt x="969" y="576"/>
                      <a:pt x="967" y="574"/>
                      <a:pt x="967" y="574"/>
                    </a:cubicBezTo>
                    <a:cubicBezTo>
                      <a:pt x="965" y="576"/>
                      <a:pt x="965" y="576"/>
                      <a:pt x="965" y="576"/>
                    </a:cubicBezTo>
                    <a:cubicBezTo>
                      <a:pt x="962" y="578"/>
                      <a:pt x="962" y="578"/>
                      <a:pt x="962" y="578"/>
                    </a:cubicBezTo>
                    <a:cubicBezTo>
                      <a:pt x="962" y="582"/>
                      <a:pt x="962" y="582"/>
                      <a:pt x="962" y="582"/>
                    </a:cubicBezTo>
                    <a:cubicBezTo>
                      <a:pt x="961" y="586"/>
                      <a:pt x="961" y="586"/>
                      <a:pt x="961" y="586"/>
                    </a:cubicBezTo>
                    <a:cubicBezTo>
                      <a:pt x="961" y="592"/>
                      <a:pt x="961" y="592"/>
                      <a:pt x="961" y="592"/>
                    </a:cubicBezTo>
                    <a:cubicBezTo>
                      <a:pt x="961" y="596"/>
                      <a:pt x="961" y="596"/>
                      <a:pt x="961" y="596"/>
                    </a:cubicBezTo>
                    <a:cubicBezTo>
                      <a:pt x="958" y="598"/>
                      <a:pt x="958" y="598"/>
                      <a:pt x="958" y="598"/>
                    </a:cubicBezTo>
                    <a:cubicBezTo>
                      <a:pt x="959" y="601"/>
                      <a:pt x="959" y="601"/>
                      <a:pt x="959" y="601"/>
                    </a:cubicBezTo>
                    <a:cubicBezTo>
                      <a:pt x="957" y="604"/>
                      <a:pt x="957" y="604"/>
                      <a:pt x="957" y="604"/>
                    </a:cubicBezTo>
                    <a:cubicBezTo>
                      <a:pt x="958" y="605"/>
                      <a:pt x="958" y="605"/>
                      <a:pt x="958" y="605"/>
                    </a:cubicBezTo>
                    <a:cubicBezTo>
                      <a:pt x="958" y="605"/>
                      <a:pt x="960" y="605"/>
                      <a:pt x="961" y="605"/>
                    </a:cubicBezTo>
                    <a:cubicBezTo>
                      <a:pt x="961" y="604"/>
                      <a:pt x="961" y="602"/>
                      <a:pt x="961" y="602"/>
                    </a:cubicBezTo>
                    <a:cubicBezTo>
                      <a:pt x="962" y="601"/>
                      <a:pt x="963" y="602"/>
                      <a:pt x="963" y="602"/>
                    </a:cubicBezTo>
                    <a:cubicBezTo>
                      <a:pt x="965" y="601"/>
                      <a:pt x="967" y="598"/>
                      <a:pt x="967" y="596"/>
                    </a:cubicBezTo>
                    <a:cubicBezTo>
                      <a:pt x="968" y="596"/>
                      <a:pt x="969" y="595"/>
                      <a:pt x="969" y="596"/>
                    </a:cubicBezTo>
                    <a:cubicBezTo>
                      <a:pt x="971" y="596"/>
                      <a:pt x="968" y="600"/>
                      <a:pt x="972" y="598"/>
                    </a:cubicBezTo>
                    <a:cubicBezTo>
                      <a:pt x="973" y="597"/>
                      <a:pt x="973" y="597"/>
                      <a:pt x="974" y="596"/>
                    </a:cubicBezTo>
                    <a:cubicBezTo>
                      <a:pt x="973" y="600"/>
                      <a:pt x="973" y="600"/>
                      <a:pt x="975" y="603"/>
                    </a:cubicBezTo>
                    <a:cubicBezTo>
                      <a:pt x="976" y="603"/>
                      <a:pt x="976" y="603"/>
                      <a:pt x="976" y="603"/>
                    </a:cubicBezTo>
                    <a:cubicBezTo>
                      <a:pt x="977" y="604"/>
                      <a:pt x="976" y="605"/>
                      <a:pt x="977" y="606"/>
                    </a:cubicBezTo>
                    <a:cubicBezTo>
                      <a:pt x="979" y="605"/>
                      <a:pt x="979" y="605"/>
                      <a:pt x="979" y="605"/>
                    </a:cubicBezTo>
                    <a:cubicBezTo>
                      <a:pt x="982" y="606"/>
                      <a:pt x="981" y="609"/>
                      <a:pt x="985" y="607"/>
                    </a:cubicBezTo>
                    <a:cubicBezTo>
                      <a:pt x="987" y="606"/>
                      <a:pt x="991" y="598"/>
                      <a:pt x="993" y="597"/>
                    </a:cubicBezTo>
                    <a:cubicBezTo>
                      <a:pt x="994" y="597"/>
                      <a:pt x="994" y="597"/>
                      <a:pt x="994" y="597"/>
                    </a:cubicBezTo>
                    <a:cubicBezTo>
                      <a:pt x="994" y="596"/>
                      <a:pt x="994" y="594"/>
                      <a:pt x="995" y="594"/>
                    </a:cubicBezTo>
                    <a:cubicBezTo>
                      <a:pt x="995" y="594"/>
                      <a:pt x="998" y="594"/>
                      <a:pt x="998" y="594"/>
                    </a:cubicBezTo>
                    <a:cubicBezTo>
                      <a:pt x="999" y="591"/>
                      <a:pt x="998" y="589"/>
                      <a:pt x="999" y="587"/>
                    </a:cubicBezTo>
                    <a:cubicBezTo>
                      <a:pt x="1000" y="586"/>
                      <a:pt x="1001" y="586"/>
                      <a:pt x="1001" y="586"/>
                    </a:cubicBezTo>
                    <a:cubicBezTo>
                      <a:pt x="1002" y="585"/>
                      <a:pt x="1002" y="583"/>
                      <a:pt x="1002" y="583"/>
                    </a:cubicBezTo>
                    <a:cubicBezTo>
                      <a:pt x="1003" y="582"/>
                      <a:pt x="1003" y="584"/>
                      <a:pt x="1004" y="582"/>
                    </a:cubicBezTo>
                    <a:cubicBezTo>
                      <a:pt x="1005" y="582"/>
                      <a:pt x="1006" y="579"/>
                      <a:pt x="1006" y="578"/>
                    </a:cubicBezTo>
                    <a:cubicBezTo>
                      <a:pt x="1011" y="572"/>
                      <a:pt x="1011" y="572"/>
                      <a:pt x="1011" y="572"/>
                    </a:cubicBezTo>
                    <a:cubicBezTo>
                      <a:pt x="1012" y="572"/>
                      <a:pt x="1013" y="572"/>
                      <a:pt x="1014" y="572"/>
                    </a:cubicBezTo>
                    <a:cubicBezTo>
                      <a:pt x="1015" y="571"/>
                      <a:pt x="1015" y="569"/>
                      <a:pt x="1015" y="568"/>
                    </a:cubicBezTo>
                    <a:cubicBezTo>
                      <a:pt x="1016" y="567"/>
                      <a:pt x="1019" y="566"/>
                      <a:pt x="1019" y="565"/>
                    </a:cubicBezTo>
                    <a:cubicBezTo>
                      <a:pt x="1023" y="558"/>
                      <a:pt x="1023" y="558"/>
                      <a:pt x="1023" y="558"/>
                    </a:cubicBezTo>
                    <a:cubicBezTo>
                      <a:pt x="1023" y="557"/>
                      <a:pt x="1022" y="557"/>
                      <a:pt x="1023" y="555"/>
                    </a:cubicBezTo>
                    <a:cubicBezTo>
                      <a:pt x="1023" y="553"/>
                      <a:pt x="1026" y="548"/>
                      <a:pt x="1027" y="547"/>
                    </a:cubicBezTo>
                    <a:cubicBezTo>
                      <a:pt x="1028" y="547"/>
                      <a:pt x="1029" y="547"/>
                      <a:pt x="1029" y="546"/>
                    </a:cubicBezTo>
                    <a:cubicBezTo>
                      <a:pt x="1030" y="545"/>
                      <a:pt x="1030" y="543"/>
                      <a:pt x="1031" y="541"/>
                    </a:cubicBezTo>
                    <a:cubicBezTo>
                      <a:pt x="1032" y="538"/>
                      <a:pt x="1037" y="537"/>
                      <a:pt x="1038" y="534"/>
                    </a:cubicBezTo>
                    <a:cubicBezTo>
                      <a:pt x="1039" y="533"/>
                      <a:pt x="1038" y="531"/>
                      <a:pt x="1039" y="529"/>
                    </a:cubicBezTo>
                    <a:cubicBezTo>
                      <a:pt x="1039" y="529"/>
                      <a:pt x="1041" y="529"/>
                      <a:pt x="1041" y="528"/>
                    </a:cubicBezTo>
                    <a:cubicBezTo>
                      <a:pt x="1041" y="528"/>
                      <a:pt x="1039" y="525"/>
                      <a:pt x="1039" y="525"/>
                    </a:cubicBezTo>
                    <a:cubicBezTo>
                      <a:pt x="1039" y="524"/>
                      <a:pt x="1042" y="521"/>
                      <a:pt x="1042" y="520"/>
                    </a:cubicBezTo>
                    <a:cubicBezTo>
                      <a:pt x="1042" y="517"/>
                      <a:pt x="1041" y="515"/>
                      <a:pt x="1041" y="514"/>
                    </a:cubicBezTo>
                    <a:cubicBezTo>
                      <a:pt x="1041" y="514"/>
                      <a:pt x="1042" y="512"/>
                      <a:pt x="1042" y="510"/>
                    </a:cubicBezTo>
                    <a:cubicBezTo>
                      <a:pt x="1040" y="510"/>
                      <a:pt x="1040" y="510"/>
                      <a:pt x="1040" y="510"/>
                    </a:cubicBezTo>
                    <a:cubicBezTo>
                      <a:pt x="1040" y="509"/>
                      <a:pt x="1040" y="508"/>
                      <a:pt x="1040" y="507"/>
                    </a:cubicBezTo>
                    <a:cubicBezTo>
                      <a:pt x="1043" y="503"/>
                      <a:pt x="1043" y="505"/>
                      <a:pt x="1041" y="501"/>
                    </a:cubicBezTo>
                    <a:cubicBezTo>
                      <a:pt x="1042" y="499"/>
                      <a:pt x="1045" y="497"/>
                      <a:pt x="1045" y="496"/>
                    </a:cubicBezTo>
                    <a:cubicBezTo>
                      <a:pt x="1045" y="495"/>
                      <a:pt x="1045" y="494"/>
                      <a:pt x="1045" y="493"/>
                    </a:cubicBezTo>
                    <a:cubicBezTo>
                      <a:pt x="1045" y="493"/>
                      <a:pt x="1047" y="492"/>
                      <a:pt x="1047" y="492"/>
                    </a:cubicBezTo>
                    <a:cubicBezTo>
                      <a:pt x="1047" y="490"/>
                      <a:pt x="1046" y="490"/>
                      <a:pt x="1045" y="490"/>
                    </a:cubicBezTo>
                    <a:cubicBezTo>
                      <a:pt x="1045" y="490"/>
                      <a:pt x="1045" y="487"/>
                      <a:pt x="1046" y="489"/>
                    </a:cubicBezTo>
                    <a:cubicBezTo>
                      <a:pt x="1046" y="487"/>
                      <a:pt x="1046" y="487"/>
                      <a:pt x="1046" y="487"/>
                    </a:cubicBezTo>
                    <a:cubicBezTo>
                      <a:pt x="1046" y="488"/>
                      <a:pt x="1047" y="486"/>
                      <a:pt x="1045" y="485"/>
                    </a:cubicBezTo>
                    <a:cubicBezTo>
                      <a:pt x="1045" y="485"/>
                      <a:pt x="1045" y="481"/>
                      <a:pt x="1045" y="481"/>
                    </a:cubicBezTo>
                    <a:cubicBezTo>
                      <a:pt x="1048" y="479"/>
                      <a:pt x="1050" y="481"/>
                      <a:pt x="1052" y="482"/>
                    </a:cubicBezTo>
                    <a:cubicBezTo>
                      <a:pt x="1052" y="478"/>
                      <a:pt x="1052" y="478"/>
                      <a:pt x="1052" y="478"/>
                    </a:cubicBezTo>
                    <a:cubicBezTo>
                      <a:pt x="1051" y="478"/>
                      <a:pt x="1051" y="479"/>
                      <a:pt x="1051" y="479"/>
                    </a:cubicBezTo>
                    <a:cubicBezTo>
                      <a:pt x="1049" y="479"/>
                      <a:pt x="1047" y="478"/>
                      <a:pt x="1046" y="477"/>
                    </a:cubicBezTo>
                    <a:cubicBezTo>
                      <a:pt x="1046" y="477"/>
                      <a:pt x="1046" y="475"/>
                      <a:pt x="1046" y="475"/>
                    </a:cubicBezTo>
                    <a:cubicBezTo>
                      <a:pt x="1046" y="475"/>
                      <a:pt x="1044" y="476"/>
                      <a:pt x="1044" y="476"/>
                    </a:cubicBezTo>
                    <a:cubicBezTo>
                      <a:pt x="1039" y="472"/>
                      <a:pt x="1039" y="472"/>
                      <a:pt x="1039" y="472"/>
                    </a:cubicBezTo>
                    <a:cubicBezTo>
                      <a:pt x="1038" y="470"/>
                      <a:pt x="1040" y="469"/>
                      <a:pt x="1039" y="468"/>
                    </a:cubicBezTo>
                    <a:cubicBezTo>
                      <a:pt x="1038" y="467"/>
                      <a:pt x="1035" y="467"/>
                      <a:pt x="1034" y="467"/>
                    </a:cubicBezTo>
                    <a:cubicBezTo>
                      <a:pt x="1034" y="467"/>
                      <a:pt x="1033" y="465"/>
                      <a:pt x="1033" y="465"/>
                    </a:cubicBezTo>
                    <a:cubicBezTo>
                      <a:pt x="1030" y="464"/>
                      <a:pt x="1027" y="464"/>
                      <a:pt x="1025" y="464"/>
                    </a:cubicBezTo>
                    <a:cubicBezTo>
                      <a:pt x="1025" y="466"/>
                      <a:pt x="1025" y="468"/>
                      <a:pt x="1025" y="470"/>
                    </a:cubicBezTo>
                    <a:cubicBezTo>
                      <a:pt x="1024" y="470"/>
                      <a:pt x="1022" y="469"/>
                      <a:pt x="1021" y="469"/>
                    </a:cubicBezTo>
                    <a:cubicBezTo>
                      <a:pt x="1020" y="470"/>
                      <a:pt x="1019" y="473"/>
                      <a:pt x="1017" y="474"/>
                    </a:cubicBezTo>
                    <a:cubicBezTo>
                      <a:pt x="1017" y="474"/>
                      <a:pt x="1015" y="474"/>
                      <a:pt x="1015" y="474"/>
                    </a:cubicBezTo>
                    <a:cubicBezTo>
                      <a:pt x="1017" y="468"/>
                      <a:pt x="1019" y="468"/>
                      <a:pt x="1013" y="465"/>
                    </a:cubicBezTo>
                    <a:cubicBezTo>
                      <a:pt x="1013" y="466"/>
                      <a:pt x="1012" y="468"/>
                      <a:pt x="1012" y="470"/>
                    </a:cubicBezTo>
                    <a:cubicBezTo>
                      <a:pt x="1012" y="470"/>
                      <a:pt x="1010" y="470"/>
                      <a:pt x="1009" y="470"/>
                    </a:cubicBezTo>
                    <a:cubicBezTo>
                      <a:pt x="1010" y="464"/>
                      <a:pt x="1010" y="462"/>
                      <a:pt x="1009" y="457"/>
                    </a:cubicBezTo>
                    <a:cubicBezTo>
                      <a:pt x="1004" y="457"/>
                      <a:pt x="1001" y="458"/>
                      <a:pt x="996" y="457"/>
                    </a:cubicBezTo>
                    <a:cubicBezTo>
                      <a:pt x="997" y="454"/>
                      <a:pt x="999" y="450"/>
                      <a:pt x="1001" y="449"/>
                    </a:cubicBezTo>
                    <a:cubicBezTo>
                      <a:pt x="1001" y="448"/>
                      <a:pt x="1002" y="449"/>
                      <a:pt x="1003" y="448"/>
                    </a:cubicBezTo>
                    <a:cubicBezTo>
                      <a:pt x="1004" y="446"/>
                      <a:pt x="1005" y="444"/>
                      <a:pt x="1007" y="443"/>
                    </a:cubicBezTo>
                    <a:cubicBezTo>
                      <a:pt x="1008" y="442"/>
                      <a:pt x="1008" y="443"/>
                      <a:pt x="1009" y="442"/>
                    </a:cubicBezTo>
                    <a:cubicBezTo>
                      <a:pt x="1011" y="441"/>
                      <a:pt x="1012" y="438"/>
                      <a:pt x="1014" y="437"/>
                    </a:cubicBezTo>
                    <a:cubicBezTo>
                      <a:pt x="1015" y="436"/>
                      <a:pt x="1017" y="436"/>
                      <a:pt x="1017" y="435"/>
                    </a:cubicBezTo>
                    <a:cubicBezTo>
                      <a:pt x="1018" y="435"/>
                      <a:pt x="1017" y="433"/>
                      <a:pt x="1017" y="432"/>
                    </a:cubicBezTo>
                    <a:cubicBezTo>
                      <a:pt x="1018" y="431"/>
                      <a:pt x="1021" y="431"/>
                      <a:pt x="1022" y="429"/>
                    </a:cubicBezTo>
                    <a:cubicBezTo>
                      <a:pt x="1022" y="429"/>
                      <a:pt x="1022" y="427"/>
                      <a:pt x="1022" y="426"/>
                    </a:cubicBezTo>
                    <a:cubicBezTo>
                      <a:pt x="1022" y="426"/>
                      <a:pt x="1024" y="424"/>
                      <a:pt x="1024" y="423"/>
                    </a:cubicBezTo>
                    <a:cubicBezTo>
                      <a:pt x="1024" y="423"/>
                      <a:pt x="1023" y="422"/>
                      <a:pt x="1023" y="421"/>
                    </a:cubicBezTo>
                    <a:cubicBezTo>
                      <a:pt x="1024" y="421"/>
                      <a:pt x="1024" y="420"/>
                      <a:pt x="1025" y="420"/>
                    </a:cubicBezTo>
                    <a:cubicBezTo>
                      <a:pt x="1026" y="421"/>
                      <a:pt x="1025" y="421"/>
                      <a:pt x="1026" y="421"/>
                    </a:cubicBezTo>
                    <a:cubicBezTo>
                      <a:pt x="1027" y="420"/>
                      <a:pt x="1027" y="418"/>
                      <a:pt x="1029" y="417"/>
                    </a:cubicBezTo>
                    <a:cubicBezTo>
                      <a:pt x="1030" y="417"/>
                      <a:pt x="1030" y="417"/>
                      <a:pt x="1030" y="417"/>
                    </a:cubicBezTo>
                    <a:cubicBezTo>
                      <a:pt x="1030" y="417"/>
                      <a:pt x="1030" y="416"/>
                      <a:pt x="1031" y="415"/>
                    </a:cubicBezTo>
                    <a:cubicBezTo>
                      <a:pt x="1032" y="415"/>
                      <a:pt x="1033" y="415"/>
                      <a:pt x="1034" y="414"/>
                    </a:cubicBezTo>
                    <a:cubicBezTo>
                      <a:pt x="1035" y="414"/>
                      <a:pt x="1035" y="412"/>
                      <a:pt x="1036" y="411"/>
                    </a:cubicBezTo>
                    <a:cubicBezTo>
                      <a:pt x="1036" y="411"/>
                      <a:pt x="1038" y="412"/>
                      <a:pt x="1038" y="411"/>
                    </a:cubicBezTo>
                    <a:cubicBezTo>
                      <a:pt x="1039" y="411"/>
                      <a:pt x="1038" y="409"/>
                      <a:pt x="1039" y="408"/>
                    </a:cubicBezTo>
                    <a:cubicBezTo>
                      <a:pt x="1041" y="408"/>
                      <a:pt x="1042" y="407"/>
                      <a:pt x="1044" y="407"/>
                    </a:cubicBezTo>
                    <a:cubicBezTo>
                      <a:pt x="1045" y="401"/>
                      <a:pt x="1047" y="397"/>
                      <a:pt x="1050" y="393"/>
                    </a:cubicBezTo>
                    <a:cubicBezTo>
                      <a:pt x="1051" y="392"/>
                      <a:pt x="1054" y="391"/>
                      <a:pt x="1054" y="389"/>
                    </a:cubicBezTo>
                    <a:cubicBezTo>
                      <a:pt x="1054" y="388"/>
                      <a:pt x="1053" y="388"/>
                      <a:pt x="1053" y="386"/>
                    </a:cubicBezTo>
                    <a:cubicBezTo>
                      <a:pt x="1055" y="386"/>
                      <a:pt x="1055" y="387"/>
                      <a:pt x="1057" y="387"/>
                    </a:cubicBezTo>
                    <a:cubicBezTo>
                      <a:pt x="1058" y="387"/>
                      <a:pt x="1059" y="384"/>
                      <a:pt x="1060" y="383"/>
                    </a:cubicBezTo>
                    <a:cubicBezTo>
                      <a:pt x="1062" y="382"/>
                      <a:pt x="1063" y="382"/>
                      <a:pt x="1065" y="382"/>
                    </a:cubicBezTo>
                    <a:cubicBezTo>
                      <a:pt x="1065" y="381"/>
                      <a:pt x="1065" y="378"/>
                      <a:pt x="1065" y="378"/>
                    </a:cubicBezTo>
                    <a:cubicBezTo>
                      <a:pt x="1066" y="378"/>
                      <a:pt x="1067" y="379"/>
                      <a:pt x="1069" y="380"/>
                    </a:cubicBezTo>
                    <a:cubicBezTo>
                      <a:pt x="1069" y="378"/>
                      <a:pt x="1069" y="378"/>
                      <a:pt x="1069" y="378"/>
                    </a:cubicBezTo>
                    <a:cubicBezTo>
                      <a:pt x="1071" y="379"/>
                      <a:pt x="1069" y="380"/>
                      <a:pt x="1069" y="382"/>
                    </a:cubicBezTo>
                    <a:cubicBezTo>
                      <a:pt x="1078" y="380"/>
                      <a:pt x="1086" y="380"/>
                      <a:pt x="1092" y="382"/>
                    </a:cubicBezTo>
                    <a:cubicBezTo>
                      <a:pt x="1092" y="382"/>
                      <a:pt x="1091" y="385"/>
                      <a:pt x="1092" y="386"/>
                    </a:cubicBezTo>
                    <a:cubicBezTo>
                      <a:pt x="1092" y="387"/>
                      <a:pt x="1092" y="387"/>
                      <a:pt x="1092" y="387"/>
                    </a:cubicBezTo>
                    <a:cubicBezTo>
                      <a:pt x="1094" y="387"/>
                      <a:pt x="1095" y="387"/>
                      <a:pt x="1096" y="386"/>
                    </a:cubicBezTo>
                    <a:cubicBezTo>
                      <a:pt x="1098" y="382"/>
                      <a:pt x="1098" y="382"/>
                      <a:pt x="1098" y="382"/>
                    </a:cubicBezTo>
                    <a:cubicBezTo>
                      <a:pt x="1099" y="382"/>
                      <a:pt x="1099" y="381"/>
                      <a:pt x="1100" y="382"/>
                    </a:cubicBezTo>
                    <a:cubicBezTo>
                      <a:pt x="1100" y="384"/>
                      <a:pt x="1100" y="384"/>
                      <a:pt x="1100" y="384"/>
                    </a:cubicBezTo>
                    <a:cubicBezTo>
                      <a:pt x="1101" y="385"/>
                      <a:pt x="1106" y="386"/>
                      <a:pt x="1108" y="386"/>
                    </a:cubicBezTo>
                    <a:cubicBezTo>
                      <a:pt x="1110" y="386"/>
                      <a:pt x="1112" y="384"/>
                      <a:pt x="1114" y="385"/>
                    </a:cubicBezTo>
                    <a:cubicBezTo>
                      <a:pt x="1115" y="385"/>
                      <a:pt x="1114" y="387"/>
                      <a:pt x="1117" y="388"/>
                    </a:cubicBezTo>
                    <a:cubicBezTo>
                      <a:pt x="1119" y="388"/>
                      <a:pt x="1119" y="384"/>
                      <a:pt x="1118" y="385"/>
                    </a:cubicBezTo>
                    <a:cubicBezTo>
                      <a:pt x="1118" y="383"/>
                      <a:pt x="1117" y="384"/>
                      <a:pt x="1119" y="383"/>
                    </a:cubicBezTo>
                    <a:cubicBezTo>
                      <a:pt x="1119" y="382"/>
                      <a:pt x="1118" y="380"/>
                      <a:pt x="1118" y="380"/>
                    </a:cubicBezTo>
                    <a:cubicBezTo>
                      <a:pt x="1122" y="377"/>
                      <a:pt x="1124" y="380"/>
                      <a:pt x="1127" y="380"/>
                    </a:cubicBezTo>
                    <a:cubicBezTo>
                      <a:pt x="1130" y="381"/>
                      <a:pt x="1131" y="380"/>
                      <a:pt x="1134" y="380"/>
                    </a:cubicBezTo>
                    <a:cubicBezTo>
                      <a:pt x="1134" y="380"/>
                      <a:pt x="1133" y="381"/>
                      <a:pt x="1134" y="381"/>
                    </a:cubicBezTo>
                    <a:cubicBezTo>
                      <a:pt x="1133" y="381"/>
                      <a:pt x="1136" y="382"/>
                      <a:pt x="1136" y="382"/>
                    </a:cubicBezTo>
                    <a:cubicBezTo>
                      <a:pt x="1137" y="381"/>
                      <a:pt x="1137" y="380"/>
                      <a:pt x="1138" y="380"/>
                    </a:cubicBezTo>
                    <a:cubicBezTo>
                      <a:pt x="1139" y="379"/>
                      <a:pt x="1140" y="379"/>
                      <a:pt x="1142" y="378"/>
                    </a:cubicBezTo>
                    <a:cubicBezTo>
                      <a:pt x="1142" y="379"/>
                      <a:pt x="1142" y="380"/>
                      <a:pt x="1142" y="381"/>
                    </a:cubicBezTo>
                    <a:cubicBezTo>
                      <a:pt x="1143" y="382"/>
                      <a:pt x="1146" y="384"/>
                      <a:pt x="1147" y="385"/>
                    </a:cubicBezTo>
                    <a:cubicBezTo>
                      <a:pt x="1146" y="387"/>
                      <a:pt x="1146" y="387"/>
                      <a:pt x="1146" y="387"/>
                    </a:cubicBezTo>
                    <a:cubicBezTo>
                      <a:pt x="1143" y="387"/>
                      <a:pt x="1141" y="387"/>
                      <a:pt x="1138" y="387"/>
                    </a:cubicBezTo>
                    <a:cubicBezTo>
                      <a:pt x="1140" y="395"/>
                      <a:pt x="1138" y="393"/>
                      <a:pt x="1148" y="393"/>
                    </a:cubicBezTo>
                    <a:cubicBezTo>
                      <a:pt x="1148" y="390"/>
                      <a:pt x="1148" y="390"/>
                      <a:pt x="1148" y="390"/>
                    </a:cubicBezTo>
                    <a:cubicBezTo>
                      <a:pt x="1151" y="391"/>
                      <a:pt x="1152" y="391"/>
                      <a:pt x="1154" y="392"/>
                    </a:cubicBezTo>
                    <a:cubicBezTo>
                      <a:pt x="1155" y="392"/>
                      <a:pt x="1155" y="390"/>
                      <a:pt x="1155" y="389"/>
                    </a:cubicBezTo>
                    <a:cubicBezTo>
                      <a:pt x="1156" y="389"/>
                      <a:pt x="1157" y="389"/>
                      <a:pt x="1158" y="389"/>
                    </a:cubicBezTo>
                    <a:cubicBezTo>
                      <a:pt x="1158" y="388"/>
                      <a:pt x="1158" y="387"/>
                      <a:pt x="1159" y="387"/>
                    </a:cubicBezTo>
                    <a:cubicBezTo>
                      <a:pt x="1159" y="387"/>
                      <a:pt x="1160" y="387"/>
                      <a:pt x="1161" y="387"/>
                    </a:cubicBezTo>
                    <a:cubicBezTo>
                      <a:pt x="1162" y="387"/>
                      <a:pt x="1161" y="388"/>
                      <a:pt x="1162" y="389"/>
                    </a:cubicBezTo>
                    <a:cubicBezTo>
                      <a:pt x="1166" y="388"/>
                      <a:pt x="1166" y="388"/>
                      <a:pt x="1171" y="387"/>
                    </a:cubicBezTo>
                    <a:cubicBezTo>
                      <a:pt x="1170" y="385"/>
                      <a:pt x="1170" y="384"/>
                      <a:pt x="1170" y="383"/>
                    </a:cubicBezTo>
                    <a:cubicBezTo>
                      <a:pt x="1169" y="383"/>
                      <a:pt x="1169" y="383"/>
                      <a:pt x="1169" y="383"/>
                    </a:cubicBezTo>
                    <a:cubicBezTo>
                      <a:pt x="1169" y="383"/>
                      <a:pt x="1167" y="382"/>
                      <a:pt x="1166" y="382"/>
                    </a:cubicBezTo>
                    <a:cubicBezTo>
                      <a:pt x="1166" y="382"/>
                      <a:pt x="1164" y="384"/>
                      <a:pt x="1164" y="384"/>
                    </a:cubicBezTo>
                    <a:cubicBezTo>
                      <a:pt x="1162" y="384"/>
                      <a:pt x="1162" y="383"/>
                      <a:pt x="1161" y="383"/>
                    </a:cubicBezTo>
                    <a:cubicBezTo>
                      <a:pt x="1161" y="382"/>
                      <a:pt x="1163" y="376"/>
                      <a:pt x="1162" y="376"/>
                    </a:cubicBezTo>
                    <a:cubicBezTo>
                      <a:pt x="1163" y="375"/>
                      <a:pt x="1163" y="376"/>
                      <a:pt x="1164" y="376"/>
                    </a:cubicBezTo>
                    <a:cubicBezTo>
                      <a:pt x="1164" y="374"/>
                      <a:pt x="1165" y="370"/>
                      <a:pt x="1168" y="369"/>
                    </a:cubicBezTo>
                    <a:cubicBezTo>
                      <a:pt x="1169" y="368"/>
                      <a:pt x="1170" y="369"/>
                      <a:pt x="1171" y="368"/>
                    </a:cubicBezTo>
                    <a:cubicBezTo>
                      <a:pt x="1171" y="368"/>
                      <a:pt x="1172" y="366"/>
                      <a:pt x="1173" y="366"/>
                    </a:cubicBezTo>
                    <a:cubicBezTo>
                      <a:pt x="1173" y="365"/>
                      <a:pt x="1175" y="366"/>
                      <a:pt x="1177" y="366"/>
                    </a:cubicBezTo>
                    <a:cubicBezTo>
                      <a:pt x="1177" y="365"/>
                      <a:pt x="1177" y="363"/>
                      <a:pt x="1178" y="363"/>
                    </a:cubicBezTo>
                    <a:cubicBezTo>
                      <a:pt x="1180" y="362"/>
                      <a:pt x="1180" y="362"/>
                      <a:pt x="1180" y="362"/>
                    </a:cubicBezTo>
                    <a:cubicBezTo>
                      <a:pt x="1180" y="360"/>
                      <a:pt x="1178" y="360"/>
                      <a:pt x="1179" y="358"/>
                    </a:cubicBezTo>
                    <a:cubicBezTo>
                      <a:pt x="1180" y="358"/>
                      <a:pt x="1180" y="358"/>
                      <a:pt x="1180" y="358"/>
                    </a:cubicBezTo>
                    <a:cubicBezTo>
                      <a:pt x="1184" y="357"/>
                      <a:pt x="1183" y="354"/>
                      <a:pt x="1184" y="353"/>
                    </a:cubicBezTo>
                    <a:cubicBezTo>
                      <a:pt x="1185" y="352"/>
                      <a:pt x="1185" y="354"/>
                      <a:pt x="1186" y="354"/>
                    </a:cubicBezTo>
                    <a:cubicBezTo>
                      <a:pt x="1187" y="353"/>
                      <a:pt x="1188" y="351"/>
                      <a:pt x="1189" y="351"/>
                    </a:cubicBezTo>
                    <a:cubicBezTo>
                      <a:pt x="1192" y="350"/>
                      <a:pt x="1194" y="351"/>
                      <a:pt x="1197" y="350"/>
                    </a:cubicBezTo>
                    <a:cubicBezTo>
                      <a:pt x="1199" y="350"/>
                      <a:pt x="1203" y="348"/>
                      <a:pt x="1205" y="348"/>
                    </a:cubicBezTo>
                    <a:cubicBezTo>
                      <a:pt x="1206" y="349"/>
                      <a:pt x="1207" y="353"/>
                      <a:pt x="1209" y="353"/>
                    </a:cubicBezTo>
                    <a:cubicBezTo>
                      <a:pt x="1209" y="353"/>
                      <a:pt x="1211" y="353"/>
                      <a:pt x="1211" y="352"/>
                    </a:cubicBezTo>
                    <a:cubicBezTo>
                      <a:pt x="1213" y="351"/>
                      <a:pt x="1214" y="350"/>
                      <a:pt x="1215" y="349"/>
                    </a:cubicBezTo>
                    <a:cubicBezTo>
                      <a:pt x="1215" y="349"/>
                      <a:pt x="1216" y="354"/>
                      <a:pt x="1215" y="355"/>
                    </a:cubicBezTo>
                    <a:cubicBezTo>
                      <a:pt x="1215" y="356"/>
                      <a:pt x="1214" y="355"/>
                      <a:pt x="1213" y="356"/>
                    </a:cubicBezTo>
                    <a:cubicBezTo>
                      <a:pt x="1212" y="357"/>
                      <a:pt x="1212" y="360"/>
                      <a:pt x="1211" y="363"/>
                    </a:cubicBezTo>
                    <a:cubicBezTo>
                      <a:pt x="1213" y="362"/>
                      <a:pt x="1214" y="363"/>
                      <a:pt x="1215" y="362"/>
                    </a:cubicBezTo>
                    <a:cubicBezTo>
                      <a:pt x="1215" y="362"/>
                      <a:pt x="1217" y="357"/>
                      <a:pt x="1217" y="361"/>
                    </a:cubicBezTo>
                    <a:cubicBezTo>
                      <a:pt x="1216" y="362"/>
                      <a:pt x="1216" y="362"/>
                      <a:pt x="1216" y="362"/>
                    </a:cubicBezTo>
                    <a:cubicBezTo>
                      <a:pt x="1216" y="362"/>
                      <a:pt x="1216" y="363"/>
                      <a:pt x="1216" y="364"/>
                    </a:cubicBezTo>
                    <a:cubicBezTo>
                      <a:pt x="1215" y="364"/>
                      <a:pt x="1214" y="364"/>
                      <a:pt x="1214" y="364"/>
                    </a:cubicBezTo>
                    <a:cubicBezTo>
                      <a:pt x="1214" y="365"/>
                      <a:pt x="1214" y="366"/>
                      <a:pt x="1214" y="366"/>
                    </a:cubicBezTo>
                    <a:cubicBezTo>
                      <a:pt x="1216" y="368"/>
                      <a:pt x="1216" y="368"/>
                      <a:pt x="1216" y="368"/>
                    </a:cubicBezTo>
                    <a:cubicBezTo>
                      <a:pt x="1218" y="366"/>
                      <a:pt x="1219" y="364"/>
                      <a:pt x="1220" y="363"/>
                    </a:cubicBezTo>
                    <a:cubicBezTo>
                      <a:pt x="1221" y="362"/>
                      <a:pt x="1222" y="362"/>
                      <a:pt x="1223" y="361"/>
                    </a:cubicBezTo>
                    <a:cubicBezTo>
                      <a:pt x="1224" y="361"/>
                      <a:pt x="1223" y="359"/>
                      <a:pt x="1223" y="359"/>
                    </a:cubicBezTo>
                    <a:cubicBezTo>
                      <a:pt x="1224" y="358"/>
                      <a:pt x="1225" y="359"/>
                      <a:pt x="1225" y="358"/>
                    </a:cubicBezTo>
                    <a:cubicBezTo>
                      <a:pt x="1226" y="358"/>
                      <a:pt x="1226" y="356"/>
                      <a:pt x="1227" y="356"/>
                    </a:cubicBezTo>
                    <a:cubicBezTo>
                      <a:pt x="1228" y="354"/>
                      <a:pt x="1232" y="350"/>
                      <a:pt x="1235" y="350"/>
                    </a:cubicBezTo>
                    <a:cubicBezTo>
                      <a:pt x="1240" y="350"/>
                      <a:pt x="1235" y="355"/>
                      <a:pt x="1243" y="352"/>
                    </a:cubicBezTo>
                    <a:cubicBezTo>
                      <a:pt x="1242" y="351"/>
                      <a:pt x="1243" y="348"/>
                      <a:pt x="1241" y="350"/>
                    </a:cubicBezTo>
                    <a:cubicBezTo>
                      <a:pt x="1241" y="348"/>
                      <a:pt x="1240" y="345"/>
                      <a:pt x="1240" y="343"/>
                    </a:cubicBezTo>
                    <a:cubicBezTo>
                      <a:pt x="1241" y="343"/>
                      <a:pt x="1242" y="343"/>
                      <a:pt x="1243" y="342"/>
                    </a:cubicBezTo>
                    <a:cubicBezTo>
                      <a:pt x="1243" y="341"/>
                      <a:pt x="1242" y="340"/>
                      <a:pt x="1243" y="339"/>
                    </a:cubicBezTo>
                    <a:cubicBezTo>
                      <a:pt x="1243" y="339"/>
                      <a:pt x="1245" y="338"/>
                      <a:pt x="1246" y="338"/>
                    </a:cubicBezTo>
                    <a:cubicBezTo>
                      <a:pt x="1247" y="338"/>
                      <a:pt x="1249" y="336"/>
                      <a:pt x="1250" y="336"/>
                    </a:cubicBezTo>
                    <a:cubicBezTo>
                      <a:pt x="1253" y="336"/>
                      <a:pt x="1255" y="340"/>
                      <a:pt x="1259" y="341"/>
                    </a:cubicBezTo>
                    <a:cubicBezTo>
                      <a:pt x="1259" y="341"/>
                      <a:pt x="1257" y="342"/>
                      <a:pt x="1256" y="342"/>
                    </a:cubicBezTo>
                    <a:cubicBezTo>
                      <a:pt x="1251" y="341"/>
                      <a:pt x="1253" y="339"/>
                      <a:pt x="1249" y="343"/>
                    </a:cubicBezTo>
                    <a:cubicBezTo>
                      <a:pt x="1249" y="343"/>
                      <a:pt x="1247" y="344"/>
                      <a:pt x="1247" y="344"/>
                    </a:cubicBezTo>
                    <a:cubicBezTo>
                      <a:pt x="1247" y="347"/>
                      <a:pt x="1249" y="349"/>
                      <a:pt x="1249" y="352"/>
                    </a:cubicBezTo>
                    <a:cubicBezTo>
                      <a:pt x="1249" y="352"/>
                      <a:pt x="1247" y="353"/>
                      <a:pt x="1247" y="354"/>
                    </a:cubicBezTo>
                    <a:cubicBezTo>
                      <a:pt x="1245" y="357"/>
                      <a:pt x="1246" y="358"/>
                      <a:pt x="1247" y="361"/>
                    </a:cubicBezTo>
                    <a:cubicBezTo>
                      <a:pt x="1245" y="362"/>
                      <a:pt x="1245" y="362"/>
                      <a:pt x="1245" y="362"/>
                    </a:cubicBezTo>
                    <a:cubicBezTo>
                      <a:pt x="1244" y="362"/>
                      <a:pt x="1245" y="364"/>
                      <a:pt x="1245" y="364"/>
                    </a:cubicBezTo>
                    <a:cubicBezTo>
                      <a:pt x="1241" y="365"/>
                      <a:pt x="1238" y="364"/>
                      <a:pt x="1235" y="364"/>
                    </a:cubicBezTo>
                    <a:cubicBezTo>
                      <a:pt x="1235" y="364"/>
                      <a:pt x="1234" y="366"/>
                      <a:pt x="1233" y="366"/>
                    </a:cubicBezTo>
                    <a:cubicBezTo>
                      <a:pt x="1232" y="367"/>
                      <a:pt x="1230" y="366"/>
                      <a:pt x="1229" y="366"/>
                    </a:cubicBezTo>
                    <a:cubicBezTo>
                      <a:pt x="1228" y="366"/>
                      <a:pt x="1228" y="367"/>
                      <a:pt x="1227" y="368"/>
                    </a:cubicBezTo>
                    <a:cubicBezTo>
                      <a:pt x="1227" y="374"/>
                      <a:pt x="1227" y="374"/>
                      <a:pt x="1227" y="374"/>
                    </a:cubicBezTo>
                    <a:cubicBezTo>
                      <a:pt x="1227" y="374"/>
                      <a:pt x="1224" y="374"/>
                      <a:pt x="1224" y="375"/>
                    </a:cubicBezTo>
                    <a:cubicBezTo>
                      <a:pt x="1224" y="375"/>
                      <a:pt x="1224" y="377"/>
                      <a:pt x="1224" y="378"/>
                    </a:cubicBezTo>
                    <a:cubicBezTo>
                      <a:pt x="1221" y="382"/>
                      <a:pt x="1221" y="382"/>
                      <a:pt x="1221" y="382"/>
                    </a:cubicBezTo>
                    <a:cubicBezTo>
                      <a:pt x="1220" y="382"/>
                      <a:pt x="1219" y="382"/>
                      <a:pt x="1217" y="383"/>
                    </a:cubicBezTo>
                    <a:cubicBezTo>
                      <a:pt x="1216" y="384"/>
                      <a:pt x="1217" y="385"/>
                      <a:pt x="1216" y="387"/>
                    </a:cubicBezTo>
                    <a:cubicBezTo>
                      <a:pt x="1216" y="388"/>
                      <a:pt x="1213" y="388"/>
                      <a:pt x="1212" y="389"/>
                    </a:cubicBezTo>
                    <a:cubicBezTo>
                      <a:pt x="1212" y="389"/>
                      <a:pt x="1210" y="392"/>
                      <a:pt x="1209" y="392"/>
                    </a:cubicBezTo>
                    <a:cubicBezTo>
                      <a:pt x="1209" y="393"/>
                      <a:pt x="1210" y="394"/>
                      <a:pt x="1209" y="394"/>
                    </a:cubicBezTo>
                    <a:cubicBezTo>
                      <a:pt x="1208" y="396"/>
                      <a:pt x="1203" y="399"/>
                      <a:pt x="1201" y="401"/>
                    </a:cubicBezTo>
                    <a:cubicBezTo>
                      <a:pt x="1201" y="402"/>
                      <a:pt x="1200" y="404"/>
                      <a:pt x="1199" y="405"/>
                    </a:cubicBezTo>
                    <a:cubicBezTo>
                      <a:pt x="1197" y="406"/>
                      <a:pt x="1196" y="404"/>
                      <a:pt x="1195" y="404"/>
                    </a:cubicBezTo>
                    <a:cubicBezTo>
                      <a:pt x="1193" y="404"/>
                      <a:pt x="1193" y="408"/>
                      <a:pt x="1191" y="408"/>
                    </a:cubicBezTo>
                    <a:cubicBezTo>
                      <a:pt x="1190" y="408"/>
                      <a:pt x="1185" y="408"/>
                      <a:pt x="1184" y="408"/>
                    </a:cubicBezTo>
                    <a:cubicBezTo>
                      <a:pt x="1184" y="409"/>
                      <a:pt x="1184" y="409"/>
                      <a:pt x="1184" y="409"/>
                    </a:cubicBezTo>
                    <a:cubicBezTo>
                      <a:pt x="1184" y="410"/>
                      <a:pt x="1186" y="411"/>
                      <a:pt x="1187" y="411"/>
                    </a:cubicBezTo>
                    <a:cubicBezTo>
                      <a:pt x="1186" y="415"/>
                      <a:pt x="1185" y="418"/>
                      <a:pt x="1185" y="422"/>
                    </a:cubicBezTo>
                    <a:cubicBezTo>
                      <a:pt x="1180" y="422"/>
                      <a:pt x="1182" y="423"/>
                      <a:pt x="1179" y="425"/>
                    </a:cubicBezTo>
                    <a:cubicBezTo>
                      <a:pt x="1178" y="425"/>
                      <a:pt x="1177" y="425"/>
                      <a:pt x="1177" y="425"/>
                    </a:cubicBezTo>
                    <a:cubicBezTo>
                      <a:pt x="1176" y="428"/>
                      <a:pt x="1177" y="430"/>
                      <a:pt x="1176" y="433"/>
                    </a:cubicBezTo>
                    <a:cubicBezTo>
                      <a:pt x="1176" y="434"/>
                      <a:pt x="1174" y="437"/>
                      <a:pt x="1174" y="438"/>
                    </a:cubicBezTo>
                    <a:cubicBezTo>
                      <a:pt x="1173" y="443"/>
                      <a:pt x="1173" y="448"/>
                      <a:pt x="1174" y="452"/>
                    </a:cubicBezTo>
                    <a:cubicBezTo>
                      <a:pt x="1175" y="455"/>
                      <a:pt x="1177" y="458"/>
                      <a:pt x="1178" y="461"/>
                    </a:cubicBezTo>
                    <a:cubicBezTo>
                      <a:pt x="1178" y="466"/>
                      <a:pt x="1177" y="471"/>
                      <a:pt x="1178" y="477"/>
                    </a:cubicBezTo>
                    <a:cubicBezTo>
                      <a:pt x="1178" y="477"/>
                      <a:pt x="1179" y="484"/>
                      <a:pt x="1179" y="485"/>
                    </a:cubicBezTo>
                    <a:cubicBezTo>
                      <a:pt x="1179" y="486"/>
                      <a:pt x="1181" y="487"/>
                      <a:pt x="1181" y="489"/>
                    </a:cubicBezTo>
                    <a:cubicBezTo>
                      <a:pt x="1183" y="492"/>
                      <a:pt x="1181" y="495"/>
                      <a:pt x="1181" y="499"/>
                    </a:cubicBezTo>
                    <a:cubicBezTo>
                      <a:pt x="1181" y="499"/>
                      <a:pt x="1183" y="500"/>
                      <a:pt x="1183" y="501"/>
                    </a:cubicBezTo>
                    <a:cubicBezTo>
                      <a:pt x="1184" y="502"/>
                      <a:pt x="1183" y="503"/>
                      <a:pt x="1183" y="504"/>
                    </a:cubicBezTo>
                    <a:cubicBezTo>
                      <a:pt x="1184" y="504"/>
                      <a:pt x="1185" y="504"/>
                      <a:pt x="1185" y="504"/>
                    </a:cubicBezTo>
                    <a:cubicBezTo>
                      <a:pt x="1186" y="504"/>
                      <a:pt x="1197" y="493"/>
                      <a:pt x="1197" y="493"/>
                    </a:cubicBezTo>
                    <a:cubicBezTo>
                      <a:pt x="1199" y="489"/>
                      <a:pt x="1196" y="485"/>
                      <a:pt x="1198" y="481"/>
                    </a:cubicBezTo>
                    <a:cubicBezTo>
                      <a:pt x="1198" y="481"/>
                      <a:pt x="1200" y="481"/>
                      <a:pt x="1200" y="481"/>
                    </a:cubicBezTo>
                    <a:cubicBezTo>
                      <a:pt x="1201" y="481"/>
                      <a:pt x="1202" y="479"/>
                      <a:pt x="1203" y="479"/>
                    </a:cubicBezTo>
                    <a:cubicBezTo>
                      <a:pt x="1205" y="478"/>
                      <a:pt x="1207" y="479"/>
                      <a:pt x="1209" y="479"/>
                    </a:cubicBezTo>
                    <a:cubicBezTo>
                      <a:pt x="1209" y="477"/>
                      <a:pt x="1209" y="477"/>
                      <a:pt x="1209" y="477"/>
                    </a:cubicBezTo>
                    <a:cubicBezTo>
                      <a:pt x="1208" y="476"/>
                      <a:pt x="1207" y="471"/>
                      <a:pt x="1208" y="468"/>
                    </a:cubicBezTo>
                    <a:cubicBezTo>
                      <a:pt x="1208" y="468"/>
                      <a:pt x="1213" y="461"/>
                      <a:pt x="1213" y="461"/>
                    </a:cubicBezTo>
                    <a:cubicBezTo>
                      <a:pt x="1217" y="457"/>
                      <a:pt x="1220" y="457"/>
                      <a:pt x="1225" y="459"/>
                    </a:cubicBezTo>
                    <a:cubicBezTo>
                      <a:pt x="1226" y="458"/>
                      <a:pt x="1227" y="455"/>
                      <a:pt x="1228" y="455"/>
                    </a:cubicBezTo>
                    <a:cubicBezTo>
                      <a:pt x="1229" y="455"/>
                      <a:pt x="1229" y="455"/>
                      <a:pt x="1229" y="455"/>
                    </a:cubicBezTo>
                    <a:cubicBezTo>
                      <a:pt x="1229" y="454"/>
                      <a:pt x="1230" y="453"/>
                      <a:pt x="1229" y="452"/>
                    </a:cubicBezTo>
                    <a:cubicBezTo>
                      <a:pt x="1229" y="451"/>
                      <a:pt x="1225" y="448"/>
                      <a:pt x="1224" y="447"/>
                    </a:cubicBezTo>
                    <a:cubicBezTo>
                      <a:pt x="1225" y="444"/>
                      <a:pt x="1226" y="439"/>
                      <a:pt x="1226" y="436"/>
                    </a:cubicBezTo>
                    <a:cubicBezTo>
                      <a:pt x="1228" y="435"/>
                      <a:pt x="1229" y="435"/>
                      <a:pt x="1231" y="435"/>
                    </a:cubicBezTo>
                    <a:cubicBezTo>
                      <a:pt x="1231" y="435"/>
                      <a:pt x="1232" y="433"/>
                      <a:pt x="1233" y="433"/>
                    </a:cubicBezTo>
                    <a:cubicBezTo>
                      <a:pt x="1234" y="433"/>
                      <a:pt x="1236" y="434"/>
                      <a:pt x="1237" y="435"/>
                    </a:cubicBezTo>
                    <a:cubicBezTo>
                      <a:pt x="1238" y="434"/>
                      <a:pt x="1238" y="433"/>
                      <a:pt x="1239" y="433"/>
                    </a:cubicBezTo>
                    <a:cubicBezTo>
                      <a:pt x="1239" y="431"/>
                      <a:pt x="1239" y="430"/>
                      <a:pt x="1239" y="428"/>
                    </a:cubicBezTo>
                    <a:cubicBezTo>
                      <a:pt x="1237" y="428"/>
                      <a:pt x="1236" y="428"/>
                      <a:pt x="1234" y="429"/>
                    </a:cubicBezTo>
                    <a:cubicBezTo>
                      <a:pt x="1234" y="428"/>
                      <a:pt x="1234" y="427"/>
                      <a:pt x="1234" y="426"/>
                    </a:cubicBezTo>
                    <a:cubicBezTo>
                      <a:pt x="1234" y="425"/>
                      <a:pt x="1231" y="424"/>
                      <a:pt x="1231" y="423"/>
                    </a:cubicBezTo>
                    <a:cubicBezTo>
                      <a:pt x="1231" y="421"/>
                      <a:pt x="1232" y="420"/>
                      <a:pt x="1233" y="419"/>
                    </a:cubicBezTo>
                    <a:cubicBezTo>
                      <a:pt x="1233" y="418"/>
                      <a:pt x="1233" y="416"/>
                      <a:pt x="1233" y="415"/>
                    </a:cubicBezTo>
                    <a:cubicBezTo>
                      <a:pt x="1234" y="414"/>
                      <a:pt x="1235" y="414"/>
                      <a:pt x="1236" y="413"/>
                    </a:cubicBezTo>
                    <a:cubicBezTo>
                      <a:pt x="1237" y="413"/>
                      <a:pt x="1238" y="409"/>
                      <a:pt x="1238" y="409"/>
                    </a:cubicBezTo>
                    <a:cubicBezTo>
                      <a:pt x="1238" y="409"/>
                      <a:pt x="1238" y="407"/>
                      <a:pt x="1238" y="407"/>
                    </a:cubicBezTo>
                    <a:cubicBezTo>
                      <a:pt x="1236" y="406"/>
                      <a:pt x="1235" y="406"/>
                      <a:pt x="1232" y="405"/>
                    </a:cubicBezTo>
                    <a:cubicBezTo>
                      <a:pt x="1232" y="406"/>
                      <a:pt x="1232" y="406"/>
                      <a:pt x="1232" y="406"/>
                    </a:cubicBezTo>
                    <a:cubicBezTo>
                      <a:pt x="1231" y="406"/>
                      <a:pt x="1230" y="405"/>
                      <a:pt x="1230" y="405"/>
                    </a:cubicBezTo>
                    <a:cubicBezTo>
                      <a:pt x="1228" y="398"/>
                      <a:pt x="1229" y="395"/>
                      <a:pt x="1234" y="391"/>
                    </a:cubicBezTo>
                    <a:cubicBezTo>
                      <a:pt x="1234" y="391"/>
                      <a:pt x="1236" y="390"/>
                      <a:pt x="1236" y="389"/>
                    </a:cubicBezTo>
                    <a:cubicBezTo>
                      <a:pt x="1236" y="389"/>
                      <a:pt x="1236" y="388"/>
                      <a:pt x="1236" y="388"/>
                    </a:cubicBezTo>
                    <a:cubicBezTo>
                      <a:pt x="1237" y="387"/>
                      <a:pt x="1238" y="388"/>
                      <a:pt x="1239" y="387"/>
                    </a:cubicBezTo>
                    <a:cubicBezTo>
                      <a:pt x="1239" y="386"/>
                      <a:pt x="1238" y="384"/>
                      <a:pt x="1239" y="384"/>
                    </a:cubicBezTo>
                    <a:cubicBezTo>
                      <a:pt x="1239" y="384"/>
                      <a:pt x="1241" y="384"/>
                      <a:pt x="1241" y="384"/>
                    </a:cubicBezTo>
                    <a:cubicBezTo>
                      <a:pt x="1241" y="382"/>
                      <a:pt x="1239" y="382"/>
                      <a:pt x="1240" y="380"/>
                    </a:cubicBezTo>
                    <a:cubicBezTo>
                      <a:pt x="1241" y="380"/>
                      <a:pt x="1241" y="380"/>
                      <a:pt x="1241" y="380"/>
                    </a:cubicBezTo>
                    <a:cubicBezTo>
                      <a:pt x="1243" y="379"/>
                      <a:pt x="1243" y="376"/>
                      <a:pt x="1244" y="374"/>
                    </a:cubicBezTo>
                    <a:cubicBezTo>
                      <a:pt x="1244" y="374"/>
                      <a:pt x="1246" y="374"/>
                      <a:pt x="1246" y="374"/>
                    </a:cubicBezTo>
                    <a:cubicBezTo>
                      <a:pt x="1246" y="374"/>
                      <a:pt x="1247" y="376"/>
                      <a:pt x="1247" y="376"/>
                    </a:cubicBezTo>
                    <a:cubicBezTo>
                      <a:pt x="1249" y="377"/>
                      <a:pt x="1249" y="375"/>
                      <a:pt x="1251" y="376"/>
                    </a:cubicBezTo>
                    <a:cubicBezTo>
                      <a:pt x="1252" y="376"/>
                      <a:pt x="1252" y="377"/>
                      <a:pt x="1253" y="378"/>
                    </a:cubicBezTo>
                    <a:cubicBezTo>
                      <a:pt x="1253" y="378"/>
                      <a:pt x="1254" y="377"/>
                      <a:pt x="1255" y="378"/>
                    </a:cubicBezTo>
                    <a:cubicBezTo>
                      <a:pt x="1255" y="377"/>
                      <a:pt x="1255" y="375"/>
                      <a:pt x="1255" y="374"/>
                    </a:cubicBezTo>
                    <a:cubicBezTo>
                      <a:pt x="1255" y="374"/>
                      <a:pt x="1262" y="371"/>
                      <a:pt x="1263" y="370"/>
                    </a:cubicBezTo>
                    <a:cubicBezTo>
                      <a:pt x="1263" y="370"/>
                      <a:pt x="1265" y="367"/>
                      <a:pt x="1265" y="367"/>
                    </a:cubicBezTo>
                    <a:cubicBezTo>
                      <a:pt x="1268" y="365"/>
                      <a:pt x="1264" y="372"/>
                      <a:pt x="1264" y="374"/>
                    </a:cubicBezTo>
                    <a:cubicBezTo>
                      <a:pt x="1264" y="378"/>
                      <a:pt x="1265" y="380"/>
                      <a:pt x="1269" y="378"/>
                    </a:cubicBezTo>
                    <a:cubicBezTo>
                      <a:pt x="1274" y="371"/>
                      <a:pt x="1274" y="371"/>
                      <a:pt x="1274" y="371"/>
                    </a:cubicBezTo>
                    <a:cubicBezTo>
                      <a:pt x="1274" y="370"/>
                      <a:pt x="1274" y="369"/>
                      <a:pt x="1274" y="368"/>
                    </a:cubicBezTo>
                    <a:cubicBezTo>
                      <a:pt x="1275" y="367"/>
                      <a:pt x="1275" y="368"/>
                      <a:pt x="1276" y="368"/>
                    </a:cubicBezTo>
                    <a:cubicBezTo>
                      <a:pt x="1276" y="368"/>
                      <a:pt x="1276" y="367"/>
                      <a:pt x="1277" y="367"/>
                    </a:cubicBezTo>
                    <a:cubicBezTo>
                      <a:pt x="1277" y="367"/>
                      <a:pt x="1278" y="367"/>
                      <a:pt x="1279" y="367"/>
                    </a:cubicBezTo>
                    <a:cubicBezTo>
                      <a:pt x="1279" y="367"/>
                      <a:pt x="1280" y="364"/>
                      <a:pt x="1283" y="364"/>
                    </a:cubicBezTo>
                    <a:cubicBezTo>
                      <a:pt x="1285" y="364"/>
                      <a:pt x="1289" y="368"/>
                      <a:pt x="1290" y="369"/>
                    </a:cubicBezTo>
                    <a:cubicBezTo>
                      <a:pt x="1292" y="370"/>
                      <a:pt x="1293" y="368"/>
                      <a:pt x="1294" y="370"/>
                    </a:cubicBezTo>
                    <a:cubicBezTo>
                      <a:pt x="1294" y="370"/>
                      <a:pt x="1293" y="373"/>
                      <a:pt x="1294" y="374"/>
                    </a:cubicBezTo>
                    <a:cubicBezTo>
                      <a:pt x="1294" y="374"/>
                      <a:pt x="1300" y="377"/>
                      <a:pt x="1301" y="378"/>
                    </a:cubicBezTo>
                    <a:cubicBezTo>
                      <a:pt x="1302" y="376"/>
                      <a:pt x="1302" y="372"/>
                      <a:pt x="1303" y="370"/>
                    </a:cubicBezTo>
                    <a:cubicBezTo>
                      <a:pt x="1304" y="369"/>
                      <a:pt x="1306" y="368"/>
                      <a:pt x="1306" y="368"/>
                    </a:cubicBezTo>
                    <a:cubicBezTo>
                      <a:pt x="1306" y="366"/>
                      <a:pt x="1306" y="366"/>
                      <a:pt x="1306" y="366"/>
                    </a:cubicBezTo>
                    <a:cubicBezTo>
                      <a:pt x="1308" y="365"/>
                      <a:pt x="1310" y="366"/>
                      <a:pt x="1311" y="365"/>
                    </a:cubicBezTo>
                    <a:cubicBezTo>
                      <a:pt x="1312" y="364"/>
                      <a:pt x="1312" y="362"/>
                      <a:pt x="1312" y="362"/>
                    </a:cubicBezTo>
                    <a:cubicBezTo>
                      <a:pt x="1311" y="361"/>
                      <a:pt x="1311" y="361"/>
                      <a:pt x="1311" y="361"/>
                    </a:cubicBezTo>
                    <a:cubicBezTo>
                      <a:pt x="1313" y="360"/>
                      <a:pt x="1315" y="360"/>
                      <a:pt x="1315" y="360"/>
                    </a:cubicBezTo>
                    <a:cubicBezTo>
                      <a:pt x="1315" y="360"/>
                      <a:pt x="1317" y="361"/>
                      <a:pt x="1318" y="360"/>
                    </a:cubicBezTo>
                    <a:cubicBezTo>
                      <a:pt x="1319" y="360"/>
                      <a:pt x="1320" y="358"/>
                      <a:pt x="1320" y="357"/>
                    </a:cubicBezTo>
                    <a:cubicBezTo>
                      <a:pt x="1320" y="356"/>
                      <a:pt x="1319" y="356"/>
                      <a:pt x="1318" y="354"/>
                    </a:cubicBezTo>
                    <a:cubicBezTo>
                      <a:pt x="1324" y="357"/>
                      <a:pt x="1327" y="357"/>
                      <a:pt x="1325" y="350"/>
                    </a:cubicBezTo>
                    <a:cubicBezTo>
                      <a:pt x="1327" y="351"/>
                      <a:pt x="1328" y="351"/>
                      <a:pt x="1330" y="352"/>
                    </a:cubicBezTo>
                    <a:cubicBezTo>
                      <a:pt x="1331" y="351"/>
                      <a:pt x="1332" y="350"/>
                      <a:pt x="1333" y="349"/>
                    </a:cubicBezTo>
                    <a:close/>
                    <a:moveTo>
                      <a:pt x="335" y="0"/>
                    </a:moveTo>
                    <a:cubicBezTo>
                      <a:pt x="335" y="2"/>
                      <a:pt x="335" y="2"/>
                      <a:pt x="335" y="2"/>
                    </a:cubicBezTo>
                    <a:cubicBezTo>
                      <a:pt x="337" y="2"/>
                      <a:pt x="341" y="2"/>
                      <a:pt x="341" y="2"/>
                    </a:cubicBezTo>
                    <a:cubicBezTo>
                      <a:pt x="343" y="3"/>
                      <a:pt x="341" y="0"/>
                      <a:pt x="341" y="0"/>
                    </a:cubicBezTo>
                    <a:cubicBezTo>
                      <a:pt x="340" y="0"/>
                      <a:pt x="337" y="0"/>
                      <a:pt x="335" y="0"/>
                    </a:cubicBezTo>
                    <a:close/>
                    <a:moveTo>
                      <a:pt x="327" y="5"/>
                    </a:moveTo>
                    <a:cubicBezTo>
                      <a:pt x="327" y="5"/>
                      <a:pt x="327" y="8"/>
                      <a:pt x="327" y="9"/>
                    </a:cubicBezTo>
                    <a:cubicBezTo>
                      <a:pt x="328" y="9"/>
                      <a:pt x="327" y="9"/>
                      <a:pt x="328" y="10"/>
                    </a:cubicBezTo>
                    <a:cubicBezTo>
                      <a:pt x="329" y="10"/>
                      <a:pt x="335" y="9"/>
                      <a:pt x="331" y="7"/>
                    </a:cubicBezTo>
                    <a:cubicBezTo>
                      <a:pt x="330" y="7"/>
                      <a:pt x="328" y="6"/>
                      <a:pt x="327" y="5"/>
                    </a:cubicBezTo>
                    <a:close/>
                    <a:moveTo>
                      <a:pt x="318" y="9"/>
                    </a:moveTo>
                    <a:cubicBezTo>
                      <a:pt x="318" y="9"/>
                      <a:pt x="317" y="12"/>
                      <a:pt x="317" y="13"/>
                    </a:cubicBezTo>
                    <a:cubicBezTo>
                      <a:pt x="305" y="13"/>
                      <a:pt x="314" y="16"/>
                      <a:pt x="319" y="15"/>
                    </a:cubicBezTo>
                    <a:cubicBezTo>
                      <a:pt x="320" y="14"/>
                      <a:pt x="323" y="12"/>
                      <a:pt x="324" y="12"/>
                    </a:cubicBezTo>
                    <a:cubicBezTo>
                      <a:pt x="324" y="11"/>
                      <a:pt x="324" y="11"/>
                      <a:pt x="324" y="11"/>
                    </a:cubicBezTo>
                    <a:cubicBezTo>
                      <a:pt x="323" y="11"/>
                      <a:pt x="321" y="11"/>
                      <a:pt x="320" y="11"/>
                    </a:cubicBezTo>
                    <a:cubicBezTo>
                      <a:pt x="319" y="10"/>
                      <a:pt x="320" y="9"/>
                      <a:pt x="318" y="9"/>
                    </a:cubicBezTo>
                    <a:close/>
                    <a:moveTo>
                      <a:pt x="334" y="11"/>
                    </a:moveTo>
                    <a:cubicBezTo>
                      <a:pt x="334" y="11"/>
                      <a:pt x="332" y="13"/>
                      <a:pt x="334" y="13"/>
                    </a:cubicBezTo>
                    <a:cubicBezTo>
                      <a:pt x="336" y="13"/>
                      <a:pt x="338" y="10"/>
                      <a:pt x="334" y="11"/>
                    </a:cubicBezTo>
                    <a:close/>
                    <a:moveTo>
                      <a:pt x="325" y="14"/>
                    </a:moveTo>
                    <a:cubicBezTo>
                      <a:pt x="325" y="14"/>
                      <a:pt x="323" y="16"/>
                      <a:pt x="323" y="16"/>
                    </a:cubicBezTo>
                    <a:cubicBezTo>
                      <a:pt x="323" y="16"/>
                      <a:pt x="325" y="16"/>
                      <a:pt x="325" y="17"/>
                    </a:cubicBezTo>
                    <a:cubicBezTo>
                      <a:pt x="326" y="16"/>
                      <a:pt x="326" y="14"/>
                      <a:pt x="327" y="14"/>
                    </a:cubicBezTo>
                    <a:cubicBezTo>
                      <a:pt x="326" y="14"/>
                      <a:pt x="325" y="14"/>
                      <a:pt x="325" y="14"/>
                    </a:cubicBezTo>
                    <a:close/>
                    <a:moveTo>
                      <a:pt x="331" y="19"/>
                    </a:moveTo>
                    <a:cubicBezTo>
                      <a:pt x="332" y="19"/>
                      <a:pt x="332" y="21"/>
                      <a:pt x="333" y="21"/>
                    </a:cubicBezTo>
                    <a:cubicBezTo>
                      <a:pt x="334" y="22"/>
                      <a:pt x="333" y="19"/>
                      <a:pt x="333" y="19"/>
                    </a:cubicBezTo>
                    <a:cubicBezTo>
                      <a:pt x="333" y="19"/>
                      <a:pt x="332" y="19"/>
                      <a:pt x="331" y="19"/>
                    </a:cubicBezTo>
                    <a:close/>
                    <a:moveTo>
                      <a:pt x="306" y="19"/>
                    </a:moveTo>
                    <a:cubicBezTo>
                      <a:pt x="307" y="20"/>
                      <a:pt x="305" y="20"/>
                      <a:pt x="308" y="22"/>
                    </a:cubicBezTo>
                    <a:cubicBezTo>
                      <a:pt x="308" y="23"/>
                      <a:pt x="308" y="23"/>
                      <a:pt x="308" y="23"/>
                    </a:cubicBezTo>
                    <a:cubicBezTo>
                      <a:pt x="309" y="22"/>
                      <a:pt x="312" y="22"/>
                      <a:pt x="311" y="22"/>
                    </a:cubicBezTo>
                    <a:cubicBezTo>
                      <a:pt x="313" y="23"/>
                      <a:pt x="312" y="20"/>
                      <a:pt x="310" y="19"/>
                    </a:cubicBezTo>
                    <a:cubicBezTo>
                      <a:pt x="309" y="19"/>
                      <a:pt x="307" y="19"/>
                      <a:pt x="306" y="19"/>
                    </a:cubicBezTo>
                    <a:close/>
                    <a:moveTo>
                      <a:pt x="319" y="19"/>
                    </a:moveTo>
                    <a:cubicBezTo>
                      <a:pt x="320" y="20"/>
                      <a:pt x="320" y="22"/>
                      <a:pt x="321" y="22"/>
                    </a:cubicBezTo>
                    <a:cubicBezTo>
                      <a:pt x="322" y="23"/>
                      <a:pt x="324" y="22"/>
                      <a:pt x="325" y="23"/>
                    </a:cubicBezTo>
                    <a:cubicBezTo>
                      <a:pt x="326" y="24"/>
                      <a:pt x="326" y="25"/>
                      <a:pt x="327" y="25"/>
                    </a:cubicBezTo>
                    <a:cubicBezTo>
                      <a:pt x="328" y="25"/>
                      <a:pt x="328" y="25"/>
                      <a:pt x="329" y="25"/>
                    </a:cubicBezTo>
                    <a:cubicBezTo>
                      <a:pt x="335" y="21"/>
                      <a:pt x="322" y="20"/>
                      <a:pt x="319" y="19"/>
                    </a:cubicBezTo>
                    <a:close/>
                    <a:moveTo>
                      <a:pt x="315" y="20"/>
                    </a:moveTo>
                    <a:cubicBezTo>
                      <a:pt x="313" y="23"/>
                      <a:pt x="313" y="23"/>
                      <a:pt x="313" y="23"/>
                    </a:cubicBezTo>
                    <a:cubicBezTo>
                      <a:pt x="314" y="23"/>
                      <a:pt x="314" y="24"/>
                      <a:pt x="314" y="25"/>
                    </a:cubicBezTo>
                    <a:cubicBezTo>
                      <a:pt x="315" y="24"/>
                      <a:pt x="316" y="24"/>
                      <a:pt x="316" y="24"/>
                    </a:cubicBezTo>
                    <a:cubicBezTo>
                      <a:pt x="317" y="24"/>
                      <a:pt x="317" y="26"/>
                      <a:pt x="317" y="27"/>
                    </a:cubicBezTo>
                    <a:cubicBezTo>
                      <a:pt x="319" y="27"/>
                      <a:pt x="319" y="26"/>
                      <a:pt x="320" y="26"/>
                    </a:cubicBezTo>
                    <a:cubicBezTo>
                      <a:pt x="322" y="26"/>
                      <a:pt x="324" y="28"/>
                      <a:pt x="325" y="29"/>
                    </a:cubicBezTo>
                    <a:cubicBezTo>
                      <a:pt x="327" y="29"/>
                      <a:pt x="328" y="27"/>
                      <a:pt x="329" y="27"/>
                    </a:cubicBezTo>
                    <a:cubicBezTo>
                      <a:pt x="327" y="26"/>
                      <a:pt x="323" y="25"/>
                      <a:pt x="321" y="24"/>
                    </a:cubicBezTo>
                    <a:cubicBezTo>
                      <a:pt x="320" y="23"/>
                      <a:pt x="318" y="20"/>
                      <a:pt x="317" y="20"/>
                    </a:cubicBezTo>
                    <a:cubicBezTo>
                      <a:pt x="316" y="20"/>
                      <a:pt x="315" y="20"/>
                      <a:pt x="315" y="20"/>
                    </a:cubicBezTo>
                    <a:close/>
                    <a:moveTo>
                      <a:pt x="334" y="23"/>
                    </a:moveTo>
                    <a:cubicBezTo>
                      <a:pt x="334" y="23"/>
                      <a:pt x="332" y="24"/>
                      <a:pt x="332" y="24"/>
                    </a:cubicBezTo>
                    <a:cubicBezTo>
                      <a:pt x="332" y="24"/>
                      <a:pt x="331" y="26"/>
                      <a:pt x="331" y="26"/>
                    </a:cubicBezTo>
                    <a:cubicBezTo>
                      <a:pt x="332" y="26"/>
                      <a:pt x="333" y="27"/>
                      <a:pt x="334" y="27"/>
                    </a:cubicBezTo>
                    <a:cubicBezTo>
                      <a:pt x="334" y="27"/>
                      <a:pt x="337" y="22"/>
                      <a:pt x="334" y="23"/>
                    </a:cubicBezTo>
                    <a:close/>
                    <a:moveTo>
                      <a:pt x="306" y="26"/>
                    </a:moveTo>
                    <a:cubicBezTo>
                      <a:pt x="306" y="26"/>
                      <a:pt x="305" y="27"/>
                      <a:pt x="305" y="27"/>
                    </a:cubicBezTo>
                    <a:cubicBezTo>
                      <a:pt x="303" y="29"/>
                      <a:pt x="306" y="27"/>
                      <a:pt x="307" y="28"/>
                    </a:cubicBezTo>
                    <a:cubicBezTo>
                      <a:pt x="309" y="28"/>
                      <a:pt x="307" y="30"/>
                      <a:pt x="309" y="30"/>
                    </a:cubicBezTo>
                    <a:cubicBezTo>
                      <a:pt x="310" y="29"/>
                      <a:pt x="310" y="29"/>
                      <a:pt x="310" y="29"/>
                    </a:cubicBezTo>
                    <a:cubicBezTo>
                      <a:pt x="311" y="28"/>
                      <a:pt x="313" y="29"/>
                      <a:pt x="313" y="29"/>
                    </a:cubicBezTo>
                    <a:cubicBezTo>
                      <a:pt x="313" y="27"/>
                      <a:pt x="313" y="27"/>
                      <a:pt x="313" y="27"/>
                    </a:cubicBezTo>
                    <a:cubicBezTo>
                      <a:pt x="312" y="27"/>
                      <a:pt x="307" y="26"/>
                      <a:pt x="306" y="26"/>
                    </a:cubicBezTo>
                    <a:close/>
                    <a:moveTo>
                      <a:pt x="391" y="26"/>
                    </a:moveTo>
                    <a:cubicBezTo>
                      <a:pt x="389" y="26"/>
                      <a:pt x="387" y="30"/>
                      <a:pt x="385" y="31"/>
                    </a:cubicBezTo>
                    <a:cubicBezTo>
                      <a:pt x="383" y="31"/>
                      <a:pt x="381" y="30"/>
                      <a:pt x="379" y="31"/>
                    </a:cubicBezTo>
                    <a:cubicBezTo>
                      <a:pt x="379" y="31"/>
                      <a:pt x="381" y="33"/>
                      <a:pt x="381" y="33"/>
                    </a:cubicBezTo>
                    <a:cubicBezTo>
                      <a:pt x="380" y="33"/>
                      <a:pt x="379" y="33"/>
                      <a:pt x="378" y="33"/>
                    </a:cubicBezTo>
                    <a:cubicBezTo>
                      <a:pt x="378" y="33"/>
                      <a:pt x="378" y="35"/>
                      <a:pt x="378" y="35"/>
                    </a:cubicBezTo>
                    <a:cubicBezTo>
                      <a:pt x="378" y="36"/>
                      <a:pt x="379" y="35"/>
                      <a:pt x="380" y="36"/>
                    </a:cubicBezTo>
                    <a:cubicBezTo>
                      <a:pt x="381" y="37"/>
                      <a:pt x="381" y="39"/>
                      <a:pt x="382" y="39"/>
                    </a:cubicBezTo>
                    <a:cubicBezTo>
                      <a:pt x="383" y="40"/>
                      <a:pt x="384" y="39"/>
                      <a:pt x="385" y="40"/>
                    </a:cubicBezTo>
                    <a:cubicBezTo>
                      <a:pt x="386" y="38"/>
                      <a:pt x="388" y="35"/>
                      <a:pt x="390" y="35"/>
                    </a:cubicBezTo>
                    <a:cubicBezTo>
                      <a:pt x="391" y="34"/>
                      <a:pt x="393" y="35"/>
                      <a:pt x="394" y="35"/>
                    </a:cubicBezTo>
                    <a:cubicBezTo>
                      <a:pt x="395" y="34"/>
                      <a:pt x="395" y="31"/>
                      <a:pt x="397" y="31"/>
                    </a:cubicBezTo>
                    <a:cubicBezTo>
                      <a:pt x="397" y="30"/>
                      <a:pt x="398" y="31"/>
                      <a:pt x="399" y="31"/>
                    </a:cubicBezTo>
                    <a:cubicBezTo>
                      <a:pt x="399" y="30"/>
                      <a:pt x="399" y="28"/>
                      <a:pt x="399" y="28"/>
                    </a:cubicBezTo>
                    <a:cubicBezTo>
                      <a:pt x="397" y="27"/>
                      <a:pt x="394" y="25"/>
                      <a:pt x="391" y="26"/>
                    </a:cubicBezTo>
                    <a:close/>
                    <a:moveTo>
                      <a:pt x="319" y="28"/>
                    </a:moveTo>
                    <a:cubicBezTo>
                      <a:pt x="318" y="28"/>
                      <a:pt x="316" y="29"/>
                      <a:pt x="315" y="29"/>
                    </a:cubicBezTo>
                    <a:cubicBezTo>
                      <a:pt x="315" y="29"/>
                      <a:pt x="315" y="32"/>
                      <a:pt x="315" y="32"/>
                    </a:cubicBezTo>
                    <a:cubicBezTo>
                      <a:pt x="316" y="32"/>
                      <a:pt x="319" y="30"/>
                      <a:pt x="320" y="31"/>
                    </a:cubicBezTo>
                    <a:cubicBezTo>
                      <a:pt x="320" y="31"/>
                      <a:pt x="322" y="33"/>
                      <a:pt x="323" y="33"/>
                    </a:cubicBezTo>
                    <a:cubicBezTo>
                      <a:pt x="326" y="32"/>
                      <a:pt x="324" y="30"/>
                      <a:pt x="324" y="29"/>
                    </a:cubicBezTo>
                    <a:cubicBezTo>
                      <a:pt x="324" y="29"/>
                      <a:pt x="324" y="29"/>
                      <a:pt x="324" y="29"/>
                    </a:cubicBezTo>
                    <a:cubicBezTo>
                      <a:pt x="322" y="28"/>
                      <a:pt x="320" y="28"/>
                      <a:pt x="319" y="28"/>
                    </a:cubicBezTo>
                    <a:close/>
                    <a:moveTo>
                      <a:pt x="661" y="30"/>
                    </a:moveTo>
                    <a:cubicBezTo>
                      <a:pt x="659" y="33"/>
                      <a:pt x="658" y="34"/>
                      <a:pt x="654" y="35"/>
                    </a:cubicBezTo>
                    <a:cubicBezTo>
                      <a:pt x="652" y="37"/>
                      <a:pt x="652" y="37"/>
                      <a:pt x="652" y="37"/>
                    </a:cubicBezTo>
                    <a:cubicBezTo>
                      <a:pt x="651" y="37"/>
                      <a:pt x="651" y="35"/>
                      <a:pt x="650" y="36"/>
                    </a:cubicBezTo>
                    <a:cubicBezTo>
                      <a:pt x="649" y="36"/>
                      <a:pt x="650" y="37"/>
                      <a:pt x="650" y="38"/>
                    </a:cubicBezTo>
                    <a:cubicBezTo>
                      <a:pt x="646" y="40"/>
                      <a:pt x="646" y="40"/>
                      <a:pt x="646" y="40"/>
                    </a:cubicBezTo>
                    <a:cubicBezTo>
                      <a:pt x="646" y="41"/>
                      <a:pt x="647" y="43"/>
                      <a:pt x="647" y="42"/>
                    </a:cubicBezTo>
                    <a:cubicBezTo>
                      <a:pt x="647" y="43"/>
                      <a:pt x="647" y="44"/>
                      <a:pt x="647" y="44"/>
                    </a:cubicBezTo>
                    <a:cubicBezTo>
                      <a:pt x="645" y="46"/>
                      <a:pt x="642" y="45"/>
                      <a:pt x="639" y="46"/>
                    </a:cubicBezTo>
                    <a:cubicBezTo>
                      <a:pt x="638" y="46"/>
                      <a:pt x="636" y="49"/>
                      <a:pt x="635" y="49"/>
                    </a:cubicBezTo>
                    <a:cubicBezTo>
                      <a:pt x="637" y="49"/>
                      <a:pt x="640" y="49"/>
                      <a:pt x="642" y="49"/>
                    </a:cubicBezTo>
                    <a:cubicBezTo>
                      <a:pt x="642" y="49"/>
                      <a:pt x="642" y="51"/>
                      <a:pt x="642" y="51"/>
                    </a:cubicBezTo>
                    <a:cubicBezTo>
                      <a:pt x="651" y="54"/>
                      <a:pt x="651" y="54"/>
                      <a:pt x="651" y="54"/>
                    </a:cubicBezTo>
                    <a:cubicBezTo>
                      <a:pt x="655" y="54"/>
                      <a:pt x="657" y="51"/>
                      <a:pt x="660" y="50"/>
                    </a:cubicBezTo>
                    <a:cubicBezTo>
                      <a:pt x="660" y="50"/>
                      <a:pt x="662" y="51"/>
                      <a:pt x="661" y="51"/>
                    </a:cubicBezTo>
                    <a:cubicBezTo>
                      <a:pt x="664" y="52"/>
                      <a:pt x="665" y="51"/>
                      <a:pt x="668" y="52"/>
                    </a:cubicBezTo>
                    <a:cubicBezTo>
                      <a:pt x="666" y="52"/>
                      <a:pt x="663" y="54"/>
                      <a:pt x="662" y="54"/>
                    </a:cubicBezTo>
                    <a:cubicBezTo>
                      <a:pt x="660" y="55"/>
                      <a:pt x="660" y="53"/>
                      <a:pt x="658" y="54"/>
                    </a:cubicBezTo>
                    <a:cubicBezTo>
                      <a:pt x="658" y="54"/>
                      <a:pt x="657" y="56"/>
                      <a:pt x="657" y="56"/>
                    </a:cubicBezTo>
                    <a:cubicBezTo>
                      <a:pt x="656" y="57"/>
                      <a:pt x="654" y="57"/>
                      <a:pt x="652" y="58"/>
                    </a:cubicBezTo>
                    <a:cubicBezTo>
                      <a:pt x="652" y="59"/>
                      <a:pt x="653" y="60"/>
                      <a:pt x="652" y="61"/>
                    </a:cubicBezTo>
                    <a:cubicBezTo>
                      <a:pt x="646" y="62"/>
                      <a:pt x="651" y="60"/>
                      <a:pt x="646" y="63"/>
                    </a:cubicBezTo>
                    <a:cubicBezTo>
                      <a:pt x="646" y="64"/>
                      <a:pt x="645" y="63"/>
                      <a:pt x="644" y="64"/>
                    </a:cubicBezTo>
                    <a:cubicBezTo>
                      <a:pt x="644" y="64"/>
                      <a:pt x="645" y="65"/>
                      <a:pt x="644" y="66"/>
                    </a:cubicBezTo>
                    <a:cubicBezTo>
                      <a:pt x="648" y="66"/>
                      <a:pt x="649" y="65"/>
                      <a:pt x="652" y="64"/>
                    </a:cubicBezTo>
                    <a:cubicBezTo>
                      <a:pt x="653" y="66"/>
                      <a:pt x="652" y="66"/>
                      <a:pt x="652" y="67"/>
                    </a:cubicBezTo>
                    <a:cubicBezTo>
                      <a:pt x="652" y="68"/>
                      <a:pt x="653" y="67"/>
                      <a:pt x="653" y="68"/>
                    </a:cubicBezTo>
                    <a:cubicBezTo>
                      <a:pt x="655" y="68"/>
                      <a:pt x="658" y="67"/>
                      <a:pt x="660" y="67"/>
                    </a:cubicBezTo>
                    <a:cubicBezTo>
                      <a:pt x="661" y="69"/>
                      <a:pt x="661" y="69"/>
                      <a:pt x="661" y="69"/>
                    </a:cubicBezTo>
                    <a:cubicBezTo>
                      <a:pt x="662" y="69"/>
                      <a:pt x="663" y="68"/>
                      <a:pt x="664" y="68"/>
                    </a:cubicBezTo>
                    <a:cubicBezTo>
                      <a:pt x="667" y="69"/>
                      <a:pt x="675" y="73"/>
                      <a:pt x="678" y="72"/>
                    </a:cubicBezTo>
                    <a:cubicBezTo>
                      <a:pt x="678" y="70"/>
                      <a:pt x="678" y="70"/>
                      <a:pt x="678" y="70"/>
                    </a:cubicBezTo>
                    <a:cubicBezTo>
                      <a:pt x="680" y="70"/>
                      <a:pt x="680" y="70"/>
                      <a:pt x="680" y="70"/>
                    </a:cubicBezTo>
                    <a:cubicBezTo>
                      <a:pt x="681" y="70"/>
                      <a:pt x="682" y="72"/>
                      <a:pt x="683" y="72"/>
                    </a:cubicBezTo>
                    <a:cubicBezTo>
                      <a:pt x="684" y="72"/>
                      <a:pt x="684" y="71"/>
                      <a:pt x="684" y="70"/>
                    </a:cubicBezTo>
                    <a:cubicBezTo>
                      <a:pt x="687" y="69"/>
                      <a:pt x="690" y="69"/>
                      <a:pt x="692" y="68"/>
                    </a:cubicBezTo>
                    <a:cubicBezTo>
                      <a:pt x="692" y="68"/>
                      <a:pt x="693" y="67"/>
                      <a:pt x="693" y="67"/>
                    </a:cubicBezTo>
                    <a:cubicBezTo>
                      <a:pt x="692" y="67"/>
                      <a:pt x="692" y="66"/>
                      <a:pt x="692" y="65"/>
                    </a:cubicBezTo>
                    <a:cubicBezTo>
                      <a:pt x="692" y="65"/>
                      <a:pt x="694" y="65"/>
                      <a:pt x="695" y="65"/>
                    </a:cubicBezTo>
                    <a:cubicBezTo>
                      <a:pt x="697" y="61"/>
                      <a:pt x="698" y="62"/>
                      <a:pt x="695" y="58"/>
                    </a:cubicBezTo>
                    <a:cubicBezTo>
                      <a:pt x="691" y="52"/>
                      <a:pt x="691" y="56"/>
                      <a:pt x="689" y="60"/>
                    </a:cubicBezTo>
                    <a:cubicBezTo>
                      <a:pt x="687" y="60"/>
                      <a:pt x="686" y="60"/>
                      <a:pt x="684" y="60"/>
                    </a:cubicBezTo>
                    <a:cubicBezTo>
                      <a:pt x="685" y="60"/>
                      <a:pt x="686" y="60"/>
                      <a:pt x="686" y="59"/>
                    </a:cubicBezTo>
                    <a:cubicBezTo>
                      <a:pt x="687" y="58"/>
                      <a:pt x="686" y="55"/>
                      <a:pt x="686" y="55"/>
                    </a:cubicBezTo>
                    <a:cubicBezTo>
                      <a:pt x="686" y="55"/>
                      <a:pt x="686" y="53"/>
                      <a:pt x="686" y="53"/>
                    </a:cubicBezTo>
                    <a:cubicBezTo>
                      <a:pt x="684" y="52"/>
                      <a:pt x="683" y="52"/>
                      <a:pt x="680" y="51"/>
                    </a:cubicBezTo>
                    <a:cubicBezTo>
                      <a:pt x="680" y="51"/>
                      <a:pt x="679" y="53"/>
                      <a:pt x="679" y="53"/>
                    </a:cubicBezTo>
                    <a:cubicBezTo>
                      <a:pt x="677" y="54"/>
                      <a:pt x="674" y="53"/>
                      <a:pt x="672" y="53"/>
                    </a:cubicBezTo>
                    <a:cubicBezTo>
                      <a:pt x="674" y="52"/>
                      <a:pt x="674" y="52"/>
                      <a:pt x="674" y="52"/>
                    </a:cubicBezTo>
                    <a:cubicBezTo>
                      <a:pt x="680" y="50"/>
                      <a:pt x="679" y="50"/>
                      <a:pt x="680" y="44"/>
                    </a:cubicBezTo>
                    <a:cubicBezTo>
                      <a:pt x="677" y="43"/>
                      <a:pt x="673" y="41"/>
                      <a:pt x="672" y="39"/>
                    </a:cubicBezTo>
                    <a:cubicBezTo>
                      <a:pt x="671" y="38"/>
                      <a:pt x="672" y="37"/>
                      <a:pt x="671" y="37"/>
                    </a:cubicBezTo>
                    <a:cubicBezTo>
                      <a:pt x="670" y="35"/>
                      <a:pt x="667" y="35"/>
                      <a:pt x="666" y="34"/>
                    </a:cubicBezTo>
                    <a:cubicBezTo>
                      <a:pt x="666" y="34"/>
                      <a:pt x="666" y="32"/>
                      <a:pt x="666" y="32"/>
                    </a:cubicBezTo>
                    <a:cubicBezTo>
                      <a:pt x="665" y="31"/>
                      <a:pt x="664" y="31"/>
                      <a:pt x="662" y="31"/>
                    </a:cubicBezTo>
                    <a:lnTo>
                      <a:pt x="661" y="30"/>
                    </a:lnTo>
                    <a:close/>
                    <a:moveTo>
                      <a:pt x="222" y="35"/>
                    </a:moveTo>
                    <a:cubicBezTo>
                      <a:pt x="221" y="35"/>
                      <a:pt x="219" y="36"/>
                      <a:pt x="219" y="37"/>
                    </a:cubicBezTo>
                    <a:cubicBezTo>
                      <a:pt x="216" y="37"/>
                      <a:pt x="214" y="36"/>
                      <a:pt x="212" y="37"/>
                    </a:cubicBezTo>
                    <a:cubicBezTo>
                      <a:pt x="211" y="37"/>
                      <a:pt x="210" y="39"/>
                      <a:pt x="209" y="39"/>
                    </a:cubicBezTo>
                    <a:cubicBezTo>
                      <a:pt x="207" y="40"/>
                      <a:pt x="206" y="38"/>
                      <a:pt x="203" y="39"/>
                    </a:cubicBezTo>
                    <a:cubicBezTo>
                      <a:pt x="202" y="39"/>
                      <a:pt x="201" y="42"/>
                      <a:pt x="200" y="42"/>
                    </a:cubicBezTo>
                    <a:cubicBezTo>
                      <a:pt x="199" y="42"/>
                      <a:pt x="199" y="45"/>
                      <a:pt x="199" y="45"/>
                    </a:cubicBezTo>
                    <a:cubicBezTo>
                      <a:pt x="200" y="45"/>
                      <a:pt x="204" y="44"/>
                      <a:pt x="204" y="44"/>
                    </a:cubicBezTo>
                    <a:cubicBezTo>
                      <a:pt x="205" y="45"/>
                      <a:pt x="211" y="47"/>
                      <a:pt x="211" y="47"/>
                    </a:cubicBezTo>
                    <a:cubicBezTo>
                      <a:pt x="211" y="47"/>
                      <a:pt x="217" y="43"/>
                      <a:pt x="218" y="43"/>
                    </a:cubicBezTo>
                    <a:cubicBezTo>
                      <a:pt x="222" y="43"/>
                      <a:pt x="221" y="45"/>
                      <a:pt x="223" y="46"/>
                    </a:cubicBezTo>
                    <a:cubicBezTo>
                      <a:pt x="224" y="46"/>
                      <a:pt x="225" y="47"/>
                      <a:pt x="226" y="46"/>
                    </a:cubicBezTo>
                    <a:cubicBezTo>
                      <a:pt x="226" y="45"/>
                      <a:pt x="226" y="45"/>
                      <a:pt x="226" y="45"/>
                    </a:cubicBezTo>
                    <a:cubicBezTo>
                      <a:pt x="230" y="44"/>
                      <a:pt x="230" y="44"/>
                      <a:pt x="232" y="40"/>
                    </a:cubicBezTo>
                    <a:cubicBezTo>
                      <a:pt x="234" y="40"/>
                      <a:pt x="236" y="42"/>
                      <a:pt x="238" y="41"/>
                    </a:cubicBezTo>
                    <a:cubicBezTo>
                      <a:pt x="238" y="41"/>
                      <a:pt x="240" y="39"/>
                      <a:pt x="240" y="39"/>
                    </a:cubicBezTo>
                    <a:cubicBezTo>
                      <a:pt x="244" y="39"/>
                      <a:pt x="248" y="41"/>
                      <a:pt x="250" y="41"/>
                    </a:cubicBezTo>
                    <a:cubicBezTo>
                      <a:pt x="251" y="41"/>
                      <a:pt x="254" y="41"/>
                      <a:pt x="256" y="40"/>
                    </a:cubicBezTo>
                    <a:cubicBezTo>
                      <a:pt x="254" y="40"/>
                      <a:pt x="251" y="38"/>
                      <a:pt x="249" y="37"/>
                    </a:cubicBezTo>
                    <a:cubicBezTo>
                      <a:pt x="248" y="36"/>
                      <a:pt x="248" y="36"/>
                      <a:pt x="248" y="36"/>
                    </a:cubicBezTo>
                    <a:cubicBezTo>
                      <a:pt x="247" y="35"/>
                      <a:pt x="245" y="36"/>
                      <a:pt x="244" y="36"/>
                    </a:cubicBezTo>
                    <a:cubicBezTo>
                      <a:pt x="242" y="35"/>
                      <a:pt x="242" y="35"/>
                      <a:pt x="242" y="35"/>
                    </a:cubicBezTo>
                    <a:cubicBezTo>
                      <a:pt x="240" y="34"/>
                      <a:pt x="234" y="35"/>
                      <a:pt x="232" y="35"/>
                    </a:cubicBezTo>
                    <a:cubicBezTo>
                      <a:pt x="232" y="34"/>
                      <a:pt x="229" y="35"/>
                      <a:pt x="230" y="35"/>
                    </a:cubicBezTo>
                    <a:cubicBezTo>
                      <a:pt x="227" y="35"/>
                      <a:pt x="224" y="34"/>
                      <a:pt x="222" y="35"/>
                    </a:cubicBezTo>
                    <a:close/>
                    <a:moveTo>
                      <a:pt x="264" y="37"/>
                    </a:moveTo>
                    <a:cubicBezTo>
                      <a:pt x="265" y="37"/>
                      <a:pt x="262" y="37"/>
                      <a:pt x="262" y="37"/>
                    </a:cubicBezTo>
                    <a:cubicBezTo>
                      <a:pt x="263" y="38"/>
                      <a:pt x="265" y="42"/>
                      <a:pt x="263" y="40"/>
                    </a:cubicBezTo>
                    <a:cubicBezTo>
                      <a:pt x="261" y="41"/>
                      <a:pt x="258" y="43"/>
                      <a:pt x="255" y="44"/>
                    </a:cubicBezTo>
                    <a:cubicBezTo>
                      <a:pt x="251" y="44"/>
                      <a:pt x="247" y="42"/>
                      <a:pt x="244" y="42"/>
                    </a:cubicBezTo>
                    <a:cubicBezTo>
                      <a:pt x="241" y="41"/>
                      <a:pt x="239" y="42"/>
                      <a:pt x="236" y="42"/>
                    </a:cubicBezTo>
                    <a:cubicBezTo>
                      <a:pt x="236" y="44"/>
                      <a:pt x="236" y="44"/>
                      <a:pt x="236" y="44"/>
                    </a:cubicBezTo>
                    <a:cubicBezTo>
                      <a:pt x="237" y="44"/>
                      <a:pt x="239" y="44"/>
                      <a:pt x="240" y="44"/>
                    </a:cubicBezTo>
                    <a:cubicBezTo>
                      <a:pt x="240" y="44"/>
                      <a:pt x="241" y="47"/>
                      <a:pt x="240" y="46"/>
                    </a:cubicBezTo>
                    <a:cubicBezTo>
                      <a:pt x="235" y="49"/>
                      <a:pt x="243" y="50"/>
                      <a:pt x="246" y="50"/>
                    </a:cubicBezTo>
                    <a:cubicBezTo>
                      <a:pt x="245" y="51"/>
                      <a:pt x="244" y="53"/>
                      <a:pt x="244" y="53"/>
                    </a:cubicBezTo>
                    <a:cubicBezTo>
                      <a:pt x="246" y="53"/>
                      <a:pt x="247" y="51"/>
                      <a:pt x="248" y="50"/>
                    </a:cubicBezTo>
                    <a:cubicBezTo>
                      <a:pt x="249" y="50"/>
                      <a:pt x="250" y="51"/>
                      <a:pt x="251" y="51"/>
                    </a:cubicBezTo>
                    <a:cubicBezTo>
                      <a:pt x="251" y="51"/>
                      <a:pt x="253" y="50"/>
                      <a:pt x="254" y="50"/>
                    </a:cubicBezTo>
                    <a:cubicBezTo>
                      <a:pt x="254" y="50"/>
                      <a:pt x="253" y="47"/>
                      <a:pt x="254" y="47"/>
                    </a:cubicBezTo>
                    <a:cubicBezTo>
                      <a:pt x="257" y="46"/>
                      <a:pt x="261" y="48"/>
                      <a:pt x="264" y="48"/>
                    </a:cubicBezTo>
                    <a:cubicBezTo>
                      <a:pt x="265" y="48"/>
                      <a:pt x="264" y="48"/>
                      <a:pt x="266" y="48"/>
                    </a:cubicBezTo>
                    <a:cubicBezTo>
                      <a:pt x="265" y="47"/>
                      <a:pt x="265" y="45"/>
                      <a:pt x="264" y="44"/>
                    </a:cubicBezTo>
                    <a:cubicBezTo>
                      <a:pt x="267" y="44"/>
                      <a:pt x="270" y="45"/>
                      <a:pt x="272" y="44"/>
                    </a:cubicBezTo>
                    <a:cubicBezTo>
                      <a:pt x="274" y="43"/>
                      <a:pt x="274" y="43"/>
                      <a:pt x="274" y="43"/>
                    </a:cubicBezTo>
                    <a:cubicBezTo>
                      <a:pt x="276" y="42"/>
                      <a:pt x="276" y="42"/>
                      <a:pt x="276" y="42"/>
                    </a:cubicBezTo>
                    <a:cubicBezTo>
                      <a:pt x="276" y="42"/>
                      <a:pt x="276" y="40"/>
                      <a:pt x="276" y="40"/>
                    </a:cubicBezTo>
                    <a:cubicBezTo>
                      <a:pt x="275" y="40"/>
                      <a:pt x="276" y="39"/>
                      <a:pt x="275" y="39"/>
                    </a:cubicBezTo>
                    <a:cubicBezTo>
                      <a:pt x="273" y="39"/>
                      <a:pt x="272" y="40"/>
                      <a:pt x="270" y="40"/>
                    </a:cubicBezTo>
                    <a:cubicBezTo>
                      <a:pt x="270" y="39"/>
                      <a:pt x="270" y="39"/>
                      <a:pt x="270" y="39"/>
                    </a:cubicBezTo>
                    <a:cubicBezTo>
                      <a:pt x="271" y="39"/>
                      <a:pt x="271" y="38"/>
                      <a:pt x="271" y="37"/>
                    </a:cubicBezTo>
                    <a:cubicBezTo>
                      <a:pt x="267" y="37"/>
                      <a:pt x="267" y="38"/>
                      <a:pt x="264" y="37"/>
                    </a:cubicBezTo>
                    <a:close/>
                    <a:moveTo>
                      <a:pt x="293" y="38"/>
                    </a:moveTo>
                    <a:cubicBezTo>
                      <a:pt x="293" y="38"/>
                      <a:pt x="294" y="39"/>
                      <a:pt x="294" y="39"/>
                    </a:cubicBezTo>
                    <a:cubicBezTo>
                      <a:pt x="294" y="39"/>
                      <a:pt x="296" y="37"/>
                      <a:pt x="293" y="38"/>
                    </a:cubicBezTo>
                    <a:close/>
                    <a:moveTo>
                      <a:pt x="297" y="39"/>
                    </a:moveTo>
                    <a:cubicBezTo>
                      <a:pt x="297" y="39"/>
                      <a:pt x="296" y="42"/>
                      <a:pt x="297" y="42"/>
                    </a:cubicBezTo>
                    <a:cubicBezTo>
                      <a:pt x="297" y="42"/>
                      <a:pt x="300" y="42"/>
                      <a:pt x="299" y="41"/>
                    </a:cubicBezTo>
                    <a:cubicBezTo>
                      <a:pt x="300" y="42"/>
                      <a:pt x="299" y="40"/>
                      <a:pt x="299" y="40"/>
                    </a:cubicBezTo>
                    <a:cubicBezTo>
                      <a:pt x="298" y="39"/>
                      <a:pt x="298" y="40"/>
                      <a:pt x="297" y="39"/>
                    </a:cubicBezTo>
                    <a:close/>
                    <a:moveTo>
                      <a:pt x="331" y="40"/>
                    </a:moveTo>
                    <a:cubicBezTo>
                      <a:pt x="329" y="40"/>
                      <a:pt x="330" y="45"/>
                      <a:pt x="330" y="48"/>
                    </a:cubicBezTo>
                    <a:cubicBezTo>
                      <a:pt x="331" y="49"/>
                      <a:pt x="332" y="48"/>
                      <a:pt x="333" y="48"/>
                    </a:cubicBezTo>
                    <a:cubicBezTo>
                      <a:pt x="334" y="49"/>
                      <a:pt x="334" y="50"/>
                      <a:pt x="335" y="50"/>
                    </a:cubicBezTo>
                    <a:cubicBezTo>
                      <a:pt x="337" y="46"/>
                      <a:pt x="337" y="47"/>
                      <a:pt x="341" y="44"/>
                    </a:cubicBezTo>
                    <a:cubicBezTo>
                      <a:pt x="341" y="44"/>
                      <a:pt x="341" y="43"/>
                      <a:pt x="341" y="42"/>
                    </a:cubicBezTo>
                    <a:cubicBezTo>
                      <a:pt x="339" y="42"/>
                      <a:pt x="338" y="42"/>
                      <a:pt x="336" y="42"/>
                    </a:cubicBezTo>
                    <a:cubicBezTo>
                      <a:pt x="335" y="42"/>
                      <a:pt x="332" y="40"/>
                      <a:pt x="331" y="40"/>
                    </a:cubicBezTo>
                    <a:close/>
                    <a:moveTo>
                      <a:pt x="289" y="42"/>
                    </a:moveTo>
                    <a:cubicBezTo>
                      <a:pt x="289" y="42"/>
                      <a:pt x="288" y="44"/>
                      <a:pt x="288" y="44"/>
                    </a:cubicBezTo>
                    <a:cubicBezTo>
                      <a:pt x="287" y="45"/>
                      <a:pt x="285" y="44"/>
                      <a:pt x="284" y="44"/>
                    </a:cubicBezTo>
                    <a:cubicBezTo>
                      <a:pt x="284" y="44"/>
                      <a:pt x="284" y="47"/>
                      <a:pt x="285" y="47"/>
                    </a:cubicBezTo>
                    <a:cubicBezTo>
                      <a:pt x="287" y="48"/>
                      <a:pt x="291" y="48"/>
                      <a:pt x="294" y="49"/>
                    </a:cubicBezTo>
                    <a:cubicBezTo>
                      <a:pt x="294" y="48"/>
                      <a:pt x="295" y="47"/>
                      <a:pt x="295" y="45"/>
                    </a:cubicBezTo>
                    <a:cubicBezTo>
                      <a:pt x="294" y="44"/>
                      <a:pt x="291" y="42"/>
                      <a:pt x="289" y="42"/>
                    </a:cubicBezTo>
                    <a:close/>
                    <a:moveTo>
                      <a:pt x="324" y="44"/>
                    </a:moveTo>
                    <a:cubicBezTo>
                      <a:pt x="323" y="44"/>
                      <a:pt x="320" y="46"/>
                      <a:pt x="319" y="46"/>
                    </a:cubicBezTo>
                    <a:cubicBezTo>
                      <a:pt x="313" y="51"/>
                      <a:pt x="324" y="51"/>
                      <a:pt x="327" y="51"/>
                    </a:cubicBezTo>
                    <a:cubicBezTo>
                      <a:pt x="326" y="51"/>
                      <a:pt x="327" y="50"/>
                      <a:pt x="327" y="50"/>
                    </a:cubicBezTo>
                    <a:cubicBezTo>
                      <a:pt x="326" y="49"/>
                      <a:pt x="326" y="49"/>
                      <a:pt x="325" y="48"/>
                    </a:cubicBezTo>
                    <a:cubicBezTo>
                      <a:pt x="327" y="47"/>
                      <a:pt x="332" y="43"/>
                      <a:pt x="324" y="44"/>
                    </a:cubicBezTo>
                    <a:close/>
                    <a:moveTo>
                      <a:pt x="306" y="45"/>
                    </a:moveTo>
                    <a:cubicBezTo>
                      <a:pt x="306" y="45"/>
                      <a:pt x="306" y="48"/>
                      <a:pt x="307" y="48"/>
                    </a:cubicBezTo>
                    <a:cubicBezTo>
                      <a:pt x="309" y="48"/>
                      <a:pt x="308" y="46"/>
                      <a:pt x="309" y="45"/>
                    </a:cubicBezTo>
                    <a:cubicBezTo>
                      <a:pt x="308" y="45"/>
                      <a:pt x="307" y="45"/>
                      <a:pt x="306" y="45"/>
                    </a:cubicBezTo>
                    <a:close/>
                    <a:moveTo>
                      <a:pt x="297" y="46"/>
                    </a:moveTo>
                    <a:cubicBezTo>
                      <a:pt x="298" y="48"/>
                      <a:pt x="298" y="48"/>
                      <a:pt x="298" y="48"/>
                    </a:cubicBezTo>
                    <a:cubicBezTo>
                      <a:pt x="298" y="47"/>
                      <a:pt x="299" y="46"/>
                      <a:pt x="297" y="46"/>
                    </a:cubicBezTo>
                    <a:close/>
                    <a:moveTo>
                      <a:pt x="266" y="49"/>
                    </a:moveTo>
                    <a:cubicBezTo>
                      <a:pt x="259" y="52"/>
                      <a:pt x="263" y="52"/>
                      <a:pt x="268" y="53"/>
                    </a:cubicBezTo>
                    <a:cubicBezTo>
                      <a:pt x="268" y="49"/>
                      <a:pt x="268" y="49"/>
                      <a:pt x="268" y="49"/>
                    </a:cubicBezTo>
                    <a:cubicBezTo>
                      <a:pt x="268" y="49"/>
                      <a:pt x="266" y="49"/>
                      <a:pt x="266" y="49"/>
                    </a:cubicBezTo>
                    <a:close/>
                    <a:moveTo>
                      <a:pt x="343" y="50"/>
                    </a:moveTo>
                    <a:cubicBezTo>
                      <a:pt x="342" y="51"/>
                      <a:pt x="341" y="53"/>
                      <a:pt x="339" y="54"/>
                    </a:cubicBezTo>
                    <a:cubicBezTo>
                      <a:pt x="341" y="55"/>
                      <a:pt x="344" y="59"/>
                      <a:pt x="347" y="57"/>
                    </a:cubicBezTo>
                    <a:cubicBezTo>
                      <a:pt x="349" y="56"/>
                      <a:pt x="347" y="53"/>
                      <a:pt x="347" y="52"/>
                    </a:cubicBezTo>
                    <a:cubicBezTo>
                      <a:pt x="346" y="52"/>
                      <a:pt x="347" y="52"/>
                      <a:pt x="346" y="50"/>
                    </a:cubicBezTo>
                    <a:cubicBezTo>
                      <a:pt x="345" y="50"/>
                      <a:pt x="344" y="51"/>
                      <a:pt x="343" y="50"/>
                    </a:cubicBezTo>
                    <a:close/>
                    <a:moveTo>
                      <a:pt x="275" y="52"/>
                    </a:moveTo>
                    <a:cubicBezTo>
                      <a:pt x="273" y="53"/>
                      <a:pt x="272" y="55"/>
                      <a:pt x="271" y="56"/>
                    </a:cubicBezTo>
                    <a:cubicBezTo>
                      <a:pt x="268" y="58"/>
                      <a:pt x="276" y="57"/>
                      <a:pt x="278" y="57"/>
                    </a:cubicBezTo>
                    <a:cubicBezTo>
                      <a:pt x="278" y="55"/>
                      <a:pt x="277" y="54"/>
                      <a:pt x="277" y="52"/>
                    </a:cubicBezTo>
                    <a:cubicBezTo>
                      <a:pt x="277" y="52"/>
                      <a:pt x="275" y="52"/>
                      <a:pt x="275" y="52"/>
                    </a:cubicBezTo>
                    <a:close/>
                    <a:moveTo>
                      <a:pt x="710" y="58"/>
                    </a:moveTo>
                    <a:cubicBezTo>
                      <a:pt x="710" y="60"/>
                      <a:pt x="710" y="60"/>
                      <a:pt x="710" y="60"/>
                    </a:cubicBezTo>
                    <a:cubicBezTo>
                      <a:pt x="710" y="61"/>
                      <a:pt x="709" y="61"/>
                      <a:pt x="709" y="61"/>
                    </a:cubicBezTo>
                    <a:cubicBezTo>
                      <a:pt x="708" y="60"/>
                      <a:pt x="708" y="60"/>
                      <a:pt x="708" y="60"/>
                    </a:cubicBezTo>
                    <a:cubicBezTo>
                      <a:pt x="708" y="60"/>
                      <a:pt x="707" y="60"/>
                      <a:pt x="706" y="60"/>
                    </a:cubicBezTo>
                    <a:cubicBezTo>
                      <a:pt x="706" y="62"/>
                      <a:pt x="707" y="64"/>
                      <a:pt x="706" y="67"/>
                    </a:cubicBezTo>
                    <a:cubicBezTo>
                      <a:pt x="705" y="68"/>
                      <a:pt x="702" y="69"/>
                      <a:pt x="702" y="71"/>
                    </a:cubicBezTo>
                    <a:cubicBezTo>
                      <a:pt x="702" y="72"/>
                      <a:pt x="704" y="73"/>
                      <a:pt x="703" y="74"/>
                    </a:cubicBezTo>
                    <a:cubicBezTo>
                      <a:pt x="703" y="75"/>
                      <a:pt x="701" y="74"/>
                      <a:pt x="701" y="74"/>
                    </a:cubicBezTo>
                    <a:cubicBezTo>
                      <a:pt x="699" y="80"/>
                      <a:pt x="697" y="82"/>
                      <a:pt x="692" y="85"/>
                    </a:cubicBezTo>
                    <a:cubicBezTo>
                      <a:pt x="692" y="85"/>
                      <a:pt x="692" y="87"/>
                      <a:pt x="692" y="87"/>
                    </a:cubicBezTo>
                    <a:cubicBezTo>
                      <a:pt x="698" y="87"/>
                      <a:pt x="701" y="86"/>
                      <a:pt x="705" y="82"/>
                    </a:cubicBezTo>
                    <a:cubicBezTo>
                      <a:pt x="705" y="82"/>
                      <a:pt x="706" y="80"/>
                      <a:pt x="706" y="80"/>
                    </a:cubicBezTo>
                    <a:cubicBezTo>
                      <a:pt x="707" y="80"/>
                      <a:pt x="717" y="84"/>
                      <a:pt x="718" y="84"/>
                    </a:cubicBezTo>
                    <a:cubicBezTo>
                      <a:pt x="719" y="83"/>
                      <a:pt x="720" y="82"/>
                      <a:pt x="722" y="81"/>
                    </a:cubicBezTo>
                    <a:cubicBezTo>
                      <a:pt x="722" y="81"/>
                      <a:pt x="723" y="81"/>
                      <a:pt x="724" y="81"/>
                    </a:cubicBezTo>
                    <a:cubicBezTo>
                      <a:pt x="728" y="80"/>
                      <a:pt x="726" y="79"/>
                      <a:pt x="733" y="79"/>
                    </a:cubicBezTo>
                    <a:cubicBezTo>
                      <a:pt x="733" y="78"/>
                      <a:pt x="734" y="76"/>
                      <a:pt x="734" y="75"/>
                    </a:cubicBezTo>
                    <a:cubicBezTo>
                      <a:pt x="733" y="70"/>
                      <a:pt x="728" y="70"/>
                      <a:pt x="724" y="68"/>
                    </a:cubicBezTo>
                    <a:cubicBezTo>
                      <a:pt x="722" y="67"/>
                      <a:pt x="720" y="67"/>
                      <a:pt x="720" y="64"/>
                    </a:cubicBezTo>
                    <a:cubicBezTo>
                      <a:pt x="720" y="64"/>
                      <a:pt x="720" y="64"/>
                      <a:pt x="720" y="64"/>
                    </a:cubicBezTo>
                    <a:cubicBezTo>
                      <a:pt x="719" y="63"/>
                      <a:pt x="719" y="64"/>
                      <a:pt x="719" y="64"/>
                    </a:cubicBezTo>
                    <a:cubicBezTo>
                      <a:pt x="715" y="65"/>
                      <a:pt x="719" y="61"/>
                      <a:pt x="713" y="66"/>
                    </a:cubicBezTo>
                    <a:cubicBezTo>
                      <a:pt x="713" y="65"/>
                      <a:pt x="712" y="64"/>
                      <a:pt x="712" y="64"/>
                    </a:cubicBezTo>
                    <a:cubicBezTo>
                      <a:pt x="715" y="63"/>
                      <a:pt x="712" y="59"/>
                      <a:pt x="710" y="58"/>
                    </a:cubicBezTo>
                    <a:close/>
                    <a:moveTo>
                      <a:pt x="410" y="104"/>
                    </a:moveTo>
                    <a:cubicBezTo>
                      <a:pt x="409" y="104"/>
                      <a:pt x="408" y="107"/>
                      <a:pt x="407" y="107"/>
                    </a:cubicBezTo>
                    <a:cubicBezTo>
                      <a:pt x="406" y="107"/>
                      <a:pt x="405" y="107"/>
                      <a:pt x="404" y="107"/>
                    </a:cubicBezTo>
                    <a:cubicBezTo>
                      <a:pt x="403" y="108"/>
                      <a:pt x="402" y="110"/>
                      <a:pt x="401" y="112"/>
                    </a:cubicBezTo>
                    <a:cubicBezTo>
                      <a:pt x="400" y="111"/>
                      <a:pt x="399" y="110"/>
                      <a:pt x="399" y="110"/>
                    </a:cubicBezTo>
                    <a:cubicBezTo>
                      <a:pt x="396" y="110"/>
                      <a:pt x="395" y="113"/>
                      <a:pt x="393" y="114"/>
                    </a:cubicBezTo>
                    <a:cubicBezTo>
                      <a:pt x="391" y="114"/>
                      <a:pt x="392" y="112"/>
                      <a:pt x="391" y="113"/>
                    </a:cubicBezTo>
                    <a:cubicBezTo>
                      <a:pt x="389" y="113"/>
                      <a:pt x="386" y="117"/>
                      <a:pt x="384" y="117"/>
                    </a:cubicBezTo>
                    <a:cubicBezTo>
                      <a:pt x="381" y="117"/>
                      <a:pt x="381" y="116"/>
                      <a:pt x="379" y="116"/>
                    </a:cubicBezTo>
                    <a:cubicBezTo>
                      <a:pt x="379" y="116"/>
                      <a:pt x="378" y="118"/>
                      <a:pt x="377" y="118"/>
                    </a:cubicBezTo>
                    <a:cubicBezTo>
                      <a:pt x="377" y="118"/>
                      <a:pt x="370" y="118"/>
                      <a:pt x="370" y="118"/>
                    </a:cubicBezTo>
                    <a:cubicBezTo>
                      <a:pt x="370" y="117"/>
                      <a:pt x="370" y="117"/>
                      <a:pt x="370" y="117"/>
                    </a:cubicBezTo>
                    <a:cubicBezTo>
                      <a:pt x="366" y="116"/>
                      <a:pt x="365" y="115"/>
                      <a:pt x="361" y="116"/>
                    </a:cubicBezTo>
                    <a:cubicBezTo>
                      <a:pt x="361" y="117"/>
                      <a:pt x="361" y="119"/>
                      <a:pt x="361" y="121"/>
                    </a:cubicBezTo>
                    <a:cubicBezTo>
                      <a:pt x="358" y="121"/>
                      <a:pt x="354" y="121"/>
                      <a:pt x="354" y="121"/>
                    </a:cubicBezTo>
                    <a:cubicBezTo>
                      <a:pt x="354" y="121"/>
                      <a:pt x="352" y="121"/>
                      <a:pt x="353" y="122"/>
                    </a:cubicBezTo>
                    <a:cubicBezTo>
                      <a:pt x="352" y="121"/>
                      <a:pt x="350" y="121"/>
                      <a:pt x="350" y="121"/>
                    </a:cubicBezTo>
                    <a:cubicBezTo>
                      <a:pt x="349" y="121"/>
                      <a:pt x="347" y="123"/>
                      <a:pt x="346" y="124"/>
                    </a:cubicBezTo>
                    <a:cubicBezTo>
                      <a:pt x="344" y="124"/>
                      <a:pt x="343" y="123"/>
                      <a:pt x="341" y="124"/>
                    </a:cubicBezTo>
                    <a:cubicBezTo>
                      <a:pt x="341" y="125"/>
                      <a:pt x="340" y="127"/>
                      <a:pt x="339" y="127"/>
                    </a:cubicBezTo>
                    <a:cubicBezTo>
                      <a:pt x="337" y="128"/>
                      <a:pt x="335" y="127"/>
                      <a:pt x="333" y="128"/>
                    </a:cubicBezTo>
                    <a:cubicBezTo>
                      <a:pt x="333" y="128"/>
                      <a:pt x="333" y="130"/>
                      <a:pt x="333" y="130"/>
                    </a:cubicBezTo>
                    <a:cubicBezTo>
                      <a:pt x="332" y="131"/>
                      <a:pt x="330" y="131"/>
                      <a:pt x="329" y="132"/>
                    </a:cubicBezTo>
                    <a:cubicBezTo>
                      <a:pt x="329" y="132"/>
                      <a:pt x="329" y="132"/>
                      <a:pt x="329" y="132"/>
                    </a:cubicBezTo>
                    <a:cubicBezTo>
                      <a:pt x="327" y="133"/>
                      <a:pt x="323" y="130"/>
                      <a:pt x="319" y="132"/>
                    </a:cubicBezTo>
                    <a:cubicBezTo>
                      <a:pt x="319" y="132"/>
                      <a:pt x="319" y="134"/>
                      <a:pt x="318" y="134"/>
                    </a:cubicBezTo>
                    <a:cubicBezTo>
                      <a:pt x="316" y="137"/>
                      <a:pt x="313" y="135"/>
                      <a:pt x="311" y="134"/>
                    </a:cubicBezTo>
                    <a:cubicBezTo>
                      <a:pt x="309" y="137"/>
                      <a:pt x="309" y="137"/>
                      <a:pt x="309" y="137"/>
                    </a:cubicBezTo>
                    <a:cubicBezTo>
                      <a:pt x="309" y="137"/>
                      <a:pt x="309" y="137"/>
                      <a:pt x="311" y="138"/>
                    </a:cubicBezTo>
                    <a:cubicBezTo>
                      <a:pt x="309" y="140"/>
                      <a:pt x="307" y="139"/>
                      <a:pt x="311" y="142"/>
                    </a:cubicBezTo>
                    <a:cubicBezTo>
                      <a:pt x="309" y="142"/>
                      <a:pt x="308" y="142"/>
                      <a:pt x="306" y="142"/>
                    </a:cubicBezTo>
                    <a:cubicBezTo>
                      <a:pt x="307" y="140"/>
                      <a:pt x="304" y="142"/>
                      <a:pt x="304" y="142"/>
                    </a:cubicBezTo>
                    <a:cubicBezTo>
                      <a:pt x="304" y="143"/>
                      <a:pt x="304" y="145"/>
                      <a:pt x="304" y="146"/>
                    </a:cubicBezTo>
                    <a:cubicBezTo>
                      <a:pt x="304" y="146"/>
                      <a:pt x="302" y="145"/>
                      <a:pt x="301" y="145"/>
                    </a:cubicBezTo>
                    <a:cubicBezTo>
                      <a:pt x="301" y="146"/>
                      <a:pt x="300" y="149"/>
                      <a:pt x="301" y="148"/>
                    </a:cubicBezTo>
                    <a:cubicBezTo>
                      <a:pt x="300" y="147"/>
                      <a:pt x="300" y="148"/>
                      <a:pt x="300" y="147"/>
                    </a:cubicBezTo>
                    <a:cubicBezTo>
                      <a:pt x="298" y="146"/>
                      <a:pt x="298" y="148"/>
                      <a:pt x="301" y="148"/>
                    </a:cubicBezTo>
                    <a:cubicBezTo>
                      <a:pt x="301" y="150"/>
                      <a:pt x="301" y="150"/>
                      <a:pt x="301" y="150"/>
                    </a:cubicBezTo>
                    <a:cubicBezTo>
                      <a:pt x="299" y="150"/>
                      <a:pt x="300" y="148"/>
                      <a:pt x="297" y="149"/>
                    </a:cubicBezTo>
                    <a:cubicBezTo>
                      <a:pt x="296" y="149"/>
                      <a:pt x="294" y="154"/>
                      <a:pt x="292" y="154"/>
                    </a:cubicBezTo>
                    <a:cubicBezTo>
                      <a:pt x="290" y="154"/>
                      <a:pt x="289" y="154"/>
                      <a:pt x="288" y="154"/>
                    </a:cubicBezTo>
                    <a:cubicBezTo>
                      <a:pt x="288" y="154"/>
                      <a:pt x="288" y="157"/>
                      <a:pt x="288" y="157"/>
                    </a:cubicBezTo>
                    <a:cubicBezTo>
                      <a:pt x="292" y="158"/>
                      <a:pt x="294" y="157"/>
                      <a:pt x="299" y="157"/>
                    </a:cubicBezTo>
                    <a:cubicBezTo>
                      <a:pt x="293" y="158"/>
                      <a:pt x="293" y="159"/>
                      <a:pt x="292" y="164"/>
                    </a:cubicBezTo>
                    <a:cubicBezTo>
                      <a:pt x="293" y="164"/>
                      <a:pt x="292" y="165"/>
                      <a:pt x="293" y="165"/>
                    </a:cubicBezTo>
                    <a:cubicBezTo>
                      <a:pt x="294" y="165"/>
                      <a:pt x="295" y="164"/>
                      <a:pt x="296" y="164"/>
                    </a:cubicBezTo>
                    <a:cubicBezTo>
                      <a:pt x="295" y="165"/>
                      <a:pt x="293" y="168"/>
                      <a:pt x="292" y="169"/>
                    </a:cubicBezTo>
                    <a:cubicBezTo>
                      <a:pt x="292" y="169"/>
                      <a:pt x="291" y="168"/>
                      <a:pt x="290" y="168"/>
                    </a:cubicBezTo>
                    <a:cubicBezTo>
                      <a:pt x="288" y="168"/>
                      <a:pt x="286" y="170"/>
                      <a:pt x="284" y="170"/>
                    </a:cubicBezTo>
                    <a:cubicBezTo>
                      <a:pt x="285" y="174"/>
                      <a:pt x="284" y="174"/>
                      <a:pt x="286" y="178"/>
                    </a:cubicBezTo>
                    <a:cubicBezTo>
                      <a:pt x="285" y="178"/>
                      <a:pt x="284" y="178"/>
                      <a:pt x="283" y="178"/>
                    </a:cubicBezTo>
                    <a:cubicBezTo>
                      <a:pt x="282" y="179"/>
                      <a:pt x="283" y="181"/>
                      <a:pt x="283" y="182"/>
                    </a:cubicBezTo>
                    <a:cubicBezTo>
                      <a:pt x="282" y="182"/>
                      <a:pt x="282" y="182"/>
                      <a:pt x="281" y="183"/>
                    </a:cubicBezTo>
                    <a:cubicBezTo>
                      <a:pt x="280" y="183"/>
                      <a:pt x="281" y="184"/>
                      <a:pt x="282" y="184"/>
                    </a:cubicBezTo>
                    <a:cubicBezTo>
                      <a:pt x="282" y="184"/>
                      <a:pt x="282" y="185"/>
                      <a:pt x="283" y="185"/>
                    </a:cubicBezTo>
                    <a:cubicBezTo>
                      <a:pt x="282" y="185"/>
                      <a:pt x="282" y="187"/>
                      <a:pt x="282" y="187"/>
                    </a:cubicBezTo>
                    <a:cubicBezTo>
                      <a:pt x="280" y="188"/>
                      <a:pt x="279" y="188"/>
                      <a:pt x="276" y="187"/>
                    </a:cubicBezTo>
                    <a:cubicBezTo>
                      <a:pt x="273" y="192"/>
                      <a:pt x="274" y="194"/>
                      <a:pt x="276" y="200"/>
                    </a:cubicBezTo>
                    <a:cubicBezTo>
                      <a:pt x="277" y="200"/>
                      <a:pt x="278" y="200"/>
                      <a:pt x="279" y="200"/>
                    </a:cubicBezTo>
                    <a:cubicBezTo>
                      <a:pt x="279" y="200"/>
                      <a:pt x="279" y="198"/>
                      <a:pt x="279" y="198"/>
                    </a:cubicBezTo>
                    <a:cubicBezTo>
                      <a:pt x="279" y="198"/>
                      <a:pt x="281" y="198"/>
                      <a:pt x="282" y="198"/>
                    </a:cubicBezTo>
                    <a:cubicBezTo>
                      <a:pt x="282" y="198"/>
                      <a:pt x="281" y="196"/>
                      <a:pt x="282" y="195"/>
                    </a:cubicBezTo>
                    <a:cubicBezTo>
                      <a:pt x="282" y="196"/>
                      <a:pt x="284" y="196"/>
                      <a:pt x="284" y="197"/>
                    </a:cubicBezTo>
                    <a:cubicBezTo>
                      <a:pt x="284" y="198"/>
                      <a:pt x="284" y="198"/>
                      <a:pt x="284" y="198"/>
                    </a:cubicBezTo>
                    <a:cubicBezTo>
                      <a:pt x="286" y="199"/>
                      <a:pt x="287" y="197"/>
                      <a:pt x="287" y="197"/>
                    </a:cubicBezTo>
                    <a:cubicBezTo>
                      <a:pt x="288" y="196"/>
                      <a:pt x="290" y="196"/>
                      <a:pt x="292" y="195"/>
                    </a:cubicBezTo>
                    <a:cubicBezTo>
                      <a:pt x="291" y="196"/>
                      <a:pt x="291" y="197"/>
                      <a:pt x="291" y="197"/>
                    </a:cubicBezTo>
                    <a:cubicBezTo>
                      <a:pt x="291" y="197"/>
                      <a:pt x="289" y="199"/>
                      <a:pt x="290" y="199"/>
                    </a:cubicBezTo>
                    <a:cubicBezTo>
                      <a:pt x="290" y="199"/>
                      <a:pt x="291" y="201"/>
                      <a:pt x="292" y="202"/>
                    </a:cubicBezTo>
                    <a:cubicBezTo>
                      <a:pt x="295" y="202"/>
                      <a:pt x="295" y="202"/>
                      <a:pt x="298" y="201"/>
                    </a:cubicBezTo>
                    <a:cubicBezTo>
                      <a:pt x="298" y="202"/>
                      <a:pt x="298" y="205"/>
                      <a:pt x="298" y="205"/>
                    </a:cubicBezTo>
                    <a:cubicBezTo>
                      <a:pt x="296" y="206"/>
                      <a:pt x="297" y="204"/>
                      <a:pt x="295" y="205"/>
                    </a:cubicBezTo>
                    <a:cubicBezTo>
                      <a:pt x="295" y="207"/>
                      <a:pt x="295" y="207"/>
                      <a:pt x="295" y="207"/>
                    </a:cubicBezTo>
                    <a:cubicBezTo>
                      <a:pt x="293" y="206"/>
                      <a:pt x="293" y="206"/>
                      <a:pt x="292" y="207"/>
                    </a:cubicBezTo>
                    <a:cubicBezTo>
                      <a:pt x="289" y="208"/>
                      <a:pt x="294" y="209"/>
                      <a:pt x="294" y="209"/>
                    </a:cubicBezTo>
                    <a:cubicBezTo>
                      <a:pt x="294" y="209"/>
                      <a:pt x="295" y="212"/>
                      <a:pt x="293" y="211"/>
                    </a:cubicBezTo>
                    <a:cubicBezTo>
                      <a:pt x="293" y="212"/>
                      <a:pt x="292" y="212"/>
                      <a:pt x="291" y="212"/>
                    </a:cubicBezTo>
                    <a:cubicBezTo>
                      <a:pt x="292" y="215"/>
                      <a:pt x="292" y="215"/>
                      <a:pt x="292" y="215"/>
                    </a:cubicBezTo>
                    <a:cubicBezTo>
                      <a:pt x="294" y="214"/>
                      <a:pt x="298" y="213"/>
                      <a:pt x="300" y="213"/>
                    </a:cubicBezTo>
                    <a:cubicBezTo>
                      <a:pt x="301" y="213"/>
                      <a:pt x="303" y="216"/>
                      <a:pt x="304" y="217"/>
                    </a:cubicBezTo>
                    <a:cubicBezTo>
                      <a:pt x="305" y="217"/>
                      <a:pt x="305" y="217"/>
                      <a:pt x="305" y="217"/>
                    </a:cubicBezTo>
                    <a:cubicBezTo>
                      <a:pt x="306" y="216"/>
                      <a:pt x="305" y="215"/>
                      <a:pt x="305" y="214"/>
                    </a:cubicBezTo>
                    <a:cubicBezTo>
                      <a:pt x="305" y="214"/>
                      <a:pt x="307" y="213"/>
                      <a:pt x="307" y="212"/>
                    </a:cubicBezTo>
                    <a:cubicBezTo>
                      <a:pt x="311" y="215"/>
                      <a:pt x="313" y="215"/>
                      <a:pt x="318" y="213"/>
                    </a:cubicBezTo>
                    <a:cubicBezTo>
                      <a:pt x="319" y="215"/>
                      <a:pt x="318" y="215"/>
                      <a:pt x="319" y="215"/>
                    </a:cubicBezTo>
                    <a:cubicBezTo>
                      <a:pt x="319" y="215"/>
                      <a:pt x="320" y="214"/>
                      <a:pt x="319" y="213"/>
                    </a:cubicBezTo>
                    <a:cubicBezTo>
                      <a:pt x="319" y="213"/>
                      <a:pt x="318" y="212"/>
                      <a:pt x="317" y="212"/>
                    </a:cubicBezTo>
                    <a:cubicBezTo>
                      <a:pt x="318" y="212"/>
                      <a:pt x="317" y="210"/>
                      <a:pt x="317" y="209"/>
                    </a:cubicBezTo>
                    <a:cubicBezTo>
                      <a:pt x="320" y="210"/>
                      <a:pt x="321" y="209"/>
                      <a:pt x="323" y="210"/>
                    </a:cubicBezTo>
                    <a:cubicBezTo>
                      <a:pt x="324" y="210"/>
                      <a:pt x="324" y="212"/>
                      <a:pt x="327" y="212"/>
                    </a:cubicBezTo>
                    <a:cubicBezTo>
                      <a:pt x="327" y="212"/>
                      <a:pt x="330" y="210"/>
                      <a:pt x="331" y="209"/>
                    </a:cubicBezTo>
                    <a:cubicBezTo>
                      <a:pt x="322" y="207"/>
                      <a:pt x="316" y="204"/>
                      <a:pt x="313" y="197"/>
                    </a:cubicBezTo>
                    <a:cubicBezTo>
                      <a:pt x="312" y="197"/>
                      <a:pt x="313" y="195"/>
                      <a:pt x="312" y="195"/>
                    </a:cubicBezTo>
                    <a:cubicBezTo>
                      <a:pt x="310" y="194"/>
                      <a:pt x="310" y="194"/>
                      <a:pt x="310" y="194"/>
                    </a:cubicBezTo>
                    <a:cubicBezTo>
                      <a:pt x="310" y="192"/>
                      <a:pt x="313" y="190"/>
                      <a:pt x="309" y="188"/>
                    </a:cubicBezTo>
                    <a:cubicBezTo>
                      <a:pt x="309" y="187"/>
                      <a:pt x="309" y="187"/>
                      <a:pt x="309" y="187"/>
                    </a:cubicBezTo>
                    <a:cubicBezTo>
                      <a:pt x="310" y="186"/>
                      <a:pt x="311" y="186"/>
                      <a:pt x="311" y="186"/>
                    </a:cubicBezTo>
                    <a:cubicBezTo>
                      <a:pt x="311" y="185"/>
                      <a:pt x="311" y="185"/>
                      <a:pt x="311" y="185"/>
                    </a:cubicBezTo>
                    <a:cubicBezTo>
                      <a:pt x="312" y="186"/>
                      <a:pt x="312" y="182"/>
                      <a:pt x="312" y="182"/>
                    </a:cubicBezTo>
                    <a:cubicBezTo>
                      <a:pt x="312" y="182"/>
                      <a:pt x="311" y="182"/>
                      <a:pt x="311" y="181"/>
                    </a:cubicBezTo>
                    <a:cubicBezTo>
                      <a:pt x="311" y="180"/>
                      <a:pt x="311" y="180"/>
                      <a:pt x="311" y="180"/>
                    </a:cubicBezTo>
                    <a:cubicBezTo>
                      <a:pt x="311" y="180"/>
                      <a:pt x="313" y="179"/>
                      <a:pt x="313" y="179"/>
                    </a:cubicBezTo>
                    <a:cubicBezTo>
                      <a:pt x="314" y="177"/>
                      <a:pt x="313" y="174"/>
                      <a:pt x="313" y="173"/>
                    </a:cubicBezTo>
                    <a:cubicBezTo>
                      <a:pt x="314" y="172"/>
                      <a:pt x="316" y="172"/>
                      <a:pt x="316" y="171"/>
                    </a:cubicBezTo>
                    <a:cubicBezTo>
                      <a:pt x="316" y="171"/>
                      <a:pt x="316" y="170"/>
                      <a:pt x="316" y="169"/>
                    </a:cubicBezTo>
                    <a:cubicBezTo>
                      <a:pt x="316" y="169"/>
                      <a:pt x="315" y="168"/>
                      <a:pt x="315" y="168"/>
                    </a:cubicBezTo>
                    <a:cubicBezTo>
                      <a:pt x="314" y="168"/>
                      <a:pt x="312" y="168"/>
                      <a:pt x="311" y="168"/>
                    </a:cubicBezTo>
                    <a:cubicBezTo>
                      <a:pt x="310" y="168"/>
                      <a:pt x="309" y="166"/>
                      <a:pt x="309" y="166"/>
                    </a:cubicBezTo>
                    <a:cubicBezTo>
                      <a:pt x="306" y="165"/>
                      <a:pt x="303" y="167"/>
                      <a:pt x="302" y="167"/>
                    </a:cubicBezTo>
                    <a:cubicBezTo>
                      <a:pt x="301" y="163"/>
                      <a:pt x="301" y="163"/>
                      <a:pt x="301" y="163"/>
                    </a:cubicBezTo>
                    <a:cubicBezTo>
                      <a:pt x="302" y="164"/>
                      <a:pt x="306" y="167"/>
                      <a:pt x="309" y="165"/>
                    </a:cubicBezTo>
                    <a:cubicBezTo>
                      <a:pt x="309" y="165"/>
                      <a:pt x="308" y="164"/>
                      <a:pt x="310" y="164"/>
                    </a:cubicBezTo>
                    <a:cubicBezTo>
                      <a:pt x="310" y="164"/>
                      <a:pt x="311" y="166"/>
                      <a:pt x="311" y="167"/>
                    </a:cubicBezTo>
                    <a:cubicBezTo>
                      <a:pt x="313" y="167"/>
                      <a:pt x="316" y="166"/>
                      <a:pt x="316" y="166"/>
                    </a:cubicBezTo>
                    <a:cubicBezTo>
                      <a:pt x="317" y="165"/>
                      <a:pt x="319" y="165"/>
                      <a:pt x="319" y="163"/>
                    </a:cubicBezTo>
                    <a:cubicBezTo>
                      <a:pt x="320" y="163"/>
                      <a:pt x="319" y="162"/>
                      <a:pt x="319" y="161"/>
                    </a:cubicBezTo>
                    <a:cubicBezTo>
                      <a:pt x="318" y="162"/>
                      <a:pt x="319" y="160"/>
                      <a:pt x="319" y="159"/>
                    </a:cubicBezTo>
                    <a:cubicBezTo>
                      <a:pt x="319" y="159"/>
                      <a:pt x="320" y="161"/>
                      <a:pt x="321" y="161"/>
                    </a:cubicBezTo>
                    <a:cubicBezTo>
                      <a:pt x="321" y="161"/>
                      <a:pt x="322" y="160"/>
                      <a:pt x="323" y="161"/>
                    </a:cubicBezTo>
                    <a:cubicBezTo>
                      <a:pt x="325" y="159"/>
                      <a:pt x="322" y="159"/>
                      <a:pt x="323" y="157"/>
                    </a:cubicBezTo>
                    <a:cubicBezTo>
                      <a:pt x="324" y="157"/>
                      <a:pt x="326" y="157"/>
                      <a:pt x="327" y="157"/>
                    </a:cubicBezTo>
                    <a:cubicBezTo>
                      <a:pt x="327" y="156"/>
                      <a:pt x="327" y="156"/>
                      <a:pt x="327" y="156"/>
                    </a:cubicBezTo>
                    <a:cubicBezTo>
                      <a:pt x="327" y="155"/>
                      <a:pt x="326" y="152"/>
                      <a:pt x="325" y="151"/>
                    </a:cubicBezTo>
                    <a:cubicBezTo>
                      <a:pt x="326" y="151"/>
                      <a:pt x="327" y="150"/>
                      <a:pt x="328" y="151"/>
                    </a:cubicBezTo>
                    <a:cubicBezTo>
                      <a:pt x="329" y="154"/>
                      <a:pt x="329" y="154"/>
                      <a:pt x="329" y="154"/>
                    </a:cubicBezTo>
                    <a:cubicBezTo>
                      <a:pt x="332" y="152"/>
                      <a:pt x="332" y="152"/>
                      <a:pt x="332" y="152"/>
                    </a:cubicBezTo>
                    <a:cubicBezTo>
                      <a:pt x="333" y="150"/>
                      <a:pt x="332" y="149"/>
                      <a:pt x="333" y="148"/>
                    </a:cubicBezTo>
                    <a:cubicBezTo>
                      <a:pt x="334" y="148"/>
                      <a:pt x="335" y="148"/>
                      <a:pt x="335" y="148"/>
                    </a:cubicBezTo>
                    <a:cubicBezTo>
                      <a:pt x="335" y="147"/>
                      <a:pt x="336" y="145"/>
                      <a:pt x="335" y="146"/>
                    </a:cubicBezTo>
                    <a:cubicBezTo>
                      <a:pt x="334" y="145"/>
                      <a:pt x="335" y="144"/>
                      <a:pt x="334" y="144"/>
                    </a:cubicBezTo>
                    <a:cubicBezTo>
                      <a:pt x="336" y="144"/>
                      <a:pt x="337" y="144"/>
                      <a:pt x="339" y="143"/>
                    </a:cubicBezTo>
                    <a:cubicBezTo>
                      <a:pt x="339" y="142"/>
                      <a:pt x="339" y="141"/>
                      <a:pt x="339" y="141"/>
                    </a:cubicBezTo>
                    <a:cubicBezTo>
                      <a:pt x="340" y="141"/>
                      <a:pt x="343" y="141"/>
                      <a:pt x="345" y="142"/>
                    </a:cubicBezTo>
                    <a:cubicBezTo>
                      <a:pt x="345" y="140"/>
                      <a:pt x="344" y="139"/>
                      <a:pt x="346" y="139"/>
                    </a:cubicBezTo>
                    <a:cubicBezTo>
                      <a:pt x="347" y="139"/>
                      <a:pt x="349" y="141"/>
                      <a:pt x="351" y="140"/>
                    </a:cubicBezTo>
                    <a:cubicBezTo>
                      <a:pt x="352" y="140"/>
                      <a:pt x="351" y="137"/>
                      <a:pt x="351" y="137"/>
                    </a:cubicBezTo>
                    <a:cubicBezTo>
                      <a:pt x="352" y="136"/>
                      <a:pt x="353" y="137"/>
                      <a:pt x="354" y="137"/>
                    </a:cubicBezTo>
                    <a:cubicBezTo>
                      <a:pt x="355" y="137"/>
                      <a:pt x="355" y="134"/>
                      <a:pt x="356" y="134"/>
                    </a:cubicBezTo>
                    <a:cubicBezTo>
                      <a:pt x="357" y="133"/>
                      <a:pt x="358" y="134"/>
                      <a:pt x="359" y="134"/>
                    </a:cubicBezTo>
                    <a:cubicBezTo>
                      <a:pt x="360" y="132"/>
                      <a:pt x="360" y="132"/>
                      <a:pt x="360" y="132"/>
                    </a:cubicBezTo>
                    <a:cubicBezTo>
                      <a:pt x="360" y="132"/>
                      <a:pt x="367" y="130"/>
                      <a:pt x="367" y="130"/>
                    </a:cubicBezTo>
                    <a:cubicBezTo>
                      <a:pt x="369" y="129"/>
                      <a:pt x="369" y="131"/>
                      <a:pt x="372" y="130"/>
                    </a:cubicBezTo>
                    <a:cubicBezTo>
                      <a:pt x="374" y="130"/>
                      <a:pt x="378" y="126"/>
                      <a:pt x="380" y="126"/>
                    </a:cubicBezTo>
                    <a:cubicBezTo>
                      <a:pt x="381" y="126"/>
                      <a:pt x="382" y="128"/>
                      <a:pt x="383" y="128"/>
                    </a:cubicBezTo>
                    <a:cubicBezTo>
                      <a:pt x="383" y="128"/>
                      <a:pt x="384" y="126"/>
                      <a:pt x="384" y="126"/>
                    </a:cubicBezTo>
                    <a:cubicBezTo>
                      <a:pt x="385" y="126"/>
                      <a:pt x="386" y="126"/>
                      <a:pt x="387" y="126"/>
                    </a:cubicBezTo>
                    <a:cubicBezTo>
                      <a:pt x="387" y="126"/>
                      <a:pt x="389" y="124"/>
                      <a:pt x="389" y="124"/>
                    </a:cubicBezTo>
                    <a:cubicBezTo>
                      <a:pt x="393" y="123"/>
                      <a:pt x="396" y="124"/>
                      <a:pt x="401" y="123"/>
                    </a:cubicBezTo>
                    <a:cubicBezTo>
                      <a:pt x="401" y="123"/>
                      <a:pt x="403" y="121"/>
                      <a:pt x="404" y="121"/>
                    </a:cubicBezTo>
                    <a:cubicBezTo>
                      <a:pt x="405" y="121"/>
                      <a:pt x="407" y="121"/>
                      <a:pt x="408" y="121"/>
                    </a:cubicBezTo>
                    <a:cubicBezTo>
                      <a:pt x="408" y="121"/>
                      <a:pt x="409" y="119"/>
                      <a:pt x="410" y="119"/>
                    </a:cubicBezTo>
                    <a:cubicBezTo>
                      <a:pt x="411" y="119"/>
                      <a:pt x="412" y="119"/>
                      <a:pt x="412" y="119"/>
                    </a:cubicBezTo>
                    <a:cubicBezTo>
                      <a:pt x="413" y="119"/>
                      <a:pt x="413" y="117"/>
                      <a:pt x="413" y="117"/>
                    </a:cubicBezTo>
                    <a:cubicBezTo>
                      <a:pt x="415" y="116"/>
                      <a:pt x="415" y="117"/>
                      <a:pt x="416" y="116"/>
                    </a:cubicBezTo>
                    <a:cubicBezTo>
                      <a:pt x="417" y="115"/>
                      <a:pt x="418" y="111"/>
                      <a:pt x="418" y="109"/>
                    </a:cubicBezTo>
                    <a:cubicBezTo>
                      <a:pt x="418" y="108"/>
                      <a:pt x="415" y="108"/>
                      <a:pt x="415" y="108"/>
                    </a:cubicBezTo>
                    <a:cubicBezTo>
                      <a:pt x="415" y="107"/>
                      <a:pt x="415" y="105"/>
                      <a:pt x="414" y="105"/>
                    </a:cubicBezTo>
                    <a:cubicBezTo>
                      <a:pt x="414" y="104"/>
                      <a:pt x="411" y="104"/>
                      <a:pt x="410" y="104"/>
                    </a:cubicBezTo>
                    <a:close/>
                    <a:moveTo>
                      <a:pt x="1027" y="120"/>
                    </a:moveTo>
                    <a:cubicBezTo>
                      <a:pt x="1025" y="121"/>
                      <a:pt x="1021" y="127"/>
                      <a:pt x="1019" y="128"/>
                    </a:cubicBezTo>
                    <a:cubicBezTo>
                      <a:pt x="1019" y="128"/>
                      <a:pt x="1019" y="128"/>
                      <a:pt x="1019" y="128"/>
                    </a:cubicBezTo>
                    <a:cubicBezTo>
                      <a:pt x="1018" y="129"/>
                      <a:pt x="1019" y="130"/>
                      <a:pt x="1019" y="132"/>
                    </a:cubicBezTo>
                    <a:cubicBezTo>
                      <a:pt x="1018" y="132"/>
                      <a:pt x="1016" y="133"/>
                      <a:pt x="1016" y="134"/>
                    </a:cubicBezTo>
                    <a:cubicBezTo>
                      <a:pt x="1016" y="137"/>
                      <a:pt x="1017" y="138"/>
                      <a:pt x="1017" y="140"/>
                    </a:cubicBezTo>
                    <a:cubicBezTo>
                      <a:pt x="1017" y="140"/>
                      <a:pt x="1016" y="139"/>
                      <a:pt x="1016" y="140"/>
                    </a:cubicBezTo>
                    <a:cubicBezTo>
                      <a:pt x="1016" y="141"/>
                      <a:pt x="1018" y="141"/>
                      <a:pt x="1018" y="142"/>
                    </a:cubicBezTo>
                    <a:cubicBezTo>
                      <a:pt x="1018" y="142"/>
                      <a:pt x="1018" y="143"/>
                      <a:pt x="1018" y="144"/>
                    </a:cubicBezTo>
                    <a:cubicBezTo>
                      <a:pt x="1019" y="144"/>
                      <a:pt x="1019" y="144"/>
                      <a:pt x="1019" y="144"/>
                    </a:cubicBezTo>
                    <a:cubicBezTo>
                      <a:pt x="1018" y="144"/>
                      <a:pt x="1020" y="146"/>
                      <a:pt x="1017" y="146"/>
                    </a:cubicBezTo>
                    <a:cubicBezTo>
                      <a:pt x="1017" y="146"/>
                      <a:pt x="1017" y="146"/>
                      <a:pt x="1017" y="146"/>
                    </a:cubicBezTo>
                    <a:cubicBezTo>
                      <a:pt x="1018" y="147"/>
                      <a:pt x="1019" y="146"/>
                      <a:pt x="1020" y="147"/>
                    </a:cubicBezTo>
                    <a:cubicBezTo>
                      <a:pt x="1021" y="147"/>
                      <a:pt x="1021" y="150"/>
                      <a:pt x="1021" y="150"/>
                    </a:cubicBezTo>
                    <a:cubicBezTo>
                      <a:pt x="1023" y="152"/>
                      <a:pt x="1026" y="152"/>
                      <a:pt x="1029" y="153"/>
                    </a:cubicBezTo>
                    <a:cubicBezTo>
                      <a:pt x="1030" y="152"/>
                      <a:pt x="1033" y="149"/>
                      <a:pt x="1034" y="147"/>
                    </a:cubicBezTo>
                    <a:cubicBezTo>
                      <a:pt x="1034" y="146"/>
                      <a:pt x="1034" y="145"/>
                      <a:pt x="1034" y="144"/>
                    </a:cubicBezTo>
                    <a:cubicBezTo>
                      <a:pt x="1035" y="144"/>
                      <a:pt x="1035" y="144"/>
                      <a:pt x="1035" y="144"/>
                    </a:cubicBezTo>
                    <a:cubicBezTo>
                      <a:pt x="1040" y="138"/>
                      <a:pt x="1040" y="138"/>
                      <a:pt x="1040" y="138"/>
                    </a:cubicBezTo>
                    <a:cubicBezTo>
                      <a:pt x="1040" y="137"/>
                      <a:pt x="1039" y="132"/>
                      <a:pt x="1039" y="132"/>
                    </a:cubicBezTo>
                    <a:cubicBezTo>
                      <a:pt x="1038" y="131"/>
                      <a:pt x="1036" y="130"/>
                      <a:pt x="1035" y="130"/>
                    </a:cubicBezTo>
                    <a:cubicBezTo>
                      <a:pt x="1035" y="129"/>
                      <a:pt x="1035" y="127"/>
                      <a:pt x="1035" y="126"/>
                    </a:cubicBezTo>
                    <a:cubicBezTo>
                      <a:pt x="1034" y="126"/>
                      <a:pt x="1033" y="126"/>
                      <a:pt x="1032" y="126"/>
                    </a:cubicBezTo>
                    <a:cubicBezTo>
                      <a:pt x="1031" y="126"/>
                      <a:pt x="1030" y="123"/>
                      <a:pt x="1029" y="123"/>
                    </a:cubicBezTo>
                    <a:cubicBezTo>
                      <a:pt x="1028" y="122"/>
                      <a:pt x="1028" y="123"/>
                      <a:pt x="1027" y="122"/>
                    </a:cubicBezTo>
                    <a:cubicBezTo>
                      <a:pt x="1027" y="122"/>
                      <a:pt x="1028" y="119"/>
                      <a:pt x="1027" y="120"/>
                    </a:cubicBezTo>
                    <a:close/>
                    <a:moveTo>
                      <a:pt x="727" y="122"/>
                    </a:moveTo>
                    <a:cubicBezTo>
                      <a:pt x="731" y="123"/>
                      <a:pt x="728" y="125"/>
                      <a:pt x="730" y="126"/>
                    </a:cubicBezTo>
                    <a:cubicBezTo>
                      <a:pt x="731" y="126"/>
                      <a:pt x="731" y="125"/>
                      <a:pt x="732" y="126"/>
                    </a:cubicBezTo>
                    <a:cubicBezTo>
                      <a:pt x="732" y="127"/>
                      <a:pt x="732" y="127"/>
                      <a:pt x="732" y="127"/>
                    </a:cubicBezTo>
                    <a:cubicBezTo>
                      <a:pt x="731" y="127"/>
                      <a:pt x="729" y="129"/>
                      <a:pt x="728" y="129"/>
                    </a:cubicBezTo>
                    <a:cubicBezTo>
                      <a:pt x="727" y="129"/>
                      <a:pt x="726" y="129"/>
                      <a:pt x="726" y="129"/>
                    </a:cubicBezTo>
                    <a:cubicBezTo>
                      <a:pt x="725" y="129"/>
                      <a:pt x="724" y="131"/>
                      <a:pt x="724" y="132"/>
                    </a:cubicBezTo>
                    <a:cubicBezTo>
                      <a:pt x="722" y="132"/>
                      <a:pt x="720" y="132"/>
                      <a:pt x="718" y="133"/>
                    </a:cubicBezTo>
                    <a:cubicBezTo>
                      <a:pt x="718" y="133"/>
                      <a:pt x="718" y="135"/>
                      <a:pt x="718" y="136"/>
                    </a:cubicBezTo>
                    <a:cubicBezTo>
                      <a:pt x="716" y="137"/>
                      <a:pt x="714" y="136"/>
                      <a:pt x="714" y="138"/>
                    </a:cubicBezTo>
                    <a:cubicBezTo>
                      <a:pt x="713" y="138"/>
                      <a:pt x="714" y="139"/>
                      <a:pt x="714" y="140"/>
                    </a:cubicBezTo>
                    <a:cubicBezTo>
                      <a:pt x="713" y="140"/>
                      <a:pt x="712" y="140"/>
                      <a:pt x="712" y="140"/>
                    </a:cubicBezTo>
                    <a:cubicBezTo>
                      <a:pt x="710" y="137"/>
                      <a:pt x="712" y="137"/>
                      <a:pt x="706" y="136"/>
                    </a:cubicBezTo>
                    <a:cubicBezTo>
                      <a:pt x="708" y="133"/>
                      <a:pt x="707" y="132"/>
                      <a:pt x="708" y="129"/>
                    </a:cubicBezTo>
                    <a:cubicBezTo>
                      <a:pt x="708" y="129"/>
                      <a:pt x="709" y="128"/>
                      <a:pt x="710" y="128"/>
                    </a:cubicBezTo>
                    <a:cubicBezTo>
                      <a:pt x="710" y="129"/>
                      <a:pt x="711" y="130"/>
                      <a:pt x="712" y="131"/>
                    </a:cubicBezTo>
                    <a:cubicBezTo>
                      <a:pt x="715" y="130"/>
                      <a:pt x="719" y="130"/>
                      <a:pt x="722" y="129"/>
                    </a:cubicBezTo>
                    <a:cubicBezTo>
                      <a:pt x="724" y="128"/>
                      <a:pt x="726" y="127"/>
                      <a:pt x="728" y="126"/>
                    </a:cubicBezTo>
                    <a:cubicBezTo>
                      <a:pt x="727" y="126"/>
                      <a:pt x="728" y="124"/>
                      <a:pt x="726" y="125"/>
                    </a:cubicBezTo>
                    <a:cubicBezTo>
                      <a:pt x="726" y="124"/>
                      <a:pt x="726" y="122"/>
                      <a:pt x="727" y="122"/>
                    </a:cubicBezTo>
                    <a:close/>
                    <a:moveTo>
                      <a:pt x="1063" y="127"/>
                    </a:moveTo>
                    <a:cubicBezTo>
                      <a:pt x="1063" y="128"/>
                      <a:pt x="1065" y="129"/>
                      <a:pt x="1065" y="130"/>
                    </a:cubicBezTo>
                    <a:cubicBezTo>
                      <a:pt x="1066" y="132"/>
                      <a:pt x="1064" y="136"/>
                      <a:pt x="1065" y="138"/>
                    </a:cubicBezTo>
                    <a:cubicBezTo>
                      <a:pt x="1065" y="139"/>
                      <a:pt x="1067" y="141"/>
                      <a:pt x="1067" y="142"/>
                    </a:cubicBezTo>
                    <a:cubicBezTo>
                      <a:pt x="1068" y="142"/>
                      <a:pt x="1069" y="142"/>
                      <a:pt x="1070" y="142"/>
                    </a:cubicBezTo>
                    <a:cubicBezTo>
                      <a:pt x="1071" y="141"/>
                      <a:pt x="1072" y="140"/>
                      <a:pt x="1073" y="139"/>
                    </a:cubicBezTo>
                    <a:cubicBezTo>
                      <a:pt x="1074" y="138"/>
                      <a:pt x="1075" y="138"/>
                      <a:pt x="1077" y="138"/>
                    </a:cubicBezTo>
                    <a:cubicBezTo>
                      <a:pt x="1078" y="134"/>
                      <a:pt x="1078" y="129"/>
                      <a:pt x="1072" y="130"/>
                    </a:cubicBezTo>
                    <a:cubicBezTo>
                      <a:pt x="1072" y="130"/>
                      <a:pt x="1071" y="131"/>
                      <a:pt x="1069" y="131"/>
                    </a:cubicBezTo>
                    <a:cubicBezTo>
                      <a:pt x="1068" y="131"/>
                      <a:pt x="1067" y="128"/>
                      <a:pt x="1066" y="128"/>
                    </a:cubicBezTo>
                    <a:cubicBezTo>
                      <a:pt x="1065" y="127"/>
                      <a:pt x="1064" y="127"/>
                      <a:pt x="1063" y="127"/>
                    </a:cubicBezTo>
                    <a:close/>
                    <a:moveTo>
                      <a:pt x="1101" y="128"/>
                    </a:moveTo>
                    <a:cubicBezTo>
                      <a:pt x="1101" y="130"/>
                      <a:pt x="1101" y="133"/>
                      <a:pt x="1100" y="136"/>
                    </a:cubicBezTo>
                    <a:cubicBezTo>
                      <a:pt x="1101" y="136"/>
                      <a:pt x="1106" y="139"/>
                      <a:pt x="1106" y="140"/>
                    </a:cubicBezTo>
                    <a:cubicBezTo>
                      <a:pt x="1108" y="140"/>
                      <a:pt x="1111" y="139"/>
                      <a:pt x="1112" y="140"/>
                    </a:cubicBezTo>
                    <a:cubicBezTo>
                      <a:pt x="1113" y="140"/>
                      <a:pt x="1113" y="141"/>
                      <a:pt x="1114" y="142"/>
                    </a:cubicBezTo>
                    <a:cubicBezTo>
                      <a:pt x="1115" y="142"/>
                      <a:pt x="1121" y="141"/>
                      <a:pt x="1123" y="140"/>
                    </a:cubicBezTo>
                    <a:cubicBezTo>
                      <a:pt x="1124" y="140"/>
                      <a:pt x="1123" y="139"/>
                      <a:pt x="1124" y="138"/>
                    </a:cubicBezTo>
                    <a:cubicBezTo>
                      <a:pt x="1125" y="137"/>
                      <a:pt x="1128" y="136"/>
                      <a:pt x="1131" y="136"/>
                    </a:cubicBezTo>
                    <a:cubicBezTo>
                      <a:pt x="1130" y="133"/>
                      <a:pt x="1130" y="133"/>
                      <a:pt x="1130" y="133"/>
                    </a:cubicBezTo>
                    <a:cubicBezTo>
                      <a:pt x="1130" y="133"/>
                      <a:pt x="1128" y="131"/>
                      <a:pt x="1128" y="131"/>
                    </a:cubicBezTo>
                    <a:cubicBezTo>
                      <a:pt x="1126" y="130"/>
                      <a:pt x="1121" y="130"/>
                      <a:pt x="1118" y="130"/>
                    </a:cubicBezTo>
                    <a:cubicBezTo>
                      <a:pt x="1118" y="129"/>
                      <a:pt x="1116" y="128"/>
                      <a:pt x="1116" y="128"/>
                    </a:cubicBezTo>
                    <a:cubicBezTo>
                      <a:pt x="1114" y="127"/>
                      <a:pt x="1111" y="129"/>
                      <a:pt x="1110" y="129"/>
                    </a:cubicBezTo>
                    <a:cubicBezTo>
                      <a:pt x="1106" y="129"/>
                      <a:pt x="1104" y="128"/>
                      <a:pt x="1101" y="128"/>
                    </a:cubicBezTo>
                    <a:close/>
                    <a:moveTo>
                      <a:pt x="1040" y="152"/>
                    </a:moveTo>
                    <a:cubicBezTo>
                      <a:pt x="1040" y="152"/>
                      <a:pt x="1039" y="153"/>
                      <a:pt x="1039" y="154"/>
                    </a:cubicBezTo>
                    <a:cubicBezTo>
                      <a:pt x="1038" y="156"/>
                      <a:pt x="1040" y="155"/>
                      <a:pt x="1040" y="156"/>
                    </a:cubicBezTo>
                    <a:cubicBezTo>
                      <a:pt x="1039" y="156"/>
                      <a:pt x="1042" y="157"/>
                      <a:pt x="1042" y="157"/>
                    </a:cubicBezTo>
                    <a:cubicBezTo>
                      <a:pt x="1042" y="157"/>
                      <a:pt x="1043" y="157"/>
                      <a:pt x="1043" y="156"/>
                    </a:cubicBezTo>
                    <a:cubicBezTo>
                      <a:pt x="1043" y="156"/>
                      <a:pt x="1043" y="155"/>
                      <a:pt x="1043" y="154"/>
                    </a:cubicBezTo>
                    <a:cubicBezTo>
                      <a:pt x="1043" y="154"/>
                      <a:pt x="1042" y="152"/>
                      <a:pt x="1043" y="152"/>
                    </a:cubicBezTo>
                    <a:cubicBezTo>
                      <a:pt x="1042" y="152"/>
                      <a:pt x="1040" y="152"/>
                      <a:pt x="1040" y="152"/>
                    </a:cubicBezTo>
                    <a:close/>
                    <a:moveTo>
                      <a:pt x="1053" y="155"/>
                    </a:moveTo>
                    <a:cubicBezTo>
                      <a:pt x="1052" y="155"/>
                      <a:pt x="1051" y="157"/>
                      <a:pt x="1051" y="157"/>
                    </a:cubicBezTo>
                    <a:cubicBezTo>
                      <a:pt x="1049" y="158"/>
                      <a:pt x="1046" y="158"/>
                      <a:pt x="1045" y="159"/>
                    </a:cubicBezTo>
                    <a:cubicBezTo>
                      <a:pt x="1043" y="161"/>
                      <a:pt x="1044" y="163"/>
                      <a:pt x="1041" y="164"/>
                    </a:cubicBezTo>
                    <a:cubicBezTo>
                      <a:pt x="1040" y="165"/>
                      <a:pt x="1039" y="165"/>
                      <a:pt x="1037" y="165"/>
                    </a:cubicBezTo>
                    <a:cubicBezTo>
                      <a:pt x="1038" y="167"/>
                      <a:pt x="1038" y="167"/>
                      <a:pt x="1038" y="167"/>
                    </a:cubicBezTo>
                    <a:cubicBezTo>
                      <a:pt x="1039" y="168"/>
                      <a:pt x="1041" y="167"/>
                      <a:pt x="1043" y="167"/>
                    </a:cubicBezTo>
                    <a:cubicBezTo>
                      <a:pt x="1043" y="168"/>
                      <a:pt x="1045" y="169"/>
                      <a:pt x="1046" y="169"/>
                    </a:cubicBezTo>
                    <a:cubicBezTo>
                      <a:pt x="1049" y="170"/>
                      <a:pt x="1049" y="168"/>
                      <a:pt x="1052" y="168"/>
                    </a:cubicBezTo>
                    <a:cubicBezTo>
                      <a:pt x="1052" y="168"/>
                      <a:pt x="1054" y="170"/>
                      <a:pt x="1055" y="170"/>
                    </a:cubicBezTo>
                    <a:cubicBezTo>
                      <a:pt x="1059" y="171"/>
                      <a:pt x="1064" y="171"/>
                      <a:pt x="1068" y="171"/>
                    </a:cubicBezTo>
                    <a:cubicBezTo>
                      <a:pt x="1068" y="169"/>
                      <a:pt x="1069" y="166"/>
                      <a:pt x="1068" y="163"/>
                    </a:cubicBezTo>
                    <a:cubicBezTo>
                      <a:pt x="1067" y="162"/>
                      <a:pt x="1065" y="162"/>
                      <a:pt x="1064" y="161"/>
                    </a:cubicBezTo>
                    <a:cubicBezTo>
                      <a:pt x="1063" y="161"/>
                      <a:pt x="1063" y="160"/>
                      <a:pt x="1063" y="159"/>
                    </a:cubicBezTo>
                    <a:cubicBezTo>
                      <a:pt x="1060" y="157"/>
                      <a:pt x="1059" y="157"/>
                      <a:pt x="1055" y="156"/>
                    </a:cubicBezTo>
                    <a:cubicBezTo>
                      <a:pt x="1055" y="156"/>
                      <a:pt x="1053" y="155"/>
                      <a:pt x="1053" y="155"/>
                    </a:cubicBezTo>
                    <a:close/>
                    <a:moveTo>
                      <a:pt x="1387" y="202"/>
                    </a:moveTo>
                    <a:cubicBezTo>
                      <a:pt x="1385" y="204"/>
                      <a:pt x="1385" y="205"/>
                      <a:pt x="1382" y="206"/>
                    </a:cubicBezTo>
                    <a:cubicBezTo>
                      <a:pt x="1382" y="206"/>
                      <a:pt x="1381" y="206"/>
                      <a:pt x="1380" y="206"/>
                    </a:cubicBezTo>
                    <a:cubicBezTo>
                      <a:pt x="1376" y="211"/>
                      <a:pt x="1376" y="211"/>
                      <a:pt x="1376" y="211"/>
                    </a:cubicBezTo>
                    <a:cubicBezTo>
                      <a:pt x="1375" y="212"/>
                      <a:pt x="1376" y="213"/>
                      <a:pt x="1376" y="213"/>
                    </a:cubicBezTo>
                    <a:cubicBezTo>
                      <a:pt x="1379" y="214"/>
                      <a:pt x="1384" y="215"/>
                      <a:pt x="1387" y="215"/>
                    </a:cubicBezTo>
                    <a:cubicBezTo>
                      <a:pt x="1388" y="214"/>
                      <a:pt x="1389" y="212"/>
                      <a:pt x="1392" y="212"/>
                    </a:cubicBezTo>
                    <a:cubicBezTo>
                      <a:pt x="1392" y="213"/>
                      <a:pt x="1392" y="213"/>
                      <a:pt x="1392" y="213"/>
                    </a:cubicBezTo>
                    <a:cubicBezTo>
                      <a:pt x="1395" y="214"/>
                      <a:pt x="1402" y="214"/>
                      <a:pt x="1405" y="215"/>
                    </a:cubicBezTo>
                    <a:cubicBezTo>
                      <a:pt x="1405" y="212"/>
                      <a:pt x="1406" y="211"/>
                      <a:pt x="1405" y="209"/>
                    </a:cubicBezTo>
                    <a:cubicBezTo>
                      <a:pt x="1404" y="209"/>
                      <a:pt x="1403" y="207"/>
                      <a:pt x="1403" y="207"/>
                    </a:cubicBezTo>
                    <a:cubicBezTo>
                      <a:pt x="1400" y="205"/>
                      <a:pt x="1396" y="206"/>
                      <a:pt x="1393" y="205"/>
                    </a:cubicBezTo>
                    <a:cubicBezTo>
                      <a:pt x="1391" y="205"/>
                      <a:pt x="1389" y="203"/>
                      <a:pt x="1387" y="202"/>
                    </a:cubicBezTo>
                    <a:close/>
                    <a:moveTo>
                      <a:pt x="1285" y="219"/>
                    </a:moveTo>
                    <a:cubicBezTo>
                      <a:pt x="1284" y="220"/>
                      <a:pt x="1284" y="219"/>
                      <a:pt x="1283" y="220"/>
                    </a:cubicBezTo>
                    <a:cubicBezTo>
                      <a:pt x="1282" y="221"/>
                      <a:pt x="1283" y="222"/>
                      <a:pt x="1283" y="223"/>
                    </a:cubicBezTo>
                    <a:cubicBezTo>
                      <a:pt x="1285" y="225"/>
                      <a:pt x="1287" y="227"/>
                      <a:pt x="1291" y="225"/>
                    </a:cubicBezTo>
                    <a:cubicBezTo>
                      <a:pt x="1291" y="225"/>
                      <a:pt x="1291" y="224"/>
                      <a:pt x="1292" y="223"/>
                    </a:cubicBezTo>
                    <a:lnTo>
                      <a:pt x="1285" y="219"/>
                    </a:lnTo>
                    <a:close/>
                    <a:moveTo>
                      <a:pt x="133" y="335"/>
                    </a:moveTo>
                    <a:cubicBezTo>
                      <a:pt x="134" y="335"/>
                      <a:pt x="136" y="336"/>
                      <a:pt x="136" y="336"/>
                    </a:cubicBezTo>
                    <a:cubicBezTo>
                      <a:pt x="137" y="337"/>
                      <a:pt x="139" y="336"/>
                      <a:pt x="141" y="336"/>
                    </a:cubicBezTo>
                    <a:cubicBezTo>
                      <a:pt x="141" y="337"/>
                      <a:pt x="142" y="338"/>
                      <a:pt x="143" y="338"/>
                    </a:cubicBezTo>
                    <a:cubicBezTo>
                      <a:pt x="143" y="341"/>
                      <a:pt x="141" y="344"/>
                      <a:pt x="143" y="347"/>
                    </a:cubicBezTo>
                    <a:cubicBezTo>
                      <a:pt x="143" y="348"/>
                      <a:pt x="145" y="349"/>
                      <a:pt x="146" y="350"/>
                    </a:cubicBezTo>
                    <a:cubicBezTo>
                      <a:pt x="146" y="350"/>
                      <a:pt x="149" y="354"/>
                      <a:pt x="148" y="354"/>
                    </a:cubicBezTo>
                    <a:cubicBezTo>
                      <a:pt x="146" y="355"/>
                      <a:pt x="147" y="356"/>
                      <a:pt x="147" y="358"/>
                    </a:cubicBezTo>
                    <a:cubicBezTo>
                      <a:pt x="146" y="359"/>
                      <a:pt x="145" y="359"/>
                      <a:pt x="145" y="360"/>
                    </a:cubicBezTo>
                    <a:cubicBezTo>
                      <a:pt x="145" y="360"/>
                      <a:pt x="144" y="361"/>
                      <a:pt x="144" y="361"/>
                    </a:cubicBezTo>
                    <a:cubicBezTo>
                      <a:pt x="144" y="360"/>
                      <a:pt x="142" y="358"/>
                      <a:pt x="141" y="357"/>
                    </a:cubicBezTo>
                    <a:cubicBezTo>
                      <a:pt x="141" y="356"/>
                      <a:pt x="139" y="353"/>
                      <a:pt x="138" y="353"/>
                    </a:cubicBezTo>
                    <a:cubicBezTo>
                      <a:pt x="138" y="353"/>
                      <a:pt x="136" y="353"/>
                      <a:pt x="136" y="353"/>
                    </a:cubicBezTo>
                    <a:cubicBezTo>
                      <a:pt x="135" y="352"/>
                      <a:pt x="136" y="351"/>
                      <a:pt x="135" y="350"/>
                    </a:cubicBezTo>
                    <a:cubicBezTo>
                      <a:pt x="135" y="349"/>
                      <a:pt x="132" y="349"/>
                      <a:pt x="131" y="348"/>
                    </a:cubicBezTo>
                    <a:cubicBezTo>
                      <a:pt x="131" y="348"/>
                      <a:pt x="131" y="346"/>
                      <a:pt x="131" y="346"/>
                    </a:cubicBezTo>
                    <a:cubicBezTo>
                      <a:pt x="132" y="347"/>
                      <a:pt x="133" y="346"/>
                      <a:pt x="134" y="346"/>
                    </a:cubicBezTo>
                    <a:cubicBezTo>
                      <a:pt x="134" y="347"/>
                      <a:pt x="134" y="348"/>
                      <a:pt x="135" y="348"/>
                    </a:cubicBezTo>
                    <a:cubicBezTo>
                      <a:pt x="136" y="354"/>
                      <a:pt x="136" y="348"/>
                      <a:pt x="134" y="346"/>
                    </a:cubicBezTo>
                    <a:cubicBezTo>
                      <a:pt x="135" y="346"/>
                      <a:pt x="135" y="346"/>
                      <a:pt x="135" y="346"/>
                    </a:cubicBezTo>
                    <a:cubicBezTo>
                      <a:pt x="135" y="346"/>
                      <a:pt x="135" y="346"/>
                      <a:pt x="135" y="345"/>
                    </a:cubicBezTo>
                    <a:cubicBezTo>
                      <a:pt x="140" y="344"/>
                      <a:pt x="138" y="349"/>
                      <a:pt x="139" y="339"/>
                    </a:cubicBezTo>
                    <a:cubicBezTo>
                      <a:pt x="138" y="339"/>
                      <a:pt x="137" y="339"/>
                      <a:pt x="135" y="340"/>
                    </a:cubicBezTo>
                    <a:cubicBezTo>
                      <a:pt x="135" y="340"/>
                      <a:pt x="135" y="340"/>
                      <a:pt x="135" y="340"/>
                    </a:cubicBezTo>
                    <a:cubicBezTo>
                      <a:pt x="134" y="340"/>
                      <a:pt x="134" y="338"/>
                      <a:pt x="133" y="338"/>
                    </a:cubicBezTo>
                    <a:cubicBezTo>
                      <a:pt x="133" y="338"/>
                      <a:pt x="134" y="336"/>
                      <a:pt x="133" y="336"/>
                    </a:cubicBezTo>
                    <a:cubicBezTo>
                      <a:pt x="132" y="336"/>
                      <a:pt x="132" y="335"/>
                      <a:pt x="133" y="335"/>
                    </a:cubicBezTo>
                    <a:close/>
                    <a:moveTo>
                      <a:pt x="99" y="347"/>
                    </a:moveTo>
                    <a:cubicBezTo>
                      <a:pt x="101" y="347"/>
                      <a:pt x="99" y="348"/>
                      <a:pt x="100" y="348"/>
                    </a:cubicBezTo>
                    <a:cubicBezTo>
                      <a:pt x="101" y="349"/>
                      <a:pt x="103" y="348"/>
                      <a:pt x="104" y="348"/>
                    </a:cubicBezTo>
                    <a:cubicBezTo>
                      <a:pt x="104" y="349"/>
                      <a:pt x="105" y="351"/>
                      <a:pt x="105" y="352"/>
                    </a:cubicBezTo>
                    <a:cubicBezTo>
                      <a:pt x="106" y="352"/>
                      <a:pt x="107" y="352"/>
                      <a:pt x="108" y="352"/>
                    </a:cubicBezTo>
                    <a:cubicBezTo>
                      <a:pt x="113" y="356"/>
                      <a:pt x="114" y="360"/>
                      <a:pt x="117" y="366"/>
                    </a:cubicBezTo>
                    <a:cubicBezTo>
                      <a:pt x="115" y="366"/>
                      <a:pt x="115" y="365"/>
                      <a:pt x="113" y="365"/>
                    </a:cubicBezTo>
                    <a:cubicBezTo>
                      <a:pt x="113" y="367"/>
                      <a:pt x="114" y="368"/>
                      <a:pt x="113" y="369"/>
                    </a:cubicBezTo>
                    <a:cubicBezTo>
                      <a:pt x="112" y="369"/>
                      <a:pt x="111" y="368"/>
                      <a:pt x="111" y="368"/>
                    </a:cubicBezTo>
                    <a:cubicBezTo>
                      <a:pt x="108" y="368"/>
                      <a:pt x="108" y="369"/>
                      <a:pt x="105" y="372"/>
                    </a:cubicBezTo>
                    <a:cubicBezTo>
                      <a:pt x="104" y="371"/>
                      <a:pt x="103" y="371"/>
                      <a:pt x="101" y="371"/>
                    </a:cubicBezTo>
                    <a:cubicBezTo>
                      <a:pt x="101" y="370"/>
                      <a:pt x="102" y="368"/>
                      <a:pt x="101" y="367"/>
                    </a:cubicBezTo>
                    <a:cubicBezTo>
                      <a:pt x="101" y="365"/>
                      <a:pt x="97" y="364"/>
                      <a:pt x="97" y="362"/>
                    </a:cubicBezTo>
                    <a:cubicBezTo>
                      <a:pt x="96" y="360"/>
                      <a:pt x="97" y="359"/>
                      <a:pt x="96" y="357"/>
                    </a:cubicBezTo>
                    <a:cubicBezTo>
                      <a:pt x="96" y="356"/>
                      <a:pt x="93" y="356"/>
                      <a:pt x="93" y="355"/>
                    </a:cubicBezTo>
                    <a:cubicBezTo>
                      <a:pt x="92" y="354"/>
                      <a:pt x="92" y="353"/>
                      <a:pt x="91" y="352"/>
                    </a:cubicBezTo>
                    <a:cubicBezTo>
                      <a:pt x="93" y="352"/>
                      <a:pt x="93" y="352"/>
                      <a:pt x="93" y="352"/>
                    </a:cubicBezTo>
                    <a:cubicBezTo>
                      <a:pt x="93" y="351"/>
                      <a:pt x="94" y="349"/>
                      <a:pt x="94" y="349"/>
                    </a:cubicBezTo>
                    <a:cubicBezTo>
                      <a:pt x="94" y="349"/>
                      <a:pt x="95" y="349"/>
                      <a:pt x="95" y="350"/>
                    </a:cubicBezTo>
                    <a:cubicBezTo>
                      <a:pt x="96" y="350"/>
                      <a:pt x="97" y="350"/>
                      <a:pt x="97" y="350"/>
                    </a:cubicBezTo>
                    <a:cubicBezTo>
                      <a:pt x="98" y="348"/>
                      <a:pt x="97" y="347"/>
                      <a:pt x="99" y="347"/>
                    </a:cubicBezTo>
                    <a:close/>
                    <a:moveTo>
                      <a:pt x="1245" y="386"/>
                    </a:moveTo>
                    <a:cubicBezTo>
                      <a:pt x="1245" y="387"/>
                      <a:pt x="1244" y="388"/>
                      <a:pt x="1243" y="389"/>
                    </a:cubicBezTo>
                    <a:cubicBezTo>
                      <a:pt x="1242" y="389"/>
                      <a:pt x="1240" y="390"/>
                      <a:pt x="1239" y="391"/>
                    </a:cubicBezTo>
                    <a:cubicBezTo>
                      <a:pt x="1239" y="392"/>
                      <a:pt x="1239" y="395"/>
                      <a:pt x="1239" y="397"/>
                    </a:cubicBezTo>
                    <a:cubicBezTo>
                      <a:pt x="1237" y="396"/>
                      <a:pt x="1240" y="399"/>
                      <a:pt x="1240" y="399"/>
                    </a:cubicBezTo>
                    <a:cubicBezTo>
                      <a:pt x="1242" y="396"/>
                      <a:pt x="1244" y="394"/>
                      <a:pt x="1247" y="391"/>
                    </a:cubicBezTo>
                    <a:cubicBezTo>
                      <a:pt x="1247" y="390"/>
                      <a:pt x="1247" y="388"/>
                      <a:pt x="1247" y="386"/>
                    </a:cubicBezTo>
                    <a:lnTo>
                      <a:pt x="1245" y="386"/>
                    </a:lnTo>
                    <a:close/>
                    <a:moveTo>
                      <a:pt x="75" y="403"/>
                    </a:moveTo>
                    <a:cubicBezTo>
                      <a:pt x="76" y="404"/>
                      <a:pt x="76" y="405"/>
                      <a:pt x="75" y="405"/>
                    </a:cubicBezTo>
                    <a:cubicBezTo>
                      <a:pt x="75" y="405"/>
                      <a:pt x="73" y="403"/>
                      <a:pt x="75" y="403"/>
                    </a:cubicBezTo>
                    <a:close/>
                    <a:moveTo>
                      <a:pt x="775" y="439"/>
                    </a:moveTo>
                    <a:cubicBezTo>
                      <a:pt x="776" y="439"/>
                      <a:pt x="776" y="439"/>
                      <a:pt x="776" y="439"/>
                    </a:cubicBezTo>
                    <a:cubicBezTo>
                      <a:pt x="776" y="439"/>
                      <a:pt x="777" y="441"/>
                      <a:pt x="777" y="441"/>
                    </a:cubicBezTo>
                    <a:cubicBezTo>
                      <a:pt x="777" y="443"/>
                      <a:pt x="775" y="443"/>
                      <a:pt x="775" y="444"/>
                    </a:cubicBezTo>
                    <a:cubicBezTo>
                      <a:pt x="775" y="445"/>
                      <a:pt x="775" y="453"/>
                      <a:pt x="775" y="453"/>
                    </a:cubicBezTo>
                    <a:cubicBezTo>
                      <a:pt x="775" y="454"/>
                      <a:pt x="777" y="455"/>
                      <a:pt x="776" y="457"/>
                    </a:cubicBezTo>
                    <a:cubicBezTo>
                      <a:pt x="776" y="458"/>
                      <a:pt x="774" y="460"/>
                      <a:pt x="773" y="460"/>
                    </a:cubicBezTo>
                    <a:cubicBezTo>
                      <a:pt x="773" y="461"/>
                      <a:pt x="773" y="463"/>
                      <a:pt x="772" y="465"/>
                    </a:cubicBezTo>
                    <a:cubicBezTo>
                      <a:pt x="771" y="464"/>
                      <a:pt x="771" y="463"/>
                      <a:pt x="770" y="463"/>
                    </a:cubicBezTo>
                    <a:cubicBezTo>
                      <a:pt x="770" y="463"/>
                      <a:pt x="769" y="464"/>
                      <a:pt x="768" y="464"/>
                    </a:cubicBezTo>
                    <a:cubicBezTo>
                      <a:pt x="768" y="465"/>
                      <a:pt x="768" y="465"/>
                      <a:pt x="768" y="466"/>
                    </a:cubicBezTo>
                    <a:cubicBezTo>
                      <a:pt x="768" y="466"/>
                      <a:pt x="764" y="469"/>
                      <a:pt x="767" y="469"/>
                    </a:cubicBezTo>
                    <a:cubicBezTo>
                      <a:pt x="767" y="469"/>
                      <a:pt x="769" y="468"/>
                      <a:pt x="769" y="468"/>
                    </a:cubicBezTo>
                    <a:cubicBezTo>
                      <a:pt x="769" y="468"/>
                      <a:pt x="769" y="470"/>
                      <a:pt x="769" y="470"/>
                    </a:cubicBezTo>
                    <a:cubicBezTo>
                      <a:pt x="768" y="471"/>
                      <a:pt x="766" y="471"/>
                      <a:pt x="765" y="472"/>
                    </a:cubicBezTo>
                    <a:cubicBezTo>
                      <a:pt x="765" y="472"/>
                      <a:pt x="764" y="476"/>
                      <a:pt x="763" y="477"/>
                    </a:cubicBezTo>
                    <a:cubicBezTo>
                      <a:pt x="762" y="477"/>
                      <a:pt x="759" y="476"/>
                      <a:pt x="758" y="477"/>
                    </a:cubicBezTo>
                    <a:cubicBezTo>
                      <a:pt x="758" y="477"/>
                      <a:pt x="758" y="479"/>
                      <a:pt x="758" y="479"/>
                    </a:cubicBezTo>
                    <a:cubicBezTo>
                      <a:pt x="758" y="480"/>
                      <a:pt x="753" y="484"/>
                      <a:pt x="753" y="484"/>
                    </a:cubicBezTo>
                    <a:cubicBezTo>
                      <a:pt x="751" y="484"/>
                      <a:pt x="751" y="483"/>
                      <a:pt x="749" y="483"/>
                    </a:cubicBezTo>
                    <a:cubicBezTo>
                      <a:pt x="747" y="485"/>
                      <a:pt x="745" y="487"/>
                      <a:pt x="744" y="489"/>
                    </a:cubicBezTo>
                    <a:cubicBezTo>
                      <a:pt x="743" y="490"/>
                      <a:pt x="744" y="492"/>
                      <a:pt x="743" y="493"/>
                    </a:cubicBezTo>
                    <a:cubicBezTo>
                      <a:pt x="741" y="493"/>
                      <a:pt x="741" y="493"/>
                      <a:pt x="741" y="493"/>
                    </a:cubicBezTo>
                    <a:cubicBezTo>
                      <a:pt x="741" y="493"/>
                      <a:pt x="740" y="495"/>
                      <a:pt x="740" y="495"/>
                    </a:cubicBezTo>
                    <a:cubicBezTo>
                      <a:pt x="738" y="498"/>
                      <a:pt x="734" y="501"/>
                      <a:pt x="728" y="500"/>
                    </a:cubicBezTo>
                    <a:cubicBezTo>
                      <a:pt x="727" y="500"/>
                      <a:pt x="724" y="498"/>
                      <a:pt x="723" y="497"/>
                    </a:cubicBezTo>
                    <a:cubicBezTo>
                      <a:pt x="723" y="496"/>
                      <a:pt x="723" y="496"/>
                      <a:pt x="723" y="496"/>
                    </a:cubicBezTo>
                    <a:cubicBezTo>
                      <a:pt x="731" y="495"/>
                      <a:pt x="733" y="493"/>
                      <a:pt x="737" y="488"/>
                    </a:cubicBezTo>
                    <a:cubicBezTo>
                      <a:pt x="738" y="487"/>
                      <a:pt x="739" y="486"/>
                      <a:pt x="740" y="485"/>
                    </a:cubicBezTo>
                    <a:cubicBezTo>
                      <a:pt x="742" y="482"/>
                      <a:pt x="742" y="479"/>
                      <a:pt x="744" y="478"/>
                    </a:cubicBezTo>
                    <a:cubicBezTo>
                      <a:pt x="746" y="477"/>
                      <a:pt x="748" y="477"/>
                      <a:pt x="749" y="475"/>
                    </a:cubicBezTo>
                    <a:cubicBezTo>
                      <a:pt x="750" y="474"/>
                      <a:pt x="750" y="473"/>
                      <a:pt x="751" y="472"/>
                    </a:cubicBezTo>
                    <a:cubicBezTo>
                      <a:pt x="752" y="471"/>
                      <a:pt x="754" y="471"/>
                      <a:pt x="755" y="470"/>
                    </a:cubicBezTo>
                    <a:cubicBezTo>
                      <a:pt x="757" y="468"/>
                      <a:pt x="758" y="466"/>
                      <a:pt x="759" y="464"/>
                    </a:cubicBezTo>
                    <a:cubicBezTo>
                      <a:pt x="760" y="463"/>
                      <a:pt x="763" y="462"/>
                      <a:pt x="763" y="461"/>
                    </a:cubicBezTo>
                    <a:cubicBezTo>
                      <a:pt x="764" y="459"/>
                      <a:pt x="764" y="457"/>
                      <a:pt x="765" y="456"/>
                    </a:cubicBezTo>
                    <a:cubicBezTo>
                      <a:pt x="765" y="455"/>
                      <a:pt x="767" y="455"/>
                      <a:pt x="767" y="454"/>
                    </a:cubicBezTo>
                    <a:cubicBezTo>
                      <a:pt x="768" y="453"/>
                      <a:pt x="767" y="451"/>
                      <a:pt x="768" y="449"/>
                    </a:cubicBezTo>
                    <a:cubicBezTo>
                      <a:pt x="768" y="449"/>
                      <a:pt x="770" y="448"/>
                      <a:pt x="770" y="448"/>
                    </a:cubicBezTo>
                    <a:cubicBezTo>
                      <a:pt x="772" y="446"/>
                      <a:pt x="771" y="444"/>
                      <a:pt x="772" y="441"/>
                    </a:cubicBezTo>
                    <a:cubicBezTo>
                      <a:pt x="772" y="441"/>
                      <a:pt x="774" y="439"/>
                      <a:pt x="775" y="439"/>
                    </a:cubicBezTo>
                    <a:close/>
                    <a:moveTo>
                      <a:pt x="1016" y="449"/>
                    </a:moveTo>
                    <a:cubicBezTo>
                      <a:pt x="1012" y="453"/>
                      <a:pt x="1013" y="454"/>
                      <a:pt x="1018" y="456"/>
                    </a:cubicBezTo>
                    <a:cubicBezTo>
                      <a:pt x="1019" y="455"/>
                      <a:pt x="1019" y="453"/>
                      <a:pt x="1021" y="452"/>
                    </a:cubicBezTo>
                    <a:cubicBezTo>
                      <a:pt x="1019" y="451"/>
                      <a:pt x="1018" y="450"/>
                      <a:pt x="1016" y="449"/>
                    </a:cubicBezTo>
                    <a:close/>
                    <a:moveTo>
                      <a:pt x="1063" y="459"/>
                    </a:moveTo>
                    <a:cubicBezTo>
                      <a:pt x="1062" y="460"/>
                      <a:pt x="1062" y="461"/>
                      <a:pt x="1062" y="463"/>
                    </a:cubicBezTo>
                    <a:cubicBezTo>
                      <a:pt x="1061" y="463"/>
                      <a:pt x="1060" y="462"/>
                      <a:pt x="1059" y="463"/>
                    </a:cubicBezTo>
                    <a:cubicBezTo>
                      <a:pt x="1060" y="467"/>
                      <a:pt x="1060" y="469"/>
                      <a:pt x="1061" y="474"/>
                    </a:cubicBezTo>
                    <a:cubicBezTo>
                      <a:pt x="1059" y="475"/>
                      <a:pt x="1058" y="476"/>
                      <a:pt x="1056" y="477"/>
                    </a:cubicBezTo>
                    <a:cubicBezTo>
                      <a:pt x="1056" y="477"/>
                      <a:pt x="1056" y="479"/>
                      <a:pt x="1056" y="480"/>
                    </a:cubicBezTo>
                    <a:cubicBezTo>
                      <a:pt x="1056" y="480"/>
                      <a:pt x="1054" y="481"/>
                      <a:pt x="1054" y="481"/>
                    </a:cubicBezTo>
                    <a:cubicBezTo>
                      <a:pt x="1053" y="484"/>
                      <a:pt x="1055" y="485"/>
                      <a:pt x="1055" y="487"/>
                    </a:cubicBezTo>
                    <a:cubicBezTo>
                      <a:pt x="1054" y="489"/>
                      <a:pt x="1053" y="490"/>
                      <a:pt x="1053" y="493"/>
                    </a:cubicBezTo>
                    <a:cubicBezTo>
                      <a:pt x="1053" y="494"/>
                      <a:pt x="1055" y="497"/>
                      <a:pt x="1055" y="498"/>
                    </a:cubicBezTo>
                    <a:cubicBezTo>
                      <a:pt x="1056" y="502"/>
                      <a:pt x="1055" y="503"/>
                      <a:pt x="1055" y="507"/>
                    </a:cubicBezTo>
                    <a:cubicBezTo>
                      <a:pt x="1055" y="507"/>
                      <a:pt x="1057" y="512"/>
                      <a:pt x="1057" y="512"/>
                    </a:cubicBezTo>
                    <a:cubicBezTo>
                      <a:pt x="1057" y="516"/>
                      <a:pt x="1055" y="521"/>
                      <a:pt x="1055" y="524"/>
                    </a:cubicBezTo>
                    <a:cubicBezTo>
                      <a:pt x="1055" y="526"/>
                      <a:pt x="1056" y="530"/>
                      <a:pt x="1056" y="531"/>
                    </a:cubicBezTo>
                    <a:cubicBezTo>
                      <a:pt x="1056" y="531"/>
                      <a:pt x="1055" y="532"/>
                      <a:pt x="1055" y="532"/>
                    </a:cubicBezTo>
                    <a:cubicBezTo>
                      <a:pt x="1055" y="535"/>
                      <a:pt x="1056" y="538"/>
                      <a:pt x="1057" y="540"/>
                    </a:cubicBezTo>
                    <a:cubicBezTo>
                      <a:pt x="1057" y="542"/>
                      <a:pt x="1057" y="546"/>
                      <a:pt x="1056" y="548"/>
                    </a:cubicBezTo>
                    <a:cubicBezTo>
                      <a:pt x="1055" y="550"/>
                      <a:pt x="1055" y="550"/>
                      <a:pt x="1055" y="550"/>
                    </a:cubicBezTo>
                    <a:cubicBezTo>
                      <a:pt x="1054" y="553"/>
                      <a:pt x="1055" y="554"/>
                      <a:pt x="1055" y="556"/>
                    </a:cubicBezTo>
                    <a:cubicBezTo>
                      <a:pt x="1054" y="558"/>
                      <a:pt x="1054" y="558"/>
                      <a:pt x="1054" y="558"/>
                    </a:cubicBezTo>
                    <a:cubicBezTo>
                      <a:pt x="1053" y="560"/>
                      <a:pt x="1053" y="563"/>
                      <a:pt x="1053" y="566"/>
                    </a:cubicBezTo>
                    <a:cubicBezTo>
                      <a:pt x="1053" y="566"/>
                      <a:pt x="1054" y="566"/>
                      <a:pt x="1055" y="566"/>
                    </a:cubicBezTo>
                    <a:cubicBezTo>
                      <a:pt x="1055" y="565"/>
                      <a:pt x="1055" y="565"/>
                      <a:pt x="1055" y="564"/>
                    </a:cubicBezTo>
                    <a:cubicBezTo>
                      <a:pt x="1056" y="562"/>
                      <a:pt x="1056" y="558"/>
                      <a:pt x="1058" y="558"/>
                    </a:cubicBezTo>
                    <a:cubicBezTo>
                      <a:pt x="1058" y="557"/>
                      <a:pt x="1059" y="558"/>
                      <a:pt x="1060" y="558"/>
                    </a:cubicBezTo>
                    <a:cubicBezTo>
                      <a:pt x="1060" y="559"/>
                      <a:pt x="1060" y="559"/>
                      <a:pt x="1061" y="560"/>
                    </a:cubicBezTo>
                    <a:cubicBezTo>
                      <a:pt x="1061" y="561"/>
                      <a:pt x="1062" y="561"/>
                      <a:pt x="1063" y="562"/>
                    </a:cubicBezTo>
                    <a:cubicBezTo>
                      <a:pt x="1063" y="562"/>
                      <a:pt x="1064" y="563"/>
                      <a:pt x="1064" y="563"/>
                    </a:cubicBezTo>
                    <a:cubicBezTo>
                      <a:pt x="1065" y="564"/>
                      <a:pt x="1064" y="565"/>
                      <a:pt x="1065" y="567"/>
                    </a:cubicBezTo>
                    <a:cubicBezTo>
                      <a:pt x="1067" y="566"/>
                      <a:pt x="1067" y="566"/>
                      <a:pt x="1067" y="566"/>
                    </a:cubicBezTo>
                    <a:cubicBezTo>
                      <a:pt x="1066" y="563"/>
                      <a:pt x="1067" y="559"/>
                      <a:pt x="1066" y="557"/>
                    </a:cubicBezTo>
                    <a:cubicBezTo>
                      <a:pt x="1063" y="556"/>
                      <a:pt x="1063" y="556"/>
                      <a:pt x="1063" y="556"/>
                    </a:cubicBezTo>
                    <a:cubicBezTo>
                      <a:pt x="1062" y="552"/>
                      <a:pt x="1060" y="549"/>
                      <a:pt x="1060" y="544"/>
                    </a:cubicBezTo>
                    <a:cubicBezTo>
                      <a:pt x="1060" y="540"/>
                      <a:pt x="1062" y="536"/>
                      <a:pt x="1063" y="532"/>
                    </a:cubicBezTo>
                    <a:cubicBezTo>
                      <a:pt x="1064" y="530"/>
                      <a:pt x="1063" y="528"/>
                      <a:pt x="1064" y="525"/>
                    </a:cubicBezTo>
                    <a:cubicBezTo>
                      <a:pt x="1067" y="516"/>
                      <a:pt x="1073" y="524"/>
                      <a:pt x="1076" y="527"/>
                    </a:cubicBezTo>
                    <a:cubicBezTo>
                      <a:pt x="1076" y="525"/>
                      <a:pt x="1076" y="523"/>
                      <a:pt x="1075" y="522"/>
                    </a:cubicBezTo>
                    <a:cubicBezTo>
                      <a:pt x="1074" y="522"/>
                      <a:pt x="1074" y="522"/>
                      <a:pt x="1074" y="522"/>
                    </a:cubicBezTo>
                    <a:cubicBezTo>
                      <a:pt x="1073" y="520"/>
                      <a:pt x="1074" y="519"/>
                      <a:pt x="1072" y="517"/>
                    </a:cubicBezTo>
                    <a:cubicBezTo>
                      <a:pt x="1072" y="517"/>
                      <a:pt x="1071" y="517"/>
                      <a:pt x="1070" y="517"/>
                    </a:cubicBezTo>
                    <a:cubicBezTo>
                      <a:pt x="1067" y="513"/>
                      <a:pt x="1067" y="513"/>
                      <a:pt x="1067" y="513"/>
                    </a:cubicBezTo>
                    <a:cubicBezTo>
                      <a:pt x="1066" y="510"/>
                      <a:pt x="1069" y="510"/>
                      <a:pt x="1069" y="508"/>
                    </a:cubicBezTo>
                    <a:cubicBezTo>
                      <a:pt x="1069" y="506"/>
                      <a:pt x="1067" y="501"/>
                      <a:pt x="1067" y="501"/>
                    </a:cubicBezTo>
                    <a:cubicBezTo>
                      <a:pt x="1066" y="498"/>
                      <a:pt x="1067" y="494"/>
                      <a:pt x="1068" y="491"/>
                    </a:cubicBezTo>
                    <a:cubicBezTo>
                      <a:pt x="1068" y="491"/>
                      <a:pt x="1065" y="491"/>
                      <a:pt x="1067" y="490"/>
                    </a:cubicBezTo>
                    <a:cubicBezTo>
                      <a:pt x="1067" y="490"/>
                      <a:pt x="1068" y="485"/>
                      <a:pt x="1069" y="485"/>
                    </a:cubicBezTo>
                    <a:cubicBezTo>
                      <a:pt x="1069" y="479"/>
                      <a:pt x="1065" y="478"/>
                      <a:pt x="1065" y="474"/>
                    </a:cubicBezTo>
                    <a:cubicBezTo>
                      <a:pt x="1064" y="469"/>
                      <a:pt x="1067" y="469"/>
                      <a:pt x="1066" y="464"/>
                    </a:cubicBezTo>
                    <a:cubicBezTo>
                      <a:pt x="1066" y="463"/>
                      <a:pt x="1064" y="461"/>
                      <a:pt x="1063" y="459"/>
                    </a:cubicBezTo>
                    <a:close/>
                    <a:moveTo>
                      <a:pt x="1176" y="505"/>
                    </a:moveTo>
                    <a:cubicBezTo>
                      <a:pt x="1175" y="505"/>
                      <a:pt x="1174" y="507"/>
                      <a:pt x="1174" y="507"/>
                    </a:cubicBezTo>
                    <a:cubicBezTo>
                      <a:pt x="1171" y="508"/>
                      <a:pt x="1169" y="507"/>
                      <a:pt x="1170" y="509"/>
                    </a:cubicBezTo>
                    <a:cubicBezTo>
                      <a:pt x="1171" y="510"/>
                      <a:pt x="1170" y="511"/>
                      <a:pt x="1172" y="510"/>
                    </a:cubicBezTo>
                    <a:cubicBezTo>
                      <a:pt x="1172" y="510"/>
                      <a:pt x="1180" y="504"/>
                      <a:pt x="1176" y="505"/>
                    </a:cubicBezTo>
                    <a:close/>
                    <a:moveTo>
                      <a:pt x="1164" y="518"/>
                    </a:moveTo>
                    <a:cubicBezTo>
                      <a:pt x="1164" y="520"/>
                      <a:pt x="1164" y="520"/>
                      <a:pt x="1164" y="520"/>
                    </a:cubicBezTo>
                    <a:cubicBezTo>
                      <a:pt x="1164" y="520"/>
                      <a:pt x="1164" y="521"/>
                      <a:pt x="1165" y="521"/>
                    </a:cubicBezTo>
                    <a:cubicBezTo>
                      <a:pt x="1165" y="521"/>
                      <a:pt x="1167" y="517"/>
                      <a:pt x="1164" y="518"/>
                    </a:cubicBezTo>
                    <a:close/>
                    <a:moveTo>
                      <a:pt x="1158" y="528"/>
                    </a:moveTo>
                    <a:cubicBezTo>
                      <a:pt x="1159" y="529"/>
                      <a:pt x="1159" y="529"/>
                      <a:pt x="1159" y="529"/>
                    </a:cubicBezTo>
                    <a:cubicBezTo>
                      <a:pt x="1159" y="528"/>
                      <a:pt x="1159" y="528"/>
                      <a:pt x="1158" y="528"/>
                    </a:cubicBezTo>
                    <a:close/>
                    <a:moveTo>
                      <a:pt x="1140" y="550"/>
                    </a:moveTo>
                    <a:cubicBezTo>
                      <a:pt x="1139" y="551"/>
                      <a:pt x="1138" y="553"/>
                      <a:pt x="1138" y="554"/>
                    </a:cubicBezTo>
                    <a:cubicBezTo>
                      <a:pt x="1132" y="562"/>
                      <a:pt x="1141" y="552"/>
                      <a:pt x="1141" y="552"/>
                    </a:cubicBezTo>
                    <a:cubicBezTo>
                      <a:pt x="1141" y="552"/>
                      <a:pt x="1141" y="551"/>
                      <a:pt x="1141" y="550"/>
                    </a:cubicBezTo>
                    <a:lnTo>
                      <a:pt x="1140" y="550"/>
                    </a:lnTo>
                    <a:close/>
                    <a:moveTo>
                      <a:pt x="1125" y="562"/>
                    </a:moveTo>
                    <a:cubicBezTo>
                      <a:pt x="1124" y="562"/>
                      <a:pt x="1122" y="564"/>
                      <a:pt x="1121" y="565"/>
                    </a:cubicBezTo>
                    <a:cubicBezTo>
                      <a:pt x="1120" y="565"/>
                      <a:pt x="1120" y="565"/>
                      <a:pt x="1120" y="565"/>
                    </a:cubicBezTo>
                    <a:cubicBezTo>
                      <a:pt x="1120" y="566"/>
                      <a:pt x="1121" y="567"/>
                      <a:pt x="1120" y="568"/>
                    </a:cubicBezTo>
                    <a:cubicBezTo>
                      <a:pt x="1120" y="568"/>
                      <a:pt x="1117" y="572"/>
                      <a:pt x="1120" y="571"/>
                    </a:cubicBezTo>
                    <a:cubicBezTo>
                      <a:pt x="1122" y="570"/>
                      <a:pt x="1125" y="566"/>
                      <a:pt x="1126" y="564"/>
                    </a:cubicBezTo>
                    <a:cubicBezTo>
                      <a:pt x="1126" y="563"/>
                      <a:pt x="1126" y="561"/>
                      <a:pt x="1125" y="562"/>
                    </a:cubicBezTo>
                    <a:close/>
                    <a:moveTo>
                      <a:pt x="1111" y="570"/>
                    </a:moveTo>
                    <a:cubicBezTo>
                      <a:pt x="1110" y="572"/>
                      <a:pt x="1110" y="574"/>
                      <a:pt x="1109" y="576"/>
                    </a:cubicBezTo>
                    <a:cubicBezTo>
                      <a:pt x="1109" y="577"/>
                      <a:pt x="1107" y="577"/>
                      <a:pt x="1107" y="577"/>
                    </a:cubicBezTo>
                    <a:cubicBezTo>
                      <a:pt x="1106" y="576"/>
                      <a:pt x="1107" y="576"/>
                      <a:pt x="1105" y="575"/>
                    </a:cubicBezTo>
                    <a:cubicBezTo>
                      <a:pt x="1104" y="575"/>
                      <a:pt x="1104" y="577"/>
                      <a:pt x="1104" y="578"/>
                    </a:cubicBezTo>
                    <a:cubicBezTo>
                      <a:pt x="1103" y="578"/>
                      <a:pt x="1101" y="577"/>
                      <a:pt x="1101" y="578"/>
                    </a:cubicBezTo>
                    <a:cubicBezTo>
                      <a:pt x="1101" y="580"/>
                      <a:pt x="1101" y="580"/>
                      <a:pt x="1101" y="580"/>
                    </a:cubicBezTo>
                    <a:cubicBezTo>
                      <a:pt x="1100" y="581"/>
                      <a:pt x="1098" y="582"/>
                      <a:pt x="1097" y="583"/>
                    </a:cubicBezTo>
                    <a:cubicBezTo>
                      <a:pt x="1096" y="584"/>
                      <a:pt x="1098" y="584"/>
                      <a:pt x="1098" y="584"/>
                    </a:cubicBezTo>
                    <a:cubicBezTo>
                      <a:pt x="1099" y="584"/>
                      <a:pt x="1100" y="582"/>
                      <a:pt x="1101" y="582"/>
                    </a:cubicBezTo>
                    <a:cubicBezTo>
                      <a:pt x="1102" y="581"/>
                      <a:pt x="1104" y="581"/>
                      <a:pt x="1105" y="580"/>
                    </a:cubicBezTo>
                    <a:cubicBezTo>
                      <a:pt x="1106" y="580"/>
                      <a:pt x="1106" y="579"/>
                      <a:pt x="1106" y="578"/>
                    </a:cubicBezTo>
                    <a:cubicBezTo>
                      <a:pt x="1108" y="577"/>
                      <a:pt x="1110" y="578"/>
                      <a:pt x="1111" y="577"/>
                    </a:cubicBezTo>
                    <a:cubicBezTo>
                      <a:pt x="1113" y="575"/>
                      <a:pt x="1112" y="573"/>
                      <a:pt x="1112" y="570"/>
                    </a:cubicBezTo>
                    <a:lnTo>
                      <a:pt x="1111" y="570"/>
                    </a:lnTo>
                    <a:close/>
                    <a:moveTo>
                      <a:pt x="1090" y="586"/>
                    </a:moveTo>
                    <a:cubicBezTo>
                      <a:pt x="1089" y="588"/>
                      <a:pt x="1088" y="589"/>
                      <a:pt x="1087" y="590"/>
                    </a:cubicBezTo>
                    <a:cubicBezTo>
                      <a:pt x="1087" y="590"/>
                      <a:pt x="1084" y="597"/>
                      <a:pt x="1086" y="595"/>
                    </a:cubicBezTo>
                    <a:cubicBezTo>
                      <a:pt x="1088" y="594"/>
                      <a:pt x="1087" y="592"/>
                      <a:pt x="1088" y="591"/>
                    </a:cubicBezTo>
                    <a:cubicBezTo>
                      <a:pt x="1089" y="590"/>
                      <a:pt x="1091" y="589"/>
                      <a:pt x="1092" y="588"/>
                    </a:cubicBezTo>
                    <a:cubicBezTo>
                      <a:pt x="1093" y="588"/>
                      <a:pt x="1093" y="588"/>
                      <a:pt x="1093" y="588"/>
                    </a:cubicBezTo>
                    <a:cubicBezTo>
                      <a:pt x="1093" y="586"/>
                      <a:pt x="1093" y="586"/>
                      <a:pt x="1093" y="586"/>
                    </a:cubicBezTo>
                    <a:cubicBezTo>
                      <a:pt x="1092" y="586"/>
                      <a:pt x="1091" y="586"/>
                      <a:pt x="1090" y="586"/>
                    </a:cubicBezTo>
                    <a:close/>
                    <a:moveTo>
                      <a:pt x="1094" y="594"/>
                    </a:moveTo>
                    <a:cubicBezTo>
                      <a:pt x="1094" y="594"/>
                      <a:pt x="1095" y="596"/>
                      <a:pt x="1095" y="596"/>
                    </a:cubicBezTo>
                    <a:cubicBezTo>
                      <a:pt x="1096" y="596"/>
                      <a:pt x="1096" y="595"/>
                      <a:pt x="1096" y="595"/>
                    </a:cubicBezTo>
                    <a:cubicBezTo>
                      <a:pt x="1098" y="594"/>
                      <a:pt x="1096" y="594"/>
                      <a:pt x="1094" y="594"/>
                    </a:cubicBezTo>
                    <a:close/>
                    <a:moveTo>
                      <a:pt x="256" y="229"/>
                    </a:moveTo>
                    <a:cubicBezTo>
                      <a:pt x="255" y="230"/>
                      <a:pt x="253" y="230"/>
                      <a:pt x="253" y="231"/>
                    </a:cubicBezTo>
                    <a:cubicBezTo>
                      <a:pt x="253" y="232"/>
                      <a:pt x="253" y="233"/>
                      <a:pt x="253" y="234"/>
                    </a:cubicBezTo>
                    <a:cubicBezTo>
                      <a:pt x="251" y="234"/>
                      <a:pt x="253" y="236"/>
                      <a:pt x="253" y="236"/>
                    </a:cubicBezTo>
                    <a:cubicBezTo>
                      <a:pt x="253" y="237"/>
                      <a:pt x="253" y="238"/>
                      <a:pt x="253" y="239"/>
                    </a:cubicBezTo>
                    <a:cubicBezTo>
                      <a:pt x="253" y="239"/>
                      <a:pt x="255" y="239"/>
                      <a:pt x="256" y="240"/>
                    </a:cubicBezTo>
                    <a:cubicBezTo>
                      <a:pt x="257" y="240"/>
                      <a:pt x="257" y="241"/>
                      <a:pt x="259" y="241"/>
                    </a:cubicBezTo>
                    <a:cubicBezTo>
                      <a:pt x="260" y="240"/>
                      <a:pt x="265" y="233"/>
                      <a:pt x="262" y="231"/>
                    </a:cubicBezTo>
                    <a:cubicBezTo>
                      <a:pt x="261" y="230"/>
                      <a:pt x="257" y="230"/>
                      <a:pt x="256" y="229"/>
                    </a:cubicBezTo>
                    <a:close/>
                    <a:moveTo>
                      <a:pt x="167" y="302"/>
                    </a:moveTo>
                    <a:cubicBezTo>
                      <a:pt x="168" y="302"/>
                      <a:pt x="167" y="304"/>
                      <a:pt x="167" y="304"/>
                    </a:cubicBezTo>
                    <a:cubicBezTo>
                      <a:pt x="165" y="305"/>
                      <a:pt x="166" y="303"/>
                      <a:pt x="167" y="302"/>
                    </a:cubicBezTo>
                    <a:close/>
                    <a:moveTo>
                      <a:pt x="128" y="319"/>
                    </a:moveTo>
                    <a:cubicBezTo>
                      <a:pt x="130" y="319"/>
                      <a:pt x="132" y="321"/>
                      <a:pt x="134" y="322"/>
                    </a:cubicBezTo>
                    <a:cubicBezTo>
                      <a:pt x="135" y="323"/>
                      <a:pt x="135" y="323"/>
                      <a:pt x="136" y="324"/>
                    </a:cubicBezTo>
                    <a:cubicBezTo>
                      <a:pt x="139" y="323"/>
                      <a:pt x="137" y="326"/>
                      <a:pt x="137" y="326"/>
                    </a:cubicBezTo>
                    <a:cubicBezTo>
                      <a:pt x="131" y="326"/>
                      <a:pt x="131" y="326"/>
                      <a:pt x="131" y="326"/>
                    </a:cubicBezTo>
                    <a:cubicBezTo>
                      <a:pt x="130" y="324"/>
                      <a:pt x="130" y="323"/>
                      <a:pt x="129" y="322"/>
                    </a:cubicBezTo>
                    <a:cubicBezTo>
                      <a:pt x="129" y="322"/>
                      <a:pt x="126" y="319"/>
                      <a:pt x="128" y="319"/>
                    </a:cubicBezTo>
                    <a:close/>
                    <a:moveTo>
                      <a:pt x="155" y="366"/>
                    </a:moveTo>
                    <a:cubicBezTo>
                      <a:pt x="159" y="366"/>
                      <a:pt x="160" y="371"/>
                      <a:pt x="154" y="370"/>
                    </a:cubicBezTo>
                    <a:cubicBezTo>
                      <a:pt x="151" y="369"/>
                      <a:pt x="151" y="365"/>
                      <a:pt x="155" y="366"/>
                    </a:cubicBezTo>
                    <a:close/>
                    <a:moveTo>
                      <a:pt x="158" y="382"/>
                    </a:moveTo>
                    <a:cubicBezTo>
                      <a:pt x="158" y="382"/>
                      <a:pt x="162" y="388"/>
                      <a:pt x="159" y="387"/>
                    </a:cubicBezTo>
                    <a:cubicBezTo>
                      <a:pt x="158" y="387"/>
                      <a:pt x="158" y="385"/>
                      <a:pt x="157" y="385"/>
                    </a:cubicBezTo>
                    <a:cubicBezTo>
                      <a:pt x="156" y="384"/>
                      <a:pt x="155" y="385"/>
                      <a:pt x="154" y="386"/>
                    </a:cubicBezTo>
                    <a:cubicBezTo>
                      <a:pt x="154" y="384"/>
                      <a:pt x="154" y="384"/>
                      <a:pt x="154" y="384"/>
                    </a:cubicBezTo>
                    <a:cubicBezTo>
                      <a:pt x="155" y="384"/>
                      <a:pt x="156" y="385"/>
                      <a:pt x="157" y="384"/>
                    </a:cubicBezTo>
                    <a:cubicBezTo>
                      <a:pt x="157" y="384"/>
                      <a:pt x="157" y="383"/>
                      <a:pt x="158" y="382"/>
                    </a:cubicBezTo>
                    <a:close/>
                    <a:moveTo>
                      <a:pt x="161" y="387"/>
                    </a:moveTo>
                    <a:cubicBezTo>
                      <a:pt x="164" y="390"/>
                      <a:pt x="164" y="390"/>
                      <a:pt x="169" y="391"/>
                    </a:cubicBezTo>
                    <a:cubicBezTo>
                      <a:pt x="168" y="393"/>
                      <a:pt x="168" y="393"/>
                      <a:pt x="167" y="393"/>
                    </a:cubicBezTo>
                    <a:cubicBezTo>
                      <a:pt x="167" y="395"/>
                      <a:pt x="168" y="396"/>
                      <a:pt x="168" y="397"/>
                    </a:cubicBezTo>
                    <a:cubicBezTo>
                      <a:pt x="168" y="398"/>
                      <a:pt x="166" y="396"/>
                      <a:pt x="165" y="397"/>
                    </a:cubicBezTo>
                    <a:cubicBezTo>
                      <a:pt x="165" y="397"/>
                      <a:pt x="165" y="399"/>
                      <a:pt x="165" y="399"/>
                    </a:cubicBezTo>
                    <a:cubicBezTo>
                      <a:pt x="164" y="399"/>
                      <a:pt x="162" y="400"/>
                      <a:pt x="162" y="400"/>
                    </a:cubicBezTo>
                    <a:cubicBezTo>
                      <a:pt x="160" y="400"/>
                      <a:pt x="156" y="396"/>
                      <a:pt x="155" y="395"/>
                    </a:cubicBezTo>
                    <a:cubicBezTo>
                      <a:pt x="154" y="394"/>
                      <a:pt x="154" y="392"/>
                      <a:pt x="153" y="391"/>
                    </a:cubicBezTo>
                    <a:cubicBezTo>
                      <a:pt x="148" y="387"/>
                      <a:pt x="157" y="392"/>
                      <a:pt x="157" y="392"/>
                    </a:cubicBezTo>
                    <a:cubicBezTo>
                      <a:pt x="157" y="392"/>
                      <a:pt x="158" y="391"/>
                      <a:pt x="160" y="391"/>
                    </a:cubicBezTo>
                    <a:cubicBezTo>
                      <a:pt x="160" y="390"/>
                      <a:pt x="160" y="388"/>
                      <a:pt x="161" y="387"/>
                    </a:cubicBezTo>
                    <a:close/>
                    <a:moveTo>
                      <a:pt x="754" y="473"/>
                    </a:moveTo>
                    <a:cubicBezTo>
                      <a:pt x="753" y="473"/>
                      <a:pt x="753" y="474"/>
                      <a:pt x="755" y="474"/>
                    </a:cubicBezTo>
                    <a:cubicBezTo>
                      <a:pt x="755" y="474"/>
                      <a:pt x="756" y="472"/>
                      <a:pt x="754" y="473"/>
                    </a:cubicBezTo>
                    <a:close/>
                    <a:moveTo>
                      <a:pt x="1126" y="199"/>
                    </a:moveTo>
                    <a:cubicBezTo>
                      <a:pt x="1126" y="199"/>
                      <a:pt x="1125" y="202"/>
                      <a:pt x="1126" y="201"/>
                    </a:cubicBezTo>
                    <a:cubicBezTo>
                      <a:pt x="1127" y="201"/>
                      <a:pt x="1127" y="198"/>
                      <a:pt x="1126" y="199"/>
                    </a:cubicBezTo>
                    <a:close/>
                    <a:moveTo>
                      <a:pt x="1129" y="199"/>
                    </a:moveTo>
                    <a:cubicBezTo>
                      <a:pt x="1129" y="199"/>
                      <a:pt x="1129" y="201"/>
                      <a:pt x="1128" y="201"/>
                    </a:cubicBezTo>
                    <a:cubicBezTo>
                      <a:pt x="1127" y="203"/>
                      <a:pt x="1125" y="204"/>
                      <a:pt x="1123" y="205"/>
                    </a:cubicBezTo>
                    <a:cubicBezTo>
                      <a:pt x="1118" y="209"/>
                      <a:pt x="1118" y="211"/>
                      <a:pt x="1118" y="211"/>
                    </a:cubicBezTo>
                    <a:cubicBezTo>
                      <a:pt x="1117" y="212"/>
                      <a:pt x="1120" y="212"/>
                      <a:pt x="1120" y="212"/>
                    </a:cubicBezTo>
                    <a:cubicBezTo>
                      <a:pt x="1121" y="212"/>
                      <a:pt x="1128" y="204"/>
                      <a:pt x="1130" y="203"/>
                    </a:cubicBezTo>
                    <a:cubicBezTo>
                      <a:pt x="1130" y="203"/>
                      <a:pt x="1131" y="198"/>
                      <a:pt x="1129" y="199"/>
                    </a:cubicBezTo>
                    <a:close/>
                    <a:moveTo>
                      <a:pt x="1136" y="202"/>
                    </a:moveTo>
                    <a:cubicBezTo>
                      <a:pt x="1135" y="205"/>
                      <a:pt x="1134" y="208"/>
                      <a:pt x="1133" y="211"/>
                    </a:cubicBezTo>
                    <a:cubicBezTo>
                      <a:pt x="1135" y="211"/>
                      <a:pt x="1140" y="212"/>
                      <a:pt x="1144" y="211"/>
                    </a:cubicBezTo>
                    <a:cubicBezTo>
                      <a:pt x="1145" y="211"/>
                      <a:pt x="1146" y="208"/>
                      <a:pt x="1144" y="209"/>
                    </a:cubicBezTo>
                    <a:cubicBezTo>
                      <a:pt x="1141" y="203"/>
                      <a:pt x="1142" y="205"/>
                      <a:pt x="1136" y="202"/>
                    </a:cubicBezTo>
                    <a:close/>
                    <a:moveTo>
                      <a:pt x="1130" y="205"/>
                    </a:moveTo>
                    <a:cubicBezTo>
                      <a:pt x="1130" y="205"/>
                      <a:pt x="1129" y="206"/>
                      <a:pt x="1128" y="207"/>
                    </a:cubicBezTo>
                    <a:cubicBezTo>
                      <a:pt x="1127" y="209"/>
                      <a:pt x="1127" y="209"/>
                      <a:pt x="1127" y="209"/>
                    </a:cubicBezTo>
                    <a:cubicBezTo>
                      <a:pt x="1129" y="209"/>
                      <a:pt x="1131" y="209"/>
                      <a:pt x="1132" y="209"/>
                    </a:cubicBezTo>
                    <a:cubicBezTo>
                      <a:pt x="1131" y="208"/>
                      <a:pt x="1132" y="205"/>
                      <a:pt x="1132" y="205"/>
                    </a:cubicBezTo>
                    <a:cubicBezTo>
                      <a:pt x="1132" y="205"/>
                      <a:pt x="1131" y="205"/>
                      <a:pt x="1130" y="205"/>
                    </a:cubicBezTo>
                    <a:close/>
                    <a:moveTo>
                      <a:pt x="1126" y="209"/>
                    </a:moveTo>
                    <a:cubicBezTo>
                      <a:pt x="1125" y="210"/>
                      <a:pt x="1123" y="212"/>
                      <a:pt x="1126" y="211"/>
                    </a:cubicBezTo>
                    <a:cubicBezTo>
                      <a:pt x="1126" y="211"/>
                      <a:pt x="1127" y="209"/>
                      <a:pt x="1126" y="209"/>
                    </a:cubicBezTo>
                    <a:close/>
                    <a:moveTo>
                      <a:pt x="1217" y="227"/>
                    </a:moveTo>
                    <a:cubicBezTo>
                      <a:pt x="1218" y="228"/>
                      <a:pt x="1218" y="228"/>
                      <a:pt x="1218" y="228"/>
                    </a:cubicBezTo>
                    <a:cubicBezTo>
                      <a:pt x="1218" y="227"/>
                      <a:pt x="1219" y="227"/>
                      <a:pt x="1217" y="227"/>
                    </a:cubicBezTo>
                    <a:close/>
                    <a:moveTo>
                      <a:pt x="1219" y="232"/>
                    </a:moveTo>
                    <a:cubicBezTo>
                      <a:pt x="1219" y="232"/>
                      <a:pt x="1219" y="234"/>
                      <a:pt x="1219" y="234"/>
                    </a:cubicBezTo>
                    <a:cubicBezTo>
                      <a:pt x="1221" y="235"/>
                      <a:pt x="1220" y="232"/>
                      <a:pt x="1219" y="232"/>
                    </a:cubicBezTo>
                    <a:close/>
                    <a:moveTo>
                      <a:pt x="803" y="151"/>
                    </a:moveTo>
                    <a:cubicBezTo>
                      <a:pt x="803" y="152"/>
                      <a:pt x="803" y="152"/>
                      <a:pt x="803" y="152"/>
                    </a:cubicBezTo>
                    <a:cubicBezTo>
                      <a:pt x="802" y="152"/>
                      <a:pt x="800" y="152"/>
                      <a:pt x="799" y="152"/>
                    </a:cubicBezTo>
                    <a:cubicBezTo>
                      <a:pt x="799" y="154"/>
                      <a:pt x="799" y="154"/>
                      <a:pt x="799" y="154"/>
                    </a:cubicBezTo>
                    <a:cubicBezTo>
                      <a:pt x="799" y="154"/>
                      <a:pt x="798" y="155"/>
                      <a:pt x="798" y="157"/>
                    </a:cubicBezTo>
                    <a:cubicBezTo>
                      <a:pt x="799" y="157"/>
                      <a:pt x="801" y="157"/>
                      <a:pt x="802" y="157"/>
                    </a:cubicBezTo>
                    <a:cubicBezTo>
                      <a:pt x="803" y="157"/>
                      <a:pt x="803" y="155"/>
                      <a:pt x="804" y="155"/>
                    </a:cubicBezTo>
                    <a:cubicBezTo>
                      <a:pt x="804" y="154"/>
                      <a:pt x="804" y="153"/>
                      <a:pt x="804" y="153"/>
                    </a:cubicBezTo>
                    <a:cubicBezTo>
                      <a:pt x="804" y="153"/>
                      <a:pt x="806" y="151"/>
                      <a:pt x="803" y="151"/>
                    </a:cubicBezTo>
                    <a:close/>
                    <a:moveTo>
                      <a:pt x="785" y="166"/>
                    </a:moveTo>
                    <a:cubicBezTo>
                      <a:pt x="785" y="166"/>
                      <a:pt x="784" y="168"/>
                      <a:pt x="784" y="168"/>
                    </a:cubicBezTo>
                    <a:cubicBezTo>
                      <a:pt x="783" y="169"/>
                      <a:pt x="784" y="166"/>
                      <a:pt x="785" y="166"/>
                    </a:cubicBezTo>
                    <a:close/>
                    <a:moveTo>
                      <a:pt x="925" y="169"/>
                    </a:moveTo>
                    <a:cubicBezTo>
                      <a:pt x="925" y="172"/>
                      <a:pt x="925" y="172"/>
                      <a:pt x="925" y="172"/>
                    </a:cubicBezTo>
                    <a:cubicBezTo>
                      <a:pt x="926" y="172"/>
                      <a:pt x="927" y="172"/>
                      <a:pt x="928" y="172"/>
                    </a:cubicBezTo>
                    <a:cubicBezTo>
                      <a:pt x="927" y="169"/>
                      <a:pt x="927" y="169"/>
                      <a:pt x="927" y="169"/>
                    </a:cubicBezTo>
                    <a:cubicBezTo>
                      <a:pt x="927" y="169"/>
                      <a:pt x="925" y="170"/>
                      <a:pt x="925" y="169"/>
                    </a:cubicBezTo>
                    <a:close/>
                    <a:moveTo>
                      <a:pt x="808" y="173"/>
                    </a:moveTo>
                    <a:cubicBezTo>
                      <a:pt x="808" y="173"/>
                      <a:pt x="810" y="174"/>
                      <a:pt x="810" y="174"/>
                    </a:cubicBezTo>
                    <a:cubicBezTo>
                      <a:pt x="810" y="175"/>
                      <a:pt x="810" y="176"/>
                      <a:pt x="811" y="177"/>
                    </a:cubicBezTo>
                    <a:cubicBezTo>
                      <a:pt x="809" y="179"/>
                      <a:pt x="807" y="182"/>
                      <a:pt x="805" y="184"/>
                    </a:cubicBezTo>
                    <a:cubicBezTo>
                      <a:pt x="804" y="184"/>
                      <a:pt x="806" y="185"/>
                      <a:pt x="805" y="186"/>
                    </a:cubicBezTo>
                    <a:cubicBezTo>
                      <a:pt x="804" y="186"/>
                      <a:pt x="804" y="186"/>
                      <a:pt x="804" y="186"/>
                    </a:cubicBezTo>
                    <a:cubicBezTo>
                      <a:pt x="804" y="186"/>
                      <a:pt x="804" y="183"/>
                      <a:pt x="803" y="183"/>
                    </a:cubicBezTo>
                    <a:cubicBezTo>
                      <a:pt x="803" y="183"/>
                      <a:pt x="805" y="181"/>
                      <a:pt x="805" y="181"/>
                    </a:cubicBezTo>
                    <a:cubicBezTo>
                      <a:pt x="807" y="176"/>
                      <a:pt x="801" y="178"/>
                      <a:pt x="808" y="175"/>
                    </a:cubicBezTo>
                    <a:cubicBezTo>
                      <a:pt x="808" y="174"/>
                      <a:pt x="807" y="174"/>
                      <a:pt x="808" y="173"/>
                    </a:cubicBezTo>
                    <a:close/>
                    <a:moveTo>
                      <a:pt x="918" y="173"/>
                    </a:moveTo>
                    <a:cubicBezTo>
                      <a:pt x="918" y="173"/>
                      <a:pt x="916" y="176"/>
                      <a:pt x="918" y="175"/>
                    </a:cubicBezTo>
                    <a:cubicBezTo>
                      <a:pt x="919" y="175"/>
                      <a:pt x="921" y="172"/>
                      <a:pt x="918" y="173"/>
                    </a:cubicBezTo>
                    <a:close/>
                    <a:moveTo>
                      <a:pt x="921" y="173"/>
                    </a:moveTo>
                    <a:cubicBezTo>
                      <a:pt x="920" y="173"/>
                      <a:pt x="922" y="174"/>
                      <a:pt x="922" y="174"/>
                    </a:cubicBezTo>
                    <a:cubicBezTo>
                      <a:pt x="921" y="174"/>
                      <a:pt x="923" y="172"/>
                      <a:pt x="921" y="173"/>
                    </a:cubicBezTo>
                    <a:close/>
                    <a:moveTo>
                      <a:pt x="929" y="173"/>
                    </a:moveTo>
                    <a:cubicBezTo>
                      <a:pt x="928" y="174"/>
                      <a:pt x="926" y="176"/>
                      <a:pt x="929" y="175"/>
                    </a:cubicBezTo>
                    <a:cubicBezTo>
                      <a:pt x="929" y="175"/>
                      <a:pt x="931" y="173"/>
                      <a:pt x="929" y="173"/>
                    </a:cubicBezTo>
                    <a:close/>
                    <a:moveTo>
                      <a:pt x="895" y="174"/>
                    </a:moveTo>
                    <a:cubicBezTo>
                      <a:pt x="894" y="176"/>
                      <a:pt x="894" y="176"/>
                      <a:pt x="894" y="176"/>
                    </a:cubicBezTo>
                    <a:cubicBezTo>
                      <a:pt x="898" y="176"/>
                      <a:pt x="897" y="174"/>
                      <a:pt x="895" y="174"/>
                    </a:cubicBezTo>
                    <a:close/>
                    <a:moveTo>
                      <a:pt x="931" y="175"/>
                    </a:moveTo>
                    <a:cubicBezTo>
                      <a:pt x="930" y="175"/>
                      <a:pt x="931" y="176"/>
                      <a:pt x="932" y="176"/>
                    </a:cubicBezTo>
                    <a:cubicBezTo>
                      <a:pt x="935" y="176"/>
                      <a:pt x="936" y="174"/>
                      <a:pt x="931" y="175"/>
                    </a:cubicBezTo>
                    <a:close/>
                    <a:moveTo>
                      <a:pt x="912" y="175"/>
                    </a:moveTo>
                    <a:cubicBezTo>
                      <a:pt x="912" y="177"/>
                      <a:pt x="910" y="181"/>
                      <a:pt x="912" y="181"/>
                    </a:cubicBezTo>
                    <a:cubicBezTo>
                      <a:pt x="912" y="181"/>
                      <a:pt x="913" y="179"/>
                      <a:pt x="913" y="179"/>
                    </a:cubicBezTo>
                    <a:cubicBezTo>
                      <a:pt x="914" y="179"/>
                      <a:pt x="915" y="179"/>
                      <a:pt x="916" y="179"/>
                    </a:cubicBezTo>
                    <a:cubicBezTo>
                      <a:pt x="915" y="178"/>
                      <a:pt x="915" y="177"/>
                      <a:pt x="914" y="175"/>
                    </a:cubicBezTo>
                    <a:cubicBezTo>
                      <a:pt x="914" y="175"/>
                      <a:pt x="912" y="176"/>
                      <a:pt x="912" y="175"/>
                    </a:cubicBezTo>
                    <a:close/>
                    <a:moveTo>
                      <a:pt x="938" y="176"/>
                    </a:moveTo>
                    <a:cubicBezTo>
                      <a:pt x="938" y="176"/>
                      <a:pt x="936" y="177"/>
                      <a:pt x="936" y="177"/>
                    </a:cubicBezTo>
                    <a:cubicBezTo>
                      <a:pt x="936" y="178"/>
                      <a:pt x="936" y="178"/>
                      <a:pt x="936" y="178"/>
                    </a:cubicBezTo>
                    <a:cubicBezTo>
                      <a:pt x="938" y="179"/>
                      <a:pt x="939" y="179"/>
                      <a:pt x="942" y="179"/>
                    </a:cubicBezTo>
                    <a:cubicBezTo>
                      <a:pt x="942" y="179"/>
                      <a:pt x="942" y="178"/>
                      <a:pt x="942" y="177"/>
                    </a:cubicBezTo>
                    <a:cubicBezTo>
                      <a:pt x="943" y="178"/>
                      <a:pt x="943" y="177"/>
                      <a:pt x="943" y="176"/>
                    </a:cubicBezTo>
                    <a:cubicBezTo>
                      <a:pt x="941" y="176"/>
                      <a:pt x="938" y="176"/>
                      <a:pt x="938" y="176"/>
                    </a:cubicBezTo>
                    <a:close/>
                    <a:moveTo>
                      <a:pt x="926" y="178"/>
                    </a:moveTo>
                    <a:cubicBezTo>
                      <a:pt x="926" y="178"/>
                      <a:pt x="920" y="185"/>
                      <a:pt x="925" y="183"/>
                    </a:cubicBezTo>
                    <a:cubicBezTo>
                      <a:pt x="925" y="181"/>
                      <a:pt x="925" y="181"/>
                      <a:pt x="925" y="181"/>
                    </a:cubicBezTo>
                    <a:cubicBezTo>
                      <a:pt x="927" y="180"/>
                      <a:pt x="930" y="176"/>
                      <a:pt x="926" y="178"/>
                    </a:cubicBezTo>
                    <a:close/>
                    <a:moveTo>
                      <a:pt x="889" y="179"/>
                    </a:moveTo>
                    <a:cubicBezTo>
                      <a:pt x="891" y="180"/>
                      <a:pt x="891" y="180"/>
                      <a:pt x="891" y="180"/>
                    </a:cubicBezTo>
                    <a:cubicBezTo>
                      <a:pt x="893" y="180"/>
                      <a:pt x="892" y="179"/>
                      <a:pt x="893" y="179"/>
                    </a:cubicBezTo>
                    <a:cubicBezTo>
                      <a:pt x="892" y="179"/>
                      <a:pt x="890" y="179"/>
                      <a:pt x="889" y="179"/>
                    </a:cubicBezTo>
                    <a:close/>
                    <a:moveTo>
                      <a:pt x="919" y="181"/>
                    </a:moveTo>
                    <a:cubicBezTo>
                      <a:pt x="919" y="182"/>
                      <a:pt x="918" y="183"/>
                      <a:pt x="918" y="183"/>
                    </a:cubicBezTo>
                    <a:cubicBezTo>
                      <a:pt x="919" y="184"/>
                      <a:pt x="919" y="185"/>
                      <a:pt x="920" y="185"/>
                    </a:cubicBezTo>
                    <a:cubicBezTo>
                      <a:pt x="923" y="186"/>
                      <a:pt x="919" y="181"/>
                      <a:pt x="919" y="181"/>
                    </a:cubicBezTo>
                    <a:close/>
                    <a:moveTo>
                      <a:pt x="933" y="181"/>
                    </a:moveTo>
                    <a:cubicBezTo>
                      <a:pt x="934" y="183"/>
                      <a:pt x="934" y="183"/>
                      <a:pt x="934" y="183"/>
                    </a:cubicBezTo>
                    <a:cubicBezTo>
                      <a:pt x="934" y="183"/>
                      <a:pt x="935" y="181"/>
                      <a:pt x="933" y="181"/>
                    </a:cubicBezTo>
                    <a:close/>
                    <a:moveTo>
                      <a:pt x="939" y="182"/>
                    </a:moveTo>
                    <a:cubicBezTo>
                      <a:pt x="939" y="184"/>
                      <a:pt x="938" y="185"/>
                      <a:pt x="939" y="186"/>
                    </a:cubicBezTo>
                    <a:cubicBezTo>
                      <a:pt x="940" y="187"/>
                      <a:pt x="940" y="187"/>
                      <a:pt x="940" y="187"/>
                    </a:cubicBezTo>
                    <a:cubicBezTo>
                      <a:pt x="943" y="187"/>
                      <a:pt x="943" y="187"/>
                      <a:pt x="943" y="187"/>
                    </a:cubicBezTo>
                    <a:cubicBezTo>
                      <a:pt x="943" y="187"/>
                      <a:pt x="943" y="185"/>
                      <a:pt x="943" y="185"/>
                    </a:cubicBezTo>
                    <a:cubicBezTo>
                      <a:pt x="942" y="184"/>
                      <a:pt x="941" y="183"/>
                      <a:pt x="941" y="182"/>
                    </a:cubicBezTo>
                    <a:cubicBezTo>
                      <a:pt x="940" y="182"/>
                      <a:pt x="939" y="182"/>
                      <a:pt x="939" y="182"/>
                    </a:cubicBezTo>
                    <a:close/>
                    <a:moveTo>
                      <a:pt x="931" y="183"/>
                    </a:moveTo>
                    <a:cubicBezTo>
                      <a:pt x="930" y="185"/>
                      <a:pt x="929" y="186"/>
                      <a:pt x="928" y="187"/>
                    </a:cubicBezTo>
                    <a:cubicBezTo>
                      <a:pt x="936" y="189"/>
                      <a:pt x="940" y="188"/>
                      <a:pt x="931" y="183"/>
                    </a:cubicBezTo>
                    <a:close/>
                    <a:moveTo>
                      <a:pt x="922" y="186"/>
                    </a:moveTo>
                    <a:cubicBezTo>
                      <a:pt x="921" y="186"/>
                      <a:pt x="920" y="189"/>
                      <a:pt x="920" y="189"/>
                    </a:cubicBezTo>
                    <a:cubicBezTo>
                      <a:pt x="921" y="189"/>
                      <a:pt x="921" y="190"/>
                      <a:pt x="922" y="191"/>
                    </a:cubicBezTo>
                    <a:cubicBezTo>
                      <a:pt x="922" y="190"/>
                      <a:pt x="923" y="190"/>
                      <a:pt x="924" y="190"/>
                    </a:cubicBezTo>
                    <a:cubicBezTo>
                      <a:pt x="924" y="189"/>
                      <a:pt x="924" y="189"/>
                      <a:pt x="924" y="189"/>
                    </a:cubicBezTo>
                    <a:cubicBezTo>
                      <a:pt x="923" y="188"/>
                      <a:pt x="922" y="186"/>
                      <a:pt x="922" y="186"/>
                    </a:cubicBezTo>
                    <a:close/>
                    <a:moveTo>
                      <a:pt x="932" y="189"/>
                    </a:moveTo>
                    <a:cubicBezTo>
                      <a:pt x="933" y="191"/>
                      <a:pt x="933" y="191"/>
                      <a:pt x="933" y="191"/>
                    </a:cubicBezTo>
                    <a:cubicBezTo>
                      <a:pt x="934" y="191"/>
                      <a:pt x="936" y="191"/>
                      <a:pt x="936" y="191"/>
                    </a:cubicBezTo>
                    <a:cubicBezTo>
                      <a:pt x="936" y="189"/>
                      <a:pt x="936" y="189"/>
                      <a:pt x="936" y="189"/>
                    </a:cubicBezTo>
                    <a:cubicBezTo>
                      <a:pt x="935" y="189"/>
                      <a:pt x="933" y="190"/>
                      <a:pt x="932" y="189"/>
                    </a:cubicBezTo>
                    <a:close/>
                    <a:moveTo>
                      <a:pt x="938" y="191"/>
                    </a:moveTo>
                    <a:cubicBezTo>
                      <a:pt x="938" y="191"/>
                      <a:pt x="935" y="194"/>
                      <a:pt x="938" y="193"/>
                    </a:cubicBezTo>
                    <a:cubicBezTo>
                      <a:pt x="938" y="193"/>
                      <a:pt x="940" y="190"/>
                      <a:pt x="938" y="191"/>
                    </a:cubicBezTo>
                    <a:close/>
                    <a:moveTo>
                      <a:pt x="619" y="28"/>
                    </a:moveTo>
                    <a:cubicBezTo>
                      <a:pt x="618" y="29"/>
                      <a:pt x="618" y="29"/>
                      <a:pt x="618" y="29"/>
                    </a:cubicBezTo>
                    <a:cubicBezTo>
                      <a:pt x="613" y="31"/>
                      <a:pt x="616" y="33"/>
                      <a:pt x="620" y="33"/>
                    </a:cubicBezTo>
                    <a:cubicBezTo>
                      <a:pt x="622" y="33"/>
                      <a:pt x="624" y="31"/>
                      <a:pt x="626" y="30"/>
                    </a:cubicBezTo>
                    <a:cubicBezTo>
                      <a:pt x="626" y="30"/>
                      <a:pt x="624" y="30"/>
                      <a:pt x="625" y="29"/>
                    </a:cubicBezTo>
                    <a:cubicBezTo>
                      <a:pt x="624" y="29"/>
                      <a:pt x="622" y="29"/>
                      <a:pt x="621" y="29"/>
                    </a:cubicBezTo>
                    <a:cubicBezTo>
                      <a:pt x="620" y="29"/>
                      <a:pt x="620" y="28"/>
                      <a:pt x="619" y="28"/>
                    </a:cubicBezTo>
                    <a:close/>
                    <a:moveTo>
                      <a:pt x="626" y="52"/>
                    </a:moveTo>
                    <a:cubicBezTo>
                      <a:pt x="625" y="53"/>
                      <a:pt x="627" y="55"/>
                      <a:pt x="626" y="56"/>
                    </a:cubicBezTo>
                    <a:cubicBezTo>
                      <a:pt x="626" y="56"/>
                      <a:pt x="624" y="57"/>
                      <a:pt x="624" y="57"/>
                    </a:cubicBezTo>
                    <a:cubicBezTo>
                      <a:pt x="624" y="59"/>
                      <a:pt x="624" y="60"/>
                      <a:pt x="625" y="61"/>
                    </a:cubicBezTo>
                    <a:cubicBezTo>
                      <a:pt x="626" y="62"/>
                      <a:pt x="626" y="62"/>
                      <a:pt x="626" y="62"/>
                    </a:cubicBezTo>
                    <a:cubicBezTo>
                      <a:pt x="626" y="63"/>
                      <a:pt x="625" y="62"/>
                      <a:pt x="625" y="64"/>
                    </a:cubicBezTo>
                    <a:cubicBezTo>
                      <a:pt x="628" y="64"/>
                      <a:pt x="638" y="64"/>
                      <a:pt x="642" y="62"/>
                    </a:cubicBezTo>
                    <a:cubicBezTo>
                      <a:pt x="648" y="59"/>
                      <a:pt x="637" y="56"/>
                      <a:pt x="635" y="55"/>
                    </a:cubicBezTo>
                    <a:cubicBezTo>
                      <a:pt x="634" y="55"/>
                      <a:pt x="634" y="53"/>
                      <a:pt x="633" y="52"/>
                    </a:cubicBezTo>
                    <a:cubicBezTo>
                      <a:pt x="632" y="52"/>
                      <a:pt x="627" y="52"/>
                      <a:pt x="626" y="52"/>
                    </a:cubicBezTo>
                    <a:close/>
                    <a:moveTo>
                      <a:pt x="668" y="113"/>
                    </a:moveTo>
                    <a:cubicBezTo>
                      <a:pt x="668" y="113"/>
                      <a:pt x="668" y="114"/>
                      <a:pt x="668" y="114"/>
                    </a:cubicBezTo>
                    <a:cubicBezTo>
                      <a:pt x="666" y="114"/>
                      <a:pt x="665" y="114"/>
                      <a:pt x="664" y="114"/>
                    </a:cubicBezTo>
                    <a:cubicBezTo>
                      <a:pt x="664" y="114"/>
                      <a:pt x="661" y="114"/>
                      <a:pt x="660" y="114"/>
                    </a:cubicBezTo>
                    <a:cubicBezTo>
                      <a:pt x="659" y="116"/>
                      <a:pt x="659" y="116"/>
                      <a:pt x="659" y="116"/>
                    </a:cubicBezTo>
                    <a:cubicBezTo>
                      <a:pt x="661" y="116"/>
                      <a:pt x="664" y="119"/>
                      <a:pt x="668" y="118"/>
                    </a:cubicBezTo>
                    <a:cubicBezTo>
                      <a:pt x="668" y="118"/>
                      <a:pt x="675" y="113"/>
                      <a:pt x="668" y="113"/>
                    </a:cubicBezTo>
                    <a:close/>
                    <a:moveTo>
                      <a:pt x="636" y="119"/>
                    </a:moveTo>
                    <a:cubicBezTo>
                      <a:pt x="636" y="121"/>
                      <a:pt x="636" y="121"/>
                      <a:pt x="636" y="121"/>
                    </a:cubicBezTo>
                    <a:cubicBezTo>
                      <a:pt x="639" y="121"/>
                      <a:pt x="639" y="119"/>
                      <a:pt x="636" y="119"/>
                    </a:cubicBezTo>
                    <a:close/>
                    <a:moveTo>
                      <a:pt x="575" y="165"/>
                    </a:moveTo>
                    <a:cubicBezTo>
                      <a:pt x="578" y="164"/>
                      <a:pt x="577" y="166"/>
                      <a:pt x="577" y="166"/>
                    </a:cubicBezTo>
                    <a:cubicBezTo>
                      <a:pt x="576" y="166"/>
                      <a:pt x="575" y="166"/>
                      <a:pt x="575" y="166"/>
                    </a:cubicBezTo>
                    <a:cubicBezTo>
                      <a:pt x="574" y="167"/>
                      <a:pt x="574" y="168"/>
                      <a:pt x="573" y="169"/>
                    </a:cubicBezTo>
                    <a:cubicBezTo>
                      <a:pt x="571" y="170"/>
                      <a:pt x="574" y="165"/>
                      <a:pt x="575" y="165"/>
                    </a:cubicBezTo>
                    <a:close/>
                    <a:moveTo>
                      <a:pt x="724" y="184"/>
                    </a:moveTo>
                    <a:cubicBezTo>
                      <a:pt x="727" y="184"/>
                      <a:pt x="733" y="186"/>
                      <a:pt x="726" y="187"/>
                    </a:cubicBezTo>
                    <a:cubicBezTo>
                      <a:pt x="723" y="187"/>
                      <a:pt x="721" y="184"/>
                      <a:pt x="724" y="184"/>
                    </a:cubicBezTo>
                    <a:close/>
                    <a:moveTo>
                      <a:pt x="712" y="192"/>
                    </a:moveTo>
                    <a:cubicBezTo>
                      <a:pt x="712" y="192"/>
                      <a:pt x="713" y="193"/>
                      <a:pt x="713" y="194"/>
                    </a:cubicBezTo>
                    <a:cubicBezTo>
                      <a:pt x="711" y="194"/>
                      <a:pt x="710" y="192"/>
                      <a:pt x="712" y="192"/>
                    </a:cubicBezTo>
                    <a:close/>
                    <a:moveTo>
                      <a:pt x="442" y="160"/>
                    </a:moveTo>
                    <a:cubicBezTo>
                      <a:pt x="442" y="161"/>
                      <a:pt x="440" y="161"/>
                      <a:pt x="440" y="161"/>
                    </a:cubicBezTo>
                    <a:cubicBezTo>
                      <a:pt x="440" y="163"/>
                      <a:pt x="441" y="164"/>
                      <a:pt x="440" y="165"/>
                    </a:cubicBezTo>
                    <a:cubicBezTo>
                      <a:pt x="440" y="166"/>
                      <a:pt x="438" y="167"/>
                      <a:pt x="438" y="167"/>
                    </a:cubicBezTo>
                    <a:cubicBezTo>
                      <a:pt x="438" y="167"/>
                      <a:pt x="439" y="168"/>
                      <a:pt x="438" y="169"/>
                    </a:cubicBezTo>
                    <a:cubicBezTo>
                      <a:pt x="439" y="169"/>
                      <a:pt x="442" y="169"/>
                      <a:pt x="441" y="169"/>
                    </a:cubicBezTo>
                    <a:cubicBezTo>
                      <a:pt x="447" y="167"/>
                      <a:pt x="446" y="168"/>
                      <a:pt x="446" y="161"/>
                    </a:cubicBezTo>
                    <a:cubicBezTo>
                      <a:pt x="445" y="161"/>
                      <a:pt x="444" y="161"/>
                      <a:pt x="442" y="160"/>
                    </a:cubicBezTo>
                    <a:close/>
                    <a:moveTo>
                      <a:pt x="515" y="166"/>
                    </a:moveTo>
                    <a:cubicBezTo>
                      <a:pt x="514" y="167"/>
                      <a:pt x="513" y="168"/>
                      <a:pt x="512" y="169"/>
                    </a:cubicBezTo>
                    <a:cubicBezTo>
                      <a:pt x="512" y="170"/>
                      <a:pt x="511" y="171"/>
                      <a:pt x="512" y="171"/>
                    </a:cubicBezTo>
                    <a:cubicBezTo>
                      <a:pt x="512" y="172"/>
                      <a:pt x="513" y="172"/>
                      <a:pt x="514" y="173"/>
                    </a:cubicBezTo>
                    <a:cubicBezTo>
                      <a:pt x="514" y="173"/>
                      <a:pt x="515" y="174"/>
                      <a:pt x="515" y="174"/>
                    </a:cubicBezTo>
                    <a:cubicBezTo>
                      <a:pt x="516" y="174"/>
                      <a:pt x="517" y="174"/>
                      <a:pt x="518" y="174"/>
                    </a:cubicBezTo>
                    <a:cubicBezTo>
                      <a:pt x="519" y="172"/>
                      <a:pt x="520" y="169"/>
                      <a:pt x="518" y="167"/>
                    </a:cubicBezTo>
                    <a:cubicBezTo>
                      <a:pt x="518" y="166"/>
                      <a:pt x="516" y="167"/>
                      <a:pt x="515" y="166"/>
                    </a:cubicBezTo>
                    <a:close/>
                    <a:moveTo>
                      <a:pt x="470" y="171"/>
                    </a:moveTo>
                    <a:cubicBezTo>
                      <a:pt x="470" y="172"/>
                      <a:pt x="470" y="174"/>
                      <a:pt x="471" y="174"/>
                    </a:cubicBezTo>
                    <a:cubicBezTo>
                      <a:pt x="472" y="174"/>
                      <a:pt x="471" y="174"/>
                      <a:pt x="472" y="173"/>
                    </a:cubicBezTo>
                    <a:cubicBezTo>
                      <a:pt x="473" y="173"/>
                      <a:pt x="472" y="171"/>
                      <a:pt x="472" y="171"/>
                    </a:cubicBezTo>
                    <a:cubicBezTo>
                      <a:pt x="471" y="171"/>
                      <a:pt x="470" y="172"/>
                      <a:pt x="470" y="171"/>
                    </a:cubicBezTo>
                    <a:close/>
                    <a:moveTo>
                      <a:pt x="506" y="177"/>
                    </a:moveTo>
                    <a:cubicBezTo>
                      <a:pt x="505" y="178"/>
                      <a:pt x="503" y="181"/>
                      <a:pt x="502" y="181"/>
                    </a:cubicBezTo>
                    <a:cubicBezTo>
                      <a:pt x="501" y="182"/>
                      <a:pt x="501" y="181"/>
                      <a:pt x="500" y="182"/>
                    </a:cubicBezTo>
                    <a:cubicBezTo>
                      <a:pt x="500" y="183"/>
                      <a:pt x="501" y="184"/>
                      <a:pt x="500" y="185"/>
                    </a:cubicBezTo>
                    <a:cubicBezTo>
                      <a:pt x="502" y="185"/>
                      <a:pt x="502" y="185"/>
                      <a:pt x="502" y="185"/>
                    </a:cubicBezTo>
                    <a:cubicBezTo>
                      <a:pt x="503" y="185"/>
                      <a:pt x="504" y="183"/>
                      <a:pt x="505" y="183"/>
                    </a:cubicBezTo>
                    <a:cubicBezTo>
                      <a:pt x="507" y="182"/>
                      <a:pt x="508" y="183"/>
                      <a:pt x="509" y="183"/>
                    </a:cubicBezTo>
                    <a:cubicBezTo>
                      <a:pt x="510" y="182"/>
                      <a:pt x="511" y="181"/>
                      <a:pt x="512" y="181"/>
                    </a:cubicBezTo>
                    <a:cubicBezTo>
                      <a:pt x="512" y="180"/>
                      <a:pt x="512" y="179"/>
                      <a:pt x="512" y="179"/>
                    </a:cubicBezTo>
                    <a:cubicBezTo>
                      <a:pt x="510" y="178"/>
                      <a:pt x="508" y="177"/>
                      <a:pt x="506" y="177"/>
                    </a:cubicBezTo>
                    <a:close/>
                    <a:moveTo>
                      <a:pt x="505" y="211"/>
                    </a:moveTo>
                    <a:cubicBezTo>
                      <a:pt x="506" y="212"/>
                      <a:pt x="506" y="212"/>
                      <a:pt x="506" y="212"/>
                    </a:cubicBezTo>
                    <a:cubicBezTo>
                      <a:pt x="509" y="213"/>
                      <a:pt x="508" y="213"/>
                      <a:pt x="505" y="214"/>
                    </a:cubicBezTo>
                    <a:cubicBezTo>
                      <a:pt x="505" y="214"/>
                      <a:pt x="503" y="210"/>
                      <a:pt x="505" y="211"/>
                    </a:cubicBezTo>
                    <a:close/>
                    <a:moveTo>
                      <a:pt x="321" y="211"/>
                    </a:moveTo>
                    <a:cubicBezTo>
                      <a:pt x="322" y="212"/>
                      <a:pt x="322" y="213"/>
                      <a:pt x="322" y="213"/>
                    </a:cubicBezTo>
                    <a:cubicBezTo>
                      <a:pt x="323" y="214"/>
                      <a:pt x="325" y="214"/>
                      <a:pt x="324" y="213"/>
                    </a:cubicBezTo>
                    <a:cubicBezTo>
                      <a:pt x="323" y="212"/>
                      <a:pt x="322" y="212"/>
                      <a:pt x="321" y="211"/>
                    </a:cubicBezTo>
                    <a:close/>
                    <a:moveTo>
                      <a:pt x="338" y="216"/>
                    </a:moveTo>
                    <a:cubicBezTo>
                      <a:pt x="338" y="216"/>
                      <a:pt x="338" y="219"/>
                      <a:pt x="338" y="219"/>
                    </a:cubicBezTo>
                    <a:cubicBezTo>
                      <a:pt x="338" y="219"/>
                      <a:pt x="337" y="219"/>
                      <a:pt x="337" y="219"/>
                    </a:cubicBezTo>
                    <a:cubicBezTo>
                      <a:pt x="337" y="219"/>
                      <a:pt x="337" y="222"/>
                      <a:pt x="337" y="221"/>
                    </a:cubicBezTo>
                    <a:cubicBezTo>
                      <a:pt x="338" y="222"/>
                      <a:pt x="337" y="223"/>
                      <a:pt x="337" y="223"/>
                    </a:cubicBezTo>
                    <a:cubicBezTo>
                      <a:pt x="338" y="224"/>
                      <a:pt x="339" y="225"/>
                      <a:pt x="339" y="225"/>
                    </a:cubicBezTo>
                    <a:cubicBezTo>
                      <a:pt x="340" y="226"/>
                      <a:pt x="343" y="224"/>
                      <a:pt x="345" y="225"/>
                    </a:cubicBezTo>
                    <a:cubicBezTo>
                      <a:pt x="345" y="225"/>
                      <a:pt x="347" y="229"/>
                      <a:pt x="347" y="229"/>
                    </a:cubicBezTo>
                    <a:cubicBezTo>
                      <a:pt x="348" y="229"/>
                      <a:pt x="350" y="229"/>
                      <a:pt x="351" y="229"/>
                    </a:cubicBezTo>
                    <a:cubicBezTo>
                      <a:pt x="351" y="229"/>
                      <a:pt x="353" y="230"/>
                      <a:pt x="354" y="229"/>
                    </a:cubicBezTo>
                    <a:cubicBezTo>
                      <a:pt x="354" y="229"/>
                      <a:pt x="355" y="228"/>
                      <a:pt x="355" y="228"/>
                    </a:cubicBezTo>
                    <a:cubicBezTo>
                      <a:pt x="354" y="225"/>
                      <a:pt x="353" y="224"/>
                      <a:pt x="349" y="222"/>
                    </a:cubicBezTo>
                    <a:cubicBezTo>
                      <a:pt x="348" y="221"/>
                      <a:pt x="346" y="221"/>
                      <a:pt x="345" y="220"/>
                    </a:cubicBezTo>
                    <a:cubicBezTo>
                      <a:pt x="344" y="219"/>
                      <a:pt x="342" y="216"/>
                      <a:pt x="341" y="216"/>
                    </a:cubicBezTo>
                    <a:cubicBezTo>
                      <a:pt x="340" y="216"/>
                      <a:pt x="339" y="216"/>
                      <a:pt x="338" y="216"/>
                    </a:cubicBezTo>
                    <a:close/>
                    <a:moveTo>
                      <a:pt x="0" y="456"/>
                    </a:moveTo>
                    <a:cubicBezTo>
                      <a:pt x="0" y="456"/>
                      <a:pt x="3" y="459"/>
                      <a:pt x="10" y="461"/>
                    </a:cubicBezTo>
                    <a:cubicBezTo>
                      <a:pt x="16" y="463"/>
                      <a:pt x="18" y="462"/>
                      <a:pt x="21" y="462"/>
                    </a:cubicBezTo>
                    <a:cubicBezTo>
                      <a:pt x="25" y="462"/>
                      <a:pt x="26" y="463"/>
                      <a:pt x="26" y="463"/>
                    </a:cubicBezTo>
                    <a:cubicBezTo>
                      <a:pt x="30" y="461"/>
                      <a:pt x="30" y="461"/>
                      <a:pt x="30" y="461"/>
                    </a:cubicBezTo>
                    <a:cubicBezTo>
                      <a:pt x="28" y="453"/>
                      <a:pt x="28" y="453"/>
                      <a:pt x="28" y="453"/>
                    </a:cubicBezTo>
                    <a:cubicBezTo>
                      <a:pt x="28" y="453"/>
                      <a:pt x="20" y="453"/>
                      <a:pt x="18" y="451"/>
                    </a:cubicBezTo>
                    <a:cubicBezTo>
                      <a:pt x="16" y="449"/>
                      <a:pt x="11" y="443"/>
                      <a:pt x="11" y="443"/>
                    </a:cubicBezTo>
                    <a:cubicBezTo>
                      <a:pt x="10" y="444"/>
                      <a:pt x="9" y="445"/>
                      <a:pt x="8" y="445"/>
                    </a:cubicBezTo>
                    <a:cubicBezTo>
                      <a:pt x="8" y="445"/>
                      <a:pt x="10" y="440"/>
                      <a:pt x="8" y="441"/>
                    </a:cubicBezTo>
                    <a:cubicBezTo>
                      <a:pt x="8" y="441"/>
                      <a:pt x="6" y="442"/>
                      <a:pt x="8" y="442"/>
                    </a:cubicBezTo>
                    <a:cubicBezTo>
                      <a:pt x="7" y="443"/>
                      <a:pt x="6" y="443"/>
                      <a:pt x="5" y="444"/>
                    </a:cubicBezTo>
                    <a:cubicBezTo>
                      <a:pt x="4" y="444"/>
                      <a:pt x="4" y="444"/>
                      <a:pt x="4" y="444"/>
                    </a:cubicBezTo>
                    <a:cubicBezTo>
                      <a:pt x="3" y="445"/>
                      <a:pt x="3" y="447"/>
                      <a:pt x="2" y="449"/>
                    </a:cubicBezTo>
                    <a:cubicBezTo>
                      <a:pt x="3" y="449"/>
                      <a:pt x="4" y="448"/>
                      <a:pt x="4" y="449"/>
                    </a:cubicBezTo>
                    <a:cubicBezTo>
                      <a:pt x="4" y="449"/>
                      <a:pt x="3" y="450"/>
                      <a:pt x="2" y="450"/>
                    </a:cubicBezTo>
                    <a:cubicBezTo>
                      <a:pt x="2" y="451"/>
                      <a:pt x="3" y="452"/>
                      <a:pt x="2" y="453"/>
                    </a:cubicBezTo>
                    <a:cubicBezTo>
                      <a:pt x="2" y="453"/>
                      <a:pt x="1" y="454"/>
                      <a:pt x="0" y="454"/>
                    </a:cubicBezTo>
                    <a:cubicBezTo>
                      <a:pt x="0" y="455"/>
                      <a:pt x="0" y="455"/>
                      <a:pt x="0" y="456"/>
                    </a:cubicBezTo>
                    <a:close/>
                    <a:moveTo>
                      <a:pt x="354" y="46"/>
                    </a:moveTo>
                    <a:cubicBezTo>
                      <a:pt x="356" y="47"/>
                      <a:pt x="358" y="49"/>
                      <a:pt x="360" y="48"/>
                    </a:cubicBezTo>
                    <a:cubicBezTo>
                      <a:pt x="362" y="47"/>
                      <a:pt x="360" y="41"/>
                      <a:pt x="359" y="40"/>
                    </a:cubicBezTo>
                    <a:cubicBezTo>
                      <a:pt x="361" y="40"/>
                      <a:pt x="363" y="41"/>
                      <a:pt x="365" y="40"/>
                    </a:cubicBezTo>
                    <a:cubicBezTo>
                      <a:pt x="366" y="39"/>
                      <a:pt x="366" y="39"/>
                      <a:pt x="366" y="39"/>
                    </a:cubicBezTo>
                    <a:cubicBezTo>
                      <a:pt x="367" y="39"/>
                      <a:pt x="368" y="39"/>
                      <a:pt x="369" y="40"/>
                    </a:cubicBezTo>
                    <a:cubicBezTo>
                      <a:pt x="369" y="39"/>
                      <a:pt x="369" y="38"/>
                      <a:pt x="369" y="37"/>
                    </a:cubicBezTo>
                    <a:cubicBezTo>
                      <a:pt x="369" y="36"/>
                      <a:pt x="367" y="34"/>
                      <a:pt x="366" y="33"/>
                    </a:cubicBezTo>
                    <a:cubicBezTo>
                      <a:pt x="365" y="33"/>
                      <a:pt x="364" y="34"/>
                      <a:pt x="363" y="34"/>
                    </a:cubicBezTo>
                    <a:cubicBezTo>
                      <a:pt x="361" y="32"/>
                      <a:pt x="366" y="31"/>
                      <a:pt x="359" y="31"/>
                    </a:cubicBezTo>
                    <a:cubicBezTo>
                      <a:pt x="357" y="32"/>
                      <a:pt x="357" y="32"/>
                      <a:pt x="357" y="32"/>
                    </a:cubicBezTo>
                    <a:cubicBezTo>
                      <a:pt x="355" y="32"/>
                      <a:pt x="355" y="31"/>
                      <a:pt x="353" y="31"/>
                    </a:cubicBezTo>
                    <a:cubicBezTo>
                      <a:pt x="353" y="32"/>
                      <a:pt x="352" y="35"/>
                      <a:pt x="351" y="36"/>
                    </a:cubicBezTo>
                    <a:cubicBezTo>
                      <a:pt x="350" y="38"/>
                      <a:pt x="347" y="38"/>
                      <a:pt x="347" y="41"/>
                    </a:cubicBezTo>
                    <a:cubicBezTo>
                      <a:pt x="346" y="46"/>
                      <a:pt x="348" y="48"/>
                      <a:pt x="353" y="47"/>
                    </a:cubicBezTo>
                    <a:lnTo>
                      <a:pt x="354" y="46"/>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13" name="Freeform 92">
                <a:extLst>
                  <a:ext uri="{FF2B5EF4-FFF2-40B4-BE49-F238E27FC236}">
                    <a16:creationId xmlns:a16="http://schemas.microsoft.com/office/drawing/2014/main" id="{BD420E40-73E9-9A53-3AC6-E63F6B50D84B}"/>
                  </a:ext>
                </a:extLst>
              </p:cNvPr>
              <p:cNvSpPr>
                <a:spLocks/>
              </p:cNvSpPr>
              <p:nvPr/>
            </p:nvSpPr>
            <p:spPr bwMode="auto">
              <a:xfrm>
                <a:off x="3476" y="1175"/>
                <a:ext cx="145" cy="116"/>
              </a:xfrm>
              <a:custGeom>
                <a:avLst/>
                <a:gdLst>
                  <a:gd name="T0" fmla="*/ 74 w 74"/>
                  <a:gd name="T1" fmla="*/ 39 h 59"/>
                  <a:gd name="T2" fmla="*/ 69 w 74"/>
                  <a:gd name="T3" fmla="*/ 39 h 59"/>
                  <a:gd name="T4" fmla="*/ 66 w 74"/>
                  <a:gd name="T5" fmla="*/ 39 h 59"/>
                  <a:gd name="T6" fmla="*/ 64 w 74"/>
                  <a:gd name="T7" fmla="*/ 38 h 59"/>
                  <a:gd name="T8" fmla="*/ 62 w 74"/>
                  <a:gd name="T9" fmla="*/ 37 h 59"/>
                  <a:gd name="T10" fmla="*/ 61 w 74"/>
                  <a:gd name="T11" fmla="*/ 32 h 59"/>
                  <a:gd name="T12" fmla="*/ 61 w 74"/>
                  <a:gd name="T13" fmla="*/ 27 h 59"/>
                  <a:gd name="T14" fmla="*/ 61 w 74"/>
                  <a:gd name="T15" fmla="*/ 23 h 59"/>
                  <a:gd name="T16" fmla="*/ 61 w 74"/>
                  <a:gd name="T17" fmla="*/ 18 h 59"/>
                  <a:gd name="T18" fmla="*/ 57 w 74"/>
                  <a:gd name="T19" fmla="*/ 12 h 59"/>
                  <a:gd name="T20" fmla="*/ 54 w 74"/>
                  <a:gd name="T21" fmla="*/ 6 h 59"/>
                  <a:gd name="T22" fmla="*/ 48 w 74"/>
                  <a:gd name="T23" fmla="*/ 0 h 59"/>
                  <a:gd name="T24" fmla="*/ 45 w 74"/>
                  <a:gd name="T25" fmla="*/ 3 h 59"/>
                  <a:gd name="T26" fmla="*/ 41 w 74"/>
                  <a:gd name="T27" fmla="*/ 5 h 59"/>
                  <a:gd name="T28" fmla="*/ 36 w 74"/>
                  <a:gd name="T29" fmla="*/ 8 h 59"/>
                  <a:gd name="T30" fmla="*/ 33 w 74"/>
                  <a:gd name="T31" fmla="*/ 7 h 59"/>
                  <a:gd name="T32" fmla="*/ 27 w 74"/>
                  <a:gd name="T33" fmla="*/ 5 h 59"/>
                  <a:gd name="T34" fmla="*/ 22 w 74"/>
                  <a:gd name="T35" fmla="*/ 3 h 59"/>
                  <a:gd name="T36" fmla="*/ 18 w 74"/>
                  <a:gd name="T37" fmla="*/ 2 h 59"/>
                  <a:gd name="T38" fmla="*/ 17 w 74"/>
                  <a:gd name="T39" fmla="*/ 10 h 59"/>
                  <a:gd name="T40" fmla="*/ 12 w 74"/>
                  <a:gd name="T41" fmla="*/ 14 h 59"/>
                  <a:gd name="T42" fmla="*/ 8 w 74"/>
                  <a:gd name="T43" fmla="*/ 30 h 59"/>
                  <a:gd name="T44" fmla="*/ 2 w 74"/>
                  <a:gd name="T45" fmla="*/ 35 h 59"/>
                  <a:gd name="T46" fmla="*/ 0 w 74"/>
                  <a:gd name="T47" fmla="*/ 35 h 59"/>
                  <a:gd name="T48" fmla="*/ 4 w 74"/>
                  <a:gd name="T49" fmla="*/ 41 h 59"/>
                  <a:gd name="T50" fmla="*/ 5 w 74"/>
                  <a:gd name="T51" fmla="*/ 44 h 59"/>
                  <a:gd name="T52" fmla="*/ 8 w 74"/>
                  <a:gd name="T53" fmla="*/ 46 h 59"/>
                  <a:gd name="T54" fmla="*/ 12 w 74"/>
                  <a:gd name="T55" fmla="*/ 45 h 59"/>
                  <a:gd name="T56" fmla="*/ 17 w 74"/>
                  <a:gd name="T57" fmla="*/ 46 h 59"/>
                  <a:gd name="T58" fmla="*/ 17 w 74"/>
                  <a:gd name="T59" fmla="*/ 48 h 59"/>
                  <a:gd name="T60" fmla="*/ 16 w 74"/>
                  <a:gd name="T61" fmla="*/ 51 h 59"/>
                  <a:gd name="T62" fmla="*/ 20 w 74"/>
                  <a:gd name="T63" fmla="*/ 53 h 59"/>
                  <a:gd name="T64" fmla="*/ 24 w 74"/>
                  <a:gd name="T65" fmla="*/ 55 h 59"/>
                  <a:gd name="T66" fmla="*/ 26 w 74"/>
                  <a:gd name="T67" fmla="*/ 59 h 59"/>
                  <a:gd name="T68" fmla="*/ 31 w 74"/>
                  <a:gd name="T69" fmla="*/ 58 h 59"/>
                  <a:gd name="T70" fmla="*/ 39 w 74"/>
                  <a:gd name="T71" fmla="*/ 58 h 59"/>
                  <a:gd name="T72" fmla="*/ 44 w 74"/>
                  <a:gd name="T73" fmla="*/ 56 h 59"/>
                  <a:gd name="T74" fmla="*/ 49 w 74"/>
                  <a:gd name="T75" fmla="*/ 53 h 59"/>
                  <a:gd name="T76" fmla="*/ 55 w 74"/>
                  <a:gd name="T77" fmla="*/ 55 h 59"/>
                  <a:gd name="T78" fmla="*/ 62 w 74"/>
                  <a:gd name="T79" fmla="*/ 54 h 59"/>
                  <a:gd name="T80" fmla="*/ 65 w 74"/>
                  <a:gd name="T81" fmla="*/ 56 h 59"/>
                  <a:gd name="T82" fmla="*/ 68 w 74"/>
                  <a:gd name="T83" fmla="*/ 54 h 59"/>
                  <a:gd name="T84" fmla="*/ 67 w 74"/>
                  <a:gd name="T85" fmla="*/ 51 h 59"/>
                  <a:gd name="T86" fmla="*/ 69 w 74"/>
                  <a:gd name="T87" fmla="*/ 49 h 59"/>
                  <a:gd name="T88" fmla="*/ 71 w 74"/>
                  <a:gd name="T89" fmla="*/ 51 h 59"/>
                  <a:gd name="T90" fmla="*/ 72 w 74"/>
                  <a:gd name="T91" fmla="*/ 49 h 59"/>
                  <a:gd name="T92" fmla="*/ 72 w 74"/>
                  <a:gd name="T93" fmla="*/ 43 h 59"/>
                  <a:gd name="T94" fmla="*/ 73 w 74"/>
                  <a:gd name="T95" fmla="*/ 42 h 59"/>
                  <a:gd name="T96" fmla="*/ 72 w 74"/>
                  <a:gd name="T97" fmla="*/ 42 h 59"/>
                  <a:gd name="T98" fmla="*/ 72 w 74"/>
                  <a:gd name="T99" fmla="*/ 40 h 59"/>
                  <a:gd name="T100" fmla="*/ 74 w 74"/>
                  <a:gd name="T101" fmla="*/ 41 h 59"/>
                  <a:gd name="T102" fmla="*/ 74 w 74"/>
                  <a:gd name="T10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 h="59">
                    <a:moveTo>
                      <a:pt x="74" y="39"/>
                    </a:moveTo>
                    <a:cubicBezTo>
                      <a:pt x="74" y="39"/>
                      <a:pt x="70" y="38"/>
                      <a:pt x="69" y="39"/>
                    </a:cubicBezTo>
                    <a:cubicBezTo>
                      <a:pt x="69" y="41"/>
                      <a:pt x="66" y="39"/>
                      <a:pt x="66" y="39"/>
                    </a:cubicBezTo>
                    <a:cubicBezTo>
                      <a:pt x="66" y="39"/>
                      <a:pt x="65" y="39"/>
                      <a:pt x="64" y="38"/>
                    </a:cubicBezTo>
                    <a:cubicBezTo>
                      <a:pt x="64" y="38"/>
                      <a:pt x="63" y="38"/>
                      <a:pt x="62" y="37"/>
                    </a:cubicBezTo>
                    <a:cubicBezTo>
                      <a:pt x="60" y="36"/>
                      <a:pt x="63" y="33"/>
                      <a:pt x="61" y="32"/>
                    </a:cubicBezTo>
                    <a:cubicBezTo>
                      <a:pt x="60" y="32"/>
                      <a:pt x="62" y="29"/>
                      <a:pt x="61" y="27"/>
                    </a:cubicBezTo>
                    <a:cubicBezTo>
                      <a:pt x="61" y="25"/>
                      <a:pt x="63" y="25"/>
                      <a:pt x="61" y="23"/>
                    </a:cubicBezTo>
                    <a:cubicBezTo>
                      <a:pt x="60" y="22"/>
                      <a:pt x="62" y="20"/>
                      <a:pt x="61" y="18"/>
                    </a:cubicBezTo>
                    <a:cubicBezTo>
                      <a:pt x="60" y="16"/>
                      <a:pt x="60" y="15"/>
                      <a:pt x="57" y="12"/>
                    </a:cubicBezTo>
                    <a:cubicBezTo>
                      <a:pt x="55" y="9"/>
                      <a:pt x="55" y="10"/>
                      <a:pt x="54" y="6"/>
                    </a:cubicBezTo>
                    <a:cubicBezTo>
                      <a:pt x="53" y="3"/>
                      <a:pt x="48" y="0"/>
                      <a:pt x="48" y="0"/>
                    </a:cubicBezTo>
                    <a:cubicBezTo>
                      <a:pt x="48" y="0"/>
                      <a:pt x="45" y="1"/>
                      <a:pt x="45" y="3"/>
                    </a:cubicBezTo>
                    <a:cubicBezTo>
                      <a:pt x="44" y="5"/>
                      <a:pt x="43" y="5"/>
                      <a:pt x="41" y="5"/>
                    </a:cubicBezTo>
                    <a:cubicBezTo>
                      <a:pt x="39" y="5"/>
                      <a:pt x="39" y="7"/>
                      <a:pt x="36" y="8"/>
                    </a:cubicBezTo>
                    <a:cubicBezTo>
                      <a:pt x="34" y="9"/>
                      <a:pt x="34" y="9"/>
                      <a:pt x="33" y="7"/>
                    </a:cubicBezTo>
                    <a:cubicBezTo>
                      <a:pt x="31" y="5"/>
                      <a:pt x="30" y="5"/>
                      <a:pt x="27" y="5"/>
                    </a:cubicBezTo>
                    <a:cubicBezTo>
                      <a:pt x="24" y="5"/>
                      <a:pt x="23" y="5"/>
                      <a:pt x="22" y="3"/>
                    </a:cubicBezTo>
                    <a:cubicBezTo>
                      <a:pt x="21" y="1"/>
                      <a:pt x="18" y="2"/>
                      <a:pt x="18" y="2"/>
                    </a:cubicBezTo>
                    <a:cubicBezTo>
                      <a:pt x="18" y="2"/>
                      <a:pt x="18" y="8"/>
                      <a:pt x="17" y="10"/>
                    </a:cubicBezTo>
                    <a:cubicBezTo>
                      <a:pt x="17" y="12"/>
                      <a:pt x="16" y="12"/>
                      <a:pt x="12" y="14"/>
                    </a:cubicBezTo>
                    <a:cubicBezTo>
                      <a:pt x="9" y="17"/>
                      <a:pt x="11" y="24"/>
                      <a:pt x="8" y="30"/>
                    </a:cubicBezTo>
                    <a:cubicBezTo>
                      <a:pt x="5" y="35"/>
                      <a:pt x="2" y="35"/>
                      <a:pt x="2" y="35"/>
                    </a:cubicBezTo>
                    <a:cubicBezTo>
                      <a:pt x="2" y="35"/>
                      <a:pt x="1" y="35"/>
                      <a:pt x="0" y="35"/>
                    </a:cubicBezTo>
                    <a:cubicBezTo>
                      <a:pt x="0" y="35"/>
                      <a:pt x="4" y="39"/>
                      <a:pt x="4" y="41"/>
                    </a:cubicBezTo>
                    <a:cubicBezTo>
                      <a:pt x="4" y="43"/>
                      <a:pt x="3" y="44"/>
                      <a:pt x="5" y="44"/>
                    </a:cubicBezTo>
                    <a:cubicBezTo>
                      <a:pt x="7" y="44"/>
                      <a:pt x="7" y="44"/>
                      <a:pt x="8" y="46"/>
                    </a:cubicBezTo>
                    <a:cubicBezTo>
                      <a:pt x="10" y="49"/>
                      <a:pt x="11" y="46"/>
                      <a:pt x="12" y="45"/>
                    </a:cubicBezTo>
                    <a:cubicBezTo>
                      <a:pt x="13" y="44"/>
                      <a:pt x="15" y="45"/>
                      <a:pt x="17" y="46"/>
                    </a:cubicBezTo>
                    <a:cubicBezTo>
                      <a:pt x="20" y="48"/>
                      <a:pt x="19" y="48"/>
                      <a:pt x="17" y="48"/>
                    </a:cubicBezTo>
                    <a:cubicBezTo>
                      <a:pt x="14" y="48"/>
                      <a:pt x="14" y="50"/>
                      <a:pt x="16" y="51"/>
                    </a:cubicBezTo>
                    <a:cubicBezTo>
                      <a:pt x="17" y="53"/>
                      <a:pt x="20" y="53"/>
                      <a:pt x="20" y="53"/>
                    </a:cubicBezTo>
                    <a:cubicBezTo>
                      <a:pt x="20" y="53"/>
                      <a:pt x="26" y="54"/>
                      <a:pt x="24" y="55"/>
                    </a:cubicBezTo>
                    <a:cubicBezTo>
                      <a:pt x="22" y="57"/>
                      <a:pt x="22" y="59"/>
                      <a:pt x="26" y="59"/>
                    </a:cubicBezTo>
                    <a:cubicBezTo>
                      <a:pt x="31" y="59"/>
                      <a:pt x="28" y="57"/>
                      <a:pt x="31" y="58"/>
                    </a:cubicBezTo>
                    <a:cubicBezTo>
                      <a:pt x="35" y="59"/>
                      <a:pt x="34" y="59"/>
                      <a:pt x="39" y="58"/>
                    </a:cubicBezTo>
                    <a:cubicBezTo>
                      <a:pt x="43" y="57"/>
                      <a:pt x="42" y="58"/>
                      <a:pt x="44" y="56"/>
                    </a:cubicBezTo>
                    <a:cubicBezTo>
                      <a:pt x="46" y="54"/>
                      <a:pt x="47" y="52"/>
                      <a:pt x="49" y="53"/>
                    </a:cubicBezTo>
                    <a:cubicBezTo>
                      <a:pt x="51" y="53"/>
                      <a:pt x="52" y="56"/>
                      <a:pt x="55" y="55"/>
                    </a:cubicBezTo>
                    <a:cubicBezTo>
                      <a:pt x="59" y="53"/>
                      <a:pt x="59" y="53"/>
                      <a:pt x="62" y="54"/>
                    </a:cubicBezTo>
                    <a:cubicBezTo>
                      <a:pt x="63" y="54"/>
                      <a:pt x="65" y="56"/>
                      <a:pt x="65" y="56"/>
                    </a:cubicBezTo>
                    <a:cubicBezTo>
                      <a:pt x="68" y="54"/>
                      <a:pt x="68" y="54"/>
                      <a:pt x="68" y="54"/>
                    </a:cubicBezTo>
                    <a:cubicBezTo>
                      <a:pt x="69" y="52"/>
                      <a:pt x="67" y="53"/>
                      <a:pt x="67" y="51"/>
                    </a:cubicBezTo>
                    <a:cubicBezTo>
                      <a:pt x="68" y="51"/>
                      <a:pt x="69" y="51"/>
                      <a:pt x="69" y="49"/>
                    </a:cubicBezTo>
                    <a:cubicBezTo>
                      <a:pt x="69" y="49"/>
                      <a:pt x="70" y="50"/>
                      <a:pt x="71" y="51"/>
                    </a:cubicBezTo>
                    <a:cubicBezTo>
                      <a:pt x="71" y="50"/>
                      <a:pt x="71" y="49"/>
                      <a:pt x="72" y="49"/>
                    </a:cubicBezTo>
                    <a:cubicBezTo>
                      <a:pt x="72" y="47"/>
                      <a:pt x="72" y="45"/>
                      <a:pt x="72" y="43"/>
                    </a:cubicBezTo>
                    <a:cubicBezTo>
                      <a:pt x="72" y="43"/>
                      <a:pt x="73" y="43"/>
                      <a:pt x="73" y="42"/>
                    </a:cubicBezTo>
                    <a:cubicBezTo>
                      <a:pt x="72" y="42"/>
                      <a:pt x="72" y="42"/>
                      <a:pt x="72" y="42"/>
                    </a:cubicBezTo>
                    <a:cubicBezTo>
                      <a:pt x="72" y="42"/>
                      <a:pt x="72" y="40"/>
                      <a:pt x="72" y="40"/>
                    </a:cubicBezTo>
                    <a:cubicBezTo>
                      <a:pt x="72" y="40"/>
                      <a:pt x="73" y="40"/>
                      <a:pt x="74" y="41"/>
                    </a:cubicBezTo>
                    <a:cubicBezTo>
                      <a:pt x="74" y="41"/>
                      <a:pt x="74" y="41"/>
                      <a:pt x="74" y="39"/>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14" name="Freeform 93">
                <a:extLst>
                  <a:ext uri="{FF2B5EF4-FFF2-40B4-BE49-F238E27FC236}">
                    <a16:creationId xmlns:a16="http://schemas.microsoft.com/office/drawing/2014/main" id="{029F1A6B-09DE-36D1-A5FC-4F61EE7A0D11}"/>
                  </a:ext>
                </a:extLst>
              </p:cNvPr>
              <p:cNvSpPr>
                <a:spLocks/>
              </p:cNvSpPr>
              <p:nvPr/>
            </p:nvSpPr>
            <p:spPr bwMode="auto">
              <a:xfrm>
                <a:off x="3476" y="1175"/>
                <a:ext cx="145" cy="116"/>
              </a:xfrm>
              <a:custGeom>
                <a:avLst/>
                <a:gdLst>
                  <a:gd name="T0" fmla="*/ 74 w 74"/>
                  <a:gd name="T1" fmla="*/ 39 h 59"/>
                  <a:gd name="T2" fmla="*/ 69 w 74"/>
                  <a:gd name="T3" fmla="*/ 39 h 59"/>
                  <a:gd name="T4" fmla="*/ 66 w 74"/>
                  <a:gd name="T5" fmla="*/ 39 h 59"/>
                  <a:gd name="T6" fmla="*/ 64 w 74"/>
                  <a:gd name="T7" fmla="*/ 38 h 59"/>
                  <a:gd name="T8" fmla="*/ 62 w 74"/>
                  <a:gd name="T9" fmla="*/ 37 h 59"/>
                  <a:gd name="T10" fmla="*/ 61 w 74"/>
                  <a:gd name="T11" fmla="*/ 32 h 59"/>
                  <a:gd name="T12" fmla="*/ 61 w 74"/>
                  <a:gd name="T13" fmla="*/ 27 h 59"/>
                  <a:gd name="T14" fmla="*/ 61 w 74"/>
                  <a:gd name="T15" fmla="*/ 23 h 59"/>
                  <a:gd name="T16" fmla="*/ 61 w 74"/>
                  <a:gd name="T17" fmla="*/ 18 h 59"/>
                  <a:gd name="T18" fmla="*/ 57 w 74"/>
                  <a:gd name="T19" fmla="*/ 12 h 59"/>
                  <a:gd name="T20" fmla="*/ 54 w 74"/>
                  <a:gd name="T21" fmla="*/ 6 h 59"/>
                  <a:gd name="T22" fmla="*/ 48 w 74"/>
                  <a:gd name="T23" fmla="*/ 0 h 59"/>
                  <a:gd name="T24" fmla="*/ 45 w 74"/>
                  <a:gd name="T25" fmla="*/ 3 h 59"/>
                  <a:gd name="T26" fmla="*/ 41 w 74"/>
                  <a:gd name="T27" fmla="*/ 5 h 59"/>
                  <a:gd name="T28" fmla="*/ 36 w 74"/>
                  <a:gd name="T29" fmla="*/ 8 h 59"/>
                  <a:gd name="T30" fmla="*/ 33 w 74"/>
                  <a:gd name="T31" fmla="*/ 7 h 59"/>
                  <a:gd name="T32" fmla="*/ 27 w 74"/>
                  <a:gd name="T33" fmla="*/ 5 h 59"/>
                  <a:gd name="T34" fmla="*/ 22 w 74"/>
                  <a:gd name="T35" fmla="*/ 3 h 59"/>
                  <a:gd name="T36" fmla="*/ 18 w 74"/>
                  <a:gd name="T37" fmla="*/ 2 h 59"/>
                  <a:gd name="T38" fmla="*/ 17 w 74"/>
                  <a:gd name="T39" fmla="*/ 10 h 59"/>
                  <a:gd name="T40" fmla="*/ 12 w 74"/>
                  <a:gd name="T41" fmla="*/ 14 h 59"/>
                  <a:gd name="T42" fmla="*/ 8 w 74"/>
                  <a:gd name="T43" fmla="*/ 30 h 59"/>
                  <a:gd name="T44" fmla="*/ 2 w 74"/>
                  <a:gd name="T45" fmla="*/ 35 h 59"/>
                  <a:gd name="T46" fmla="*/ 0 w 74"/>
                  <a:gd name="T47" fmla="*/ 35 h 59"/>
                  <a:gd name="T48" fmla="*/ 4 w 74"/>
                  <a:gd name="T49" fmla="*/ 41 h 59"/>
                  <a:gd name="T50" fmla="*/ 5 w 74"/>
                  <a:gd name="T51" fmla="*/ 44 h 59"/>
                  <a:gd name="T52" fmla="*/ 8 w 74"/>
                  <a:gd name="T53" fmla="*/ 46 h 59"/>
                  <a:gd name="T54" fmla="*/ 12 w 74"/>
                  <a:gd name="T55" fmla="*/ 45 h 59"/>
                  <a:gd name="T56" fmla="*/ 17 w 74"/>
                  <a:gd name="T57" fmla="*/ 46 h 59"/>
                  <a:gd name="T58" fmla="*/ 17 w 74"/>
                  <a:gd name="T59" fmla="*/ 48 h 59"/>
                  <a:gd name="T60" fmla="*/ 16 w 74"/>
                  <a:gd name="T61" fmla="*/ 51 h 59"/>
                  <a:gd name="T62" fmla="*/ 20 w 74"/>
                  <a:gd name="T63" fmla="*/ 53 h 59"/>
                  <a:gd name="T64" fmla="*/ 24 w 74"/>
                  <a:gd name="T65" fmla="*/ 55 h 59"/>
                  <a:gd name="T66" fmla="*/ 26 w 74"/>
                  <a:gd name="T67" fmla="*/ 59 h 59"/>
                  <a:gd name="T68" fmla="*/ 31 w 74"/>
                  <a:gd name="T69" fmla="*/ 58 h 59"/>
                  <a:gd name="T70" fmla="*/ 39 w 74"/>
                  <a:gd name="T71" fmla="*/ 58 h 59"/>
                  <a:gd name="T72" fmla="*/ 44 w 74"/>
                  <a:gd name="T73" fmla="*/ 56 h 59"/>
                  <a:gd name="T74" fmla="*/ 49 w 74"/>
                  <a:gd name="T75" fmla="*/ 53 h 59"/>
                  <a:gd name="T76" fmla="*/ 55 w 74"/>
                  <a:gd name="T77" fmla="*/ 55 h 59"/>
                  <a:gd name="T78" fmla="*/ 62 w 74"/>
                  <a:gd name="T79" fmla="*/ 54 h 59"/>
                  <a:gd name="T80" fmla="*/ 65 w 74"/>
                  <a:gd name="T81" fmla="*/ 56 h 59"/>
                  <a:gd name="T82" fmla="*/ 68 w 74"/>
                  <a:gd name="T83" fmla="*/ 54 h 59"/>
                  <a:gd name="T84" fmla="*/ 67 w 74"/>
                  <a:gd name="T85" fmla="*/ 51 h 59"/>
                  <a:gd name="T86" fmla="*/ 69 w 74"/>
                  <a:gd name="T87" fmla="*/ 49 h 59"/>
                  <a:gd name="T88" fmla="*/ 71 w 74"/>
                  <a:gd name="T89" fmla="*/ 51 h 59"/>
                  <a:gd name="T90" fmla="*/ 72 w 74"/>
                  <a:gd name="T91" fmla="*/ 49 h 59"/>
                  <a:gd name="T92" fmla="*/ 72 w 74"/>
                  <a:gd name="T93" fmla="*/ 43 h 59"/>
                  <a:gd name="T94" fmla="*/ 73 w 74"/>
                  <a:gd name="T95" fmla="*/ 42 h 59"/>
                  <a:gd name="T96" fmla="*/ 72 w 74"/>
                  <a:gd name="T97" fmla="*/ 42 h 59"/>
                  <a:gd name="T98" fmla="*/ 72 w 74"/>
                  <a:gd name="T99" fmla="*/ 40 h 59"/>
                  <a:gd name="T100" fmla="*/ 74 w 74"/>
                  <a:gd name="T101" fmla="*/ 41 h 59"/>
                  <a:gd name="T102" fmla="*/ 74 w 74"/>
                  <a:gd name="T10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 h="59">
                    <a:moveTo>
                      <a:pt x="74" y="39"/>
                    </a:moveTo>
                    <a:cubicBezTo>
                      <a:pt x="74" y="39"/>
                      <a:pt x="70" y="38"/>
                      <a:pt x="69" y="39"/>
                    </a:cubicBezTo>
                    <a:cubicBezTo>
                      <a:pt x="69" y="41"/>
                      <a:pt x="66" y="39"/>
                      <a:pt x="66" y="39"/>
                    </a:cubicBezTo>
                    <a:cubicBezTo>
                      <a:pt x="66" y="39"/>
                      <a:pt x="65" y="39"/>
                      <a:pt x="64" y="38"/>
                    </a:cubicBezTo>
                    <a:cubicBezTo>
                      <a:pt x="64" y="38"/>
                      <a:pt x="63" y="38"/>
                      <a:pt x="62" y="37"/>
                    </a:cubicBezTo>
                    <a:cubicBezTo>
                      <a:pt x="60" y="36"/>
                      <a:pt x="63" y="33"/>
                      <a:pt x="61" y="32"/>
                    </a:cubicBezTo>
                    <a:cubicBezTo>
                      <a:pt x="60" y="32"/>
                      <a:pt x="62" y="29"/>
                      <a:pt x="61" y="27"/>
                    </a:cubicBezTo>
                    <a:cubicBezTo>
                      <a:pt x="61" y="25"/>
                      <a:pt x="63" y="25"/>
                      <a:pt x="61" y="23"/>
                    </a:cubicBezTo>
                    <a:cubicBezTo>
                      <a:pt x="60" y="22"/>
                      <a:pt x="62" y="20"/>
                      <a:pt x="61" y="18"/>
                    </a:cubicBezTo>
                    <a:cubicBezTo>
                      <a:pt x="60" y="16"/>
                      <a:pt x="60" y="15"/>
                      <a:pt x="57" y="12"/>
                    </a:cubicBezTo>
                    <a:cubicBezTo>
                      <a:pt x="55" y="9"/>
                      <a:pt x="55" y="10"/>
                      <a:pt x="54" y="6"/>
                    </a:cubicBezTo>
                    <a:cubicBezTo>
                      <a:pt x="53" y="3"/>
                      <a:pt x="48" y="0"/>
                      <a:pt x="48" y="0"/>
                    </a:cubicBezTo>
                    <a:cubicBezTo>
                      <a:pt x="48" y="0"/>
                      <a:pt x="45" y="1"/>
                      <a:pt x="45" y="3"/>
                    </a:cubicBezTo>
                    <a:cubicBezTo>
                      <a:pt x="44" y="5"/>
                      <a:pt x="43" y="5"/>
                      <a:pt x="41" y="5"/>
                    </a:cubicBezTo>
                    <a:cubicBezTo>
                      <a:pt x="39" y="5"/>
                      <a:pt x="39" y="7"/>
                      <a:pt x="36" y="8"/>
                    </a:cubicBezTo>
                    <a:cubicBezTo>
                      <a:pt x="34" y="9"/>
                      <a:pt x="34" y="9"/>
                      <a:pt x="33" y="7"/>
                    </a:cubicBezTo>
                    <a:cubicBezTo>
                      <a:pt x="31" y="5"/>
                      <a:pt x="30" y="5"/>
                      <a:pt x="27" y="5"/>
                    </a:cubicBezTo>
                    <a:cubicBezTo>
                      <a:pt x="24" y="5"/>
                      <a:pt x="23" y="5"/>
                      <a:pt x="22" y="3"/>
                    </a:cubicBezTo>
                    <a:cubicBezTo>
                      <a:pt x="21" y="1"/>
                      <a:pt x="18" y="2"/>
                      <a:pt x="18" y="2"/>
                    </a:cubicBezTo>
                    <a:cubicBezTo>
                      <a:pt x="18" y="2"/>
                      <a:pt x="18" y="8"/>
                      <a:pt x="17" y="10"/>
                    </a:cubicBezTo>
                    <a:cubicBezTo>
                      <a:pt x="17" y="12"/>
                      <a:pt x="16" y="12"/>
                      <a:pt x="12" y="14"/>
                    </a:cubicBezTo>
                    <a:cubicBezTo>
                      <a:pt x="9" y="17"/>
                      <a:pt x="11" y="24"/>
                      <a:pt x="8" y="30"/>
                    </a:cubicBezTo>
                    <a:cubicBezTo>
                      <a:pt x="5" y="35"/>
                      <a:pt x="2" y="35"/>
                      <a:pt x="2" y="35"/>
                    </a:cubicBezTo>
                    <a:cubicBezTo>
                      <a:pt x="2" y="35"/>
                      <a:pt x="1" y="35"/>
                      <a:pt x="0" y="35"/>
                    </a:cubicBezTo>
                    <a:cubicBezTo>
                      <a:pt x="0" y="35"/>
                      <a:pt x="4" y="39"/>
                      <a:pt x="4" y="41"/>
                    </a:cubicBezTo>
                    <a:cubicBezTo>
                      <a:pt x="4" y="43"/>
                      <a:pt x="3" y="44"/>
                      <a:pt x="5" y="44"/>
                    </a:cubicBezTo>
                    <a:cubicBezTo>
                      <a:pt x="7" y="44"/>
                      <a:pt x="7" y="44"/>
                      <a:pt x="8" y="46"/>
                    </a:cubicBezTo>
                    <a:cubicBezTo>
                      <a:pt x="10" y="49"/>
                      <a:pt x="11" y="46"/>
                      <a:pt x="12" y="45"/>
                    </a:cubicBezTo>
                    <a:cubicBezTo>
                      <a:pt x="13" y="44"/>
                      <a:pt x="15" y="45"/>
                      <a:pt x="17" y="46"/>
                    </a:cubicBezTo>
                    <a:cubicBezTo>
                      <a:pt x="20" y="48"/>
                      <a:pt x="19" y="48"/>
                      <a:pt x="17" y="48"/>
                    </a:cubicBezTo>
                    <a:cubicBezTo>
                      <a:pt x="14" y="48"/>
                      <a:pt x="14" y="50"/>
                      <a:pt x="16" y="51"/>
                    </a:cubicBezTo>
                    <a:cubicBezTo>
                      <a:pt x="17" y="53"/>
                      <a:pt x="20" y="53"/>
                      <a:pt x="20" y="53"/>
                    </a:cubicBezTo>
                    <a:cubicBezTo>
                      <a:pt x="20" y="53"/>
                      <a:pt x="26" y="54"/>
                      <a:pt x="24" y="55"/>
                    </a:cubicBezTo>
                    <a:cubicBezTo>
                      <a:pt x="22" y="57"/>
                      <a:pt x="22" y="59"/>
                      <a:pt x="26" y="59"/>
                    </a:cubicBezTo>
                    <a:cubicBezTo>
                      <a:pt x="31" y="59"/>
                      <a:pt x="28" y="57"/>
                      <a:pt x="31" y="58"/>
                    </a:cubicBezTo>
                    <a:cubicBezTo>
                      <a:pt x="35" y="59"/>
                      <a:pt x="34" y="59"/>
                      <a:pt x="39" y="58"/>
                    </a:cubicBezTo>
                    <a:cubicBezTo>
                      <a:pt x="43" y="57"/>
                      <a:pt x="42" y="58"/>
                      <a:pt x="44" y="56"/>
                    </a:cubicBezTo>
                    <a:cubicBezTo>
                      <a:pt x="46" y="54"/>
                      <a:pt x="47" y="52"/>
                      <a:pt x="49" y="53"/>
                    </a:cubicBezTo>
                    <a:cubicBezTo>
                      <a:pt x="51" y="53"/>
                      <a:pt x="52" y="56"/>
                      <a:pt x="55" y="55"/>
                    </a:cubicBezTo>
                    <a:cubicBezTo>
                      <a:pt x="59" y="53"/>
                      <a:pt x="59" y="53"/>
                      <a:pt x="62" y="54"/>
                    </a:cubicBezTo>
                    <a:cubicBezTo>
                      <a:pt x="63" y="54"/>
                      <a:pt x="65" y="56"/>
                      <a:pt x="65" y="56"/>
                    </a:cubicBezTo>
                    <a:cubicBezTo>
                      <a:pt x="68" y="54"/>
                      <a:pt x="68" y="54"/>
                      <a:pt x="68" y="54"/>
                    </a:cubicBezTo>
                    <a:cubicBezTo>
                      <a:pt x="69" y="52"/>
                      <a:pt x="67" y="53"/>
                      <a:pt x="67" y="51"/>
                    </a:cubicBezTo>
                    <a:cubicBezTo>
                      <a:pt x="68" y="51"/>
                      <a:pt x="69" y="51"/>
                      <a:pt x="69" y="49"/>
                    </a:cubicBezTo>
                    <a:cubicBezTo>
                      <a:pt x="69" y="49"/>
                      <a:pt x="70" y="50"/>
                      <a:pt x="71" y="51"/>
                    </a:cubicBezTo>
                    <a:cubicBezTo>
                      <a:pt x="71" y="50"/>
                      <a:pt x="71" y="49"/>
                      <a:pt x="72" y="49"/>
                    </a:cubicBezTo>
                    <a:cubicBezTo>
                      <a:pt x="72" y="47"/>
                      <a:pt x="72" y="45"/>
                      <a:pt x="72" y="43"/>
                    </a:cubicBezTo>
                    <a:cubicBezTo>
                      <a:pt x="72" y="43"/>
                      <a:pt x="73" y="43"/>
                      <a:pt x="73" y="42"/>
                    </a:cubicBezTo>
                    <a:cubicBezTo>
                      <a:pt x="72" y="42"/>
                      <a:pt x="72" y="42"/>
                      <a:pt x="72" y="42"/>
                    </a:cubicBezTo>
                    <a:cubicBezTo>
                      <a:pt x="72" y="42"/>
                      <a:pt x="72" y="40"/>
                      <a:pt x="72" y="40"/>
                    </a:cubicBezTo>
                    <a:cubicBezTo>
                      <a:pt x="72" y="40"/>
                      <a:pt x="73" y="40"/>
                      <a:pt x="74" y="41"/>
                    </a:cubicBezTo>
                    <a:cubicBezTo>
                      <a:pt x="74" y="41"/>
                      <a:pt x="74" y="41"/>
                      <a:pt x="74" y="39"/>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15" name="Freeform 94">
                <a:extLst>
                  <a:ext uri="{FF2B5EF4-FFF2-40B4-BE49-F238E27FC236}">
                    <a16:creationId xmlns:a16="http://schemas.microsoft.com/office/drawing/2014/main" id="{62E52658-8F55-14CC-86C8-6D7A41C74773}"/>
                  </a:ext>
                </a:extLst>
              </p:cNvPr>
              <p:cNvSpPr>
                <a:spLocks/>
              </p:cNvSpPr>
              <p:nvPr/>
            </p:nvSpPr>
            <p:spPr bwMode="auto">
              <a:xfrm>
                <a:off x="3970" y="1699"/>
                <a:ext cx="16" cy="24"/>
              </a:xfrm>
              <a:custGeom>
                <a:avLst/>
                <a:gdLst>
                  <a:gd name="T0" fmla="*/ 0 w 8"/>
                  <a:gd name="T1" fmla="*/ 8 h 12"/>
                  <a:gd name="T2" fmla="*/ 0 w 8"/>
                  <a:gd name="T3" fmla="*/ 6 h 12"/>
                  <a:gd name="T4" fmla="*/ 5 w 8"/>
                  <a:gd name="T5" fmla="*/ 0 h 12"/>
                  <a:gd name="T6" fmla="*/ 7 w 8"/>
                  <a:gd name="T7" fmla="*/ 0 h 12"/>
                  <a:gd name="T8" fmla="*/ 7 w 8"/>
                  <a:gd name="T9" fmla="*/ 12 h 12"/>
                  <a:gd name="T10" fmla="*/ 4 w 8"/>
                  <a:gd name="T11" fmla="*/ 11 h 12"/>
                  <a:gd name="T12" fmla="*/ 0 w 8"/>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0" y="8"/>
                    </a:moveTo>
                    <a:cubicBezTo>
                      <a:pt x="0" y="8"/>
                      <a:pt x="0" y="6"/>
                      <a:pt x="0" y="6"/>
                    </a:cubicBezTo>
                    <a:cubicBezTo>
                      <a:pt x="4" y="4"/>
                      <a:pt x="4" y="4"/>
                      <a:pt x="5" y="0"/>
                    </a:cubicBezTo>
                    <a:cubicBezTo>
                      <a:pt x="5" y="0"/>
                      <a:pt x="7" y="0"/>
                      <a:pt x="7" y="0"/>
                    </a:cubicBezTo>
                    <a:cubicBezTo>
                      <a:pt x="8" y="3"/>
                      <a:pt x="8" y="7"/>
                      <a:pt x="7" y="12"/>
                    </a:cubicBezTo>
                    <a:cubicBezTo>
                      <a:pt x="4" y="11"/>
                      <a:pt x="4" y="11"/>
                      <a:pt x="4" y="11"/>
                    </a:cubicBezTo>
                    <a:lnTo>
                      <a:pt x="0" y="8"/>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16" name="Freeform 95">
                <a:extLst>
                  <a:ext uri="{FF2B5EF4-FFF2-40B4-BE49-F238E27FC236}">
                    <a16:creationId xmlns:a16="http://schemas.microsoft.com/office/drawing/2014/main" id="{02550E12-21BA-1FC9-8F71-2484CA5AC094}"/>
                  </a:ext>
                </a:extLst>
              </p:cNvPr>
              <p:cNvSpPr>
                <a:spLocks/>
              </p:cNvSpPr>
              <p:nvPr/>
            </p:nvSpPr>
            <p:spPr bwMode="auto">
              <a:xfrm>
                <a:off x="3970" y="1699"/>
                <a:ext cx="16" cy="24"/>
              </a:xfrm>
              <a:custGeom>
                <a:avLst/>
                <a:gdLst>
                  <a:gd name="T0" fmla="*/ 0 w 8"/>
                  <a:gd name="T1" fmla="*/ 8 h 12"/>
                  <a:gd name="T2" fmla="*/ 0 w 8"/>
                  <a:gd name="T3" fmla="*/ 6 h 12"/>
                  <a:gd name="T4" fmla="*/ 5 w 8"/>
                  <a:gd name="T5" fmla="*/ 0 h 12"/>
                  <a:gd name="T6" fmla="*/ 7 w 8"/>
                  <a:gd name="T7" fmla="*/ 0 h 12"/>
                  <a:gd name="T8" fmla="*/ 7 w 8"/>
                  <a:gd name="T9" fmla="*/ 12 h 12"/>
                  <a:gd name="T10" fmla="*/ 4 w 8"/>
                  <a:gd name="T11" fmla="*/ 11 h 12"/>
                  <a:gd name="T12" fmla="*/ 0 w 8"/>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8" h="12">
                    <a:moveTo>
                      <a:pt x="0" y="8"/>
                    </a:moveTo>
                    <a:cubicBezTo>
                      <a:pt x="0" y="8"/>
                      <a:pt x="0" y="6"/>
                      <a:pt x="0" y="6"/>
                    </a:cubicBezTo>
                    <a:cubicBezTo>
                      <a:pt x="4" y="4"/>
                      <a:pt x="4" y="4"/>
                      <a:pt x="5" y="0"/>
                    </a:cubicBezTo>
                    <a:cubicBezTo>
                      <a:pt x="5" y="0"/>
                      <a:pt x="7" y="0"/>
                      <a:pt x="7" y="0"/>
                    </a:cubicBezTo>
                    <a:cubicBezTo>
                      <a:pt x="8" y="3"/>
                      <a:pt x="8" y="7"/>
                      <a:pt x="7" y="12"/>
                    </a:cubicBezTo>
                    <a:cubicBezTo>
                      <a:pt x="4" y="11"/>
                      <a:pt x="4" y="11"/>
                      <a:pt x="4" y="11"/>
                    </a:cubicBezTo>
                    <a:lnTo>
                      <a:pt x="0" y="8"/>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17" name="Freeform 96">
                <a:extLst>
                  <a:ext uri="{FF2B5EF4-FFF2-40B4-BE49-F238E27FC236}">
                    <a16:creationId xmlns:a16="http://schemas.microsoft.com/office/drawing/2014/main" id="{E17CFFBA-28EE-DAF7-5D78-A84AF46E27A7}"/>
                  </a:ext>
                </a:extLst>
              </p:cNvPr>
              <p:cNvSpPr>
                <a:spLocks/>
              </p:cNvSpPr>
              <p:nvPr/>
            </p:nvSpPr>
            <p:spPr bwMode="auto">
              <a:xfrm>
                <a:off x="1986" y="1854"/>
                <a:ext cx="29" cy="16"/>
              </a:xfrm>
              <a:custGeom>
                <a:avLst/>
                <a:gdLst>
                  <a:gd name="T0" fmla="*/ 1 w 15"/>
                  <a:gd name="T1" fmla="*/ 1 h 8"/>
                  <a:gd name="T2" fmla="*/ 0 w 15"/>
                  <a:gd name="T3" fmla="*/ 4 h 8"/>
                  <a:gd name="T4" fmla="*/ 2 w 15"/>
                  <a:gd name="T5" fmla="*/ 6 h 8"/>
                  <a:gd name="T6" fmla="*/ 11 w 15"/>
                  <a:gd name="T7" fmla="*/ 4 h 8"/>
                  <a:gd name="T8" fmla="*/ 1 w 15"/>
                  <a:gd name="T9" fmla="*/ 1 h 8"/>
                </a:gdLst>
                <a:ahLst/>
                <a:cxnLst>
                  <a:cxn ang="0">
                    <a:pos x="T0" y="T1"/>
                  </a:cxn>
                  <a:cxn ang="0">
                    <a:pos x="T2" y="T3"/>
                  </a:cxn>
                  <a:cxn ang="0">
                    <a:pos x="T4" y="T5"/>
                  </a:cxn>
                  <a:cxn ang="0">
                    <a:pos x="T6" y="T7"/>
                  </a:cxn>
                  <a:cxn ang="0">
                    <a:pos x="T8" y="T9"/>
                  </a:cxn>
                </a:cxnLst>
                <a:rect l="0" t="0" r="r" b="b"/>
                <a:pathLst>
                  <a:path w="15" h="8">
                    <a:moveTo>
                      <a:pt x="1" y="1"/>
                    </a:moveTo>
                    <a:cubicBezTo>
                      <a:pt x="1" y="1"/>
                      <a:pt x="0" y="3"/>
                      <a:pt x="0" y="4"/>
                    </a:cubicBezTo>
                    <a:cubicBezTo>
                      <a:pt x="1" y="4"/>
                      <a:pt x="1" y="6"/>
                      <a:pt x="2" y="6"/>
                    </a:cubicBezTo>
                    <a:cubicBezTo>
                      <a:pt x="6" y="8"/>
                      <a:pt x="9" y="6"/>
                      <a:pt x="11" y="4"/>
                    </a:cubicBezTo>
                    <a:cubicBezTo>
                      <a:pt x="15" y="0"/>
                      <a:pt x="5" y="1"/>
                      <a:pt x="1" y="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18" name="Freeform 97">
                <a:extLst>
                  <a:ext uri="{FF2B5EF4-FFF2-40B4-BE49-F238E27FC236}">
                    <a16:creationId xmlns:a16="http://schemas.microsoft.com/office/drawing/2014/main" id="{3C33AE86-8D64-2D8E-ABD7-2E4C629873BC}"/>
                  </a:ext>
                </a:extLst>
              </p:cNvPr>
              <p:cNvSpPr>
                <a:spLocks/>
              </p:cNvSpPr>
              <p:nvPr/>
            </p:nvSpPr>
            <p:spPr bwMode="auto">
              <a:xfrm>
                <a:off x="1986" y="1854"/>
                <a:ext cx="29" cy="16"/>
              </a:xfrm>
              <a:custGeom>
                <a:avLst/>
                <a:gdLst>
                  <a:gd name="T0" fmla="*/ 1 w 15"/>
                  <a:gd name="T1" fmla="*/ 1 h 8"/>
                  <a:gd name="T2" fmla="*/ 0 w 15"/>
                  <a:gd name="T3" fmla="*/ 4 h 8"/>
                  <a:gd name="T4" fmla="*/ 2 w 15"/>
                  <a:gd name="T5" fmla="*/ 6 h 8"/>
                  <a:gd name="T6" fmla="*/ 11 w 15"/>
                  <a:gd name="T7" fmla="*/ 4 h 8"/>
                  <a:gd name="T8" fmla="*/ 1 w 15"/>
                  <a:gd name="T9" fmla="*/ 1 h 8"/>
                </a:gdLst>
                <a:ahLst/>
                <a:cxnLst>
                  <a:cxn ang="0">
                    <a:pos x="T0" y="T1"/>
                  </a:cxn>
                  <a:cxn ang="0">
                    <a:pos x="T2" y="T3"/>
                  </a:cxn>
                  <a:cxn ang="0">
                    <a:pos x="T4" y="T5"/>
                  </a:cxn>
                  <a:cxn ang="0">
                    <a:pos x="T6" y="T7"/>
                  </a:cxn>
                  <a:cxn ang="0">
                    <a:pos x="T8" y="T9"/>
                  </a:cxn>
                </a:cxnLst>
                <a:rect l="0" t="0" r="r" b="b"/>
                <a:pathLst>
                  <a:path w="15" h="8">
                    <a:moveTo>
                      <a:pt x="1" y="1"/>
                    </a:moveTo>
                    <a:cubicBezTo>
                      <a:pt x="1" y="1"/>
                      <a:pt x="0" y="3"/>
                      <a:pt x="0" y="4"/>
                    </a:cubicBezTo>
                    <a:cubicBezTo>
                      <a:pt x="1" y="4"/>
                      <a:pt x="1" y="6"/>
                      <a:pt x="2" y="6"/>
                    </a:cubicBezTo>
                    <a:cubicBezTo>
                      <a:pt x="6" y="8"/>
                      <a:pt x="9" y="6"/>
                      <a:pt x="11" y="4"/>
                    </a:cubicBezTo>
                    <a:cubicBezTo>
                      <a:pt x="15" y="0"/>
                      <a:pt x="5" y="1"/>
                      <a:pt x="1" y="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19" name="Freeform 98">
                <a:extLst>
                  <a:ext uri="{FF2B5EF4-FFF2-40B4-BE49-F238E27FC236}">
                    <a16:creationId xmlns:a16="http://schemas.microsoft.com/office/drawing/2014/main" id="{B6BFE8CC-B74B-C9B7-0870-7B7FF33CE15B}"/>
                  </a:ext>
                </a:extLst>
              </p:cNvPr>
              <p:cNvSpPr>
                <a:spLocks/>
              </p:cNvSpPr>
              <p:nvPr/>
            </p:nvSpPr>
            <p:spPr bwMode="auto">
              <a:xfrm>
                <a:off x="2953" y="1328"/>
                <a:ext cx="53" cy="122"/>
              </a:xfrm>
              <a:custGeom>
                <a:avLst/>
                <a:gdLst>
                  <a:gd name="T0" fmla="*/ 21 w 27"/>
                  <a:gd name="T1" fmla="*/ 59 h 62"/>
                  <a:gd name="T2" fmla="*/ 23 w 27"/>
                  <a:gd name="T3" fmla="*/ 53 h 62"/>
                  <a:gd name="T4" fmla="*/ 20 w 27"/>
                  <a:gd name="T5" fmla="*/ 51 h 62"/>
                  <a:gd name="T6" fmla="*/ 21 w 27"/>
                  <a:gd name="T7" fmla="*/ 45 h 62"/>
                  <a:gd name="T8" fmla="*/ 21 w 27"/>
                  <a:gd name="T9" fmla="*/ 41 h 62"/>
                  <a:gd name="T10" fmla="*/ 22 w 27"/>
                  <a:gd name="T11" fmla="*/ 34 h 62"/>
                  <a:gd name="T12" fmla="*/ 22 w 27"/>
                  <a:gd name="T13" fmla="*/ 28 h 62"/>
                  <a:gd name="T14" fmla="*/ 23 w 27"/>
                  <a:gd name="T15" fmla="*/ 23 h 62"/>
                  <a:gd name="T16" fmla="*/ 22 w 27"/>
                  <a:gd name="T17" fmla="*/ 14 h 62"/>
                  <a:gd name="T18" fmla="*/ 25 w 27"/>
                  <a:gd name="T19" fmla="*/ 8 h 62"/>
                  <a:gd name="T20" fmla="*/ 24 w 27"/>
                  <a:gd name="T21" fmla="*/ 5 h 62"/>
                  <a:gd name="T22" fmla="*/ 21 w 27"/>
                  <a:gd name="T23" fmla="*/ 3 h 62"/>
                  <a:gd name="T24" fmla="*/ 15 w 27"/>
                  <a:gd name="T25" fmla="*/ 4 h 62"/>
                  <a:gd name="T26" fmla="*/ 13 w 27"/>
                  <a:gd name="T27" fmla="*/ 2 h 62"/>
                  <a:gd name="T28" fmla="*/ 8 w 27"/>
                  <a:gd name="T29" fmla="*/ 3 h 62"/>
                  <a:gd name="T30" fmla="*/ 9 w 27"/>
                  <a:gd name="T31" fmla="*/ 20 h 62"/>
                  <a:gd name="T32" fmla="*/ 6 w 27"/>
                  <a:gd name="T33" fmla="*/ 22 h 62"/>
                  <a:gd name="T34" fmla="*/ 7 w 27"/>
                  <a:gd name="T35" fmla="*/ 26 h 62"/>
                  <a:gd name="T36" fmla="*/ 5 w 27"/>
                  <a:gd name="T37" fmla="*/ 28 h 62"/>
                  <a:gd name="T38" fmla="*/ 5 w 27"/>
                  <a:gd name="T39" fmla="*/ 31 h 62"/>
                  <a:gd name="T40" fmla="*/ 3 w 27"/>
                  <a:gd name="T41" fmla="*/ 32 h 62"/>
                  <a:gd name="T42" fmla="*/ 2 w 27"/>
                  <a:gd name="T43" fmla="*/ 36 h 62"/>
                  <a:gd name="T44" fmla="*/ 3 w 27"/>
                  <a:gd name="T45" fmla="*/ 40 h 62"/>
                  <a:gd name="T46" fmla="*/ 5 w 27"/>
                  <a:gd name="T47" fmla="*/ 38 h 62"/>
                  <a:gd name="T48" fmla="*/ 5 w 27"/>
                  <a:gd name="T49" fmla="*/ 41 h 62"/>
                  <a:gd name="T50" fmla="*/ 3 w 27"/>
                  <a:gd name="T51" fmla="*/ 42 h 62"/>
                  <a:gd name="T52" fmla="*/ 3 w 27"/>
                  <a:gd name="T53" fmla="*/ 44 h 62"/>
                  <a:gd name="T54" fmla="*/ 5 w 27"/>
                  <a:gd name="T55" fmla="*/ 44 h 62"/>
                  <a:gd name="T56" fmla="*/ 7 w 27"/>
                  <a:gd name="T57" fmla="*/ 50 h 62"/>
                  <a:gd name="T58" fmla="*/ 7 w 27"/>
                  <a:gd name="T59" fmla="*/ 51 h 62"/>
                  <a:gd name="T60" fmla="*/ 5 w 27"/>
                  <a:gd name="T61" fmla="*/ 60 h 62"/>
                  <a:gd name="T62" fmla="*/ 13 w 27"/>
                  <a:gd name="T63" fmla="*/ 60 h 62"/>
                  <a:gd name="T64" fmla="*/ 15 w 27"/>
                  <a:gd name="T65" fmla="*/ 62 h 62"/>
                  <a:gd name="T66" fmla="*/ 21 w 27"/>
                  <a:gd name="T67"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62">
                    <a:moveTo>
                      <a:pt x="21" y="59"/>
                    </a:moveTo>
                    <a:cubicBezTo>
                      <a:pt x="21" y="59"/>
                      <a:pt x="21" y="56"/>
                      <a:pt x="23" y="53"/>
                    </a:cubicBezTo>
                    <a:cubicBezTo>
                      <a:pt x="24" y="51"/>
                      <a:pt x="22" y="53"/>
                      <a:pt x="20" y="51"/>
                    </a:cubicBezTo>
                    <a:cubicBezTo>
                      <a:pt x="18" y="48"/>
                      <a:pt x="20" y="48"/>
                      <a:pt x="21" y="45"/>
                    </a:cubicBezTo>
                    <a:cubicBezTo>
                      <a:pt x="22" y="41"/>
                      <a:pt x="22" y="44"/>
                      <a:pt x="21" y="41"/>
                    </a:cubicBezTo>
                    <a:cubicBezTo>
                      <a:pt x="17" y="36"/>
                      <a:pt x="20" y="37"/>
                      <a:pt x="22" y="34"/>
                    </a:cubicBezTo>
                    <a:cubicBezTo>
                      <a:pt x="23" y="32"/>
                      <a:pt x="22" y="31"/>
                      <a:pt x="22" y="28"/>
                    </a:cubicBezTo>
                    <a:cubicBezTo>
                      <a:pt x="22" y="25"/>
                      <a:pt x="20" y="26"/>
                      <a:pt x="23" y="23"/>
                    </a:cubicBezTo>
                    <a:cubicBezTo>
                      <a:pt x="25" y="22"/>
                      <a:pt x="24" y="18"/>
                      <a:pt x="22" y="14"/>
                    </a:cubicBezTo>
                    <a:cubicBezTo>
                      <a:pt x="20" y="11"/>
                      <a:pt x="23" y="12"/>
                      <a:pt x="25" y="8"/>
                    </a:cubicBezTo>
                    <a:cubicBezTo>
                      <a:pt x="27" y="4"/>
                      <a:pt x="26" y="5"/>
                      <a:pt x="24" y="5"/>
                    </a:cubicBezTo>
                    <a:cubicBezTo>
                      <a:pt x="22" y="4"/>
                      <a:pt x="24" y="3"/>
                      <a:pt x="21" y="3"/>
                    </a:cubicBezTo>
                    <a:cubicBezTo>
                      <a:pt x="18" y="3"/>
                      <a:pt x="19" y="3"/>
                      <a:pt x="15" y="4"/>
                    </a:cubicBezTo>
                    <a:cubicBezTo>
                      <a:pt x="11" y="4"/>
                      <a:pt x="14" y="4"/>
                      <a:pt x="13" y="2"/>
                    </a:cubicBezTo>
                    <a:cubicBezTo>
                      <a:pt x="12" y="0"/>
                      <a:pt x="8" y="3"/>
                      <a:pt x="8" y="3"/>
                    </a:cubicBezTo>
                    <a:cubicBezTo>
                      <a:pt x="9" y="7"/>
                      <a:pt x="10" y="16"/>
                      <a:pt x="9" y="20"/>
                    </a:cubicBezTo>
                    <a:cubicBezTo>
                      <a:pt x="9" y="21"/>
                      <a:pt x="6" y="22"/>
                      <a:pt x="6" y="22"/>
                    </a:cubicBezTo>
                    <a:cubicBezTo>
                      <a:pt x="6" y="23"/>
                      <a:pt x="7" y="24"/>
                      <a:pt x="7" y="26"/>
                    </a:cubicBezTo>
                    <a:cubicBezTo>
                      <a:pt x="7" y="26"/>
                      <a:pt x="5" y="28"/>
                      <a:pt x="5" y="28"/>
                    </a:cubicBezTo>
                    <a:cubicBezTo>
                      <a:pt x="5" y="29"/>
                      <a:pt x="5" y="30"/>
                      <a:pt x="5" y="31"/>
                    </a:cubicBezTo>
                    <a:cubicBezTo>
                      <a:pt x="5" y="31"/>
                      <a:pt x="3" y="32"/>
                      <a:pt x="3" y="32"/>
                    </a:cubicBezTo>
                    <a:cubicBezTo>
                      <a:pt x="2" y="33"/>
                      <a:pt x="4" y="35"/>
                      <a:pt x="2" y="36"/>
                    </a:cubicBezTo>
                    <a:cubicBezTo>
                      <a:pt x="0" y="37"/>
                      <a:pt x="3" y="40"/>
                      <a:pt x="3" y="40"/>
                    </a:cubicBezTo>
                    <a:cubicBezTo>
                      <a:pt x="3" y="40"/>
                      <a:pt x="5" y="38"/>
                      <a:pt x="5" y="38"/>
                    </a:cubicBezTo>
                    <a:cubicBezTo>
                      <a:pt x="5" y="39"/>
                      <a:pt x="5" y="40"/>
                      <a:pt x="5" y="41"/>
                    </a:cubicBezTo>
                    <a:cubicBezTo>
                      <a:pt x="5" y="41"/>
                      <a:pt x="4" y="41"/>
                      <a:pt x="3" y="42"/>
                    </a:cubicBezTo>
                    <a:cubicBezTo>
                      <a:pt x="4" y="42"/>
                      <a:pt x="3" y="43"/>
                      <a:pt x="3" y="44"/>
                    </a:cubicBezTo>
                    <a:cubicBezTo>
                      <a:pt x="4" y="44"/>
                      <a:pt x="5" y="44"/>
                      <a:pt x="5" y="44"/>
                    </a:cubicBezTo>
                    <a:cubicBezTo>
                      <a:pt x="6" y="45"/>
                      <a:pt x="5" y="49"/>
                      <a:pt x="7" y="50"/>
                    </a:cubicBezTo>
                    <a:cubicBezTo>
                      <a:pt x="7" y="51"/>
                      <a:pt x="7" y="51"/>
                      <a:pt x="7" y="51"/>
                    </a:cubicBezTo>
                    <a:cubicBezTo>
                      <a:pt x="6" y="54"/>
                      <a:pt x="5" y="56"/>
                      <a:pt x="5" y="60"/>
                    </a:cubicBezTo>
                    <a:cubicBezTo>
                      <a:pt x="7" y="60"/>
                      <a:pt x="10" y="59"/>
                      <a:pt x="13" y="60"/>
                    </a:cubicBezTo>
                    <a:cubicBezTo>
                      <a:pt x="14" y="60"/>
                      <a:pt x="13" y="62"/>
                      <a:pt x="15" y="62"/>
                    </a:cubicBezTo>
                    <a:cubicBezTo>
                      <a:pt x="17" y="62"/>
                      <a:pt x="20" y="59"/>
                      <a:pt x="21" y="59"/>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20" name="Freeform 99">
                <a:extLst>
                  <a:ext uri="{FF2B5EF4-FFF2-40B4-BE49-F238E27FC236}">
                    <a16:creationId xmlns:a16="http://schemas.microsoft.com/office/drawing/2014/main" id="{2DD11877-5B90-8F01-296A-8B54CE1DC6C5}"/>
                  </a:ext>
                </a:extLst>
              </p:cNvPr>
              <p:cNvSpPr>
                <a:spLocks/>
              </p:cNvSpPr>
              <p:nvPr/>
            </p:nvSpPr>
            <p:spPr bwMode="auto">
              <a:xfrm>
                <a:off x="2953" y="1328"/>
                <a:ext cx="53" cy="122"/>
              </a:xfrm>
              <a:custGeom>
                <a:avLst/>
                <a:gdLst>
                  <a:gd name="T0" fmla="*/ 21 w 27"/>
                  <a:gd name="T1" fmla="*/ 59 h 62"/>
                  <a:gd name="T2" fmla="*/ 23 w 27"/>
                  <a:gd name="T3" fmla="*/ 53 h 62"/>
                  <a:gd name="T4" fmla="*/ 20 w 27"/>
                  <a:gd name="T5" fmla="*/ 51 h 62"/>
                  <a:gd name="T6" fmla="*/ 21 w 27"/>
                  <a:gd name="T7" fmla="*/ 45 h 62"/>
                  <a:gd name="T8" fmla="*/ 21 w 27"/>
                  <a:gd name="T9" fmla="*/ 41 h 62"/>
                  <a:gd name="T10" fmla="*/ 22 w 27"/>
                  <a:gd name="T11" fmla="*/ 34 h 62"/>
                  <a:gd name="T12" fmla="*/ 22 w 27"/>
                  <a:gd name="T13" fmla="*/ 28 h 62"/>
                  <a:gd name="T14" fmla="*/ 23 w 27"/>
                  <a:gd name="T15" fmla="*/ 23 h 62"/>
                  <a:gd name="T16" fmla="*/ 22 w 27"/>
                  <a:gd name="T17" fmla="*/ 14 h 62"/>
                  <a:gd name="T18" fmla="*/ 25 w 27"/>
                  <a:gd name="T19" fmla="*/ 8 h 62"/>
                  <a:gd name="T20" fmla="*/ 24 w 27"/>
                  <a:gd name="T21" fmla="*/ 5 h 62"/>
                  <a:gd name="T22" fmla="*/ 21 w 27"/>
                  <a:gd name="T23" fmla="*/ 3 h 62"/>
                  <a:gd name="T24" fmla="*/ 15 w 27"/>
                  <a:gd name="T25" fmla="*/ 4 h 62"/>
                  <a:gd name="T26" fmla="*/ 13 w 27"/>
                  <a:gd name="T27" fmla="*/ 2 h 62"/>
                  <a:gd name="T28" fmla="*/ 8 w 27"/>
                  <a:gd name="T29" fmla="*/ 3 h 62"/>
                  <a:gd name="T30" fmla="*/ 9 w 27"/>
                  <a:gd name="T31" fmla="*/ 20 h 62"/>
                  <a:gd name="T32" fmla="*/ 6 w 27"/>
                  <a:gd name="T33" fmla="*/ 22 h 62"/>
                  <a:gd name="T34" fmla="*/ 7 w 27"/>
                  <a:gd name="T35" fmla="*/ 26 h 62"/>
                  <a:gd name="T36" fmla="*/ 5 w 27"/>
                  <a:gd name="T37" fmla="*/ 28 h 62"/>
                  <a:gd name="T38" fmla="*/ 5 w 27"/>
                  <a:gd name="T39" fmla="*/ 31 h 62"/>
                  <a:gd name="T40" fmla="*/ 3 w 27"/>
                  <a:gd name="T41" fmla="*/ 32 h 62"/>
                  <a:gd name="T42" fmla="*/ 2 w 27"/>
                  <a:gd name="T43" fmla="*/ 36 h 62"/>
                  <a:gd name="T44" fmla="*/ 3 w 27"/>
                  <a:gd name="T45" fmla="*/ 40 h 62"/>
                  <a:gd name="T46" fmla="*/ 5 w 27"/>
                  <a:gd name="T47" fmla="*/ 38 h 62"/>
                  <a:gd name="T48" fmla="*/ 5 w 27"/>
                  <a:gd name="T49" fmla="*/ 41 h 62"/>
                  <a:gd name="T50" fmla="*/ 3 w 27"/>
                  <a:gd name="T51" fmla="*/ 42 h 62"/>
                  <a:gd name="T52" fmla="*/ 3 w 27"/>
                  <a:gd name="T53" fmla="*/ 44 h 62"/>
                  <a:gd name="T54" fmla="*/ 5 w 27"/>
                  <a:gd name="T55" fmla="*/ 44 h 62"/>
                  <a:gd name="T56" fmla="*/ 7 w 27"/>
                  <a:gd name="T57" fmla="*/ 50 h 62"/>
                  <a:gd name="T58" fmla="*/ 7 w 27"/>
                  <a:gd name="T59" fmla="*/ 51 h 62"/>
                  <a:gd name="T60" fmla="*/ 5 w 27"/>
                  <a:gd name="T61" fmla="*/ 60 h 62"/>
                  <a:gd name="T62" fmla="*/ 13 w 27"/>
                  <a:gd name="T63" fmla="*/ 60 h 62"/>
                  <a:gd name="T64" fmla="*/ 15 w 27"/>
                  <a:gd name="T65" fmla="*/ 62 h 62"/>
                  <a:gd name="T66" fmla="*/ 21 w 27"/>
                  <a:gd name="T67"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62">
                    <a:moveTo>
                      <a:pt x="21" y="59"/>
                    </a:moveTo>
                    <a:cubicBezTo>
                      <a:pt x="21" y="59"/>
                      <a:pt x="21" y="56"/>
                      <a:pt x="23" y="53"/>
                    </a:cubicBezTo>
                    <a:cubicBezTo>
                      <a:pt x="24" y="51"/>
                      <a:pt x="22" y="53"/>
                      <a:pt x="20" y="51"/>
                    </a:cubicBezTo>
                    <a:cubicBezTo>
                      <a:pt x="18" y="48"/>
                      <a:pt x="20" y="48"/>
                      <a:pt x="21" y="45"/>
                    </a:cubicBezTo>
                    <a:cubicBezTo>
                      <a:pt x="22" y="41"/>
                      <a:pt x="22" y="44"/>
                      <a:pt x="21" y="41"/>
                    </a:cubicBezTo>
                    <a:cubicBezTo>
                      <a:pt x="17" y="36"/>
                      <a:pt x="20" y="37"/>
                      <a:pt x="22" y="34"/>
                    </a:cubicBezTo>
                    <a:cubicBezTo>
                      <a:pt x="23" y="32"/>
                      <a:pt x="22" y="31"/>
                      <a:pt x="22" y="28"/>
                    </a:cubicBezTo>
                    <a:cubicBezTo>
                      <a:pt x="22" y="25"/>
                      <a:pt x="20" y="26"/>
                      <a:pt x="23" y="23"/>
                    </a:cubicBezTo>
                    <a:cubicBezTo>
                      <a:pt x="25" y="22"/>
                      <a:pt x="24" y="18"/>
                      <a:pt x="22" y="14"/>
                    </a:cubicBezTo>
                    <a:cubicBezTo>
                      <a:pt x="20" y="11"/>
                      <a:pt x="23" y="12"/>
                      <a:pt x="25" y="8"/>
                    </a:cubicBezTo>
                    <a:cubicBezTo>
                      <a:pt x="27" y="4"/>
                      <a:pt x="26" y="5"/>
                      <a:pt x="24" y="5"/>
                    </a:cubicBezTo>
                    <a:cubicBezTo>
                      <a:pt x="22" y="4"/>
                      <a:pt x="24" y="3"/>
                      <a:pt x="21" y="3"/>
                    </a:cubicBezTo>
                    <a:cubicBezTo>
                      <a:pt x="18" y="3"/>
                      <a:pt x="19" y="3"/>
                      <a:pt x="15" y="4"/>
                    </a:cubicBezTo>
                    <a:cubicBezTo>
                      <a:pt x="11" y="4"/>
                      <a:pt x="14" y="4"/>
                      <a:pt x="13" y="2"/>
                    </a:cubicBezTo>
                    <a:cubicBezTo>
                      <a:pt x="12" y="0"/>
                      <a:pt x="8" y="3"/>
                      <a:pt x="8" y="3"/>
                    </a:cubicBezTo>
                    <a:cubicBezTo>
                      <a:pt x="9" y="7"/>
                      <a:pt x="10" y="16"/>
                      <a:pt x="9" y="20"/>
                    </a:cubicBezTo>
                    <a:cubicBezTo>
                      <a:pt x="9" y="21"/>
                      <a:pt x="6" y="22"/>
                      <a:pt x="6" y="22"/>
                    </a:cubicBezTo>
                    <a:cubicBezTo>
                      <a:pt x="6" y="23"/>
                      <a:pt x="7" y="24"/>
                      <a:pt x="7" y="26"/>
                    </a:cubicBezTo>
                    <a:cubicBezTo>
                      <a:pt x="7" y="26"/>
                      <a:pt x="5" y="28"/>
                      <a:pt x="5" y="28"/>
                    </a:cubicBezTo>
                    <a:cubicBezTo>
                      <a:pt x="5" y="29"/>
                      <a:pt x="5" y="30"/>
                      <a:pt x="5" y="31"/>
                    </a:cubicBezTo>
                    <a:cubicBezTo>
                      <a:pt x="5" y="31"/>
                      <a:pt x="3" y="32"/>
                      <a:pt x="3" y="32"/>
                    </a:cubicBezTo>
                    <a:cubicBezTo>
                      <a:pt x="2" y="33"/>
                      <a:pt x="4" y="35"/>
                      <a:pt x="2" y="36"/>
                    </a:cubicBezTo>
                    <a:cubicBezTo>
                      <a:pt x="0" y="37"/>
                      <a:pt x="3" y="40"/>
                      <a:pt x="3" y="40"/>
                    </a:cubicBezTo>
                    <a:cubicBezTo>
                      <a:pt x="3" y="40"/>
                      <a:pt x="5" y="38"/>
                      <a:pt x="5" y="38"/>
                    </a:cubicBezTo>
                    <a:cubicBezTo>
                      <a:pt x="5" y="39"/>
                      <a:pt x="5" y="40"/>
                      <a:pt x="5" y="41"/>
                    </a:cubicBezTo>
                    <a:cubicBezTo>
                      <a:pt x="5" y="41"/>
                      <a:pt x="4" y="41"/>
                      <a:pt x="3" y="42"/>
                    </a:cubicBezTo>
                    <a:cubicBezTo>
                      <a:pt x="4" y="42"/>
                      <a:pt x="3" y="43"/>
                      <a:pt x="3" y="44"/>
                    </a:cubicBezTo>
                    <a:cubicBezTo>
                      <a:pt x="4" y="44"/>
                      <a:pt x="5" y="44"/>
                      <a:pt x="5" y="44"/>
                    </a:cubicBezTo>
                    <a:cubicBezTo>
                      <a:pt x="6" y="45"/>
                      <a:pt x="5" y="49"/>
                      <a:pt x="7" y="50"/>
                    </a:cubicBezTo>
                    <a:cubicBezTo>
                      <a:pt x="7" y="51"/>
                      <a:pt x="7" y="51"/>
                      <a:pt x="7" y="51"/>
                    </a:cubicBezTo>
                    <a:cubicBezTo>
                      <a:pt x="6" y="54"/>
                      <a:pt x="5" y="56"/>
                      <a:pt x="5" y="60"/>
                    </a:cubicBezTo>
                    <a:cubicBezTo>
                      <a:pt x="7" y="60"/>
                      <a:pt x="10" y="59"/>
                      <a:pt x="13" y="60"/>
                    </a:cubicBezTo>
                    <a:cubicBezTo>
                      <a:pt x="14" y="60"/>
                      <a:pt x="13" y="62"/>
                      <a:pt x="15" y="62"/>
                    </a:cubicBezTo>
                    <a:cubicBezTo>
                      <a:pt x="17" y="62"/>
                      <a:pt x="20" y="59"/>
                      <a:pt x="21" y="59"/>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21" name="Freeform 100">
                <a:extLst>
                  <a:ext uri="{FF2B5EF4-FFF2-40B4-BE49-F238E27FC236}">
                    <a16:creationId xmlns:a16="http://schemas.microsoft.com/office/drawing/2014/main" id="{40495999-266A-99C9-FE15-4E69CCC7FE19}"/>
                  </a:ext>
                </a:extLst>
              </p:cNvPr>
              <p:cNvSpPr>
                <a:spLocks/>
              </p:cNvSpPr>
              <p:nvPr/>
            </p:nvSpPr>
            <p:spPr bwMode="auto">
              <a:xfrm>
                <a:off x="3353" y="1014"/>
                <a:ext cx="188" cy="153"/>
              </a:xfrm>
              <a:custGeom>
                <a:avLst/>
                <a:gdLst>
                  <a:gd name="T0" fmla="*/ 49 w 96"/>
                  <a:gd name="T1" fmla="*/ 6 h 78"/>
                  <a:gd name="T2" fmla="*/ 48 w 96"/>
                  <a:gd name="T3" fmla="*/ 3 h 78"/>
                  <a:gd name="T4" fmla="*/ 45 w 96"/>
                  <a:gd name="T5" fmla="*/ 4 h 78"/>
                  <a:gd name="T6" fmla="*/ 42 w 96"/>
                  <a:gd name="T7" fmla="*/ 6 h 78"/>
                  <a:gd name="T8" fmla="*/ 39 w 96"/>
                  <a:gd name="T9" fmla="*/ 4 h 78"/>
                  <a:gd name="T10" fmla="*/ 39 w 96"/>
                  <a:gd name="T11" fmla="*/ 2 h 78"/>
                  <a:gd name="T12" fmla="*/ 41 w 96"/>
                  <a:gd name="T13" fmla="*/ 3 h 78"/>
                  <a:gd name="T14" fmla="*/ 41 w 96"/>
                  <a:gd name="T15" fmla="*/ 2 h 78"/>
                  <a:gd name="T16" fmla="*/ 39 w 96"/>
                  <a:gd name="T17" fmla="*/ 0 h 78"/>
                  <a:gd name="T18" fmla="*/ 30 w 96"/>
                  <a:gd name="T19" fmla="*/ 2 h 78"/>
                  <a:gd name="T20" fmla="*/ 27 w 96"/>
                  <a:gd name="T21" fmla="*/ 4 h 78"/>
                  <a:gd name="T22" fmla="*/ 23 w 96"/>
                  <a:gd name="T23" fmla="*/ 4 h 78"/>
                  <a:gd name="T24" fmla="*/ 20 w 96"/>
                  <a:gd name="T25" fmla="*/ 8 h 78"/>
                  <a:gd name="T26" fmla="*/ 17 w 96"/>
                  <a:gd name="T27" fmla="*/ 7 h 78"/>
                  <a:gd name="T28" fmla="*/ 15 w 96"/>
                  <a:gd name="T29" fmla="*/ 8 h 78"/>
                  <a:gd name="T30" fmla="*/ 7 w 96"/>
                  <a:gd name="T31" fmla="*/ 10 h 78"/>
                  <a:gd name="T32" fmla="*/ 3 w 96"/>
                  <a:gd name="T33" fmla="*/ 10 h 78"/>
                  <a:gd name="T34" fmla="*/ 1 w 96"/>
                  <a:gd name="T35" fmla="*/ 20 h 78"/>
                  <a:gd name="T36" fmla="*/ 4 w 96"/>
                  <a:gd name="T37" fmla="*/ 26 h 78"/>
                  <a:gd name="T38" fmla="*/ 3 w 96"/>
                  <a:gd name="T39" fmla="*/ 32 h 78"/>
                  <a:gd name="T40" fmla="*/ 5 w 96"/>
                  <a:gd name="T41" fmla="*/ 37 h 78"/>
                  <a:gd name="T42" fmla="*/ 5 w 96"/>
                  <a:gd name="T43" fmla="*/ 48 h 78"/>
                  <a:gd name="T44" fmla="*/ 8 w 96"/>
                  <a:gd name="T45" fmla="*/ 49 h 78"/>
                  <a:gd name="T46" fmla="*/ 13 w 96"/>
                  <a:gd name="T47" fmla="*/ 50 h 78"/>
                  <a:gd name="T48" fmla="*/ 17 w 96"/>
                  <a:gd name="T49" fmla="*/ 52 h 78"/>
                  <a:gd name="T50" fmla="*/ 23 w 96"/>
                  <a:gd name="T51" fmla="*/ 56 h 78"/>
                  <a:gd name="T52" fmla="*/ 28 w 96"/>
                  <a:gd name="T53" fmla="*/ 57 h 78"/>
                  <a:gd name="T54" fmla="*/ 33 w 96"/>
                  <a:gd name="T55" fmla="*/ 61 h 78"/>
                  <a:gd name="T56" fmla="*/ 36 w 96"/>
                  <a:gd name="T57" fmla="*/ 66 h 78"/>
                  <a:gd name="T58" fmla="*/ 40 w 96"/>
                  <a:gd name="T59" fmla="*/ 66 h 78"/>
                  <a:gd name="T60" fmla="*/ 45 w 96"/>
                  <a:gd name="T61" fmla="*/ 66 h 78"/>
                  <a:gd name="T62" fmla="*/ 50 w 96"/>
                  <a:gd name="T63" fmla="*/ 69 h 78"/>
                  <a:gd name="T64" fmla="*/ 56 w 96"/>
                  <a:gd name="T65" fmla="*/ 69 h 78"/>
                  <a:gd name="T66" fmla="*/ 61 w 96"/>
                  <a:gd name="T67" fmla="*/ 67 h 78"/>
                  <a:gd name="T68" fmla="*/ 69 w 96"/>
                  <a:gd name="T69" fmla="*/ 63 h 78"/>
                  <a:gd name="T70" fmla="*/ 75 w 96"/>
                  <a:gd name="T71" fmla="*/ 67 h 78"/>
                  <a:gd name="T72" fmla="*/ 80 w 96"/>
                  <a:gd name="T73" fmla="*/ 70 h 78"/>
                  <a:gd name="T74" fmla="*/ 82 w 96"/>
                  <a:gd name="T75" fmla="*/ 74 h 78"/>
                  <a:gd name="T76" fmla="*/ 86 w 96"/>
                  <a:gd name="T77" fmla="*/ 78 h 78"/>
                  <a:gd name="T78" fmla="*/ 91 w 96"/>
                  <a:gd name="T79" fmla="*/ 74 h 78"/>
                  <a:gd name="T80" fmla="*/ 90 w 96"/>
                  <a:gd name="T81" fmla="*/ 68 h 78"/>
                  <a:gd name="T82" fmla="*/ 92 w 96"/>
                  <a:gd name="T83" fmla="*/ 63 h 78"/>
                  <a:gd name="T84" fmla="*/ 94 w 96"/>
                  <a:gd name="T85" fmla="*/ 58 h 78"/>
                  <a:gd name="T86" fmla="*/ 91 w 96"/>
                  <a:gd name="T87" fmla="*/ 51 h 78"/>
                  <a:gd name="T88" fmla="*/ 93 w 96"/>
                  <a:gd name="T89" fmla="*/ 45 h 78"/>
                  <a:gd name="T90" fmla="*/ 93 w 96"/>
                  <a:gd name="T91" fmla="*/ 42 h 78"/>
                  <a:gd name="T92" fmla="*/ 93 w 96"/>
                  <a:gd name="T93" fmla="*/ 36 h 78"/>
                  <a:gd name="T94" fmla="*/ 92 w 96"/>
                  <a:gd name="T95" fmla="*/ 29 h 78"/>
                  <a:gd name="T96" fmla="*/ 94 w 96"/>
                  <a:gd name="T97" fmla="*/ 21 h 78"/>
                  <a:gd name="T98" fmla="*/ 92 w 96"/>
                  <a:gd name="T99" fmla="*/ 14 h 78"/>
                  <a:gd name="T100" fmla="*/ 90 w 96"/>
                  <a:gd name="T101" fmla="*/ 11 h 78"/>
                  <a:gd name="T102" fmla="*/ 79 w 96"/>
                  <a:gd name="T103" fmla="*/ 10 h 78"/>
                  <a:gd name="T104" fmla="*/ 75 w 96"/>
                  <a:gd name="T105" fmla="*/ 12 h 78"/>
                  <a:gd name="T106" fmla="*/ 70 w 96"/>
                  <a:gd name="T107" fmla="*/ 11 h 78"/>
                  <a:gd name="T108" fmla="*/ 59 w 96"/>
                  <a:gd name="T109" fmla="*/ 10 h 78"/>
                  <a:gd name="T110" fmla="*/ 49 w 96"/>
                  <a:gd name="T111" fmla="*/ 5 h 78"/>
                  <a:gd name="T112" fmla="*/ 49 w 96"/>
                  <a:gd name="T113"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 h="78">
                    <a:moveTo>
                      <a:pt x="49" y="6"/>
                    </a:moveTo>
                    <a:cubicBezTo>
                      <a:pt x="46" y="5"/>
                      <a:pt x="48" y="3"/>
                      <a:pt x="48" y="3"/>
                    </a:cubicBezTo>
                    <a:cubicBezTo>
                      <a:pt x="47" y="3"/>
                      <a:pt x="46" y="3"/>
                      <a:pt x="45" y="4"/>
                    </a:cubicBezTo>
                    <a:cubicBezTo>
                      <a:pt x="44" y="5"/>
                      <a:pt x="43" y="6"/>
                      <a:pt x="42" y="6"/>
                    </a:cubicBezTo>
                    <a:cubicBezTo>
                      <a:pt x="40" y="6"/>
                      <a:pt x="40" y="4"/>
                      <a:pt x="39" y="4"/>
                    </a:cubicBezTo>
                    <a:cubicBezTo>
                      <a:pt x="39" y="4"/>
                      <a:pt x="39" y="2"/>
                      <a:pt x="39" y="2"/>
                    </a:cubicBezTo>
                    <a:cubicBezTo>
                      <a:pt x="40" y="3"/>
                      <a:pt x="41" y="3"/>
                      <a:pt x="41" y="3"/>
                    </a:cubicBezTo>
                    <a:cubicBezTo>
                      <a:pt x="40" y="3"/>
                      <a:pt x="41" y="3"/>
                      <a:pt x="41" y="2"/>
                    </a:cubicBezTo>
                    <a:cubicBezTo>
                      <a:pt x="43" y="1"/>
                      <a:pt x="39" y="0"/>
                      <a:pt x="39" y="0"/>
                    </a:cubicBezTo>
                    <a:cubicBezTo>
                      <a:pt x="38" y="0"/>
                      <a:pt x="31" y="1"/>
                      <a:pt x="30" y="2"/>
                    </a:cubicBezTo>
                    <a:cubicBezTo>
                      <a:pt x="29" y="2"/>
                      <a:pt x="28" y="4"/>
                      <a:pt x="27" y="4"/>
                    </a:cubicBezTo>
                    <a:cubicBezTo>
                      <a:pt x="26" y="5"/>
                      <a:pt x="24" y="4"/>
                      <a:pt x="23" y="4"/>
                    </a:cubicBezTo>
                    <a:cubicBezTo>
                      <a:pt x="22" y="5"/>
                      <a:pt x="22" y="7"/>
                      <a:pt x="20" y="8"/>
                    </a:cubicBezTo>
                    <a:cubicBezTo>
                      <a:pt x="19" y="8"/>
                      <a:pt x="19" y="7"/>
                      <a:pt x="17" y="7"/>
                    </a:cubicBezTo>
                    <a:cubicBezTo>
                      <a:pt x="15" y="8"/>
                      <a:pt x="15" y="8"/>
                      <a:pt x="15" y="8"/>
                    </a:cubicBezTo>
                    <a:cubicBezTo>
                      <a:pt x="13" y="9"/>
                      <a:pt x="9" y="10"/>
                      <a:pt x="7" y="10"/>
                    </a:cubicBezTo>
                    <a:cubicBezTo>
                      <a:pt x="5" y="10"/>
                      <a:pt x="4" y="10"/>
                      <a:pt x="3" y="10"/>
                    </a:cubicBezTo>
                    <a:cubicBezTo>
                      <a:pt x="3" y="10"/>
                      <a:pt x="3" y="18"/>
                      <a:pt x="1" y="20"/>
                    </a:cubicBezTo>
                    <a:cubicBezTo>
                      <a:pt x="0" y="22"/>
                      <a:pt x="4" y="26"/>
                      <a:pt x="4" y="26"/>
                    </a:cubicBezTo>
                    <a:cubicBezTo>
                      <a:pt x="4" y="26"/>
                      <a:pt x="3" y="29"/>
                      <a:pt x="3" y="32"/>
                    </a:cubicBezTo>
                    <a:cubicBezTo>
                      <a:pt x="3" y="35"/>
                      <a:pt x="5" y="35"/>
                      <a:pt x="5" y="37"/>
                    </a:cubicBezTo>
                    <a:cubicBezTo>
                      <a:pt x="5" y="39"/>
                      <a:pt x="5" y="48"/>
                      <a:pt x="5" y="48"/>
                    </a:cubicBezTo>
                    <a:cubicBezTo>
                      <a:pt x="8" y="49"/>
                      <a:pt x="8" y="49"/>
                      <a:pt x="8" y="49"/>
                    </a:cubicBezTo>
                    <a:cubicBezTo>
                      <a:pt x="8" y="49"/>
                      <a:pt x="11" y="50"/>
                      <a:pt x="13" y="50"/>
                    </a:cubicBezTo>
                    <a:cubicBezTo>
                      <a:pt x="15" y="50"/>
                      <a:pt x="15" y="53"/>
                      <a:pt x="17" y="52"/>
                    </a:cubicBezTo>
                    <a:cubicBezTo>
                      <a:pt x="19" y="51"/>
                      <a:pt x="20" y="55"/>
                      <a:pt x="23" y="56"/>
                    </a:cubicBezTo>
                    <a:cubicBezTo>
                      <a:pt x="25" y="58"/>
                      <a:pt x="26" y="58"/>
                      <a:pt x="28" y="57"/>
                    </a:cubicBezTo>
                    <a:cubicBezTo>
                      <a:pt x="30" y="56"/>
                      <a:pt x="32" y="62"/>
                      <a:pt x="33" y="61"/>
                    </a:cubicBezTo>
                    <a:cubicBezTo>
                      <a:pt x="34" y="60"/>
                      <a:pt x="36" y="66"/>
                      <a:pt x="36" y="66"/>
                    </a:cubicBezTo>
                    <a:cubicBezTo>
                      <a:pt x="36" y="66"/>
                      <a:pt x="36" y="66"/>
                      <a:pt x="40" y="66"/>
                    </a:cubicBezTo>
                    <a:cubicBezTo>
                      <a:pt x="43" y="66"/>
                      <a:pt x="41" y="65"/>
                      <a:pt x="45" y="66"/>
                    </a:cubicBezTo>
                    <a:cubicBezTo>
                      <a:pt x="47" y="67"/>
                      <a:pt x="48" y="68"/>
                      <a:pt x="50" y="69"/>
                    </a:cubicBezTo>
                    <a:cubicBezTo>
                      <a:pt x="53" y="70"/>
                      <a:pt x="55" y="72"/>
                      <a:pt x="56" y="69"/>
                    </a:cubicBezTo>
                    <a:cubicBezTo>
                      <a:pt x="57" y="66"/>
                      <a:pt x="59" y="68"/>
                      <a:pt x="61" y="67"/>
                    </a:cubicBezTo>
                    <a:cubicBezTo>
                      <a:pt x="65" y="66"/>
                      <a:pt x="67" y="61"/>
                      <a:pt x="69" y="63"/>
                    </a:cubicBezTo>
                    <a:cubicBezTo>
                      <a:pt x="72" y="65"/>
                      <a:pt x="73" y="67"/>
                      <a:pt x="75" y="67"/>
                    </a:cubicBezTo>
                    <a:cubicBezTo>
                      <a:pt x="77" y="67"/>
                      <a:pt x="77" y="69"/>
                      <a:pt x="80" y="70"/>
                    </a:cubicBezTo>
                    <a:cubicBezTo>
                      <a:pt x="82" y="71"/>
                      <a:pt x="81" y="71"/>
                      <a:pt x="82" y="74"/>
                    </a:cubicBezTo>
                    <a:cubicBezTo>
                      <a:pt x="83" y="76"/>
                      <a:pt x="86" y="78"/>
                      <a:pt x="86" y="78"/>
                    </a:cubicBezTo>
                    <a:cubicBezTo>
                      <a:pt x="86" y="78"/>
                      <a:pt x="91" y="76"/>
                      <a:pt x="91" y="74"/>
                    </a:cubicBezTo>
                    <a:cubicBezTo>
                      <a:pt x="90" y="72"/>
                      <a:pt x="88" y="70"/>
                      <a:pt x="90" y="68"/>
                    </a:cubicBezTo>
                    <a:cubicBezTo>
                      <a:pt x="91" y="66"/>
                      <a:pt x="91" y="65"/>
                      <a:pt x="92" y="63"/>
                    </a:cubicBezTo>
                    <a:cubicBezTo>
                      <a:pt x="93" y="61"/>
                      <a:pt x="94" y="58"/>
                      <a:pt x="94" y="58"/>
                    </a:cubicBezTo>
                    <a:cubicBezTo>
                      <a:pt x="94" y="58"/>
                      <a:pt x="90" y="53"/>
                      <a:pt x="91" y="51"/>
                    </a:cubicBezTo>
                    <a:cubicBezTo>
                      <a:pt x="92" y="49"/>
                      <a:pt x="93" y="48"/>
                      <a:pt x="93" y="45"/>
                    </a:cubicBezTo>
                    <a:cubicBezTo>
                      <a:pt x="92" y="42"/>
                      <a:pt x="94" y="43"/>
                      <a:pt x="93" y="42"/>
                    </a:cubicBezTo>
                    <a:cubicBezTo>
                      <a:pt x="92" y="40"/>
                      <a:pt x="90" y="37"/>
                      <a:pt x="93" y="36"/>
                    </a:cubicBezTo>
                    <a:cubicBezTo>
                      <a:pt x="93" y="36"/>
                      <a:pt x="92" y="31"/>
                      <a:pt x="92" y="29"/>
                    </a:cubicBezTo>
                    <a:cubicBezTo>
                      <a:pt x="92" y="27"/>
                      <a:pt x="96" y="23"/>
                      <a:pt x="94" y="21"/>
                    </a:cubicBezTo>
                    <a:cubicBezTo>
                      <a:pt x="92" y="19"/>
                      <a:pt x="92" y="14"/>
                      <a:pt x="92" y="14"/>
                    </a:cubicBezTo>
                    <a:cubicBezTo>
                      <a:pt x="92" y="14"/>
                      <a:pt x="93" y="12"/>
                      <a:pt x="90" y="11"/>
                    </a:cubicBezTo>
                    <a:cubicBezTo>
                      <a:pt x="88" y="10"/>
                      <a:pt x="79" y="10"/>
                      <a:pt x="79" y="10"/>
                    </a:cubicBezTo>
                    <a:cubicBezTo>
                      <a:pt x="75" y="12"/>
                      <a:pt x="75" y="12"/>
                      <a:pt x="75" y="12"/>
                    </a:cubicBezTo>
                    <a:cubicBezTo>
                      <a:pt x="75" y="12"/>
                      <a:pt x="74" y="11"/>
                      <a:pt x="70" y="11"/>
                    </a:cubicBezTo>
                    <a:cubicBezTo>
                      <a:pt x="67" y="11"/>
                      <a:pt x="65" y="12"/>
                      <a:pt x="59" y="10"/>
                    </a:cubicBezTo>
                    <a:cubicBezTo>
                      <a:pt x="52" y="8"/>
                      <a:pt x="49" y="5"/>
                      <a:pt x="49" y="5"/>
                    </a:cubicBezTo>
                    <a:cubicBezTo>
                      <a:pt x="49" y="5"/>
                      <a:pt x="49" y="6"/>
                      <a:pt x="49" y="6"/>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22" name="Freeform 101">
                <a:extLst>
                  <a:ext uri="{FF2B5EF4-FFF2-40B4-BE49-F238E27FC236}">
                    <a16:creationId xmlns:a16="http://schemas.microsoft.com/office/drawing/2014/main" id="{40482DE9-9210-506E-A91E-FC5D6003FAF4}"/>
                  </a:ext>
                </a:extLst>
              </p:cNvPr>
              <p:cNvSpPr>
                <a:spLocks/>
              </p:cNvSpPr>
              <p:nvPr/>
            </p:nvSpPr>
            <p:spPr bwMode="auto">
              <a:xfrm>
                <a:off x="3353" y="1014"/>
                <a:ext cx="188" cy="153"/>
              </a:xfrm>
              <a:custGeom>
                <a:avLst/>
                <a:gdLst>
                  <a:gd name="T0" fmla="*/ 49 w 96"/>
                  <a:gd name="T1" fmla="*/ 6 h 78"/>
                  <a:gd name="T2" fmla="*/ 48 w 96"/>
                  <a:gd name="T3" fmla="*/ 3 h 78"/>
                  <a:gd name="T4" fmla="*/ 45 w 96"/>
                  <a:gd name="T5" fmla="*/ 4 h 78"/>
                  <a:gd name="T6" fmla="*/ 42 w 96"/>
                  <a:gd name="T7" fmla="*/ 6 h 78"/>
                  <a:gd name="T8" fmla="*/ 39 w 96"/>
                  <a:gd name="T9" fmla="*/ 4 h 78"/>
                  <a:gd name="T10" fmla="*/ 39 w 96"/>
                  <a:gd name="T11" fmla="*/ 2 h 78"/>
                  <a:gd name="T12" fmla="*/ 41 w 96"/>
                  <a:gd name="T13" fmla="*/ 3 h 78"/>
                  <a:gd name="T14" fmla="*/ 41 w 96"/>
                  <a:gd name="T15" fmla="*/ 2 h 78"/>
                  <a:gd name="T16" fmla="*/ 39 w 96"/>
                  <a:gd name="T17" fmla="*/ 0 h 78"/>
                  <a:gd name="T18" fmla="*/ 30 w 96"/>
                  <a:gd name="T19" fmla="*/ 2 h 78"/>
                  <a:gd name="T20" fmla="*/ 27 w 96"/>
                  <a:gd name="T21" fmla="*/ 4 h 78"/>
                  <a:gd name="T22" fmla="*/ 23 w 96"/>
                  <a:gd name="T23" fmla="*/ 4 h 78"/>
                  <a:gd name="T24" fmla="*/ 20 w 96"/>
                  <a:gd name="T25" fmla="*/ 8 h 78"/>
                  <a:gd name="T26" fmla="*/ 17 w 96"/>
                  <a:gd name="T27" fmla="*/ 7 h 78"/>
                  <a:gd name="T28" fmla="*/ 15 w 96"/>
                  <a:gd name="T29" fmla="*/ 8 h 78"/>
                  <a:gd name="T30" fmla="*/ 7 w 96"/>
                  <a:gd name="T31" fmla="*/ 10 h 78"/>
                  <a:gd name="T32" fmla="*/ 3 w 96"/>
                  <a:gd name="T33" fmla="*/ 10 h 78"/>
                  <a:gd name="T34" fmla="*/ 1 w 96"/>
                  <a:gd name="T35" fmla="*/ 20 h 78"/>
                  <a:gd name="T36" fmla="*/ 4 w 96"/>
                  <a:gd name="T37" fmla="*/ 26 h 78"/>
                  <a:gd name="T38" fmla="*/ 3 w 96"/>
                  <a:gd name="T39" fmla="*/ 32 h 78"/>
                  <a:gd name="T40" fmla="*/ 5 w 96"/>
                  <a:gd name="T41" fmla="*/ 37 h 78"/>
                  <a:gd name="T42" fmla="*/ 5 w 96"/>
                  <a:gd name="T43" fmla="*/ 48 h 78"/>
                  <a:gd name="T44" fmla="*/ 8 w 96"/>
                  <a:gd name="T45" fmla="*/ 49 h 78"/>
                  <a:gd name="T46" fmla="*/ 13 w 96"/>
                  <a:gd name="T47" fmla="*/ 50 h 78"/>
                  <a:gd name="T48" fmla="*/ 17 w 96"/>
                  <a:gd name="T49" fmla="*/ 52 h 78"/>
                  <a:gd name="T50" fmla="*/ 23 w 96"/>
                  <a:gd name="T51" fmla="*/ 56 h 78"/>
                  <a:gd name="T52" fmla="*/ 28 w 96"/>
                  <a:gd name="T53" fmla="*/ 57 h 78"/>
                  <a:gd name="T54" fmla="*/ 33 w 96"/>
                  <a:gd name="T55" fmla="*/ 61 h 78"/>
                  <a:gd name="T56" fmla="*/ 36 w 96"/>
                  <a:gd name="T57" fmla="*/ 66 h 78"/>
                  <a:gd name="T58" fmla="*/ 40 w 96"/>
                  <a:gd name="T59" fmla="*/ 66 h 78"/>
                  <a:gd name="T60" fmla="*/ 45 w 96"/>
                  <a:gd name="T61" fmla="*/ 66 h 78"/>
                  <a:gd name="T62" fmla="*/ 50 w 96"/>
                  <a:gd name="T63" fmla="*/ 69 h 78"/>
                  <a:gd name="T64" fmla="*/ 56 w 96"/>
                  <a:gd name="T65" fmla="*/ 69 h 78"/>
                  <a:gd name="T66" fmla="*/ 61 w 96"/>
                  <a:gd name="T67" fmla="*/ 67 h 78"/>
                  <a:gd name="T68" fmla="*/ 69 w 96"/>
                  <a:gd name="T69" fmla="*/ 63 h 78"/>
                  <a:gd name="T70" fmla="*/ 75 w 96"/>
                  <a:gd name="T71" fmla="*/ 67 h 78"/>
                  <a:gd name="T72" fmla="*/ 80 w 96"/>
                  <a:gd name="T73" fmla="*/ 70 h 78"/>
                  <a:gd name="T74" fmla="*/ 82 w 96"/>
                  <a:gd name="T75" fmla="*/ 74 h 78"/>
                  <a:gd name="T76" fmla="*/ 86 w 96"/>
                  <a:gd name="T77" fmla="*/ 78 h 78"/>
                  <a:gd name="T78" fmla="*/ 91 w 96"/>
                  <a:gd name="T79" fmla="*/ 74 h 78"/>
                  <a:gd name="T80" fmla="*/ 90 w 96"/>
                  <a:gd name="T81" fmla="*/ 68 h 78"/>
                  <a:gd name="T82" fmla="*/ 92 w 96"/>
                  <a:gd name="T83" fmla="*/ 63 h 78"/>
                  <a:gd name="T84" fmla="*/ 94 w 96"/>
                  <a:gd name="T85" fmla="*/ 58 h 78"/>
                  <a:gd name="T86" fmla="*/ 91 w 96"/>
                  <a:gd name="T87" fmla="*/ 51 h 78"/>
                  <a:gd name="T88" fmla="*/ 93 w 96"/>
                  <a:gd name="T89" fmla="*/ 45 h 78"/>
                  <a:gd name="T90" fmla="*/ 93 w 96"/>
                  <a:gd name="T91" fmla="*/ 42 h 78"/>
                  <a:gd name="T92" fmla="*/ 93 w 96"/>
                  <a:gd name="T93" fmla="*/ 36 h 78"/>
                  <a:gd name="T94" fmla="*/ 92 w 96"/>
                  <a:gd name="T95" fmla="*/ 29 h 78"/>
                  <a:gd name="T96" fmla="*/ 94 w 96"/>
                  <a:gd name="T97" fmla="*/ 21 h 78"/>
                  <a:gd name="T98" fmla="*/ 92 w 96"/>
                  <a:gd name="T99" fmla="*/ 14 h 78"/>
                  <a:gd name="T100" fmla="*/ 90 w 96"/>
                  <a:gd name="T101" fmla="*/ 11 h 78"/>
                  <a:gd name="T102" fmla="*/ 79 w 96"/>
                  <a:gd name="T103" fmla="*/ 10 h 78"/>
                  <a:gd name="T104" fmla="*/ 75 w 96"/>
                  <a:gd name="T105" fmla="*/ 12 h 78"/>
                  <a:gd name="T106" fmla="*/ 70 w 96"/>
                  <a:gd name="T107" fmla="*/ 11 h 78"/>
                  <a:gd name="T108" fmla="*/ 59 w 96"/>
                  <a:gd name="T109" fmla="*/ 10 h 78"/>
                  <a:gd name="T110" fmla="*/ 49 w 96"/>
                  <a:gd name="T111" fmla="*/ 5 h 78"/>
                  <a:gd name="T112" fmla="*/ 49 w 96"/>
                  <a:gd name="T113"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 h="78">
                    <a:moveTo>
                      <a:pt x="49" y="6"/>
                    </a:moveTo>
                    <a:cubicBezTo>
                      <a:pt x="46" y="5"/>
                      <a:pt x="48" y="3"/>
                      <a:pt x="48" y="3"/>
                    </a:cubicBezTo>
                    <a:cubicBezTo>
                      <a:pt x="47" y="3"/>
                      <a:pt x="46" y="3"/>
                      <a:pt x="45" y="4"/>
                    </a:cubicBezTo>
                    <a:cubicBezTo>
                      <a:pt x="44" y="5"/>
                      <a:pt x="43" y="6"/>
                      <a:pt x="42" y="6"/>
                    </a:cubicBezTo>
                    <a:cubicBezTo>
                      <a:pt x="40" y="6"/>
                      <a:pt x="40" y="4"/>
                      <a:pt x="39" y="4"/>
                    </a:cubicBezTo>
                    <a:cubicBezTo>
                      <a:pt x="39" y="4"/>
                      <a:pt x="39" y="2"/>
                      <a:pt x="39" y="2"/>
                    </a:cubicBezTo>
                    <a:cubicBezTo>
                      <a:pt x="40" y="3"/>
                      <a:pt x="41" y="3"/>
                      <a:pt x="41" y="3"/>
                    </a:cubicBezTo>
                    <a:cubicBezTo>
                      <a:pt x="40" y="3"/>
                      <a:pt x="41" y="3"/>
                      <a:pt x="41" y="2"/>
                    </a:cubicBezTo>
                    <a:cubicBezTo>
                      <a:pt x="43" y="1"/>
                      <a:pt x="39" y="0"/>
                      <a:pt x="39" y="0"/>
                    </a:cubicBezTo>
                    <a:cubicBezTo>
                      <a:pt x="38" y="0"/>
                      <a:pt x="31" y="1"/>
                      <a:pt x="30" y="2"/>
                    </a:cubicBezTo>
                    <a:cubicBezTo>
                      <a:pt x="29" y="2"/>
                      <a:pt x="28" y="4"/>
                      <a:pt x="27" y="4"/>
                    </a:cubicBezTo>
                    <a:cubicBezTo>
                      <a:pt x="26" y="5"/>
                      <a:pt x="24" y="4"/>
                      <a:pt x="23" y="4"/>
                    </a:cubicBezTo>
                    <a:cubicBezTo>
                      <a:pt x="22" y="5"/>
                      <a:pt x="22" y="7"/>
                      <a:pt x="20" y="8"/>
                    </a:cubicBezTo>
                    <a:cubicBezTo>
                      <a:pt x="19" y="8"/>
                      <a:pt x="19" y="7"/>
                      <a:pt x="17" y="7"/>
                    </a:cubicBezTo>
                    <a:cubicBezTo>
                      <a:pt x="15" y="8"/>
                      <a:pt x="15" y="8"/>
                      <a:pt x="15" y="8"/>
                    </a:cubicBezTo>
                    <a:cubicBezTo>
                      <a:pt x="13" y="9"/>
                      <a:pt x="9" y="10"/>
                      <a:pt x="7" y="10"/>
                    </a:cubicBezTo>
                    <a:cubicBezTo>
                      <a:pt x="5" y="10"/>
                      <a:pt x="4" y="10"/>
                      <a:pt x="3" y="10"/>
                    </a:cubicBezTo>
                    <a:cubicBezTo>
                      <a:pt x="3" y="10"/>
                      <a:pt x="3" y="18"/>
                      <a:pt x="1" y="20"/>
                    </a:cubicBezTo>
                    <a:cubicBezTo>
                      <a:pt x="0" y="22"/>
                      <a:pt x="4" y="26"/>
                      <a:pt x="4" y="26"/>
                    </a:cubicBezTo>
                    <a:cubicBezTo>
                      <a:pt x="4" y="26"/>
                      <a:pt x="3" y="29"/>
                      <a:pt x="3" y="32"/>
                    </a:cubicBezTo>
                    <a:cubicBezTo>
                      <a:pt x="3" y="35"/>
                      <a:pt x="5" y="35"/>
                      <a:pt x="5" y="37"/>
                    </a:cubicBezTo>
                    <a:cubicBezTo>
                      <a:pt x="5" y="39"/>
                      <a:pt x="5" y="48"/>
                      <a:pt x="5" y="48"/>
                    </a:cubicBezTo>
                    <a:cubicBezTo>
                      <a:pt x="8" y="49"/>
                      <a:pt x="8" y="49"/>
                      <a:pt x="8" y="49"/>
                    </a:cubicBezTo>
                    <a:cubicBezTo>
                      <a:pt x="8" y="49"/>
                      <a:pt x="11" y="50"/>
                      <a:pt x="13" y="50"/>
                    </a:cubicBezTo>
                    <a:cubicBezTo>
                      <a:pt x="15" y="50"/>
                      <a:pt x="15" y="53"/>
                      <a:pt x="17" y="52"/>
                    </a:cubicBezTo>
                    <a:cubicBezTo>
                      <a:pt x="19" y="51"/>
                      <a:pt x="20" y="55"/>
                      <a:pt x="23" y="56"/>
                    </a:cubicBezTo>
                    <a:cubicBezTo>
                      <a:pt x="25" y="58"/>
                      <a:pt x="26" y="58"/>
                      <a:pt x="28" y="57"/>
                    </a:cubicBezTo>
                    <a:cubicBezTo>
                      <a:pt x="30" y="56"/>
                      <a:pt x="32" y="62"/>
                      <a:pt x="33" y="61"/>
                    </a:cubicBezTo>
                    <a:cubicBezTo>
                      <a:pt x="34" y="60"/>
                      <a:pt x="36" y="66"/>
                      <a:pt x="36" y="66"/>
                    </a:cubicBezTo>
                    <a:cubicBezTo>
                      <a:pt x="36" y="66"/>
                      <a:pt x="36" y="66"/>
                      <a:pt x="40" y="66"/>
                    </a:cubicBezTo>
                    <a:cubicBezTo>
                      <a:pt x="43" y="66"/>
                      <a:pt x="41" y="65"/>
                      <a:pt x="45" y="66"/>
                    </a:cubicBezTo>
                    <a:cubicBezTo>
                      <a:pt x="47" y="67"/>
                      <a:pt x="48" y="68"/>
                      <a:pt x="50" y="69"/>
                    </a:cubicBezTo>
                    <a:cubicBezTo>
                      <a:pt x="53" y="70"/>
                      <a:pt x="55" y="72"/>
                      <a:pt x="56" y="69"/>
                    </a:cubicBezTo>
                    <a:cubicBezTo>
                      <a:pt x="57" y="66"/>
                      <a:pt x="59" y="68"/>
                      <a:pt x="61" y="67"/>
                    </a:cubicBezTo>
                    <a:cubicBezTo>
                      <a:pt x="65" y="66"/>
                      <a:pt x="67" y="61"/>
                      <a:pt x="69" y="63"/>
                    </a:cubicBezTo>
                    <a:cubicBezTo>
                      <a:pt x="72" y="65"/>
                      <a:pt x="73" y="67"/>
                      <a:pt x="75" y="67"/>
                    </a:cubicBezTo>
                    <a:cubicBezTo>
                      <a:pt x="77" y="67"/>
                      <a:pt x="77" y="69"/>
                      <a:pt x="80" y="70"/>
                    </a:cubicBezTo>
                    <a:cubicBezTo>
                      <a:pt x="82" y="71"/>
                      <a:pt x="81" y="71"/>
                      <a:pt x="82" y="74"/>
                    </a:cubicBezTo>
                    <a:cubicBezTo>
                      <a:pt x="83" y="76"/>
                      <a:pt x="86" y="78"/>
                      <a:pt x="86" y="78"/>
                    </a:cubicBezTo>
                    <a:cubicBezTo>
                      <a:pt x="86" y="78"/>
                      <a:pt x="91" y="76"/>
                      <a:pt x="91" y="74"/>
                    </a:cubicBezTo>
                    <a:cubicBezTo>
                      <a:pt x="90" y="72"/>
                      <a:pt x="88" y="70"/>
                      <a:pt x="90" y="68"/>
                    </a:cubicBezTo>
                    <a:cubicBezTo>
                      <a:pt x="91" y="66"/>
                      <a:pt x="91" y="65"/>
                      <a:pt x="92" y="63"/>
                    </a:cubicBezTo>
                    <a:cubicBezTo>
                      <a:pt x="93" y="61"/>
                      <a:pt x="94" y="58"/>
                      <a:pt x="94" y="58"/>
                    </a:cubicBezTo>
                    <a:cubicBezTo>
                      <a:pt x="94" y="58"/>
                      <a:pt x="90" y="53"/>
                      <a:pt x="91" y="51"/>
                    </a:cubicBezTo>
                    <a:cubicBezTo>
                      <a:pt x="92" y="49"/>
                      <a:pt x="93" y="48"/>
                      <a:pt x="93" y="45"/>
                    </a:cubicBezTo>
                    <a:cubicBezTo>
                      <a:pt x="92" y="42"/>
                      <a:pt x="94" y="43"/>
                      <a:pt x="93" y="42"/>
                    </a:cubicBezTo>
                    <a:cubicBezTo>
                      <a:pt x="92" y="40"/>
                      <a:pt x="90" y="37"/>
                      <a:pt x="93" y="36"/>
                    </a:cubicBezTo>
                    <a:cubicBezTo>
                      <a:pt x="93" y="36"/>
                      <a:pt x="92" y="31"/>
                      <a:pt x="92" y="29"/>
                    </a:cubicBezTo>
                    <a:cubicBezTo>
                      <a:pt x="92" y="27"/>
                      <a:pt x="96" y="23"/>
                      <a:pt x="94" y="21"/>
                    </a:cubicBezTo>
                    <a:cubicBezTo>
                      <a:pt x="92" y="19"/>
                      <a:pt x="92" y="14"/>
                      <a:pt x="92" y="14"/>
                    </a:cubicBezTo>
                    <a:cubicBezTo>
                      <a:pt x="92" y="14"/>
                      <a:pt x="93" y="12"/>
                      <a:pt x="90" y="11"/>
                    </a:cubicBezTo>
                    <a:cubicBezTo>
                      <a:pt x="88" y="10"/>
                      <a:pt x="79" y="10"/>
                      <a:pt x="79" y="10"/>
                    </a:cubicBezTo>
                    <a:cubicBezTo>
                      <a:pt x="75" y="12"/>
                      <a:pt x="75" y="12"/>
                      <a:pt x="75" y="12"/>
                    </a:cubicBezTo>
                    <a:cubicBezTo>
                      <a:pt x="75" y="12"/>
                      <a:pt x="74" y="11"/>
                      <a:pt x="70" y="11"/>
                    </a:cubicBezTo>
                    <a:cubicBezTo>
                      <a:pt x="67" y="11"/>
                      <a:pt x="65" y="12"/>
                      <a:pt x="59" y="10"/>
                    </a:cubicBezTo>
                    <a:cubicBezTo>
                      <a:pt x="52" y="8"/>
                      <a:pt x="49" y="5"/>
                      <a:pt x="49" y="5"/>
                    </a:cubicBezTo>
                    <a:cubicBezTo>
                      <a:pt x="49" y="5"/>
                      <a:pt x="49" y="6"/>
                      <a:pt x="49" y="6"/>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23" name="Freeform 102">
                <a:extLst>
                  <a:ext uri="{FF2B5EF4-FFF2-40B4-BE49-F238E27FC236}">
                    <a16:creationId xmlns:a16="http://schemas.microsoft.com/office/drawing/2014/main" id="{4EAE493E-CF7F-4474-7A7F-D8C48BBDBA5F}"/>
                  </a:ext>
                </a:extLst>
              </p:cNvPr>
              <p:cNvSpPr>
                <a:spLocks noEditPoints="1"/>
              </p:cNvSpPr>
              <p:nvPr/>
            </p:nvSpPr>
            <p:spPr bwMode="auto">
              <a:xfrm>
                <a:off x="5090" y="1858"/>
                <a:ext cx="161" cy="281"/>
              </a:xfrm>
              <a:custGeom>
                <a:avLst/>
                <a:gdLst>
                  <a:gd name="T0" fmla="*/ 68 w 82"/>
                  <a:gd name="T1" fmla="*/ 108 h 143"/>
                  <a:gd name="T2" fmla="*/ 60 w 82"/>
                  <a:gd name="T3" fmla="*/ 114 h 143"/>
                  <a:gd name="T4" fmla="*/ 54 w 82"/>
                  <a:gd name="T5" fmla="*/ 111 h 143"/>
                  <a:gd name="T6" fmla="*/ 49 w 82"/>
                  <a:gd name="T7" fmla="*/ 115 h 143"/>
                  <a:gd name="T8" fmla="*/ 41 w 82"/>
                  <a:gd name="T9" fmla="*/ 127 h 143"/>
                  <a:gd name="T10" fmla="*/ 48 w 82"/>
                  <a:gd name="T11" fmla="*/ 124 h 143"/>
                  <a:gd name="T12" fmla="*/ 60 w 82"/>
                  <a:gd name="T13" fmla="*/ 127 h 143"/>
                  <a:gd name="T14" fmla="*/ 69 w 82"/>
                  <a:gd name="T15" fmla="*/ 139 h 143"/>
                  <a:gd name="T16" fmla="*/ 75 w 82"/>
                  <a:gd name="T17" fmla="*/ 135 h 143"/>
                  <a:gd name="T18" fmla="*/ 79 w 82"/>
                  <a:gd name="T19" fmla="*/ 120 h 143"/>
                  <a:gd name="T20" fmla="*/ 73 w 82"/>
                  <a:gd name="T21" fmla="*/ 102 h 143"/>
                  <a:gd name="T22" fmla="*/ 65 w 82"/>
                  <a:gd name="T23" fmla="*/ 98 h 143"/>
                  <a:gd name="T24" fmla="*/ 47 w 82"/>
                  <a:gd name="T25" fmla="*/ 89 h 143"/>
                  <a:gd name="T26" fmla="*/ 50 w 82"/>
                  <a:gd name="T27" fmla="*/ 92 h 143"/>
                  <a:gd name="T28" fmla="*/ 52 w 82"/>
                  <a:gd name="T29" fmla="*/ 94 h 143"/>
                  <a:gd name="T30" fmla="*/ 51 w 82"/>
                  <a:gd name="T31" fmla="*/ 86 h 143"/>
                  <a:gd name="T32" fmla="*/ 56 w 82"/>
                  <a:gd name="T33" fmla="*/ 97 h 143"/>
                  <a:gd name="T34" fmla="*/ 59 w 82"/>
                  <a:gd name="T35" fmla="*/ 84 h 143"/>
                  <a:gd name="T36" fmla="*/ 15 w 82"/>
                  <a:gd name="T37" fmla="*/ 92 h 143"/>
                  <a:gd name="T38" fmla="*/ 8 w 82"/>
                  <a:gd name="T39" fmla="*/ 103 h 143"/>
                  <a:gd name="T40" fmla="*/ 0 w 82"/>
                  <a:gd name="T41" fmla="*/ 113 h 143"/>
                  <a:gd name="T42" fmla="*/ 15 w 82"/>
                  <a:gd name="T43" fmla="*/ 99 h 143"/>
                  <a:gd name="T44" fmla="*/ 21 w 82"/>
                  <a:gd name="T45" fmla="*/ 91 h 143"/>
                  <a:gd name="T46" fmla="*/ 65 w 82"/>
                  <a:gd name="T47" fmla="*/ 81 h 143"/>
                  <a:gd name="T48" fmla="*/ 68 w 82"/>
                  <a:gd name="T49" fmla="*/ 86 h 143"/>
                  <a:gd name="T50" fmla="*/ 70 w 82"/>
                  <a:gd name="T51" fmla="*/ 93 h 143"/>
                  <a:gd name="T52" fmla="*/ 70 w 82"/>
                  <a:gd name="T53" fmla="*/ 86 h 143"/>
                  <a:gd name="T54" fmla="*/ 42 w 82"/>
                  <a:gd name="T55" fmla="*/ 78 h 143"/>
                  <a:gd name="T56" fmla="*/ 49 w 82"/>
                  <a:gd name="T57" fmla="*/ 85 h 143"/>
                  <a:gd name="T58" fmla="*/ 53 w 82"/>
                  <a:gd name="T59" fmla="*/ 72 h 143"/>
                  <a:gd name="T60" fmla="*/ 53 w 82"/>
                  <a:gd name="T61" fmla="*/ 72 h 143"/>
                  <a:gd name="T62" fmla="*/ 23 w 82"/>
                  <a:gd name="T63" fmla="*/ 72 h 143"/>
                  <a:gd name="T64" fmla="*/ 41 w 82"/>
                  <a:gd name="T65" fmla="*/ 68 h 143"/>
                  <a:gd name="T66" fmla="*/ 67 w 82"/>
                  <a:gd name="T67" fmla="*/ 76 h 143"/>
                  <a:gd name="T68" fmla="*/ 75 w 82"/>
                  <a:gd name="T69" fmla="*/ 83 h 143"/>
                  <a:gd name="T70" fmla="*/ 70 w 82"/>
                  <a:gd name="T71" fmla="*/ 69 h 143"/>
                  <a:gd name="T72" fmla="*/ 28 w 82"/>
                  <a:gd name="T73" fmla="*/ 58 h 143"/>
                  <a:gd name="T74" fmla="*/ 37 w 82"/>
                  <a:gd name="T75" fmla="*/ 71 h 143"/>
                  <a:gd name="T76" fmla="*/ 61 w 82"/>
                  <a:gd name="T77" fmla="*/ 53 h 143"/>
                  <a:gd name="T78" fmla="*/ 28 w 82"/>
                  <a:gd name="T79" fmla="*/ 13 h 143"/>
                  <a:gd name="T80" fmla="*/ 25 w 82"/>
                  <a:gd name="T81" fmla="*/ 30 h 143"/>
                  <a:gd name="T82" fmla="*/ 25 w 82"/>
                  <a:gd name="T83" fmla="*/ 34 h 143"/>
                  <a:gd name="T84" fmla="*/ 32 w 82"/>
                  <a:gd name="T85" fmla="*/ 42 h 143"/>
                  <a:gd name="T86" fmla="*/ 43 w 82"/>
                  <a:gd name="T87" fmla="*/ 55 h 143"/>
                  <a:gd name="T88" fmla="*/ 50 w 82"/>
                  <a:gd name="T89" fmla="*/ 56 h 143"/>
                  <a:gd name="T90" fmla="*/ 58 w 82"/>
                  <a:gd name="T91" fmla="*/ 66 h 143"/>
                  <a:gd name="T92" fmla="*/ 55 w 82"/>
                  <a:gd name="T93" fmla="*/ 50 h 143"/>
                  <a:gd name="T94" fmla="*/ 49 w 82"/>
                  <a:gd name="T95" fmla="*/ 47 h 143"/>
                  <a:gd name="T96" fmla="*/ 39 w 82"/>
                  <a:gd name="T97" fmla="*/ 49 h 143"/>
                  <a:gd name="T98" fmla="*/ 40 w 82"/>
                  <a:gd name="T99" fmla="*/ 30 h 143"/>
                  <a:gd name="T100" fmla="*/ 47 w 82"/>
                  <a:gd name="T101" fmla="*/ 20 h 143"/>
                  <a:gd name="T102" fmla="*/ 44 w 82"/>
                  <a:gd name="T103" fmla="*/ 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143">
                    <a:moveTo>
                      <a:pt x="73" y="102"/>
                    </a:moveTo>
                    <a:cubicBezTo>
                      <a:pt x="72" y="103"/>
                      <a:pt x="72" y="103"/>
                      <a:pt x="71" y="103"/>
                    </a:cubicBezTo>
                    <a:cubicBezTo>
                      <a:pt x="72" y="103"/>
                      <a:pt x="71" y="109"/>
                      <a:pt x="71" y="109"/>
                    </a:cubicBezTo>
                    <a:cubicBezTo>
                      <a:pt x="70" y="110"/>
                      <a:pt x="68" y="108"/>
                      <a:pt x="68" y="108"/>
                    </a:cubicBezTo>
                    <a:cubicBezTo>
                      <a:pt x="68" y="109"/>
                      <a:pt x="66" y="109"/>
                      <a:pt x="66" y="109"/>
                    </a:cubicBezTo>
                    <a:cubicBezTo>
                      <a:pt x="65" y="111"/>
                      <a:pt x="66" y="112"/>
                      <a:pt x="65" y="113"/>
                    </a:cubicBezTo>
                    <a:cubicBezTo>
                      <a:pt x="64" y="112"/>
                      <a:pt x="62" y="111"/>
                      <a:pt x="61" y="111"/>
                    </a:cubicBezTo>
                    <a:cubicBezTo>
                      <a:pt x="60" y="112"/>
                      <a:pt x="61" y="114"/>
                      <a:pt x="60" y="114"/>
                    </a:cubicBezTo>
                    <a:cubicBezTo>
                      <a:pt x="59" y="114"/>
                      <a:pt x="55" y="115"/>
                      <a:pt x="55" y="115"/>
                    </a:cubicBezTo>
                    <a:cubicBezTo>
                      <a:pt x="54" y="115"/>
                      <a:pt x="55" y="113"/>
                      <a:pt x="55" y="113"/>
                    </a:cubicBezTo>
                    <a:cubicBezTo>
                      <a:pt x="55" y="113"/>
                      <a:pt x="55" y="112"/>
                      <a:pt x="55" y="111"/>
                    </a:cubicBezTo>
                    <a:cubicBezTo>
                      <a:pt x="55" y="111"/>
                      <a:pt x="54" y="111"/>
                      <a:pt x="54" y="111"/>
                    </a:cubicBezTo>
                    <a:cubicBezTo>
                      <a:pt x="54" y="111"/>
                      <a:pt x="54" y="111"/>
                      <a:pt x="54" y="111"/>
                    </a:cubicBezTo>
                    <a:cubicBezTo>
                      <a:pt x="51" y="111"/>
                      <a:pt x="51" y="111"/>
                      <a:pt x="51" y="111"/>
                    </a:cubicBezTo>
                    <a:cubicBezTo>
                      <a:pt x="50" y="112"/>
                      <a:pt x="49" y="112"/>
                      <a:pt x="49" y="113"/>
                    </a:cubicBezTo>
                    <a:cubicBezTo>
                      <a:pt x="48" y="113"/>
                      <a:pt x="49" y="115"/>
                      <a:pt x="49" y="115"/>
                    </a:cubicBezTo>
                    <a:cubicBezTo>
                      <a:pt x="47" y="116"/>
                      <a:pt x="44" y="117"/>
                      <a:pt x="42" y="117"/>
                    </a:cubicBezTo>
                    <a:cubicBezTo>
                      <a:pt x="42" y="119"/>
                      <a:pt x="43" y="121"/>
                      <a:pt x="42" y="123"/>
                    </a:cubicBezTo>
                    <a:cubicBezTo>
                      <a:pt x="42" y="124"/>
                      <a:pt x="40" y="125"/>
                      <a:pt x="40" y="125"/>
                    </a:cubicBezTo>
                    <a:cubicBezTo>
                      <a:pt x="40" y="127"/>
                      <a:pt x="41" y="126"/>
                      <a:pt x="41" y="127"/>
                    </a:cubicBezTo>
                    <a:cubicBezTo>
                      <a:pt x="41" y="127"/>
                      <a:pt x="43" y="127"/>
                      <a:pt x="43" y="127"/>
                    </a:cubicBezTo>
                    <a:cubicBezTo>
                      <a:pt x="44" y="126"/>
                      <a:pt x="43" y="126"/>
                      <a:pt x="44" y="125"/>
                    </a:cubicBezTo>
                    <a:cubicBezTo>
                      <a:pt x="45" y="124"/>
                      <a:pt x="46" y="123"/>
                      <a:pt x="47" y="121"/>
                    </a:cubicBezTo>
                    <a:cubicBezTo>
                      <a:pt x="48" y="122"/>
                      <a:pt x="47" y="122"/>
                      <a:pt x="48" y="124"/>
                    </a:cubicBezTo>
                    <a:cubicBezTo>
                      <a:pt x="51" y="124"/>
                      <a:pt x="53" y="124"/>
                      <a:pt x="55" y="124"/>
                    </a:cubicBezTo>
                    <a:cubicBezTo>
                      <a:pt x="55" y="124"/>
                      <a:pt x="55" y="122"/>
                      <a:pt x="57" y="123"/>
                    </a:cubicBezTo>
                    <a:cubicBezTo>
                      <a:pt x="57" y="123"/>
                      <a:pt x="59" y="125"/>
                      <a:pt x="59" y="125"/>
                    </a:cubicBezTo>
                    <a:cubicBezTo>
                      <a:pt x="60" y="124"/>
                      <a:pt x="60" y="126"/>
                      <a:pt x="60" y="127"/>
                    </a:cubicBezTo>
                    <a:cubicBezTo>
                      <a:pt x="59" y="127"/>
                      <a:pt x="59" y="127"/>
                      <a:pt x="59" y="127"/>
                    </a:cubicBezTo>
                    <a:cubicBezTo>
                      <a:pt x="58" y="129"/>
                      <a:pt x="56" y="133"/>
                      <a:pt x="58" y="136"/>
                    </a:cubicBezTo>
                    <a:cubicBezTo>
                      <a:pt x="58" y="137"/>
                      <a:pt x="61" y="137"/>
                      <a:pt x="61" y="137"/>
                    </a:cubicBezTo>
                    <a:cubicBezTo>
                      <a:pt x="65" y="140"/>
                      <a:pt x="63" y="140"/>
                      <a:pt x="69" y="139"/>
                    </a:cubicBezTo>
                    <a:cubicBezTo>
                      <a:pt x="68" y="140"/>
                      <a:pt x="69" y="143"/>
                      <a:pt x="69" y="143"/>
                    </a:cubicBezTo>
                    <a:cubicBezTo>
                      <a:pt x="70" y="143"/>
                      <a:pt x="72" y="143"/>
                      <a:pt x="72" y="142"/>
                    </a:cubicBezTo>
                    <a:cubicBezTo>
                      <a:pt x="74" y="139"/>
                      <a:pt x="73" y="135"/>
                      <a:pt x="71" y="132"/>
                    </a:cubicBezTo>
                    <a:cubicBezTo>
                      <a:pt x="71" y="132"/>
                      <a:pt x="74" y="131"/>
                      <a:pt x="75" y="135"/>
                    </a:cubicBezTo>
                    <a:cubicBezTo>
                      <a:pt x="76" y="135"/>
                      <a:pt x="76" y="135"/>
                      <a:pt x="76" y="135"/>
                    </a:cubicBezTo>
                    <a:cubicBezTo>
                      <a:pt x="75" y="131"/>
                      <a:pt x="75" y="130"/>
                      <a:pt x="74" y="127"/>
                    </a:cubicBezTo>
                    <a:cubicBezTo>
                      <a:pt x="75" y="126"/>
                      <a:pt x="77" y="125"/>
                      <a:pt x="77" y="124"/>
                    </a:cubicBezTo>
                    <a:cubicBezTo>
                      <a:pt x="78" y="123"/>
                      <a:pt x="78" y="120"/>
                      <a:pt x="79" y="120"/>
                    </a:cubicBezTo>
                    <a:cubicBezTo>
                      <a:pt x="81" y="120"/>
                      <a:pt x="81" y="120"/>
                      <a:pt x="81" y="120"/>
                    </a:cubicBezTo>
                    <a:cubicBezTo>
                      <a:pt x="82" y="117"/>
                      <a:pt x="80" y="115"/>
                      <a:pt x="79" y="113"/>
                    </a:cubicBezTo>
                    <a:cubicBezTo>
                      <a:pt x="78" y="110"/>
                      <a:pt x="77" y="107"/>
                      <a:pt x="77" y="103"/>
                    </a:cubicBezTo>
                    <a:cubicBezTo>
                      <a:pt x="75" y="103"/>
                      <a:pt x="74" y="103"/>
                      <a:pt x="73" y="102"/>
                    </a:cubicBezTo>
                    <a:close/>
                    <a:moveTo>
                      <a:pt x="61" y="93"/>
                    </a:moveTo>
                    <a:cubicBezTo>
                      <a:pt x="61" y="94"/>
                      <a:pt x="60" y="95"/>
                      <a:pt x="59" y="95"/>
                    </a:cubicBezTo>
                    <a:cubicBezTo>
                      <a:pt x="59" y="95"/>
                      <a:pt x="59" y="97"/>
                      <a:pt x="59" y="97"/>
                    </a:cubicBezTo>
                    <a:cubicBezTo>
                      <a:pt x="62" y="98"/>
                      <a:pt x="63" y="98"/>
                      <a:pt x="65" y="98"/>
                    </a:cubicBezTo>
                    <a:cubicBezTo>
                      <a:pt x="66" y="96"/>
                      <a:pt x="66" y="96"/>
                      <a:pt x="66" y="96"/>
                    </a:cubicBezTo>
                    <a:cubicBezTo>
                      <a:pt x="65" y="96"/>
                      <a:pt x="65" y="94"/>
                      <a:pt x="64" y="93"/>
                    </a:cubicBezTo>
                    <a:cubicBezTo>
                      <a:pt x="63" y="93"/>
                      <a:pt x="62" y="94"/>
                      <a:pt x="61" y="93"/>
                    </a:cubicBezTo>
                    <a:close/>
                    <a:moveTo>
                      <a:pt x="47" y="89"/>
                    </a:moveTo>
                    <a:cubicBezTo>
                      <a:pt x="47" y="89"/>
                      <a:pt x="46" y="90"/>
                      <a:pt x="48" y="90"/>
                    </a:cubicBezTo>
                    <a:cubicBezTo>
                      <a:pt x="48" y="89"/>
                      <a:pt x="49" y="89"/>
                      <a:pt x="47" y="89"/>
                    </a:cubicBezTo>
                    <a:close/>
                    <a:moveTo>
                      <a:pt x="51" y="86"/>
                    </a:moveTo>
                    <a:cubicBezTo>
                      <a:pt x="51" y="87"/>
                      <a:pt x="50" y="89"/>
                      <a:pt x="50" y="92"/>
                    </a:cubicBezTo>
                    <a:cubicBezTo>
                      <a:pt x="46" y="94"/>
                      <a:pt x="41" y="94"/>
                      <a:pt x="45" y="99"/>
                    </a:cubicBezTo>
                    <a:cubicBezTo>
                      <a:pt x="46" y="101"/>
                      <a:pt x="47" y="100"/>
                      <a:pt x="49" y="101"/>
                    </a:cubicBezTo>
                    <a:cubicBezTo>
                      <a:pt x="50" y="102"/>
                      <a:pt x="51" y="103"/>
                      <a:pt x="52" y="103"/>
                    </a:cubicBezTo>
                    <a:cubicBezTo>
                      <a:pt x="52" y="103"/>
                      <a:pt x="52" y="96"/>
                      <a:pt x="52" y="94"/>
                    </a:cubicBezTo>
                    <a:cubicBezTo>
                      <a:pt x="52" y="94"/>
                      <a:pt x="55" y="90"/>
                      <a:pt x="55" y="89"/>
                    </a:cubicBezTo>
                    <a:cubicBezTo>
                      <a:pt x="56" y="89"/>
                      <a:pt x="55" y="88"/>
                      <a:pt x="55" y="88"/>
                    </a:cubicBezTo>
                    <a:cubicBezTo>
                      <a:pt x="54" y="87"/>
                      <a:pt x="54" y="86"/>
                      <a:pt x="54" y="86"/>
                    </a:cubicBezTo>
                    <a:cubicBezTo>
                      <a:pt x="53" y="86"/>
                      <a:pt x="52" y="86"/>
                      <a:pt x="51" y="86"/>
                    </a:cubicBezTo>
                    <a:close/>
                    <a:moveTo>
                      <a:pt x="59" y="84"/>
                    </a:moveTo>
                    <a:cubicBezTo>
                      <a:pt x="58" y="85"/>
                      <a:pt x="59" y="86"/>
                      <a:pt x="59" y="87"/>
                    </a:cubicBezTo>
                    <a:cubicBezTo>
                      <a:pt x="58" y="89"/>
                      <a:pt x="50" y="96"/>
                      <a:pt x="55" y="99"/>
                    </a:cubicBezTo>
                    <a:cubicBezTo>
                      <a:pt x="55" y="98"/>
                      <a:pt x="56" y="97"/>
                      <a:pt x="56" y="97"/>
                    </a:cubicBezTo>
                    <a:cubicBezTo>
                      <a:pt x="57" y="96"/>
                      <a:pt x="56" y="95"/>
                      <a:pt x="57" y="93"/>
                    </a:cubicBezTo>
                    <a:cubicBezTo>
                      <a:pt x="57" y="93"/>
                      <a:pt x="59" y="92"/>
                      <a:pt x="59" y="92"/>
                    </a:cubicBezTo>
                    <a:cubicBezTo>
                      <a:pt x="61" y="91"/>
                      <a:pt x="60" y="88"/>
                      <a:pt x="60" y="84"/>
                    </a:cubicBezTo>
                    <a:lnTo>
                      <a:pt x="59" y="84"/>
                    </a:lnTo>
                    <a:close/>
                    <a:moveTo>
                      <a:pt x="19" y="82"/>
                    </a:moveTo>
                    <a:cubicBezTo>
                      <a:pt x="19" y="82"/>
                      <a:pt x="19" y="85"/>
                      <a:pt x="19" y="86"/>
                    </a:cubicBezTo>
                    <a:cubicBezTo>
                      <a:pt x="19" y="86"/>
                      <a:pt x="15" y="89"/>
                      <a:pt x="15" y="89"/>
                    </a:cubicBezTo>
                    <a:cubicBezTo>
                      <a:pt x="14" y="91"/>
                      <a:pt x="16" y="91"/>
                      <a:pt x="15" y="92"/>
                    </a:cubicBezTo>
                    <a:cubicBezTo>
                      <a:pt x="15" y="93"/>
                      <a:pt x="13" y="94"/>
                      <a:pt x="13" y="94"/>
                    </a:cubicBezTo>
                    <a:cubicBezTo>
                      <a:pt x="12" y="96"/>
                      <a:pt x="12" y="98"/>
                      <a:pt x="11" y="99"/>
                    </a:cubicBezTo>
                    <a:cubicBezTo>
                      <a:pt x="10" y="100"/>
                      <a:pt x="8" y="101"/>
                      <a:pt x="8" y="101"/>
                    </a:cubicBezTo>
                    <a:cubicBezTo>
                      <a:pt x="8" y="102"/>
                      <a:pt x="8" y="103"/>
                      <a:pt x="8" y="103"/>
                    </a:cubicBezTo>
                    <a:cubicBezTo>
                      <a:pt x="7" y="104"/>
                      <a:pt x="6" y="104"/>
                      <a:pt x="5" y="104"/>
                    </a:cubicBezTo>
                    <a:cubicBezTo>
                      <a:pt x="4" y="104"/>
                      <a:pt x="5" y="106"/>
                      <a:pt x="4" y="106"/>
                    </a:cubicBezTo>
                    <a:cubicBezTo>
                      <a:pt x="4" y="106"/>
                      <a:pt x="3" y="106"/>
                      <a:pt x="2" y="106"/>
                    </a:cubicBezTo>
                    <a:cubicBezTo>
                      <a:pt x="1" y="108"/>
                      <a:pt x="1" y="110"/>
                      <a:pt x="0" y="113"/>
                    </a:cubicBezTo>
                    <a:cubicBezTo>
                      <a:pt x="2" y="110"/>
                      <a:pt x="9" y="107"/>
                      <a:pt x="11" y="105"/>
                    </a:cubicBezTo>
                    <a:cubicBezTo>
                      <a:pt x="12" y="104"/>
                      <a:pt x="11" y="103"/>
                      <a:pt x="11" y="103"/>
                    </a:cubicBezTo>
                    <a:cubicBezTo>
                      <a:pt x="12" y="102"/>
                      <a:pt x="14" y="100"/>
                      <a:pt x="14" y="99"/>
                    </a:cubicBezTo>
                    <a:cubicBezTo>
                      <a:pt x="15" y="99"/>
                      <a:pt x="15" y="99"/>
                      <a:pt x="15" y="99"/>
                    </a:cubicBezTo>
                    <a:cubicBezTo>
                      <a:pt x="15" y="98"/>
                      <a:pt x="14" y="97"/>
                      <a:pt x="15" y="97"/>
                    </a:cubicBezTo>
                    <a:cubicBezTo>
                      <a:pt x="16" y="96"/>
                      <a:pt x="18" y="96"/>
                      <a:pt x="19" y="95"/>
                    </a:cubicBezTo>
                    <a:cubicBezTo>
                      <a:pt x="19" y="94"/>
                      <a:pt x="19" y="93"/>
                      <a:pt x="19" y="92"/>
                    </a:cubicBezTo>
                    <a:cubicBezTo>
                      <a:pt x="20" y="92"/>
                      <a:pt x="21" y="92"/>
                      <a:pt x="21" y="91"/>
                    </a:cubicBezTo>
                    <a:cubicBezTo>
                      <a:pt x="22" y="91"/>
                      <a:pt x="22" y="84"/>
                      <a:pt x="21" y="84"/>
                    </a:cubicBezTo>
                    <a:cubicBezTo>
                      <a:pt x="21" y="84"/>
                      <a:pt x="21" y="82"/>
                      <a:pt x="21" y="82"/>
                    </a:cubicBezTo>
                    <a:lnTo>
                      <a:pt x="19" y="82"/>
                    </a:lnTo>
                    <a:close/>
                    <a:moveTo>
                      <a:pt x="65" y="81"/>
                    </a:moveTo>
                    <a:cubicBezTo>
                      <a:pt x="65" y="81"/>
                      <a:pt x="64" y="83"/>
                      <a:pt x="65" y="84"/>
                    </a:cubicBezTo>
                    <a:cubicBezTo>
                      <a:pt x="65" y="84"/>
                      <a:pt x="67" y="84"/>
                      <a:pt x="67" y="84"/>
                    </a:cubicBezTo>
                    <a:cubicBezTo>
                      <a:pt x="67" y="85"/>
                      <a:pt x="67" y="85"/>
                      <a:pt x="67" y="85"/>
                    </a:cubicBezTo>
                    <a:cubicBezTo>
                      <a:pt x="68" y="84"/>
                      <a:pt x="68" y="86"/>
                      <a:pt x="68" y="86"/>
                    </a:cubicBezTo>
                    <a:cubicBezTo>
                      <a:pt x="66" y="86"/>
                      <a:pt x="67" y="88"/>
                      <a:pt x="67" y="89"/>
                    </a:cubicBezTo>
                    <a:cubicBezTo>
                      <a:pt x="67" y="90"/>
                      <a:pt x="67" y="90"/>
                      <a:pt x="67" y="90"/>
                    </a:cubicBezTo>
                    <a:cubicBezTo>
                      <a:pt x="68" y="90"/>
                      <a:pt x="69" y="91"/>
                      <a:pt x="69" y="91"/>
                    </a:cubicBezTo>
                    <a:cubicBezTo>
                      <a:pt x="70" y="92"/>
                      <a:pt x="69" y="93"/>
                      <a:pt x="70" y="93"/>
                    </a:cubicBezTo>
                    <a:cubicBezTo>
                      <a:pt x="70" y="94"/>
                      <a:pt x="72" y="94"/>
                      <a:pt x="73" y="94"/>
                    </a:cubicBezTo>
                    <a:cubicBezTo>
                      <a:pt x="72" y="93"/>
                      <a:pt x="71" y="93"/>
                      <a:pt x="71" y="92"/>
                    </a:cubicBezTo>
                    <a:cubicBezTo>
                      <a:pt x="71" y="90"/>
                      <a:pt x="72" y="91"/>
                      <a:pt x="72" y="89"/>
                    </a:cubicBezTo>
                    <a:cubicBezTo>
                      <a:pt x="72" y="88"/>
                      <a:pt x="70" y="87"/>
                      <a:pt x="70" y="86"/>
                    </a:cubicBezTo>
                    <a:cubicBezTo>
                      <a:pt x="70" y="85"/>
                      <a:pt x="71" y="84"/>
                      <a:pt x="71" y="84"/>
                    </a:cubicBezTo>
                    <a:cubicBezTo>
                      <a:pt x="71" y="83"/>
                      <a:pt x="71" y="82"/>
                      <a:pt x="70" y="82"/>
                    </a:cubicBezTo>
                    <a:cubicBezTo>
                      <a:pt x="68" y="81"/>
                      <a:pt x="67" y="81"/>
                      <a:pt x="65" y="81"/>
                    </a:cubicBezTo>
                    <a:close/>
                    <a:moveTo>
                      <a:pt x="42" y="78"/>
                    </a:moveTo>
                    <a:cubicBezTo>
                      <a:pt x="41" y="83"/>
                      <a:pt x="41" y="86"/>
                      <a:pt x="40" y="91"/>
                    </a:cubicBezTo>
                    <a:cubicBezTo>
                      <a:pt x="42" y="90"/>
                      <a:pt x="45" y="88"/>
                      <a:pt x="46" y="88"/>
                    </a:cubicBezTo>
                    <a:cubicBezTo>
                      <a:pt x="46" y="87"/>
                      <a:pt x="48" y="88"/>
                      <a:pt x="48" y="88"/>
                    </a:cubicBezTo>
                    <a:cubicBezTo>
                      <a:pt x="49" y="87"/>
                      <a:pt x="48" y="85"/>
                      <a:pt x="49" y="85"/>
                    </a:cubicBezTo>
                    <a:cubicBezTo>
                      <a:pt x="49" y="85"/>
                      <a:pt x="50" y="84"/>
                      <a:pt x="50" y="84"/>
                    </a:cubicBezTo>
                    <a:cubicBezTo>
                      <a:pt x="50" y="83"/>
                      <a:pt x="50" y="81"/>
                      <a:pt x="50" y="80"/>
                    </a:cubicBezTo>
                    <a:cubicBezTo>
                      <a:pt x="47" y="79"/>
                      <a:pt x="45" y="79"/>
                      <a:pt x="42" y="78"/>
                    </a:cubicBezTo>
                    <a:close/>
                    <a:moveTo>
                      <a:pt x="53" y="72"/>
                    </a:moveTo>
                    <a:cubicBezTo>
                      <a:pt x="53" y="73"/>
                      <a:pt x="53" y="73"/>
                      <a:pt x="53" y="73"/>
                    </a:cubicBezTo>
                    <a:cubicBezTo>
                      <a:pt x="52" y="72"/>
                      <a:pt x="52" y="75"/>
                      <a:pt x="52" y="76"/>
                    </a:cubicBezTo>
                    <a:cubicBezTo>
                      <a:pt x="54" y="76"/>
                      <a:pt x="57" y="77"/>
                      <a:pt x="58" y="77"/>
                    </a:cubicBezTo>
                    <a:cubicBezTo>
                      <a:pt x="65" y="77"/>
                      <a:pt x="53" y="72"/>
                      <a:pt x="53" y="72"/>
                    </a:cubicBezTo>
                    <a:close/>
                    <a:moveTo>
                      <a:pt x="23" y="72"/>
                    </a:moveTo>
                    <a:cubicBezTo>
                      <a:pt x="23" y="74"/>
                      <a:pt x="23" y="74"/>
                      <a:pt x="23" y="74"/>
                    </a:cubicBezTo>
                    <a:cubicBezTo>
                      <a:pt x="23" y="74"/>
                      <a:pt x="28" y="75"/>
                      <a:pt x="25" y="74"/>
                    </a:cubicBezTo>
                    <a:cubicBezTo>
                      <a:pt x="25" y="73"/>
                      <a:pt x="24" y="72"/>
                      <a:pt x="23" y="72"/>
                    </a:cubicBezTo>
                    <a:close/>
                    <a:moveTo>
                      <a:pt x="41" y="68"/>
                    </a:moveTo>
                    <a:cubicBezTo>
                      <a:pt x="41" y="68"/>
                      <a:pt x="42" y="71"/>
                      <a:pt x="42" y="71"/>
                    </a:cubicBezTo>
                    <a:cubicBezTo>
                      <a:pt x="44" y="72"/>
                      <a:pt x="43" y="70"/>
                      <a:pt x="43" y="69"/>
                    </a:cubicBezTo>
                    <a:cubicBezTo>
                      <a:pt x="42" y="69"/>
                      <a:pt x="42" y="69"/>
                      <a:pt x="41" y="68"/>
                    </a:cubicBezTo>
                    <a:close/>
                    <a:moveTo>
                      <a:pt x="65" y="66"/>
                    </a:moveTo>
                    <a:cubicBezTo>
                      <a:pt x="65" y="67"/>
                      <a:pt x="63" y="68"/>
                      <a:pt x="63" y="69"/>
                    </a:cubicBezTo>
                    <a:cubicBezTo>
                      <a:pt x="63" y="70"/>
                      <a:pt x="62" y="70"/>
                      <a:pt x="63" y="71"/>
                    </a:cubicBezTo>
                    <a:cubicBezTo>
                      <a:pt x="63" y="72"/>
                      <a:pt x="67" y="75"/>
                      <a:pt x="67" y="76"/>
                    </a:cubicBezTo>
                    <a:cubicBezTo>
                      <a:pt x="68" y="78"/>
                      <a:pt x="67" y="79"/>
                      <a:pt x="68" y="80"/>
                    </a:cubicBezTo>
                    <a:cubicBezTo>
                      <a:pt x="69" y="80"/>
                      <a:pt x="72" y="81"/>
                      <a:pt x="72" y="81"/>
                    </a:cubicBezTo>
                    <a:cubicBezTo>
                      <a:pt x="73" y="81"/>
                      <a:pt x="73" y="81"/>
                      <a:pt x="73" y="81"/>
                    </a:cubicBezTo>
                    <a:cubicBezTo>
                      <a:pt x="73" y="81"/>
                      <a:pt x="74" y="82"/>
                      <a:pt x="75" y="83"/>
                    </a:cubicBezTo>
                    <a:cubicBezTo>
                      <a:pt x="74" y="81"/>
                      <a:pt x="72" y="79"/>
                      <a:pt x="71" y="78"/>
                    </a:cubicBezTo>
                    <a:cubicBezTo>
                      <a:pt x="71" y="77"/>
                      <a:pt x="70" y="76"/>
                      <a:pt x="70" y="76"/>
                    </a:cubicBezTo>
                    <a:cubicBezTo>
                      <a:pt x="70" y="75"/>
                      <a:pt x="72" y="70"/>
                      <a:pt x="71" y="69"/>
                    </a:cubicBezTo>
                    <a:cubicBezTo>
                      <a:pt x="70" y="69"/>
                      <a:pt x="70" y="69"/>
                      <a:pt x="70" y="69"/>
                    </a:cubicBezTo>
                    <a:cubicBezTo>
                      <a:pt x="70" y="67"/>
                      <a:pt x="70" y="67"/>
                      <a:pt x="69" y="66"/>
                    </a:cubicBezTo>
                    <a:cubicBezTo>
                      <a:pt x="68" y="66"/>
                      <a:pt x="66" y="67"/>
                      <a:pt x="65" y="66"/>
                    </a:cubicBezTo>
                    <a:close/>
                    <a:moveTo>
                      <a:pt x="29" y="57"/>
                    </a:moveTo>
                    <a:cubicBezTo>
                      <a:pt x="29" y="57"/>
                      <a:pt x="28" y="58"/>
                      <a:pt x="28" y="58"/>
                    </a:cubicBezTo>
                    <a:cubicBezTo>
                      <a:pt x="24" y="58"/>
                      <a:pt x="30" y="59"/>
                      <a:pt x="30" y="60"/>
                    </a:cubicBezTo>
                    <a:cubicBezTo>
                      <a:pt x="31" y="61"/>
                      <a:pt x="31" y="65"/>
                      <a:pt x="33" y="66"/>
                    </a:cubicBezTo>
                    <a:cubicBezTo>
                      <a:pt x="34" y="66"/>
                      <a:pt x="35" y="66"/>
                      <a:pt x="36" y="66"/>
                    </a:cubicBezTo>
                    <a:cubicBezTo>
                      <a:pt x="36" y="69"/>
                      <a:pt x="34" y="69"/>
                      <a:pt x="37" y="71"/>
                    </a:cubicBezTo>
                    <a:cubicBezTo>
                      <a:pt x="41" y="68"/>
                      <a:pt x="36" y="56"/>
                      <a:pt x="29" y="57"/>
                    </a:cubicBezTo>
                    <a:close/>
                    <a:moveTo>
                      <a:pt x="61" y="53"/>
                    </a:moveTo>
                    <a:cubicBezTo>
                      <a:pt x="61" y="53"/>
                      <a:pt x="61" y="55"/>
                      <a:pt x="61" y="56"/>
                    </a:cubicBezTo>
                    <a:cubicBezTo>
                      <a:pt x="64" y="57"/>
                      <a:pt x="63" y="53"/>
                      <a:pt x="61" y="53"/>
                    </a:cubicBezTo>
                    <a:close/>
                    <a:moveTo>
                      <a:pt x="32" y="0"/>
                    </a:moveTo>
                    <a:cubicBezTo>
                      <a:pt x="32" y="1"/>
                      <a:pt x="30" y="5"/>
                      <a:pt x="30" y="5"/>
                    </a:cubicBezTo>
                    <a:cubicBezTo>
                      <a:pt x="30" y="5"/>
                      <a:pt x="31" y="7"/>
                      <a:pt x="31" y="8"/>
                    </a:cubicBezTo>
                    <a:cubicBezTo>
                      <a:pt x="31" y="9"/>
                      <a:pt x="28" y="12"/>
                      <a:pt x="28" y="13"/>
                    </a:cubicBezTo>
                    <a:cubicBezTo>
                      <a:pt x="28" y="17"/>
                      <a:pt x="30" y="18"/>
                      <a:pt x="29" y="22"/>
                    </a:cubicBezTo>
                    <a:cubicBezTo>
                      <a:pt x="29" y="22"/>
                      <a:pt x="28" y="22"/>
                      <a:pt x="28" y="22"/>
                    </a:cubicBezTo>
                    <a:cubicBezTo>
                      <a:pt x="27" y="24"/>
                      <a:pt x="27" y="26"/>
                      <a:pt x="28" y="29"/>
                    </a:cubicBezTo>
                    <a:cubicBezTo>
                      <a:pt x="27" y="29"/>
                      <a:pt x="27" y="30"/>
                      <a:pt x="25" y="30"/>
                    </a:cubicBezTo>
                    <a:cubicBezTo>
                      <a:pt x="25" y="30"/>
                      <a:pt x="24" y="28"/>
                      <a:pt x="23" y="28"/>
                    </a:cubicBezTo>
                    <a:cubicBezTo>
                      <a:pt x="22" y="27"/>
                      <a:pt x="24" y="29"/>
                      <a:pt x="22" y="28"/>
                    </a:cubicBezTo>
                    <a:cubicBezTo>
                      <a:pt x="23" y="30"/>
                      <a:pt x="22" y="31"/>
                      <a:pt x="23" y="32"/>
                    </a:cubicBezTo>
                    <a:cubicBezTo>
                      <a:pt x="23" y="33"/>
                      <a:pt x="25" y="34"/>
                      <a:pt x="25" y="34"/>
                    </a:cubicBezTo>
                    <a:cubicBezTo>
                      <a:pt x="25" y="36"/>
                      <a:pt x="24" y="38"/>
                      <a:pt x="25" y="40"/>
                    </a:cubicBezTo>
                    <a:cubicBezTo>
                      <a:pt x="25" y="40"/>
                      <a:pt x="28" y="44"/>
                      <a:pt x="29" y="45"/>
                    </a:cubicBezTo>
                    <a:cubicBezTo>
                      <a:pt x="30" y="44"/>
                      <a:pt x="29" y="44"/>
                      <a:pt x="30" y="42"/>
                    </a:cubicBezTo>
                    <a:cubicBezTo>
                      <a:pt x="31" y="42"/>
                      <a:pt x="32" y="43"/>
                      <a:pt x="32" y="42"/>
                    </a:cubicBezTo>
                    <a:cubicBezTo>
                      <a:pt x="30" y="52"/>
                      <a:pt x="31" y="50"/>
                      <a:pt x="35" y="57"/>
                    </a:cubicBezTo>
                    <a:cubicBezTo>
                      <a:pt x="35" y="57"/>
                      <a:pt x="37" y="57"/>
                      <a:pt x="37" y="56"/>
                    </a:cubicBezTo>
                    <a:cubicBezTo>
                      <a:pt x="39" y="55"/>
                      <a:pt x="38" y="53"/>
                      <a:pt x="42" y="54"/>
                    </a:cubicBezTo>
                    <a:cubicBezTo>
                      <a:pt x="43" y="55"/>
                      <a:pt x="43" y="55"/>
                      <a:pt x="43" y="55"/>
                    </a:cubicBezTo>
                    <a:cubicBezTo>
                      <a:pt x="44" y="55"/>
                      <a:pt x="45" y="55"/>
                      <a:pt x="45" y="55"/>
                    </a:cubicBezTo>
                    <a:cubicBezTo>
                      <a:pt x="46" y="56"/>
                      <a:pt x="46" y="58"/>
                      <a:pt x="47" y="59"/>
                    </a:cubicBezTo>
                    <a:cubicBezTo>
                      <a:pt x="53" y="58"/>
                      <a:pt x="43" y="55"/>
                      <a:pt x="49" y="54"/>
                    </a:cubicBezTo>
                    <a:cubicBezTo>
                      <a:pt x="50" y="55"/>
                      <a:pt x="49" y="55"/>
                      <a:pt x="50" y="56"/>
                    </a:cubicBezTo>
                    <a:cubicBezTo>
                      <a:pt x="51" y="57"/>
                      <a:pt x="51" y="57"/>
                      <a:pt x="52" y="58"/>
                    </a:cubicBezTo>
                    <a:cubicBezTo>
                      <a:pt x="53" y="59"/>
                      <a:pt x="53" y="61"/>
                      <a:pt x="54" y="62"/>
                    </a:cubicBezTo>
                    <a:cubicBezTo>
                      <a:pt x="54" y="63"/>
                      <a:pt x="56" y="62"/>
                      <a:pt x="56" y="62"/>
                    </a:cubicBezTo>
                    <a:cubicBezTo>
                      <a:pt x="57" y="63"/>
                      <a:pt x="57" y="65"/>
                      <a:pt x="58" y="66"/>
                    </a:cubicBezTo>
                    <a:cubicBezTo>
                      <a:pt x="59" y="66"/>
                      <a:pt x="59" y="66"/>
                      <a:pt x="59" y="66"/>
                    </a:cubicBezTo>
                    <a:cubicBezTo>
                      <a:pt x="61" y="57"/>
                      <a:pt x="58" y="61"/>
                      <a:pt x="57" y="56"/>
                    </a:cubicBezTo>
                    <a:cubicBezTo>
                      <a:pt x="56" y="54"/>
                      <a:pt x="58" y="54"/>
                      <a:pt x="57" y="52"/>
                    </a:cubicBezTo>
                    <a:cubicBezTo>
                      <a:pt x="57" y="51"/>
                      <a:pt x="56" y="50"/>
                      <a:pt x="55" y="50"/>
                    </a:cubicBezTo>
                    <a:cubicBezTo>
                      <a:pt x="55" y="50"/>
                      <a:pt x="53" y="52"/>
                      <a:pt x="53" y="52"/>
                    </a:cubicBezTo>
                    <a:cubicBezTo>
                      <a:pt x="51" y="50"/>
                      <a:pt x="51" y="50"/>
                      <a:pt x="51" y="50"/>
                    </a:cubicBezTo>
                    <a:cubicBezTo>
                      <a:pt x="51" y="50"/>
                      <a:pt x="51" y="49"/>
                      <a:pt x="51" y="48"/>
                    </a:cubicBezTo>
                    <a:cubicBezTo>
                      <a:pt x="50" y="48"/>
                      <a:pt x="51" y="47"/>
                      <a:pt x="49" y="47"/>
                    </a:cubicBezTo>
                    <a:cubicBezTo>
                      <a:pt x="49" y="47"/>
                      <a:pt x="49" y="48"/>
                      <a:pt x="49" y="48"/>
                    </a:cubicBezTo>
                    <a:cubicBezTo>
                      <a:pt x="47" y="49"/>
                      <a:pt x="46" y="48"/>
                      <a:pt x="45" y="48"/>
                    </a:cubicBezTo>
                    <a:cubicBezTo>
                      <a:pt x="44" y="48"/>
                      <a:pt x="42" y="50"/>
                      <a:pt x="41" y="50"/>
                    </a:cubicBezTo>
                    <a:cubicBezTo>
                      <a:pt x="41" y="50"/>
                      <a:pt x="40" y="49"/>
                      <a:pt x="39" y="49"/>
                    </a:cubicBezTo>
                    <a:cubicBezTo>
                      <a:pt x="39" y="48"/>
                      <a:pt x="39" y="45"/>
                      <a:pt x="38" y="44"/>
                    </a:cubicBezTo>
                    <a:cubicBezTo>
                      <a:pt x="37" y="43"/>
                      <a:pt x="37" y="43"/>
                      <a:pt x="37" y="43"/>
                    </a:cubicBezTo>
                    <a:cubicBezTo>
                      <a:pt x="37" y="42"/>
                      <a:pt x="37" y="37"/>
                      <a:pt x="37" y="37"/>
                    </a:cubicBezTo>
                    <a:cubicBezTo>
                      <a:pt x="38" y="33"/>
                      <a:pt x="37" y="31"/>
                      <a:pt x="40" y="30"/>
                    </a:cubicBezTo>
                    <a:cubicBezTo>
                      <a:pt x="41" y="30"/>
                      <a:pt x="41" y="30"/>
                      <a:pt x="41" y="30"/>
                    </a:cubicBezTo>
                    <a:cubicBezTo>
                      <a:pt x="43" y="28"/>
                      <a:pt x="43" y="24"/>
                      <a:pt x="43" y="22"/>
                    </a:cubicBezTo>
                    <a:cubicBezTo>
                      <a:pt x="44" y="23"/>
                      <a:pt x="45" y="23"/>
                      <a:pt x="45" y="23"/>
                    </a:cubicBezTo>
                    <a:cubicBezTo>
                      <a:pt x="46" y="23"/>
                      <a:pt x="46" y="21"/>
                      <a:pt x="47" y="20"/>
                    </a:cubicBezTo>
                    <a:cubicBezTo>
                      <a:pt x="46" y="18"/>
                      <a:pt x="46" y="16"/>
                      <a:pt x="45" y="14"/>
                    </a:cubicBezTo>
                    <a:cubicBezTo>
                      <a:pt x="45" y="14"/>
                      <a:pt x="43" y="13"/>
                      <a:pt x="43" y="12"/>
                    </a:cubicBezTo>
                    <a:cubicBezTo>
                      <a:pt x="42" y="9"/>
                      <a:pt x="43" y="5"/>
                      <a:pt x="45" y="3"/>
                    </a:cubicBezTo>
                    <a:cubicBezTo>
                      <a:pt x="45" y="3"/>
                      <a:pt x="44" y="2"/>
                      <a:pt x="44" y="1"/>
                    </a:cubicBezTo>
                    <a:cubicBezTo>
                      <a:pt x="42" y="2"/>
                      <a:pt x="38" y="6"/>
                      <a:pt x="35" y="2"/>
                    </a:cubicBezTo>
                    <a:cubicBezTo>
                      <a:pt x="35" y="2"/>
                      <a:pt x="36" y="1"/>
                      <a:pt x="35" y="0"/>
                    </a:cubicBezTo>
                    <a:cubicBezTo>
                      <a:pt x="34" y="0"/>
                      <a:pt x="33" y="1"/>
                      <a:pt x="32"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24" name="Freeform 103">
                <a:extLst>
                  <a:ext uri="{FF2B5EF4-FFF2-40B4-BE49-F238E27FC236}">
                    <a16:creationId xmlns:a16="http://schemas.microsoft.com/office/drawing/2014/main" id="{36713088-4503-2073-21BB-9708924035AF}"/>
                  </a:ext>
                </a:extLst>
              </p:cNvPr>
              <p:cNvSpPr>
                <a:spLocks noEditPoints="1"/>
              </p:cNvSpPr>
              <p:nvPr/>
            </p:nvSpPr>
            <p:spPr bwMode="auto">
              <a:xfrm>
                <a:off x="5090" y="1858"/>
                <a:ext cx="161" cy="281"/>
              </a:xfrm>
              <a:custGeom>
                <a:avLst/>
                <a:gdLst>
                  <a:gd name="T0" fmla="*/ 68 w 82"/>
                  <a:gd name="T1" fmla="*/ 108 h 143"/>
                  <a:gd name="T2" fmla="*/ 60 w 82"/>
                  <a:gd name="T3" fmla="*/ 114 h 143"/>
                  <a:gd name="T4" fmla="*/ 54 w 82"/>
                  <a:gd name="T5" fmla="*/ 111 h 143"/>
                  <a:gd name="T6" fmla="*/ 49 w 82"/>
                  <a:gd name="T7" fmla="*/ 115 h 143"/>
                  <a:gd name="T8" fmla="*/ 41 w 82"/>
                  <a:gd name="T9" fmla="*/ 127 h 143"/>
                  <a:gd name="T10" fmla="*/ 48 w 82"/>
                  <a:gd name="T11" fmla="*/ 124 h 143"/>
                  <a:gd name="T12" fmla="*/ 60 w 82"/>
                  <a:gd name="T13" fmla="*/ 127 h 143"/>
                  <a:gd name="T14" fmla="*/ 69 w 82"/>
                  <a:gd name="T15" fmla="*/ 139 h 143"/>
                  <a:gd name="T16" fmla="*/ 75 w 82"/>
                  <a:gd name="T17" fmla="*/ 135 h 143"/>
                  <a:gd name="T18" fmla="*/ 79 w 82"/>
                  <a:gd name="T19" fmla="*/ 120 h 143"/>
                  <a:gd name="T20" fmla="*/ 73 w 82"/>
                  <a:gd name="T21" fmla="*/ 102 h 143"/>
                  <a:gd name="T22" fmla="*/ 65 w 82"/>
                  <a:gd name="T23" fmla="*/ 98 h 143"/>
                  <a:gd name="T24" fmla="*/ 47 w 82"/>
                  <a:gd name="T25" fmla="*/ 89 h 143"/>
                  <a:gd name="T26" fmla="*/ 50 w 82"/>
                  <a:gd name="T27" fmla="*/ 92 h 143"/>
                  <a:gd name="T28" fmla="*/ 52 w 82"/>
                  <a:gd name="T29" fmla="*/ 94 h 143"/>
                  <a:gd name="T30" fmla="*/ 51 w 82"/>
                  <a:gd name="T31" fmla="*/ 86 h 143"/>
                  <a:gd name="T32" fmla="*/ 56 w 82"/>
                  <a:gd name="T33" fmla="*/ 97 h 143"/>
                  <a:gd name="T34" fmla="*/ 59 w 82"/>
                  <a:gd name="T35" fmla="*/ 84 h 143"/>
                  <a:gd name="T36" fmla="*/ 15 w 82"/>
                  <a:gd name="T37" fmla="*/ 92 h 143"/>
                  <a:gd name="T38" fmla="*/ 8 w 82"/>
                  <a:gd name="T39" fmla="*/ 103 h 143"/>
                  <a:gd name="T40" fmla="*/ 0 w 82"/>
                  <a:gd name="T41" fmla="*/ 113 h 143"/>
                  <a:gd name="T42" fmla="*/ 15 w 82"/>
                  <a:gd name="T43" fmla="*/ 99 h 143"/>
                  <a:gd name="T44" fmla="*/ 21 w 82"/>
                  <a:gd name="T45" fmla="*/ 91 h 143"/>
                  <a:gd name="T46" fmla="*/ 65 w 82"/>
                  <a:gd name="T47" fmla="*/ 81 h 143"/>
                  <a:gd name="T48" fmla="*/ 68 w 82"/>
                  <a:gd name="T49" fmla="*/ 86 h 143"/>
                  <a:gd name="T50" fmla="*/ 70 w 82"/>
                  <a:gd name="T51" fmla="*/ 93 h 143"/>
                  <a:gd name="T52" fmla="*/ 70 w 82"/>
                  <a:gd name="T53" fmla="*/ 86 h 143"/>
                  <a:gd name="T54" fmla="*/ 42 w 82"/>
                  <a:gd name="T55" fmla="*/ 78 h 143"/>
                  <a:gd name="T56" fmla="*/ 49 w 82"/>
                  <a:gd name="T57" fmla="*/ 85 h 143"/>
                  <a:gd name="T58" fmla="*/ 53 w 82"/>
                  <a:gd name="T59" fmla="*/ 72 h 143"/>
                  <a:gd name="T60" fmla="*/ 53 w 82"/>
                  <a:gd name="T61" fmla="*/ 72 h 143"/>
                  <a:gd name="T62" fmla="*/ 23 w 82"/>
                  <a:gd name="T63" fmla="*/ 72 h 143"/>
                  <a:gd name="T64" fmla="*/ 41 w 82"/>
                  <a:gd name="T65" fmla="*/ 68 h 143"/>
                  <a:gd name="T66" fmla="*/ 67 w 82"/>
                  <a:gd name="T67" fmla="*/ 76 h 143"/>
                  <a:gd name="T68" fmla="*/ 75 w 82"/>
                  <a:gd name="T69" fmla="*/ 83 h 143"/>
                  <a:gd name="T70" fmla="*/ 70 w 82"/>
                  <a:gd name="T71" fmla="*/ 69 h 143"/>
                  <a:gd name="T72" fmla="*/ 28 w 82"/>
                  <a:gd name="T73" fmla="*/ 58 h 143"/>
                  <a:gd name="T74" fmla="*/ 37 w 82"/>
                  <a:gd name="T75" fmla="*/ 71 h 143"/>
                  <a:gd name="T76" fmla="*/ 61 w 82"/>
                  <a:gd name="T77" fmla="*/ 53 h 143"/>
                  <a:gd name="T78" fmla="*/ 28 w 82"/>
                  <a:gd name="T79" fmla="*/ 13 h 143"/>
                  <a:gd name="T80" fmla="*/ 25 w 82"/>
                  <a:gd name="T81" fmla="*/ 30 h 143"/>
                  <a:gd name="T82" fmla="*/ 25 w 82"/>
                  <a:gd name="T83" fmla="*/ 34 h 143"/>
                  <a:gd name="T84" fmla="*/ 32 w 82"/>
                  <a:gd name="T85" fmla="*/ 42 h 143"/>
                  <a:gd name="T86" fmla="*/ 43 w 82"/>
                  <a:gd name="T87" fmla="*/ 55 h 143"/>
                  <a:gd name="T88" fmla="*/ 50 w 82"/>
                  <a:gd name="T89" fmla="*/ 56 h 143"/>
                  <a:gd name="T90" fmla="*/ 58 w 82"/>
                  <a:gd name="T91" fmla="*/ 66 h 143"/>
                  <a:gd name="T92" fmla="*/ 55 w 82"/>
                  <a:gd name="T93" fmla="*/ 50 h 143"/>
                  <a:gd name="T94" fmla="*/ 49 w 82"/>
                  <a:gd name="T95" fmla="*/ 47 h 143"/>
                  <a:gd name="T96" fmla="*/ 39 w 82"/>
                  <a:gd name="T97" fmla="*/ 49 h 143"/>
                  <a:gd name="T98" fmla="*/ 40 w 82"/>
                  <a:gd name="T99" fmla="*/ 30 h 143"/>
                  <a:gd name="T100" fmla="*/ 47 w 82"/>
                  <a:gd name="T101" fmla="*/ 20 h 143"/>
                  <a:gd name="T102" fmla="*/ 44 w 82"/>
                  <a:gd name="T103" fmla="*/ 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 h="143">
                    <a:moveTo>
                      <a:pt x="73" y="102"/>
                    </a:moveTo>
                    <a:cubicBezTo>
                      <a:pt x="72" y="103"/>
                      <a:pt x="72" y="103"/>
                      <a:pt x="71" y="103"/>
                    </a:cubicBezTo>
                    <a:cubicBezTo>
                      <a:pt x="72" y="103"/>
                      <a:pt x="71" y="109"/>
                      <a:pt x="71" y="109"/>
                    </a:cubicBezTo>
                    <a:cubicBezTo>
                      <a:pt x="70" y="110"/>
                      <a:pt x="68" y="108"/>
                      <a:pt x="68" y="108"/>
                    </a:cubicBezTo>
                    <a:cubicBezTo>
                      <a:pt x="68" y="109"/>
                      <a:pt x="66" y="109"/>
                      <a:pt x="66" y="109"/>
                    </a:cubicBezTo>
                    <a:cubicBezTo>
                      <a:pt x="65" y="111"/>
                      <a:pt x="66" y="112"/>
                      <a:pt x="65" y="113"/>
                    </a:cubicBezTo>
                    <a:cubicBezTo>
                      <a:pt x="64" y="112"/>
                      <a:pt x="62" y="111"/>
                      <a:pt x="61" y="111"/>
                    </a:cubicBezTo>
                    <a:cubicBezTo>
                      <a:pt x="60" y="112"/>
                      <a:pt x="61" y="114"/>
                      <a:pt x="60" y="114"/>
                    </a:cubicBezTo>
                    <a:cubicBezTo>
                      <a:pt x="59" y="114"/>
                      <a:pt x="55" y="115"/>
                      <a:pt x="55" y="115"/>
                    </a:cubicBezTo>
                    <a:cubicBezTo>
                      <a:pt x="54" y="115"/>
                      <a:pt x="55" y="113"/>
                      <a:pt x="55" y="113"/>
                    </a:cubicBezTo>
                    <a:cubicBezTo>
                      <a:pt x="55" y="113"/>
                      <a:pt x="55" y="112"/>
                      <a:pt x="55" y="111"/>
                    </a:cubicBezTo>
                    <a:cubicBezTo>
                      <a:pt x="55" y="111"/>
                      <a:pt x="54" y="111"/>
                      <a:pt x="54" y="111"/>
                    </a:cubicBezTo>
                    <a:cubicBezTo>
                      <a:pt x="54" y="111"/>
                      <a:pt x="54" y="111"/>
                      <a:pt x="54" y="111"/>
                    </a:cubicBezTo>
                    <a:cubicBezTo>
                      <a:pt x="51" y="111"/>
                      <a:pt x="51" y="111"/>
                      <a:pt x="51" y="111"/>
                    </a:cubicBezTo>
                    <a:cubicBezTo>
                      <a:pt x="50" y="112"/>
                      <a:pt x="49" y="112"/>
                      <a:pt x="49" y="113"/>
                    </a:cubicBezTo>
                    <a:cubicBezTo>
                      <a:pt x="48" y="113"/>
                      <a:pt x="49" y="115"/>
                      <a:pt x="49" y="115"/>
                    </a:cubicBezTo>
                    <a:cubicBezTo>
                      <a:pt x="47" y="116"/>
                      <a:pt x="44" y="117"/>
                      <a:pt x="42" y="117"/>
                    </a:cubicBezTo>
                    <a:cubicBezTo>
                      <a:pt x="42" y="119"/>
                      <a:pt x="43" y="121"/>
                      <a:pt x="42" y="123"/>
                    </a:cubicBezTo>
                    <a:cubicBezTo>
                      <a:pt x="42" y="124"/>
                      <a:pt x="40" y="125"/>
                      <a:pt x="40" y="125"/>
                    </a:cubicBezTo>
                    <a:cubicBezTo>
                      <a:pt x="40" y="127"/>
                      <a:pt x="41" y="126"/>
                      <a:pt x="41" y="127"/>
                    </a:cubicBezTo>
                    <a:cubicBezTo>
                      <a:pt x="41" y="127"/>
                      <a:pt x="43" y="127"/>
                      <a:pt x="43" y="127"/>
                    </a:cubicBezTo>
                    <a:cubicBezTo>
                      <a:pt x="44" y="126"/>
                      <a:pt x="43" y="126"/>
                      <a:pt x="44" y="125"/>
                    </a:cubicBezTo>
                    <a:cubicBezTo>
                      <a:pt x="45" y="124"/>
                      <a:pt x="46" y="123"/>
                      <a:pt x="47" y="121"/>
                    </a:cubicBezTo>
                    <a:cubicBezTo>
                      <a:pt x="48" y="122"/>
                      <a:pt x="47" y="122"/>
                      <a:pt x="48" y="124"/>
                    </a:cubicBezTo>
                    <a:cubicBezTo>
                      <a:pt x="51" y="124"/>
                      <a:pt x="53" y="124"/>
                      <a:pt x="55" y="124"/>
                    </a:cubicBezTo>
                    <a:cubicBezTo>
                      <a:pt x="55" y="124"/>
                      <a:pt x="55" y="122"/>
                      <a:pt x="57" y="123"/>
                    </a:cubicBezTo>
                    <a:cubicBezTo>
                      <a:pt x="57" y="123"/>
                      <a:pt x="59" y="125"/>
                      <a:pt x="59" y="125"/>
                    </a:cubicBezTo>
                    <a:cubicBezTo>
                      <a:pt x="60" y="124"/>
                      <a:pt x="60" y="126"/>
                      <a:pt x="60" y="127"/>
                    </a:cubicBezTo>
                    <a:cubicBezTo>
                      <a:pt x="59" y="127"/>
                      <a:pt x="59" y="127"/>
                      <a:pt x="59" y="127"/>
                    </a:cubicBezTo>
                    <a:cubicBezTo>
                      <a:pt x="58" y="129"/>
                      <a:pt x="56" y="133"/>
                      <a:pt x="58" y="136"/>
                    </a:cubicBezTo>
                    <a:cubicBezTo>
                      <a:pt x="58" y="137"/>
                      <a:pt x="61" y="137"/>
                      <a:pt x="61" y="137"/>
                    </a:cubicBezTo>
                    <a:cubicBezTo>
                      <a:pt x="65" y="140"/>
                      <a:pt x="63" y="140"/>
                      <a:pt x="69" y="139"/>
                    </a:cubicBezTo>
                    <a:cubicBezTo>
                      <a:pt x="68" y="140"/>
                      <a:pt x="69" y="143"/>
                      <a:pt x="69" y="143"/>
                    </a:cubicBezTo>
                    <a:cubicBezTo>
                      <a:pt x="70" y="143"/>
                      <a:pt x="72" y="143"/>
                      <a:pt x="72" y="142"/>
                    </a:cubicBezTo>
                    <a:cubicBezTo>
                      <a:pt x="74" y="139"/>
                      <a:pt x="73" y="135"/>
                      <a:pt x="71" y="132"/>
                    </a:cubicBezTo>
                    <a:cubicBezTo>
                      <a:pt x="71" y="132"/>
                      <a:pt x="74" y="131"/>
                      <a:pt x="75" y="135"/>
                    </a:cubicBezTo>
                    <a:cubicBezTo>
                      <a:pt x="76" y="135"/>
                      <a:pt x="76" y="135"/>
                      <a:pt x="76" y="135"/>
                    </a:cubicBezTo>
                    <a:cubicBezTo>
                      <a:pt x="75" y="131"/>
                      <a:pt x="75" y="130"/>
                      <a:pt x="74" y="127"/>
                    </a:cubicBezTo>
                    <a:cubicBezTo>
                      <a:pt x="75" y="126"/>
                      <a:pt x="77" y="125"/>
                      <a:pt x="77" y="124"/>
                    </a:cubicBezTo>
                    <a:cubicBezTo>
                      <a:pt x="78" y="123"/>
                      <a:pt x="78" y="120"/>
                      <a:pt x="79" y="120"/>
                    </a:cubicBezTo>
                    <a:cubicBezTo>
                      <a:pt x="81" y="120"/>
                      <a:pt x="81" y="120"/>
                      <a:pt x="81" y="120"/>
                    </a:cubicBezTo>
                    <a:cubicBezTo>
                      <a:pt x="82" y="117"/>
                      <a:pt x="80" y="115"/>
                      <a:pt x="79" y="113"/>
                    </a:cubicBezTo>
                    <a:cubicBezTo>
                      <a:pt x="78" y="110"/>
                      <a:pt x="77" y="107"/>
                      <a:pt x="77" y="103"/>
                    </a:cubicBezTo>
                    <a:cubicBezTo>
                      <a:pt x="75" y="103"/>
                      <a:pt x="74" y="103"/>
                      <a:pt x="73" y="102"/>
                    </a:cubicBezTo>
                    <a:close/>
                    <a:moveTo>
                      <a:pt x="61" y="93"/>
                    </a:moveTo>
                    <a:cubicBezTo>
                      <a:pt x="61" y="94"/>
                      <a:pt x="60" y="95"/>
                      <a:pt x="59" y="95"/>
                    </a:cubicBezTo>
                    <a:cubicBezTo>
                      <a:pt x="59" y="95"/>
                      <a:pt x="59" y="97"/>
                      <a:pt x="59" y="97"/>
                    </a:cubicBezTo>
                    <a:cubicBezTo>
                      <a:pt x="62" y="98"/>
                      <a:pt x="63" y="98"/>
                      <a:pt x="65" y="98"/>
                    </a:cubicBezTo>
                    <a:cubicBezTo>
                      <a:pt x="66" y="96"/>
                      <a:pt x="66" y="96"/>
                      <a:pt x="66" y="96"/>
                    </a:cubicBezTo>
                    <a:cubicBezTo>
                      <a:pt x="65" y="96"/>
                      <a:pt x="65" y="94"/>
                      <a:pt x="64" y="93"/>
                    </a:cubicBezTo>
                    <a:cubicBezTo>
                      <a:pt x="63" y="93"/>
                      <a:pt x="62" y="94"/>
                      <a:pt x="61" y="93"/>
                    </a:cubicBezTo>
                    <a:close/>
                    <a:moveTo>
                      <a:pt x="47" y="89"/>
                    </a:moveTo>
                    <a:cubicBezTo>
                      <a:pt x="47" y="89"/>
                      <a:pt x="46" y="90"/>
                      <a:pt x="48" y="90"/>
                    </a:cubicBezTo>
                    <a:cubicBezTo>
                      <a:pt x="48" y="89"/>
                      <a:pt x="49" y="89"/>
                      <a:pt x="47" y="89"/>
                    </a:cubicBezTo>
                    <a:close/>
                    <a:moveTo>
                      <a:pt x="51" y="86"/>
                    </a:moveTo>
                    <a:cubicBezTo>
                      <a:pt x="51" y="87"/>
                      <a:pt x="50" y="89"/>
                      <a:pt x="50" y="92"/>
                    </a:cubicBezTo>
                    <a:cubicBezTo>
                      <a:pt x="46" y="94"/>
                      <a:pt x="41" y="94"/>
                      <a:pt x="45" y="99"/>
                    </a:cubicBezTo>
                    <a:cubicBezTo>
                      <a:pt x="46" y="101"/>
                      <a:pt x="47" y="100"/>
                      <a:pt x="49" y="101"/>
                    </a:cubicBezTo>
                    <a:cubicBezTo>
                      <a:pt x="50" y="102"/>
                      <a:pt x="51" y="103"/>
                      <a:pt x="52" y="103"/>
                    </a:cubicBezTo>
                    <a:cubicBezTo>
                      <a:pt x="52" y="103"/>
                      <a:pt x="52" y="96"/>
                      <a:pt x="52" y="94"/>
                    </a:cubicBezTo>
                    <a:cubicBezTo>
                      <a:pt x="52" y="94"/>
                      <a:pt x="55" y="90"/>
                      <a:pt x="55" y="89"/>
                    </a:cubicBezTo>
                    <a:cubicBezTo>
                      <a:pt x="56" y="89"/>
                      <a:pt x="55" y="88"/>
                      <a:pt x="55" y="88"/>
                    </a:cubicBezTo>
                    <a:cubicBezTo>
                      <a:pt x="54" y="87"/>
                      <a:pt x="54" y="86"/>
                      <a:pt x="54" y="86"/>
                    </a:cubicBezTo>
                    <a:cubicBezTo>
                      <a:pt x="53" y="86"/>
                      <a:pt x="52" y="86"/>
                      <a:pt x="51" y="86"/>
                    </a:cubicBezTo>
                    <a:close/>
                    <a:moveTo>
                      <a:pt x="59" y="84"/>
                    </a:moveTo>
                    <a:cubicBezTo>
                      <a:pt x="58" y="85"/>
                      <a:pt x="59" y="86"/>
                      <a:pt x="59" y="87"/>
                    </a:cubicBezTo>
                    <a:cubicBezTo>
                      <a:pt x="58" y="89"/>
                      <a:pt x="50" y="96"/>
                      <a:pt x="55" y="99"/>
                    </a:cubicBezTo>
                    <a:cubicBezTo>
                      <a:pt x="55" y="98"/>
                      <a:pt x="56" y="97"/>
                      <a:pt x="56" y="97"/>
                    </a:cubicBezTo>
                    <a:cubicBezTo>
                      <a:pt x="57" y="96"/>
                      <a:pt x="56" y="95"/>
                      <a:pt x="57" y="93"/>
                    </a:cubicBezTo>
                    <a:cubicBezTo>
                      <a:pt x="57" y="93"/>
                      <a:pt x="59" y="92"/>
                      <a:pt x="59" y="92"/>
                    </a:cubicBezTo>
                    <a:cubicBezTo>
                      <a:pt x="61" y="91"/>
                      <a:pt x="60" y="88"/>
                      <a:pt x="60" y="84"/>
                    </a:cubicBezTo>
                    <a:lnTo>
                      <a:pt x="59" y="84"/>
                    </a:lnTo>
                    <a:close/>
                    <a:moveTo>
                      <a:pt x="19" y="82"/>
                    </a:moveTo>
                    <a:cubicBezTo>
                      <a:pt x="19" y="82"/>
                      <a:pt x="19" y="85"/>
                      <a:pt x="19" y="86"/>
                    </a:cubicBezTo>
                    <a:cubicBezTo>
                      <a:pt x="19" y="86"/>
                      <a:pt x="15" y="89"/>
                      <a:pt x="15" y="89"/>
                    </a:cubicBezTo>
                    <a:cubicBezTo>
                      <a:pt x="14" y="91"/>
                      <a:pt x="16" y="91"/>
                      <a:pt x="15" y="92"/>
                    </a:cubicBezTo>
                    <a:cubicBezTo>
                      <a:pt x="15" y="93"/>
                      <a:pt x="13" y="94"/>
                      <a:pt x="13" y="94"/>
                    </a:cubicBezTo>
                    <a:cubicBezTo>
                      <a:pt x="12" y="96"/>
                      <a:pt x="12" y="98"/>
                      <a:pt x="11" y="99"/>
                    </a:cubicBezTo>
                    <a:cubicBezTo>
                      <a:pt x="10" y="100"/>
                      <a:pt x="8" y="101"/>
                      <a:pt x="8" y="101"/>
                    </a:cubicBezTo>
                    <a:cubicBezTo>
                      <a:pt x="8" y="102"/>
                      <a:pt x="8" y="103"/>
                      <a:pt x="8" y="103"/>
                    </a:cubicBezTo>
                    <a:cubicBezTo>
                      <a:pt x="7" y="104"/>
                      <a:pt x="6" y="104"/>
                      <a:pt x="5" y="104"/>
                    </a:cubicBezTo>
                    <a:cubicBezTo>
                      <a:pt x="4" y="104"/>
                      <a:pt x="5" y="106"/>
                      <a:pt x="4" y="106"/>
                    </a:cubicBezTo>
                    <a:cubicBezTo>
                      <a:pt x="4" y="106"/>
                      <a:pt x="3" y="106"/>
                      <a:pt x="2" y="106"/>
                    </a:cubicBezTo>
                    <a:cubicBezTo>
                      <a:pt x="1" y="108"/>
                      <a:pt x="1" y="110"/>
                      <a:pt x="0" y="113"/>
                    </a:cubicBezTo>
                    <a:cubicBezTo>
                      <a:pt x="2" y="110"/>
                      <a:pt x="9" y="107"/>
                      <a:pt x="11" y="105"/>
                    </a:cubicBezTo>
                    <a:cubicBezTo>
                      <a:pt x="12" y="104"/>
                      <a:pt x="11" y="103"/>
                      <a:pt x="11" y="103"/>
                    </a:cubicBezTo>
                    <a:cubicBezTo>
                      <a:pt x="12" y="102"/>
                      <a:pt x="14" y="100"/>
                      <a:pt x="14" y="99"/>
                    </a:cubicBezTo>
                    <a:cubicBezTo>
                      <a:pt x="15" y="99"/>
                      <a:pt x="15" y="99"/>
                      <a:pt x="15" y="99"/>
                    </a:cubicBezTo>
                    <a:cubicBezTo>
                      <a:pt x="15" y="98"/>
                      <a:pt x="14" y="97"/>
                      <a:pt x="15" y="97"/>
                    </a:cubicBezTo>
                    <a:cubicBezTo>
                      <a:pt x="16" y="96"/>
                      <a:pt x="18" y="96"/>
                      <a:pt x="19" y="95"/>
                    </a:cubicBezTo>
                    <a:cubicBezTo>
                      <a:pt x="19" y="94"/>
                      <a:pt x="19" y="93"/>
                      <a:pt x="19" y="92"/>
                    </a:cubicBezTo>
                    <a:cubicBezTo>
                      <a:pt x="20" y="92"/>
                      <a:pt x="21" y="92"/>
                      <a:pt x="21" y="91"/>
                    </a:cubicBezTo>
                    <a:cubicBezTo>
                      <a:pt x="22" y="91"/>
                      <a:pt x="22" y="84"/>
                      <a:pt x="21" y="84"/>
                    </a:cubicBezTo>
                    <a:cubicBezTo>
                      <a:pt x="21" y="84"/>
                      <a:pt x="21" y="82"/>
                      <a:pt x="21" y="82"/>
                    </a:cubicBezTo>
                    <a:lnTo>
                      <a:pt x="19" y="82"/>
                    </a:lnTo>
                    <a:close/>
                    <a:moveTo>
                      <a:pt x="65" y="81"/>
                    </a:moveTo>
                    <a:cubicBezTo>
                      <a:pt x="65" y="81"/>
                      <a:pt x="64" y="83"/>
                      <a:pt x="65" y="84"/>
                    </a:cubicBezTo>
                    <a:cubicBezTo>
                      <a:pt x="65" y="84"/>
                      <a:pt x="67" y="84"/>
                      <a:pt x="67" y="84"/>
                    </a:cubicBezTo>
                    <a:cubicBezTo>
                      <a:pt x="67" y="85"/>
                      <a:pt x="67" y="85"/>
                      <a:pt x="67" y="85"/>
                    </a:cubicBezTo>
                    <a:cubicBezTo>
                      <a:pt x="68" y="84"/>
                      <a:pt x="68" y="86"/>
                      <a:pt x="68" y="86"/>
                    </a:cubicBezTo>
                    <a:cubicBezTo>
                      <a:pt x="66" y="86"/>
                      <a:pt x="67" y="88"/>
                      <a:pt x="67" y="89"/>
                    </a:cubicBezTo>
                    <a:cubicBezTo>
                      <a:pt x="67" y="90"/>
                      <a:pt x="67" y="90"/>
                      <a:pt x="67" y="90"/>
                    </a:cubicBezTo>
                    <a:cubicBezTo>
                      <a:pt x="68" y="90"/>
                      <a:pt x="69" y="91"/>
                      <a:pt x="69" y="91"/>
                    </a:cubicBezTo>
                    <a:cubicBezTo>
                      <a:pt x="70" y="92"/>
                      <a:pt x="69" y="93"/>
                      <a:pt x="70" y="93"/>
                    </a:cubicBezTo>
                    <a:cubicBezTo>
                      <a:pt x="70" y="94"/>
                      <a:pt x="72" y="94"/>
                      <a:pt x="73" y="94"/>
                    </a:cubicBezTo>
                    <a:cubicBezTo>
                      <a:pt x="72" y="93"/>
                      <a:pt x="71" y="93"/>
                      <a:pt x="71" y="92"/>
                    </a:cubicBezTo>
                    <a:cubicBezTo>
                      <a:pt x="71" y="90"/>
                      <a:pt x="72" y="91"/>
                      <a:pt x="72" y="89"/>
                    </a:cubicBezTo>
                    <a:cubicBezTo>
                      <a:pt x="72" y="88"/>
                      <a:pt x="70" y="87"/>
                      <a:pt x="70" y="86"/>
                    </a:cubicBezTo>
                    <a:cubicBezTo>
                      <a:pt x="70" y="85"/>
                      <a:pt x="71" y="84"/>
                      <a:pt x="71" y="84"/>
                    </a:cubicBezTo>
                    <a:cubicBezTo>
                      <a:pt x="71" y="83"/>
                      <a:pt x="71" y="82"/>
                      <a:pt x="70" y="82"/>
                    </a:cubicBezTo>
                    <a:cubicBezTo>
                      <a:pt x="68" y="81"/>
                      <a:pt x="67" y="81"/>
                      <a:pt x="65" y="81"/>
                    </a:cubicBezTo>
                    <a:close/>
                    <a:moveTo>
                      <a:pt x="42" y="78"/>
                    </a:moveTo>
                    <a:cubicBezTo>
                      <a:pt x="41" y="83"/>
                      <a:pt x="41" y="86"/>
                      <a:pt x="40" y="91"/>
                    </a:cubicBezTo>
                    <a:cubicBezTo>
                      <a:pt x="42" y="90"/>
                      <a:pt x="45" y="88"/>
                      <a:pt x="46" y="88"/>
                    </a:cubicBezTo>
                    <a:cubicBezTo>
                      <a:pt x="46" y="87"/>
                      <a:pt x="48" y="88"/>
                      <a:pt x="48" y="88"/>
                    </a:cubicBezTo>
                    <a:cubicBezTo>
                      <a:pt x="49" y="87"/>
                      <a:pt x="48" y="85"/>
                      <a:pt x="49" y="85"/>
                    </a:cubicBezTo>
                    <a:cubicBezTo>
                      <a:pt x="49" y="85"/>
                      <a:pt x="50" y="84"/>
                      <a:pt x="50" y="84"/>
                    </a:cubicBezTo>
                    <a:cubicBezTo>
                      <a:pt x="50" y="83"/>
                      <a:pt x="50" y="81"/>
                      <a:pt x="50" y="80"/>
                    </a:cubicBezTo>
                    <a:cubicBezTo>
                      <a:pt x="47" y="79"/>
                      <a:pt x="45" y="79"/>
                      <a:pt x="42" y="78"/>
                    </a:cubicBezTo>
                    <a:close/>
                    <a:moveTo>
                      <a:pt x="53" y="72"/>
                    </a:moveTo>
                    <a:cubicBezTo>
                      <a:pt x="53" y="73"/>
                      <a:pt x="53" y="73"/>
                      <a:pt x="53" y="73"/>
                    </a:cubicBezTo>
                    <a:cubicBezTo>
                      <a:pt x="52" y="72"/>
                      <a:pt x="52" y="75"/>
                      <a:pt x="52" y="76"/>
                    </a:cubicBezTo>
                    <a:cubicBezTo>
                      <a:pt x="54" y="76"/>
                      <a:pt x="57" y="77"/>
                      <a:pt x="58" y="77"/>
                    </a:cubicBezTo>
                    <a:cubicBezTo>
                      <a:pt x="65" y="77"/>
                      <a:pt x="53" y="72"/>
                      <a:pt x="53" y="72"/>
                    </a:cubicBezTo>
                    <a:close/>
                    <a:moveTo>
                      <a:pt x="23" y="72"/>
                    </a:moveTo>
                    <a:cubicBezTo>
                      <a:pt x="23" y="74"/>
                      <a:pt x="23" y="74"/>
                      <a:pt x="23" y="74"/>
                    </a:cubicBezTo>
                    <a:cubicBezTo>
                      <a:pt x="23" y="74"/>
                      <a:pt x="28" y="75"/>
                      <a:pt x="25" y="74"/>
                    </a:cubicBezTo>
                    <a:cubicBezTo>
                      <a:pt x="25" y="73"/>
                      <a:pt x="24" y="72"/>
                      <a:pt x="23" y="72"/>
                    </a:cubicBezTo>
                    <a:close/>
                    <a:moveTo>
                      <a:pt x="41" y="68"/>
                    </a:moveTo>
                    <a:cubicBezTo>
                      <a:pt x="41" y="68"/>
                      <a:pt x="42" y="71"/>
                      <a:pt x="42" y="71"/>
                    </a:cubicBezTo>
                    <a:cubicBezTo>
                      <a:pt x="44" y="72"/>
                      <a:pt x="43" y="70"/>
                      <a:pt x="43" y="69"/>
                    </a:cubicBezTo>
                    <a:cubicBezTo>
                      <a:pt x="42" y="69"/>
                      <a:pt x="42" y="69"/>
                      <a:pt x="41" y="68"/>
                    </a:cubicBezTo>
                    <a:close/>
                    <a:moveTo>
                      <a:pt x="65" y="66"/>
                    </a:moveTo>
                    <a:cubicBezTo>
                      <a:pt x="65" y="67"/>
                      <a:pt x="63" y="68"/>
                      <a:pt x="63" y="69"/>
                    </a:cubicBezTo>
                    <a:cubicBezTo>
                      <a:pt x="63" y="70"/>
                      <a:pt x="62" y="70"/>
                      <a:pt x="63" y="71"/>
                    </a:cubicBezTo>
                    <a:cubicBezTo>
                      <a:pt x="63" y="72"/>
                      <a:pt x="67" y="75"/>
                      <a:pt x="67" y="76"/>
                    </a:cubicBezTo>
                    <a:cubicBezTo>
                      <a:pt x="68" y="78"/>
                      <a:pt x="67" y="79"/>
                      <a:pt x="68" y="80"/>
                    </a:cubicBezTo>
                    <a:cubicBezTo>
                      <a:pt x="69" y="80"/>
                      <a:pt x="72" y="81"/>
                      <a:pt x="72" y="81"/>
                    </a:cubicBezTo>
                    <a:cubicBezTo>
                      <a:pt x="73" y="81"/>
                      <a:pt x="73" y="81"/>
                      <a:pt x="73" y="81"/>
                    </a:cubicBezTo>
                    <a:cubicBezTo>
                      <a:pt x="73" y="81"/>
                      <a:pt x="74" y="82"/>
                      <a:pt x="75" y="83"/>
                    </a:cubicBezTo>
                    <a:cubicBezTo>
                      <a:pt x="74" y="81"/>
                      <a:pt x="72" y="79"/>
                      <a:pt x="71" y="78"/>
                    </a:cubicBezTo>
                    <a:cubicBezTo>
                      <a:pt x="71" y="77"/>
                      <a:pt x="70" y="76"/>
                      <a:pt x="70" y="76"/>
                    </a:cubicBezTo>
                    <a:cubicBezTo>
                      <a:pt x="70" y="75"/>
                      <a:pt x="72" y="70"/>
                      <a:pt x="71" y="69"/>
                    </a:cubicBezTo>
                    <a:cubicBezTo>
                      <a:pt x="70" y="69"/>
                      <a:pt x="70" y="69"/>
                      <a:pt x="70" y="69"/>
                    </a:cubicBezTo>
                    <a:cubicBezTo>
                      <a:pt x="70" y="67"/>
                      <a:pt x="70" y="67"/>
                      <a:pt x="69" y="66"/>
                    </a:cubicBezTo>
                    <a:cubicBezTo>
                      <a:pt x="68" y="66"/>
                      <a:pt x="66" y="67"/>
                      <a:pt x="65" y="66"/>
                    </a:cubicBezTo>
                    <a:close/>
                    <a:moveTo>
                      <a:pt x="29" y="57"/>
                    </a:moveTo>
                    <a:cubicBezTo>
                      <a:pt x="29" y="57"/>
                      <a:pt x="28" y="58"/>
                      <a:pt x="28" y="58"/>
                    </a:cubicBezTo>
                    <a:cubicBezTo>
                      <a:pt x="24" y="58"/>
                      <a:pt x="30" y="59"/>
                      <a:pt x="30" y="60"/>
                    </a:cubicBezTo>
                    <a:cubicBezTo>
                      <a:pt x="31" y="61"/>
                      <a:pt x="31" y="65"/>
                      <a:pt x="33" y="66"/>
                    </a:cubicBezTo>
                    <a:cubicBezTo>
                      <a:pt x="34" y="66"/>
                      <a:pt x="35" y="66"/>
                      <a:pt x="36" y="66"/>
                    </a:cubicBezTo>
                    <a:cubicBezTo>
                      <a:pt x="36" y="69"/>
                      <a:pt x="34" y="69"/>
                      <a:pt x="37" y="71"/>
                    </a:cubicBezTo>
                    <a:cubicBezTo>
                      <a:pt x="41" y="68"/>
                      <a:pt x="36" y="56"/>
                      <a:pt x="29" y="57"/>
                    </a:cubicBezTo>
                    <a:close/>
                    <a:moveTo>
                      <a:pt x="61" y="53"/>
                    </a:moveTo>
                    <a:cubicBezTo>
                      <a:pt x="61" y="53"/>
                      <a:pt x="61" y="55"/>
                      <a:pt x="61" y="56"/>
                    </a:cubicBezTo>
                    <a:cubicBezTo>
                      <a:pt x="64" y="57"/>
                      <a:pt x="63" y="53"/>
                      <a:pt x="61" y="53"/>
                    </a:cubicBezTo>
                    <a:close/>
                    <a:moveTo>
                      <a:pt x="32" y="0"/>
                    </a:moveTo>
                    <a:cubicBezTo>
                      <a:pt x="32" y="1"/>
                      <a:pt x="30" y="5"/>
                      <a:pt x="30" y="5"/>
                    </a:cubicBezTo>
                    <a:cubicBezTo>
                      <a:pt x="30" y="5"/>
                      <a:pt x="31" y="7"/>
                      <a:pt x="31" y="8"/>
                    </a:cubicBezTo>
                    <a:cubicBezTo>
                      <a:pt x="31" y="9"/>
                      <a:pt x="28" y="12"/>
                      <a:pt x="28" y="13"/>
                    </a:cubicBezTo>
                    <a:cubicBezTo>
                      <a:pt x="28" y="17"/>
                      <a:pt x="30" y="18"/>
                      <a:pt x="29" y="22"/>
                    </a:cubicBezTo>
                    <a:cubicBezTo>
                      <a:pt x="29" y="22"/>
                      <a:pt x="28" y="22"/>
                      <a:pt x="28" y="22"/>
                    </a:cubicBezTo>
                    <a:cubicBezTo>
                      <a:pt x="27" y="24"/>
                      <a:pt x="27" y="26"/>
                      <a:pt x="28" y="29"/>
                    </a:cubicBezTo>
                    <a:cubicBezTo>
                      <a:pt x="27" y="29"/>
                      <a:pt x="27" y="30"/>
                      <a:pt x="25" y="30"/>
                    </a:cubicBezTo>
                    <a:cubicBezTo>
                      <a:pt x="25" y="30"/>
                      <a:pt x="24" y="28"/>
                      <a:pt x="23" y="28"/>
                    </a:cubicBezTo>
                    <a:cubicBezTo>
                      <a:pt x="22" y="27"/>
                      <a:pt x="24" y="29"/>
                      <a:pt x="22" y="28"/>
                    </a:cubicBezTo>
                    <a:cubicBezTo>
                      <a:pt x="23" y="30"/>
                      <a:pt x="22" y="31"/>
                      <a:pt x="23" y="32"/>
                    </a:cubicBezTo>
                    <a:cubicBezTo>
                      <a:pt x="23" y="33"/>
                      <a:pt x="25" y="34"/>
                      <a:pt x="25" y="34"/>
                    </a:cubicBezTo>
                    <a:cubicBezTo>
                      <a:pt x="25" y="36"/>
                      <a:pt x="24" y="38"/>
                      <a:pt x="25" y="40"/>
                    </a:cubicBezTo>
                    <a:cubicBezTo>
                      <a:pt x="25" y="40"/>
                      <a:pt x="28" y="44"/>
                      <a:pt x="29" y="45"/>
                    </a:cubicBezTo>
                    <a:cubicBezTo>
                      <a:pt x="30" y="44"/>
                      <a:pt x="29" y="44"/>
                      <a:pt x="30" y="42"/>
                    </a:cubicBezTo>
                    <a:cubicBezTo>
                      <a:pt x="31" y="42"/>
                      <a:pt x="32" y="43"/>
                      <a:pt x="32" y="42"/>
                    </a:cubicBezTo>
                    <a:cubicBezTo>
                      <a:pt x="30" y="52"/>
                      <a:pt x="31" y="50"/>
                      <a:pt x="35" y="57"/>
                    </a:cubicBezTo>
                    <a:cubicBezTo>
                      <a:pt x="35" y="57"/>
                      <a:pt x="37" y="57"/>
                      <a:pt x="37" y="56"/>
                    </a:cubicBezTo>
                    <a:cubicBezTo>
                      <a:pt x="39" y="55"/>
                      <a:pt x="38" y="53"/>
                      <a:pt x="42" y="54"/>
                    </a:cubicBezTo>
                    <a:cubicBezTo>
                      <a:pt x="43" y="55"/>
                      <a:pt x="43" y="55"/>
                      <a:pt x="43" y="55"/>
                    </a:cubicBezTo>
                    <a:cubicBezTo>
                      <a:pt x="44" y="55"/>
                      <a:pt x="45" y="55"/>
                      <a:pt x="45" y="55"/>
                    </a:cubicBezTo>
                    <a:cubicBezTo>
                      <a:pt x="46" y="56"/>
                      <a:pt x="46" y="58"/>
                      <a:pt x="47" y="59"/>
                    </a:cubicBezTo>
                    <a:cubicBezTo>
                      <a:pt x="53" y="58"/>
                      <a:pt x="43" y="55"/>
                      <a:pt x="49" y="54"/>
                    </a:cubicBezTo>
                    <a:cubicBezTo>
                      <a:pt x="50" y="55"/>
                      <a:pt x="49" y="55"/>
                      <a:pt x="50" y="56"/>
                    </a:cubicBezTo>
                    <a:cubicBezTo>
                      <a:pt x="51" y="57"/>
                      <a:pt x="51" y="57"/>
                      <a:pt x="52" y="58"/>
                    </a:cubicBezTo>
                    <a:cubicBezTo>
                      <a:pt x="53" y="59"/>
                      <a:pt x="53" y="61"/>
                      <a:pt x="54" y="62"/>
                    </a:cubicBezTo>
                    <a:cubicBezTo>
                      <a:pt x="54" y="63"/>
                      <a:pt x="56" y="62"/>
                      <a:pt x="56" y="62"/>
                    </a:cubicBezTo>
                    <a:cubicBezTo>
                      <a:pt x="57" y="63"/>
                      <a:pt x="57" y="65"/>
                      <a:pt x="58" y="66"/>
                    </a:cubicBezTo>
                    <a:cubicBezTo>
                      <a:pt x="59" y="66"/>
                      <a:pt x="59" y="66"/>
                      <a:pt x="59" y="66"/>
                    </a:cubicBezTo>
                    <a:cubicBezTo>
                      <a:pt x="61" y="57"/>
                      <a:pt x="58" y="61"/>
                      <a:pt x="57" y="56"/>
                    </a:cubicBezTo>
                    <a:cubicBezTo>
                      <a:pt x="56" y="54"/>
                      <a:pt x="58" y="54"/>
                      <a:pt x="57" y="52"/>
                    </a:cubicBezTo>
                    <a:cubicBezTo>
                      <a:pt x="57" y="51"/>
                      <a:pt x="56" y="50"/>
                      <a:pt x="55" y="50"/>
                    </a:cubicBezTo>
                    <a:cubicBezTo>
                      <a:pt x="55" y="50"/>
                      <a:pt x="53" y="52"/>
                      <a:pt x="53" y="52"/>
                    </a:cubicBezTo>
                    <a:cubicBezTo>
                      <a:pt x="51" y="50"/>
                      <a:pt x="51" y="50"/>
                      <a:pt x="51" y="50"/>
                    </a:cubicBezTo>
                    <a:cubicBezTo>
                      <a:pt x="51" y="50"/>
                      <a:pt x="51" y="49"/>
                      <a:pt x="51" y="48"/>
                    </a:cubicBezTo>
                    <a:cubicBezTo>
                      <a:pt x="50" y="48"/>
                      <a:pt x="51" y="47"/>
                      <a:pt x="49" y="47"/>
                    </a:cubicBezTo>
                    <a:cubicBezTo>
                      <a:pt x="49" y="47"/>
                      <a:pt x="49" y="48"/>
                      <a:pt x="49" y="48"/>
                    </a:cubicBezTo>
                    <a:cubicBezTo>
                      <a:pt x="47" y="49"/>
                      <a:pt x="46" y="48"/>
                      <a:pt x="45" y="48"/>
                    </a:cubicBezTo>
                    <a:cubicBezTo>
                      <a:pt x="44" y="48"/>
                      <a:pt x="42" y="50"/>
                      <a:pt x="41" y="50"/>
                    </a:cubicBezTo>
                    <a:cubicBezTo>
                      <a:pt x="41" y="50"/>
                      <a:pt x="40" y="49"/>
                      <a:pt x="39" y="49"/>
                    </a:cubicBezTo>
                    <a:cubicBezTo>
                      <a:pt x="39" y="48"/>
                      <a:pt x="39" y="45"/>
                      <a:pt x="38" y="44"/>
                    </a:cubicBezTo>
                    <a:cubicBezTo>
                      <a:pt x="37" y="43"/>
                      <a:pt x="37" y="43"/>
                      <a:pt x="37" y="43"/>
                    </a:cubicBezTo>
                    <a:cubicBezTo>
                      <a:pt x="37" y="42"/>
                      <a:pt x="37" y="37"/>
                      <a:pt x="37" y="37"/>
                    </a:cubicBezTo>
                    <a:cubicBezTo>
                      <a:pt x="38" y="33"/>
                      <a:pt x="37" y="31"/>
                      <a:pt x="40" y="30"/>
                    </a:cubicBezTo>
                    <a:cubicBezTo>
                      <a:pt x="41" y="30"/>
                      <a:pt x="41" y="30"/>
                      <a:pt x="41" y="30"/>
                    </a:cubicBezTo>
                    <a:cubicBezTo>
                      <a:pt x="43" y="28"/>
                      <a:pt x="43" y="24"/>
                      <a:pt x="43" y="22"/>
                    </a:cubicBezTo>
                    <a:cubicBezTo>
                      <a:pt x="44" y="23"/>
                      <a:pt x="45" y="23"/>
                      <a:pt x="45" y="23"/>
                    </a:cubicBezTo>
                    <a:cubicBezTo>
                      <a:pt x="46" y="23"/>
                      <a:pt x="46" y="21"/>
                      <a:pt x="47" y="20"/>
                    </a:cubicBezTo>
                    <a:cubicBezTo>
                      <a:pt x="46" y="18"/>
                      <a:pt x="46" y="16"/>
                      <a:pt x="45" y="14"/>
                    </a:cubicBezTo>
                    <a:cubicBezTo>
                      <a:pt x="45" y="14"/>
                      <a:pt x="43" y="13"/>
                      <a:pt x="43" y="12"/>
                    </a:cubicBezTo>
                    <a:cubicBezTo>
                      <a:pt x="42" y="9"/>
                      <a:pt x="43" y="5"/>
                      <a:pt x="45" y="3"/>
                    </a:cubicBezTo>
                    <a:cubicBezTo>
                      <a:pt x="45" y="3"/>
                      <a:pt x="44" y="2"/>
                      <a:pt x="44" y="1"/>
                    </a:cubicBezTo>
                    <a:cubicBezTo>
                      <a:pt x="42" y="2"/>
                      <a:pt x="38" y="6"/>
                      <a:pt x="35" y="2"/>
                    </a:cubicBezTo>
                    <a:cubicBezTo>
                      <a:pt x="35" y="2"/>
                      <a:pt x="36" y="1"/>
                      <a:pt x="35" y="0"/>
                    </a:cubicBezTo>
                    <a:cubicBezTo>
                      <a:pt x="34" y="0"/>
                      <a:pt x="33" y="1"/>
                      <a:pt x="32"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25" name="Freeform 104">
                <a:extLst>
                  <a:ext uri="{FF2B5EF4-FFF2-40B4-BE49-F238E27FC236}">
                    <a16:creationId xmlns:a16="http://schemas.microsoft.com/office/drawing/2014/main" id="{559FCB9E-8E58-9B8E-6E5B-0764C0987F84}"/>
                  </a:ext>
                </a:extLst>
              </p:cNvPr>
              <p:cNvSpPr>
                <a:spLocks/>
              </p:cNvSpPr>
              <p:nvPr/>
            </p:nvSpPr>
            <p:spPr bwMode="auto">
              <a:xfrm>
                <a:off x="1735" y="2258"/>
                <a:ext cx="210" cy="379"/>
              </a:xfrm>
              <a:custGeom>
                <a:avLst/>
                <a:gdLst>
                  <a:gd name="T0" fmla="*/ 103 w 107"/>
                  <a:gd name="T1" fmla="*/ 163 h 193"/>
                  <a:gd name="T2" fmla="*/ 101 w 107"/>
                  <a:gd name="T3" fmla="*/ 154 h 193"/>
                  <a:gd name="T4" fmla="*/ 104 w 107"/>
                  <a:gd name="T5" fmla="*/ 140 h 193"/>
                  <a:gd name="T6" fmla="*/ 89 w 107"/>
                  <a:gd name="T7" fmla="*/ 126 h 193"/>
                  <a:gd name="T8" fmla="*/ 89 w 107"/>
                  <a:gd name="T9" fmla="*/ 98 h 193"/>
                  <a:gd name="T10" fmla="*/ 75 w 107"/>
                  <a:gd name="T11" fmla="*/ 102 h 193"/>
                  <a:gd name="T12" fmla="*/ 67 w 107"/>
                  <a:gd name="T13" fmla="*/ 93 h 193"/>
                  <a:gd name="T14" fmla="*/ 63 w 107"/>
                  <a:gd name="T15" fmla="*/ 84 h 193"/>
                  <a:gd name="T16" fmla="*/ 60 w 107"/>
                  <a:gd name="T17" fmla="*/ 74 h 193"/>
                  <a:gd name="T18" fmla="*/ 64 w 107"/>
                  <a:gd name="T19" fmla="*/ 69 h 193"/>
                  <a:gd name="T20" fmla="*/ 69 w 107"/>
                  <a:gd name="T21" fmla="*/ 56 h 193"/>
                  <a:gd name="T22" fmla="*/ 84 w 107"/>
                  <a:gd name="T23" fmla="*/ 47 h 193"/>
                  <a:gd name="T24" fmla="*/ 93 w 107"/>
                  <a:gd name="T25" fmla="*/ 43 h 193"/>
                  <a:gd name="T26" fmla="*/ 86 w 107"/>
                  <a:gd name="T27" fmla="*/ 41 h 193"/>
                  <a:gd name="T28" fmla="*/ 91 w 107"/>
                  <a:gd name="T29" fmla="*/ 22 h 193"/>
                  <a:gd name="T30" fmla="*/ 78 w 107"/>
                  <a:gd name="T31" fmla="*/ 19 h 193"/>
                  <a:gd name="T32" fmla="*/ 73 w 107"/>
                  <a:gd name="T33" fmla="*/ 20 h 193"/>
                  <a:gd name="T34" fmla="*/ 69 w 107"/>
                  <a:gd name="T35" fmla="*/ 14 h 193"/>
                  <a:gd name="T36" fmla="*/ 60 w 107"/>
                  <a:gd name="T37" fmla="*/ 10 h 193"/>
                  <a:gd name="T38" fmla="*/ 55 w 107"/>
                  <a:gd name="T39" fmla="*/ 0 h 193"/>
                  <a:gd name="T40" fmla="*/ 46 w 107"/>
                  <a:gd name="T41" fmla="*/ 3 h 193"/>
                  <a:gd name="T42" fmla="*/ 50 w 107"/>
                  <a:gd name="T43" fmla="*/ 10 h 193"/>
                  <a:gd name="T44" fmla="*/ 49 w 107"/>
                  <a:gd name="T45" fmla="*/ 16 h 193"/>
                  <a:gd name="T46" fmla="*/ 31 w 107"/>
                  <a:gd name="T47" fmla="*/ 34 h 193"/>
                  <a:gd name="T48" fmla="*/ 22 w 107"/>
                  <a:gd name="T49" fmla="*/ 49 h 193"/>
                  <a:gd name="T50" fmla="*/ 15 w 107"/>
                  <a:gd name="T51" fmla="*/ 52 h 193"/>
                  <a:gd name="T52" fmla="*/ 9 w 107"/>
                  <a:gd name="T53" fmla="*/ 49 h 193"/>
                  <a:gd name="T54" fmla="*/ 9 w 107"/>
                  <a:gd name="T55" fmla="*/ 43 h 193"/>
                  <a:gd name="T56" fmla="*/ 7 w 107"/>
                  <a:gd name="T57" fmla="*/ 38 h 193"/>
                  <a:gd name="T58" fmla="*/ 0 w 107"/>
                  <a:gd name="T59" fmla="*/ 49 h 193"/>
                  <a:gd name="T60" fmla="*/ 3 w 107"/>
                  <a:gd name="T61" fmla="*/ 52 h 193"/>
                  <a:gd name="T62" fmla="*/ 2 w 107"/>
                  <a:gd name="T63" fmla="*/ 56 h 193"/>
                  <a:gd name="T64" fmla="*/ 3 w 107"/>
                  <a:gd name="T65" fmla="*/ 64 h 193"/>
                  <a:gd name="T66" fmla="*/ 15 w 107"/>
                  <a:gd name="T67" fmla="*/ 74 h 193"/>
                  <a:gd name="T68" fmla="*/ 20 w 107"/>
                  <a:gd name="T69" fmla="*/ 80 h 193"/>
                  <a:gd name="T70" fmla="*/ 26 w 107"/>
                  <a:gd name="T71" fmla="*/ 87 h 193"/>
                  <a:gd name="T72" fmla="*/ 30 w 107"/>
                  <a:gd name="T73" fmla="*/ 94 h 193"/>
                  <a:gd name="T74" fmla="*/ 33 w 107"/>
                  <a:gd name="T75" fmla="*/ 99 h 193"/>
                  <a:gd name="T76" fmla="*/ 35 w 107"/>
                  <a:gd name="T77" fmla="*/ 106 h 193"/>
                  <a:gd name="T78" fmla="*/ 36 w 107"/>
                  <a:gd name="T79" fmla="*/ 119 h 193"/>
                  <a:gd name="T80" fmla="*/ 40 w 107"/>
                  <a:gd name="T81" fmla="*/ 129 h 193"/>
                  <a:gd name="T82" fmla="*/ 46 w 107"/>
                  <a:gd name="T83" fmla="*/ 137 h 193"/>
                  <a:gd name="T84" fmla="*/ 47 w 107"/>
                  <a:gd name="T85" fmla="*/ 150 h 193"/>
                  <a:gd name="T86" fmla="*/ 54 w 107"/>
                  <a:gd name="T87" fmla="*/ 162 h 193"/>
                  <a:gd name="T88" fmla="*/ 66 w 107"/>
                  <a:gd name="T89" fmla="*/ 171 h 193"/>
                  <a:gd name="T90" fmla="*/ 69 w 107"/>
                  <a:gd name="T91" fmla="*/ 173 h 193"/>
                  <a:gd name="T92" fmla="*/ 75 w 107"/>
                  <a:gd name="T93" fmla="*/ 175 h 193"/>
                  <a:gd name="T94" fmla="*/ 83 w 107"/>
                  <a:gd name="T95" fmla="*/ 181 h 193"/>
                  <a:gd name="T96" fmla="*/ 88 w 107"/>
                  <a:gd name="T97" fmla="*/ 183 h 193"/>
                  <a:gd name="T98" fmla="*/ 93 w 107"/>
                  <a:gd name="T99" fmla="*/ 189 h 193"/>
                  <a:gd name="T100" fmla="*/ 100 w 107"/>
                  <a:gd name="T101" fmla="*/ 190 h 193"/>
                  <a:gd name="T102" fmla="*/ 100 w 107"/>
                  <a:gd name="T103" fmla="*/ 182 h 193"/>
                  <a:gd name="T104" fmla="*/ 105 w 107"/>
                  <a:gd name="T105" fmla="*/ 170 h 193"/>
                  <a:gd name="T106" fmla="*/ 101 w 107"/>
                  <a:gd name="T107" fmla="*/ 166 h 193"/>
                  <a:gd name="T108" fmla="*/ 98 w 107"/>
                  <a:gd name="T109" fmla="*/ 161 h 193"/>
                  <a:gd name="T110" fmla="*/ 103 w 107"/>
                  <a:gd name="T111" fmla="*/ 164 h 193"/>
                  <a:gd name="T112" fmla="*/ 104 w 107"/>
                  <a:gd name="T113"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 h="193">
                    <a:moveTo>
                      <a:pt x="104" y="167"/>
                    </a:moveTo>
                    <a:cubicBezTo>
                      <a:pt x="104" y="167"/>
                      <a:pt x="104" y="164"/>
                      <a:pt x="103" y="163"/>
                    </a:cubicBezTo>
                    <a:cubicBezTo>
                      <a:pt x="102" y="161"/>
                      <a:pt x="103" y="159"/>
                      <a:pt x="103" y="159"/>
                    </a:cubicBezTo>
                    <a:cubicBezTo>
                      <a:pt x="103" y="159"/>
                      <a:pt x="102" y="157"/>
                      <a:pt x="101" y="154"/>
                    </a:cubicBezTo>
                    <a:cubicBezTo>
                      <a:pt x="100" y="152"/>
                      <a:pt x="102" y="147"/>
                      <a:pt x="102" y="147"/>
                    </a:cubicBezTo>
                    <a:cubicBezTo>
                      <a:pt x="104" y="140"/>
                      <a:pt x="104" y="140"/>
                      <a:pt x="104" y="140"/>
                    </a:cubicBezTo>
                    <a:cubicBezTo>
                      <a:pt x="99" y="129"/>
                      <a:pt x="99" y="129"/>
                      <a:pt x="99" y="129"/>
                    </a:cubicBezTo>
                    <a:cubicBezTo>
                      <a:pt x="89" y="126"/>
                      <a:pt x="89" y="126"/>
                      <a:pt x="89" y="126"/>
                    </a:cubicBezTo>
                    <a:cubicBezTo>
                      <a:pt x="91" y="100"/>
                      <a:pt x="91" y="100"/>
                      <a:pt x="91" y="100"/>
                    </a:cubicBezTo>
                    <a:cubicBezTo>
                      <a:pt x="91" y="100"/>
                      <a:pt x="91" y="96"/>
                      <a:pt x="89" y="98"/>
                    </a:cubicBezTo>
                    <a:cubicBezTo>
                      <a:pt x="87" y="100"/>
                      <a:pt x="83" y="102"/>
                      <a:pt x="83" y="102"/>
                    </a:cubicBezTo>
                    <a:cubicBezTo>
                      <a:pt x="75" y="102"/>
                      <a:pt x="75" y="102"/>
                      <a:pt x="75" y="102"/>
                    </a:cubicBezTo>
                    <a:cubicBezTo>
                      <a:pt x="75" y="102"/>
                      <a:pt x="73" y="101"/>
                      <a:pt x="73" y="98"/>
                    </a:cubicBezTo>
                    <a:cubicBezTo>
                      <a:pt x="73" y="96"/>
                      <a:pt x="68" y="95"/>
                      <a:pt x="67" y="93"/>
                    </a:cubicBezTo>
                    <a:cubicBezTo>
                      <a:pt x="66" y="90"/>
                      <a:pt x="62" y="88"/>
                      <a:pt x="62" y="88"/>
                    </a:cubicBezTo>
                    <a:cubicBezTo>
                      <a:pt x="63" y="84"/>
                      <a:pt x="63" y="84"/>
                      <a:pt x="63" y="84"/>
                    </a:cubicBezTo>
                    <a:cubicBezTo>
                      <a:pt x="63" y="84"/>
                      <a:pt x="63" y="80"/>
                      <a:pt x="62" y="80"/>
                    </a:cubicBezTo>
                    <a:cubicBezTo>
                      <a:pt x="60" y="79"/>
                      <a:pt x="60" y="75"/>
                      <a:pt x="60" y="74"/>
                    </a:cubicBezTo>
                    <a:cubicBezTo>
                      <a:pt x="60" y="72"/>
                      <a:pt x="64" y="74"/>
                      <a:pt x="64" y="74"/>
                    </a:cubicBezTo>
                    <a:cubicBezTo>
                      <a:pt x="64" y="74"/>
                      <a:pt x="64" y="71"/>
                      <a:pt x="64" y="69"/>
                    </a:cubicBezTo>
                    <a:cubicBezTo>
                      <a:pt x="64" y="67"/>
                      <a:pt x="65" y="66"/>
                      <a:pt x="67" y="63"/>
                    </a:cubicBezTo>
                    <a:cubicBezTo>
                      <a:pt x="68" y="61"/>
                      <a:pt x="68" y="58"/>
                      <a:pt x="69" y="56"/>
                    </a:cubicBezTo>
                    <a:cubicBezTo>
                      <a:pt x="70" y="53"/>
                      <a:pt x="74" y="52"/>
                      <a:pt x="76" y="50"/>
                    </a:cubicBezTo>
                    <a:cubicBezTo>
                      <a:pt x="78" y="48"/>
                      <a:pt x="82" y="48"/>
                      <a:pt x="84" y="47"/>
                    </a:cubicBezTo>
                    <a:cubicBezTo>
                      <a:pt x="86" y="46"/>
                      <a:pt x="88" y="46"/>
                      <a:pt x="91" y="46"/>
                    </a:cubicBezTo>
                    <a:cubicBezTo>
                      <a:pt x="93" y="46"/>
                      <a:pt x="93" y="43"/>
                      <a:pt x="93" y="43"/>
                    </a:cubicBezTo>
                    <a:cubicBezTo>
                      <a:pt x="91" y="41"/>
                      <a:pt x="91" y="41"/>
                      <a:pt x="91" y="41"/>
                    </a:cubicBezTo>
                    <a:cubicBezTo>
                      <a:pt x="86" y="41"/>
                      <a:pt x="86" y="41"/>
                      <a:pt x="86" y="41"/>
                    </a:cubicBezTo>
                    <a:cubicBezTo>
                      <a:pt x="95" y="25"/>
                      <a:pt x="95" y="25"/>
                      <a:pt x="95" y="25"/>
                    </a:cubicBezTo>
                    <a:cubicBezTo>
                      <a:pt x="95" y="25"/>
                      <a:pt x="93" y="22"/>
                      <a:pt x="91" y="22"/>
                    </a:cubicBezTo>
                    <a:cubicBezTo>
                      <a:pt x="89" y="22"/>
                      <a:pt x="85" y="21"/>
                      <a:pt x="84" y="20"/>
                    </a:cubicBezTo>
                    <a:cubicBezTo>
                      <a:pt x="83" y="18"/>
                      <a:pt x="78" y="19"/>
                      <a:pt x="78" y="19"/>
                    </a:cubicBezTo>
                    <a:cubicBezTo>
                      <a:pt x="77" y="22"/>
                      <a:pt x="77" y="22"/>
                      <a:pt x="77" y="22"/>
                    </a:cubicBezTo>
                    <a:cubicBezTo>
                      <a:pt x="77" y="22"/>
                      <a:pt x="74" y="20"/>
                      <a:pt x="73" y="20"/>
                    </a:cubicBezTo>
                    <a:cubicBezTo>
                      <a:pt x="71" y="20"/>
                      <a:pt x="70" y="17"/>
                      <a:pt x="70" y="17"/>
                    </a:cubicBezTo>
                    <a:cubicBezTo>
                      <a:pt x="69" y="14"/>
                      <a:pt x="69" y="14"/>
                      <a:pt x="69" y="14"/>
                    </a:cubicBezTo>
                    <a:cubicBezTo>
                      <a:pt x="65" y="14"/>
                      <a:pt x="65" y="14"/>
                      <a:pt x="65" y="14"/>
                    </a:cubicBezTo>
                    <a:cubicBezTo>
                      <a:pt x="65" y="14"/>
                      <a:pt x="60" y="11"/>
                      <a:pt x="60" y="10"/>
                    </a:cubicBezTo>
                    <a:cubicBezTo>
                      <a:pt x="61" y="8"/>
                      <a:pt x="58" y="5"/>
                      <a:pt x="57" y="5"/>
                    </a:cubicBezTo>
                    <a:cubicBezTo>
                      <a:pt x="55" y="5"/>
                      <a:pt x="55" y="0"/>
                      <a:pt x="55" y="0"/>
                    </a:cubicBezTo>
                    <a:cubicBezTo>
                      <a:pt x="49" y="0"/>
                      <a:pt x="49" y="0"/>
                      <a:pt x="49" y="0"/>
                    </a:cubicBezTo>
                    <a:cubicBezTo>
                      <a:pt x="46" y="3"/>
                      <a:pt x="46" y="3"/>
                      <a:pt x="46" y="3"/>
                    </a:cubicBezTo>
                    <a:cubicBezTo>
                      <a:pt x="49" y="5"/>
                      <a:pt x="49" y="5"/>
                      <a:pt x="49" y="5"/>
                    </a:cubicBezTo>
                    <a:cubicBezTo>
                      <a:pt x="49" y="5"/>
                      <a:pt x="49" y="7"/>
                      <a:pt x="50" y="10"/>
                    </a:cubicBezTo>
                    <a:cubicBezTo>
                      <a:pt x="51" y="13"/>
                      <a:pt x="50" y="16"/>
                      <a:pt x="50" y="16"/>
                    </a:cubicBezTo>
                    <a:cubicBezTo>
                      <a:pt x="49" y="16"/>
                      <a:pt x="49" y="16"/>
                      <a:pt x="49" y="16"/>
                    </a:cubicBezTo>
                    <a:cubicBezTo>
                      <a:pt x="49" y="16"/>
                      <a:pt x="49" y="23"/>
                      <a:pt x="42" y="27"/>
                    </a:cubicBezTo>
                    <a:cubicBezTo>
                      <a:pt x="36" y="31"/>
                      <a:pt x="33" y="33"/>
                      <a:pt x="31" y="34"/>
                    </a:cubicBezTo>
                    <a:cubicBezTo>
                      <a:pt x="30" y="36"/>
                      <a:pt x="30" y="37"/>
                      <a:pt x="28" y="39"/>
                    </a:cubicBezTo>
                    <a:cubicBezTo>
                      <a:pt x="26" y="42"/>
                      <a:pt x="24" y="43"/>
                      <a:pt x="22" y="49"/>
                    </a:cubicBezTo>
                    <a:cubicBezTo>
                      <a:pt x="21" y="52"/>
                      <a:pt x="18" y="53"/>
                      <a:pt x="18" y="53"/>
                    </a:cubicBezTo>
                    <a:cubicBezTo>
                      <a:pt x="18" y="53"/>
                      <a:pt x="16" y="54"/>
                      <a:pt x="15" y="52"/>
                    </a:cubicBezTo>
                    <a:cubicBezTo>
                      <a:pt x="14" y="49"/>
                      <a:pt x="13" y="47"/>
                      <a:pt x="13" y="47"/>
                    </a:cubicBezTo>
                    <a:cubicBezTo>
                      <a:pt x="13" y="47"/>
                      <a:pt x="11" y="49"/>
                      <a:pt x="9" y="49"/>
                    </a:cubicBezTo>
                    <a:cubicBezTo>
                      <a:pt x="7" y="49"/>
                      <a:pt x="5" y="46"/>
                      <a:pt x="5" y="46"/>
                    </a:cubicBezTo>
                    <a:cubicBezTo>
                      <a:pt x="9" y="43"/>
                      <a:pt x="9" y="43"/>
                      <a:pt x="9" y="43"/>
                    </a:cubicBezTo>
                    <a:cubicBezTo>
                      <a:pt x="8" y="42"/>
                      <a:pt x="8" y="42"/>
                      <a:pt x="8" y="42"/>
                    </a:cubicBezTo>
                    <a:cubicBezTo>
                      <a:pt x="7" y="38"/>
                      <a:pt x="7" y="38"/>
                      <a:pt x="7" y="38"/>
                    </a:cubicBezTo>
                    <a:cubicBezTo>
                      <a:pt x="4" y="41"/>
                      <a:pt x="2" y="43"/>
                      <a:pt x="1" y="46"/>
                    </a:cubicBezTo>
                    <a:cubicBezTo>
                      <a:pt x="1" y="47"/>
                      <a:pt x="1" y="50"/>
                      <a:pt x="0" y="49"/>
                    </a:cubicBezTo>
                    <a:cubicBezTo>
                      <a:pt x="0" y="49"/>
                      <a:pt x="1" y="51"/>
                      <a:pt x="2" y="52"/>
                    </a:cubicBezTo>
                    <a:cubicBezTo>
                      <a:pt x="2" y="52"/>
                      <a:pt x="3" y="52"/>
                      <a:pt x="3" y="52"/>
                    </a:cubicBezTo>
                    <a:cubicBezTo>
                      <a:pt x="3" y="53"/>
                      <a:pt x="3" y="53"/>
                      <a:pt x="3" y="53"/>
                    </a:cubicBezTo>
                    <a:cubicBezTo>
                      <a:pt x="3" y="52"/>
                      <a:pt x="2" y="55"/>
                      <a:pt x="2" y="56"/>
                    </a:cubicBezTo>
                    <a:cubicBezTo>
                      <a:pt x="2" y="56"/>
                      <a:pt x="4" y="58"/>
                      <a:pt x="4" y="58"/>
                    </a:cubicBezTo>
                    <a:cubicBezTo>
                      <a:pt x="5" y="60"/>
                      <a:pt x="4" y="63"/>
                      <a:pt x="3" y="64"/>
                    </a:cubicBezTo>
                    <a:cubicBezTo>
                      <a:pt x="7" y="67"/>
                      <a:pt x="10" y="69"/>
                      <a:pt x="13" y="73"/>
                    </a:cubicBezTo>
                    <a:cubicBezTo>
                      <a:pt x="13" y="73"/>
                      <a:pt x="15" y="74"/>
                      <a:pt x="15" y="74"/>
                    </a:cubicBezTo>
                    <a:cubicBezTo>
                      <a:pt x="15" y="75"/>
                      <a:pt x="15" y="76"/>
                      <a:pt x="15" y="76"/>
                    </a:cubicBezTo>
                    <a:cubicBezTo>
                      <a:pt x="16" y="78"/>
                      <a:pt x="19" y="78"/>
                      <a:pt x="20" y="80"/>
                    </a:cubicBezTo>
                    <a:cubicBezTo>
                      <a:pt x="20" y="80"/>
                      <a:pt x="20" y="81"/>
                      <a:pt x="20" y="82"/>
                    </a:cubicBezTo>
                    <a:cubicBezTo>
                      <a:pt x="22" y="84"/>
                      <a:pt x="24" y="85"/>
                      <a:pt x="26" y="87"/>
                    </a:cubicBezTo>
                    <a:cubicBezTo>
                      <a:pt x="27" y="89"/>
                      <a:pt x="28" y="91"/>
                      <a:pt x="29" y="93"/>
                    </a:cubicBezTo>
                    <a:cubicBezTo>
                      <a:pt x="29" y="93"/>
                      <a:pt x="30" y="93"/>
                      <a:pt x="30" y="94"/>
                    </a:cubicBezTo>
                    <a:cubicBezTo>
                      <a:pt x="31" y="95"/>
                      <a:pt x="30" y="96"/>
                      <a:pt x="31" y="98"/>
                    </a:cubicBezTo>
                    <a:cubicBezTo>
                      <a:pt x="31" y="98"/>
                      <a:pt x="33" y="98"/>
                      <a:pt x="33" y="99"/>
                    </a:cubicBezTo>
                    <a:cubicBezTo>
                      <a:pt x="33" y="100"/>
                      <a:pt x="33" y="102"/>
                      <a:pt x="33" y="104"/>
                    </a:cubicBezTo>
                    <a:cubicBezTo>
                      <a:pt x="33" y="104"/>
                      <a:pt x="35" y="106"/>
                      <a:pt x="35" y="106"/>
                    </a:cubicBezTo>
                    <a:cubicBezTo>
                      <a:pt x="35" y="108"/>
                      <a:pt x="35" y="109"/>
                      <a:pt x="35" y="111"/>
                    </a:cubicBezTo>
                    <a:cubicBezTo>
                      <a:pt x="35" y="111"/>
                      <a:pt x="39" y="119"/>
                      <a:pt x="36" y="119"/>
                    </a:cubicBezTo>
                    <a:cubicBezTo>
                      <a:pt x="38" y="122"/>
                      <a:pt x="41" y="123"/>
                      <a:pt x="40" y="127"/>
                    </a:cubicBezTo>
                    <a:cubicBezTo>
                      <a:pt x="40" y="127"/>
                      <a:pt x="40" y="129"/>
                      <a:pt x="40" y="129"/>
                    </a:cubicBezTo>
                    <a:cubicBezTo>
                      <a:pt x="41" y="129"/>
                      <a:pt x="42" y="129"/>
                      <a:pt x="43" y="129"/>
                    </a:cubicBezTo>
                    <a:cubicBezTo>
                      <a:pt x="44" y="131"/>
                      <a:pt x="45" y="135"/>
                      <a:pt x="46" y="137"/>
                    </a:cubicBezTo>
                    <a:cubicBezTo>
                      <a:pt x="46" y="138"/>
                      <a:pt x="47" y="138"/>
                      <a:pt x="48" y="139"/>
                    </a:cubicBezTo>
                    <a:cubicBezTo>
                      <a:pt x="49" y="143"/>
                      <a:pt x="48" y="147"/>
                      <a:pt x="47" y="150"/>
                    </a:cubicBezTo>
                    <a:cubicBezTo>
                      <a:pt x="49" y="152"/>
                      <a:pt x="52" y="155"/>
                      <a:pt x="54" y="159"/>
                    </a:cubicBezTo>
                    <a:cubicBezTo>
                      <a:pt x="54" y="160"/>
                      <a:pt x="53" y="161"/>
                      <a:pt x="54" y="162"/>
                    </a:cubicBezTo>
                    <a:cubicBezTo>
                      <a:pt x="55" y="163"/>
                      <a:pt x="60" y="165"/>
                      <a:pt x="61" y="167"/>
                    </a:cubicBezTo>
                    <a:cubicBezTo>
                      <a:pt x="63" y="168"/>
                      <a:pt x="65" y="169"/>
                      <a:pt x="66" y="171"/>
                    </a:cubicBezTo>
                    <a:cubicBezTo>
                      <a:pt x="67" y="171"/>
                      <a:pt x="66" y="172"/>
                      <a:pt x="67" y="173"/>
                    </a:cubicBezTo>
                    <a:cubicBezTo>
                      <a:pt x="67" y="173"/>
                      <a:pt x="68" y="173"/>
                      <a:pt x="69" y="173"/>
                    </a:cubicBezTo>
                    <a:cubicBezTo>
                      <a:pt x="69" y="173"/>
                      <a:pt x="70" y="174"/>
                      <a:pt x="71" y="175"/>
                    </a:cubicBezTo>
                    <a:cubicBezTo>
                      <a:pt x="72" y="175"/>
                      <a:pt x="73" y="175"/>
                      <a:pt x="75" y="175"/>
                    </a:cubicBezTo>
                    <a:cubicBezTo>
                      <a:pt x="75" y="175"/>
                      <a:pt x="75" y="177"/>
                      <a:pt x="75" y="177"/>
                    </a:cubicBezTo>
                    <a:cubicBezTo>
                      <a:pt x="79" y="178"/>
                      <a:pt x="80" y="179"/>
                      <a:pt x="83" y="181"/>
                    </a:cubicBezTo>
                    <a:cubicBezTo>
                      <a:pt x="83" y="181"/>
                      <a:pt x="84" y="180"/>
                      <a:pt x="85" y="181"/>
                    </a:cubicBezTo>
                    <a:cubicBezTo>
                      <a:pt x="86" y="181"/>
                      <a:pt x="87" y="183"/>
                      <a:pt x="88" y="183"/>
                    </a:cubicBezTo>
                    <a:cubicBezTo>
                      <a:pt x="89" y="183"/>
                      <a:pt x="90" y="183"/>
                      <a:pt x="90" y="183"/>
                    </a:cubicBezTo>
                    <a:cubicBezTo>
                      <a:pt x="92" y="185"/>
                      <a:pt x="91" y="187"/>
                      <a:pt x="93" y="189"/>
                    </a:cubicBezTo>
                    <a:cubicBezTo>
                      <a:pt x="93" y="190"/>
                      <a:pt x="95" y="192"/>
                      <a:pt x="97" y="193"/>
                    </a:cubicBezTo>
                    <a:cubicBezTo>
                      <a:pt x="97" y="193"/>
                      <a:pt x="99" y="192"/>
                      <a:pt x="100" y="190"/>
                    </a:cubicBezTo>
                    <a:cubicBezTo>
                      <a:pt x="100" y="188"/>
                      <a:pt x="102" y="187"/>
                      <a:pt x="102" y="187"/>
                    </a:cubicBezTo>
                    <a:cubicBezTo>
                      <a:pt x="100" y="182"/>
                      <a:pt x="100" y="182"/>
                      <a:pt x="100" y="182"/>
                    </a:cubicBezTo>
                    <a:cubicBezTo>
                      <a:pt x="100" y="182"/>
                      <a:pt x="104" y="177"/>
                      <a:pt x="105" y="175"/>
                    </a:cubicBezTo>
                    <a:cubicBezTo>
                      <a:pt x="107" y="173"/>
                      <a:pt x="105" y="170"/>
                      <a:pt x="105" y="170"/>
                    </a:cubicBezTo>
                    <a:cubicBezTo>
                      <a:pt x="105" y="170"/>
                      <a:pt x="105" y="170"/>
                      <a:pt x="105" y="170"/>
                    </a:cubicBezTo>
                    <a:cubicBezTo>
                      <a:pt x="104" y="169"/>
                      <a:pt x="102" y="167"/>
                      <a:pt x="101" y="166"/>
                    </a:cubicBezTo>
                    <a:cubicBezTo>
                      <a:pt x="100" y="166"/>
                      <a:pt x="99" y="167"/>
                      <a:pt x="98" y="167"/>
                    </a:cubicBezTo>
                    <a:cubicBezTo>
                      <a:pt x="98" y="165"/>
                      <a:pt x="98" y="164"/>
                      <a:pt x="98" y="161"/>
                    </a:cubicBezTo>
                    <a:cubicBezTo>
                      <a:pt x="99" y="161"/>
                      <a:pt x="100" y="161"/>
                      <a:pt x="100" y="161"/>
                    </a:cubicBezTo>
                    <a:cubicBezTo>
                      <a:pt x="101" y="162"/>
                      <a:pt x="102" y="163"/>
                      <a:pt x="103" y="164"/>
                    </a:cubicBezTo>
                    <a:cubicBezTo>
                      <a:pt x="103" y="164"/>
                      <a:pt x="102" y="166"/>
                      <a:pt x="103" y="166"/>
                    </a:cubicBezTo>
                    <a:cubicBezTo>
                      <a:pt x="103" y="166"/>
                      <a:pt x="103" y="167"/>
                      <a:pt x="104" y="167"/>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26" name="Freeform 105">
                <a:extLst>
                  <a:ext uri="{FF2B5EF4-FFF2-40B4-BE49-F238E27FC236}">
                    <a16:creationId xmlns:a16="http://schemas.microsoft.com/office/drawing/2014/main" id="{010F3623-03B4-DA30-CF19-35C71DCBEC24}"/>
                  </a:ext>
                </a:extLst>
              </p:cNvPr>
              <p:cNvSpPr>
                <a:spLocks/>
              </p:cNvSpPr>
              <p:nvPr/>
            </p:nvSpPr>
            <p:spPr bwMode="auto">
              <a:xfrm>
                <a:off x="1735" y="2258"/>
                <a:ext cx="210" cy="379"/>
              </a:xfrm>
              <a:custGeom>
                <a:avLst/>
                <a:gdLst>
                  <a:gd name="T0" fmla="*/ 103 w 107"/>
                  <a:gd name="T1" fmla="*/ 163 h 193"/>
                  <a:gd name="T2" fmla="*/ 101 w 107"/>
                  <a:gd name="T3" fmla="*/ 154 h 193"/>
                  <a:gd name="T4" fmla="*/ 104 w 107"/>
                  <a:gd name="T5" fmla="*/ 140 h 193"/>
                  <a:gd name="T6" fmla="*/ 89 w 107"/>
                  <a:gd name="T7" fmla="*/ 126 h 193"/>
                  <a:gd name="T8" fmla="*/ 89 w 107"/>
                  <a:gd name="T9" fmla="*/ 98 h 193"/>
                  <a:gd name="T10" fmla="*/ 75 w 107"/>
                  <a:gd name="T11" fmla="*/ 102 h 193"/>
                  <a:gd name="T12" fmla="*/ 67 w 107"/>
                  <a:gd name="T13" fmla="*/ 93 h 193"/>
                  <a:gd name="T14" fmla="*/ 63 w 107"/>
                  <a:gd name="T15" fmla="*/ 84 h 193"/>
                  <a:gd name="T16" fmla="*/ 60 w 107"/>
                  <a:gd name="T17" fmla="*/ 74 h 193"/>
                  <a:gd name="T18" fmla="*/ 64 w 107"/>
                  <a:gd name="T19" fmla="*/ 69 h 193"/>
                  <a:gd name="T20" fmla="*/ 69 w 107"/>
                  <a:gd name="T21" fmla="*/ 56 h 193"/>
                  <a:gd name="T22" fmla="*/ 84 w 107"/>
                  <a:gd name="T23" fmla="*/ 47 h 193"/>
                  <a:gd name="T24" fmla="*/ 93 w 107"/>
                  <a:gd name="T25" fmla="*/ 43 h 193"/>
                  <a:gd name="T26" fmla="*/ 86 w 107"/>
                  <a:gd name="T27" fmla="*/ 41 h 193"/>
                  <a:gd name="T28" fmla="*/ 91 w 107"/>
                  <a:gd name="T29" fmla="*/ 22 h 193"/>
                  <a:gd name="T30" fmla="*/ 78 w 107"/>
                  <a:gd name="T31" fmla="*/ 19 h 193"/>
                  <a:gd name="T32" fmla="*/ 73 w 107"/>
                  <a:gd name="T33" fmla="*/ 20 h 193"/>
                  <a:gd name="T34" fmla="*/ 69 w 107"/>
                  <a:gd name="T35" fmla="*/ 14 h 193"/>
                  <a:gd name="T36" fmla="*/ 60 w 107"/>
                  <a:gd name="T37" fmla="*/ 10 h 193"/>
                  <a:gd name="T38" fmla="*/ 55 w 107"/>
                  <a:gd name="T39" fmla="*/ 0 h 193"/>
                  <a:gd name="T40" fmla="*/ 46 w 107"/>
                  <a:gd name="T41" fmla="*/ 3 h 193"/>
                  <a:gd name="T42" fmla="*/ 50 w 107"/>
                  <a:gd name="T43" fmla="*/ 10 h 193"/>
                  <a:gd name="T44" fmla="*/ 49 w 107"/>
                  <a:gd name="T45" fmla="*/ 16 h 193"/>
                  <a:gd name="T46" fmla="*/ 31 w 107"/>
                  <a:gd name="T47" fmla="*/ 34 h 193"/>
                  <a:gd name="T48" fmla="*/ 22 w 107"/>
                  <a:gd name="T49" fmla="*/ 49 h 193"/>
                  <a:gd name="T50" fmla="*/ 15 w 107"/>
                  <a:gd name="T51" fmla="*/ 52 h 193"/>
                  <a:gd name="T52" fmla="*/ 9 w 107"/>
                  <a:gd name="T53" fmla="*/ 49 h 193"/>
                  <a:gd name="T54" fmla="*/ 9 w 107"/>
                  <a:gd name="T55" fmla="*/ 43 h 193"/>
                  <a:gd name="T56" fmla="*/ 7 w 107"/>
                  <a:gd name="T57" fmla="*/ 38 h 193"/>
                  <a:gd name="T58" fmla="*/ 0 w 107"/>
                  <a:gd name="T59" fmla="*/ 49 h 193"/>
                  <a:gd name="T60" fmla="*/ 3 w 107"/>
                  <a:gd name="T61" fmla="*/ 52 h 193"/>
                  <a:gd name="T62" fmla="*/ 2 w 107"/>
                  <a:gd name="T63" fmla="*/ 56 h 193"/>
                  <a:gd name="T64" fmla="*/ 3 w 107"/>
                  <a:gd name="T65" fmla="*/ 64 h 193"/>
                  <a:gd name="T66" fmla="*/ 15 w 107"/>
                  <a:gd name="T67" fmla="*/ 74 h 193"/>
                  <a:gd name="T68" fmla="*/ 20 w 107"/>
                  <a:gd name="T69" fmla="*/ 80 h 193"/>
                  <a:gd name="T70" fmla="*/ 26 w 107"/>
                  <a:gd name="T71" fmla="*/ 87 h 193"/>
                  <a:gd name="T72" fmla="*/ 30 w 107"/>
                  <a:gd name="T73" fmla="*/ 94 h 193"/>
                  <a:gd name="T74" fmla="*/ 33 w 107"/>
                  <a:gd name="T75" fmla="*/ 99 h 193"/>
                  <a:gd name="T76" fmla="*/ 35 w 107"/>
                  <a:gd name="T77" fmla="*/ 106 h 193"/>
                  <a:gd name="T78" fmla="*/ 36 w 107"/>
                  <a:gd name="T79" fmla="*/ 119 h 193"/>
                  <a:gd name="T80" fmla="*/ 40 w 107"/>
                  <a:gd name="T81" fmla="*/ 129 h 193"/>
                  <a:gd name="T82" fmla="*/ 46 w 107"/>
                  <a:gd name="T83" fmla="*/ 137 h 193"/>
                  <a:gd name="T84" fmla="*/ 47 w 107"/>
                  <a:gd name="T85" fmla="*/ 150 h 193"/>
                  <a:gd name="T86" fmla="*/ 54 w 107"/>
                  <a:gd name="T87" fmla="*/ 162 h 193"/>
                  <a:gd name="T88" fmla="*/ 66 w 107"/>
                  <a:gd name="T89" fmla="*/ 171 h 193"/>
                  <a:gd name="T90" fmla="*/ 69 w 107"/>
                  <a:gd name="T91" fmla="*/ 173 h 193"/>
                  <a:gd name="T92" fmla="*/ 75 w 107"/>
                  <a:gd name="T93" fmla="*/ 175 h 193"/>
                  <a:gd name="T94" fmla="*/ 83 w 107"/>
                  <a:gd name="T95" fmla="*/ 181 h 193"/>
                  <a:gd name="T96" fmla="*/ 88 w 107"/>
                  <a:gd name="T97" fmla="*/ 183 h 193"/>
                  <a:gd name="T98" fmla="*/ 93 w 107"/>
                  <a:gd name="T99" fmla="*/ 189 h 193"/>
                  <a:gd name="T100" fmla="*/ 100 w 107"/>
                  <a:gd name="T101" fmla="*/ 190 h 193"/>
                  <a:gd name="T102" fmla="*/ 100 w 107"/>
                  <a:gd name="T103" fmla="*/ 182 h 193"/>
                  <a:gd name="T104" fmla="*/ 105 w 107"/>
                  <a:gd name="T105" fmla="*/ 170 h 193"/>
                  <a:gd name="T106" fmla="*/ 101 w 107"/>
                  <a:gd name="T107" fmla="*/ 166 h 193"/>
                  <a:gd name="T108" fmla="*/ 98 w 107"/>
                  <a:gd name="T109" fmla="*/ 161 h 193"/>
                  <a:gd name="T110" fmla="*/ 103 w 107"/>
                  <a:gd name="T111" fmla="*/ 164 h 193"/>
                  <a:gd name="T112" fmla="*/ 104 w 107"/>
                  <a:gd name="T113"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 h="193">
                    <a:moveTo>
                      <a:pt x="104" y="167"/>
                    </a:moveTo>
                    <a:cubicBezTo>
                      <a:pt x="104" y="167"/>
                      <a:pt x="104" y="164"/>
                      <a:pt x="103" y="163"/>
                    </a:cubicBezTo>
                    <a:cubicBezTo>
                      <a:pt x="102" y="161"/>
                      <a:pt x="103" y="159"/>
                      <a:pt x="103" y="159"/>
                    </a:cubicBezTo>
                    <a:cubicBezTo>
                      <a:pt x="103" y="159"/>
                      <a:pt x="102" y="157"/>
                      <a:pt x="101" y="154"/>
                    </a:cubicBezTo>
                    <a:cubicBezTo>
                      <a:pt x="100" y="152"/>
                      <a:pt x="102" y="147"/>
                      <a:pt x="102" y="147"/>
                    </a:cubicBezTo>
                    <a:cubicBezTo>
                      <a:pt x="104" y="140"/>
                      <a:pt x="104" y="140"/>
                      <a:pt x="104" y="140"/>
                    </a:cubicBezTo>
                    <a:cubicBezTo>
                      <a:pt x="99" y="129"/>
                      <a:pt x="99" y="129"/>
                      <a:pt x="99" y="129"/>
                    </a:cubicBezTo>
                    <a:cubicBezTo>
                      <a:pt x="89" y="126"/>
                      <a:pt x="89" y="126"/>
                      <a:pt x="89" y="126"/>
                    </a:cubicBezTo>
                    <a:cubicBezTo>
                      <a:pt x="91" y="100"/>
                      <a:pt x="91" y="100"/>
                      <a:pt x="91" y="100"/>
                    </a:cubicBezTo>
                    <a:cubicBezTo>
                      <a:pt x="91" y="100"/>
                      <a:pt x="91" y="96"/>
                      <a:pt x="89" y="98"/>
                    </a:cubicBezTo>
                    <a:cubicBezTo>
                      <a:pt x="87" y="100"/>
                      <a:pt x="83" y="102"/>
                      <a:pt x="83" y="102"/>
                    </a:cubicBezTo>
                    <a:cubicBezTo>
                      <a:pt x="75" y="102"/>
                      <a:pt x="75" y="102"/>
                      <a:pt x="75" y="102"/>
                    </a:cubicBezTo>
                    <a:cubicBezTo>
                      <a:pt x="75" y="102"/>
                      <a:pt x="73" y="101"/>
                      <a:pt x="73" y="98"/>
                    </a:cubicBezTo>
                    <a:cubicBezTo>
                      <a:pt x="73" y="96"/>
                      <a:pt x="68" y="95"/>
                      <a:pt x="67" y="93"/>
                    </a:cubicBezTo>
                    <a:cubicBezTo>
                      <a:pt x="66" y="90"/>
                      <a:pt x="62" y="88"/>
                      <a:pt x="62" y="88"/>
                    </a:cubicBezTo>
                    <a:cubicBezTo>
                      <a:pt x="63" y="84"/>
                      <a:pt x="63" y="84"/>
                      <a:pt x="63" y="84"/>
                    </a:cubicBezTo>
                    <a:cubicBezTo>
                      <a:pt x="63" y="84"/>
                      <a:pt x="63" y="80"/>
                      <a:pt x="62" y="80"/>
                    </a:cubicBezTo>
                    <a:cubicBezTo>
                      <a:pt x="60" y="79"/>
                      <a:pt x="60" y="75"/>
                      <a:pt x="60" y="74"/>
                    </a:cubicBezTo>
                    <a:cubicBezTo>
                      <a:pt x="60" y="72"/>
                      <a:pt x="64" y="74"/>
                      <a:pt x="64" y="74"/>
                    </a:cubicBezTo>
                    <a:cubicBezTo>
                      <a:pt x="64" y="74"/>
                      <a:pt x="64" y="71"/>
                      <a:pt x="64" y="69"/>
                    </a:cubicBezTo>
                    <a:cubicBezTo>
                      <a:pt x="64" y="67"/>
                      <a:pt x="65" y="66"/>
                      <a:pt x="67" y="63"/>
                    </a:cubicBezTo>
                    <a:cubicBezTo>
                      <a:pt x="68" y="61"/>
                      <a:pt x="68" y="58"/>
                      <a:pt x="69" y="56"/>
                    </a:cubicBezTo>
                    <a:cubicBezTo>
                      <a:pt x="70" y="53"/>
                      <a:pt x="74" y="52"/>
                      <a:pt x="76" y="50"/>
                    </a:cubicBezTo>
                    <a:cubicBezTo>
                      <a:pt x="78" y="48"/>
                      <a:pt x="82" y="48"/>
                      <a:pt x="84" y="47"/>
                    </a:cubicBezTo>
                    <a:cubicBezTo>
                      <a:pt x="86" y="46"/>
                      <a:pt x="88" y="46"/>
                      <a:pt x="91" y="46"/>
                    </a:cubicBezTo>
                    <a:cubicBezTo>
                      <a:pt x="93" y="46"/>
                      <a:pt x="93" y="43"/>
                      <a:pt x="93" y="43"/>
                    </a:cubicBezTo>
                    <a:cubicBezTo>
                      <a:pt x="91" y="41"/>
                      <a:pt x="91" y="41"/>
                      <a:pt x="91" y="41"/>
                    </a:cubicBezTo>
                    <a:cubicBezTo>
                      <a:pt x="86" y="41"/>
                      <a:pt x="86" y="41"/>
                      <a:pt x="86" y="41"/>
                    </a:cubicBezTo>
                    <a:cubicBezTo>
                      <a:pt x="95" y="25"/>
                      <a:pt x="95" y="25"/>
                      <a:pt x="95" y="25"/>
                    </a:cubicBezTo>
                    <a:cubicBezTo>
                      <a:pt x="95" y="25"/>
                      <a:pt x="93" y="22"/>
                      <a:pt x="91" y="22"/>
                    </a:cubicBezTo>
                    <a:cubicBezTo>
                      <a:pt x="89" y="22"/>
                      <a:pt x="85" y="21"/>
                      <a:pt x="84" y="20"/>
                    </a:cubicBezTo>
                    <a:cubicBezTo>
                      <a:pt x="83" y="18"/>
                      <a:pt x="78" y="19"/>
                      <a:pt x="78" y="19"/>
                    </a:cubicBezTo>
                    <a:cubicBezTo>
                      <a:pt x="77" y="22"/>
                      <a:pt x="77" y="22"/>
                      <a:pt x="77" y="22"/>
                    </a:cubicBezTo>
                    <a:cubicBezTo>
                      <a:pt x="77" y="22"/>
                      <a:pt x="74" y="20"/>
                      <a:pt x="73" y="20"/>
                    </a:cubicBezTo>
                    <a:cubicBezTo>
                      <a:pt x="71" y="20"/>
                      <a:pt x="70" y="17"/>
                      <a:pt x="70" y="17"/>
                    </a:cubicBezTo>
                    <a:cubicBezTo>
                      <a:pt x="69" y="14"/>
                      <a:pt x="69" y="14"/>
                      <a:pt x="69" y="14"/>
                    </a:cubicBezTo>
                    <a:cubicBezTo>
                      <a:pt x="65" y="14"/>
                      <a:pt x="65" y="14"/>
                      <a:pt x="65" y="14"/>
                    </a:cubicBezTo>
                    <a:cubicBezTo>
                      <a:pt x="65" y="14"/>
                      <a:pt x="60" y="11"/>
                      <a:pt x="60" y="10"/>
                    </a:cubicBezTo>
                    <a:cubicBezTo>
                      <a:pt x="61" y="8"/>
                      <a:pt x="58" y="5"/>
                      <a:pt x="57" y="5"/>
                    </a:cubicBezTo>
                    <a:cubicBezTo>
                      <a:pt x="55" y="5"/>
                      <a:pt x="55" y="0"/>
                      <a:pt x="55" y="0"/>
                    </a:cubicBezTo>
                    <a:cubicBezTo>
                      <a:pt x="49" y="0"/>
                      <a:pt x="49" y="0"/>
                      <a:pt x="49" y="0"/>
                    </a:cubicBezTo>
                    <a:cubicBezTo>
                      <a:pt x="46" y="3"/>
                      <a:pt x="46" y="3"/>
                      <a:pt x="46" y="3"/>
                    </a:cubicBezTo>
                    <a:cubicBezTo>
                      <a:pt x="49" y="5"/>
                      <a:pt x="49" y="5"/>
                      <a:pt x="49" y="5"/>
                    </a:cubicBezTo>
                    <a:cubicBezTo>
                      <a:pt x="49" y="5"/>
                      <a:pt x="49" y="7"/>
                      <a:pt x="50" y="10"/>
                    </a:cubicBezTo>
                    <a:cubicBezTo>
                      <a:pt x="51" y="13"/>
                      <a:pt x="50" y="16"/>
                      <a:pt x="50" y="16"/>
                    </a:cubicBezTo>
                    <a:cubicBezTo>
                      <a:pt x="49" y="16"/>
                      <a:pt x="49" y="16"/>
                      <a:pt x="49" y="16"/>
                    </a:cubicBezTo>
                    <a:cubicBezTo>
                      <a:pt x="49" y="16"/>
                      <a:pt x="49" y="23"/>
                      <a:pt x="42" y="27"/>
                    </a:cubicBezTo>
                    <a:cubicBezTo>
                      <a:pt x="36" y="31"/>
                      <a:pt x="33" y="33"/>
                      <a:pt x="31" y="34"/>
                    </a:cubicBezTo>
                    <a:cubicBezTo>
                      <a:pt x="30" y="36"/>
                      <a:pt x="30" y="37"/>
                      <a:pt x="28" y="39"/>
                    </a:cubicBezTo>
                    <a:cubicBezTo>
                      <a:pt x="26" y="42"/>
                      <a:pt x="24" y="43"/>
                      <a:pt x="22" y="49"/>
                    </a:cubicBezTo>
                    <a:cubicBezTo>
                      <a:pt x="21" y="52"/>
                      <a:pt x="18" y="53"/>
                      <a:pt x="18" y="53"/>
                    </a:cubicBezTo>
                    <a:cubicBezTo>
                      <a:pt x="18" y="53"/>
                      <a:pt x="16" y="54"/>
                      <a:pt x="15" y="52"/>
                    </a:cubicBezTo>
                    <a:cubicBezTo>
                      <a:pt x="14" y="49"/>
                      <a:pt x="13" y="47"/>
                      <a:pt x="13" y="47"/>
                    </a:cubicBezTo>
                    <a:cubicBezTo>
                      <a:pt x="13" y="47"/>
                      <a:pt x="11" y="49"/>
                      <a:pt x="9" y="49"/>
                    </a:cubicBezTo>
                    <a:cubicBezTo>
                      <a:pt x="7" y="49"/>
                      <a:pt x="5" y="46"/>
                      <a:pt x="5" y="46"/>
                    </a:cubicBezTo>
                    <a:cubicBezTo>
                      <a:pt x="9" y="43"/>
                      <a:pt x="9" y="43"/>
                      <a:pt x="9" y="43"/>
                    </a:cubicBezTo>
                    <a:cubicBezTo>
                      <a:pt x="8" y="42"/>
                      <a:pt x="8" y="42"/>
                      <a:pt x="8" y="42"/>
                    </a:cubicBezTo>
                    <a:cubicBezTo>
                      <a:pt x="7" y="38"/>
                      <a:pt x="7" y="38"/>
                      <a:pt x="7" y="38"/>
                    </a:cubicBezTo>
                    <a:cubicBezTo>
                      <a:pt x="4" y="41"/>
                      <a:pt x="2" y="43"/>
                      <a:pt x="1" y="46"/>
                    </a:cubicBezTo>
                    <a:cubicBezTo>
                      <a:pt x="1" y="47"/>
                      <a:pt x="1" y="50"/>
                      <a:pt x="0" y="49"/>
                    </a:cubicBezTo>
                    <a:cubicBezTo>
                      <a:pt x="0" y="49"/>
                      <a:pt x="1" y="51"/>
                      <a:pt x="2" y="52"/>
                    </a:cubicBezTo>
                    <a:cubicBezTo>
                      <a:pt x="2" y="52"/>
                      <a:pt x="3" y="52"/>
                      <a:pt x="3" y="52"/>
                    </a:cubicBezTo>
                    <a:cubicBezTo>
                      <a:pt x="3" y="53"/>
                      <a:pt x="3" y="53"/>
                      <a:pt x="3" y="53"/>
                    </a:cubicBezTo>
                    <a:cubicBezTo>
                      <a:pt x="3" y="52"/>
                      <a:pt x="2" y="55"/>
                      <a:pt x="2" y="56"/>
                    </a:cubicBezTo>
                    <a:cubicBezTo>
                      <a:pt x="2" y="56"/>
                      <a:pt x="4" y="58"/>
                      <a:pt x="4" y="58"/>
                    </a:cubicBezTo>
                    <a:cubicBezTo>
                      <a:pt x="5" y="60"/>
                      <a:pt x="4" y="63"/>
                      <a:pt x="3" y="64"/>
                    </a:cubicBezTo>
                    <a:cubicBezTo>
                      <a:pt x="7" y="67"/>
                      <a:pt x="10" y="69"/>
                      <a:pt x="13" y="73"/>
                    </a:cubicBezTo>
                    <a:cubicBezTo>
                      <a:pt x="13" y="73"/>
                      <a:pt x="15" y="74"/>
                      <a:pt x="15" y="74"/>
                    </a:cubicBezTo>
                    <a:cubicBezTo>
                      <a:pt x="15" y="75"/>
                      <a:pt x="15" y="76"/>
                      <a:pt x="15" y="76"/>
                    </a:cubicBezTo>
                    <a:cubicBezTo>
                      <a:pt x="16" y="78"/>
                      <a:pt x="19" y="78"/>
                      <a:pt x="20" y="80"/>
                    </a:cubicBezTo>
                    <a:cubicBezTo>
                      <a:pt x="20" y="80"/>
                      <a:pt x="20" y="81"/>
                      <a:pt x="20" y="82"/>
                    </a:cubicBezTo>
                    <a:cubicBezTo>
                      <a:pt x="22" y="84"/>
                      <a:pt x="24" y="85"/>
                      <a:pt x="26" y="87"/>
                    </a:cubicBezTo>
                    <a:cubicBezTo>
                      <a:pt x="27" y="89"/>
                      <a:pt x="28" y="91"/>
                      <a:pt x="29" y="93"/>
                    </a:cubicBezTo>
                    <a:cubicBezTo>
                      <a:pt x="29" y="93"/>
                      <a:pt x="30" y="93"/>
                      <a:pt x="30" y="94"/>
                    </a:cubicBezTo>
                    <a:cubicBezTo>
                      <a:pt x="31" y="95"/>
                      <a:pt x="30" y="96"/>
                      <a:pt x="31" y="98"/>
                    </a:cubicBezTo>
                    <a:cubicBezTo>
                      <a:pt x="31" y="98"/>
                      <a:pt x="33" y="98"/>
                      <a:pt x="33" y="99"/>
                    </a:cubicBezTo>
                    <a:cubicBezTo>
                      <a:pt x="33" y="100"/>
                      <a:pt x="33" y="102"/>
                      <a:pt x="33" y="104"/>
                    </a:cubicBezTo>
                    <a:cubicBezTo>
                      <a:pt x="33" y="104"/>
                      <a:pt x="35" y="106"/>
                      <a:pt x="35" y="106"/>
                    </a:cubicBezTo>
                    <a:cubicBezTo>
                      <a:pt x="35" y="108"/>
                      <a:pt x="35" y="109"/>
                      <a:pt x="35" y="111"/>
                    </a:cubicBezTo>
                    <a:cubicBezTo>
                      <a:pt x="35" y="111"/>
                      <a:pt x="39" y="119"/>
                      <a:pt x="36" y="119"/>
                    </a:cubicBezTo>
                    <a:cubicBezTo>
                      <a:pt x="38" y="122"/>
                      <a:pt x="41" y="123"/>
                      <a:pt x="40" y="127"/>
                    </a:cubicBezTo>
                    <a:cubicBezTo>
                      <a:pt x="40" y="127"/>
                      <a:pt x="40" y="129"/>
                      <a:pt x="40" y="129"/>
                    </a:cubicBezTo>
                    <a:cubicBezTo>
                      <a:pt x="41" y="129"/>
                      <a:pt x="42" y="129"/>
                      <a:pt x="43" y="129"/>
                    </a:cubicBezTo>
                    <a:cubicBezTo>
                      <a:pt x="44" y="131"/>
                      <a:pt x="45" y="135"/>
                      <a:pt x="46" y="137"/>
                    </a:cubicBezTo>
                    <a:cubicBezTo>
                      <a:pt x="46" y="138"/>
                      <a:pt x="47" y="138"/>
                      <a:pt x="48" y="139"/>
                    </a:cubicBezTo>
                    <a:cubicBezTo>
                      <a:pt x="49" y="143"/>
                      <a:pt x="48" y="147"/>
                      <a:pt x="47" y="150"/>
                    </a:cubicBezTo>
                    <a:cubicBezTo>
                      <a:pt x="49" y="152"/>
                      <a:pt x="52" y="155"/>
                      <a:pt x="54" y="159"/>
                    </a:cubicBezTo>
                    <a:cubicBezTo>
                      <a:pt x="54" y="160"/>
                      <a:pt x="53" y="161"/>
                      <a:pt x="54" y="162"/>
                    </a:cubicBezTo>
                    <a:cubicBezTo>
                      <a:pt x="55" y="163"/>
                      <a:pt x="60" y="165"/>
                      <a:pt x="61" y="167"/>
                    </a:cubicBezTo>
                    <a:cubicBezTo>
                      <a:pt x="63" y="168"/>
                      <a:pt x="65" y="169"/>
                      <a:pt x="66" y="171"/>
                    </a:cubicBezTo>
                    <a:cubicBezTo>
                      <a:pt x="67" y="171"/>
                      <a:pt x="66" y="172"/>
                      <a:pt x="67" y="173"/>
                    </a:cubicBezTo>
                    <a:cubicBezTo>
                      <a:pt x="67" y="173"/>
                      <a:pt x="68" y="173"/>
                      <a:pt x="69" y="173"/>
                    </a:cubicBezTo>
                    <a:cubicBezTo>
                      <a:pt x="69" y="173"/>
                      <a:pt x="70" y="174"/>
                      <a:pt x="71" y="175"/>
                    </a:cubicBezTo>
                    <a:cubicBezTo>
                      <a:pt x="72" y="175"/>
                      <a:pt x="73" y="175"/>
                      <a:pt x="75" y="175"/>
                    </a:cubicBezTo>
                    <a:cubicBezTo>
                      <a:pt x="75" y="175"/>
                      <a:pt x="75" y="177"/>
                      <a:pt x="75" y="177"/>
                    </a:cubicBezTo>
                    <a:cubicBezTo>
                      <a:pt x="79" y="178"/>
                      <a:pt x="80" y="179"/>
                      <a:pt x="83" y="181"/>
                    </a:cubicBezTo>
                    <a:cubicBezTo>
                      <a:pt x="83" y="181"/>
                      <a:pt x="84" y="180"/>
                      <a:pt x="85" y="181"/>
                    </a:cubicBezTo>
                    <a:cubicBezTo>
                      <a:pt x="86" y="181"/>
                      <a:pt x="87" y="183"/>
                      <a:pt x="88" y="183"/>
                    </a:cubicBezTo>
                    <a:cubicBezTo>
                      <a:pt x="89" y="183"/>
                      <a:pt x="90" y="183"/>
                      <a:pt x="90" y="183"/>
                    </a:cubicBezTo>
                    <a:cubicBezTo>
                      <a:pt x="92" y="185"/>
                      <a:pt x="91" y="187"/>
                      <a:pt x="93" y="189"/>
                    </a:cubicBezTo>
                    <a:cubicBezTo>
                      <a:pt x="93" y="190"/>
                      <a:pt x="95" y="192"/>
                      <a:pt x="97" y="193"/>
                    </a:cubicBezTo>
                    <a:cubicBezTo>
                      <a:pt x="97" y="193"/>
                      <a:pt x="99" y="192"/>
                      <a:pt x="100" y="190"/>
                    </a:cubicBezTo>
                    <a:cubicBezTo>
                      <a:pt x="100" y="188"/>
                      <a:pt x="102" y="187"/>
                      <a:pt x="102" y="187"/>
                    </a:cubicBezTo>
                    <a:cubicBezTo>
                      <a:pt x="100" y="182"/>
                      <a:pt x="100" y="182"/>
                      <a:pt x="100" y="182"/>
                    </a:cubicBezTo>
                    <a:cubicBezTo>
                      <a:pt x="100" y="182"/>
                      <a:pt x="104" y="177"/>
                      <a:pt x="105" y="175"/>
                    </a:cubicBezTo>
                    <a:cubicBezTo>
                      <a:pt x="107" y="173"/>
                      <a:pt x="105" y="170"/>
                      <a:pt x="105" y="170"/>
                    </a:cubicBezTo>
                    <a:cubicBezTo>
                      <a:pt x="105" y="170"/>
                      <a:pt x="105" y="170"/>
                      <a:pt x="105" y="170"/>
                    </a:cubicBezTo>
                    <a:cubicBezTo>
                      <a:pt x="104" y="169"/>
                      <a:pt x="102" y="167"/>
                      <a:pt x="101" y="166"/>
                    </a:cubicBezTo>
                    <a:cubicBezTo>
                      <a:pt x="100" y="166"/>
                      <a:pt x="99" y="167"/>
                      <a:pt x="98" y="167"/>
                    </a:cubicBezTo>
                    <a:cubicBezTo>
                      <a:pt x="98" y="165"/>
                      <a:pt x="98" y="164"/>
                      <a:pt x="98" y="161"/>
                    </a:cubicBezTo>
                    <a:cubicBezTo>
                      <a:pt x="99" y="161"/>
                      <a:pt x="100" y="161"/>
                      <a:pt x="100" y="161"/>
                    </a:cubicBezTo>
                    <a:cubicBezTo>
                      <a:pt x="101" y="162"/>
                      <a:pt x="102" y="163"/>
                      <a:pt x="103" y="164"/>
                    </a:cubicBezTo>
                    <a:cubicBezTo>
                      <a:pt x="103" y="164"/>
                      <a:pt x="102" y="166"/>
                      <a:pt x="103" y="166"/>
                    </a:cubicBezTo>
                    <a:cubicBezTo>
                      <a:pt x="103" y="166"/>
                      <a:pt x="103" y="167"/>
                      <a:pt x="104" y="167"/>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27" name="Freeform 106">
                <a:extLst>
                  <a:ext uri="{FF2B5EF4-FFF2-40B4-BE49-F238E27FC236}">
                    <a16:creationId xmlns:a16="http://schemas.microsoft.com/office/drawing/2014/main" id="{B4AB5471-9D44-F7A1-8841-EFB585450AD8}"/>
                  </a:ext>
                </a:extLst>
              </p:cNvPr>
              <p:cNvSpPr>
                <a:spLocks/>
              </p:cNvSpPr>
              <p:nvPr/>
            </p:nvSpPr>
            <p:spPr bwMode="auto">
              <a:xfrm>
                <a:off x="2056" y="2659"/>
                <a:ext cx="134" cy="180"/>
              </a:xfrm>
              <a:custGeom>
                <a:avLst/>
                <a:gdLst>
                  <a:gd name="T0" fmla="*/ 35 w 68"/>
                  <a:gd name="T1" fmla="*/ 5 h 92"/>
                  <a:gd name="T2" fmla="*/ 31 w 68"/>
                  <a:gd name="T3" fmla="*/ 2 h 92"/>
                  <a:gd name="T4" fmla="*/ 23 w 68"/>
                  <a:gd name="T5" fmla="*/ 0 h 92"/>
                  <a:gd name="T6" fmla="*/ 13 w 68"/>
                  <a:gd name="T7" fmla="*/ 1 h 92"/>
                  <a:gd name="T8" fmla="*/ 8 w 68"/>
                  <a:gd name="T9" fmla="*/ 9 h 92"/>
                  <a:gd name="T10" fmla="*/ 5 w 68"/>
                  <a:gd name="T11" fmla="*/ 15 h 92"/>
                  <a:gd name="T12" fmla="*/ 5 w 68"/>
                  <a:gd name="T13" fmla="*/ 18 h 92"/>
                  <a:gd name="T14" fmla="*/ 0 w 68"/>
                  <a:gd name="T15" fmla="*/ 30 h 92"/>
                  <a:gd name="T16" fmla="*/ 5 w 68"/>
                  <a:gd name="T17" fmla="*/ 33 h 92"/>
                  <a:gd name="T18" fmla="*/ 7 w 68"/>
                  <a:gd name="T19" fmla="*/ 37 h 92"/>
                  <a:gd name="T20" fmla="*/ 10 w 68"/>
                  <a:gd name="T21" fmla="*/ 42 h 92"/>
                  <a:gd name="T22" fmla="*/ 14 w 68"/>
                  <a:gd name="T23" fmla="*/ 45 h 92"/>
                  <a:gd name="T24" fmla="*/ 18 w 68"/>
                  <a:gd name="T25" fmla="*/ 52 h 92"/>
                  <a:gd name="T26" fmla="*/ 23 w 68"/>
                  <a:gd name="T27" fmla="*/ 56 h 92"/>
                  <a:gd name="T28" fmla="*/ 29 w 68"/>
                  <a:gd name="T29" fmla="*/ 58 h 92"/>
                  <a:gd name="T30" fmla="*/ 32 w 68"/>
                  <a:gd name="T31" fmla="*/ 61 h 92"/>
                  <a:gd name="T32" fmla="*/ 38 w 68"/>
                  <a:gd name="T33" fmla="*/ 68 h 92"/>
                  <a:gd name="T34" fmla="*/ 38 w 68"/>
                  <a:gd name="T35" fmla="*/ 74 h 92"/>
                  <a:gd name="T36" fmla="*/ 34 w 68"/>
                  <a:gd name="T37" fmla="*/ 82 h 92"/>
                  <a:gd name="T38" fmla="*/ 31 w 68"/>
                  <a:gd name="T39" fmla="*/ 89 h 92"/>
                  <a:gd name="T40" fmla="*/ 34 w 68"/>
                  <a:gd name="T41" fmla="*/ 89 h 92"/>
                  <a:gd name="T42" fmla="*/ 40 w 68"/>
                  <a:gd name="T43" fmla="*/ 90 h 92"/>
                  <a:gd name="T44" fmla="*/ 46 w 68"/>
                  <a:gd name="T45" fmla="*/ 91 h 92"/>
                  <a:gd name="T46" fmla="*/ 53 w 68"/>
                  <a:gd name="T47" fmla="*/ 92 h 92"/>
                  <a:gd name="T48" fmla="*/ 58 w 68"/>
                  <a:gd name="T49" fmla="*/ 91 h 92"/>
                  <a:gd name="T50" fmla="*/ 59 w 68"/>
                  <a:gd name="T51" fmla="*/ 89 h 92"/>
                  <a:gd name="T52" fmla="*/ 64 w 68"/>
                  <a:gd name="T53" fmla="*/ 84 h 92"/>
                  <a:gd name="T54" fmla="*/ 64 w 68"/>
                  <a:gd name="T55" fmla="*/ 76 h 92"/>
                  <a:gd name="T56" fmla="*/ 66 w 68"/>
                  <a:gd name="T57" fmla="*/ 71 h 92"/>
                  <a:gd name="T58" fmla="*/ 67 w 68"/>
                  <a:gd name="T59" fmla="*/ 61 h 92"/>
                  <a:gd name="T60" fmla="*/ 68 w 68"/>
                  <a:gd name="T61" fmla="*/ 52 h 92"/>
                  <a:gd name="T62" fmla="*/ 63 w 68"/>
                  <a:gd name="T63" fmla="*/ 53 h 92"/>
                  <a:gd name="T64" fmla="*/ 61 w 68"/>
                  <a:gd name="T65" fmla="*/ 48 h 92"/>
                  <a:gd name="T66" fmla="*/ 61 w 68"/>
                  <a:gd name="T67" fmla="*/ 38 h 92"/>
                  <a:gd name="T68" fmla="*/ 57 w 68"/>
                  <a:gd name="T69" fmla="*/ 34 h 92"/>
                  <a:gd name="T70" fmla="*/ 54 w 68"/>
                  <a:gd name="T71" fmla="*/ 31 h 92"/>
                  <a:gd name="T72" fmla="*/ 53 w 68"/>
                  <a:gd name="T73" fmla="*/ 29 h 92"/>
                  <a:gd name="T74" fmla="*/ 51 w 68"/>
                  <a:gd name="T75" fmla="*/ 30 h 92"/>
                  <a:gd name="T76" fmla="*/ 41 w 68"/>
                  <a:gd name="T77" fmla="*/ 28 h 92"/>
                  <a:gd name="T78" fmla="*/ 40 w 68"/>
                  <a:gd name="T79" fmla="*/ 20 h 92"/>
                  <a:gd name="T80" fmla="*/ 39 w 68"/>
                  <a:gd name="T81" fmla="*/ 12 h 92"/>
                  <a:gd name="T82" fmla="*/ 37 w 68"/>
                  <a:gd name="T83" fmla="*/ 9 h 92"/>
                  <a:gd name="T84" fmla="*/ 35 w 68"/>
                  <a:gd name="T85"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92">
                    <a:moveTo>
                      <a:pt x="35" y="5"/>
                    </a:moveTo>
                    <a:cubicBezTo>
                      <a:pt x="31" y="2"/>
                      <a:pt x="31" y="2"/>
                      <a:pt x="31" y="2"/>
                    </a:cubicBezTo>
                    <a:cubicBezTo>
                      <a:pt x="23" y="0"/>
                      <a:pt x="23" y="0"/>
                      <a:pt x="23" y="0"/>
                    </a:cubicBezTo>
                    <a:cubicBezTo>
                      <a:pt x="13" y="1"/>
                      <a:pt x="13" y="1"/>
                      <a:pt x="13" y="1"/>
                    </a:cubicBezTo>
                    <a:cubicBezTo>
                      <a:pt x="13" y="1"/>
                      <a:pt x="8" y="7"/>
                      <a:pt x="8" y="9"/>
                    </a:cubicBezTo>
                    <a:cubicBezTo>
                      <a:pt x="8" y="10"/>
                      <a:pt x="5" y="15"/>
                      <a:pt x="5" y="15"/>
                    </a:cubicBezTo>
                    <a:cubicBezTo>
                      <a:pt x="5" y="18"/>
                      <a:pt x="5" y="18"/>
                      <a:pt x="5" y="18"/>
                    </a:cubicBezTo>
                    <a:cubicBezTo>
                      <a:pt x="0" y="30"/>
                      <a:pt x="0" y="30"/>
                      <a:pt x="0" y="30"/>
                    </a:cubicBezTo>
                    <a:cubicBezTo>
                      <a:pt x="5" y="33"/>
                      <a:pt x="5" y="33"/>
                      <a:pt x="5" y="33"/>
                    </a:cubicBezTo>
                    <a:cubicBezTo>
                      <a:pt x="5" y="33"/>
                      <a:pt x="6" y="36"/>
                      <a:pt x="7" y="37"/>
                    </a:cubicBezTo>
                    <a:cubicBezTo>
                      <a:pt x="8" y="39"/>
                      <a:pt x="8" y="41"/>
                      <a:pt x="10" y="42"/>
                    </a:cubicBezTo>
                    <a:cubicBezTo>
                      <a:pt x="12" y="42"/>
                      <a:pt x="12" y="44"/>
                      <a:pt x="14" y="45"/>
                    </a:cubicBezTo>
                    <a:cubicBezTo>
                      <a:pt x="15" y="47"/>
                      <a:pt x="15" y="52"/>
                      <a:pt x="18" y="52"/>
                    </a:cubicBezTo>
                    <a:cubicBezTo>
                      <a:pt x="20" y="52"/>
                      <a:pt x="20" y="53"/>
                      <a:pt x="23" y="56"/>
                    </a:cubicBezTo>
                    <a:cubicBezTo>
                      <a:pt x="25" y="59"/>
                      <a:pt x="27" y="56"/>
                      <a:pt x="29" y="58"/>
                    </a:cubicBezTo>
                    <a:cubicBezTo>
                      <a:pt x="31" y="60"/>
                      <a:pt x="31" y="61"/>
                      <a:pt x="32" y="61"/>
                    </a:cubicBezTo>
                    <a:cubicBezTo>
                      <a:pt x="34" y="62"/>
                      <a:pt x="35" y="66"/>
                      <a:pt x="38" y="68"/>
                    </a:cubicBezTo>
                    <a:cubicBezTo>
                      <a:pt x="41" y="69"/>
                      <a:pt x="38" y="71"/>
                      <a:pt x="38" y="74"/>
                    </a:cubicBezTo>
                    <a:cubicBezTo>
                      <a:pt x="38" y="77"/>
                      <a:pt x="36" y="80"/>
                      <a:pt x="34" y="82"/>
                    </a:cubicBezTo>
                    <a:cubicBezTo>
                      <a:pt x="33" y="85"/>
                      <a:pt x="31" y="89"/>
                      <a:pt x="31" y="89"/>
                    </a:cubicBezTo>
                    <a:cubicBezTo>
                      <a:pt x="31" y="89"/>
                      <a:pt x="32" y="90"/>
                      <a:pt x="34" y="89"/>
                    </a:cubicBezTo>
                    <a:cubicBezTo>
                      <a:pt x="36" y="89"/>
                      <a:pt x="38" y="89"/>
                      <a:pt x="40" y="90"/>
                    </a:cubicBezTo>
                    <a:cubicBezTo>
                      <a:pt x="42" y="92"/>
                      <a:pt x="44" y="91"/>
                      <a:pt x="46" y="91"/>
                    </a:cubicBezTo>
                    <a:cubicBezTo>
                      <a:pt x="48" y="91"/>
                      <a:pt x="51" y="91"/>
                      <a:pt x="53" y="92"/>
                    </a:cubicBezTo>
                    <a:cubicBezTo>
                      <a:pt x="56" y="92"/>
                      <a:pt x="58" y="91"/>
                      <a:pt x="58" y="91"/>
                    </a:cubicBezTo>
                    <a:cubicBezTo>
                      <a:pt x="58" y="91"/>
                      <a:pt x="59" y="91"/>
                      <a:pt x="59" y="89"/>
                    </a:cubicBezTo>
                    <a:cubicBezTo>
                      <a:pt x="60" y="87"/>
                      <a:pt x="62" y="86"/>
                      <a:pt x="64" y="84"/>
                    </a:cubicBezTo>
                    <a:cubicBezTo>
                      <a:pt x="65" y="83"/>
                      <a:pt x="65" y="77"/>
                      <a:pt x="64" y="76"/>
                    </a:cubicBezTo>
                    <a:cubicBezTo>
                      <a:pt x="63" y="74"/>
                      <a:pt x="66" y="71"/>
                      <a:pt x="66" y="71"/>
                    </a:cubicBezTo>
                    <a:cubicBezTo>
                      <a:pt x="66" y="71"/>
                      <a:pt x="65" y="63"/>
                      <a:pt x="67" y="61"/>
                    </a:cubicBezTo>
                    <a:cubicBezTo>
                      <a:pt x="68" y="59"/>
                      <a:pt x="68" y="54"/>
                      <a:pt x="68" y="52"/>
                    </a:cubicBezTo>
                    <a:cubicBezTo>
                      <a:pt x="68" y="51"/>
                      <a:pt x="65" y="52"/>
                      <a:pt x="63" y="53"/>
                    </a:cubicBezTo>
                    <a:cubicBezTo>
                      <a:pt x="62" y="54"/>
                      <a:pt x="61" y="51"/>
                      <a:pt x="61" y="48"/>
                    </a:cubicBezTo>
                    <a:cubicBezTo>
                      <a:pt x="61" y="45"/>
                      <a:pt x="61" y="42"/>
                      <a:pt x="61" y="38"/>
                    </a:cubicBezTo>
                    <a:cubicBezTo>
                      <a:pt x="61" y="35"/>
                      <a:pt x="60" y="34"/>
                      <a:pt x="57" y="34"/>
                    </a:cubicBezTo>
                    <a:cubicBezTo>
                      <a:pt x="54" y="34"/>
                      <a:pt x="54" y="31"/>
                      <a:pt x="54" y="31"/>
                    </a:cubicBezTo>
                    <a:cubicBezTo>
                      <a:pt x="53" y="29"/>
                      <a:pt x="53" y="29"/>
                      <a:pt x="53" y="29"/>
                    </a:cubicBezTo>
                    <a:cubicBezTo>
                      <a:pt x="51" y="30"/>
                      <a:pt x="51" y="30"/>
                      <a:pt x="51" y="30"/>
                    </a:cubicBezTo>
                    <a:cubicBezTo>
                      <a:pt x="51" y="30"/>
                      <a:pt x="41" y="30"/>
                      <a:pt x="41" y="28"/>
                    </a:cubicBezTo>
                    <a:cubicBezTo>
                      <a:pt x="41" y="25"/>
                      <a:pt x="39" y="24"/>
                      <a:pt x="40" y="20"/>
                    </a:cubicBezTo>
                    <a:cubicBezTo>
                      <a:pt x="40" y="17"/>
                      <a:pt x="41" y="14"/>
                      <a:pt x="39" y="12"/>
                    </a:cubicBezTo>
                    <a:cubicBezTo>
                      <a:pt x="38" y="10"/>
                      <a:pt x="37" y="9"/>
                      <a:pt x="37" y="9"/>
                    </a:cubicBezTo>
                    <a:lnTo>
                      <a:pt x="35" y="5"/>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28" name="Freeform 107">
                <a:extLst>
                  <a:ext uri="{FF2B5EF4-FFF2-40B4-BE49-F238E27FC236}">
                    <a16:creationId xmlns:a16="http://schemas.microsoft.com/office/drawing/2014/main" id="{8A3C5C86-EE3D-094F-79DF-81139D3EF2F8}"/>
                  </a:ext>
                </a:extLst>
              </p:cNvPr>
              <p:cNvSpPr>
                <a:spLocks/>
              </p:cNvSpPr>
              <p:nvPr/>
            </p:nvSpPr>
            <p:spPr bwMode="auto">
              <a:xfrm>
                <a:off x="2056" y="2659"/>
                <a:ext cx="134" cy="180"/>
              </a:xfrm>
              <a:custGeom>
                <a:avLst/>
                <a:gdLst>
                  <a:gd name="T0" fmla="*/ 35 w 68"/>
                  <a:gd name="T1" fmla="*/ 5 h 92"/>
                  <a:gd name="T2" fmla="*/ 31 w 68"/>
                  <a:gd name="T3" fmla="*/ 2 h 92"/>
                  <a:gd name="T4" fmla="*/ 23 w 68"/>
                  <a:gd name="T5" fmla="*/ 0 h 92"/>
                  <a:gd name="T6" fmla="*/ 13 w 68"/>
                  <a:gd name="T7" fmla="*/ 1 h 92"/>
                  <a:gd name="T8" fmla="*/ 8 w 68"/>
                  <a:gd name="T9" fmla="*/ 9 h 92"/>
                  <a:gd name="T10" fmla="*/ 5 w 68"/>
                  <a:gd name="T11" fmla="*/ 15 h 92"/>
                  <a:gd name="T12" fmla="*/ 5 w 68"/>
                  <a:gd name="T13" fmla="*/ 18 h 92"/>
                  <a:gd name="T14" fmla="*/ 0 w 68"/>
                  <a:gd name="T15" fmla="*/ 30 h 92"/>
                  <a:gd name="T16" fmla="*/ 5 w 68"/>
                  <a:gd name="T17" fmla="*/ 33 h 92"/>
                  <a:gd name="T18" fmla="*/ 7 w 68"/>
                  <a:gd name="T19" fmla="*/ 37 h 92"/>
                  <a:gd name="T20" fmla="*/ 10 w 68"/>
                  <a:gd name="T21" fmla="*/ 42 h 92"/>
                  <a:gd name="T22" fmla="*/ 14 w 68"/>
                  <a:gd name="T23" fmla="*/ 45 h 92"/>
                  <a:gd name="T24" fmla="*/ 18 w 68"/>
                  <a:gd name="T25" fmla="*/ 52 h 92"/>
                  <a:gd name="T26" fmla="*/ 23 w 68"/>
                  <a:gd name="T27" fmla="*/ 56 h 92"/>
                  <a:gd name="T28" fmla="*/ 29 w 68"/>
                  <a:gd name="T29" fmla="*/ 58 h 92"/>
                  <a:gd name="T30" fmla="*/ 32 w 68"/>
                  <a:gd name="T31" fmla="*/ 61 h 92"/>
                  <a:gd name="T32" fmla="*/ 38 w 68"/>
                  <a:gd name="T33" fmla="*/ 68 h 92"/>
                  <a:gd name="T34" fmla="*/ 38 w 68"/>
                  <a:gd name="T35" fmla="*/ 74 h 92"/>
                  <a:gd name="T36" fmla="*/ 34 w 68"/>
                  <a:gd name="T37" fmla="*/ 82 h 92"/>
                  <a:gd name="T38" fmla="*/ 31 w 68"/>
                  <a:gd name="T39" fmla="*/ 89 h 92"/>
                  <a:gd name="T40" fmla="*/ 34 w 68"/>
                  <a:gd name="T41" fmla="*/ 89 h 92"/>
                  <a:gd name="T42" fmla="*/ 40 w 68"/>
                  <a:gd name="T43" fmla="*/ 90 h 92"/>
                  <a:gd name="T44" fmla="*/ 46 w 68"/>
                  <a:gd name="T45" fmla="*/ 91 h 92"/>
                  <a:gd name="T46" fmla="*/ 53 w 68"/>
                  <a:gd name="T47" fmla="*/ 92 h 92"/>
                  <a:gd name="T48" fmla="*/ 58 w 68"/>
                  <a:gd name="T49" fmla="*/ 91 h 92"/>
                  <a:gd name="T50" fmla="*/ 59 w 68"/>
                  <a:gd name="T51" fmla="*/ 89 h 92"/>
                  <a:gd name="T52" fmla="*/ 64 w 68"/>
                  <a:gd name="T53" fmla="*/ 84 h 92"/>
                  <a:gd name="T54" fmla="*/ 64 w 68"/>
                  <a:gd name="T55" fmla="*/ 76 h 92"/>
                  <a:gd name="T56" fmla="*/ 66 w 68"/>
                  <a:gd name="T57" fmla="*/ 71 h 92"/>
                  <a:gd name="T58" fmla="*/ 67 w 68"/>
                  <a:gd name="T59" fmla="*/ 61 h 92"/>
                  <a:gd name="T60" fmla="*/ 68 w 68"/>
                  <a:gd name="T61" fmla="*/ 52 h 92"/>
                  <a:gd name="T62" fmla="*/ 63 w 68"/>
                  <a:gd name="T63" fmla="*/ 53 h 92"/>
                  <a:gd name="T64" fmla="*/ 61 w 68"/>
                  <a:gd name="T65" fmla="*/ 48 h 92"/>
                  <a:gd name="T66" fmla="*/ 61 w 68"/>
                  <a:gd name="T67" fmla="*/ 38 h 92"/>
                  <a:gd name="T68" fmla="*/ 57 w 68"/>
                  <a:gd name="T69" fmla="*/ 34 h 92"/>
                  <a:gd name="T70" fmla="*/ 54 w 68"/>
                  <a:gd name="T71" fmla="*/ 31 h 92"/>
                  <a:gd name="T72" fmla="*/ 53 w 68"/>
                  <a:gd name="T73" fmla="*/ 29 h 92"/>
                  <a:gd name="T74" fmla="*/ 51 w 68"/>
                  <a:gd name="T75" fmla="*/ 30 h 92"/>
                  <a:gd name="T76" fmla="*/ 41 w 68"/>
                  <a:gd name="T77" fmla="*/ 28 h 92"/>
                  <a:gd name="T78" fmla="*/ 40 w 68"/>
                  <a:gd name="T79" fmla="*/ 20 h 92"/>
                  <a:gd name="T80" fmla="*/ 39 w 68"/>
                  <a:gd name="T81" fmla="*/ 12 h 92"/>
                  <a:gd name="T82" fmla="*/ 37 w 68"/>
                  <a:gd name="T83" fmla="*/ 9 h 92"/>
                  <a:gd name="T84" fmla="*/ 35 w 68"/>
                  <a:gd name="T85" fmla="*/ 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92">
                    <a:moveTo>
                      <a:pt x="35" y="5"/>
                    </a:moveTo>
                    <a:cubicBezTo>
                      <a:pt x="31" y="2"/>
                      <a:pt x="31" y="2"/>
                      <a:pt x="31" y="2"/>
                    </a:cubicBezTo>
                    <a:cubicBezTo>
                      <a:pt x="23" y="0"/>
                      <a:pt x="23" y="0"/>
                      <a:pt x="23" y="0"/>
                    </a:cubicBezTo>
                    <a:cubicBezTo>
                      <a:pt x="13" y="1"/>
                      <a:pt x="13" y="1"/>
                      <a:pt x="13" y="1"/>
                    </a:cubicBezTo>
                    <a:cubicBezTo>
                      <a:pt x="13" y="1"/>
                      <a:pt x="8" y="7"/>
                      <a:pt x="8" y="9"/>
                    </a:cubicBezTo>
                    <a:cubicBezTo>
                      <a:pt x="8" y="10"/>
                      <a:pt x="5" y="15"/>
                      <a:pt x="5" y="15"/>
                    </a:cubicBezTo>
                    <a:cubicBezTo>
                      <a:pt x="5" y="18"/>
                      <a:pt x="5" y="18"/>
                      <a:pt x="5" y="18"/>
                    </a:cubicBezTo>
                    <a:cubicBezTo>
                      <a:pt x="0" y="30"/>
                      <a:pt x="0" y="30"/>
                      <a:pt x="0" y="30"/>
                    </a:cubicBezTo>
                    <a:cubicBezTo>
                      <a:pt x="5" y="33"/>
                      <a:pt x="5" y="33"/>
                      <a:pt x="5" y="33"/>
                    </a:cubicBezTo>
                    <a:cubicBezTo>
                      <a:pt x="5" y="33"/>
                      <a:pt x="6" y="36"/>
                      <a:pt x="7" y="37"/>
                    </a:cubicBezTo>
                    <a:cubicBezTo>
                      <a:pt x="8" y="39"/>
                      <a:pt x="8" y="41"/>
                      <a:pt x="10" y="42"/>
                    </a:cubicBezTo>
                    <a:cubicBezTo>
                      <a:pt x="12" y="42"/>
                      <a:pt x="12" y="44"/>
                      <a:pt x="14" y="45"/>
                    </a:cubicBezTo>
                    <a:cubicBezTo>
                      <a:pt x="15" y="47"/>
                      <a:pt x="15" y="52"/>
                      <a:pt x="18" y="52"/>
                    </a:cubicBezTo>
                    <a:cubicBezTo>
                      <a:pt x="20" y="52"/>
                      <a:pt x="20" y="53"/>
                      <a:pt x="23" y="56"/>
                    </a:cubicBezTo>
                    <a:cubicBezTo>
                      <a:pt x="25" y="59"/>
                      <a:pt x="27" y="56"/>
                      <a:pt x="29" y="58"/>
                    </a:cubicBezTo>
                    <a:cubicBezTo>
                      <a:pt x="31" y="60"/>
                      <a:pt x="31" y="61"/>
                      <a:pt x="32" y="61"/>
                    </a:cubicBezTo>
                    <a:cubicBezTo>
                      <a:pt x="34" y="62"/>
                      <a:pt x="35" y="66"/>
                      <a:pt x="38" y="68"/>
                    </a:cubicBezTo>
                    <a:cubicBezTo>
                      <a:pt x="41" y="69"/>
                      <a:pt x="38" y="71"/>
                      <a:pt x="38" y="74"/>
                    </a:cubicBezTo>
                    <a:cubicBezTo>
                      <a:pt x="38" y="77"/>
                      <a:pt x="36" y="80"/>
                      <a:pt x="34" y="82"/>
                    </a:cubicBezTo>
                    <a:cubicBezTo>
                      <a:pt x="33" y="85"/>
                      <a:pt x="31" y="89"/>
                      <a:pt x="31" y="89"/>
                    </a:cubicBezTo>
                    <a:cubicBezTo>
                      <a:pt x="31" y="89"/>
                      <a:pt x="32" y="90"/>
                      <a:pt x="34" y="89"/>
                    </a:cubicBezTo>
                    <a:cubicBezTo>
                      <a:pt x="36" y="89"/>
                      <a:pt x="38" y="89"/>
                      <a:pt x="40" y="90"/>
                    </a:cubicBezTo>
                    <a:cubicBezTo>
                      <a:pt x="42" y="92"/>
                      <a:pt x="44" y="91"/>
                      <a:pt x="46" y="91"/>
                    </a:cubicBezTo>
                    <a:cubicBezTo>
                      <a:pt x="48" y="91"/>
                      <a:pt x="51" y="91"/>
                      <a:pt x="53" y="92"/>
                    </a:cubicBezTo>
                    <a:cubicBezTo>
                      <a:pt x="56" y="92"/>
                      <a:pt x="58" y="91"/>
                      <a:pt x="58" y="91"/>
                    </a:cubicBezTo>
                    <a:cubicBezTo>
                      <a:pt x="58" y="91"/>
                      <a:pt x="59" y="91"/>
                      <a:pt x="59" y="89"/>
                    </a:cubicBezTo>
                    <a:cubicBezTo>
                      <a:pt x="60" y="87"/>
                      <a:pt x="62" y="86"/>
                      <a:pt x="64" y="84"/>
                    </a:cubicBezTo>
                    <a:cubicBezTo>
                      <a:pt x="65" y="83"/>
                      <a:pt x="65" y="77"/>
                      <a:pt x="64" y="76"/>
                    </a:cubicBezTo>
                    <a:cubicBezTo>
                      <a:pt x="63" y="74"/>
                      <a:pt x="66" y="71"/>
                      <a:pt x="66" y="71"/>
                    </a:cubicBezTo>
                    <a:cubicBezTo>
                      <a:pt x="66" y="71"/>
                      <a:pt x="65" y="63"/>
                      <a:pt x="67" y="61"/>
                    </a:cubicBezTo>
                    <a:cubicBezTo>
                      <a:pt x="68" y="59"/>
                      <a:pt x="68" y="54"/>
                      <a:pt x="68" y="52"/>
                    </a:cubicBezTo>
                    <a:cubicBezTo>
                      <a:pt x="68" y="51"/>
                      <a:pt x="65" y="52"/>
                      <a:pt x="63" y="53"/>
                    </a:cubicBezTo>
                    <a:cubicBezTo>
                      <a:pt x="62" y="54"/>
                      <a:pt x="61" y="51"/>
                      <a:pt x="61" y="48"/>
                    </a:cubicBezTo>
                    <a:cubicBezTo>
                      <a:pt x="61" y="45"/>
                      <a:pt x="61" y="42"/>
                      <a:pt x="61" y="38"/>
                    </a:cubicBezTo>
                    <a:cubicBezTo>
                      <a:pt x="61" y="35"/>
                      <a:pt x="60" y="34"/>
                      <a:pt x="57" y="34"/>
                    </a:cubicBezTo>
                    <a:cubicBezTo>
                      <a:pt x="54" y="34"/>
                      <a:pt x="54" y="31"/>
                      <a:pt x="54" y="31"/>
                    </a:cubicBezTo>
                    <a:cubicBezTo>
                      <a:pt x="53" y="29"/>
                      <a:pt x="53" y="29"/>
                      <a:pt x="53" y="29"/>
                    </a:cubicBezTo>
                    <a:cubicBezTo>
                      <a:pt x="51" y="30"/>
                      <a:pt x="51" y="30"/>
                      <a:pt x="51" y="30"/>
                    </a:cubicBezTo>
                    <a:cubicBezTo>
                      <a:pt x="51" y="30"/>
                      <a:pt x="41" y="30"/>
                      <a:pt x="41" y="28"/>
                    </a:cubicBezTo>
                    <a:cubicBezTo>
                      <a:pt x="41" y="25"/>
                      <a:pt x="39" y="24"/>
                      <a:pt x="40" y="20"/>
                    </a:cubicBezTo>
                    <a:cubicBezTo>
                      <a:pt x="40" y="17"/>
                      <a:pt x="41" y="14"/>
                      <a:pt x="39" y="12"/>
                    </a:cubicBezTo>
                    <a:cubicBezTo>
                      <a:pt x="38" y="10"/>
                      <a:pt x="37" y="9"/>
                      <a:pt x="37" y="9"/>
                    </a:cubicBezTo>
                    <a:lnTo>
                      <a:pt x="35" y="5"/>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29" name="Freeform 108">
                <a:extLst>
                  <a:ext uri="{FF2B5EF4-FFF2-40B4-BE49-F238E27FC236}">
                    <a16:creationId xmlns:a16="http://schemas.microsoft.com/office/drawing/2014/main" id="{7189EB9D-F2B3-C669-94A8-5B7CF5436FE5}"/>
                  </a:ext>
                </a:extLst>
              </p:cNvPr>
              <p:cNvSpPr>
                <a:spLocks noEditPoints="1"/>
              </p:cNvSpPr>
              <p:nvPr/>
            </p:nvSpPr>
            <p:spPr bwMode="auto">
              <a:xfrm>
                <a:off x="5486" y="2306"/>
                <a:ext cx="259" cy="180"/>
              </a:xfrm>
              <a:custGeom>
                <a:avLst/>
                <a:gdLst>
                  <a:gd name="T0" fmla="*/ 0 w 132"/>
                  <a:gd name="T1" fmla="*/ 48 h 92"/>
                  <a:gd name="T2" fmla="*/ 11 w 132"/>
                  <a:gd name="T3" fmla="*/ 75 h 92"/>
                  <a:gd name="T4" fmla="*/ 23 w 132"/>
                  <a:gd name="T5" fmla="*/ 72 h 92"/>
                  <a:gd name="T6" fmla="*/ 24 w 132"/>
                  <a:gd name="T7" fmla="*/ 65 h 92"/>
                  <a:gd name="T8" fmla="*/ 31 w 132"/>
                  <a:gd name="T9" fmla="*/ 62 h 92"/>
                  <a:gd name="T10" fmla="*/ 49 w 132"/>
                  <a:gd name="T11" fmla="*/ 71 h 92"/>
                  <a:gd name="T12" fmla="*/ 51 w 132"/>
                  <a:gd name="T13" fmla="*/ 76 h 92"/>
                  <a:gd name="T14" fmla="*/ 60 w 132"/>
                  <a:gd name="T15" fmla="*/ 84 h 92"/>
                  <a:gd name="T16" fmla="*/ 65 w 132"/>
                  <a:gd name="T17" fmla="*/ 88 h 92"/>
                  <a:gd name="T18" fmla="*/ 76 w 132"/>
                  <a:gd name="T19" fmla="*/ 90 h 92"/>
                  <a:gd name="T20" fmla="*/ 83 w 132"/>
                  <a:gd name="T21" fmla="*/ 88 h 92"/>
                  <a:gd name="T22" fmla="*/ 79 w 132"/>
                  <a:gd name="T23" fmla="*/ 83 h 92"/>
                  <a:gd name="T24" fmla="*/ 72 w 132"/>
                  <a:gd name="T25" fmla="*/ 76 h 92"/>
                  <a:gd name="T26" fmla="*/ 65 w 132"/>
                  <a:gd name="T27" fmla="*/ 69 h 92"/>
                  <a:gd name="T28" fmla="*/ 57 w 132"/>
                  <a:gd name="T29" fmla="*/ 54 h 92"/>
                  <a:gd name="T30" fmla="*/ 61 w 132"/>
                  <a:gd name="T31" fmla="*/ 50 h 92"/>
                  <a:gd name="T32" fmla="*/ 61 w 132"/>
                  <a:gd name="T33" fmla="*/ 44 h 92"/>
                  <a:gd name="T34" fmla="*/ 56 w 132"/>
                  <a:gd name="T35" fmla="*/ 42 h 92"/>
                  <a:gd name="T36" fmla="*/ 51 w 132"/>
                  <a:gd name="T37" fmla="*/ 38 h 92"/>
                  <a:gd name="T38" fmla="*/ 43 w 132"/>
                  <a:gd name="T39" fmla="*/ 31 h 92"/>
                  <a:gd name="T40" fmla="*/ 30 w 132"/>
                  <a:gd name="T41" fmla="*/ 18 h 92"/>
                  <a:gd name="T42" fmla="*/ 20 w 132"/>
                  <a:gd name="T43" fmla="*/ 15 h 92"/>
                  <a:gd name="T44" fmla="*/ 3 w 132"/>
                  <a:gd name="T45" fmla="*/ 6 h 92"/>
                  <a:gd name="T46" fmla="*/ 89 w 132"/>
                  <a:gd name="T47" fmla="*/ 86 h 92"/>
                  <a:gd name="T48" fmla="*/ 85 w 132"/>
                  <a:gd name="T49" fmla="*/ 80 h 92"/>
                  <a:gd name="T50" fmla="*/ 87 w 132"/>
                  <a:gd name="T51" fmla="*/ 80 h 92"/>
                  <a:gd name="T52" fmla="*/ 61 w 132"/>
                  <a:gd name="T53" fmla="*/ 38 h 92"/>
                  <a:gd name="T54" fmla="*/ 60 w 132"/>
                  <a:gd name="T55" fmla="*/ 36 h 92"/>
                  <a:gd name="T56" fmla="*/ 53 w 132"/>
                  <a:gd name="T57" fmla="*/ 32 h 92"/>
                  <a:gd name="T58" fmla="*/ 121 w 132"/>
                  <a:gd name="T59" fmla="*/ 44 h 92"/>
                  <a:gd name="T60" fmla="*/ 123 w 132"/>
                  <a:gd name="T61" fmla="*/ 50 h 92"/>
                  <a:gd name="T62" fmla="*/ 129 w 132"/>
                  <a:gd name="T63" fmla="*/ 44 h 92"/>
                  <a:gd name="T64" fmla="*/ 123 w 132"/>
                  <a:gd name="T65" fmla="*/ 38 h 92"/>
                  <a:gd name="T66" fmla="*/ 118 w 132"/>
                  <a:gd name="T67" fmla="*/ 32 h 92"/>
                  <a:gd name="T68" fmla="*/ 92 w 132"/>
                  <a:gd name="T69" fmla="*/ 30 h 92"/>
                  <a:gd name="T70" fmla="*/ 83 w 132"/>
                  <a:gd name="T71" fmla="*/ 33 h 92"/>
                  <a:gd name="T72" fmla="*/ 68 w 132"/>
                  <a:gd name="T73" fmla="*/ 40 h 92"/>
                  <a:gd name="T74" fmla="*/ 81 w 132"/>
                  <a:gd name="T75" fmla="*/ 43 h 92"/>
                  <a:gd name="T76" fmla="*/ 94 w 132"/>
                  <a:gd name="T77" fmla="*/ 38 h 92"/>
                  <a:gd name="T78" fmla="*/ 99 w 132"/>
                  <a:gd name="T79" fmla="*/ 31 h 92"/>
                  <a:gd name="T80" fmla="*/ 101 w 132"/>
                  <a:gd name="T81" fmla="*/ 26 h 92"/>
                  <a:gd name="T82" fmla="*/ 97 w 132"/>
                  <a:gd name="T83" fmla="*/ 24 h 92"/>
                  <a:gd name="T84" fmla="*/ 102 w 132"/>
                  <a:gd name="T85" fmla="*/ 22 h 92"/>
                  <a:gd name="T86" fmla="*/ 105 w 132"/>
                  <a:gd name="T87" fmla="*/ 26 h 92"/>
                  <a:gd name="T88" fmla="*/ 88 w 132"/>
                  <a:gd name="T89" fmla="*/ 11 h 92"/>
                  <a:gd name="T90" fmla="*/ 97 w 132"/>
                  <a:gd name="T91" fmla="*/ 13 h 92"/>
                  <a:gd name="T92" fmla="*/ 81 w 132"/>
                  <a:gd name="T93" fmla="*/ 8 h 92"/>
                  <a:gd name="T94" fmla="*/ 85 w 132"/>
                  <a:gd name="T95" fmla="*/ 6 h 92"/>
                  <a:gd name="T96" fmla="*/ 50 w 132"/>
                  <a:gd name="T97" fmla="*/ 3 h 92"/>
                  <a:gd name="T98" fmla="*/ 51 w 132"/>
                  <a:gd name="T9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2" h="92">
                    <a:moveTo>
                      <a:pt x="1" y="6"/>
                    </a:moveTo>
                    <a:cubicBezTo>
                      <a:pt x="2" y="45"/>
                      <a:pt x="2" y="45"/>
                      <a:pt x="2" y="45"/>
                    </a:cubicBezTo>
                    <a:cubicBezTo>
                      <a:pt x="0" y="48"/>
                      <a:pt x="0" y="48"/>
                      <a:pt x="0" y="48"/>
                    </a:cubicBezTo>
                    <a:cubicBezTo>
                      <a:pt x="2" y="52"/>
                      <a:pt x="2" y="52"/>
                      <a:pt x="2" y="52"/>
                    </a:cubicBezTo>
                    <a:cubicBezTo>
                      <a:pt x="2" y="75"/>
                      <a:pt x="2" y="75"/>
                      <a:pt x="2" y="75"/>
                    </a:cubicBezTo>
                    <a:cubicBezTo>
                      <a:pt x="5" y="75"/>
                      <a:pt x="9" y="75"/>
                      <a:pt x="11" y="75"/>
                    </a:cubicBezTo>
                    <a:cubicBezTo>
                      <a:pt x="11" y="75"/>
                      <a:pt x="13" y="73"/>
                      <a:pt x="13" y="73"/>
                    </a:cubicBezTo>
                    <a:cubicBezTo>
                      <a:pt x="14" y="73"/>
                      <a:pt x="14" y="74"/>
                      <a:pt x="14" y="74"/>
                    </a:cubicBezTo>
                    <a:cubicBezTo>
                      <a:pt x="17" y="75"/>
                      <a:pt x="22" y="73"/>
                      <a:pt x="23" y="72"/>
                    </a:cubicBezTo>
                    <a:cubicBezTo>
                      <a:pt x="23" y="71"/>
                      <a:pt x="23" y="71"/>
                      <a:pt x="23" y="71"/>
                    </a:cubicBezTo>
                    <a:cubicBezTo>
                      <a:pt x="23" y="71"/>
                      <a:pt x="25" y="70"/>
                      <a:pt x="25" y="70"/>
                    </a:cubicBezTo>
                    <a:cubicBezTo>
                      <a:pt x="25" y="68"/>
                      <a:pt x="24" y="67"/>
                      <a:pt x="24" y="65"/>
                    </a:cubicBezTo>
                    <a:cubicBezTo>
                      <a:pt x="24" y="65"/>
                      <a:pt x="26" y="62"/>
                      <a:pt x="26" y="62"/>
                    </a:cubicBezTo>
                    <a:cubicBezTo>
                      <a:pt x="28" y="62"/>
                      <a:pt x="26" y="62"/>
                      <a:pt x="27" y="63"/>
                    </a:cubicBezTo>
                    <a:cubicBezTo>
                      <a:pt x="29" y="64"/>
                      <a:pt x="28" y="62"/>
                      <a:pt x="31" y="62"/>
                    </a:cubicBezTo>
                    <a:cubicBezTo>
                      <a:pt x="32" y="62"/>
                      <a:pt x="34" y="64"/>
                      <a:pt x="35" y="64"/>
                    </a:cubicBezTo>
                    <a:cubicBezTo>
                      <a:pt x="38" y="65"/>
                      <a:pt x="40" y="63"/>
                      <a:pt x="43" y="65"/>
                    </a:cubicBezTo>
                    <a:cubicBezTo>
                      <a:pt x="44" y="65"/>
                      <a:pt x="49" y="70"/>
                      <a:pt x="49" y="71"/>
                    </a:cubicBezTo>
                    <a:cubicBezTo>
                      <a:pt x="50" y="72"/>
                      <a:pt x="49" y="74"/>
                      <a:pt x="49" y="75"/>
                    </a:cubicBezTo>
                    <a:cubicBezTo>
                      <a:pt x="51" y="75"/>
                      <a:pt x="51" y="75"/>
                      <a:pt x="51" y="75"/>
                    </a:cubicBezTo>
                    <a:cubicBezTo>
                      <a:pt x="51" y="76"/>
                      <a:pt x="51" y="76"/>
                      <a:pt x="51" y="76"/>
                    </a:cubicBezTo>
                    <a:cubicBezTo>
                      <a:pt x="53" y="80"/>
                      <a:pt x="54" y="77"/>
                      <a:pt x="56" y="79"/>
                    </a:cubicBezTo>
                    <a:cubicBezTo>
                      <a:pt x="56" y="79"/>
                      <a:pt x="56" y="80"/>
                      <a:pt x="56" y="81"/>
                    </a:cubicBezTo>
                    <a:cubicBezTo>
                      <a:pt x="56" y="82"/>
                      <a:pt x="60" y="82"/>
                      <a:pt x="60" y="84"/>
                    </a:cubicBezTo>
                    <a:cubicBezTo>
                      <a:pt x="60" y="84"/>
                      <a:pt x="60" y="86"/>
                      <a:pt x="60" y="86"/>
                    </a:cubicBezTo>
                    <a:cubicBezTo>
                      <a:pt x="61" y="87"/>
                      <a:pt x="62" y="86"/>
                      <a:pt x="63" y="86"/>
                    </a:cubicBezTo>
                    <a:cubicBezTo>
                      <a:pt x="63" y="86"/>
                      <a:pt x="65" y="88"/>
                      <a:pt x="65" y="88"/>
                    </a:cubicBezTo>
                    <a:cubicBezTo>
                      <a:pt x="67" y="89"/>
                      <a:pt x="67" y="87"/>
                      <a:pt x="68" y="88"/>
                    </a:cubicBezTo>
                    <a:cubicBezTo>
                      <a:pt x="69" y="89"/>
                      <a:pt x="69" y="89"/>
                      <a:pt x="69" y="89"/>
                    </a:cubicBezTo>
                    <a:cubicBezTo>
                      <a:pt x="72" y="90"/>
                      <a:pt x="74" y="89"/>
                      <a:pt x="76" y="90"/>
                    </a:cubicBezTo>
                    <a:cubicBezTo>
                      <a:pt x="76" y="90"/>
                      <a:pt x="77" y="91"/>
                      <a:pt x="77" y="92"/>
                    </a:cubicBezTo>
                    <a:cubicBezTo>
                      <a:pt x="79" y="92"/>
                      <a:pt x="81" y="92"/>
                      <a:pt x="83" y="92"/>
                    </a:cubicBezTo>
                    <a:cubicBezTo>
                      <a:pt x="83" y="91"/>
                      <a:pt x="83" y="90"/>
                      <a:pt x="83" y="88"/>
                    </a:cubicBezTo>
                    <a:cubicBezTo>
                      <a:pt x="82" y="88"/>
                      <a:pt x="81" y="88"/>
                      <a:pt x="79" y="88"/>
                    </a:cubicBezTo>
                    <a:cubicBezTo>
                      <a:pt x="79" y="87"/>
                      <a:pt x="79" y="86"/>
                      <a:pt x="78" y="86"/>
                    </a:cubicBezTo>
                    <a:cubicBezTo>
                      <a:pt x="78" y="84"/>
                      <a:pt x="79" y="84"/>
                      <a:pt x="79" y="83"/>
                    </a:cubicBezTo>
                    <a:cubicBezTo>
                      <a:pt x="78" y="83"/>
                      <a:pt x="77" y="82"/>
                      <a:pt x="77" y="82"/>
                    </a:cubicBezTo>
                    <a:cubicBezTo>
                      <a:pt x="75" y="81"/>
                      <a:pt x="75" y="82"/>
                      <a:pt x="74" y="82"/>
                    </a:cubicBezTo>
                    <a:cubicBezTo>
                      <a:pt x="73" y="80"/>
                      <a:pt x="72" y="78"/>
                      <a:pt x="72" y="76"/>
                    </a:cubicBezTo>
                    <a:cubicBezTo>
                      <a:pt x="70" y="75"/>
                      <a:pt x="69" y="75"/>
                      <a:pt x="67" y="75"/>
                    </a:cubicBezTo>
                    <a:cubicBezTo>
                      <a:pt x="66" y="74"/>
                      <a:pt x="67" y="72"/>
                      <a:pt x="67" y="71"/>
                    </a:cubicBezTo>
                    <a:cubicBezTo>
                      <a:pt x="67" y="70"/>
                      <a:pt x="65" y="69"/>
                      <a:pt x="65" y="69"/>
                    </a:cubicBezTo>
                    <a:cubicBezTo>
                      <a:pt x="65" y="68"/>
                      <a:pt x="65" y="67"/>
                      <a:pt x="65" y="66"/>
                    </a:cubicBezTo>
                    <a:cubicBezTo>
                      <a:pt x="64" y="65"/>
                      <a:pt x="63" y="66"/>
                      <a:pt x="61" y="65"/>
                    </a:cubicBezTo>
                    <a:cubicBezTo>
                      <a:pt x="57" y="63"/>
                      <a:pt x="56" y="59"/>
                      <a:pt x="57" y="54"/>
                    </a:cubicBezTo>
                    <a:cubicBezTo>
                      <a:pt x="55" y="55"/>
                      <a:pt x="56" y="51"/>
                      <a:pt x="56" y="51"/>
                    </a:cubicBezTo>
                    <a:cubicBezTo>
                      <a:pt x="57" y="51"/>
                      <a:pt x="58" y="52"/>
                      <a:pt x="59" y="52"/>
                    </a:cubicBezTo>
                    <a:cubicBezTo>
                      <a:pt x="61" y="50"/>
                      <a:pt x="61" y="50"/>
                      <a:pt x="61" y="50"/>
                    </a:cubicBezTo>
                    <a:cubicBezTo>
                      <a:pt x="62" y="49"/>
                      <a:pt x="62" y="49"/>
                      <a:pt x="62" y="49"/>
                    </a:cubicBezTo>
                    <a:cubicBezTo>
                      <a:pt x="62" y="48"/>
                      <a:pt x="62" y="46"/>
                      <a:pt x="62" y="45"/>
                    </a:cubicBezTo>
                    <a:cubicBezTo>
                      <a:pt x="62" y="45"/>
                      <a:pt x="61" y="44"/>
                      <a:pt x="61" y="44"/>
                    </a:cubicBezTo>
                    <a:cubicBezTo>
                      <a:pt x="60" y="43"/>
                      <a:pt x="61" y="43"/>
                      <a:pt x="60" y="42"/>
                    </a:cubicBezTo>
                    <a:cubicBezTo>
                      <a:pt x="58" y="42"/>
                      <a:pt x="58" y="41"/>
                      <a:pt x="57" y="41"/>
                    </a:cubicBezTo>
                    <a:cubicBezTo>
                      <a:pt x="57" y="41"/>
                      <a:pt x="56" y="42"/>
                      <a:pt x="56" y="42"/>
                    </a:cubicBezTo>
                    <a:cubicBezTo>
                      <a:pt x="56" y="42"/>
                      <a:pt x="54" y="42"/>
                      <a:pt x="54" y="42"/>
                    </a:cubicBezTo>
                    <a:cubicBezTo>
                      <a:pt x="54" y="41"/>
                      <a:pt x="53" y="40"/>
                      <a:pt x="53" y="39"/>
                    </a:cubicBezTo>
                    <a:cubicBezTo>
                      <a:pt x="51" y="38"/>
                      <a:pt x="51" y="38"/>
                      <a:pt x="51" y="38"/>
                    </a:cubicBezTo>
                    <a:cubicBezTo>
                      <a:pt x="51" y="38"/>
                      <a:pt x="52" y="36"/>
                      <a:pt x="51" y="36"/>
                    </a:cubicBezTo>
                    <a:cubicBezTo>
                      <a:pt x="49" y="35"/>
                      <a:pt x="45" y="36"/>
                      <a:pt x="43" y="34"/>
                    </a:cubicBezTo>
                    <a:cubicBezTo>
                      <a:pt x="42" y="33"/>
                      <a:pt x="44" y="32"/>
                      <a:pt x="43" y="31"/>
                    </a:cubicBezTo>
                    <a:cubicBezTo>
                      <a:pt x="43" y="29"/>
                      <a:pt x="39" y="24"/>
                      <a:pt x="38" y="23"/>
                    </a:cubicBezTo>
                    <a:cubicBezTo>
                      <a:pt x="37" y="22"/>
                      <a:pt x="35" y="23"/>
                      <a:pt x="34" y="23"/>
                    </a:cubicBezTo>
                    <a:cubicBezTo>
                      <a:pt x="32" y="22"/>
                      <a:pt x="32" y="18"/>
                      <a:pt x="30" y="18"/>
                    </a:cubicBezTo>
                    <a:cubicBezTo>
                      <a:pt x="29" y="17"/>
                      <a:pt x="27" y="18"/>
                      <a:pt x="26" y="18"/>
                    </a:cubicBezTo>
                    <a:cubicBezTo>
                      <a:pt x="26" y="18"/>
                      <a:pt x="24" y="15"/>
                      <a:pt x="24" y="15"/>
                    </a:cubicBezTo>
                    <a:cubicBezTo>
                      <a:pt x="22" y="15"/>
                      <a:pt x="21" y="15"/>
                      <a:pt x="20" y="15"/>
                    </a:cubicBezTo>
                    <a:cubicBezTo>
                      <a:pt x="19" y="15"/>
                      <a:pt x="18" y="13"/>
                      <a:pt x="18" y="13"/>
                    </a:cubicBezTo>
                    <a:cubicBezTo>
                      <a:pt x="15" y="12"/>
                      <a:pt x="12" y="12"/>
                      <a:pt x="10" y="11"/>
                    </a:cubicBezTo>
                    <a:cubicBezTo>
                      <a:pt x="7" y="10"/>
                      <a:pt x="5" y="8"/>
                      <a:pt x="3" y="6"/>
                    </a:cubicBezTo>
                    <a:cubicBezTo>
                      <a:pt x="3" y="5"/>
                      <a:pt x="3" y="5"/>
                      <a:pt x="3" y="5"/>
                    </a:cubicBezTo>
                    <a:cubicBezTo>
                      <a:pt x="2" y="5"/>
                      <a:pt x="2" y="6"/>
                      <a:pt x="1" y="6"/>
                    </a:cubicBezTo>
                    <a:close/>
                    <a:moveTo>
                      <a:pt x="89" y="86"/>
                    </a:moveTo>
                    <a:cubicBezTo>
                      <a:pt x="88" y="86"/>
                      <a:pt x="88" y="88"/>
                      <a:pt x="89" y="88"/>
                    </a:cubicBezTo>
                    <a:cubicBezTo>
                      <a:pt x="89" y="88"/>
                      <a:pt x="91" y="85"/>
                      <a:pt x="89" y="86"/>
                    </a:cubicBezTo>
                    <a:close/>
                    <a:moveTo>
                      <a:pt x="85" y="80"/>
                    </a:moveTo>
                    <a:cubicBezTo>
                      <a:pt x="84" y="82"/>
                      <a:pt x="84" y="82"/>
                      <a:pt x="84" y="82"/>
                    </a:cubicBezTo>
                    <a:cubicBezTo>
                      <a:pt x="86" y="81"/>
                      <a:pt x="86" y="82"/>
                      <a:pt x="87" y="82"/>
                    </a:cubicBezTo>
                    <a:cubicBezTo>
                      <a:pt x="87" y="82"/>
                      <a:pt x="87" y="80"/>
                      <a:pt x="87" y="80"/>
                    </a:cubicBezTo>
                    <a:cubicBezTo>
                      <a:pt x="86" y="80"/>
                      <a:pt x="86" y="80"/>
                      <a:pt x="85" y="80"/>
                    </a:cubicBezTo>
                    <a:close/>
                    <a:moveTo>
                      <a:pt x="60" y="36"/>
                    </a:moveTo>
                    <a:cubicBezTo>
                      <a:pt x="61" y="38"/>
                      <a:pt x="61" y="38"/>
                      <a:pt x="61" y="38"/>
                    </a:cubicBezTo>
                    <a:cubicBezTo>
                      <a:pt x="61" y="38"/>
                      <a:pt x="63" y="38"/>
                      <a:pt x="62" y="38"/>
                    </a:cubicBezTo>
                    <a:cubicBezTo>
                      <a:pt x="62" y="38"/>
                      <a:pt x="64" y="37"/>
                      <a:pt x="63" y="36"/>
                    </a:cubicBezTo>
                    <a:cubicBezTo>
                      <a:pt x="62" y="36"/>
                      <a:pt x="61" y="36"/>
                      <a:pt x="60" y="36"/>
                    </a:cubicBezTo>
                    <a:close/>
                    <a:moveTo>
                      <a:pt x="53" y="32"/>
                    </a:moveTo>
                    <a:cubicBezTo>
                      <a:pt x="53" y="34"/>
                      <a:pt x="53" y="34"/>
                      <a:pt x="53" y="34"/>
                    </a:cubicBezTo>
                    <a:cubicBezTo>
                      <a:pt x="55" y="34"/>
                      <a:pt x="55" y="32"/>
                      <a:pt x="53" y="32"/>
                    </a:cubicBezTo>
                    <a:close/>
                    <a:moveTo>
                      <a:pt x="118" y="32"/>
                    </a:moveTo>
                    <a:cubicBezTo>
                      <a:pt x="118" y="35"/>
                      <a:pt x="117" y="37"/>
                      <a:pt x="118" y="40"/>
                    </a:cubicBezTo>
                    <a:cubicBezTo>
                      <a:pt x="118" y="41"/>
                      <a:pt x="120" y="42"/>
                      <a:pt x="121" y="44"/>
                    </a:cubicBezTo>
                    <a:cubicBezTo>
                      <a:pt x="121" y="44"/>
                      <a:pt x="120" y="46"/>
                      <a:pt x="121" y="46"/>
                    </a:cubicBezTo>
                    <a:cubicBezTo>
                      <a:pt x="121" y="47"/>
                      <a:pt x="122" y="47"/>
                      <a:pt x="123" y="48"/>
                    </a:cubicBezTo>
                    <a:cubicBezTo>
                      <a:pt x="123" y="48"/>
                      <a:pt x="123" y="49"/>
                      <a:pt x="123" y="50"/>
                    </a:cubicBezTo>
                    <a:cubicBezTo>
                      <a:pt x="124" y="51"/>
                      <a:pt x="128" y="52"/>
                      <a:pt x="129" y="53"/>
                    </a:cubicBezTo>
                    <a:cubicBezTo>
                      <a:pt x="130" y="52"/>
                      <a:pt x="131" y="51"/>
                      <a:pt x="132" y="50"/>
                    </a:cubicBezTo>
                    <a:cubicBezTo>
                      <a:pt x="131" y="49"/>
                      <a:pt x="130" y="46"/>
                      <a:pt x="129" y="44"/>
                    </a:cubicBezTo>
                    <a:cubicBezTo>
                      <a:pt x="129" y="44"/>
                      <a:pt x="128" y="44"/>
                      <a:pt x="127" y="44"/>
                    </a:cubicBezTo>
                    <a:cubicBezTo>
                      <a:pt x="127" y="44"/>
                      <a:pt x="124" y="41"/>
                      <a:pt x="123" y="40"/>
                    </a:cubicBezTo>
                    <a:cubicBezTo>
                      <a:pt x="123" y="40"/>
                      <a:pt x="123" y="38"/>
                      <a:pt x="123" y="38"/>
                    </a:cubicBezTo>
                    <a:cubicBezTo>
                      <a:pt x="123" y="37"/>
                      <a:pt x="120" y="36"/>
                      <a:pt x="120" y="36"/>
                    </a:cubicBezTo>
                    <a:cubicBezTo>
                      <a:pt x="119" y="34"/>
                      <a:pt x="120" y="33"/>
                      <a:pt x="119" y="32"/>
                    </a:cubicBezTo>
                    <a:lnTo>
                      <a:pt x="118" y="32"/>
                    </a:lnTo>
                    <a:close/>
                    <a:moveTo>
                      <a:pt x="97" y="24"/>
                    </a:moveTo>
                    <a:cubicBezTo>
                      <a:pt x="92" y="28"/>
                      <a:pt x="97" y="26"/>
                      <a:pt x="95" y="29"/>
                    </a:cubicBezTo>
                    <a:cubicBezTo>
                      <a:pt x="95" y="30"/>
                      <a:pt x="92" y="30"/>
                      <a:pt x="92" y="30"/>
                    </a:cubicBezTo>
                    <a:cubicBezTo>
                      <a:pt x="92" y="31"/>
                      <a:pt x="92" y="32"/>
                      <a:pt x="92" y="32"/>
                    </a:cubicBezTo>
                    <a:cubicBezTo>
                      <a:pt x="91" y="36"/>
                      <a:pt x="88" y="36"/>
                      <a:pt x="84" y="36"/>
                    </a:cubicBezTo>
                    <a:cubicBezTo>
                      <a:pt x="83" y="34"/>
                      <a:pt x="83" y="35"/>
                      <a:pt x="83" y="33"/>
                    </a:cubicBezTo>
                    <a:cubicBezTo>
                      <a:pt x="81" y="36"/>
                      <a:pt x="79" y="39"/>
                      <a:pt x="74" y="39"/>
                    </a:cubicBezTo>
                    <a:cubicBezTo>
                      <a:pt x="73" y="39"/>
                      <a:pt x="72" y="37"/>
                      <a:pt x="70" y="38"/>
                    </a:cubicBezTo>
                    <a:cubicBezTo>
                      <a:pt x="70" y="38"/>
                      <a:pt x="68" y="40"/>
                      <a:pt x="68" y="40"/>
                    </a:cubicBezTo>
                    <a:cubicBezTo>
                      <a:pt x="69" y="40"/>
                      <a:pt x="71" y="41"/>
                      <a:pt x="73" y="42"/>
                    </a:cubicBezTo>
                    <a:cubicBezTo>
                      <a:pt x="73" y="42"/>
                      <a:pt x="73" y="43"/>
                      <a:pt x="74" y="44"/>
                    </a:cubicBezTo>
                    <a:cubicBezTo>
                      <a:pt x="76" y="44"/>
                      <a:pt x="80" y="43"/>
                      <a:pt x="81" y="43"/>
                    </a:cubicBezTo>
                    <a:cubicBezTo>
                      <a:pt x="84" y="43"/>
                      <a:pt x="87" y="44"/>
                      <a:pt x="89" y="42"/>
                    </a:cubicBezTo>
                    <a:cubicBezTo>
                      <a:pt x="90" y="42"/>
                      <a:pt x="91" y="40"/>
                      <a:pt x="91" y="40"/>
                    </a:cubicBezTo>
                    <a:cubicBezTo>
                      <a:pt x="92" y="39"/>
                      <a:pt x="93" y="39"/>
                      <a:pt x="94" y="38"/>
                    </a:cubicBezTo>
                    <a:cubicBezTo>
                      <a:pt x="94" y="37"/>
                      <a:pt x="94" y="36"/>
                      <a:pt x="95" y="36"/>
                    </a:cubicBezTo>
                    <a:cubicBezTo>
                      <a:pt x="96" y="35"/>
                      <a:pt x="97" y="36"/>
                      <a:pt x="99" y="35"/>
                    </a:cubicBezTo>
                    <a:cubicBezTo>
                      <a:pt x="99" y="34"/>
                      <a:pt x="100" y="32"/>
                      <a:pt x="99" y="31"/>
                    </a:cubicBezTo>
                    <a:cubicBezTo>
                      <a:pt x="99" y="31"/>
                      <a:pt x="100" y="31"/>
                      <a:pt x="101" y="30"/>
                    </a:cubicBezTo>
                    <a:cubicBezTo>
                      <a:pt x="101" y="30"/>
                      <a:pt x="101" y="28"/>
                      <a:pt x="101" y="28"/>
                    </a:cubicBezTo>
                    <a:cubicBezTo>
                      <a:pt x="101" y="28"/>
                      <a:pt x="100" y="26"/>
                      <a:pt x="101" y="26"/>
                    </a:cubicBezTo>
                    <a:cubicBezTo>
                      <a:pt x="99" y="26"/>
                      <a:pt x="99" y="26"/>
                      <a:pt x="99" y="26"/>
                    </a:cubicBezTo>
                    <a:cubicBezTo>
                      <a:pt x="99" y="26"/>
                      <a:pt x="99" y="24"/>
                      <a:pt x="99" y="24"/>
                    </a:cubicBezTo>
                    <a:cubicBezTo>
                      <a:pt x="99" y="23"/>
                      <a:pt x="98" y="24"/>
                      <a:pt x="97" y="24"/>
                    </a:cubicBezTo>
                    <a:close/>
                    <a:moveTo>
                      <a:pt x="98" y="16"/>
                    </a:moveTo>
                    <a:cubicBezTo>
                      <a:pt x="98" y="17"/>
                      <a:pt x="98" y="18"/>
                      <a:pt x="99" y="18"/>
                    </a:cubicBezTo>
                    <a:cubicBezTo>
                      <a:pt x="99" y="19"/>
                      <a:pt x="102" y="21"/>
                      <a:pt x="102" y="22"/>
                    </a:cubicBezTo>
                    <a:cubicBezTo>
                      <a:pt x="103" y="27"/>
                      <a:pt x="100" y="25"/>
                      <a:pt x="103" y="28"/>
                    </a:cubicBezTo>
                    <a:cubicBezTo>
                      <a:pt x="105" y="28"/>
                      <a:pt x="105" y="28"/>
                      <a:pt x="105" y="28"/>
                    </a:cubicBezTo>
                    <a:cubicBezTo>
                      <a:pt x="105" y="27"/>
                      <a:pt x="105" y="27"/>
                      <a:pt x="105" y="26"/>
                    </a:cubicBezTo>
                    <a:cubicBezTo>
                      <a:pt x="107" y="20"/>
                      <a:pt x="102" y="18"/>
                      <a:pt x="98" y="16"/>
                    </a:cubicBezTo>
                    <a:close/>
                    <a:moveTo>
                      <a:pt x="87" y="9"/>
                    </a:moveTo>
                    <a:cubicBezTo>
                      <a:pt x="88" y="9"/>
                      <a:pt x="88" y="11"/>
                      <a:pt x="88" y="11"/>
                    </a:cubicBezTo>
                    <a:cubicBezTo>
                      <a:pt x="90" y="13"/>
                      <a:pt x="92" y="13"/>
                      <a:pt x="95" y="14"/>
                    </a:cubicBezTo>
                    <a:cubicBezTo>
                      <a:pt x="94" y="15"/>
                      <a:pt x="97" y="15"/>
                      <a:pt x="97" y="15"/>
                    </a:cubicBezTo>
                    <a:cubicBezTo>
                      <a:pt x="97" y="15"/>
                      <a:pt x="97" y="13"/>
                      <a:pt x="97" y="13"/>
                    </a:cubicBezTo>
                    <a:cubicBezTo>
                      <a:pt x="93" y="11"/>
                      <a:pt x="92" y="10"/>
                      <a:pt x="87" y="9"/>
                    </a:cubicBezTo>
                    <a:close/>
                    <a:moveTo>
                      <a:pt x="81" y="6"/>
                    </a:moveTo>
                    <a:cubicBezTo>
                      <a:pt x="81" y="6"/>
                      <a:pt x="80" y="8"/>
                      <a:pt x="81" y="8"/>
                    </a:cubicBezTo>
                    <a:cubicBezTo>
                      <a:pt x="81" y="9"/>
                      <a:pt x="81" y="9"/>
                      <a:pt x="81" y="9"/>
                    </a:cubicBezTo>
                    <a:cubicBezTo>
                      <a:pt x="82" y="9"/>
                      <a:pt x="84" y="9"/>
                      <a:pt x="85" y="9"/>
                    </a:cubicBezTo>
                    <a:cubicBezTo>
                      <a:pt x="85" y="9"/>
                      <a:pt x="86" y="7"/>
                      <a:pt x="85" y="6"/>
                    </a:cubicBezTo>
                    <a:cubicBezTo>
                      <a:pt x="83" y="6"/>
                      <a:pt x="82" y="7"/>
                      <a:pt x="81" y="6"/>
                    </a:cubicBezTo>
                    <a:close/>
                    <a:moveTo>
                      <a:pt x="51" y="0"/>
                    </a:moveTo>
                    <a:cubicBezTo>
                      <a:pt x="51" y="0"/>
                      <a:pt x="50" y="2"/>
                      <a:pt x="50" y="3"/>
                    </a:cubicBezTo>
                    <a:cubicBezTo>
                      <a:pt x="53" y="3"/>
                      <a:pt x="55" y="3"/>
                      <a:pt x="57" y="3"/>
                    </a:cubicBezTo>
                    <a:cubicBezTo>
                      <a:pt x="57" y="3"/>
                      <a:pt x="55" y="2"/>
                      <a:pt x="55" y="2"/>
                    </a:cubicBezTo>
                    <a:cubicBezTo>
                      <a:pt x="54" y="1"/>
                      <a:pt x="52" y="1"/>
                      <a:pt x="51"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30" name="Freeform 109">
                <a:extLst>
                  <a:ext uri="{FF2B5EF4-FFF2-40B4-BE49-F238E27FC236}">
                    <a16:creationId xmlns:a16="http://schemas.microsoft.com/office/drawing/2014/main" id="{80B3E9FF-1DF0-624E-2316-429DD038C40F}"/>
                  </a:ext>
                </a:extLst>
              </p:cNvPr>
              <p:cNvSpPr>
                <a:spLocks noEditPoints="1"/>
              </p:cNvSpPr>
              <p:nvPr/>
            </p:nvSpPr>
            <p:spPr bwMode="auto">
              <a:xfrm>
                <a:off x="5486" y="2306"/>
                <a:ext cx="259" cy="180"/>
              </a:xfrm>
              <a:custGeom>
                <a:avLst/>
                <a:gdLst>
                  <a:gd name="T0" fmla="*/ 0 w 132"/>
                  <a:gd name="T1" fmla="*/ 48 h 92"/>
                  <a:gd name="T2" fmla="*/ 11 w 132"/>
                  <a:gd name="T3" fmla="*/ 75 h 92"/>
                  <a:gd name="T4" fmla="*/ 23 w 132"/>
                  <a:gd name="T5" fmla="*/ 72 h 92"/>
                  <a:gd name="T6" fmla="*/ 24 w 132"/>
                  <a:gd name="T7" fmla="*/ 65 h 92"/>
                  <a:gd name="T8" fmla="*/ 31 w 132"/>
                  <a:gd name="T9" fmla="*/ 62 h 92"/>
                  <a:gd name="T10" fmla="*/ 49 w 132"/>
                  <a:gd name="T11" fmla="*/ 71 h 92"/>
                  <a:gd name="T12" fmla="*/ 51 w 132"/>
                  <a:gd name="T13" fmla="*/ 76 h 92"/>
                  <a:gd name="T14" fmla="*/ 60 w 132"/>
                  <a:gd name="T15" fmla="*/ 84 h 92"/>
                  <a:gd name="T16" fmla="*/ 65 w 132"/>
                  <a:gd name="T17" fmla="*/ 88 h 92"/>
                  <a:gd name="T18" fmla="*/ 76 w 132"/>
                  <a:gd name="T19" fmla="*/ 90 h 92"/>
                  <a:gd name="T20" fmla="*/ 83 w 132"/>
                  <a:gd name="T21" fmla="*/ 88 h 92"/>
                  <a:gd name="T22" fmla="*/ 79 w 132"/>
                  <a:gd name="T23" fmla="*/ 83 h 92"/>
                  <a:gd name="T24" fmla="*/ 72 w 132"/>
                  <a:gd name="T25" fmla="*/ 76 h 92"/>
                  <a:gd name="T26" fmla="*/ 65 w 132"/>
                  <a:gd name="T27" fmla="*/ 69 h 92"/>
                  <a:gd name="T28" fmla="*/ 57 w 132"/>
                  <a:gd name="T29" fmla="*/ 54 h 92"/>
                  <a:gd name="T30" fmla="*/ 61 w 132"/>
                  <a:gd name="T31" fmla="*/ 50 h 92"/>
                  <a:gd name="T32" fmla="*/ 61 w 132"/>
                  <a:gd name="T33" fmla="*/ 44 h 92"/>
                  <a:gd name="T34" fmla="*/ 56 w 132"/>
                  <a:gd name="T35" fmla="*/ 42 h 92"/>
                  <a:gd name="T36" fmla="*/ 51 w 132"/>
                  <a:gd name="T37" fmla="*/ 38 h 92"/>
                  <a:gd name="T38" fmla="*/ 43 w 132"/>
                  <a:gd name="T39" fmla="*/ 31 h 92"/>
                  <a:gd name="T40" fmla="*/ 30 w 132"/>
                  <a:gd name="T41" fmla="*/ 18 h 92"/>
                  <a:gd name="T42" fmla="*/ 20 w 132"/>
                  <a:gd name="T43" fmla="*/ 15 h 92"/>
                  <a:gd name="T44" fmla="*/ 3 w 132"/>
                  <a:gd name="T45" fmla="*/ 6 h 92"/>
                  <a:gd name="T46" fmla="*/ 89 w 132"/>
                  <a:gd name="T47" fmla="*/ 86 h 92"/>
                  <a:gd name="T48" fmla="*/ 85 w 132"/>
                  <a:gd name="T49" fmla="*/ 80 h 92"/>
                  <a:gd name="T50" fmla="*/ 87 w 132"/>
                  <a:gd name="T51" fmla="*/ 80 h 92"/>
                  <a:gd name="T52" fmla="*/ 61 w 132"/>
                  <a:gd name="T53" fmla="*/ 38 h 92"/>
                  <a:gd name="T54" fmla="*/ 60 w 132"/>
                  <a:gd name="T55" fmla="*/ 36 h 92"/>
                  <a:gd name="T56" fmla="*/ 53 w 132"/>
                  <a:gd name="T57" fmla="*/ 32 h 92"/>
                  <a:gd name="T58" fmla="*/ 121 w 132"/>
                  <a:gd name="T59" fmla="*/ 44 h 92"/>
                  <a:gd name="T60" fmla="*/ 123 w 132"/>
                  <a:gd name="T61" fmla="*/ 50 h 92"/>
                  <a:gd name="T62" fmla="*/ 129 w 132"/>
                  <a:gd name="T63" fmla="*/ 44 h 92"/>
                  <a:gd name="T64" fmla="*/ 123 w 132"/>
                  <a:gd name="T65" fmla="*/ 38 h 92"/>
                  <a:gd name="T66" fmla="*/ 118 w 132"/>
                  <a:gd name="T67" fmla="*/ 32 h 92"/>
                  <a:gd name="T68" fmla="*/ 92 w 132"/>
                  <a:gd name="T69" fmla="*/ 30 h 92"/>
                  <a:gd name="T70" fmla="*/ 83 w 132"/>
                  <a:gd name="T71" fmla="*/ 33 h 92"/>
                  <a:gd name="T72" fmla="*/ 68 w 132"/>
                  <a:gd name="T73" fmla="*/ 40 h 92"/>
                  <a:gd name="T74" fmla="*/ 81 w 132"/>
                  <a:gd name="T75" fmla="*/ 43 h 92"/>
                  <a:gd name="T76" fmla="*/ 94 w 132"/>
                  <a:gd name="T77" fmla="*/ 38 h 92"/>
                  <a:gd name="T78" fmla="*/ 99 w 132"/>
                  <a:gd name="T79" fmla="*/ 31 h 92"/>
                  <a:gd name="T80" fmla="*/ 101 w 132"/>
                  <a:gd name="T81" fmla="*/ 26 h 92"/>
                  <a:gd name="T82" fmla="*/ 97 w 132"/>
                  <a:gd name="T83" fmla="*/ 24 h 92"/>
                  <a:gd name="T84" fmla="*/ 102 w 132"/>
                  <a:gd name="T85" fmla="*/ 22 h 92"/>
                  <a:gd name="T86" fmla="*/ 105 w 132"/>
                  <a:gd name="T87" fmla="*/ 26 h 92"/>
                  <a:gd name="T88" fmla="*/ 88 w 132"/>
                  <a:gd name="T89" fmla="*/ 11 h 92"/>
                  <a:gd name="T90" fmla="*/ 97 w 132"/>
                  <a:gd name="T91" fmla="*/ 13 h 92"/>
                  <a:gd name="T92" fmla="*/ 81 w 132"/>
                  <a:gd name="T93" fmla="*/ 8 h 92"/>
                  <a:gd name="T94" fmla="*/ 85 w 132"/>
                  <a:gd name="T95" fmla="*/ 6 h 92"/>
                  <a:gd name="T96" fmla="*/ 50 w 132"/>
                  <a:gd name="T97" fmla="*/ 3 h 92"/>
                  <a:gd name="T98" fmla="*/ 51 w 132"/>
                  <a:gd name="T9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2" h="92">
                    <a:moveTo>
                      <a:pt x="1" y="6"/>
                    </a:moveTo>
                    <a:cubicBezTo>
                      <a:pt x="2" y="45"/>
                      <a:pt x="2" y="45"/>
                      <a:pt x="2" y="45"/>
                    </a:cubicBezTo>
                    <a:cubicBezTo>
                      <a:pt x="0" y="48"/>
                      <a:pt x="0" y="48"/>
                      <a:pt x="0" y="48"/>
                    </a:cubicBezTo>
                    <a:cubicBezTo>
                      <a:pt x="2" y="52"/>
                      <a:pt x="2" y="52"/>
                      <a:pt x="2" y="52"/>
                    </a:cubicBezTo>
                    <a:cubicBezTo>
                      <a:pt x="2" y="75"/>
                      <a:pt x="2" y="75"/>
                      <a:pt x="2" y="75"/>
                    </a:cubicBezTo>
                    <a:cubicBezTo>
                      <a:pt x="5" y="75"/>
                      <a:pt x="9" y="75"/>
                      <a:pt x="11" y="75"/>
                    </a:cubicBezTo>
                    <a:cubicBezTo>
                      <a:pt x="11" y="75"/>
                      <a:pt x="13" y="73"/>
                      <a:pt x="13" y="73"/>
                    </a:cubicBezTo>
                    <a:cubicBezTo>
                      <a:pt x="14" y="73"/>
                      <a:pt x="14" y="74"/>
                      <a:pt x="14" y="74"/>
                    </a:cubicBezTo>
                    <a:cubicBezTo>
                      <a:pt x="17" y="75"/>
                      <a:pt x="22" y="73"/>
                      <a:pt x="23" y="72"/>
                    </a:cubicBezTo>
                    <a:cubicBezTo>
                      <a:pt x="23" y="71"/>
                      <a:pt x="23" y="71"/>
                      <a:pt x="23" y="71"/>
                    </a:cubicBezTo>
                    <a:cubicBezTo>
                      <a:pt x="23" y="71"/>
                      <a:pt x="25" y="70"/>
                      <a:pt x="25" y="70"/>
                    </a:cubicBezTo>
                    <a:cubicBezTo>
                      <a:pt x="25" y="68"/>
                      <a:pt x="24" y="67"/>
                      <a:pt x="24" y="65"/>
                    </a:cubicBezTo>
                    <a:cubicBezTo>
                      <a:pt x="24" y="65"/>
                      <a:pt x="26" y="62"/>
                      <a:pt x="26" y="62"/>
                    </a:cubicBezTo>
                    <a:cubicBezTo>
                      <a:pt x="28" y="62"/>
                      <a:pt x="26" y="62"/>
                      <a:pt x="27" y="63"/>
                    </a:cubicBezTo>
                    <a:cubicBezTo>
                      <a:pt x="29" y="64"/>
                      <a:pt x="28" y="62"/>
                      <a:pt x="31" y="62"/>
                    </a:cubicBezTo>
                    <a:cubicBezTo>
                      <a:pt x="32" y="62"/>
                      <a:pt x="34" y="64"/>
                      <a:pt x="35" y="64"/>
                    </a:cubicBezTo>
                    <a:cubicBezTo>
                      <a:pt x="38" y="65"/>
                      <a:pt x="40" y="63"/>
                      <a:pt x="43" y="65"/>
                    </a:cubicBezTo>
                    <a:cubicBezTo>
                      <a:pt x="44" y="65"/>
                      <a:pt x="49" y="70"/>
                      <a:pt x="49" y="71"/>
                    </a:cubicBezTo>
                    <a:cubicBezTo>
                      <a:pt x="50" y="72"/>
                      <a:pt x="49" y="74"/>
                      <a:pt x="49" y="75"/>
                    </a:cubicBezTo>
                    <a:cubicBezTo>
                      <a:pt x="51" y="75"/>
                      <a:pt x="51" y="75"/>
                      <a:pt x="51" y="75"/>
                    </a:cubicBezTo>
                    <a:cubicBezTo>
                      <a:pt x="51" y="76"/>
                      <a:pt x="51" y="76"/>
                      <a:pt x="51" y="76"/>
                    </a:cubicBezTo>
                    <a:cubicBezTo>
                      <a:pt x="53" y="80"/>
                      <a:pt x="54" y="77"/>
                      <a:pt x="56" y="79"/>
                    </a:cubicBezTo>
                    <a:cubicBezTo>
                      <a:pt x="56" y="79"/>
                      <a:pt x="56" y="80"/>
                      <a:pt x="56" y="81"/>
                    </a:cubicBezTo>
                    <a:cubicBezTo>
                      <a:pt x="56" y="82"/>
                      <a:pt x="60" y="82"/>
                      <a:pt x="60" y="84"/>
                    </a:cubicBezTo>
                    <a:cubicBezTo>
                      <a:pt x="60" y="84"/>
                      <a:pt x="60" y="86"/>
                      <a:pt x="60" y="86"/>
                    </a:cubicBezTo>
                    <a:cubicBezTo>
                      <a:pt x="61" y="87"/>
                      <a:pt x="62" y="86"/>
                      <a:pt x="63" y="86"/>
                    </a:cubicBezTo>
                    <a:cubicBezTo>
                      <a:pt x="63" y="86"/>
                      <a:pt x="65" y="88"/>
                      <a:pt x="65" y="88"/>
                    </a:cubicBezTo>
                    <a:cubicBezTo>
                      <a:pt x="67" y="89"/>
                      <a:pt x="67" y="87"/>
                      <a:pt x="68" y="88"/>
                    </a:cubicBezTo>
                    <a:cubicBezTo>
                      <a:pt x="69" y="89"/>
                      <a:pt x="69" y="89"/>
                      <a:pt x="69" y="89"/>
                    </a:cubicBezTo>
                    <a:cubicBezTo>
                      <a:pt x="72" y="90"/>
                      <a:pt x="74" y="89"/>
                      <a:pt x="76" y="90"/>
                    </a:cubicBezTo>
                    <a:cubicBezTo>
                      <a:pt x="76" y="90"/>
                      <a:pt x="77" y="91"/>
                      <a:pt x="77" y="92"/>
                    </a:cubicBezTo>
                    <a:cubicBezTo>
                      <a:pt x="79" y="92"/>
                      <a:pt x="81" y="92"/>
                      <a:pt x="83" y="92"/>
                    </a:cubicBezTo>
                    <a:cubicBezTo>
                      <a:pt x="83" y="91"/>
                      <a:pt x="83" y="90"/>
                      <a:pt x="83" y="88"/>
                    </a:cubicBezTo>
                    <a:cubicBezTo>
                      <a:pt x="82" y="88"/>
                      <a:pt x="81" y="88"/>
                      <a:pt x="79" y="88"/>
                    </a:cubicBezTo>
                    <a:cubicBezTo>
                      <a:pt x="79" y="87"/>
                      <a:pt x="79" y="86"/>
                      <a:pt x="78" y="86"/>
                    </a:cubicBezTo>
                    <a:cubicBezTo>
                      <a:pt x="78" y="84"/>
                      <a:pt x="79" y="84"/>
                      <a:pt x="79" y="83"/>
                    </a:cubicBezTo>
                    <a:cubicBezTo>
                      <a:pt x="78" y="83"/>
                      <a:pt x="77" y="82"/>
                      <a:pt x="77" y="82"/>
                    </a:cubicBezTo>
                    <a:cubicBezTo>
                      <a:pt x="75" y="81"/>
                      <a:pt x="75" y="82"/>
                      <a:pt x="74" y="82"/>
                    </a:cubicBezTo>
                    <a:cubicBezTo>
                      <a:pt x="73" y="80"/>
                      <a:pt x="72" y="78"/>
                      <a:pt x="72" y="76"/>
                    </a:cubicBezTo>
                    <a:cubicBezTo>
                      <a:pt x="70" y="75"/>
                      <a:pt x="69" y="75"/>
                      <a:pt x="67" y="75"/>
                    </a:cubicBezTo>
                    <a:cubicBezTo>
                      <a:pt x="66" y="74"/>
                      <a:pt x="67" y="72"/>
                      <a:pt x="67" y="71"/>
                    </a:cubicBezTo>
                    <a:cubicBezTo>
                      <a:pt x="67" y="70"/>
                      <a:pt x="65" y="69"/>
                      <a:pt x="65" y="69"/>
                    </a:cubicBezTo>
                    <a:cubicBezTo>
                      <a:pt x="65" y="68"/>
                      <a:pt x="65" y="67"/>
                      <a:pt x="65" y="66"/>
                    </a:cubicBezTo>
                    <a:cubicBezTo>
                      <a:pt x="64" y="65"/>
                      <a:pt x="63" y="66"/>
                      <a:pt x="61" y="65"/>
                    </a:cubicBezTo>
                    <a:cubicBezTo>
                      <a:pt x="57" y="63"/>
                      <a:pt x="56" y="59"/>
                      <a:pt x="57" y="54"/>
                    </a:cubicBezTo>
                    <a:cubicBezTo>
                      <a:pt x="55" y="55"/>
                      <a:pt x="56" y="51"/>
                      <a:pt x="56" y="51"/>
                    </a:cubicBezTo>
                    <a:cubicBezTo>
                      <a:pt x="57" y="51"/>
                      <a:pt x="58" y="52"/>
                      <a:pt x="59" y="52"/>
                    </a:cubicBezTo>
                    <a:cubicBezTo>
                      <a:pt x="61" y="50"/>
                      <a:pt x="61" y="50"/>
                      <a:pt x="61" y="50"/>
                    </a:cubicBezTo>
                    <a:cubicBezTo>
                      <a:pt x="62" y="49"/>
                      <a:pt x="62" y="49"/>
                      <a:pt x="62" y="49"/>
                    </a:cubicBezTo>
                    <a:cubicBezTo>
                      <a:pt x="62" y="48"/>
                      <a:pt x="62" y="46"/>
                      <a:pt x="62" y="45"/>
                    </a:cubicBezTo>
                    <a:cubicBezTo>
                      <a:pt x="62" y="45"/>
                      <a:pt x="61" y="44"/>
                      <a:pt x="61" y="44"/>
                    </a:cubicBezTo>
                    <a:cubicBezTo>
                      <a:pt x="60" y="43"/>
                      <a:pt x="61" y="43"/>
                      <a:pt x="60" y="42"/>
                    </a:cubicBezTo>
                    <a:cubicBezTo>
                      <a:pt x="58" y="42"/>
                      <a:pt x="58" y="41"/>
                      <a:pt x="57" y="41"/>
                    </a:cubicBezTo>
                    <a:cubicBezTo>
                      <a:pt x="57" y="41"/>
                      <a:pt x="56" y="42"/>
                      <a:pt x="56" y="42"/>
                    </a:cubicBezTo>
                    <a:cubicBezTo>
                      <a:pt x="56" y="42"/>
                      <a:pt x="54" y="42"/>
                      <a:pt x="54" y="42"/>
                    </a:cubicBezTo>
                    <a:cubicBezTo>
                      <a:pt x="54" y="41"/>
                      <a:pt x="53" y="40"/>
                      <a:pt x="53" y="39"/>
                    </a:cubicBezTo>
                    <a:cubicBezTo>
                      <a:pt x="51" y="38"/>
                      <a:pt x="51" y="38"/>
                      <a:pt x="51" y="38"/>
                    </a:cubicBezTo>
                    <a:cubicBezTo>
                      <a:pt x="51" y="38"/>
                      <a:pt x="52" y="36"/>
                      <a:pt x="51" y="36"/>
                    </a:cubicBezTo>
                    <a:cubicBezTo>
                      <a:pt x="49" y="35"/>
                      <a:pt x="45" y="36"/>
                      <a:pt x="43" y="34"/>
                    </a:cubicBezTo>
                    <a:cubicBezTo>
                      <a:pt x="42" y="33"/>
                      <a:pt x="44" y="32"/>
                      <a:pt x="43" y="31"/>
                    </a:cubicBezTo>
                    <a:cubicBezTo>
                      <a:pt x="43" y="29"/>
                      <a:pt x="39" y="24"/>
                      <a:pt x="38" y="23"/>
                    </a:cubicBezTo>
                    <a:cubicBezTo>
                      <a:pt x="37" y="22"/>
                      <a:pt x="35" y="23"/>
                      <a:pt x="34" y="23"/>
                    </a:cubicBezTo>
                    <a:cubicBezTo>
                      <a:pt x="32" y="22"/>
                      <a:pt x="32" y="18"/>
                      <a:pt x="30" y="18"/>
                    </a:cubicBezTo>
                    <a:cubicBezTo>
                      <a:pt x="29" y="17"/>
                      <a:pt x="27" y="18"/>
                      <a:pt x="26" y="18"/>
                    </a:cubicBezTo>
                    <a:cubicBezTo>
                      <a:pt x="26" y="18"/>
                      <a:pt x="24" y="15"/>
                      <a:pt x="24" y="15"/>
                    </a:cubicBezTo>
                    <a:cubicBezTo>
                      <a:pt x="22" y="15"/>
                      <a:pt x="21" y="15"/>
                      <a:pt x="20" y="15"/>
                    </a:cubicBezTo>
                    <a:cubicBezTo>
                      <a:pt x="19" y="15"/>
                      <a:pt x="18" y="13"/>
                      <a:pt x="18" y="13"/>
                    </a:cubicBezTo>
                    <a:cubicBezTo>
                      <a:pt x="15" y="12"/>
                      <a:pt x="12" y="12"/>
                      <a:pt x="10" y="11"/>
                    </a:cubicBezTo>
                    <a:cubicBezTo>
                      <a:pt x="7" y="10"/>
                      <a:pt x="5" y="8"/>
                      <a:pt x="3" y="6"/>
                    </a:cubicBezTo>
                    <a:cubicBezTo>
                      <a:pt x="3" y="5"/>
                      <a:pt x="3" y="5"/>
                      <a:pt x="3" y="5"/>
                    </a:cubicBezTo>
                    <a:cubicBezTo>
                      <a:pt x="2" y="5"/>
                      <a:pt x="2" y="6"/>
                      <a:pt x="1" y="6"/>
                    </a:cubicBezTo>
                    <a:close/>
                    <a:moveTo>
                      <a:pt x="89" y="86"/>
                    </a:moveTo>
                    <a:cubicBezTo>
                      <a:pt x="88" y="86"/>
                      <a:pt x="88" y="88"/>
                      <a:pt x="89" y="88"/>
                    </a:cubicBezTo>
                    <a:cubicBezTo>
                      <a:pt x="89" y="88"/>
                      <a:pt x="91" y="85"/>
                      <a:pt x="89" y="86"/>
                    </a:cubicBezTo>
                    <a:close/>
                    <a:moveTo>
                      <a:pt x="85" y="80"/>
                    </a:moveTo>
                    <a:cubicBezTo>
                      <a:pt x="84" y="82"/>
                      <a:pt x="84" y="82"/>
                      <a:pt x="84" y="82"/>
                    </a:cubicBezTo>
                    <a:cubicBezTo>
                      <a:pt x="86" y="81"/>
                      <a:pt x="86" y="82"/>
                      <a:pt x="87" y="82"/>
                    </a:cubicBezTo>
                    <a:cubicBezTo>
                      <a:pt x="87" y="82"/>
                      <a:pt x="87" y="80"/>
                      <a:pt x="87" y="80"/>
                    </a:cubicBezTo>
                    <a:cubicBezTo>
                      <a:pt x="86" y="80"/>
                      <a:pt x="86" y="80"/>
                      <a:pt x="85" y="80"/>
                    </a:cubicBezTo>
                    <a:close/>
                    <a:moveTo>
                      <a:pt x="60" y="36"/>
                    </a:moveTo>
                    <a:cubicBezTo>
                      <a:pt x="61" y="38"/>
                      <a:pt x="61" y="38"/>
                      <a:pt x="61" y="38"/>
                    </a:cubicBezTo>
                    <a:cubicBezTo>
                      <a:pt x="61" y="38"/>
                      <a:pt x="63" y="38"/>
                      <a:pt x="62" y="38"/>
                    </a:cubicBezTo>
                    <a:cubicBezTo>
                      <a:pt x="62" y="38"/>
                      <a:pt x="64" y="37"/>
                      <a:pt x="63" y="36"/>
                    </a:cubicBezTo>
                    <a:cubicBezTo>
                      <a:pt x="62" y="36"/>
                      <a:pt x="61" y="36"/>
                      <a:pt x="60" y="36"/>
                    </a:cubicBezTo>
                    <a:close/>
                    <a:moveTo>
                      <a:pt x="53" y="32"/>
                    </a:moveTo>
                    <a:cubicBezTo>
                      <a:pt x="53" y="34"/>
                      <a:pt x="53" y="34"/>
                      <a:pt x="53" y="34"/>
                    </a:cubicBezTo>
                    <a:cubicBezTo>
                      <a:pt x="55" y="34"/>
                      <a:pt x="55" y="32"/>
                      <a:pt x="53" y="32"/>
                    </a:cubicBezTo>
                    <a:close/>
                    <a:moveTo>
                      <a:pt x="118" y="32"/>
                    </a:moveTo>
                    <a:cubicBezTo>
                      <a:pt x="118" y="35"/>
                      <a:pt x="117" y="37"/>
                      <a:pt x="118" y="40"/>
                    </a:cubicBezTo>
                    <a:cubicBezTo>
                      <a:pt x="118" y="41"/>
                      <a:pt x="120" y="42"/>
                      <a:pt x="121" y="44"/>
                    </a:cubicBezTo>
                    <a:cubicBezTo>
                      <a:pt x="121" y="44"/>
                      <a:pt x="120" y="46"/>
                      <a:pt x="121" y="46"/>
                    </a:cubicBezTo>
                    <a:cubicBezTo>
                      <a:pt x="121" y="47"/>
                      <a:pt x="122" y="47"/>
                      <a:pt x="123" y="48"/>
                    </a:cubicBezTo>
                    <a:cubicBezTo>
                      <a:pt x="123" y="48"/>
                      <a:pt x="123" y="49"/>
                      <a:pt x="123" y="50"/>
                    </a:cubicBezTo>
                    <a:cubicBezTo>
                      <a:pt x="124" y="51"/>
                      <a:pt x="128" y="52"/>
                      <a:pt x="129" y="53"/>
                    </a:cubicBezTo>
                    <a:cubicBezTo>
                      <a:pt x="130" y="52"/>
                      <a:pt x="131" y="51"/>
                      <a:pt x="132" y="50"/>
                    </a:cubicBezTo>
                    <a:cubicBezTo>
                      <a:pt x="131" y="49"/>
                      <a:pt x="130" y="46"/>
                      <a:pt x="129" y="44"/>
                    </a:cubicBezTo>
                    <a:cubicBezTo>
                      <a:pt x="129" y="44"/>
                      <a:pt x="128" y="44"/>
                      <a:pt x="127" y="44"/>
                    </a:cubicBezTo>
                    <a:cubicBezTo>
                      <a:pt x="127" y="44"/>
                      <a:pt x="124" y="41"/>
                      <a:pt x="123" y="40"/>
                    </a:cubicBezTo>
                    <a:cubicBezTo>
                      <a:pt x="123" y="40"/>
                      <a:pt x="123" y="38"/>
                      <a:pt x="123" y="38"/>
                    </a:cubicBezTo>
                    <a:cubicBezTo>
                      <a:pt x="123" y="37"/>
                      <a:pt x="120" y="36"/>
                      <a:pt x="120" y="36"/>
                    </a:cubicBezTo>
                    <a:cubicBezTo>
                      <a:pt x="119" y="34"/>
                      <a:pt x="120" y="33"/>
                      <a:pt x="119" y="32"/>
                    </a:cubicBezTo>
                    <a:lnTo>
                      <a:pt x="118" y="32"/>
                    </a:lnTo>
                    <a:close/>
                    <a:moveTo>
                      <a:pt x="97" y="24"/>
                    </a:moveTo>
                    <a:cubicBezTo>
                      <a:pt x="92" y="28"/>
                      <a:pt x="97" y="26"/>
                      <a:pt x="95" y="29"/>
                    </a:cubicBezTo>
                    <a:cubicBezTo>
                      <a:pt x="95" y="30"/>
                      <a:pt x="92" y="30"/>
                      <a:pt x="92" y="30"/>
                    </a:cubicBezTo>
                    <a:cubicBezTo>
                      <a:pt x="92" y="31"/>
                      <a:pt x="92" y="32"/>
                      <a:pt x="92" y="32"/>
                    </a:cubicBezTo>
                    <a:cubicBezTo>
                      <a:pt x="91" y="36"/>
                      <a:pt x="88" y="36"/>
                      <a:pt x="84" y="36"/>
                    </a:cubicBezTo>
                    <a:cubicBezTo>
                      <a:pt x="83" y="34"/>
                      <a:pt x="83" y="35"/>
                      <a:pt x="83" y="33"/>
                    </a:cubicBezTo>
                    <a:cubicBezTo>
                      <a:pt x="81" y="36"/>
                      <a:pt x="79" y="39"/>
                      <a:pt x="74" y="39"/>
                    </a:cubicBezTo>
                    <a:cubicBezTo>
                      <a:pt x="73" y="39"/>
                      <a:pt x="72" y="37"/>
                      <a:pt x="70" y="38"/>
                    </a:cubicBezTo>
                    <a:cubicBezTo>
                      <a:pt x="70" y="38"/>
                      <a:pt x="68" y="40"/>
                      <a:pt x="68" y="40"/>
                    </a:cubicBezTo>
                    <a:cubicBezTo>
                      <a:pt x="69" y="40"/>
                      <a:pt x="71" y="41"/>
                      <a:pt x="73" y="42"/>
                    </a:cubicBezTo>
                    <a:cubicBezTo>
                      <a:pt x="73" y="42"/>
                      <a:pt x="73" y="43"/>
                      <a:pt x="74" y="44"/>
                    </a:cubicBezTo>
                    <a:cubicBezTo>
                      <a:pt x="76" y="44"/>
                      <a:pt x="80" y="43"/>
                      <a:pt x="81" y="43"/>
                    </a:cubicBezTo>
                    <a:cubicBezTo>
                      <a:pt x="84" y="43"/>
                      <a:pt x="87" y="44"/>
                      <a:pt x="89" y="42"/>
                    </a:cubicBezTo>
                    <a:cubicBezTo>
                      <a:pt x="90" y="42"/>
                      <a:pt x="91" y="40"/>
                      <a:pt x="91" y="40"/>
                    </a:cubicBezTo>
                    <a:cubicBezTo>
                      <a:pt x="92" y="39"/>
                      <a:pt x="93" y="39"/>
                      <a:pt x="94" y="38"/>
                    </a:cubicBezTo>
                    <a:cubicBezTo>
                      <a:pt x="94" y="37"/>
                      <a:pt x="94" y="36"/>
                      <a:pt x="95" y="36"/>
                    </a:cubicBezTo>
                    <a:cubicBezTo>
                      <a:pt x="96" y="35"/>
                      <a:pt x="97" y="36"/>
                      <a:pt x="99" y="35"/>
                    </a:cubicBezTo>
                    <a:cubicBezTo>
                      <a:pt x="99" y="34"/>
                      <a:pt x="100" y="32"/>
                      <a:pt x="99" y="31"/>
                    </a:cubicBezTo>
                    <a:cubicBezTo>
                      <a:pt x="99" y="31"/>
                      <a:pt x="100" y="31"/>
                      <a:pt x="101" y="30"/>
                    </a:cubicBezTo>
                    <a:cubicBezTo>
                      <a:pt x="101" y="30"/>
                      <a:pt x="101" y="28"/>
                      <a:pt x="101" y="28"/>
                    </a:cubicBezTo>
                    <a:cubicBezTo>
                      <a:pt x="101" y="28"/>
                      <a:pt x="100" y="26"/>
                      <a:pt x="101" y="26"/>
                    </a:cubicBezTo>
                    <a:cubicBezTo>
                      <a:pt x="99" y="26"/>
                      <a:pt x="99" y="26"/>
                      <a:pt x="99" y="26"/>
                    </a:cubicBezTo>
                    <a:cubicBezTo>
                      <a:pt x="99" y="26"/>
                      <a:pt x="99" y="24"/>
                      <a:pt x="99" y="24"/>
                    </a:cubicBezTo>
                    <a:cubicBezTo>
                      <a:pt x="99" y="23"/>
                      <a:pt x="98" y="24"/>
                      <a:pt x="97" y="24"/>
                    </a:cubicBezTo>
                    <a:close/>
                    <a:moveTo>
                      <a:pt x="98" y="16"/>
                    </a:moveTo>
                    <a:cubicBezTo>
                      <a:pt x="98" y="17"/>
                      <a:pt x="98" y="18"/>
                      <a:pt x="99" y="18"/>
                    </a:cubicBezTo>
                    <a:cubicBezTo>
                      <a:pt x="99" y="19"/>
                      <a:pt x="102" y="21"/>
                      <a:pt x="102" y="22"/>
                    </a:cubicBezTo>
                    <a:cubicBezTo>
                      <a:pt x="103" y="27"/>
                      <a:pt x="100" y="25"/>
                      <a:pt x="103" y="28"/>
                    </a:cubicBezTo>
                    <a:cubicBezTo>
                      <a:pt x="105" y="28"/>
                      <a:pt x="105" y="28"/>
                      <a:pt x="105" y="28"/>
                    </a:cubicBezTo>
                    <a:cubicBezTo>
                      <a:pt x="105" y="27"/>
                      <a:pt x="105" y="27"/>
                      <a:pt x="105" y="26"/>
                    </a:cubicBezTo>
                    <a:cubicBezTo>
                      <a:pt x="107" y="20"/>
                      <a:pt x="102" y="18"/>
                      <a:pt x="98" y="16"/>
                    </a:cubicBezTo>
                    <a:close/>
                    <a:moveTo>
                      <a:pt x="87" y="9"/>
                    </a:moveTo>
                    <a:cubicBezTo>
                      <a:pt x="88" y="9"/>
                      <a:pt x="88" y="11"/>
                      <a:pt x="88" y="11"/>
                    </a:cubicBezTo>
                    <a:cubicBezTo>
                      <a:pt x="90" y="13"/>
                      <a:pt x="92" y="13"/>
                      <a:pt x="95" y="14"/>
                    </a:cubicBezTo>
                    <a:cubicBezTo>
                      <a:pt x="94" y="15"/>
                      <a:pt x="97" y="15"/>
                      <a:pt x="97" y="15"/>
                    </a:cubicBezTo>
                    <a:cubicBezTo>
                      <a:pt x="97" y="15"/>
                      <a:pt x="97" y="13"/>
                      <a:pt x="97" y="13"/>
                    </a:cubicBezTo>
                    <a:cubicBezTo>
                      <a:pt x="93" y="11"/>
                      <a:pt x="92" y="10"/>
                      <a:pt x="87" y="9"/>
                    </a:cubicBezTo>
                    <a:close/>
                    <a:moveTo>
                      <a:pt x="81" y="6"/>
                    </a:moveTo>
                    <a:cubicBezTo>
                      <a:pt x="81" y="6"/>
                      <a:pt x="80" y="8"/>
                      <a:pt x="81" y="8"/>
                    </a:cubicBezTo>
                    <a:cubicBezTo>
                      <a:pt x="81" y="9"/>
                      <a:pt x="81" y="9"/>
                      <a:pt x="81" y="9"/>
                    </a:cubicBezTo>
                    <a:cubicBezTo>
                      <a:pt x="82" y="9"/>
                      <a:pt x="84" y="9"/>
                      <a:pt x="85" y="9"/>
                    </a:cubicBezTo>
                    <a:cubicBezTo>
                      <a:pt x="85" y="9"/>
                      <a:pt x="86" y="7"/>
                      <a:pt x="85" y="6"/>
                    </a:cubicBezTo>
                    <a:cubicBezTo>
                      <a:pt x="83" y="6"/>
                      <a:pt x="82" y="7"/>
                      <a:pt x="81" y="6"/>
                    </a:cubicBezTo>
                    <a:close/>
                    <a:moveTo>
                      <a:pt x="51" y="0"/>
                    </a:moveTo>
                    <a:cubicBezTo>
                      <a:pt x="51" y="0"/>
                      <a:pt x="50" y="2"/>
                      <a:pt x="50" y="3"/>
                    </a:cubicBezTo>
                    <a:cubicBezTo>
                      <a:pt x="53" y="3"/>
                      <a:pt x="55" y="3"/>
                      <a:pt x="57" y="3"/>
                    </a:cubicBezTo>
                    <a:cubicBezTo>
                      <a:pt x="57" y="3"/>
                      <a:pt x="55" y="2"/>
                      <a:pt x="55" y="2"/>
                    </a:cubicBezTo>
                    <a:cubicBezTo>
                      <a:pt x="54" y="1"/>
                      <a:pt x="52" y="1"/>
                      <a:pt x="51"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31" name="Freeform 110">
                <a:extLst>
                  <a:ext uri="{FF2B5EF4-FFF2-40B4-BE49-F238E27FC236}">
                    <a16:creationId xmlns:a16="http://schemas.microsoft.com/office/drawing/2014/main" id="{39ACC2BF-3D8F-24A5-87CB-E0CBC09200B3}"/>
                  </a:ext>
                </a:extLst>
              </p:cNvPr>
              <p:cNvSpPr>
                <a:spLocks noEditPoints="1"/>
              </p:cNvSpPr>
              <p:nvPr/>
            </p:nvSpPr>
            <p:spPr bwMode="auto">
              <a:xfrm>
                <a:off x="1707" y="2048"/>
                <a:ext cx="100" cy="57"/>
              </a:xfrm>
              <a:custGeom>
                <a:avLst/>
                <a:gdLst>
                  <a:gd name="T0" fmla="*/ 50 w 51"/>
                  <a:gd name="T1" fmla="*/ 14 h 29"/>
                  <a:gd name="T2" fmla="*/ 46 w 51"/>
                  <a:gd name="T3" fmla="*/ 12 h 29"/>
                  <a:gd name="T4" fmla="*/ 46 w 51"/>
                  <a:gd name="T5" fmla="*/ 9 h 29"/>
                  <a:gd name="T6" fmla="*/ 42 w 51"/>
                  <a:gd name="T7" fmla="*/ 6 h 29"/>
                  <a:gd name="T8" fmla="*/ 42 w 51"/>
                  <a:gd name="T9" fmla="*/ 3 h 29"/>
                  <a:gd name="T10" fmla="*/ 41 w 51"/>
                  <a:gd name="T11" fmla="*/ 4 h 29"/>
                  <a:gd name="T12" fmla="*/ 41 w 51"/>
                  <a:gd name="T13" fmla="*/ 2 h 29"/>
                  <a:gd name="T14" fmla="*/ 31 w 51"/>
                  <a:gd name="T15" fmla="*/ 0 h 29"/>
                  <a:gd name="T16" fmla="*/ 30 w 51"/>
                  <a:gd name="T17" fmla="*/ 3 h 29"/>
                  <a:gd name="T18" fmla="*/ 22 w 51"/>
                  <a:gd name="T19" fmla="*/ 5 h 29"/>
                  <a:gd name="T20" fmla="*/ 18 w 51"/>
                  <a:gd name="T21" fmla="*/ 8 h 29"/>
                  <a:gd name="T22" fmla="*/ 8 w 51"/>
                  <a:gd name="T23" fmla="*/ 6 h 29"/>
                  <a:gd name="T24" fmla="*/ 6 w 51"/>
                  <a:gd name="T25" fmla="*/ 4 h 29"/>
                  <a:gd name="T26" fmla="*/ 6 w 51"/>
                  <a:gd name="T27" fmla="*/ 0 h 29"/>
                  <a:gd name="T28" fmla="*/ 3 w 51"/>
                  <a:gd name="T29" fmla="*/ 1 h 29"/>
                  <a:gd name="T30" fmla="*/ 1 w 51"/>
                  <a:gd name="T31" fmla="*/ 0 h 29"/>
                  <a:gd name="T32" fmla="*/ 1 w 51"/>
                  <a:gd name="T33" fmla="*/ 5 h 29"/>
                  <a:gd name="T34" fmla="*/ 3 w 51"/>
                  <a:gd name="T35" fmla="*/ 11 h 29"/>
                  <a:gd name="T36" fmla="*/ 2 w 51"/>
                  <a:gd name="T37" fmla="*/ 15 h 29"/>
                  <a:gd name="T38" fmla="*/ 4 w 51"/>
                  <a:gd name="T39" fmla="*/ 14 h 29"/>
                  <a:gd name="T40" fmla="*/ 4 w 51"/>
                  <a:gd name="T41" fmla="*/ 13 h 29"/>
                  <a:gd name="T42" fmla="*/ 6 w 51"/>
                  <a:gd name="T43" fmla="*/ 13 h 29"/>
                  <a:gd name="T44" fmla="*/ 7 w 51"/>
                  <a:gd name="T45" fmla="*/ 15 h 29"/>
                  <a:gd name="T46" fmla="*/ 12 w 51"/>
                  <a:gd name="T47" fmla="*/ 14 h 29"/>
                  <a:gd name="T48" fmla="*/ 14 w 51"/>
                  <a:gd name="T49" fmla="*/ 20 h 29"/>
                  <a:gd name="T50" fmla="*/ 20 w 51"/>
                  <a:gd name="T51" fmla="*/ 24 h 29"/>
                  <a:gd name="T52" fmla="*/ 24 w 51"/>
                  <a:gd name="T53" fmla="*/ 24 h 29"/>
                  <a:gd name="T54" fmla="*/ 25 w 51"/>
                  <a:gd name="T55" fmla="*/ 21 h 29"/>
                  <a:gd name="T56" fmla="*/ 27 w 51"/>
                  <a:gd name="T57" fmla="*/ 21 h 29"/>
                  <a:gd name="T58" fmla="*/ 27 w 51"/>
                  <a:gd name="T59" fmla="*/ 18 h 29"/>
                  <a:gd name="T60" fmla="*/ 25 w 51"/>
                  <a:gd name="T61" fmla="*/ 16 h 29"/>
                  <a:gd name="T62" fmla="*/ 23 w 51"/>
                  <a:gd name="T63" fmla="*/ 16 h 29"/>
                  <a:gd name="T64" fmla="*/ 22 w 51"/>
                  <a:gd name="T65" fmla="*/ 14 h 29"/>
                  <a:gd name="T66" fmla="*/ 27 w 51"/>
                  <a:gd name="T67" fmla="*/ 13 h 29"/>
                  <a:gd name="T68" fmla="*/ 32 w 51"/>
                  <a:gd name="T69" fmla="*/ 6 h 29"/>
                  <a:gd name="T70" fmla="*/ 35 w 51"/>
                  <a:gd name="T71" fmla="*/ 8 h 29"/>
                  <a:gd name="T72" fmla="*/ 39 w 51"/>
                  <a:gd name="T73" fmla="*/ 16 h 29"/>
                  <a:gd name="T74" fmla="*/ 44 w 51"/>
                  <a:gd name="T75" fmla="*/ 14 h 29"/>
                  <a:gd name="T76" fmla="*/ 44 w 51"/>
                  <a:gd name="T77" fmla="*/ 17 h 29"/>
                  <a:gd name="T78" fmla="*/ 41 w 51"/>
                  <a:gd name="T79" fmla="*/ 20 h 29"/>
                  <a:gd name="T80" fmla="*/ 48 w 51"/>
                  <a:gd name="T81" fmla="*/ 29 h 29"/>
                  <a:gd name="T82" fmla="*/ 48 w 51"/>
                  <a:gd name="T83" fmla="*/ 28 h 29"/>
                  <a:gd name="T84" fmla="*/ 49 w 51"/>
                  <a:gd name="T85" fmla="*/ 26 h 29"/>
                  <a:gd name="T86" fmla="*/ 51 w 51"/>
                  <a:gd name="T87" fmla="*/ 21 h 29"/>
                  <a:gd name="T88" fmla="*/ 49 w 51"/>
                  <a:gd name="T89" fmla="*/ 18 h 29"/>
                  <a:gd name="T90" fmla="*/ 50 w 51"/>
                  <a:gd name="T91" fmla="*/ 14 h 29"/>
                  <a:gd name="T92" fmla="*/ 26 w 51"/>
                  <a:gd name="T93" fmla="*/ 22 h 29"/>
                  <a:gd name="T94" fmla="*/ 24 w 51"/>
                  <a:gd name="T95" fmla="*/ 25 h 29"/>
                  <a:gd name="T96" fmla="*/ 26 w 51"/>
                  <a:gd name="T97" fmla="*/ 24 h 29"/>
                  <a:gd name="T98" fmla="*/ 27 w 51"/>
                  <a:gd name="T99" fmla="*/ 24 h 29"/>
                  <a:gd name="T100" fmla="*/ 27 w 51"/>
                  <a:gd name="T101" fmla="*/ 22 h 29"/>
                  <a:gd name="T102" fmla="*/ 27 w 51"/>
                  <a:gd name="T103" fmla="*/ 24 h 29"/>
                  <a:gd name="T104" fmla="*/ 26 w 51"/>
                  <a:gd name="T105" fmla="*/ 22 h 29"/>
                  <a:gd name="T106" fmla="*/ 12 w 51"/>
                  <a:gd name="T107" fmla="*/ 22 h 29"/>
                  <a:gd name="T108" fmla="*/ 13 w 51"/>
                  <a:gd name="T109" fmla="*/ 24 h 29"/>
                  <a:gd name="T110" fmla="*/ 12 w 51"/>
                  <a:gd name="T11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 h="29">
                    <a:moveTo>
                      <a:pt x="50" y="14"/>
                    </a:moveTo>
                    <a:cubicBezTo>
                      <a:pt x="49" y="13"/>
                      <a:pt x="47" y="12"/>
                      <a:pt x="46" y="12"/>
                    </a:cubicBezTo>
                    <a:cubicBezTo>
                      <a:pt x="46" y="11"/>
                      <a:pt x="47" y="10"/>
                      <a:pt x="46" y="9"/>
                    </a:cubicBezTo>
                    <a:cubicBezTo>
                      <a:pt x="42" y="6"/>
                      <a:pt x="42" y="6"/>
                      <a:pt x="42" y="6"/>
                    </a:cubicBezTo>
                    <a:cubicBezTo>
                      <a:pt x="42" y="5"/>
                      <a:pt x="42" y="3"/>
                      <a:pt x="42" y="3"/>
                    </a:cubicBezTo>
                    <a:cubicBezTo>
                      <a:pt x="42" y="3"/>
                      <a:pt x="42" y="4"/>
                      <a:pt x="41" y="4"/>
                    </a:cubicBezTo>
                    <a:cubicBezTo>
                      <a:pt x="41" y="4"/>
                      <a:pt x="41" y="2"/>
                      <a:pt x="41" y="2"/>
                    </a:cubicBezTo>
                    <a:cubicBezTo>
                      <a:pt x="38" y="0"/>
                      <a:pt x="34" y="1"/>
                      <a:pt x="31" y="0"/>
                    </a:cubicBezTo>
                    <a:cubicBezTo>
                      <a:pt x="30" y="0"/>
                      <a:pt x="30" y="3"/>
                      <a:pt x="30" y="3"/>
                    </a:cubicBezTo>
                    <a:cubicBezTo>
                      <a:pt x="27" y="4"/>
                      <a:pt x="24" y="4"/>
                      <a:pt x="22" y="5"/>
                    </a:cubicBezTo>
                    <a:cubicBezTo>
                      <a:pt x="21" y="6"/>
                      <a:pt x="19" y="8"/>
                      <a:pt x="18" y="8"/>
                    </a:cubicBezTo>
                    <a:cubicBezTo>
                      <a:pt x="13" y="9"/>
                      <a:pt x="16" y="4"/>
                      <a:pt x="8" y="6"/>
                    </a:cubicBezTo>
                    <a:cubicBezTo>
                      <a:pt x="8" y="6"/>
                      <a:pt x="7" y="5"/>
                      <a:pt x="6" y="4"/>
                    </a:cubicBezTo>
                    <a:cubicBezTo>
                      <a:pt x="6" y="3"/>
                      <a:pt x="7" y="2"/>
                      <a:pt x="6" y="0"/>
                    </a:cubicBezTo>
                    <a:cubicBezTo>
                      <a:pt x="3" y="1"/>
                      <a:pt x="3" y="1"/>
                      <a:pt x="3" y="1"/>
                    </a:cubicBezTo>
                    <a:cubicBezTo>
                      <a:pt x="1" y="0"/>
                      <a:pt x="1" y="0"/>
                      <a:pt x="1" y="0"/>
                    </a:cubicBezTo>
                    <a:cubicBezTo>
                      <a:pt x="1" y="0"/>
                      <a:pt x="2" y="3"/>
                      <a:pt x="1" y="5"/>
                    </a:cubicBezTo>
                    <a:cubicBezTo>
                      <a:pt x="0" y="7"/>
                      <a:pt x="3" y="9"/>
                      <a:pt x="3" y="11"/>
                    </a:cubicBezTo>
                    <a:cubicBezTo>
                      <a:pt x="2" y="12"/>
                      <a:pt x="2" y="15"/>
                      <a:pt x="2" y="15"/>
                    </a:cubicBezTo>
                    <a:cubicBezTo>
                      <a:pt x="3" y="14"/>
                      <a:pt x="3" y="14"/>
                      <a:pt x="4" y="14"/>
                    </a:cubicBezTo>
                    <a:cubicBezTo>
                      <a:pt x="4" y="13"/>
                      <a:pt x="4" y="13"/>
                      <a:pt x="4" y="13"/>
                    </a:cubicBezTo>
                    <a:cubicBezTo>
                      <a:pt x="5" y="13"/>
                      <a:pt x="6" y="13"/>
                      <a:pt x="6" y="13"/>
                    </a:cubicBezTo>
                    <a:cubicBezTo>
                      <a:pt x="7" y="14"/>
                      <a:pt x="6" y="15"/>
                      <a:pt x="7" y="15"/>
                    </a:cubicBezTo>
                    <a:cubicBezTo>
                      <a:pt x="9" y="15"/>
                      <a:pt x="11" y="14"/>
                      <a:pt x="12" y="14"/>
                    </a:cubicBezTo>
                    <a:cubicBezTo>
                      <a:pt x="13" y="16"/>
                      <a:pt x="14" y="18"/>
                      <a:pt x="14" y="20"/>
                    </a:cubicBezTo>
                    <a:cubicBezTo>
                      <a:pt x="20" y="20"/>
                      <a:pt x="18" y="18"/>
                      <a:pt x="20" y="24"/>
                    </a:cubicBezTo>
                    <a:cubicBezTo>
                      <a:pt x="22" y="24"/>
                      <a:pt x="22" y="24"/>
                      <a:pt x="24" y="24"/>
                    </a:cubicBezTo>
                    <a:cubicBezTo>
                      <a:pt x="24" y="23"/>
                      <a:pt x="24" y="21"/>
                      <a:pt x="25" y="21"/>
                    </a:cubicBezTo>
                    <a:cubicBezTo>
                      <a:pt x="25" y="21"/>
                      <a:pt x="27" y="21"/>
                      <a:pt x="27" y="21"/>
                    </a:cubicBezTo>
                    <a:cubicBezTo>
                      <a:pt x="27" y="21"/>
                      <a:pt x="27" y="19"/>
                      <a:pt x="27" y="18"/>
                    </a:cubicBezTo>
                    <a:cubicBezTo>
                      <a:pt x="26" y="18"/>
                      <a:pt x="25" y="17"/>
                      <a:pt x="25" y="16"/>
                    </a:cubicBezTo>
                    <a:cubicBezTo>
                      <a:pt x="25" y="16"/>
                      <a:pt x="23" y="17"/>
                      <a:pt x="23" y="16"/>
                    </a:cubicBezTo>
                    <a:cubicBezTo>
                      <a:pt x="22" y="16"/>
                      <a:pt x="23" y="15"/>
                      <a:pt x="22" y="14"/>
                    </a:cubicBezTo>
                    <a:cubicBezTo>
                      <a:pt x="23" y="14"/>
                      <a:pt x="26" y="14"/>
                      <a:pt x="27" y="13"/>
                    </a:cubicBezTo>
                    <a:cubicBezTo>
                      <a:pt x="29" y="12"/>
                      <a:pt x="30" y="8"/>
                      <a:pt x="32" y="6"/>
                    </a:cubicBezTo>
                    <a:cubicBezTo>
                      <a:pt x="33" y="7"/>
                      <a:pt x="34" y="7"/>
                      <a:pt x="35" y="8"/>
                    </a:cubicBezTo>
                    <a:cubicBezTo>
                      <a:pt x="36" y="9"/>
                      <a:pt x="38" y="14"/>
                      <a:pt x="39" y="16"/>
                    </a:cubicBezTo>
                    <a:cubicBezTo>
                      <a:pt x="41" y="15"/>
                      <a:pt x="42" y="15"/>
                      <a:pt x="44" y="14"/>
                    </a:cubicBezTo>
                    <a:cubicBezTo>
                      <a:pt x="44" y="15"/>
                      <a:pt x="45" y="17"/>
                      <a:pt x="44" y="17"/>
                    </a:cubicBezTo>
                    <a:cubicBezTo>
                      <a:pt x="43" y="18"/>
                      <a:pt x="41" y="17"/>
                      <a:pt x="41" y="20"/>
                    </a:cubicBezTo>
                    <a:cubicBezTo>
                      <a:pt x="40" y="25"/>
                      <a:pt x="43" y="27"/>
                      <a:pt x="48" y="29"/>
                    </a:cubicBezTo>
                    <a:cubicBezTo>
                      <a:pt x="48" y="28"/>
                      <a:pt x="48" y="28"/>
                      <a:pt x="48" y="28"/>
                    </a:cubicBezTo>
                    <a:cubicBezTo>
                      <a:pt x="49" y="26"/>
                      <a:pt x="49" y="26"/>
                      <a:pt x="49" y="26"/>
                    </a:cubicBezTo>
                    <a:cubicBezTo>
                      <a:pt x="49" y="26"/>
                      <a:pt x="51" y="24"/>
                      <a:pt x="51" y="21"/>
                    </a:cubicBezTo>
                    <a:cubicBezTo>
                      <a:pt x="51" y="19"/>
                      <a:pt x="49" y="18"/>
                      <a:pt x="49" y="18"/>
                    </a:cubicBezTo>
                    <a:lnTo>
                      <a:pt x="50" y="14"/>
                    </a:lnTo>
                    <a:close/>
                    <a:moveTo>
                      <a:pt x="26" y="22"/>
                    </a:moveTo>
                    <a:cubicBezTo>
                      <a:pt x="25" y="23"/>
                      <a:pt x="25" y="24"/>
                      <a:pt x="24" y="25"/>
                    </a:cubicBezTo>
                    <a:cubicBezTo>
                      <a:pt x="25" y="25"/>
                      <a:pt x="27" y="24"/>
                      <a:pt x="26" y="24"/>
                    </a:cubicBezTo>
                    <a:cubicBezTo>
                      <a:pt x="27" y="24"/>
                      <a:pt x="27" y="24"/>
                      <a:pt x="27" y="24"/>
                    </a:cubicBezTo>
                    <a:cubicBezTo>
                      <a:pt x="27" y="24"/>
                      <a:pt x="28" y="22"/>
                      <a:pt x="27" y="22"/>
                    </a:cubicBezTo>
                    <a:cubicBezTo>
                      <a:pt x="27" y="24"/>
                      <a:pt x="27" y="24"/>
                      <a:pt x="27" y="24"/>
                    </a:cubicBezTo>
                    <a:cubicBezTo>
                      <a:pt x="27" y="24"/>
                      <a:pt x="26" y="22"/>
                      <a:pt x="26" y="22"/>
                    </a:cubicBezTo>
                    <a:close/>
                    <a:moveTo>
                      <a:pt x="12" y="22"/>
                    </a:moveTo>
                    <a:cubicBezTo>
                      <a:pt x="12" y="22"/>
                      <a:pt x="13" y="24"/>
                      <a:pt x="13" y="24"/>
                    </a:cubicBezTo>
                    <a:cubicBezTo>
                      <a:pt x="15" y="25"/>
                      <a:pt x="14" y="23"/>
                      <a:pt x="12" y="2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32" name="Freeform 111">
                <a:extLst>
                  <a:ext uri="{FF2B5EF4-FFF2-40B4-BE49-F238E27FC236}">
                    <a16:creationId xmlns:a16="http://schemas.microsoft.com/office/drawing/2014/main" id="{EB3A840A-4AF4-236C-FA23-D6A544FC5A74}"/>
                  </a:ext>
                </a:extLst>
              </p:cNvPr>
              <p:cNvSpPr>
                <a:spLocks noEditPoints="1"/>
              </p:cNvSpPr>
              <p:nvPr/>
            </p:nvSpPr>
            <p:spPr bwMode="auto">
              <a:xfrm>
                <a:off x="1707" y="2048"/>
                <a:ext cx="100" cy="57"/>
              </a:xfrm>
              <a:custGeom>
                <a:avLst/>
                <a:gdLst>
                  <a:gd name="T0" fmla="*/ 50 w 51"/>
                  <a:gd name="T1" fmla="*/ 14 h 29"/>
                  <a:gd name="T2" fmla="*/ 46 w 51"/>
                  <a:gd name="T3" fmla="*/ 12 h 29"/>
                  <a:gd name="T4" fmla="*/ 46 w 51"/>
                  <a:gd name="T5" fmla="*/ 9 h 29"/>
                  <a:gd name="T6" fmla="*/ 42 w 51"/>
                  <a:gd name="T7" fmla="*/ 6 h 29"/>
                  <a:gd name="T8" fmla="*/ 42 w 51"/>
                  <a:gd name="T9" fmla="*/ 3 h 29"/>
                  <a:gd name="T10" fmla="*/ 41 w 51"/>
                  <a:gd name="T11" fmla="*/ 4 h 29"/>
                  <a:gd name="T12" fmla="*/ 41 w 51"/>
                  <a:gd name="T13" fmla="*/ 2 h 29"/>
                  <a:gd name="T14" fmla="*/ 31 w 51"/>
                  <a:gd name="T15" fmla="*/ 0 h 29"/>
                  <a:gd name="T16" fmla="*/ 30 w 51"/>
                  <a:gd name="T17" fmla="*/ 3 h 29"/>
                  <a:gd name="T18" fmla="*/ 22 w 51"/>
                  <a:gd name="T19" fmla="*/ 5 h 29"/>
                  <a:gd name="T20" fmla="*/ 18 w 51"/>
                  <a:gd name="T21" fmla="*/ 8 h 29"/>
                  <a:gd name="T22" fmla="*/ 8 w 51"/>
                  <a:gd name="T23" fmla="*/ 6 h 29"/>
                  <a:gd name="T24" fmla="*/ 6 w 51"/>
                  <a:gd name="T25" fmla="*/ 4 h 29"/>
                  <a:gd name="T26" fmla="*/ 6 w 51"/>
                  <a:gd name="T27" fmla="*/ 0 h 29"/>
                  <a:gd name="T28" fmla="*/ 3 w 51"/>
                  <a:gd name="T29" fmla="*/ 1 h 29"/>
                  <a:gd name="T30" fmla="*/ 1 w 51"/>
                  <a:gd name="T31" fmla="*/ 0 h 29"/>
                  <a:gd name="T32" fmla="*/ 1 w 51"/>
                  <a:gd name="T33" fmla="*/ 5 h 29"/>
                  <a:gd name="T34" fmla="*/ 3 w 51"/>
                  <a:gd name="T35" fmla="*/ 11 h 29"/>
                  <a:gd name="T36" fmla="*/ 2 w 51"/>
                  <a:gd name="T37" fmla="*/ 15 h 29"/>
                  <a:gd name="T38" fmla="*/ 4 w 51"/>
                  <a:gd name="T39" fmla="*/ 14 h 29"/>
                  <a:gd name="T40" fmla="*/ 4 w 51"/>
                  <a:gd name="T41" fmla="*/ 13 h 29"/>
                  <a:gd name="T42" fmla="*/ 6 w 51"/>
                  <a:gd name="T43" fmla="*/ 13 h 29"/>
                  <a:gd name="T44" fmla="*/ 7 w 51"/>
                  <a:gd name="T45" fmla="*/ 15 h 29"/>
                  <a:gd name="T46" fmla="*/ 12 w 51"/>
                  <a:gd name="T47" fmla="*/ 14 h 29"/>
                  <a:gd name="T48" fmla="*/ 14 w 51"/>
                  <a:gd name="T49" fmla="*/ 20 h 29"/>
                  <a:gd name="T50" fmla="*/ 20 w 51"/>
                  <a:gd name="T51" fmla="*/ 24 h 29"/>
                  <a:gd name="T52" fmla="*/ 24 w 51"/>
                  <a:gd name="T53" fmla="*/ 24 h 29"/>
                  <a:gd name="T54" fmla="*/ 25 w 51"/>
                  <a:gd name="T55" fmla="*/ 21 h 29"/>
                  <a:gd name="T56" fmla="*/ 27 w 51"/>
                  <a:gd name="T57" fmla="*/ 21 h 29"/>
                  <a:gd name="T58" fmla="*/ 27 w 51"/>
                  <a:gd name="T59" fmla="*/ 18 h 29"/>
                  <a:gd name="T60" fmla="*/ 25 w 51"/>
                  <a:gd name="T61" fmla="*/ 16 h 29"/>
                  <a:gd name="T62" fmla="*/ 23 w 51"/>
                  <a:gd name="T63" fmla="*/ 16 h 29"/>
                  <a:gd name="T64" fmla="*/ 22 w 51"/>
                  <a:gd name="T65" fmla="*/ 14 h 29"/>
                  <a:gd name="T66" fmla="*/ 27 w 51"/>
                  <a:gd name="T67" fmla="*/ 13 h 29"/>
                  <a:gd name="T68" fmla="*/ 32 w 51"/>
                  <a:gd name="T69" fmla="*/ 6 h 29"/>
                  <a:gd name="T70" fmla="*/ 35 w 51"/>
                  <a:gd name="T71" fmla="*/ 8 h 29"/>
                  <a:gd name="T72" fmla="*/ 39 w 51"/>
                  <a:gd name="T73" fmla="*/ 16 h 29"/>
                  <a:gd name="T74" fmla="*/ 44 w 51"/>
                  <a:gd name="T75" fmla="*/ 14 h 29"/>
                  <a:gd name="T76" fmla="*/ 44 w 51"/>
                  <a:gd name="T77" fmla="*/ 17 h 29"/>
                  <a:gd name="T78" fmla="*/ 41 w 51"/>
                  <a:gd name="T79" fmla="*/ 20 h 29"/>
                  <a:gd name="T80" fmla="*/ 48 w 51"/>
                  <a:gd name="T81" fmla="*/ 29 h 29"/>
                  <a:gd name="T82" fmla="*/ 48 w 51"/>
                  <a:gd name="T83" fmla="*/ 28 h 29"/>
                  <a:gd name="T84" fmla="*/ 49 w 51"/>
                  <a:gd name="T85" fmla="*/ 26 h 29"/>
                  <a:gd name="T86" fmla="*/ 51 w 51"/>
                  <a:gd name="T87" fmla="*/ 21 h 29"/>
                  <a:gd name="T88" fmla="*/ 49 w 51"/>
                  <a:gd name="T89" fmla="*/ 18 h 29"/>
                  <a:gd name="T90" fmla="*/ 50 w 51"/>
                  <a:gd name="T91" fmla="*/ 14 h 29"/>
                  <a:gd name="T92" fmla="*/ 26 w 51"/>
                  <a:gd name="T93" fmla="*/ 22 h 29"/>
                  <a:gd name="T94" fmla="*/ 24 w 51"/>
                  <a:gd name="T95" fmla="*/ 25 h 29"/>
                  <a:gd name="T96" fmla="*/ 26 w 51"/>
                  <a:gd name="T97" fmla="*/ 24 h 29"/>
                  <a:gd name="T98" fmla="*/ 27 w 51"/>
                  <a:gd name="T99" fmla="*/ 24 h 29"/>
                  <a:gd name="T100" fmla="*/ 27 w 51"/>
                  <a:gd name="T101" fmla="*/ 22 h 29"/>
                  <a:gd name="T102" fmla="*/ 27 w 51"/>
                  <a:gd name="T103" fmla="*/ 24 h 29"/>
                  <a:gd name="T104" fmla="*/ 26 w 51"/>
                  <a:gd name="T105" fmla="*/ 22 h 29"/>
                  <a:gd name="T106" fmla="*/ 12 w 51"/>
                  <a:gd name="T107" fmla="*/ 22 h 29"/>
                  <a:gd name="T108" fmla="*/ 13 w 51"/>
                  <a:gd name="T109" fmla="*/ 24 h 29"/>
                  <a:gd name="T110" fmla="*/ 12 w 51"/>
                  <a:gd name="T11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 h="29">
                    <a:moveTo>
                      <a:pt x="50" y="14"/>
                    </a:moveTo>
                    <a:cubicBezTo>
                      <a:pt x="49" y="13"/>
                      <a:pt x="47" y="12"/>
                      <a:pt x="46" y="12"/>
                    </a:cubicBezTo>
                    <a:cubicBezTo>
                      <a:pt x="46" y="11"/>
                      <a:pt x="47" y="10"/>
                      <a:pt x="46" y="9"/>
                    </a:cubicBezTo>
                    <a:cubicBezTo>
                      <a:pt x="42" y="6"/>
                      <a:pt x="42" y="6"/>
                      <a:pt x="42" y="6"/>
                    </a:cubicBezTo>
                    <a:cubicBezTo>
                      <a:pt x="42" y="5"/>
                      <a:pt x="42" y="3"/>
                      <a:pt x="42" y="3"/>
                    </a:cubicBezTo>
                    <a:cubicBezTo>
                      <a:pt x="42" y="3"/>
                      <a:pt x="42" y="4"/>
                      <a:pt x="41" y="4"/>
                    </a:cubicBezTo>
                    <a:cubicBezTo>
                      <a:pt x="41" y="4"/>
                      <a:pt x="41" y="2"/>
                      <a:pt x="41" y="2"/>
                    </a:cubicBezTo>
                    <a:cubicBezTo>
                      <a:pt x="38" y="0"/>
                      <a:pt x="34" y="1"/>
                      <a:pt x="31" y="0"/>
                    </a:cubicBezTo>
                    <a:cubicBezTo>
                      <a:pt x="30" y="0"/>
                      <a:pt x="30" y="3"/>
                      <a:pt x="30" y="3"/>
                    </a:cubicBezTo>
                    <a:cubicBezTo>
                      <a:pt x="27" y="4"/>
                      <a:pt x="24" y="4"/>
                      <a:pt x="22" y="5"/>
                    </a:cubicBezTo>
                    <a:cubicBezTo>
                      <a:pt x="21" y="6"/>
                      <a:pt x="19" y="8"/>
                      <a:pt x="18" y="8"/>
                    </a:cubicBezTo>
                    <a:cubicBezTo>
                      <a:pt x="13" y="9"/>
                      <a:pt x="16" y="4"/>
                      <a:pt x="8" y="6"/>
                    </a:cubicBezTo>
                    <a:cubicBezTo>
                      <a:pt x="8" y="6"/>
                      <a:pt x="7" y="5"/>
                      <a:pt x="6" y="4"/>
                    </a:cubicBezTo>
                    <a:cubicBezTo>
                      <a:pt x="6" y="3"/>
                      <a:pt x="7" y="2"/>
                      <a:pt x="6" y="0"/>
                    </a:cubicBezTo>
                    <a:cubicBezTo>
                      <a:pt x="3" y="1"/>
                      <a:pt x="3" y="1"/>
                      <a:pt x="3" y="1"/>
                    </a:cubicBezTo>
                    <a:cubicBezTo>
                      <a:pt x="1" y="0"/>
                      <a:pt x="1" y="0"/>
                      <a:pt x="1" y="0"/>
                    </a:cubicBezTo>
                    <a:cubicBezTo>
                      <a:pt x="1" y="0"/>
                      <a:pt x="2" y="3"/>
                      <a:pt x="1" y="5"/>
                    </a:cubicBezTo>
                    <a:cubicBezTo>
                      <a:pt x="0" y="7"/>
                      <a:pt x="3" y="9"/>
                      <a:pt x="3" y="11"/>
                    </a:cubicBezTo>
                    <a:cubicBezTo>
                      <a:pt x="2" y="12"/>
                      <a:pt x="2" y="15"/>
                      <a:pt x="2" y="15"/>
                    </a:cubicBezTo>
                    <a:cubicBezTo>
                      <a:pt x="3" y="14"/>
                      <a:pt x="3" y="14"/>
                      <a:pt x="4" y="14"/>
                    </a:cubicBezTo>
                    <a:cubicBezTo>
                      <a:pt x="4" y="13"/>
                      <a:pt x="4" y="13"/>
                      <a:pt x="4" y="13"/>
                    </a:cubicBezTo>
                    <a:cubicBezTo>
                      <a:pt x="5" y="13"/>
                      <a:pt x="6" y="13"/>
                      <a:pt x="6" y="13"/>
                    </a:cubicBezTo>
                    <a:cubicBezTo>
                      <a:pt x="7" y="14"/>
                      <a:pt x="6" y="15"/>
                      <a:pt x="7" y="15"/>
                    </a:cubicBezTo>
                    <a:cubicBezTo>
                      <a:pt x="9" y="15"/>
                      <a:pt x="11" y="14"/>
                      <a:pt x="12" y="14"/>
                    </a:cubicBezTo>
                    <a:cubicBezTo>
                      <a:pt x="13" y="16"/>
                      <a:pt x="14" y="18"/>
                      <a:pt x="14" y="20"/>
                    </a:cubicBezTo>
                    <a:cubicBezTo>
                      <a:pt x="20" y="20"/>
                      <a:pt x="18" y="18"/>
                      <a:pt x="20" y="24"/>
                    </a:cubicBezTo>
                    <a:cubicBezTo>
                      <a:pt x="22" y="24"/>
                      <a:pt x="22" y="24"/>
                      <a:pt x="24" y="24"/>
                    </a:cubicBezTo>
                    <a:cubicBezTo>
                      <a:pt x="24" y="23"/>
                      <a:pt x="24" y="21"/>
                      <a:pt x="25" y="21"/>
                    </a:cubicBezTo>
                    <a:cubicBezTo>
                      <a:pt x="25" y="21"/>
                      <a:pt x="27" y="21"/>
                      <a:pt x="27" y="21"/>
                    </a:cubicBezTo>
                    <a:cubicBezTo>
                      <a:pt x="27" y="21"/>
                      <a:pt x="27" y="19"/>
                      <a:pt x="27" y="18"/>
                    </a:cubicBezTo>
                    <a:cubicBezTo>
                      <a:pt x="26" y="18"/>
                      <a:pt x="25" y="17"/>
                      <a:pt x="25" y="16"/>
                    </a:cubicBezTo>
                    <a:cubicBezTo>
                      <a:pt x="25" y="16"/>
                      <a:pt x="23" y="17"/>
                      <a:pt x="23" y="16"/>
                    </a:cubicBezTo>
                    <a:cubicBezTo>
                      <a:pt x="22" y="16"/>
                      <a:pt x="23" y="15"/>
                      <a:pt x="22" y="14"/>
                    </a:cubicBezTo>
                    <a:cubicBezTo>
                      <a:pt x="23" y="14"/>
                      <a:pt x="26" y="14"/>
                      <a:pt x="27" y="13"/>
                    </a:cubicBezTo>
                    <a:cubicBezTo>
                      <a:pt x="29" y="12"/>
                      <a:pt x="30" y="8"/>
                      <a:pt x="32" y="6"/>
                    </a:cubicBezTo>
                    <a:cubicBezTo>
                      <a:pt x="33" y="7"/>
                      <a:pt x="34" y="7"/>
                      <a:pt x="35" y="8"/>
                    </a:cubicBezTo>
                    <a:cubicBezTo>
                      <a:pt x="36" y="9"/>
                      <a:pt x="38" y="14"/>
                      <a:pt x="39" y="16"/>
                    </a:cubicBezTo>
                    <a:cubicBezTo>
                      <a:pt x="41" y="15"/>
                      <a:pt x="42" y="15"/>
                      <a:pt x="44" y="14"/>
                    </a:cubicBezTo>
                    <a:cubicBezTo>
                      <a:pt x="44" y="15"/>
                      <a:pt x="45" y="17"/>
                      <a:pt x="44" y="17"/>
                    </a:cubicBezTo>
                    <a:cubicBezTo>
                      <a:pt x="43" y="18"/>
                      <a:pt x="41" y="17"/>
                      <a:pt x="41" y="20"/>
                    </a:cubicBezTo>
                    <a:cubicBezTo>
                      <a:pt x="40" y="25"/>
                      <a:pt x="43" y="27"/>
                      <a:pt x="48" y="29"/>
                    </a:cubicBezTo>
                    <a:cubicBezTo>
                      <a:pt x="48" y="28"/>
                      <a:pt x="48" y="28"/>
                      <a:pt x="48" y="28"/>
                    </a:cubicBezTo>
                    <a:cubicBezTo>
                      <a:pt x="49" y="26"/>
                      <a:pt x="49" y="26"/>
                      <a:pt x="49" y="26"/>
                    </a:cubicBezTo>
                    <a:cubicBezTo>
                      <a:pt x="49" y="26"/>
                      <a:pt x="51" y="24"/>
                      <a:pt x="51" y="21"/>
                    </a:cubicBezTo>
                    <a:cubicBezTo>
                      <a:pt x="51" y="19"/>
                      <a:pt x="49" y="18"/>
                      <a:pt x="49" y="18"/>
                    </a:cubicBezTo>
                    <a:lnTo>
                      <a:pt x="50" y="14"/>
                    </a:lnTo>
                    <a:close/>
                    <a:moveTo>
                      <a:pt x="26" y="22"/>
                    </a:moveTo>
                    <a:cubicBezTo>
                      <a:pt x="25" y="23"/>
                      <a:pt x="25" y="24"/>
                      <a:pt x="24" y="25"/>
                    </a:cubicBezTo>
                    <a:cubicBezTo>
                      <a:pt x="25" y="25"/>
                      <a:pt x="27" y="24"/>
                      <a:pt x="26" y="24"/>
                    </a:cubicBezTo>
                    <a:cubicBezTo>
                      <a:pt x="27" y="24"/>
                      <a:pt x="27" y="24"/>
                      <a:pt x="27" y="24"/>
                    </a:cubicBezTo>
                    <a:cubicBezTo>
                      <a:pt x="27" y="24"/>
                      <a:pt x="28" y="22"/>
                      <a:pt x="27" y="22"/>
                    </a:cubicBezTo>
                    <a:cubicBezTo>
                      <a:pt x="27" y="24"/>
                      <a:pt x="27" y="24"/>
                      <a:pt x="27" y="24"/>
                    </a:cubicBezTo>
                    <a:cubicBezTo>
                      <a:pt x="27" y="24"/>
                      <a:pt x="26" y="22"/>
                      <a:pt x="26" y="22"/>
                    </a:cubicBezTo>
                    <a:close/>
                    <a:moveTo>
                      <a:pt x="12" y="22"/>
                    </a:moveTo>
                    <a:cubicBezTo>
                      <a:pt x="12" y="22"/>
                      <a:pt x="13" y="24"/>
                      <a:pt x="13" y="24"/>
                    </a:cubicBezTo>
                    <a:cubicBezTo>
                      <a:pt x="15" y="25"/>
                      <a:pt x="14" y="23"/>
                      <a:pt x="12" y="2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33" name="Freeform 112">
                <a:extLst>
                  <a:ext uri="{FF2B5EF4-FFF2-40B4-BE49-F238E27FC236}">
                    <a16:creationId xmlns:a16="http://schemas.microsoft.com/office/drawing/2014/main" id="{C545DBE9-9A2C-4C1F-D3AE-BA30BF466A0A}"/>
                  </a:ext>
                </a:extLst>
              </p:cNvPr>
              <p:cNvSpPr>
                <a:spLocks/>
              </p:cNvSpPr>
              <p:nvPr/>
            </p:nvSpPr>
            <p:spPr bwMode="auto">
              <a:xfrm>
                <a:off x="4153" y="1460"/>
                <a:ext cx="259" cy="290"/>
              </a:xfrm>
              <a:custGeom>
                <a:avLst/>
                <a:gdLst>
                  <a:gd name="T0" fmla="*/ 130 w 132"/>
                  <a:gd name="T1" fmla="*/ 17 h 148"/>
                  <a:gd name="T2" fmla="*/ 126 w 132"/>
                  <a:gd name="T3" fmla="*/ 22 h 148"/>
                  <a:gd name="T4" fmla="*/ 115 w 132"/>
                  <a:gd name="T5" fmla="*/ 27 h 148"/>
                  <a:gd name="T6" fmla="*/ 111 w 132"/>
                  <a:gd name="T7" fmla="*/ 31 h 148"/>
                  <a:gd name="T8" fmla="*/ 106 w 132"/>
                  <a:gd name="T9" fmla="*/ 31 h 148"/>
                  <a:gd name="T10" fmla="*/ 99 w 132"/>
                  <a:gd name="T11" fmla="*/ 34 h 148"/>
                  <a:gd name="T12" fmla="*/ 101 w 132"/>
                  <a:gd name="T13" fmla="*/ 41 h 148"/>
                  <a:gd name="T14" fmla="*/ 104 w 132"/>
                  <a:gd name="T15" fmla="*/ 52 h 148"/>
                  <a:gd name="T16" fmla="*/ 111 w 132"/>
                  <a:gd name="T17" fmla="*/ 58 h 148"/>
                  <a:gd name="T18" fmla="*/ 109 w 132"/>
                  <a:gd name="T19" fmla="*/ 67 h 148"/>
                  <a:gd name="T20" fmla="*/ 105 w 132"/>
                  <a:gd name="T21" fmla="*/ 77 h 148"/>
                  <a:gd name="T22" fmla="*/ 101 w 132"/>
                  <a:gd name="T23" fmla="*/ 85 h 148"/>
                  <a:gd name="T24" fmla="*/ 95 w 132"/>
                  <a:gd name="T25" fmla="*/ 91 h 148"/>
                  <a:gd name="T26" fmla="*/ 86 w 132"/>
                  <a:gd name="T27" fmla="*/ 100 h 148"/>
                  <a:gd name="T28" fmla="*/ 79 w 132"/>
                  <a:gd name="T29" fmla="*/ 106 h 148"/>
                  <a:gd name="T30" fmla="*/ 75 w 132"/>
                  <a:gd name="T31" fmla="*/ 108 h 148"/>
                  <a:gd name="T32" fmla="*/ 70 w 132"/>
                  <a:gd name="T33" fmla="*/ 116 h 148"/>
                  <a:gd name="T34" fmla="*/ 73 w 132"/>
                  <a:gd name="T35" fmla="*/ 120 h 148"/>
                  <a:gd name="T36" fmla="*/ 72 w 132"/>
                  <a:gd name="T37" fmla="*/ 127 h 148"/>
                  <a:gd name="T38" fmla="*/ 77 w 132"/>
                  <a:gd name="T39" fmla="*/ 132 h 148"/>
                  <a:gd name="T40" fmla="*/ 75 w 132"/>
                  <a:gd name="T41" fmla="*/ 142 h 148"/>
                  <a:gd name="T42" fmla="*/ 67 w 132"/>
                  <a:gd name="T43" fmla="*/ 142 h 148"/>
                  <a:gd name="T44" fmla="*/ 62 w 132"/>
                  <a:gd name="T45" fmla="*/ 148 h 148"/>
                  <a:gd name="T46" fmla="*/ 58 w 132"/>
                  <a:gd name="T47" fmla="*/ 146 h 148"/>
                  <a:gd name="T48" fmla="*/ 54 w 132"/>
                  <a:gd name="T49" fmla="*/ 146 h 148"/>
                  <a:gd name="T50" fmla="*/ 51 w 132"/>
                  <a:gd name="T51" fmla="*/ 139 h 148"/>
                  <a:gd name="T52" fmla="*/ 45 w 132"/>
                  <a:gd name="T53" fmla="*/ 131 h 148"/>
                  <a:gd name="T54" fmla="*/ 44 w 132"/>
                  <a:gd name="T55" fmla="*/ 128 h 148"/>
                  <a:gd name="T56" fmla="*/ 34 w 132"/>
                  <a:gd name="T57" fmla="*/ 128 h 148"/>
                  <a:gd name="T58" fmla="*/ 18 w 132"/>
                  <a:gd name="T59" fmla="*/ 131 h 148"/>
                  <a:gd name="T60" fmla="*/ 9 w 132"/>
                  <a:gd name="T61" fmla="*/ 131 h 148"/>
                  <a:gd name="T62" fmla="*/ 4 w 132"/>
                  <a:gd name="T63" fmla="*/ 132 h 148"/>
                  <a:gd name="T64" fmla="*/ 0 w 132"/>
                  <a:gd name="T65" fmla="*/ 134 h 148"/>
                  <a:gd name="T66" fmla="*/ 7 w 132"/>
                  <a:gd name="T67" fmla="*/ 116 h 148"/>
                  <a:gd name="T68" fmla="*/ 17 w 132"/>
                  <a:gd name="T69" fmla="*/ 113 h 148"/>
                  <a:gd name="T70" fmla="*/ 21 w 132"/>
                  <a:gd name="T71" fmla="*/ 107 h 148"/>
                  <a:gd name="T72" fmla="*/ 16 w 132"/>
                  <a:gd name="T73" fmla="*/ 100 h 148"/>
                  <a:gd name="T74" fmla="*/ 10 w 132"/>
                  <a:gd name="T75" fmla="*/ 95 h 148"/>
                  <a:gd name="T76" fmla="*/ 5 w 132"/>
                  <a:gd name="T77" fmla="*/ 86 h 148"/>
                  <a:gd name="T78" fmla="*/ 2 w 132"/>
                  <a:gd name="T79" fmla="*/ 75 h 148"/>
                  <a:gd name="T80" fmla="*/ 15 w 132"/>
                  <a:gd name="T81" fmla="*/ 79 h 148"/>
                  <a:gd name="T82" fmla="*/ 26 w 132"/>
                  <a:gd name="T83" fmla="*/ 79 h 148"/>
                  <a:gd name="T84" fmla="*/ 31 w 132"/>
                  <a:gd name="T85" fmla="*/ 76 h 148"/>
                  <a:gd name="T86" fmla="*/ 37 w 132"/>
                  <a:gd name="T87" fmla="*/ 72 h 148"/>
                  <a:gd name="T88" fmla="*/ 42 w 132"/>
                  <a:gd name="T89" fmla="*/ 65 h 148"/>
                  <a:gd name="T90" fmla="*/ 50 w 132"/>
                  <a:gd name="T91" fmla="*/ 59 h 148"/>
                  <a:gd name="T92" fmla="*/ 54 w 132"/>
                  <a:gd name="T93" fmla="*/ 55 h 148"/>
                  <a:gd name="T94" fmla="*/ 55 w 132"/>
                  <a:gd name="T95" fmla="*/ 49 h 148"/>
                  <a:gd name="T96" fmla="*/ 59 w 132"/>
                  <a:gd name="T97" fmla="*/ 48 h 148"/>
                  <a:gd name="T98" fmla="*/ 66 w 132"/>
                  <a:gd name="T99" fmla="*/ 49 h 148"/>
                  <a:gd name="T100" fmla="*/ 67 w 132"/>
                  <a:gd name="T101" fmla="*/ 42 h 148"/>
                  <a:gd name="T102" fmla="*/ 71 w 132"/>
                  <a:gd name="T103" fmla="*/ 34 h 148"/>
                  <a:gd name="T104" fmla="*/ 70 w 132"/>
                  <a:gd name="T105" fmla="*/ 27 h 148"/>
                  <a:gd name="T106" fmla="*/ 78 w 132"/>
                  <a:gd name="T107" fmla="*/ 27 h 148"/>
                  <a:gd name="T108" fmla="*/ 77 w 132"/>
                  <a:gd name="T109" fmla="*/ 18 h 148"/>
                  <a:gd name="T110" fmla="*/ 80 w 132"/>
                  <a:gd name="T111" fmla="*/ 11 h 148"/>
                  <a:gd name="T112" fmla="*/ 95 w 132"/>
                  <a:gd name="T113" fmla="*/ 4 h 148"/>
                  <a:gd name="T114" fmla="*/ 106 w 132"/>
                  <a:gd name="T115" fmla="*/ 2 h 148"/>
                  <a:gd name="T116" fmla="*/ 111 w 132"/>
                  <a:gd name="T117" fmla="*/ 0 h 148"/>
                  <a:gd name="T118" fmla="*/ 127 w 132"/>
                  <a:gd name="T119" fmla="*/ 6 h 148"/>
                  <a:gd name="T120" fmla="*/ 132 w 132"/>
                  <a:gd name="T121"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132" y="12"/>
                    </a:moveTo>
                    <a:cubicBezTo>
                      <a:pt x="130" y="17"/>
                      <a:pt x="130" y="17"/>
                      <a:pt x="130" y="17"/>
                    </a:cubicBezTo>
                    <a:cubicBezTo>
                      <a:pt x="127" y="20"/>
                      <a:pt x="127" y="20"/>
                      <a:pt x="127" y="20"/>
                    </a:cubicBezTo>
                    <a:cubicBezTo>
                      <a:pt x="126" y="22"/>
                      <a:pt x="126" y="22"/>
                      <a:pt x="126" y="22"/>
                    </a:cubicBezTo>
                    <a:cubicBezTo>
                      <a:pt x="121" y="26"/>
                      <a:pt x="121" y="26"/>
                      <a:pt x="121" y="26"/>
                    </a:cubicBezTo>
                    <a:cubicBezTo>
                      <a:pt x="115" y="27"/>
                      <a:pt x="115" y="27"/>
                      <a:pt x="115" y="27"/>
                    </a:cubicBezTo>
                    <a:cubicBezTo>
                      <a:pt x="112" y="29"/>
                      <a:pt x="112" y="29"/>
                      <a:pt x="112" y="29"/>
                    </a:cubicBezTo>
                    <a:cubicBezTo>
                      <a:pt x="111" y="31"/>
                      <a:pt x="111" y="31"/>
                      <a:pt x="111" y="31"/>
                    </a:cubicBezTo>
                    <a:cubicBezTo>
                      <a:pt x="109" y="33"/>
                      <a:pt x="109" y="33"/>
                      <a:pt x="109" y="33"/>
                    </a:cubicBezTo>
                    <a:cubicBezTo>
                      <a:pt x="106" y="31"/>
                      <a:pt x="106" y="31"/>
                      <a:pt x="106" y="31"/>
                    </a:cubicBezTo>
                    <a:cubicBezTo>
                      <a:pt x="102" y="33"/>
                      <a:pt x="102" y="33"/>
                      <a:pt x="102" y="33"/>
                    </a:cubicBezTo>
                    <a:cubicBezTo>
                      <a:pt x="99" y="34"/>
                      <a:pt x="99" y="34"/>
                      <a:pt x="99" y="34"/>
                    </a:cubicBezTo>
                    <a:cubicBezTo>
                      <a:pt x="98" y="38"/>
                      <a:pt x="98" y="38"/>
                      <a:pt x="98" y="38"/>
                    </a:cubicBezTo>
                    <a:cubicBezTo>
                      <a:pt x="101" y="41"/>
                      <a:pt x="101" y="41"/>
                      <a:pt x="101" y="41"/>
                    </a:cubicBezTo>
                    <a:cubicBezTo>
                      <a:pt x="103" y="49"/>
                      <a:pt x="103" y="49"/>
                      <a:pt x="103" y="49"/>
                    </a:cubicBezTo>
                    <a:cubicBezTo>
                      <a:pt x="104" y="52"/>
                      <a:pt x="104" y="52"/>
                      <a:pt x="104" y="52"/>
                    </a:cubicBezTo>
                    <a:cubicBezTo>
                      <a:pt x="107" y="54"/>
                      <a:pt x="107" y="54"/>
                      <a:pt x="107" y="54"/>
                    </a:cubicBezTo>
                    <a:cubicBezTo>
                      <a:pt x="111" y="58"/>
                      <a:pt x="111" y="58"/>
                      <a:pt x="111" y="58"/>
                    </a:cubicBezTo>
                    <a:cubicBezTo>
                      <a:pt x="111" y="63"/>
                      <a:pt x="111" y="63"/>
                      <a:pt x="111" y="63"/>
                    </a:cubicBezTo>
                    <a:cubicBezTo>
                      <a:pt x="109" y="67"/>
                      <a:pt x="109" y="67"/>
                      <a:pt x="109" y="67"/>
                    </a:cubicBezTo>
                    <a:cubicBezTo>
                      <a:pt x="106" y="71"/>
                      <a:pt x="106" y="71"/>
                      <a:pt x="106" y="71"/>
                    </a:cubicBezTo>
                    <a:cubicBezTo>
                      <a:pt x="105" y="77"/>
                      <a:pt x="105" y="77"/>
                      <a:pt x="105" y="77"/>
                    </a:cubicBezTo>
                    <a:cubicBezTo>
                      <a:pt x="105" y="82"/>
                      <a:pt x="105" y="82"/>
                      <a:pt x="105" y="82"/>
                    </a:cubicBezTo>
                    <a:cubicBezTo>
                      <a:pt x="101" y="85"/>
                      <a:pt x="101" y="85"/>
                      <a:pt x="101" y="85"/>
                    </a:cubicBezTo>
                    <a:cubicBezTo>
                      <a:pt x="98" y="88"/>
                      <a:pt x="98" y="88"/>
                      <a:pt x="98" y="88"/>
                    </a:cubicBezTo>
                    <a:cubicBezTo>
                      <a:pt x="95" y="91"/>
                      <a:pt x="95" y="91"/>
                      <a:pt x="95" y="91"/>
                    </a:cubicBezTo>
                    <a:cubicBezTo>
                      <a:pt x="90" y="94"/>
                      <a:pt x="90" y="94"/>
                      <a:pt x="90" y="94"/>
                    </a:cubicBezTo>
                    <a:cubicBezTo>
                      <a:pt x="86" y="100"/>
                      <a:pt x="86" y="100"/>
                      <a:pt x="86" y="100"/>
                    </a:cubicBezTo>
                    <a:cubicBezTo>
                      <a:pt x="83" y="105"/>
                      <a:pt x="83" y="105"/>
                      <a:pt x="83" y="105"/>
                    </a:cubicBezTo>
                    <a:cubicBezTo>
                      <a:pt x="79" y="106"/>
                      <a:pt x="79" y="106"/>
                      <a:pt x="79" y="106"/>
                    </a:cubicBezTo>
                    <a:cubicBezTo>
                      <a:pt x="77" y="103"/>
                      <a:pt x="77" y="103"/>
                      <a:pt x="77" y="103"/>
                    </a:cubicBezTo>
                    <a:cubicBezTo>
                      <a:pt x="75" y="108"/>
                      <a:pt x="75" y="108"/>
                      <a:pt x="75" y="108"/>
                    </a:cubicBezTo>
                    <a:cubicBezTo>
                      <a:pt x="72" y="111"/>
                      <a:pt x="72" y="111"/>
                      <a:pt x="72" y="111"/>
                    </a:cubicBezTo>
                    <a:cubicBezTo>
                      <a:pt x="70" y="116"/>
                      <a:pt x="70" y="116"/>
                      <a:pt x="70" y="116"/>
                    </a:cubicBezTo>
                    <a:cubicBezTo>
                      <a:pt x="72" y="118"/>
                      <a:pt x="72" y="118"/>
                      <a:pt x="72" y="118"/>
                    </a:cubicBezTo>
                    <a:cubicBezTo>
                      <a:pt x="73" y="120"/>
                      <a:pt x="73" y="120"/>
                      <a:pt x="73" y="120"/>
                    </a:cubicBezTo>
                    <a:cubicBezTo>
                      <a:pt x="72" y="123"/>
                      <a:pt x="72" y="123"/>
                      <a:pt x="72" y="123"/>
                    </a:cubicBezTo>
                    <a:cubicBezTo>
                      <a:pt x="72" y="127"/>
                      <a:pt x="72" y="127"/>
                      <a:pt x="72" y="127"/>
                    </a:cubicBezTo>
                    <a:cubicBezTo>
                      <a:pt x="76" y="128"/>
                      <a:pt x="76" y="128"/>
                      <a:pt x="76" y="128"/>
                    </a:cubicBezTo>
                    <a:cubicBezTo>
                      <a:pt x="77" y="132"/>
                      <a:pt x="77" y="132"/>
                      <a:pt x="77" y="132"/>
                    </a:cubicBezTo>
                    <a:cubicBezTo>
                      <a:pt x="78" y="143"/>
                      <a:pt x="78" y="143"/>
                      <a:pt x="78" y="143"/>
                    </a:cubicBezTo>
                    <a:cubicBezTo>
                      <a:pt x="75" y="142"/>
                      <a:pt x="75" y="142"/>
                      <a:pt x="75" y="142"/>
                    </a:cubicBezTo>
                    <a:cubicBezTo>
                      <a:pt x="70" y="142"/>
                      <a:pt x="70" y="142"/>
                      <a:pt x="70" y="142"/>
                    </a:cubicBezTo>
                    <a:cubicBezTo>
                      <a:pt x="67" y="142"/>
                      <a:pt x="67" y="142"/>
                      <a:pt x="67" y="142"/>
                    </a:cubicBezTo>
                    <a:cubicBezTo>
                      <a:pt x="63" y="144"/>
                      <a:pt x="63" y="144"/>
                      <a:pt x="63" y="144"/>
                    </a:cubicBezTo>
                    <a:cubicBezTo>
                      <a:pt x="62" y="148"/>
                      <a:pt x="62" y="148"/>
                      <a:pt x="62" y="148"/>
                    </a:cubicBezTo>
                    <a:cubicBezTo>
                      <a:pt x="58" y="148"/>
                      <a:pt x="58" y="148"/>
                      <a:pt x="58" y="148"/>
                    </a:cubicBezTo>
                    <a:cubicBezTo>
                      <a:pt x="58" y="146"/>
                      <a:pt x="58" y="146"/>
                      <a:pt x="58" y="146"/>
                    </a:cubicBezTo>
                    <a:cubicBezTo>
                      <a:pt x="58" y="146"/>
                      <a:pt x="58" y="145"/>
                      <a:pt x="57" y="145"/>
                    </a:cubicBezTo>
                    <a:cubicBezTo>
                      <a:pt x="56" y="145"/>
                      <a:pt x="54" y="146"/>
                      <a:pt x="54" y="146"/>
                    </a:cubicBezTo>
                    <a:cubicBezTo>
                      <a:pt x="54" y="146"/>
                      <a:pt x="54" y="144"/>
                      <a:pt x="53" y="143"/>
                    </a:cubicBezTo>
                    <a:cubicBezTo>
                      <a:pt x="53" y="142"/>
                      <a:pt x="53" y="141"/>
                      <a:pt x="51" y="139"/>
                    </a:cubicBezTo>
                    <a:cubicBezTo>
                      <a:pt x="51" y="139"/>
                      <a:pt x="48" y="138"/>
                      <a:pt x="45" y="137"/>
                    </a:cubicBezTo>
                    <a:cubicBezTo>
                      <a:pt x="46" y="136"/>
                      <a:pt x="46" y="132"/>
                      <a:pt x="45" y="131"/>
                    </a:cubicBezTo>
                    <a:cubicBezTo>
                      <a:pt x="44" y="131"/>
                      <a:pt x="44" y="131"/>
                      <a:pt x="44" y="131"/>
                    </a:cubicBezTo>
                    <a:cubicBezTo>
                      <a:pt x="43" y="130"/>
                      <a:pt x="44" y="129"/>
                      <a:pt x="44" y="128"/>
                    </a:cubicBezTo>
                    <a:cubicBezTo>
                      <a:pt x="41" y="128"/>
                      <a:pt x="39" y="129"/>
                      <a:pt x="38" y="129"/>
                    </a:cubicBezTo>
                    <a:cubicBezTo>
                      <a:pt x="35" y="129"/>
                      <a:pt x="36" y="128"/>
                      <a:pt x="34" y="128"/>
                    </a:cubicBezTo>
                    <a:cubicBezTo>
                      <a:pt x="32" y="129"/>
                      <a:pt x="30" y="131"/>
                      <a:pt x="29" y="131"/>
                    </a:cubicBezTo>
                    <a:cubicBezTo>
                      <a:pt x="25" y="132"/>
                      <a:pt x="21" y="131"/>
                      <a:pt x="18" y="131"/>
                    </a:cubicBezTo>
                    <a:cubicBezTo>
                      <a:pt x="17" y="133"/>
                      <a:pt x="17" y="133"/>
                      <a:pt x="17" y="133"/>
                    </a:cubicBezTo>
                    <a:cubicBezTo>
                      <a:pt x="14" y="133"/>
                      <a:pt x="11" y="131"/>
                      <a:pt x="9" y="131"/>
                    </a:cubicBezTo>
                    <a:cubicBezTo>
                      <a:pt x="8" y="133"/>
                      <a:pt x="8" y="133"/>
                      <a:pt x="8" y="133"/>
                    </a:cubicBezTo>
                    <a:cubicBezTo>
                      <a:pt x="6" y="133"/>
                      <a:pt x="6" y="132"/>
                      <a:pt x="4" y="132"/>
                    </a:cubicBezTo>
                    <a:cubicBezTo>
                      <a:pt x="4" y="132"/>
                      <a:pt x="4" y="134"/>
                      <a:pt x="4" y="134"/>
                    </a:cubicBezTo>
                    <a:cubicBezTo>
                      <a:pt x="2" y="134"/>
                      <a:pt x="1" y="134"/>
                      <a:pt x="0" y="134"/>
                    </a:cubicBezTo>
                    <a:cubicBezTo>
                      <a:pt x="1" y="124"/>
                      <a:pt x="1" y="124"/>
                      <a:pt x="1" y="124"/>
                    </a:cubicBezTo>
                    <a:cubicBezTo>
                      <a:pt x="7" y="116"/>
                      <a:pt x="7" y="116"/>
                      <a:pt x="7" y="116"/>
                    </a:cubicBezTo>
                    <a:cubicBezTo>
                      <a:pt x="12" y="115"/>
                      <a:pt x="12" y="115"/>
                      <a:pt x="12" y="115"/>
                    </a:cubicBezTo>
                    <a:cubicBezTo>
                      <a:pt x="17" y="113"/>
                      <a:pt x="17" y="113"/>
                      <a:pt x="17" y="113"/>
                    </a:cubicBezTo>
                    <a:cubicBezTo>
                      <a:pt x="21" y="110"/>
                      <a:pt x="21" y="110"/>
                      <a:pt x="21" y="110"/>
                    </a:cubicBezTo>
                    <a:cubicBezTo>
                      <a:pt x="21" y="107"/>
                      <a:pt x="21" y="107"/>
                      <a:pt x="21" y="107"/>
                    </a:cubicBezTo>
                    <a:cubicBezTo>
                      <a:pt x="17" y="105"/>
                      <a:pt x="17" y="105"/>
                      <a:pt x="17" y="105"/>
                    </a:cubicBezTo>
                    <a:cubicBezTo>
                      <a:pt x="16" y="100"/>
                      <a:pt x="16" y="100"/>
                      <a:pt x="16" y="100"/>
                    </a:cubicBezTo>
                    <a:cubicBezTo>
                      <a:pt x="14" y="96"/>
                      <a:pt x="14" y="96"/>
                      <a:pt x="14" y="96"/>
                    </a:cubicBezTo>
                    <a:cubicBezTo>
                      <a:pt x="10" y="95"/>
                      <a:pt x="10" y="95"/>
                      <a:pt x="10" y="95"/>
                    </a:cubicBezTo>
                    <a:cubicBezTo>
                      <a:pt x="6" y="89"/>
                      <a:pt x="6" y="89"/>
                      <a:pt x="6" y="89"/>
                    </a:cubicBezTo>
                    <a:cubicBezTo>
                      <a:pt x="5" y="86"/>
                      <a:pt x="5" y="86"/>
                      <a:pt x="5" y="86"/>
                    </a:cubicBezTo>
                    <a:cubicBezTo>
                      <a:pt x="6" y="84"/>
                      <a:pt x="6" y="84"/>
                      <a:pt x="6" y="84"/>
                    </a:cubicBezTo>
                    <a:cubicBezTo>
                      <a:pt x="2" y="75"/>
                      <a:pt x="2" y="75"/>
                      <a:pt x="2" y="75"/>
                    </a:cubicBezTo>
                    <a:cubicBezTo>
                      <a:pt x="11" y="80"/>
                      <a:pt x="11" y="80"/>
                      <a:pt x="11" y="80"/>
                    </a:cubicBezTo>
                    <a:cubicBezTo>
                      <a:pt x="15" y="79"/>
                      <a:pt x="15" y="79"/>
                      <a:pt x="15" y="79"/>
                    </a:cubicBezTo>
                    <a:cubicBezTo>
                      <a:pt x="18" y="79"/>
                      <a:pt x="18" y="79"/>
                      <a:pt x="18" y="79"/>
                    </a:cubicBezTo>
                    <a:cubicBezTo>
                      <a:pt x="26" y="79"/>
                      <a:pt x="26" y="79"/>
                      <a:pt x="26" y="79"/>
                    </a:cubicBezTo>
                    <a:cubicBezTo>
                      <a:pt x="30" y="80"/>
                      <a:pt x="30" y="80"/>
                      <a:pt x="30" y="80"/>
                    </a:cubicBezTo>
                    <a:cubicBezTo>
                      <a:pt x="31" y="76"/>
                      <a:pt x="31" y="76"/>
                      <a:pt x="31" y="76"/>
                    </a:cubicBezTo>
                    <a:cubicBezTo>
                      <a:pt x="36" y="75"/>
                      <a:pt x="36" y="75"/>
                      <a:pt x="36" y="75"/>
                    </a:cubicBezTo>
                    <a:cubicBezTo>
                      <a:pt x="37" y="72"/>
                      <a:pt x="37" y="72"/>
                      <a:pt x="37" y="72"/>
                    </a:cubicBezTo>
                    <a:cubicBezTo>
                      <a:pt x="38" y="68"/>
                      <a:pt x="38" y="68"/>
                      <a:pt x="38" y="68"/>
                    </a:cubicBezTo>
                    <a:cubicBezTo>
                      <a:pt x="42" y="65"/>
                      <a:pt x="42" y="65"/>
                      <a:pt x="42" y="65"/>
                    </a:cubicBezTo>
                    <a:cubicBezTo>
                      <a:pt x="48" y="58"/>
                      <a:pt x="48" y="58"/>
                      <a:pt x="48" y="58"/>
                    </a:cubicBezTo>
                    <a:cubicBezTo>
                      <a:pt x="50" y="59"/>
                      <a:pt x="50" y="59"/>
                      <a:pt x="50" y="59"/>
                    </a:cubicBezTo>
                    <a:cubicBezTo>
                      <a:pt x="53" y="58"/>
                      <a:pt x="53" y="58"/>
                      <a:pt x="53" y="58"/>
                    </a:cubicBezTo>
                    <a:cubicBezTo>
                      <a:pt x="54" y="55"/>
                      <a:pt x="54" y="55"/>
                      <a:pt x="54" y="55"/>
                    </a:cubicBezTo>
                    <a:cubicBezTo>
                      <a:pt x="51" y="52"/>
                      <a:pt x="51" y="52"/>
                      <a:pt x="51" y="52"/>
                    </a:cubicBezTo>
                    <a:cubicBezTo>
                      <a:pt x="55" y="49"/>
                      <a:pt x="55" y="49"/>
                      <a:pt x="55" y="49"/>
                    </a:cubicBezTo>
                    <a:cubicBezTo>
                      <a:pt x="58" y="46"/>
                      <a:pt x="58" y="46"/>
                      <a:pt x="58" y="46"/>
                    </a:cubicBezTo>
                    <a:cubicBezTo>
                      <a:pt x="59" y="48"/>
                      <a:pt x="59" y="48"/>
                      <a:pt x="59" y="48"/>
                    </a:cubicBezTo>
                    <a:cubicBezTo>
                      <a:pt x="63" y="49"/>
                      <a:pt x="63" y="49"/>
                      <a:pt x="63" y="49"/>
                    </a:cubicBezTo>
                    <a:cubicBezTo>
                      <a:pt x="66" y="49"/>
                      <a:pt x="66" y="49"/>
                      <a:pt x="66" y="49"/>
                    </a:cubicBezTo>
                    <a:cubicBezTo>
                      <a:pt x="67" y="45"/>
                      <a:pt x="67" y="45"/>
                      <a:pt x="67" y="45"/>
                    </a:cubicBezTo>
                    <a:cubicBezTo>
                      <a:pt x="67" y="42"/>
                      <a:pt x="67" y="42"/>
                      <a:pt x="67" y="42"/>
                    </a:cubicBezTo>
                    <a:cubicBezTo>
                      <a:pt x="71" y="38"/>
                      <a:pt x="71" y="38"/>
                      <a:pt x="71" y="38"/>
                    </a:cubicBezTo>
                    <a:cubicBezTo>
                      <a:pt x="71" y="34"/>
                      <a:pt x="71" y="34"/>
                      <a:pt x="71" y="34"/>
                    </a:cubicBezTo>
                    <a:cubicBezTo>
                      <a:pt x="68" y="30"/>
                      <a:pt x="68" y="30"/>
                      <a:pt x="68" y="30"/>
                    </a:cubicBezTo>
                    <a:cubicBezTo>
                      <a:pt x="70" y="27"/>
                      <a:pt x="70" y="27"/>
                      <a:pt x="70" y="27"/>
                    </a:cubicBezTo>
                    <a:cubicBezTo>
                      <a:pt x="73" y="28"/>
                      <a:pt x="73" y="28"/>
                      <a:pt x="73" y="28"/>
                    </a:cubicBezTo>
                    <a:cubicBezTo>
                      <a:pt x="78" y="27"/>
                      <a:pt x="78" y="27"/>
                      <a:pt x="78" y="27"/>
                    </a:cubicBezTo>
                    <a:cubicBezTo>
                      <a:pt x="79" y="21"/>
                      <a:pt x="79" y="21"/>
                      <a:pt x="79" y="21"/>
                    </a:cubicBezTo>
                    <a:cubicBezTo>
                      <a:pt x="77" y="18"/>
                      <a:pt x="77" y="18"/>
                      <a:pt x="77" y="18"/>
                    </a:cubicBezTo>
                    <a:cubicBezTo>
                      <a:pt x="80" y="16"/>
                      <a:pt x="80" y="16"/>
                      <a:pt x="80" y="16"/>
                    </a:cubicBezTo>
                    <a:cubicBezTo>
                      <a:pt x="80" y="11"/>
                      <a:pt x="80" y="11"/>
                      <a:pt x="80" y="11"/>
                    </a:cubicBezTo>
                    <a:cubicBezTo>
                      <a:pt x="90" y="5"/>
                      <a:pt x="90" y="5"/>
                      <a:pt x="90" y="5"/>
                    </a:cubicBezTo>
                    <a:cubicBezTo>
                      <a:pt x="95" y="4"/>
                      <a:pt x="95" y="4"/>
                      <a:pt x="95" y="4"/>
                    </a:cubicBezTo>
                    <a:cubicBezTo>
                      <a:pt x="101" y="2"/>
                      <a:pt x="101" y="2"/>
                      <a:pt x="101" y="2"/>
                    </a:cubicBezTo>
                    <a:cubicBezTo>
                      <a:pt x="106" y="2"/>
                      <a:pt x="106" y="2"/>
                      <a:pt x="106" y="2"/>
                    </a:cubicBezTo>
                    <a:cubicBezTo>
                      <a:pt x="109" y="2"/>
                      <a:pt x="109" y="2"/>
                      <a:pt x="109" y="2"/>
                    </a:cubicBezTo>
                    <a:cubicBezTo>
                      <a:pt x="111" y="0"/>
                      <a:pt x="111" y="0"/>
                      <a:pt x="111" y="0"/>
                    </a:cubicBezTo>
                    <a:cubicBezTo>
                      <a:pt x="117" y="0"/>
                      <a:pt x="117" y="0"/>
                      <a:pt x="117" y="0"/>
                    </a:cubicBezTo>
                    <a:cubicBezTo>
                      <a:pt x="127" y="6"/>
                      <a:pt x="127" y="6"/>
                      <a:pt x="127" y="6"/>
                    </a:cubicBezTo>
                    <a:cubicBezTo>
                      <a:pt x="129" y="9"/>
                      <a:pt x="129" y="9"/>
                      <a:pt x="129" y="9"/>
                    </a:cubicBezTo>
                    <a:lnTo>
                      <a:pt x="132" y="12"/>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34" name="Freeform 113">
                <a:extLst>
                  <a:ext uri="{FF2B5EF4-FFF2-40B4-BE49-F238E27FC236}">
                    <a16:creationId xmlns:a16="http://schemas.microsoft.com/office/drawing/2014/main" id="{A9208650-8DE7-1F6A-D5D3-F94DE02A2003}"/>
                  </a:ext>
                </a:extLst>
              </p:cNvPr>
              <p:cNvSpPr>
                <a:spLocks/>
              </p:cNvSpPr>
              <p:nvPr/>
            </p:nvSpPr>
            <p:spPr bwMode="auto">
              <a:xfrm>
                <a:off x="4153" y="1460"/>
                <a:ext cx="259" cy="290"/>
              </a:xfrm>
              <a:custGeom>
                <a:avLst/>
                <a:gdLst>
                  <a:gd name="T0" fmla="*/ 130 w 132"/>
                  <a:gd name="T1" fmla="*/ 17 h 148"/>
                  <a:gd name="T2" fmla="*/ 126 w 132"/>
                  <a:gd name="T3" fmla="*/ 22 h 148"/>
                  <a:gd name="T4" fmla="*/ 115 w 132"/>
                  <a:gd name="T5" fmla="*/ 27 h 148"/>
                  <a:gd name="T6" fmla="*/ 111 w 132"/>
                  <a:gd name="T7" fmla="*/ 31 h 148"/>
                  <a:gd name="T8" fmla="*/ 106 w 132"/>
                  <a:gd name="T9" fmla="*/ 31 h 148"/>
                  <a:gd name="T10" fmla="*/ 99 w 132"/>
                  <a:gd name="T11" fmla="*/ 34 h 148"/>
                  <a:gd name="T12" fmla="*/ 101 w 132"/>
                  <a:gd name="T13" fmla="*/ 41 h 148"/>
                  <a:gd name="T14" fmla="*/ 104 w 132"/>
                  <a:gd name="T15" fmla="*/ 52 h 148"/>
                  <a:gd name="T16" fmla="*/ 111 w 132"/>
                  <a:gd name="T17" fmla="*/ 58 h 148"/>
                  <a:gd name="T18" fmla="*/ 109 w 132"/>
                  <a:gd name="T19" fmla="*/ 67 h 148"/>
                  <a:gd name="T20" fmla="*/ 105 w 132"/>
                  <a:gd name="T21" fmla="*/ 77 h 148"/>
                  <a:gd name="T22" fmla="*/ 101 w 132"/>
                  <a:gd name="T23" fmla="*/ 85 h 148"/>
                  <a:gd name="T24" fmla="*/ 95 w 132"/>
                  <a:gd name="T25" fmla="*/ 91 h 148"/>
                  <a:gd name="T26" fmla="*/ 86 w 132"/>
                  <a:gd name="T27" fmla="*/ 100 h 148"/>
                  <a:gd name="T28" fmla="*/ 79 w 132"/>
                  <a:gd name="T29" fmla="*/ 106 h 148"/>
                  <a:gd name="T30" fmla="*/ 75 w 132"/>
                  <a:gd name="T31" fmla="*/ 108 h 148"/>
                  <a:gd name="T32" fmla="*/ 70 w 132"/>
                  <a:gd name="T33" fmla="*/ 116 h 148"/>
                  <a:gd name="T34" fmla="*/ 73 w 132"/>
                  <a:gd name="T35" fmla="*/ 120 h 148"/>
                  <a:gd name="T36" fmla="*/ 72 w 132"/>
                  <a:gd name="T37" fmla="*/ 127 h 148"/>
                  <a:gd name="T38" fmla="*/ 77 w 132"/>
                  <a:gd name="T39" fmla="*/ 132 h 148"/>
                  <a:gd name="T40" fmla="*/ 75 w 132"/>
                  <a:gd name="T41" fmla="*/ 142 h 148"/>
                  <a:gd name="T42" fmla="*/ 67 w 132"/>
                  <a:gd name="T43" fmla="*/ 142 h 148"/>
                  <a:gd name="T44" fmla="*/ 62 w 132"/>
                  <a:gd name="T45" fmla="*/ 148 h 148"/>
                  <a:gd name="T46" fmla="*/ 58 w 132"/>
                  <a:gd name="T47" fmla="*/ 146 h 148"/>
                  <a:gd name="T48" fmla="*/ 54 w 132"/>
                  <a:gd name="T49" fmla="*/ 146 h 148"/>
                  <a:gd name="T50" fmla="*/ 51 w 132"/>
                  <a:gd name="T51" fmla="*/ 139 h 148"/>
                  <a:gd name="T52" fmla="*/ 45 w 132"/>
                  <a:gd name="T53" fmla="*/ 131 h 148"/>
                  <a:gd name="T54" fmla="*/ 44 w 132"/>
                  <a:gd name="T55" fmla="*/ 128 h 148"/>
                  <a:gd name="T56" fmla="*/ 34 w 132"/>
                  <a:gd name="T57" fmla="*/ 128 h 148"/>
                  <a:gd name="T58" fmla="*/ 18 w 132"/>
                  <a:gd name="T59" fmla="*/ 131 h 148"/>
                  <a:gd name="T60" fmla="*/ 9 w 132"/>
                  <a:gd name="T61" fmla="*/ 131 h 148"/>
                  <a:gd name="T62" fmla="*/ 4 w 132"/>
                  <a:gd name="T63" fmla="*/ 132 h 148"/>
                  <a:gd name="T64" fmla="*/ 0 w 132"/>
                  <a:gd name="T65" fmla="*/ 134 h 148"/>
                  <a:gd name="T66" fmla="*/ 7 w 132"/>
                  <a:gd name="T67" fmla="*/ 116 h 148"/>
                  <a:gd name="T68" fmla="*/ 17 w 132"/>
                  <a:gd name="T69" fmla="*/ 113 h 148"/>
                  <a:gd name="T70" fmla="*/ 21 w 132"/>
                  <a:gd name="T71" fmla="*/ 107 h 148"/>
                  <a:gd name="T72" fmla="*/ 16 w 132"/>
                  <a:gd name="T73" fmla="*/ 100 h 148"/>
                  <a:gd name="T74" fmla="*/ 10 w 132"/>
                  <a:gd name="T75" fmla="*/ 95 h 148"/>
                  <a:gd name="T76" fmla="*/ 5 w 132"/>
                  <a:gd name="T77" fmla="*/ 86 h 148"/>
                  <a:gd name="T78" fmla="*/ 2 w 132"/>
                  <a:gd name="T79" fmla="*/ 75 h 148"/>
                  <a:gd name="T80" fmla="*/ 15 w 132"/>
                  <a:gd name="T81" fmla="*/ 79 h 148"/>
                  <a:gd name="T82" fmla="*/ 26 w 132"/>
                  <a:gd name="T83" fmla="*/ 79 h 148"/>
                  <a:gd name="T84" fmla="*/ 31 w 132"/>
                  <a:gd name="T85" fmla="*/ 76 h 148"/>
                  <a:gd name="T86" fmla="*/ 37 w 132"/>
                  <a:gd name="T87" fmla="*/ 72 h 148"/>
                  <a:gd name="T88" fmla="*/ 42 w 132"/>
                  <a:gd name="T89" fmla="*/ 65 h 148"/>
                  <a:gd name="T90" fmla="*/ 50 w 132"/>
                  <a:gd name="T91" fmla="*/ 59 h 148"/>
                  <a:gd name="T92" fmla="*/ 54 w 132"/>
                  <a:gd name="T93" fmla="*/ 55 h 148"/>
                  <a:gd name="T94" fmla="*/ 55 w 132"/>
                  <a:gd name="T95" fmla="*/ 49 h 148"/>
                  <a:gd name="T96" fmla="*/ 59 w 132"/>
                  <a:gd name="T97" fmla="*/ 48 h 148"/>
                  <a:gd name="T98" fmla="*/ 66 w 132"/>
                  <a:gd name="T99" fmla="*/ 49 h 148"/>
                  <a:gd name="T100" fmla="*/ 67 w 132"/>
                  <a:gd name="T101" fmla="*/ 42 h 148"/>
                  <a:gd name="T102" fmla="*/ 71 w 132"/>
                  <a:gd name="T103" fmla="*/ 34 h 148"/>
                  <a:gd name="T104" fmla="*/ 70 w 132"/>
                  <a:gd name="T105" fmla="*/ 27 h 148"/>
                  <a:gd name="T106" fmla="*/ 78 w 132"/>
                  <a:gd name="T107" fmla="*/ 27 h 148"/>
                  <a:gd name="T108" fmla="*/ 77 w 132"/>
                  <a:gd name="T109" fmla="*/ 18 h 148"/>
                  <a:gd name="T110" fmla="*/ 80 w 132"/>
                  <a:gd name="T111" fmla="*/ 11 h 148"/>
                  <a:gd name="T112" fmla="*/ 95 w 132"/>
                  <a:gd name="T113" fmla="*/ 4 h 148"/>
                  <a:gd name="T114" fmla="*/ 106 w 132"/>
                  <a:gd name="T115" fmla="*/ 2 h 148"/>
                  <a:gd name="T116" fmla="*/ 111 w 132"/>
                  <a:gd name="T117" fmla="*/ 0 h 148"/>
                  <a:gd name="T118" fmla="*/ 127 w 132"/>
                  <a:gd name="T119" fmla="*/ 6 h 148"/>
                  <a:gd name="T120" fmla="*/ 132 w 132"/>
                  <a:gd name="T121" fmla="*/ 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132" y="12"/>
                    </a:moveTo>
                    <a:cubicBezTo>
                      <a:pt x="130" y="17"/>
                      <a:pt x="130" y="17"/>
                      <a:pt x="130" y="17"/>
                    </a:cubicBezTo>
                    <a:cubicBezTo>
                      <a:pt x="127" y="20"/>
                      <a:pt x="127" y="20"/>
                      <a:pt x="127" y="20"/>
                    </a:cubicBezTo>
                    <a:cubicBezTo>
                      <a:pt x="126" y="22"/>
                      <a:pt x="126" y="22"/>
                      <a:pt x="126" y="22"/>
                    </a:cubicBezTo>
                    <a:cubicBezTo>
                      <a:pt x="121" y="26"/>
                      <a:pt x="121" y="26"/>
                      <a:pt x="121" y="26"/>
                    </a:cubicBezTo>
                    <a:cubicBezTo>
                      <a:pt x="115" y="27"/>
                      <a:pt x="115" y="27"/>
                      <a:pt x="115" y="27"/>
                    </a:cubicBezTo>
                    <a:cubicBezTo>
                      <a:pt x="112" y="29"/>
                      <a:pt x="112" y="29"/>
                      <a:pt x="112" y="29"/>
                    </a:cubicBezTo>
                    <a:cubicBezTo>
                      <a:pt x="111" y="31"/>
                      <a:pt x="111" y="31"/>
                      <a:pt x="111" y="31"/>
                    </a:cubicBezTo>
                    <a:cubicBezTo>
                      <a:pt x="109" y="33"/>
                      <a:pt x="109" y="33"/>
                      <a:pt x="109" y="33"/>
                    </a:cubicBezTo>
                    <a:cubicBezTo>
                      <a:pt x="106" y="31"/>
                      <a:pt x="106" y="31"/>
                      <a:pt x="106" y="31"/>
                    </a:cubicBezTo>
                    <a:cubicBezTo>
                      <a:pt x="102" y="33"/>
                      <a:pt x="102" y="33"/>
                      <a:pt x="102" y="33"/>
                    </a:cubicBezTo>
                    <a:cubicBezTo>
                      <a:pt x="99" y="34"/>
                      <a:pt x="99" y="34"/>
                      <a:pt x="99" y="34"/>
                    </a:cubicBezTo>
                    <a:cubicBezTo>
                      <a:pt x="98" y="38"/>
                      <a:pt x="98" y="38"/>
                      <a:pt x="98" y="38"/>
                    </a:cubicBezTo>
                    <a:cubicBezTo>
                      <a:pt x="101" y="41"/>
                      <a:pt x="101" y="41"/>
                      <a:pt x="101" y="41"/>
                    </a:cubicBezTo>
                    <a:cubicBezTo>
                      <a:pt x="103" y="49"/>
                      <a:pt x="103" y="49"/>
                      <a:pt x="103" y="49"/>
                    </a:cubicBezTo>
                    <a:cubicBezTo>
                      <a:pt x="104" y="52"/>
                      <a:pt x="104" y="52"/>
                      <a:pt x="104" y="52"/>
                    </a:cubicBezTo>
                    <a:cubicBezTo>
                      <a:pt x="107" y="54"/>
                      <a:pt x="107" y="54"/>
                      <a:pt x="107" y="54"/>
                    </a:cubicBezTo>
                    <a:cubicBezTo>
                      <a:pt x="111" y="58"/>
                      <a:pt x="111" y="58"/>
                      <a:pt x="111" y="58"/>
                    </a:cubicBezTo>
                    <a:cubicBezTo>
                      <a:pt x="111" y="63"/>
                      <a:pt x="111" y="63"/>
                      <a:pt x="111" y="63"/>
                    </a:cubicBezTo>
                    <a:cubicBezTo>
                      <a:pt x="109" y="67"/>
                      <a:pt x="109" y="67"/>
                      <a:pt x="109" y="67"/>
                    </a:cubicBezTo>
                    <a:cubicBezTo>
                      <a:pt x="106" y="71"/>
                      <a:pt x="106" y="71"/>
                      <a:pt x="106" y="71"/>
                    </a:cubicBezTo>
                    <a:cubicBezTo>
                      <a:pt x="105" y="77"/>
                      <a:pt x="105" y="77"/>
                      <a:pt x="105" y="77"/>
                    </a:cubicBezTo>
                    <a:cubicBezTo>
                      <a:pt x="105" y="82"/>
                      <a:pt x="105" y="82"/>
                      <a:pt x="105" y="82"/>
                    </a:cubicBezTo>
                    <a:cubicBezTo>
                      <a:pt x="101" y="85"/>
                      <a:pt x="101" y="85"/>
                      <a:pt x="101" y="85"/>
                    </a:cubicBezTo>
                    <a:cubicBezTo>
                      <a:pt x="98" y="88"/>
                      <a:pt x="98" y="88"/>
                      <a:pt x="98" y="88"/>
                    </a:cubicBezTo>
                    <a:cubicBezTo>
                      <a:pt x="95" y="91"/>
                      <a:pt x="95" y="91"/>
                      <a:pt x="95" y="91"/>
                    </a:cubicBezTo>
                    <a:cubicBezTo>
                      <a:pt x="90" y="94"/>
                      <a:pt x="90" y="94"/>
                      <a:pt x="90" y="94"/>
                    </a:cubicBezTo>
                    <a:cubicBezTo>
                      <a:pt x="86" y="100"/>
                      <a:pt x="86" y="100"/>
                      <a:pt x="86" y="100"/>
                    </a:cubicBezTo>
                    <a:cubicBezTo>
                      <a:pt x="83" y="105"/>
                      <a:pt x="83" y="105"/>
                      <a:pt x="83" y="105"/>
                    </a:cubicBezTo>
                    <a:cubicBezTo>
                      <a:pt x="79" y="106"/>
                      <a:pt x="79" y="106"/>
                      <a:pt x="79" y="106"/>
                    </a:cubicBezTo>
                    <a:cubicBezTo>
                      <a:pt x="77" y="103"/>
                      <a:pt x="77" y="103"/>
                      <a:pt x="77" y="103"/>
                    </a:cubicBezTo>
                    <a:cubicBezTo>
                      <a:pt x="75" y="108"/>
                      <a:pt x="75" y="108"/>
                      <a:pt x="75" y="108"/>
                    </a:cubicBezTo>
                    <a:cubicBezTo>
                      <a:pt x="72" y="111"/>
                      <a:pt x="72" y="111"/>
                      <a:pt x="72" y="111"/>
                    </a:cubicBezTo>
                    <a:cubicBezTo>
                      <a:pt x="70" y="116"/>
                      <a:pt x="70" y="116"/>
                      <a:pt x="70" y="116"/>
                    </a:cubicBezTo>
                    <a:cubicBezTo>
                      <a:pt x="72" y="118"/>
                      <a:pt x="72" y="118"/>
                      <a:pt x="72" y="118"/>
                    </a:cubicBezTo>
                    <a:cubicBezTo>
                      <a:pt x="73" y="120"/>
                      <a:pt x="73" y="120"/>
                      <a:pt x="73" y="120"/>
                    </a:cubicBezTo>
                    <a:cubicBezTo>
                      <a:pt x="72" y="123"/>
                      <a:pt x="72" y="123"/>
                      <a:pt x="72" y="123"/>
                    </a:cubicBezTo>
                    <a:cubicBezTo>
                      <a:pt x="72" y="127"/>
                      <a:pt x="72" y="127"/>
                      <a:pt x="72" y="127"/>
                    </a:cubicBezTo>
                    <a:cubicBezTo>
                      <a:pt x="76" y="128"/>
                      <a:pt x="76" y="128"/>
                      <a:pt x="76" y="128"/>
                    </a:cubicBezTo>
                    <a:cubicBezTo>
                      <a:pt x="77" y="132"/>
                      <a:pt x="77" y="132"/>
                      <a:pt x="77" y="132"/>
                    </a:cubicBezTo>
                    <a:cubicBezTo>
                      <a:pt x="78" y="143"/>
                      <a:pt x="78" y="143"/>
                      <a:pt x="78" y="143"/>
                    </a:cubicBezTo>
                    <a:cubicBezTo>
                      <a:pt x="75" y="142"/>
                      <a:pt x="75" y="142"/>
                      <a:pt x="75" y="142"/>
                    </a:cubicBezTo>
                    <a:cubicBezTo>
                      <a:pt x="70" y="142"/>
                      <a:pt x="70" y="142"/>
                      <a:pt x="70" y="142"/>
                    </a:cubicBezTo>
                    <a:cubicBezTo>
                      <a:pt x="67" y="142"/>
                      <a:pt x="67" y="142"/>
                      <a:pt x="67" y="142"/>
                    </a:cubicBezTo>
                    <a:cubicBezTo>
                      <a:pt x="63" y="144"/>
                      <a:pt x="63" y="144"/>
                      <a:pt x="63" y="144"/>
                    </a:cubicBezTo>
                    <a:cubicBezTo>
                      <a:pt x="62" y="148"/>
                      <a:pt x="62" y="148"/>
                      <a:pt x="62" y="148"/>
                    </a:cubicBezTo>
                    <a:cubicBezTo>
                      <a:pt x="58" y="148"/>
                      <a:pt x="58" y="148"/>
                      <a:pt x="58" y="148"/>
                    </a:cubicBezTo>
                    <a:cubicBezTo>
                      <a:pt x="58" y="146"/>
                      <a:pt x="58" y="146"/>
                      <a:pt x="58" y="146"/>
                    </a:cubicBezTo>
                    <a:cubicBezTo>
                      <a:pt x="58" y="146"/>
                      <a:pt x="58" y="145"/>
                      <a:pt x="57" y="145"/>
                    </a:cubicBezTo>
                    <a:cubicBezTo>
                      <a:pt x="56" y="145"/>
                      <a:pt x="54" y="146"/>
                      <a:pt x="54" y="146"/>
                    </a:cubicBezTo>
                    <a:cubicBezTo>
                      <a:pt x="54" y="146"/>
                      <a:pt x="54" y="144"/>
                      <a:pt x="53" y="143"/>
                    </a:cubicBezTo>
                    <a:cubicBezTo>
                      <a:pt x="53" y="142"/>
                      <a:pt x="53" y="141"/>
                      <a:pt x="51" y="139"/>
                    </a:cubicBezTo>
                    <a:cubicBezTo>
                      <a:pt x="51" y="139"/>
                      <a:pt x="48" y="138"/>
                      <a:pt x="45" y="137"/>
                    </a:cubicBezTo>
                    <a:cubicBezTo>
                      <a:pt x="46" y="136"/>
                      <a:pt x="46" y="132"/>
                      <a:pt x="45" y="131"/>
                    </a:cubicBezTo>
                    <a:cubicBezTo>
                      <a:pt x="44" y="131"/>
                      <a:pt x="44" y="131"/>
                      <a:pt x="44" y="131"/>
                    </a:cubicBezTo>
                    <a:cubicBezTo>
                      <a:pt x="43" y="130"/>
                      <a:pt x="44" y="129"/>
                      <a:pt x="44" y="128"/>
                    </a:cubicBezTo>
                    <a:cubicBezTo>
                      <a:pt x="41" y="128"/>
                      <a:pt x="39" y="129"/>
                      <a:pt x="38" y="129"/>
                    </a:cubicBezTo>
                    <a:cubicBezTo>
                      <a:pt x="35" y="129"/>
                      <a:pt x="36" y="128"/>
                      <a:pt x="34" y="128"/>
                    </a:cubicBezTo>
                    <a:cubicBezTo>
                      <a:pt x="32" y="129"/>
                      <a:pt x="30" y="131"/>
                      <a:pt x="29" y="131"/>
                    </a:cubicBezTo>
                    <a:cubicBezTo>
                      <a:pt x="25" y="132"/>
                      <a:pt x="21" y="131"/>
                      <a:pt x="18" y="131"/>
                    </a:cubicBezTo>
                    <a:cubicBezTo>
                      <a:pt x="17" y="133"/>
                      <a:pt x="17" y="133"/>
                      <a:pt x="17" y="133"/>
                    </a:cubicBezTo>
                    <a:cubicBezTo>
                      <a:pt x="14" y="133"/>
                      <a:pt x="11" y="131"/>
                      <a:pt x="9" y="131"/>
                    </a:cubicBezTo>
                    <a:cubicBezTo>
                      <a:pt x="8" y="133"/>
                      <a:pt x="8" y="133"/>
                      <a:pt x="8" y="133"/>
                    </a:cubicBezTo>
                    <a:cubicBezTo>
                      <a:pt x="6" y="133"/>
                      <a:pt x="6" y="132"/>
                      <a:pt x="4" y="132"/>
                    </a:cubicBezTo>
                    <a:cubicBezTo>
                      <a:pt x="4" y="132"/>
                      <a:pt x="4" y="134"/>
                      <a:pt x="4" y="134"/>
                    </a:cubicBezTo>
                    <a:cubicBezTo>
                      <a:pt x="2" y="134"/>
                      <a:pt x="1" y="134"/>
                      <a:pt x="0" y="134"/>
                    </a:cubicBezTo>
                    <a:cubicBezTo>
                      <a:pt x="1" y="124"/>
                      <a:pt x="1" y="124"/>
                      <a:pt x="1" y="124"/>
                    </a:cubicBezTo>
                    <a:cubicBezTo>
                      <a:pt x="7" y="116"/>
                      <a:pt x="7" y="116"/>
                      <a:pt x="7" y="116"/>
                    </a:cubicBezTo>
                    <a:cubicBezTo>
                      <a:pt x="12" y="115"/>
                      <a:pt x="12" y="115"/>
                      <a:pt x="12" y="115"/>
                    </a:cubicBezTo>
                    <a:cubicBezTo>
                      <a:pt x="17" y="113"/>
                      <a:pt x="17" y="113"/>
                      <a:pt x="17" y="113"/>
                    </a:cubicBezTo>
                    <a:cubicBezTo>
                      <a:pt x="21" y="110"/>
                      <a:pt x="21" y="110"/>
                      <a:pt x="21" y="110"/>
                    </a:cubicBezTo>
                    <a:cubicBezTo>
                      <a:pt x="21" y="107"/>
                      <a:pt x="21" y="107"/>
                      <a:pt x="21" y="107"/>
                    </a:cubicBezTo>
                    <a:cubicBezTo>
                      <a:pt x="17" y="105"/>
                      <a:pt x="17" y="105"/>
                      <a:pt x="17" y="105"/>
                    </a:cubicBezTo>
                    <a:cubicBezTo>
                      <a:pt x="16" y="100"/>
                      <a:pt x="16" y="100"/>
                      <a:pt x="16" y="100"/>
                    </a:cubicBezTo>
                    <a:cubicBezTo>
                      <a:pt x="14" y="96"/>
                      <a:pt x="14" y="96"/>
                      <a:pt x="14" y="96"/>
                    </a:cubicBezTo>
                    <a:cubicBezTo>
                      <a:pt x="10" y="95"/>
                      <a:pt x="10" y="95"/>
                      <a:pt x="10" y="95"/>
                    </a:cubicBezTo>
                    <a:cubicBezTo>
                      <a:pt x="6" y="89"/>
                      <a:pt x="6" y="89"/>
                      <a:pt x="6" y="89"/>
                    </a:cubicBezTo>
                    <a:cubicBezTo>
                      <a:pt x="5" y="86"/>
                      <a:pt x="5" y="86"/>
                      <a:pt x="5" y="86"/>
                    </a:cubicBezTo>
                    <a:cubicBezTo>
                      <a:pt x="6" y="84"/>
                      <a:pt x="6" y="84"/>
                      <a:pt x="6" y="84"/>
                    </a:cubicBezTo>
                    <a:cubicBezTo>
                      <a:pt x="2" y="75"/>
                      <a:pt x="2" y="75"/>
                      <a:pt x="2" y="75"/>
                    </a:cubicBezTo>
                    <a:cubicBezTo>
                      <a:pt x="11" y="80"/>
                      <a:pt x="11" y="80"/>
                      <a:pt x="11" y="80"/>
                    </a:cubicBezTo>
                    <a:cubicBezTo>
                      <a:pt x="15" y="79"/>
                      <a:pt x="15" y="79"/>
                      <a:pt x="15" y="79"/>
                    </a:cubicBezTo>
                    <a:cubicBezTo>
                      <a:pt x="18" y="79"/>
                      <a:pt x="18" y="79"/>
                      <a:pt x="18" y="79"/>
                    </a:cubicBezTo>
                    <a:cubicBezTo>
                      <a:pt x="26" y="79"/>
                      <a:pt x="26" y="79"/>
                      <a:pt x="26" y="79"/>
                    </a:cubicBezTo>
                    <a:cubicBezTo>
                      <a:pt x="30" y="80"/>
                      <a:pt x="30" y="80"/>
                      <a:pt x="30" y="80"/>
                    </a:cubicBezTo>
                    <a:cubicBezTo>
                      <a:pt x="31" y="76"/>
                      <a:pt x="31" y="76"/>
                      <a:pt x="31" y="76"/>
                    </a:cubicBezTo>
                    <a:cubicBezTo>
                      <a:pt x="36" y="75"/>
                      <a:pt x="36" y="75"/>
                      <a:pt x="36" y="75"/>
                    </a:cubicBezTo>
                    <a:cubicBezTo>
                      <a:pt x="37" y="72"/>
                      <a:pt x="37" y="72"/>
                      <a:pt x="37" y="72"/>
                    </a:cubicBezTo>
                    <a:cubicBezTo>
                      <a:pt x="38" y="68"/>
                      <a:pt x="38" y="68"/>
                      <a:pt x="38" y="68"/>
                    </a:cubicBezTo>
                    <a:cubicBezTo>
                      <a:pt x="42" y="65"/>
                      <a:pt x="42" y="65"/>
                      <a:pt x="42" y="65"/>
                    </a:cubicBezTo>
                    <a:cubicBezTo>
                      <a:pt x="48" y="58"/>
                      <a:pt x="48" y="58"/>
                      <a:pt x="48" y="58"/>
                    </a:cubicBezTo>
                    <a:cubicBezTo>
                      <a:pt x="50" y="59"/>
                      <a:pt x="50" y="59"/>
                      <a:pt x="50" y="59"/>
                    </a:cubicBezTo>
                    <a:cubicBezTo>
                      <a:pt x="53" y="58"/>
                      <a:pt x="53" y="58"/>
                      <a:pt x="53" y="58"/>
                    </a:cubicBezTo>
                    <a:cubicBezTo>
                      <a:pt x="54" y="55"/>
                      <a:pt x="54" y="55"/>
                      <a:pt x="54" y="55"/>
                    </a:cubicBezTo>
                    <a:cubicBezTo>
                      <a:pt x="51" y="52"/>
                      <a:pt x="51" y="52"/>
                      <a:pt x="51" y="52"/>
                    </a:cubicBezTo>
                    <a:cubicBezTo>
                      <a:pt x="55" y="49"/>
                      <a:pt x="55" y="49"/>
                      <a:pt x="55" y="49"/>
                    </a:cubicBezTo>
                    <a:cubicBezTo>
                      <a:pt x="58" y="46"/>
                      <a:pt x="58" y="46"/>
                      <a:pt x="58" y="46"/>
                    </a:cubicBezTo>
                    <a:cubicBezTo>
                      <a:pt x="59" y="48"/>
                      <a:pt x="59" y="48"/>
                      <a:pt x="59" y="48"/>
                    </a:cubicBezTo>
                    <a:cubicBezTo>
                      <a:pt x="63" y="49"/>
                      <a:pt x="63" y="49"/>
                      <a:pt x="63" y="49"/>
                    </a:cubicBezTo>
                    <a:cubicBezTo>
                      <a:pt x="66" y="49"/>
                      <a:pt x="66" y="49"/>
                      <a:pt x="66" y="49"/>
                    </a:cubicBezTo>
                    <a:cubicBezTo>
                      <a:pt x="67" y="45"/>
                      <a:pt x="67" y="45"/>
                      <a:pt x="67" y="45"/>
                    </a:cubicBezTo>
                    <a:cubicBezTo>
                      <a:pt x="67" y="42"/>
                      <a:pt x="67" y="42"/>
                      <a:pt x="67" y="42"/>
                    </a:cubicBezTo>
                    <a:cubicBezTo>
                      <a:pt x="71" y="38"/>
                      <a:pt x="71" y="38"/>
                      <a:pt x="71" y="38"/>
                    </a:cubicBezTo>
                    <a:cubicBezTo>
                      <a:pt x="71" y="34"/>
                      <a:pt x="71" y="34"/>
                      <a:pt x="71" y="34"/>
                    </a:cubicBezTo>
                    <a:cubicBezTo>
                      <a:pt x="68" y="30"/>
                      <a:pt x="68" y="30"/>
                      <a:pt x="68" y="30"/>
                    </a:cubicBezTo>
                    <a:cubicBezTo>
                      <a:pt x="70" y="27"/>
                      <a:pt x="70" y="27"/>
                      <a:pt x="70" y="27"/>
                    </a:cubicBezTo>
                    <a:cubicBezTo>
                      <a:pt x="73" y="28"/>
                      <a:pt x="73" y="28"/>
                      <a:pt x="73" y="28"/>
                    </a:cubicBezTo>
                    <a:cubicBezTo>
                      <a:pt x="78" y="27"/>
                      <a:pt x="78" y="27"/>
                      <a:pt x="78" y="27"/>
                    </a:cubicBezTo>
                    <a:cubicBezTo>
                      <a:pt x="79" y="21"/>
                      <a:pt x="79" y="21"/>
                      <a:pt x="79" y="21"/>
                    </a:cubicBezTo>
                    <a:cubicBezTo>
                      <a:pt x="77" y="18"/>
                      <a:pt x="77" y="18"/>
                      <a:pt x="77" y="18"/>
                    </a:cubicBezTo>
                    <a:cubicBezTo>
                      <a:pt x="80" y="16"/>
                      <a:pt x="80" y="16"/>
                      <a:pt x="80" y="16"/>
                    </a:cubicBezTo>
                    <a:cubicBezTo>
                      <a:pt x="80" y="11"/>
                      <a:pt x="80" y="11"/>
                      <a:pt x="80" y="11"/>
                    </a:cubicBezTo>
                    <a:cubicBezTo>
                      <a:pt x="90" y="5"/>
                      <a:pt x="90" y="5"/>
                      <a:pt x="90" y="5"/>
                    </a:cubicBezTo>
                    <a:cubicBezTo>
                      <a:pt x="95" y="4"/>
                      <a:pt x="95" y="4"/>
                      <a:pt x="95" y="4"/>
                    </a:cubicBezTo>
                    <a:cubicBezTo>
                      <a:pt x="101" y="2"/>
                      <a:pt x="101" y="2"/>
                      <a:pt x="101" y="2"/>
                    </a:cubicBezTo>
                    <a:cubicBezTo>
                      <a:pt x="106" y="2"/>
                      <a:pt x="106" y="2"/>
                      <a:pt x="106" y="2"/>
                    </a:cubicBezTo>
                    <a:cubicBezTo>
                      <a:pt x="109" y="2"/>
                      <a:pt x="109" y="2"/>
                      <a:pt x="109" y="2"/>
                    </a:cubicBezTo>
                    <a:cubicBezTo>
                      <a:pt x="111" y="0"/>
                      <a:pt x="111" y="0"/>
                      <a:pt x="111" y="0"/>
                    </a:cubicBezTo>
                    <a:cubicBezTo>
                      <a:pt x="117" y="0"/>
                      <a:pt x="117" y="0"/>
                      <a:pt x="117" y="0"/>
                    </a:cubicBezTo>
                    <a:cubicBezTo>
                      <a:pt x="127" y="6"/>
                      <a:pt x="127" y="6"/>
                      <a:pt x="127" y="6"/>
                    </a:cubicBezTo>
                    <a:cubicBezTo>
                      <a:pt x="129" y="9"/>
                      <a:pt x="129" y="9"/>
                      <a:pt x="129" y="9"/>
                    </a:cubicBezTo>
                    <a:lnTo>
                      <a:pt x="132" y="12"/>
                    </a:lnTo>
                    <a:close/>
                  </a:path>
                </a:pathLst>
              </a:custGeom>
              <a:grpFill/>
              <a:ln w="2" cap="rnd">
                <a:solidFill>
                  <a:schemeClr val="bg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35" name="Freeform 114">
                <a:extLst>
                  <a:ext uri="{FF2B5EF4-FFF2-40B4-BE49-F238E27FC236}">
                    <a16:creationId xmlns:a16="http://schemas.microsoft.com/office/drawing/2014/main" id="{89713C53-B064-3FC1-59A7-150319DD1BE4}"/>
                  </a:ext>
                </a:extLst>
              </p:cNvPr>
              <p:cNvSpPr>
                <a:spLocks noEditPoints="1"/>
              </p:cNvSpPr>
              <p:nvPr/>
            </p:nvSpPr>
            <p:spPr bwMode="auto">
              <a:xfrm>
                <a:off x="3994" y="1695"/>
                <a:ext cx="135" cy="204"/>
              </a:xfrm>
              <a:custGeom>
                <a:avLst/>
                <a:gdLst>
                  <a:gd name="T0" fmla="*/ 34 w 69"/>
                  <a:gd name="T1" fmla="*/ 5 h 104"/>
                  <a:gd name="T2" fmla="*/ 35 w 69"/>
                  <a:gd name="T3" fmla="*/ 5 h 104"/>
                  <a:gd name="T4" fmla="*/ 35 w 69"/>
                  <a:gd name="T5" fmla="*/ 8 h 104"/>
                  <a:gd name="T6" fmla="*/ 37 w 69"/>
                  <a:gd name="T7" fmla="*/ 8 h 104"/>
                  <a:gd name="T8" fmla="*/ 37 w 69"/>
                  <a:gd name="T9" fmla="*/ 0 h 104"/>
                  <a:gd name="T10" fmla="*/ 35 w 69"/>
                  <a:gd name="T11" fmla="*/ 2 h 104"/>
                  <a:gd name="T12" fmla="*/ 34 w 69"/>
                  <a:gd name="T13" fmla="*/ 5 h 104"/>
                  <a:gd name="T14" fmla="*/ 38 w 69"/>
                  <a:gd name="T15" fmla="*/ 13 h 104"/>
                  <a:gd name="T16" fmla="*/ 40 w 69"/>
                  <a:gd name="T17" fmla="*/ 17 h 104"/>
                  <a:gd name="T18" fmla="*/ 44 w 69"/>
                  <a:gd name="T19" fmla="*/ 20 h 104"/>
                  <a:gd name="T20" fmla="*/ 48 w 69"/>
                  <a:gd name="T21" fmla="*/ 25 h 104"/>
                  <a:gd name="T22" fmla="*/ 51 w 69"/>
                  <a:gd name="T23" fmla="*/ 25 h 104"/>
                  <a:gd name="T24" fmla="*/ 57 w 69"/>
                  <a:gd name="T25" fmla="*/ 28 h 104"/>
                  <a:gd name="T26" fmla="*/ 60 w 69"/>
                  <a:gd name="T27" fmla="*/ 32 h 104"/>
                  <a:gd name="T28" fmla="*/ 62 w 69"/>
                  <a:gd name="T29" fmla="*/ 32 h 104"/>
                  <a:gd name="T30" fmla="*/ 62 w 69"/>
                  <a:gd name="T31" fmla="*/ 32 h 104"/>
                  <a:gd name="T32" fmla="*/ 65 w 69"/>
                  <a:gd name="T33" fmla="*/ 36 h 104"/>
                  <a:gd name="T34" fmla="*/ 65 w 69"/>
                  <a:gd name="T35" fmla="*/ 39 h 104"/>
                  <a:gd name="T36" fmla="*/ 69 w 69"/>
                  <a:gd name="T37" fmla="*/ 41 h 104"/>
                  <a:gd name="T38" fmla="*/ 69 w 69"/>
                  <a:gd name="T39" fmla="*/ 44 h 104"/>
                  <a:gd name="T40" fmla="*/ 66 w 69"/>
                  <a:gd name="T41" fmla="*/ 48 h 104"/>
                  <a:gd name="T42" fmla="*/ 66 w 69"/>
                  <a:gd name="T43" fmla="*/ 50 h 104"/>
                  <a:gd name="T44" fmla="*/ 64 w 69"/>
                  <a:gd name="T45" fmla="*/ 52 h 104"/>
                  <a:gd name="T46" fmla="*/ 64 w 69"/>
                  <a:gd name="T47" fmla="*/ 54 h 104"/>
                  <a:gd name="T48" fmla="*/ 61 w 69"/>
                  <a:gd name="T49" fmla="*/ 56 h 104"/>
                  <a:gd name="T50" fmla="*/ 60 w 69"/>
                  <a:gd name="T51" fmla="*/ 61 h 104"/>
                  <a:gd name="T52" fmla="*/ 57 w 69"/>
                  <a:gd name="T53" fmla="*/ 63 h 104"/>
                  <a:gd name="T54" fmla="*/ 57 w 69"/>
                  <a:gd name="T55" fmla="*/ 67 h 104"/>
                  <a:gd name="T56" fmla="*/ 55 w 69"/>
                  <a:gd name="T57" fmla="*/ 67 h 104"/>
                  <a:gd name="T58" fmla="*/ 53 w 69"/>
                  <a:gd name="T59" fmla="*/ 81 h 104"/>
                  <a:gd name="T60" fmla="*/ 44 w 69"/>
                  <a:gd name="T61" fmla="*/ 83 h 104"/>
                  <a:gd name="T62" fmla="*/ 43 w 69"/>
                  <a:gd name="T63" fmla="*/ 85 h 104"/>
                  <a:gd name="T64" fmla="*/ 41 w 69"/>
                  <a:gd name="T65" fmla="*/ 88 h 104"/>
                  <a:gd name="T66" fmla="*/ 41 w 69"/>
                  <a:gd name="T67" fmla="*/ 91 h 104"/>
                  <a:gd name="T68" fmla="*/ 31 w 69"/>
                  <a:gd name="T69" fmla="*/ 93 h 104"/>
                  <a:gd name="T70" fmla="*/ 27 w 69"/>
                  <a:gd name="T71" fmla="*/ 100 h 104"/>
                  <a:gd name="T72" fmla="*/ 21 w 69"/>
                  <a:gd name="T73" fmla="*/ 101 h 104"/>
                  <a:gd name="T74" fmla="*/ 18 w 69"/>
                  <a:gd name="T75" fmla="*/ 103 h 104"/>
                  <a:gd name="T76" fmla="*/ 18 w 69"/>
                  <a:gd name="T77" fmla="*/ 104 h 104"/>
                  <a:gd name="T78" fmla="*/ 15 w 69"/>
                  <a:gd name="T79" fmla="*/ 104 h 104"/>
                  <a:gd name="T80" fmla="*/ 11 w 69"/>
                  <a:gd name="T81" fmla="*/ 101 h 104"/>
                  <a:gd name="T82" fmla="*/ 0 w 69"/>
                  <a:gd name="T83" fmla="*/ 83 h 104"/>
                  <a:gd name="T84" fmla="*/ 0 w 69"/>
                  <a:gd name="T85" fmla="*/ 80 h 104"/>
                  <a:gd name="T86" fmla="*/ 28 w 69"/>
                  <a:gd name="T87" fmla="*/ 68 h 104"/>
                  <a:gd name="T88" fmla="*/ 34 w 69"/>
                  <a:gd name="T89" fmla="*/ 43 h 104"/>
                  <a:gd name="T90" fmla="*/ 29 w 69"/>
                  <a:gd name="T91" fmla="*/ 36 h 104"/>
                  <a:gd name="T92" fmla="*/ 31 w 69"/>
                  <a:gd name="T93" fmla="*/ 29 h 104"/>
                  <a:gd name="T94" fmla="*/ 32 w 69"/>
                  <a:gd name="T95" fmla="*/ 22 h 104"/>
                  <a:gd name="T96" fmla="*/ 31 w 69"/>
                  <a:gd name="T97" fmla="*/ 19 h 104"/>
                  <a:gd name="T98" fmla="*/ 34 w 69"/>
                  <a:gd name="T99" fmla="*/ 17 h 104"/>
                  <a:gd name="T100" fmla="*/ 32 w 69"/>
                  <a:gd name="T101" fmla="*/ 15 h 104"/>
                  <a:gd name="T102" fmla="*/ 34 w 69"/>
                  <a:gd name="T103" fmla="*/ 13 h 104"/>
                  <a:gd name="T104" fmla="*/ 36 w 69"/>
                  <a:gd name="T105" fmla="*/ 15 h 104"/>
                  <a:gd name="T106" fmla="*/ 38 w 69"/>
                  <a:gd name="T107"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 h="104">
                    <a:moveTo>
                      <a:pt x="34" y="5"/>
                    </a:moveTo>
                    <a:cubicBezTo>
                      <a:pt x="35" y="5"/>
                      <a:pt x="35" y="5"/>
                      <a:pt x="35" y="5"/>
                    </a:cubicBezTo>
                    <a:cubicBezTo>
                      <a:pt x="35" y="8"/>
                      <a:pt x="35" y="8"/>
                      <a:pt x="35" y="8"/>
                    </a:cubicBezTo>
                    <a:cubicBezTo>
                      <a:pt x="37" y="8"/>
                      <a:pt x="37" y="8"/>
                      <a:pt x="37" y="8"/>
                    </a:cubicBezTo>
                    <a:cubicBezTo>
                      <a:pt x="37" y="6"/>
                      <a:pt x="37" y="3"/>
                      <a:pt x="37" y="0"/>
                    </a:cubicBezTo>
                    <a:cubicBezTo>
                      <a:pt x="37" y="1"/>
                      <a:pt x="35" y="1"/>
                      <a:pt x="35" y="2"/>
                    </a:cubicBezTo>
                    <a:cubicBezTo>
                      <a:pt x="34" y="3"/>
                      <a:pt x="35" y="4"/>
                      <a:pt x="34" y="5"/>
                    </a:cubicBezTo>
                    <a:close/>
                    <a:moveTo>
                      <a:pt x="38" y="13"/>
                    </a:moveTo>
                    <a:cubicBezTo>
                      <a:pt x="38" y="14"/>
                      <a:pt x="39" y="16"/>
                      <a:pt x="40" y="17"/>
                    </a:cubicBezTo>
                    <a:cubicBezTo>
                      <a:pt x="41" y="18"/>
                      <a:pt x="43" y="19"/>
                      <a:pt x="44" y="20"/>
                    </a:cubicBezTo>
                    <a:cubicBezTo>
                      <a:pt x="45" y="21"/>
                      <a:pt x="46" y="24"/>
                      <a:pt x="48" y="25"/>
                    </a:cubicBezTo>
                    <a:cubicBezTo>
                      <a:pt x="49" y="25"/>
                      <a:pt x="50" y="25"/>
                      <a:pt x="51" y="25"/>
                    </a:cubicBezTo>
                    <a:cubicBezTo>
                      <a:pt x="57" y="28"/>
                      <a:pt x="57" y="28"/>
                      <a:pt x="57" y="28"/>
                    </a:cubicBezTo>
                    <a:cubicBezTo>
                      <a:pt x="58" y="28"/>
                      <a:pt x="59" y="31"/>
                      <a:pt x="60" y="32"/>
                    </a:cubicBezTo>
                    <a:cubicBezTo>
                      <a:pt x="61" y="32"/>
                      <a:pt x="62" y="31"/>
                      <a:pt x="62" y="32"/>
                    </a:cubicBezTo>
                    <a:cubicBezTo>
                      <a:pt x="62" y="32"/>
                      <a:pt x="62" y="32"/>
                      <a:pt x="62" y="32"/>
                    </a:cubicBezTo>
                    <a:cubicBezTo>
                      <a:pt x="65" y="36"/>
                      <a:pt x="65" y="36"/>
                      <a:pt x="65" y="36"/>
                    </a:cubicBezTo>
                    <a:cubicBezTo>
                      <a:pt x="65" y="37"/>
                      <a:pt x="64" y="38"/>
                      <a:pt x="65" y="39"/>
                    </a:cubicBezTo>
                    <a:cubicBezTo>
                      <a:pt x="65" y="40"/>
                      <a:pt x="68" y="40"/>
                      <a:pt x="69" y="41"/>
                    </a:cubicBezTo>
                    <a:cubicBezTo>
                      <a:pt x="68" y="42"/>
                      <a:pt x="69" y="43"/>
                      <a:pt x="69" y="44"/>
                    </a:cubicBezTo>
                    <a:cubicBezTo>
                      <a:pt x="68" y="45"/>
                      <a:pt x="66" y="46"/>
                      <a:pt x="66" y="48"/>
                    </a:cubicBezTo>
                    <a:cubicBezTo>
                      <a:pt x="66" y="48"/>
                      <a:pt x="66" y="49"/>
                      <a:pt x="66" y="50"/>
                    </a:cubicBezTo>
                    <a:cubicBezTo>
                      <a:pt x="66" y="50"/>
                      <a:pt x="64" y="52"/>
                      <a:pt x="64" y="52"/>
                    </a:cubicBezTo>
                    <a:cubicBezTo>
                      <a:pt x="64" y="53"/>
                      <a:pt x="64" y="54"/>
                      <a:pt x="64" y="54"/>
                    </a:cubicBezTo>
                    <a:cubicBezTo>
                      <a:pt x="64" y="55"/>
                      <a:pt x="62" y="55"/>
                      <a:pt x="61" y="56"/>
                    </a:cubicBezTo>
                    <a:cubicBezTo>
                      <a:pt x="60" y="58"/>
                      <a:pt x="61" y="60"/>
                      <a:pt x="60" y="61"/>
                    </a:cubicBezTo>
                    <a:cubicBezTo>
                      <a:pt x="60" y="62"/>
                      <a:pt x="58" y="63"/>
                      <a:pt x="57" y="63"/>
                    </a:cubicBezTo>
                    <a:cubicBezTo>
                      <a:pt x="57" y="64"/>
                      <a:pt x="58" y="67"/>
                      <a:pt x="57" y="67"/>
                    </a:cubicBezTo>
                    <a:cubicBezTo>
                      <a:pt x="57" y="68"/>
                      <a:pt x="55" y="67"/>
                      <a:pt x="55" y="67"/>
                    </a:cubicBezTo>
                    <a:cubicBezTo>
                      <a:pt x="53" y="72"/>
                      <a:pt x="52" y="74"/>
                      <a:pt x="53" y="81"/>
                    </a:cubicBezTo>
                    <a:cubicBezTo>
                      <a:pt x="51" y="82"/>
                      <a:pt x="46" y="82"/>
                      <a:pt x="44" y="83"/>
                    </a:cubicBezTo>
                    <a:cubicBezTo>
                      <a:pt x="43" y="84"/>
                      <a:pt x="44" y="85"/>
                      <a:pt x="43" y="85"/>
                    </a:cubicBezTo>
                    <a:cubicBezTo>
                      <a:pt x="43" y="86"/>
                      <a:pt x="41" y="87"/>
                      <a:pt x="41" y="88"/>
                    </a:cubicBezTo>
                    <a:cubicBezTo>
                      <a:pt x="40" y="89"/>
                      <a:pt x="41" y="90"/>
                      <a:pt x="41" y="91"/>
                    </a:cubicBezTo>
                    <a:cubicBezTo>
                      <a:pt x="38" y="92"/>
                      <a:pt x="36" y="93"/>
                      <a:pt x="31" y="93"/>
                    </a:cubicBezTo>
                    <a:cubicBezTo>
                      <a:pt x="30" y="95"/>
                      <a:pt x="29" y="99"/>
                      <a:pt x="27" y="100"/>
                    </a:cubicBezTo>
                    <a:cubicBezTo>
                      <a:pt x="25" y="102"/>
                      <a:pt x="24" y="100"/>
                      <a:pt x="21" y="101"/>
                    </a:cubicBezTo>
                    <a:cubicBezTo>
                      <a:pt x="21" y="102"/>
                      <a:pt x="19" y="102"/>
                      <a:pt x="18" y="103"/>
                    </a:cubicBezTo>
                    <a:cubicBezTo>
                      <a:pt x="18" y="104"/>
                      <a:pt x="18" y="104"/>
                      <a:pt x="18" y="104"/>
                    </a:cubicBezTo>
                    <a:cubicBezTo>
                      <a:pt x="17" y="104"/>
                      <a:pt x="16" y="104"/>
                      <a:pt x="15" y="104"/>
                    </a:cubicBezTo>
                    <a:cubicBezTo>
                      <a:pt x="11" y="101"/>
                      <a:pt x="11" y="101"/>
                      <a:pt x="11" y="101"/>
                    </a:cubicBezTo>
                    <a:cubicBezTo>
                      <a:pt x="0" y="83"/>
                      <a:pt x="0" y="83"/>
                      <a:pt x="0" y="83"/>
                    </a:cubicBezTo>
                    <a:cubicBezTo>
                      <a:pt x="0" y="80"/>
                      <a:pt x="0" y="80"/>
                      <a:pt x="0" y="80"/>
                    </a:cubicBezTo>
                    <a:cubicBezTo>
                      <a:pt x="0" y="80"/>
                      <a:pt x="23" y="71"/>
                      <a:pt x="28" y="68"/>
                    </a:cubicBezTo>
                    <a:cubicBezTo>
                      <a:pt x="30" y="67"/>
                      <a:pt x="34" y="44"/>
                      <a:pt x="34" y="43"/>
                    </a:cubicBezTo>
                    <a:cubicBezTo>
                      <a:pt x="29" y="36"/>
                      <a:pt x="29" y="36"/>
                      <a:pt x="29" y="36"/>
                    </a:cubicBezTo>
                    <a:cubicBezTo>
                      <a:pt x="29" y="36"/>
                      <a:pt x="28" y="32"/>
                      <a:pt x="31" y="29"/>
                    </a:cubicBezTo>
                    <a:cubicBezTo>
                      <a:pt x="33" y="26"/>
                      <a:pt x="32" y="22"/>
                      <a:pt x="32" y="22"/>
                    </a:cubicBezTo>
                    <a:cubicBezTo>
                      <a:pt x="30" y="23"/>
                      <a:pt x="30" y="21"/>
                      <a:pt x="31" y="19"/>
                    </a:cubicBezTo>
                    <a:cubicBezTo>
                      <a:pt x="33" y="18"/>
                      <a:pt x="34" y="17"/>
                      <a:pt x="34" y="17"/>
                    </a:cubicBezTo>
                    <a:cubicBezTo>
                      <a:pt x="34" y="17"/>
                      <a:pt x="32" y="16"/>
                      <a:pt x="32" y="15"/>
                    </a:cubicBezTo>
                    <a:cubicBezTo>
                      <a:pt x="32" y="13"/>
                      <a:pt x="33" y="12"/>
                      <a:pt x="34" y="13"/>
                    </a:cubicBezTo>
                    <a:cubicBezTo>
                      <a:pt x="35" y="14"/>
                      <a:pt x="35" y="16"/>
                      <a:pt x="36" y="15"/>
                    </a:cubicBezTo>
                    <a:cubicBezTo>
                      <a:pt x="36" y="13"/>
                      <a:pt x="38" y="13"/>
                      <a:pt x="38" y="1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36" name="Freeform 115">
                <a:extLst>
                  <a:ext uri="{FF2B5EF4-FFF2-40B4-BE49-F238E27FC236}">
                    <a16:creationId xmlns:a16="http://schemas.microsoft.com/office/drawing/2014/main" id="{13F5077C-B8F1-D829-76F9-AFB3DB7F7FE5}"/>
                  </a:ext>
                </a:extLst>
              </p:cNvPr>
              <p:cNvSpPr>
                <a:spLocks noEditPoints="1"/>
              </p:cNvSpPr>
              <p:nvPr/>
            </p:nvSpPr>
            <p:spPr bwMode="auto">
              <a:xfrm>
                <a:off x="3994" y="1695"/>
                <a:ext cx="135" cy="204"/>
              </a:xfrm>
              <a:custGeom>
                <a:avLst/>
                <a:gdLst>
                  <a:gd name="T0" fmla="*/ 34 w 69"/>
                  <a:gd name="T1" fmla="*/ 5 h 104"/>
                  <a:gd name="T2" fmla="*/ 35 w 69"/>
                  <a:gd name="T3" fmla="*/ 5 h 104"/>
                  <a:gd name="T4" fmla="*/ 35 w 69"/>
                  <a:gd name="T5" fmla="*/ 8 h 104"/>
                  <a:gd name="T6" fmla="*/ 37 w 69"/>
                  <a:gd name="T7" fmla="*/ 8 h 104"/>
                  <a:gd name="T8" fmla="*/ 37 w 69"/>
                  <a:gd name="T9" fmla="*/ 0 h 104"/>
                  <a:gd name="T10" fmla="*/ 35 w 69"/>
                  <a:gd name="T11" fmla="*/ 2 h 104"/>
                  <a:gd name="T12" fmla="*/ 34 w 69"/>
                  <a:gd name="T13" fmla="*/ 5 h 104"/>
                  <a:gd name="T14" fmla="*/ 38 w 69"/>
                  <a:gd name="T15" fmla="*/ 13 h 104"/>
                  <a:gd name="T16" fmla="*/ 40 w 69"/>
                  <a:gd name="T17" fmla="*/ 17 h 104"/>
                  <a:gd name="T18" fmla="*/ 44 w 69"/>
                  <a:gd name="T19" fmla="*/ 20 h 104"/>
                  <a:gd name="T20" fmla="*/ 48 w 69"/>
                  <a:gd name="T21" fmla="*/ 25 h 104"/>
                  <a:gd name="T22" fmla="*/ 51 w 69"/>
                  <a:gd name="T23" fmla="*/ 25 h 104"/>
                  <a:gd name="T24" fmla="*/ 57 w 69"/>
                  <a:gd name="T25" fmla="*/ 28 h 104"/>
                  <a:gd name="T26" fmla="*/ 60 w 69"/>
                  <a:gd name="T27" fmla="*/ 32 h 104"/>
                  <a:gd name="T28" fmla="*/ 62 w 69"/>
                  <a:gd name="T29" fmla="*/ 32 h 104"/>
                  <a:gd name="T30" fmla="*/ 62 w 69"/>
                  <a:gd name="T31" fmla="*/ 32 h 104"/>
                  <a:gd name="T32" fmla="*/ 65 w 69"/>
                  <a:gd name="T33" fmla="*/ 36 h 104"/>
                  <a:gd name="T34" fmla="*/ 65 w 69"/>
                  <a:gd name="T35" fmla="*/ 39 h 104"/>
                  <a:gd name="T36" fmla="*/ 69 w 69"/>
                  <a:gd name="T37" fmla="*/ 41 h 104"/>
                  <a:gd name="T38" fmla="*/ 69 w 69"/>
                  <a:gd name="T39" fmla="*/ 44 h 104"/>
                  <a:gd name="T40" fmla="*/ 66 w 69"/>
                  <a:gd name="T41" fmla="*/ 48 h 104"/>
                  <a:gd name="T42" fmla="*/ 66 w 69"/>
                  <a:gd name="T43" fmla="*/ 50 h 104"/>
                  <a:gd name="T44" fmla="*/ 64 w 69"/>
                  <a:gd name="T45" fmla="*/ 52 h 104"/>
                  <a:gd name="T46" fmla="*/ 64 w 69"/>
                  <a:gd name="T47" fmla="*/ 54 h 104"/>
                  <a:gd name="T48" fmla="*/ 61 w 69"/>
                  <a:gd name="T49" fmla="*/ 56 h 104"/>
                  <a:gd name="T50" fmla="*/ 60 w 69"/>
                  <a:gd name="T51" fmla="*/ 61 h 104"/>
                  <a:gd name="T52" fmla="*/ 57 w 69"/>
                  <a:gd name="T53" fmla="*/ 63 h 104"/>
                  <a:gd name="T54" fmla="*/ 57 w 69"/>
                  <a:gd name="T55" fmla="*/ 67 h 104"/>
                  <a:gd name="T56" fmla="*/ 55 w 69"/>
                  <a:gd name="T57" fmla="*/ 67 h 104"/>
                  <a:gd name="T58" fmla="*/ 53 w 69"/>
                  <a:gd name="T59" fmla="*/ 81 h 104"/>
                  <a:gd name="T60" fmla="*/ 44 w 69"/>
                  <a:gd name="T61" fmla="*/ 83 h 104"/>
                  <a:gd name="T62" fmla="*/ 43 w 69"/>
                  <a:gd name="T63" fmla="*/ 85 h 104"/>
                  <a:gd name="T64" fmla="*/ 41 w 69"/>
                  <a:gd name="T65" fmla="*/ 88 h 104"/>
                  <a:gd name="T66" fmla="*/ 41 w 69"/>
                  <a:gd name="T67" fmla="*/ 91 h 104"/>
                  <a:gd name="T68" fmla="*/ 31 w 69"/>
                  <a:gd name="T69" fmla="*/ 93 h 104"/>
                  <a:gd name="T70" fmla="*/ 27 w 69"/>
                  <a:gd name="T71" fmla="*/ 100 h 104"/>
                  <a:gd name="T72" fmla="*/ 21 w 69"/>
                  <a:gd name="T73" fmla="*/ 101 h 104"/>
                  <a:gd name="T74" fmla="*/ 18 w 69"/>
                  <a:gd name="T75" fmla="*/ 103 h 104"/>
                  <a:gd name="T76" fmla="*/ 18 w 69"/>
                  <a:gd name="T77" fmla="*/ 104 h 104"/>
                  <a:gd name="T78" fmla="*/ 15 w 69"/>
                  <a:gd name="T79" fmla="*/ 104 h 104"/>
                  <a:gd name="T80" fmla="*/ 11 w 69"/>
                  <a:gd name="T81" fmla="*/ 101 h 104"/>
                  <a:gd name="T82" fmla="*/ 0 w 69"/>
                  <a:gd name="T83" fmla="*/ 83 h 104"/>
                  <a:gd name="T84" fmla="*/ 0 w 69"/>
                  <a:gd name="T85" fmla="*/ 80 h 104"/>
                  <a:gd name="T86" fmla="*/ 28 w 69"/>
                  <a:gd name="T87" fmla="*/ 68 h 104"/>
                  <a:gd name="T88" fmla="*/ 34 w 69"/>
                  <a:gd name="T89" fmla="*/ 43 h 104"/>
                  <a:gd name="T90" fmla="*/ 29 w 69"/>
                  <a:gd name="T91" fmla="*/ 36 h 104"/>
                  <a:gd name="T92" fmla="*/ 31 w 69"/>
                  <a:gd name="T93" fmla="*/ 29 h 104"/>
                  <a:gd name="T94" fmla="*/ 32 w 69"/>
                  <a:gd name="T95" fmla="*/ 22 h 104"/>
                  <a:gd name="T96" fmla="*/ 31 w 69"/>
                  <a:gd name="T97" fmla="*/ 19 h 104"/>
                  <a:gd name="T98" fmla="*/ 34 w 69"/>
                  <a:gd name="T99" fmla="*/ 17 h 104"/>
                  <a:gd name="T100" fmla="*/ 32 w 69"/>
                  <a:gd name="T101" fmla="*/ 15 h 104"/>
                  <a:gd name="T102" fmla="*/ 34 w 69"/>
                  <a:gd name="T103" fmla="*/ 13 h 104"/>
                  <a:gd name="T104" fmla="*/ 36 w 69"/>
                  <a:gd name="T105" fmla="*/ 15 h 104"/>
                  <a:gd name="T106" fmla="*/ 38 w 69"/>
                  <a:gd name="T107" fmla="*/ 1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 h="104">
                    <a:moveTo>
                      <a:pt x="34" y="5"/>
                    </a:moveTo>
                    <a:cubicBezTo>
                      <a:pt x="35" y="5"/>
                      <a:pt x="35" y="5"/>
                      <a:pt x="35" y="5"/>
                    </a:cubicBezTo>
                    <a:cubicBezTo>
                      <a:pt x="35" y="8"/>
                      <a:pt x="35" y="8"/>
                      <a:pt x="35" y="8"/>
                    </a:cubicBezTo>
                    <a:cubicBezTo>
                      <a:pt x="37" y="8"/>
                      <a:pt x="37" y="8"/>
                      <a:pt x="37" y="8"/>
                    </a:cubicBezTo>
                    <a:cubicBezTo>
                      <a:pt x="37" y="6"/>
                      <a:pt x="37" y="3"/>
                      <a:pt x="37" y="0"/>
                    </a:cubicBezTo>
                    <a:cubicBezTo>
                      <a:pt x="37" y="1"/>
                      <a:pt x="35" y="1"/>
                      <a:pt x="35" y="2"/>
                    </a:cubicBezTo>
                    <a:cubicBezTo>
                      <a:pt x="34" y="3"/>
                      <a:pt x="35" y="4"/>
                      <a:pt x="34" y="5"/>
                    </a:cubicBezTo>
                    <a:close/>
                    <a:moveTo>
                      <a:pt x="38" y="13"/>
                    </a:moveTo>
                    <a:cubicBezTo>
                      <a:pt x="38" y="14"/>
                      <a:pt x="39" y="16"/>
                      <a:pt x="40" y="17"/>
                    </a:cubicBezTo>
                    <a:cubicBezTo>
                      <a:pt x="41" y="18"/>
                      <a:pt x="43" y="19"/>
                      <a:pt x="44" y="20"/>
                    </a:cubicBezTo>
                    <a:cubicBezTo>
                      <a:pt x="45" y="21"/>
                      <a:pt x="46" y="24"/>
                      <a:pt x="48" y="25"/>
                    </a:cubicBezTo>
                    <a:cubicBezTo>
                      <a:pt x="49" y="25"/>
                      <a:pt x="50" y="25"/>
                      <a:pt x="51" y="25"/>
                    </a:cubicBezTo>
                    <a:cubicBezTo>
                      <a:pt x="57" y="28"/>
                      <a:pt x="57" y="28"/>
                      <a:pt x="57" y="28"/>
                    </a:cubicBezTo>
                    <a:cubicBezTo>
                      <a:pt x="58" y="28"/>
                      <a:pt x="59" y="31"/>
                      <a:pt x="60" y="32"/>
                    </a:cubicBezTo>
                    <a:cubicBezTo>
                      <a:pt x="61" y="32"/>
                      <a:pt x="62" y="31"/>
                      <a:pt x="62" y="32"/>
                    </a:cubicBezTo>
                    <a:cubicBezTo>
                      <a:pt x="62" y="32"/>
                      <a:pt x="62" y="32"/>
                      <a:pt x="62" y="32"/>
                    </a:cubicBezTo>
                    <a:cubicBezTo>
                      <a:pt x="65" y="36"/>
                      <a:pt x="65" y="36"/>
                      <a:pt x="65" y="36"/>
                    </a:cubicBezTo>
                    <a:cubicBezTo>
                      <a:pt x="65" y="37"/>
                      <a:pt x="64" y="38"/>
                      <a:pt x="65" y="39"/>
                    </a:cubicBezTo>
                    <a:cubicBezTo>
                      <a:pt x="65" y="40"/>
                      <a:pt x="68" y="40"/>
                      <a:pt x="69" y="41"/>
                    </a:cubicBezTo>
                    <a:cubicBezTo>
                      <a:pt x="68" y="42"/>
                      <a:pt x="69" y="43"/>
                      <a:pt x="69" y="44"/>
                    </a:cubicBezTo>
                    <a:cubicBezTo>
                      <a:pt x="68" y="45"/>
                      <a:pt x="66" y="46"/>
                      <a:pt x="66" y="48"/>
                    </a:cubicBezTo>
                    <a:cubicBezTo>
                      <a:pt x="66" y="48"/>
                      <a:pt x="66" y="49"/>
                      <a:pt x="66" y="50"/>
                    </a:cubicBezTo>
                    <a:cubicBezTo>
                      <a:pt x="66" y="50"/>
                      <a:pt x="64" y="52"/>
                      <a:pt x="64" y="52"/>
                    </a:cubicBezTo>
                    <a:cubicBezTo>
                      <a:pt x="64" y="53"/>
                      <a:pt x="64" y="54"/>
                      <a:pt x="64" y="54"/>
                    </a:cubicBezTo>
                    <a:cubicBezTo>
                      <a:pt x="64" y="55"/>
                      <a:pt x="62" y="55"/>
                      <a:pt x="61" y="56"/>
                    </a:cubicBezTo>
                    <a:cubicBezTo>
                      <a:pt x="60" y="58"/>
                      <a:pt x="61" y="60"/>
                      <a:pt x="60" y="61"/>
                    </a:cubicBezTo>
                    <a:cubicBezTo>
                      <a:pt x="60" y="62"/>
                      <a:pt x="58" y="63"/>
                      <a:pt x="57" y="63"/>
                    </a:cubicBezTo>
                    <a:cubicBezTo>
                      <a:pt x="57" y="64"/>
                      <a:pt x="58" y="67"/>
                      <a:pt x="57" y="67"/>
                    </a:cubicBezTo>
                    <a:cubicBezTo>
                      <a:pt x="57" y="68"/>
                      <a:pt x="55" y="67"/>
                      <a:pt x="55" y="67"/>
                    </a:cubicBezTo>
                    <a:cubicBezTo>
                      <a:pt x="53" y="72"/>
                      <a:pt x="52" y="74"/>
                      <a:pt x="53" y="81"/>
                    </a:cubicBezTo>
                    <a:cubicBezTo>
                      <a:pt x="51" y="82"/>
                      <a:pt x="46" y="82"/>
                      <a:pt x="44" y="83"/>
                    </a:cubicBezTo>
                    <a:cubicBezTo>
                      <a:pt x="43" y="84"/>
                      <a:pt x="44" y="85"/>
                      <a:pt x="43" y="85"/>
                    </a:cubicBezTo>
                    <a:cubicBezTo>
                      <a:pt x="43" y="86"/>
                      <a:pt x="41" y="87"/>
                      <a:pt x="41" y="88"/>
                    </a:cubicBezTo>
                    <a:cubicBezTo>
                      <a:pt x="40" y="89"/>
                      <a:pt x="41" y="90"/>
                      <a:pt x="41" y="91"/>
                    </a:cubicBezTo>
                    <a:cubicBezTo>
                      <a:pt x="38" y="92"/>
                      <a:pt x="36" y="93"/>
                      <a:pt x="31" y="93"/>
                    </a:cubicBezTo>
                    <a:cubicBezTo>
                      <a:pt x="30" y="95"/>
                      <a:pt x="29" y="99"/>
                      <a:pt x="27" y="100"/>
                    </a:cubicBezTo>
                    <a:cubicBezTo>
                      <a:pt x="25" y="102"/>
                      <a:pt x="24" y="100"/>
                      <a:pt x="21" y="101"/>
                    </a:cubicBezTo>
                    <a:cubicBezTo>
                      <a:pt x="21" y="102"/>
                      <a:pt x="19" y="102"/>
                      <a:pt x="18" y="103"/>
                    </a:cubicBezTo>
                    <a:cubicBezTo>
                      <a:pt x="18" y="104"/>
                      <a:pt x="18" y="104"/>
                      <a:pt x="18" y="104"/>
                    </a:cubicBezTo>
                    <a:cubicBezTo>
                      <a:pt x="17" y="104"/>
                      <a:pt x="16" y="104"/>
                      <a:pt x="15" y="104"/>
                    </a:cubicBezTo>
                    <a:cubicBezTo>
                      <a:pt x="11" y="101"/>
                      <a:pt x="11" y="101"/>
                      <a:pt x="11" y="101"/>
                    </a:cubicBezTo>
                    <a:cubicBezTo>
                      <a:pt x="0" y="83"/>
                      <a:pt x="0" y="83"/>
                      <a:pt x="0" y="83"/>
                    </a:cubicBezTo>
                    <a:cubicBezTo>
                      <a:pt x="0" y="80"/>
                      <a:pt x="0" y="80"/>
                      <a:pt x="0" y="80"/>
                    </a:cubicBezTo>
                    <a:cubicBezTo>
                      <a:pt x="0" y="80"/>
                      <a:pt x="23" y="71"/>
                      <a:pt x="28" y="68"/>
                    </a:cubicBezTo>
                    <a:cubicBezTo>
                      <a:pt x="30" y="67"/>
                      <a:pt x="34" y="44"/>
                      <a:pt x="34" y="43"/>
                    </a:cubicBezTo>
                    <a:cubicBezTo>
                      <a:pt x="29" y="36"/>
                      <a:pt x="29" y="36"/>
                      <a:pt x="29" y="36"/>
                    </a:cubicBezTo>
                    <a:cubicBezTo>
                      <a:pt x="29" y="36"/>
                      <a:pt x="28" y="32"/>
                      <a:pt x="31" y="29"/>
                    </a:cubicBezTo>
                    <a:cubicBezTo>
                      <a:pt x="33" y="26"/>
                      <a:pt x="32" y="22"/>
                      <a:pt x="32" y="22"/>
                    </a:cubicBezTo>
                    <a:cubicBezTo>
                      <a:pt x="30" y="23"/>
                      <a:pt x="30" y="21"/>
                      <a:pt x="31" y="19"/>
                    </a:cubicBezTo>
                    <a:cubicBezTo>
                      <a:pt x="33" y="18"/>
                      <a:pt x="34" y="17"/>
                      <a:pt x="34" y="17"/>
                    </a:cubicBezTo>
                    <a:cubicBezTo>
                      <a:pt x="34" y="17"/>
                      <a:pt x="32" y="16"/>
                      <a:pt x="32" y="15"/>
                    </a:cubicBezTo>
                    <a:cubicBezTo>
                      <a:pt x="32" y="13"/>
                      <a:pt x="33" y="12"/>
                      <a:pt x="34" y="13"/>
                    </a:cubicBezTo>
                    <a:cubicBezTo>
                      <a:pt x="35" y="14"/>
                      <a:pt x="35" y="16"/>
                      <a:pt x="36" y="15"/>
                    </a:cubicBezTo>
                    <a:cubicBezTo>
                      <a:pt x="36" y="13"/>
                      <a:pt x="38" y="13"/>
                      <a:pt x="38" y="1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37" name="Freeform 116">
                <a:extLst>
                  <a:ext uri="{FF2B5EF4-FFF2-40B4-BE49-F238E27FC236}">
                    <a16:creationId xmlns:a16="http://schemas.microsoft.com/office/drawing/2014/main" id="{93C3E7D5-F687-0946-8668-805382253063}"/>
                  </a:ext>
                </a:extLst>
              </p:cNvPr>
              <p:cNvSpPr>
                <a:spLocks noEditPoints="1"/>
              </p:cNvSpPr>
              <p:nvPr/>
            </p:nvSpPr>
            <p:spPr bwMode="auto">
              <a:xfrm>
                <a:off x="3198" y="204"/>
                <a:ext cx="457" cy="722"/>
              </a:xfrm>
              <a:custGeom>
                <a:avLst/>
                <a:gdLst>
                  <a:gd name="T0" fmla="*/ 97 w 233"/>
                  <a:gd name="T1" fmla="*/ 35 h 368"/>
                  <a:gd name="T2" fmla="*/ 73 w 233"/>
                  <a:gd name="T3" fmla="*/ 20 h 368"/>
                  <a:gd name="T4" fmla="*/ 65 w 233"/>
                  <a:gd name="T5" fmla="*/ 22 h 368"/>
                  <a:gd name="T6" fmla="*/ 78 w 233"/>
                  <a:gd name="T7" fmla="*/ 42 h 368"/>
                  <a:gd name="T8" fmla="*/ 107 w 233"/>
                  <a:gd name="T9" fmla="*/ 44 h 368"/>
                  <a:gd name="T10" fmla="*/ 76 w 233"/>
                  <a:gd name="T11" fmla="*/ 54 h 368"/>
                  <a:gd name="T12" fmla="*/ 79 w 233"/>
                  <a:gd name="T13" fmla="*/ 68 h 368"/>
                  <a:gd name="T14" fmla="*/ 111 w 233"/>
                  <a:gd name="T15" fmla="*/ 72 h 368"/>
                  <a:gd name="T16" fmla="*/ 126 w 233"/>
                  <a:gd name="T17" fmla="*/ 37 h 368"/>
                  <a:gd name="T18" fmla="*/ 103 w 233"/>
                  <a:gd name="T19" fmla="*/ 14 h 368"/>
                  <a:gd name="T20" fmla="*/ 61 w 233"/>
                  <a:gd name="T21" fmla="*/ 30 h 368"/>
                  <a:gd name="T22" fmla="*/ 198 w 233"/>
                  <a:gd name="T23" fmla="*/ 42 h 368"/>
                  <a:gd name="T24" fmla="*/ 148 w 233"/>
                  <a:gd name="T25" fmla="*/ 48 h 368"/>
                  <a:gd name="T26" fmla="*/ 183 w 233"/>
                  <a:gd name="T27" fmla="*/ 161 h 368"/>
                  <a:gd name="T28" fmla="*/ 160 w 233"/>
                  <a:gd name="T29" fmla="*/ 175 h 368"/>
                  <a:gd name="T30" fmla="*/ 118 w 233"/>
                  <a:gd name="T31" fmla="*/ 185 h 368"/>
                  <a:gd name="T32" fmla="*/ 114 w 233"/>
                  <a:gd name="T33" fmla="*/ 189 h 368"/>
                  <a:gd name="T34" fmla="*/ 101 w 233"/>
                  <a:gd name="T35" fmla="*/ 205 h 368"/>
                  <a:gd name="T36" fmla="*/ 152 w 233"/>
                  <a:gd name="T37" fmla="*/ 173 h 368"/>
                  <a:gd name="T38" fmla="*/ 90 w 233"/>
                  <a:gd name="T39" fmla="*/ 205 h 368"/>
                  <a:gd name="T40" fmla="*/ 79 w 233"/>
                  <a:gd name="T41" fmla="*/ 215 h 368"/>
                  <a:gd name="T42" fmla="*/ 38 w 233"/>
                  <a:gd name="T43" fmla="*/ 280 h 368"/>
                  <a:gd name="T44" fmla="*/ 23 w 233"/>
                  <a:gd name="T45" fmla="*/ 308 h 368"/>
                  <a:gd name="T46" fmla="*/ 5 w 233"/>
                  <a:gd name="T47" fmla="*/ 343 h 368"/>
                  <a:gd name="T48" fmla="*/ 66 w 233"/>
                  <a:gd name="T49" fmla="*/ 322 h 368"/>
                  <a:gd name="T50" fmla="*/ 89 w 233"/>
                  <a:gd name="T51" fmla="*/ 266 h 368"/>
                  <a:gd name="T52" fmla="*/ 123 w 233"/>
                  <a:gd name="T53" fmla="*/ 215 h 368"/>
                  <a:gd name="T54" fmla="*/ 158 w 233"/>
                  <a:gd name="T55" fmla="*/ 204 h 368"/>
                  <a:gd name="T56" fmla="*/ 209 w 233"/>
                  <a:gd name="T57" fmla="*/ 189 h 368"/>
                  <a:gd name="T58" fmla="*/ 225 w 233"/>
                  <a:gd name="T59" fmla="*/ 183 h 368"/>
                  <a:gd name="T60" fmla="*/ 218 w 233"/>
                  <a:gd name="T61" fmla="*/ 172 h 368"/>
                  <a:gd name="T62" fmla="*/ 205 w 233"/>
                  <a:gd name="T63" fmla="*/ 162 h 368"/>
                  <a:gd name="T64" fmla="*/ 192 w 233"/>
                  <a:gd name="T65" fmla="*/ 179 h 368"/>
                  <a:gd name="T66" fmla="*/ 188 w 233"/>
                  <a:gd name="T67" fmla="*/ 171 h 368"/>
                  <a:gd name="T68" fmla="*/ 180 w 233"/>
                  <a:gd name="T69" fmla="*/ 170 h 368"/>
                  <a:gd name="T70" fmla="*/ 162 w 233"/>
                  <a:gd name="T71" fmla="*/ 178 h 368"/>
                  <a:gd name="T72" fmla="*/ 150 w 233"/>
                  <a:gd name="T73" fmla="*/ 183 h 368"/>
                  <a:gd name="T74" fmla="*/ 139 w 233"/>
                  <a:gd name="T75" fmla="*/ 183 h 368"/>
                  <a:gd name="T76" fmla="*/ 126 w 233"/>
                  <a:gd name="T77" fmla="*/ 191 h 368"/>
                  <a:gd name="T78" fmla="*/ 113 w 233"/>
                  <a:gd name="T79" fmla="*/ 205 h 368"/>
                  <a:gd name="T80" fmla="*/ 98 w 233"/>
                  <a:gd name="T81" fmla="*/ 219 h 368"/>
                  <a:gd name="T82" fmla="*/ 98 w 233"/>
                  <a:gd name="T83" fmla="*/ 234 h 368"/>
                  <a:gd name="T84" fmla="*/ 75 w 233"/>
                  <a:gd name="T85" fmla="*/ 257 h 368"/>
                  <a:gd name="T86" fmla="*/ 51 w 233"/>
                  <a:gd name="T87" fmla="*/ 279 h 368"/>
                  <a:gd name="T88" fmla="*/ 38 w 233"/>
                  <a:gd name="T89" fmla="*/ 283 h 368"/>
                  <a:gd name="T90" fmla="*/ 26 w 233"/>
                  <a:gd name="T91" fmla="*/ 298 h 368"/>
                  <a:gd name="T92" fmla="*/ 8 w 233"/>
                  <a:gd name="T93" fmla="*/ 309 h 368"/>
                  <a:gd name="T94" fmla="*/ 13 w 233"/>
                  <a:gd name="T95" fmla="*/ 322 h 368"/>
                  <a:gd name="T96" fmla="*/ 6 w 233"/>
                  <a:gd name="T97" fmla="*/ 322 h 368"/>
                  <a:gd name="T98" fmla="*/ 7 w 233"/>
                  <a:gd name="T99" fmla="*/ 331 h 368"/>
                  <a:gd name="T100" fmla="*/ 16 w 233"/>
                  <a:gd name="T101" fmla="*/ 337 h 368"/>
                  <a:gd name="T102" fmla="*/ 14 w 233"/>
                  <a:gd name="T103" fmla="*/ 348 h 368"/>
                  <a:gd name="T104" fmla="*/ 39 w 233"/>
                  <a:gd name="T105" fmla="*/ 361 h 368"/>
                  <a:gd name="T106" fmla="*/ 126 w 233"/>
                  <a:gd name="T107" fmla="*/ 9 h 368"/>
                  <a:gd name="T108" fmla="*/ 146 w 233"/>
                  <a:gd name="T109" fmla="*/ 20 h 368"/>
                  <a:gd name="T110" fmla="*/ 152 w 233"/>
                  <a:gd name="T111" fmla="*/ 32 h 368"/>
                  <a:gd name="T112" fmla="*/ 199 w 233"/>
                  <a:gd name="T113" fmla="*/ 12 h 368"/>
                  <a:gd name="T114" fmla="*/ 177 w 233"/>
                  <a:gd name="T115" fmla="*/ 9 h 368"/>
                  <a:gd name="T116" fmla="*/ 142 w 233"/>
                  <a:gd name="T117" fmla="*/ 3 h 368"/>
                  <a:gd name="T118" fmla="*/ 150 w 233"/>
                  <a:gd name="T119" fmla="*/ 66 h 368"/>
                  <a:gd name="T120" fmla="*/ 152 w 233"/>
                  <a:gd name="T121" fmla="*/ 5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 h="368">
                    <a:moveTo>
                      <a:pt x="156" y="4"/>
                    </a:moveTo>
                    <a:cubicBezTo>
                      <a:pt x="156" y="5"/>
                      <a:pt x="156" y="6"/>
                      <a:pt x="156" y="6"/>
                    </a:cubicBezTo>
                    <a:cubicBezTo>
                      <a:pt x="159" y="7"/>
                      <a:pt x="158" y="5"/>
                      <a:pt x="156" y="4"/>
                    </a:cubicBezTo>
                    <a:close/>
                    <a:moveTo>
                      <a:pt x="101" y="10"/>
                    </a:moveTo>
                    <a:cubicBezTo>
                      <a:pt x="101" y="11"/>
                      <a:pt x="101" y="12"/>
                      <a:pt x="100" y="13"/>
                    </a:cubicBezTo>
                    <a:cubicBezTo>
                      <a:pt x="100" y="14"/>
                      <a:pt x="99" y="14"/>
                      <a:pt x="98" y="14"/>
                    </a:cubicBezTo>
                    <a:cubicBezTo>
                      <a:pt x="97" y="15"/>
                      <a:pt x="98" y="16"/>
                      <a:pt x="97" y="16"/>
                    </a:cubicBezTo>
                    <a:cubicBezTo>
                      <a:pt x="97" y="17"/>
                      <a:pt x="94" y="18"/>
                      <a:pt x="93" y="18"/>
                    </a:cubicBezTo>
                    <a:cubicBezTo>
                      <a:pt x="94" y="21"/>
                      <a:pt x="93" y="24"/>
                      <a:pt x="94" y="27"/>
                    </a:cubicBezTo>
                    <a:cubicBezTo>
                      <a:pt x="94" y="28"/>
                      <a:pt x="96" y="29"/>
                      <a:pt x="96" y="29"/>
                    </a:cubicBezTo>
                    <a:cubicBezTo>
                      <a:pt x="97" y="31"/>
                      <a:pt x="97" y="33"/>
                      <a:pt x="97" y="35"/>
                    </a:cubicBezTo>
                    <a:cubicBezTo>
                      <a:pt x="97" y="34"/>
                      <a:pt x="96" y="34"/>
                      <a:pt x="95" y="33"/>
                    </a:cubicBezTo>
                    <a:cubicBezTo>
                      <a:pt x="94" y="31"/>
                      <a:pt x="94" y="30"/>
                      <a:pt x="93" y="28"/>
                    </a:cubicBezTo>
                    <a:cubicBezTo>
                      <a:pt x="93" y="27"/>
                      <a:pt x="91" y="27"/>
                      <a:pt x="90" y="26"/>
                    </a:cubicBezTo>
                    <a:cubicBezTo>
                      <a:pt x="89" y="23"/>
                      <a:pt x="88" y="20"/>
                      <a:pt x="87" y="17"/>
                    </a:cubicBezTo>
                    <a:cubicBezTo>
                      <a:pt x="85" y="17"/>
                      <a:pt x="83" y="18"/>
                      <a:pt x="82" y="18"/>
                    </a:cubicBezTo>
                    <a:cubicBezTo>
                      <a:pt x="81" y="21"/>
                      <a:pt x="81" y="22"/>
                      <a:pt x="81" y="25"/>
                    </a:cubicBezTo>
                    <a:cubicBezTo>
                      <a:pt x="79" y="25"/>
                      <a:pt x="79" y="25"/>
                      <a:pt x="79" y="25"/>
                    </a:cubicBezTo>
                    <a:cubicBezTo>
                      <a:pt x="79" y="24"/>
                      <a:pt x="79" y="23"/>
                      <a:pt x="79" y="23"/>
                    </a:cubicBezTo>
                    <a:cubicBezTo>
                      <a:pt x="78" y="23"/>
                      <a:pt x="77" y="23"/>
                      <a:pt x="77" y="23"/>
                    </a:cubicBezTo>
                    <a:cubicBezTo>
                      <a:pt x="76" y="23"/>
                      <a:pt x="76" y="21"/>
                      <a:pt x="76" y="20"/>
                    </a:cubicBezTo>
                    <a:cubicBezTo>
                      <a:pt x="75" y="20"/>
                      <a:pt x="73" y="20"/>
                      <a:pt x="73" y="20"/>
                    </a:cubicBezTo>
                    <a:cubicBezTo>
                      <a:pt x="75" y="19"/>
                      <a:pt x="77" y="19"/>
                      <a:pt x="79" y="18"/>
                    </a:cubicBezTo>
                    <a:cubicBezTo>
                      <a:pt x="79" y="18"/>
                      <a:pt x="79" y="16"/>
                      <a:pt x="79" y="16"/>
                    </a:cubicBezTo>
                    <a:cubicBezTo>
                      <a:pt x="76" y="15"/>
                      <a:pt x="76" y="15"/>
                      <a:pt x="76" y="15"/>
                    </a:cubicBezTo>
                    <a:cubicBezTo>
                      <a:pt x="75" y="15"/>
                      <a:pt x="74" y="16"/>
                      <a:pt x="73" y="16"/>
                    </a:cubicBezTo>
                    <a:cubicBezTo>
                      <a:pt x="72" y="16"/>
                      <a:pt x="71" y="14"/>
                      <a:pt x="69" y="15"/>
                    </a:cubicBezTo>
                    <a:cubicBezTo>
                      <a:pt x="69" y="16"/>
                      <a:pt x="69" y="16"/>
                      <a:pt x="69" y="16"/>
                    </a:cubicBezTo>
                    <a:cubicBezTo>
                      <a:pt x="68" y="17"/>
                      <a:pt x="68" y="17"/>
                      <a:pt x="67" y="17"/>
                    </a:cubicBezTo>
                    <a:cubicBezTo>
                      <a:pt x="67" y="18"/>
                      <a:pt x="67" y="18"/>
                      <a:pt x="67" y="18"/>
                    </a:cubicBezTo>
                    <a:cubicBezTo>
                      <a:pt x="66" y="18"/>
                      <a:pt x="65" y="17"/>
                      <a:pt x="64" y="16"/>
                    </a:cubicBezTo>
                    <a:cubicBezTo>
                      <a:pt x="63" y="19"/>
                      <a:pt x="63" y="21"/>
                      <a:pt x="63" y="24"/>
                    </a:cubicBezTo>
                    <a:cubicBezTo>
                      <a:pt x="65" y="23"/>
                      <a:pt x="64" y="23"/>
                      <a:pt x="65" y="22"/>
                    </a:cubicBezTo>
                    <a:cubicBezTo>
                      <a:pt x="66" y="22"/>
                      <a:pt x="66" y="22"/>
                      <a:pt x="66" y="22"/>
                    </a:cubicBezTo>
                    <a:cubicBezTo>
                      <a:pt x="66" y="24"/>
                      <a:pt x="66" y="25"/>
                      <a:pt x="66" y="26"/>
                    </a:cubicBezTo>
                    <a:cubicBezTo>
                      <a:pt x="66" y="27"/>
                      <a:pt x="67" y="27"/>
                      <a:pt x="67" y="28"/>
                    </a:cubicBezTo>
                    <a:cubicBezTo>
                      <a:pt x="66" y="29"/>
                      <a:pt x="66" y="28"/>
                      <a:pt x="65" y="28"/>
                    </a:cubicBezTo>
                    <a:cubicBezTo>
                      <a:pt x="64" y="30"/>
                      <a:pt x="64" y="31"/>
                      <a:pt x="64" y="32"/>
                    </a:cubicBezTo>
                    <a:cubicBezTo>
                      <a:pt x="64" y="32"/>
                      <a:pt x="69" y="34"/>
                      <a:pt x="69" y="34"/>
                    </a:cubicBezTo>
                    <a:cubicBezTo>
                      <a:pt x="70" y="36"/>
                      <a:pt x="68" y="36"/>
                      <a:pt x="69" y="37"/>
                    </a:cubicBezTo>
                    <a:cubicBezTo>
                      <a:pt x="70" y="38"/>
                      <a:pt x="70" y="38"/>
                      <a:pt x="70" y="38"/>
                    </a:cubicBezTo>
                    <a:cubicBezTo>
                      <a:pt x="71" y="43"/>
                      <a:pt x="67" y="43"/>
                      <a:pt x="73" y="44"/>
                    </a:cubicBezTo>
                    <a:cubicBezTo>
                      <a:pt x="74" y="44"/>
                      <a:pt x="75" y="45"/>
                      <a:pt x="76" y="44"/>
                    </a:cubicBezTo>
                    <a:cubicBezTo>
                      <a:pt x="77" y="44"/>
                      <a:pt x="77" y="43"/>
                      <a:pt x="78" y="42"/>
                    </a:cubicBezTo>
                    <a:cubicBezTo>
                      <a:pt x="78" y="41"/>
                      <a:pt x="78" y="41"/>
                      <a:pt x="78" y="41"/>
                    </a:cubicBezTo>
                    <a:cubicBezTo>
                      <a:pt x="80" y="41"/>
                      <a:pt x="82" y="41"/>
                      <a:pt x="84" y="41"/>
                    </a:cubicBezTo>
                    <a:cubicBezTo>
                      <a:pt x="84" y="40"/>
                      <a:pt x="84" y="38"/>
                      <a:pt x="84" y="37"/>
                    </a:cubicBezTo>
                    <a:cubicBezTo>
                      <a:pt x="85" y="37"/>
                      <a:pt x="85" y="36"/>
                      <a:pt x="86" y="36"/>
                    </a:cubicBezTo>
                    <a:cubicBezTo>
                      <a:pt x="86" y="37"/>
                      <a:pt x="85" y="38"/>
                      <a:pt x="87" y="38"/>
                    </a:cubicBezTo>
                    <a:cubicBezTo>
                      <a:pt x="87" y="38"/>
                      <a:pt x="88" y="36"/>
                      <a:pt x="88" y="36"/>
                    </a:cubicBezTo>
                    <a:cubicBezTo>
                      <a:pt x="90" y="36"/>
                      <a:pt x="90" y="36"/>
                      <a:pt x="90" y="36"/>
                    </a:cubicBezTo>
                    <a:cubicBezTo>
                      <a:pt x="90" y="38"/>
                      <a:pt x="90" y="40"/>
                      <a:pt x="90" y="42"/>
                    </a:cubicBezTo>
                    <a:cubicBezTo>
                      <a:pt x="92" y="41"/>
                      <a:pt x="96" y="41"/>
                      <a:pt x="97" y="41"/>
                    </a:cubicBezTo>
                    <a:cubicBezTo>
                      <a:pt x="98" y="41"/>
                      <a:pt x="98" y="45"/>
                      <a:pt x="100" y="45"/>
                    </a:cubicBezTo>
                    <a:cubicBezTo>
                      <a:pt x="102" y="45"/>
                      <a:pt x="105" y="45"/>
                      <a:pt x="107" y="44"/>
                    </a:cubicBezTo>
                    <a:cubicBezTo>
                      <a:pt x="107" y="45"/>
                      <a:pt x="106" y="47"/>
                      <a:pt x="105" y="47"/>
                    </a:cubicBezTo>
                    <a:cubicBezTo>
                      <a:pt x="103" y="48"/>
                      <a:pt x="95" y="48"/>
                      <a:pt x="94" y="48"/>
                    </a:cubicBezTo>
                    <a:cubicBezTo>
                      <a:pt x="93" y="48"/>
                      <a:pt x="91" y="46"/>
                      <a:pt x="90" y="46"/>
                    </a:cubicBezTo>
                    <a:cubicBezTo>
                      <a:pt x="89" y="46"/>
                      <a:pt x="87" y="49"/>
                      <a:pt x="86" y="50"/>
                    </a:cubicBezTo>
                    <a:cubicBezTo>
                      <a:pt x="85" y="50"/>
                      <a:pt x="85" y="49"/>
                      <a:pt x="84" y="50"/>
                    </a:cubicBezTo>
                    <a:cubicBezTo>
                      <a:pt x="83" y="49"/>
                      <a:pt x="82" y="48"/>
                      <a:pt x="81" y="47"/>
                    </a:cubicBezTo>
                    <a:cubicBezTo>
                      <a:pt x="81" y="47"/>
                      <a:pt x="80" y="47"/>
                      <a:pt x="79" y="47"/>
                    </a:cubicBezTo>
                    <a:cubicBezTo>
                      <a:pt x="79" y="47"/>
                      <a:pt x="79" y="49"/>
                      <a:pt x="79" y="49"/>
                    </a:cubicBezTo>
                    <a:cubicBezTo>
                      <a:pt x="79" y="49"/>
                      <a:pt x="78" y="49"/>
                      <a:pt x="79" y="48"/>
                    </a:cubicBezTo>
                    <a:cubicBezTo>
                      <a:pt x="77" y="48"/>
                      <a:pt x="77" y="48"/>
                      <a:pt x="76" y="48"/>
                    </a:cubicBezTo>
                    <a:cubicBezTo>
                      <a:pt x="76" y="49"/>
                      <a:pt x="75" y="52"/>
                      <a:pt x="76" y="54"/>
                    </a:cubicBezTo>
                    <a:cubicBezTo>
                      <a:pt x="77" y="60"/>
                      <a:pt x="79" y="54"/>
                      <a:pt x="80" y="54"/>
                    </a:cubicBezTo>
                    <a:cubicBezTo>
                      <a:pt x="80" y="54"/>
                      <a:pt x="82" y="55"/>
                      <a:pt x="82" y="55"/>
                    </a:cubicBezTo>
                    <a:cubicBezTo>
                      <a:pt x="83" y="55"/>
                      <a:pt x="87" y="55"/>
                      <a:pt x="89" y="54"/>
                    </a:cubicBezTo>
                    <a:cubicBezTo>
                      <a:pt x="89" y="54"/>
                      <a:pt x="96" y="54"/>
                      <a:pt x="94" y="54"/>
                    </a:cubicBezTo>
                    <a:cubicBezTo>
                      <a:pt x="92" y="55"/>
                      <a:pt x="89" y="56"/>
                      <a:pt x="88" y="56"/>
                    </a:cubicBezTo>
                    <a:cubicBezTo>
                      <a:pt x="88" y="57"/>
                      <a:pt x="87" y="57"/>
                      <a:pt x="87" y="58"/>
                    </a:cubicBezTo>
                    <a:cubicBezTo>
                      <a:pt x="87" y="60"/>
                      <a:pt x="90" y="61"/>
                      <a:pt x="90" y="62"/>
                    </a:cubicBezTo>
                    <a:cubicBezTo>
                      <a:pt x="84" y="61"/>
                      <a:pt x="83" y="63"/>
                      <a:pt x="79" y="60"/>
                    </a:cubicBezTo>
                    <a:cubicBezTo>
                      <a:pt x="78" y="61"/>
                      <a:pt x="78" y="62"/>
                      <a:pt x="78" y="64"/>
                    </a:cubicBezTo>
                    <a:cubicBezTo>
                      <a:pt x="79" y="65"/>
                      <a:pt x="79" y="65"/>
                      <a:pt x="79" y="65"/>
                    </a:cubicBezTo>
                    <a:cubicBezTo>
                      <a:pt x="79" y="66"/>
                      <a:pt x="79" y="67"/>
                      <a:pt x="79" y="68"/>
                    </a:cubicBezTo>
                    <a:cubicBezTo>
                      <a:pt x="81" y="68"/>
                      <a:pt x="87" y="68"/>
                      <a:pt x="88" y="69"/>
                    </a:cubicBezTo>
                    <a:cubicBezTo>
                      <a:pt x="89" y="69"/>
                      <a:pt x="89" y="71"/>
                      <a:pt x="89" y="72"/>
                    </a:cubicBezTo>
                    <a:cubicBezTo>
                      <a:pt x="90" y="72"/>
                      <a:pt x="91" y="71"/>
                      <a:pt x="91" y="72"/>
                    </a:cubicBezTo>
                    <a:cubicBezTo>
                      <a:pt x="91" y="72"/>
                      <a:pt x="92" y="73"/>
                      <a:pt x="92" y="73"/>
                    </a:cubicBezTo>
                    <a:cubicBezTo>
                      <a:pt x="94" y="73"/>
                      <a:pt x="95" y="72"/>
                      <a:pt x="96" y="72"/>
                    </a:cubicBezTo>
                    <a:cubicBezTo>
                      <a:pt x="98" y="76"/>
                      <a:pt x="99" y="77"/>
                      <a:pt x="100" y="80"/>
                    </a:cubicBezTo>
                    <a:cubicBezTo>
                      <a:pt x="101" y="80"/>
                      <a:pt x="101" y="80"/>
                      <a:pt x="101" y="80"/>
                    </a:cubicBezTo>
                    <a:cubicBezTo>
                      <a:pt x="102" y="78"/>
                      <a:pt x="103" y="78"/>
                      <a:pt x="105" y="78"/>
                    </a:cubicBezTo>
                    <a:cubicBezTo>
                      <a:pt x="104" y="76"/>
                      <a:pt x="104" y="74"/>
                      <a:pt x="104" y="73"/>
                    </a:cubicBezTo>
                    <a:cubicBezTo>
                      <a:pt x="104" y="73"/>
                      <a:pt x="105" y="71"/>
                      <a:pt x="106" y="71"/>
                    </a:cubicBezTo>
                    <a:cubicBezTo>
                      <a:pt x="107" y="71"/>
                      <a:pt x="109" y="72"/>
                      <a:pt x="111" y="72"/>
                    </a:cubicBezTo>
                    <a:cubicBezTo>
                      <a:pt x="111" y="72"/>
                      <a:pt x="113" y="69"/>
                      <a:pt x="114" y="69"/>
                    </a:cubicBezTo>
                    <a:cubicBezTo>
                      <a:pt x="114" y="69"/>
                      <a:pt x="114" y="68"/>
                      <a:pt x="114" y="68"/>
                    </a:cubicBezTo>
                    <a:cubicBezTo>
                      <a:pt x="115" y="67"/>
                      <a:pt x="116" y="67"/>
                      <a:pt x="116" y="65"/>
                    </a:cubicBezTo>
                    <a:cubicBezTo>
                      <a:pt x="116" y="64"/>
                      <a:pt x="116" y="64"/>
                      <a:pt x="116" y="64"/>
                    </a:cubicBezTo>
                    <a:cubicBezTo>
                      <a:pt x="117" y="64"/>
                      <a:pt x="119" y="64"/>
                      <a:pt x="120" y="64"/>
                    </a:cubicBezTo>
                    <a:cubicBezTo>
                      <a:pt x="120" y="64"/>
                      <a:pt x="120" y="63"/>
                      <a:pt x="120" y="63"/>
                    </a:cubicBezTo>
                    <a:cubicBezTo>
                      <a:pt x="121" y="63"/>
                      <a:pt x="121" y="63"/>
                      <a:pt x="121" y="63"/>
                    </a:cubicBezTo>
                    <a:cubicBezTo>
                      <a:pt x="122" y="57"/>
                      <a:pt x="120" y="59"/>
                      <a:pt x="125" y="56"/>
                    </a:cubicBezTo>
                    <a:cubicBezTo>
                      <a:pt x="122" y="46"/>
                      <a:pt x="125" y="43"/>
                      <a:pt x="137" y="42"/>
                    </a:cubicBezTo>
                    <a:cubicBezTo>
                      <a:pt x="136" y="42"/>
                      <a:pt x="137" y="40"/>
                      <a:pt x="136" y="39"/>
                    </a:cubicBezTo>
                    <a:cubicBezTo>
                      <a:pt x="133" y="37"/>
                      <a:pt x="129" y="38"/>
                      <a:pt x="126" y="37"/>
                    </a:cubicBezTo>
                    <a:cubicBezTo>
                      <a:pt x="126" y="37"/>
                      <a:pt x="124" y="35"/>
                      <a:pt x="124" y="34"/>
                    </a:cubicBezTo>
                    <a:cubicBezTo>
                      <a:pt x="122" y="34"/>
                      <a:pt x="122" y="34"/>
                      <a:pt x="122" y="34"/>
                    </a:cubicBezTo>
                    <a:cubicBezTo>
                      <a:pt x="122" y="33"/>
                      <a:pt x="123" y="32"/>
                      <a:pt x="123" y="32"/>
                    </a:cubicBezTo>
                    <a:cubicBezTo>
                      <a:pt x="123" y="31"/>
                      <a:pt x="122" y="28"/>
                      <a:pt x="121" y="27"/>
                    </a:cubicBezTo>
                    <a:cubicBezTo>
                      <a:pt x="120" y="27"/>
                      <a:pt x="120" y="26"/>
                      <a:pt x="120" y="26"/>
                    </a:cubicBezTo>
                    <a:cubicBezTo>
                      <a:pt x="119" y="26"/>
                      <a:pt x="119" y="27"/>
                      <a:pt x="118" y="26"/>
                    </a:cubicBezTo>
                    <a:cubicBezTo>
                      <a:pt x="118" y="28"/>
                      <a:pt x="118" y="27"/>
                      <a:pt x="117" y="28"/>
                    </a:cubicBezTo>
                    <a:cubicBezTo>
                      <a:pt x="117" y="28"/>
                      <a:pt x="117" y="22"/>
                      <a:pt x="117" y="21"/>
                    </a:cubicBezTo>
                    <a:cubicBezTo>
                      <a:pt x="113" y="19"/>
                      <a:pt x="112" y="18"/>
                      <a:pt x="110" y="14"/>
                    </a:cubicBezTo>
                    <a:cubicBezTo>
                      <a:pt x="108" y="15"/>
                      <a:pt x="107" y="15"/>
                      <a:pt x="104" y="16"/>
                    </a:cubicBezTo>
                    <a:cubicBezTo>
                      <a:pt x="104" y="15"/>
                      <a:pt x="104" y="14"/>
                      <a:pt x="103" y="14"/>
                    </a:cubicBezTo>
                    <a:cubicBezTo>
                      <a:pt x="103" y="13"/>
                      <a:pt x="103" y="12"/>
                      <a:pt x="103" y="11"/>
                    </a:cubicBezTo>
                    <a:cubicBezTo>
                      <a:pt x="103" y="11"/>
                      <a:pt x="101" y="11"/>
                      <a:pt x="101" y="10"/>
                    </a:cubicBezTo>
                    <a:close/>
                    <a:moveTo>
                      <a:pt x="59" y="30"/>
                    </a:moveTo>
                    <a:cubicBezTo>
                      <a:pt x="60" y="32"/>
                      <a:pt x="59" y="34"/>
                      <a:pt x="60" y="36"/>
                    </a:cubicBezTo>
                    <a:cubicBezTo>
                      <a:pt x="60" y="37"/>
                      <a:pt x="62" y="38"/>
                      <a:pt x="63" y="39"/>
                    </a:cubicBezTo>
                    <a:cubicBezTo>
                      <a:pt x="63" y="39"/>
                      <a:pt x="62" y="41"/>
                      <a:pt x="63" y="41"/>
                    </a:cubicBezTo>
                    <a:cubicBezTo>
                      <a:pt x="64" y="42"/>
                      <a:pt x="65" y="41"/>
                      <a:pt x="66" y="42"/>
                    </a:cubicBezTo>
                    <a:cubicBezTo>
                      <a:pt x="65" y="41"/>
                      <a:pt x="66" y="40"/>
                      <a:pt x="65" y="40"/>
                    </a:cubicBezTo>
                    <a:cubicBezTo>
                      <a:pt x="64" y="39"/>
                      <a:pt x="63" y="37"/>
                      <a:pt x="63" y="35"/>
                    </a:cubicBezTo>
                    <a:cubicBezTo>
                      <a:pt x="62" y="35"/>
                      <a:pt x="61" y="34"/>
                      <a:pt x="61" y="34"/>
                    </a:cubicBezTo>
                    <a:cubicBezTo>
                      <a:pt x="60" y="32"/>
                      <a:pt x="61" y="31"/>
                      <a:pt x="61" y="30"/>
                    </a:cubicBezTo>
                    <a:lnTo>
                      <a:pt x="59" y="30"/>
                    </a:lnTo>
                    <a:close/>
                    <a:moveTo>
                      <a:pt x="209" y="34"/>
                    </a:moveTo>
                    <a:cubicBezTo>
                      <a:pt x="208" y="34"/>
                      <a:pt x="208" y="36"/>
                      <a:pt x="207" y="37"/>
                    </a:cubicBezTo>
                    <a:cubicBezTo>
                      <a:pt x="212" y="37"/>
                      <a:pt x="215" y="37"/>
                      <a:pt x="219" y="38"/>
                    </a:cubicBezTo>
                    <a:cubicBezTo>
                      <a:pt x="219" y="38"/>
                      <a:pt x="220" y="36"/>
                      <a:pt x="220" y="36"/>
                    </a:cubicBezTo>
                    <a:cubicBezTo>
                      <a:pt x="219" y="35"/>
                      <a:pt x="218" y="36"/>
                      <a:pt x="217" y="36"/>
                    </a:cubicBezTo>
                    <a:cubicBezTo>
                      <a:pt x="215" y="35"/>
                      <a:pt x="214" y="32"/>
                      <a:pt x="209" y="34"/>
                    </a:cubicBezTo>
                    <a:close/>
                    <a:moveTo>
                      <a:pt x="195" y="38"/>
                    </a:moveTo>
                    <a:cubicBezTo>
                      <a:pt x="195" y="39"/>
                      <a:pt x="194" y="40"/>
                      <a:pt x="194" y="40"/>
                    </a:cubicBezTo>
                    <a:cubicBezTo>
                      <a:pt x="195" y="41"/>
                      <a:pt x="195" y="42"/>
                      <a:pt x="196" y="42"/>
                    </a:cubicBezTo>
                    <a:cubicBezTo>
                      <a:pt x="196" y="42"/>
                      <a:pt x="199" y="43"/>
                      <a:pt x="198" y="42"/>
                    </a:cubicBezTo>
                    <a:cubicBezTo>
                      <a:pt x="196" y="41"/>
                      <a:pt x="197" y="40"/>
                      <a:pt x="196" y="38"/>
                    </a:cubicBezTo>
                    <a:lnTo>
                      <a:pt x="195" y="38"/>
                    </a:lnTo>
                    <a:close/>
                    <a:moveTo>
                      <a:pt x="135" y="45"/>
                    </a:moveTo>
                    <a:cubicBezTo>
                      <a:pt x="135" y="45"/>
                      <a:pt x="133" y="47"/>
                      <a:pt x="133" y="47"/>
                    </a:cubicBezTo>
                    <a:cubicBezTo>
                      <a:pt x="132" y="47"/>
                      <a:pt x="130" y="48"/>
                      <a:pt x="130" y="48"/>
                    </a:cubicBezTo>
                    <a:cubicBezTo>
                      <a:pt x="132" y="48"/>
                      <a:pt x="132" y="48"/>
                      <a:pt x="132" y="48"/>
                    </a:cubicBezTo>
                    <a:cubicBezTo>
                      <a:pt x="135" y="50"/>
                      <a:pt x="135" y="50"/>
                      <a:pt x="136" y="54"/>
                    </a:cubicBezTo>
                    <a:cubicBezTo>
                      <a:pt x="139" y="54"/>
                      <a:pt x="142" y="54"/>
                      <a:pt x="146" y="54"/>
                    </a:cubicBezTo>
                    <a:cubicBezTo>
                      <a:pt x="146" y="53"/>
                      <a:pt x="147" y="51"/>
                      <a:pt x="147" y="50"/>
                    </a:cubicBezTo>
                    <a:cubicBezTo>
                      <a:pt x="148" y="50"/>
                      <a:pt x="148" y="50"/>
                      <a:pt x="148" y="50"/>
                    </a:cubicBezTo>
                    <a:cubicBezTo>
                      <a:pt x="149" y="49"/>
                      <a:pt x="148" y="48"/>
                      <a:pt x="148" y="48"/>
                    </a:cubicBezTo>
                    <a:cubicBezTo>
                      <a:pt x="146" y="45"/>
                      <a:pt x="140" y="44"/>
                      <a:pt x="135" y="45"/>
                    </a:cubicBezTo>
                    <a:close/>
                    <a:moveTo>
                      <a:pt x="183" y="161"/>
                    </a:moveTo>
                    <a:cubicBezTo>
                      <a:pt x="182" y="162"/>
                      <a:pt x="181" y="163"/>
                      <a:pt x="181" y="163"/>
                    </a:cubicBezTo>
                    <a:cubicBezTo>
                      <a:pt x="181" y="163"/>
                      <a:pt x="181" y="165"/>
                      <a:pt x="181" y="165"/>
                    </a:cubicBezTo>
                    <a:cubicBezTo>
                      <a:pt x="181" y="165"/>
                      <a:pt x="182" y="167"/>
                      <a:pt x="182" y="167"/>
                    </a:cubicBezTo>
                    <a:cubicBezTo>
                      <a:pt x="182" y="167"/>
                      <a:pt x="183" y="165"/>
                      <a:pt x="183" y="165"/>
                    </a:cubicBezTo>
                    <a:cubicBezTo>
                      <a:pt x="184" y="166"/>
                      <a:pt x="184" y="166"/>
                      <a:pt x="186" y="166"/>
                    </a:cubicBezTo>
                    <a:cubicBezTo>
                      <a:pt x="187" y="165"/>
                      <a:pt x="187" y="165"/>
                      <a:pt x="187" y="165"/>
                    </a:cubicBezTo>
                    <a:cubicBezTo>
                      <a:pt x="187" y="165"/>
                      <a:pt x="185" y="165"/>
                      <a:pt x="185" y="165"/>
                    </a:cubicBezTo>
                    <a:cubicBezTo>
                      <a:pt x="184" y="163"/>
                      <a:pt x="185" y="163"/>
                      <a:pt x="186" y="163"/>
                    </a:cubicBezTo>
                    <a:cubicBezTo>
                      <a:pt x="185" y="162"/>
                      <a:pt x="183" y="161"/>
                      <a:pt x="183" y="161"/>
                    </a:cubicBezTo>
                    <a:close/>
                    <a:moveTo>
                      <a:pt x="155" y="163"/>
                    </a:moveTo>
                    <a:cubicBezTo>
                      <a:pt x="154" y="164"/>
                      <a:pt x="154" y="166"/>
                      <a:pt x="154" y="167"/>
                    </a:cubicBezTo>
                    <a:cubicBezTo>
                      <a:pt x="152" y="167"/>
                      <a:pt x="150" y="167"/>
                      <a:pt x="148" y="167"/>
                    </a:cubicBezTo>
                    <a:cubicBezTo>
                      <a:pt x="148" y="167"/>
                      <a:pt x="146" y="171"/>
                      <a:pt x="148" y="171"/>
                    </a:cubicBezTo>
                    <a:cubicBezTo>
                      <a:pt x="149" y="171"/>
                      <a:pt x="151" y="169"/>
                      <a:pt x="152" y="169"/>
                    </a:cubicBezTo>
                    <a:cubicBezTo>
                      <a:pt x="153" y="168"/>
                      <a:pt x="154" y="169"/>
                      <a:pt x="155" y="169"/>
                    </a:cubicBezTo>
                    <a:cubicBezTo>
                      <a:pt x="156" y="168"/>
                      <a:pt x="160" y="161"/>
                      <a:pt x="155" y="163"/>
                    </a:cubicBezTo>
                    <a:close/>
                    <a:moveTo>
                      <a:pt x="162" y="169"/>
                    </a:moveTo>
                    <a:cubicBezTo>
                      <a:pt x="162" y="171"/>
                      <a:pt x="162" y="171"/>
                      <a:pt x="162" y="171"/>
                    </a:cubicBezTo>
                    <a:cubicBezTo>
                      <a:pt x="160" y="171"/>
                      <a:pt x="159" y="170"/>
                      <a:pt x="158" y="170"/>
                    </a:cubicBezTo>
                    <a:cubicBezTo>
                      <a:pt x="159" y="174"/>
                      <a:pt x="156" y="172"/>
                      <a:pt x="160" y="175"/>
                    </a:cubicBezTo>
                    <a:cubicBezTo>
                      <a:pt x="160" y="176"/>
                      <a:pt x="160" y="176"/>
                      <a:pt x="160" y="176"/>
                    </a:cubicBezTo>
                    <a:cubicBezTo>
                      <a:pt x="161" y="175"/>
                      <a:pt x="166" y="170"/>
                      <a:pt x="162" y="169"/>
                    </a:cubicBezTo>
                    <a:close/>
                    <a:moveTo>
                      <a:pt x="124" y="177"/>
                    </a:moveTo>
                    <a:cubicBezTo>
                      <a:pt x="124" y="178"/>
                      <a:pt x="121" y="181"/>
                      <a:pt x="124" y="181"/>
                    </a:cubicBezTo>
                    <a:cubicBezTo>
                      <a:pt x="123" y="182"/>
                      <a:pt x="126" y="183"/>
                      <a:pt x="126" y="183"/>
                    </a:cubicBezTo>
                    <a:cubicBezTo>
                      <a:pt x="127" y="182"/>
                      <a:pt x="126" y="181"/>
                      <a:pt x="127" y="181"/>
                    </a:cubicBezTo>
                    <a:cubicBezTo>
                      <a:pt x="127" y="179"/>
                      <a:pt x="127" y="180"/>
                      <a:pt x="128" y="178"/>
                    </a:cubicBezTo>
                    <a:cubicBezTo>
                      <a:pt x="126" y="177"/>
                      <a:pt x="126" y="177"/>
                      <a:pt x="124" y="177"/>
                    </a:cubicBezTo>
                    <a:close/>
                    <a:moveTo>
                      <a:pt x="121" y="182"/>
                    </a:moveTo>
                    <a:cubicBezTo>
                      <a:pt x="120" y="182"/>
                      <a:pt x="120" y="182"/>
                      <a:pt x="118" y="183"/>
                    </a:cubicBezTo>
                    <a:cubicBezTo>
                      <a:pt x="118" y="183"/>
                      <a:pt x="119" y="185"/>
                      <a:pt x="118" y="185"/>
                    </a:cubicBezTo>
                    <a:cubicBezTo>
                      <a:pt x="117" y="184"/>
                      <a:pt x="118" y="187"/>
                      <a:pt x="118" y="187"/>
                    </a:cubicBezTo>
                    <a:cubicBezTo>
                      <a:pt x="118" y="187"/>
                      <a:pt x="120" y="188"/>
                      <a:pt x="120" y="188"/>
                    </a:cubicBezTo>
                    <a:cubicBezTo>
                      <a:pt x="124" y="185"/>
                      <a:pt x="122" y="186"/>
                      <a:pt x="123" y="182"/>
                    </a:cubicBezTo>
                    <a:cubicBezTo>
                      <a:pt x="123" y="182"/>
                      <a:pt x="121" y="182"/>
                      <a:pt x="121" y="182"/>
                    </a:cubicBezTo>
                    <a:close/>
                    <a:moveTo>
                      <a:pt x="114" y="189"/>
                    </a:moveTo>
                    <a:cubicBezTo>
                      <a:pt x="109" y="192"/>
                      <a:pt x="108" y="195"/>
                      <a:pt x="108" y="201"/>
                    </a:cubicBezTo>
                    <a:cubicBezTo>
                      <a:pt x="109" y="201"/>
                      <a:pt x="109" y="201"/>
                      <a:pt x="109" y="201"/>
                    </a:cubicBezTo>
                    <a:cubicBezTo>
                      <a:pt x="110" y="201"/>
                      <a:pt x="110" y="199"/>
                      <a:pt x="110" y="199"/>
                    </a:cubicBezTo>
                    <a:cubicBezTo>
                      <a:pt x="112" y="198"/>
                      <a:pt x="112" y="199"/>
                      <a:pt x="113" y="199"/>
                    </a:cubicBezTo>
                    <a:cubicBezTo>
                      <a:pt x="115" y="196"/>
                      <a:pt x="116" y="195"/>
                      <a:pt x="116" y="190"/>
                    </a:cubicBezTo>
                    <a:lnTo>
                      <a:pt x="114" y="189"/>
                    </a:lnTo>
                    <a:close/>
                    <a:moveTo>
                      <a:pt x="97" y="201"/>
                    </a:moveTo>
                    <a:cubicBezTo>
                      <a:pt x="95" y="206"/>
                      <a:pt x="94" y="208"/>
                      <a:pt x="92" y="213"/>
                    </a:cubicBezTo>
                    <a:cubicBezTo>
                      <a:pt x="93" y="213"/>
                      <a:pt x="94" y="211"/>
                      <a:pt x="94" y="211"/>
                    </a:cubicBezTo>
                    <a:cubicBezTo>
                      <a:pt x="95" y="211"/>
                      <a:pt x="94" y="214"/>
                      <a:pt x="94" y="214"/>
                    </a:cubicBezTo>
                    <a:cubicBezTo>
                      <a:pt x="95" y="214"/>
                      <a:pt x="96" y="214"/>
                      <a:pt x="96" y="214"/>
                    </a:cubicBezTo>
                    <a:cubicBezTo>
                      <a:pt x="96" y="214"/>
                      <a:pt x="96" y="212"/>
                      <a:pt x="96" y="212"/>
                    </a:cubicBezTo>
                    <a:cubicBezTo>
                      <a:pt x="97" y="212"/>
                      <a:pt x="99" y="212"/>
                      <a:pt x="98" y="213"/>
                    </a:cubicBezTo>
                    <a:cubicBezTo>
                      <a:pt x="101" y="210"/>
                      <a:pt x="103" y="209"/>
                      <a:pt x="105" y="206"/>
                    </a:cubicBezTo>
                    <a:cubicBezTo>
                      <a:pt x="104" y="203"/>
                      <a:pt x="104" y="203"/>
                      <a:pt x="104" y="203"/>
                    </a:cubicBezTo>
                    <a:cubicBezTo>
                      <a:pt x="103" y="203"/>
                      <a:pt x="102" y="203"/>
                      <a:pt x="101" y="203"/>
                    </a:cubicBezTo>
                    <a:cubicBezTo>
                      <a:pt x="101" y="205"/>
                      <a:pt x="101" y="205"/>
                      <a:pt x="101" y="205"/>
                    </a:cubicBezTo>
                    <a:cubicBezTo>
                      <a:pt x="100" y="205"/>
                      <a:pt x="99" y="205"/>
                      <a:pt x="98" y="205"/>
                    </a:cubicBezTo>
                    <a:cubicBezTo>
                      <a:pt x="98" y="204"/>
                      <a:pt x="99" y="202"/>
                      <a:pt x="98" y="201"/>
                    </a:cubicBezTo>
                    <a:lnTo>
                      <a:pt x="97" y="201"/>
                    </a:lnTo>
                    <a:close/>
                    <a:moveTo>
                      <a:pt x="167" y="163"/>
                    </a:moveTo>
                    <a:cubicBezTo>
                      <a:pt x="167" y="164"/>
                      <a:pt x="167" y="166"/>
                      <a:pt x="168" y="166"/>
                    </a:cubicBezTo>
                    <a:cubicBezTo>
                      <a:pt x="170" y="168"/>
                      <a:pt x="168" y="163"/>
                      <a:pt x="168" y="163"/>
                    </a:cubicBezTo>
                    <a:lnTo>
                      <a:pt x="167" y="163"/>
                    </a:lnTo>
                    <a:close/>
                    <a:moveTo>
                      <a:pt x="130" y="173"/>
                    </a:moveTo>
                    <a:cubicBezTo>
                      <a:pt x="131" y="174"/>
                      <a:pt x="130" y="175"/>
                      <a:pt x="131" y="177"/>
                    </a:cubicBezTo>
                    <a:cubicBezTo>
                      <a:pt x="136" y="177"/>
                      <a:pt x="130" y="173"/>
                      <a:pt x="130" y="173"/>
                    </a:cubicBezTo>
                    <a:close/>
                    <a:moveTo>
                      <a:pt x="152" y="173"/>
                    </a:moveTo>
                    <a:cubicBezTo>
                      <a:pt x="148" y="173"/>
                      <a:pt x="155" y="174"/>
                      <a:pt x="155" y="174"/>
                    </a:cubicBezTo>
                    <a:cubicBezTo>
                      <a:pt x="154" y="174"/>
                      <a:pt x="156" y="172"/>
                      <a:pt x="152" y="173"/>
                    </a:cubicBezTo>
                    <a:close/>
                    <a:moveTo>
                      <a:pt x="137" y="174"/>
                    </a:moveTo>
                    <a:cubicBezTo>
                      <a:pt x="137" y="175"/>
                      <a:pt x="137" y="175"/>
                      <a:pt x="137" y="175"/>
                    </a:cubicBezTo>
                    <a:cubicBezTo>
                      <a:pt x="136" y="175"/>
                      <a:pt x="137" y="177"/>
                      <a:pt x="138" y="177"/>
                    </a:cubicBezTo>
                    <a:cubicBezTo>
                      <a:pt x="138" y="177"/>
                      <a:pt x="139" y="173"/>
                      <a:pt x="137" y="174"/>
                    </a:cubicBezTo>
                    <a:close/>
                    <a:moveTo>
                      <a:pt x="105" y="195"/>
                    </a:moveTo>
                    <a:cubicBezTo>
                      <a:pt x="103" y="199"/>
                      <a:pt x="102" y="200"/>
                      <a:pt x="106" y="197"/>
                    </a:cubicBezTo>
                    <a:cubicBezTo>
                      <a:pt x="106" y="197"/>
                      <a:pt x="106" y="194"/>
                      <a:pt x="105" y="195"/>
                    </a:cubicBezTo>
                    <a:close/>
                    <a:moveTo>
                      <a:pt x="92" y="203"/>
                    </a:moveTo>
                    <a:cubicBezTo>
                      <a:pt x="91" y="203"/>
                      <a:pt x="90" y="204"/>
                      <a:pt x="90" y="205"/>
                    </a:cubicBezTo>
                    <a:cubicBezTo>
                      <a:pt x="88" y="206"/>
                      <a:pt x="92" y="205"/>
                      <a:pt x="93" y="206"/>
                    </a:cubicBezTo>
                    <a:cubicBezTo>
                      <a:pt x="93" y="204"/>
                      <a:pt x="94" y="202"/>
                      <a:pt x="92" y="203"/>
                    </a:cubicBezTo>
                    <a:close/>
                    <a:moveTo>
                      <a:pt x="89" y="210"/>
                    </a:moveTo>
                    <a:cubicBezTo>
                      <a:pt x="88" y="211"/>
                      <a:pt x="87" y="214"/>
                      <a:pt x="85" y="215"/>
                    </a:cubicBezTo>
                    <a:cubicBezTo>
                      <a:pt x="84" y="215"/>
                      <a:pt x="84" y="215"/>
                      <a:pt x="84" y="215"/>
                    </a:cubicBezTo>
                    <a:cubicBezTo>
                      <a:pt x="84" y="215"/>
                      <a:pt x="83" y="216"/>
                      <a:pt x="85" y="215"/>
                    </a:cubicBezTo>
                    <a:cubicBezTo>
                      <a:pt x="85" y="216"/>
                      <a:pt x="83" y="217"/>
                      <a:pt x="85" y="216"/>
                    </a:cubicBezTo>
                    <a:cubicBezTo>
                      <a:pt x="87" y="215"/>
                      <a:pt x="89" y="213"/>
                      <a:pt x="90" y="211"/>
                    </a:cubicBezTo>
                    <a:cubicBezTo>
                      <a:pt x="90" y="211"/>
                      <a:pt x="90" y="210"/>
                      <a:pt x="90" y="210"/>
                    </a:cubicBezTo>
                    <a:lnTo>
                      <a:pt x="89" y="210"/>
                    </a:lnTo>
                    <a:close/>
                    <a:moveTo>
                      <a:pt x="79" y="215"/>
                    </a:moveTo>
                    <a:cubicBezTo>
                      <a:pt x="79" y="217"/>
                      <a:pt x="79" y="217"/>
                      <a:pt x="79" y="217"/>
                    </a:cubicBezTo>
                    <a:cubicBezTo>
                      <a:pt x="77" y="216"/>
                      <a:pt x="79" y="218"/>
                      <a:pt x="81" y="218"/>
                    </a:cubicBezTo>
                    <a:cubicBezTo>
                      <a:pt x="82" y="218"/>
                      <a:pt x="81" y="216"/>
                      <a:pt x="81" y="216"/>
                    </a:cubicBezTo>
                    <a:lnTo>
                      <a:pt x="79" y="215"/>
                    </a:lnTo>
                    <a:close/>
                    <a:moveTo>
                      <a:pt x="87" y="249"/>
                    </a:moveTo>
                    <a:cubicBezTo>
                      <a:pt x="89" y="249"/>
                      <a:pt x="86" y="250"/>
                      <a:pt x="86" y="250"/>
                    </a:cubicBezTo>
                    <a:cubicBezTo>
                      <a:pt x="86" y="250"/>
                      <a:pt x="85" y="249"/>
                      <a:pt x="87" y="249"/>
                    </a:cubicBezTo>
                    <a:close/>
                    <a:moveTo>
                      <a:pt x="79" y="250"/>
                    </a:moveTo>
                    <a:cubicBezTo>
                      <a:pt x="78" y="250"/>
                      <a:pt x="78" y="251"/>
                      <a:pt x="80" y="252"/>
                    </a:cubicBezTo>
                    <a:cubicBezTo>
                      <a:pt x="80" y="251"/>
                      <a:pt x="80" y="250"/>
                      <a:pt x="79" y="250"/>
                    </a:cubicBezTo>
                    <a:close/>
                    <a:moveTo>
                      <a:pt x="38" y="280"/>
                    </a:moveTo>
                    <a:cubicBezTo>
                      <a:pt x="36" y="281"/>
                      <a:pt x="31" y="285"/>
                      <a:pt x="36" y="284"/>
                    </a:cubicBezTo>
                    <a:cubicBezTo>
                      <a:pt x="37" y="283"/>
                      <a:pt x="41" y="280"/>
                      <a:pt x="38" y="280"/>
                    </a:cubicBezTo>
                    <a:close/>
                    <a:moveTo>
                      <a:pt x="27" y="290"/>
                    </a:moveTo>
                    <a:cubicBezTo>
                      <a:pt x="27" y="292"/>
                      <a:pt x="27" y="292"/>
                      <a:pt x="27" y="292"/>
                    </a:cubicBezTo>
                    <a:cubicBezTo>
                      <a:pt x="29" y="292"/>
                      <a:pt x="27" y="291"/>
                      <a:pt x="27" y="290"/>
                    </a:cubicBezTo>
                    <a:close/>
                    <a:moveTo>
                      <a:pt x="35" y="292"/>
                    </a:moveTo>
                    <a:cubicBezTo>
                      <a:pt x="37" y="292"/>
                      <a:pt x="37" y="294"/>
                      <a:pt x="35" y="294"/>
                    </a:cubicBezTo>
                    <a:cubicBezTo>
                      <a:pt x="35" y="294"/>
                      <a:pt x="34" y="292"/>
                      <a:pt x="35" y="292"/>
                    </a:cubicBezTo>
                    <a:close/>
                    <a:moveTo>
                      <a:pt x="22" y="306"/>
                    </a:moveTo>
                    <a:cubicBezTo>
                      <a:pt x="21" y="306"/>
                      <a:pt x="23" y="306"/>
                      <a:pt x="23" y="306"/>
                    </a:cubicBezTo>
                    <a:cubicBezTo>
                      <a:pt x="23" y="307"/>
                      <a:pt x="23" y="307"/>
                      <a:pt x="23" y="308"/>
                    </a:cubicBezTo>
                    <a:cubicBezTo>
                      <a:pt x="22" y="308"/>
                      <a:pt x="22" y="309"/>
                      <a:pt x="21" y="309"/>
                    </a:cubicBezTo>
                    <a:cubicBezTo>
                      <a:pt x="21" y="308"/>
                      <a:pt x="21" y="305"/>
                      <a:pt x="22" y="306"/>
                    </a:cubicBezTo>
                    <a:close/>
                    <a:moveTo>
                      <a:pt x="8" y="337"/>
                    </a:moveTo>
                    <a:cubicBezTo>
                      <a:pt x="8" y="337"/>
                      <a:pt x="9" y="339"/>
                      <a:pt x="9" y="339"/>
                    </a:cubicBezTo>
                    <a:cubicBezTo>
                      <a:pt x="10" y="339"/>
                      <a:pt x="10" y="337"/>
                      <a:pt x="8" y="337"/>
                    </a:cubicBezTo>
                    <a:close/>
                    <a:moveTo>
                      <a:pt x="5" y="339"/>
                    </a:moveTo>
                    <a:cubicBezTo>
                      <a:pt x="5" y="340"/>
                      <a:pt x="5" y="340"/>
                      <a:pt x="5" y="340"/>
                    </a:cubicBezTo>
                    <a:cubicBezTo>
                      <a:pt x="6" y="340"/>
                      <a:pt x="6" y="340"/>
                      <a:pt x="6" y="340"/>
                    </a:cubicBezTo>
                    <a:cubicBezTo>
                      <a:pt x="5" y="340"/>
                      <a:pt x="7" y="339"/>
                      <a:pt x="5" y="339"/>
                    </a:cubicBezTo>
                    <a:close/>
                    <a:moveTo>
                      <a:pt x="5" y="342"/>
                    </a:moveTo>
                    <a:cubicBezTo>
                      <a:pt x="5" y="343"/>
                      <a:pt x="5" y="343"/>
                      <a:pt x="5" y="343"/>
                    </a:cubicBezTo>
                    <a:cubicBezTo>
                      <a:pt x="5" y="342"/>
                      <a:pt x="6" y="342"/>
                      <a:pt x="5" y="342"/>
                    </a:cubicBezTo>
                    <a:close/>
                    <a:moveTo>
                      <a:pt x="58" y="355"/>
                    </a:moveTo>
                    <a:cubicBezTo>
                      <a:pt x="58" y="355"/>
                      <a:pt x="58" y="354"/>
                      <a:pt x="60" y="355"/>
                    </a:cubicBezTo>
                    <a:cubicBezTo>
                      <a:pt x="62" y="356"/>
                      <a:pt x="62" y="352"/>
                      <a:pt x="62" y="350"/>
                    </a:cubicBezTo>
                    <a:cubicBezTo>
                      <a:pt x="62" y="348"/>
                      <a:pt x="60" y="347"/>
                      <a:pt x="60" y="345"/>
                    </a:cubicBezTo>
                    <a:cubicBezTo>
                      <a:pt x="60" y="342"/>
                      <a:pt x="58" y="343"/>
                      <a:pt x="61" y="342"/>
                    </a:cubicBezTo>
                    <a:cubicBezTo>
                      <a:pt x="63" y="341"/>
                      <a:pt x="61" y="339"/>
                      <a:pt x="63" y="338"/>
                    </a:cubicBezTo>
                    <a:cubicBezTo>
                      <a:pt x="65" y="337"/>
                      <a:pt x="65" y="336"/>
                      <a:pt x="63" y="334"/>
                    </a:cubicBezTo>
                    <a:cubicBezTo>
                      <a:pt x="61" y="332"/>
                      <a:pt x="63" y="331"/>
                      <a:pt x="63" y="329"/>
                    </a:cubicBezTo>
                    <a:cubicBezTo>
                      <a:pt x="63" y="327"/>
                      <a:pt x="64" y="323"/>
                      <a:pt x="64" y="323"/>
                    </a:cubicBezTo>
                    <a:cubicBezTo>
                      <a:pt x="64" y="323"/>
                      <a:pt x="64" y="324"/>
                      <a:pt x="66" y="322"/>
                    </a:cubicBezTo>
                    <a:cubicBezTo>
                      <a:pt x="68" y="321"/>
                      <a:pt x="67" y="320"/>
                      <a:pt x="67" y="317"/>
                    </a:cubicBezTo>
                    <a:cubicBezTo>
                      <a:pt x="67" y="313"/>
                      <a:pt x="66" y="312"/>
                      <a:pt x="65" y="312"/>
                    </a:cubicBezTo>
                    <a:cubicBezTo>
                      <a:pt x="64" y="312"/>
                      <a:pt x="63" y="310"/>
                      <a:pt x="65" y="308"/>
                    </a:cubicBezTo>
                    <a:cubicBezTo>
                      <a:pt x="66" y="305"/>
                      <a:pt x="65" y="302"/>
                      <a:pt x="65" y="300"/>
                    </a:cubicBezTo>
                    <a:cubicBezTo>
                      <a:pt x="65" y="298"/>
                      <a:pt x="65" y="294"/>
                      <a:pt x="65" y="293"/>
                    </a:cubicBezTo>
                    <a:cubicBezTo>
                      <a:pt x="66" y="291"/>
                      <a:pt x="65" y="289"/>
                      <a:pt x="64" y="287"/>
                    </a:cubicBezTo>
                    <a:cubicBezTo>
                      <a:pt x="63" y="285"/>
                      <a:pt x="69" y="283"/>
                      <a:pt x="69" y="281"/>
                    </a:cubicBezTo>
                    <a:cubicBezTo>
                      <a:pt x="69" y="278"/>
                      <a:pt x="73" y="275"/>
                      <a:pt x="73" y="273"/>
                    </a:cubicBezTo>
                    <a:cubicBezTo>
                      <a:pt x="73" y="271"/>
                      <a:pt x="78" y="268"/>
                      <a:pt x="80" y="267"/>
                    </a:cubicBezTo>
                    <a:cubicBezTo>
                      <a:pt x="82" y="266"/>
                      <a:pt x="84" y="271"/>
                      <a:pt x="86" y="272"/>
                    </a:cubicBezTo>
                    <a:cubicBezTo>
                      <a:pt x="88" y="273"/>
                      <a:pt x="88" y="269"/>
                      <a:pt x="89" y="266"/>
                    </a:cubicBezTo>
                    <a:cubicBezTo>
                      <a:pt x="90" y="263"/>
                      <a:pt x="88" y="259"/>
                      <a:pt x="88" y="257"/>
                    </a:cubicBezTo>
                    <a:cubicBezTo>
                      <a:pt x="88" y="256"/>
                      <a:pt x="92" y="255"/>
                      <a:pt x="94" y="253"/>
                    </a:cubicBezTo>
                    <a:cubicBezTo>
                      <a:pt x="96" y="252"/>
                      <a:pt x="98" y="244"/>
                      <a:pt x="98" y="242"/>
                    </a:cubicBezTo>
                    <a:cubicBezTo>
                      <a:pt x="98" y="240"/>
                      <a:pt x="99" y="236"/>
                      <a:pt x="101" y="236"/>
                    </a:cubicBezTo>
                    <a:cubicBezTo>
                      <a:pt x="103" y="236"/>
                      <a:pt x="104" y="236"/>
                      <a:pt x="104" y="234"/>
                    </a:cubicBezTo>
                    <a:cubicBezTo>
                      <a:pt x="104" y="232"/>
                      <a:pt x="107" y="231"/>
                      <a:pt x="108" y="230"/>
                    </a:cubicBezTo>
                    <a:cubicBezTo>
                      <a:pt x="110" y="228"/>
                      <a:pt x="111" y="228"/>
                      <a:pt x="111" y="226"/>
                    </a:cubicBezTo>
                    <a:cubicBezTo>
                      <a:pt x="111" y="223"/>
                      <a:pt x="112" y="221"/>
                      <a:pt x="113" y="219"/>
                    </a:cubicBezTo>
                    <a:cubicBezTo>
                      <a:pt x="114" y="217"/>
                      <a:pt x="116" y="215"/>
                      <a:pt x="116" y="215"/>
                    </a:cubicBezTo>
                    <a:cubicBezTo>
                      <a:pt x="116" y="215"/>
                      <a:pt x="125" y="223"/>
                      <a:pt x="123" y="220"/>
                    </a:cubicBezTo>
                    <a:cubicBezTo>
                      <a:pt x="121" y="219"/>
                      <a:pt x="124" y="217"/>
                      <a:pt x="123" y="215"/>
                    </a:cubicBezTo>
                    <a:cubicBezTo>
                      <a:pt x="122" y="213"/>
                      <a:pt x="125" y="214"/>
                      <a:pt x="126" y="213"/>
                    </a:cubicBezTo>
                    <a:cubicBezTo>
                      <a:pt x="126" y="212"/>
                      <a:pt x="130" y="214"/>
                      <a:pt x="132" y="214"/>
                    </a:cubicBezTo>
                    <a:cubicBezTo>
                      <a:pt x="133" y="215"/>
                      <a:pt x="135" y="210"/>
                      <a:pt x="135" y="210"/>
                    </a:cubicBezTo>
                    <a:cubicBezTo>
                      <a:pt x="136" y="205"/>
                      <a:pt x="136" y="205"/>
                      <a:pt x="136" y="205"/>
                    </a:cubicBezTo>
                    <a:cubicBezTo>
                      <a:pt x="134" y="202"/>
                      <a:pt x="134" y="202"/>
                      <a:pt x="134" y="202"/>
                    </a:cubicBezTo>
                    <a:cubicBezTo>
                      <a:pt x="138" y="197"/>
                      <a:pt x="138" y="197"/>
                      <a:pt x="138" y="197"/>
                    </a:cubicBezTo>
                    <a:cubicBezTo>
                      <a:pt x="140" y="196"/>
                      <a:pt x="140" y="196"/>
                      <a:pt x="140" y="196"/>
                    </a:cubicBezTo>
                    <a:cubicBezTo>
                      <a:pt x="141" y="194"/>
                      <a:pt x="141" y="194"/>
                      <a:pt x="141" y="194"/>
                    </a:cubicBezTo>
                    <a:cubicBezTo>
                      <a:pt x="142" y="192"/>
                      <a:pt x="147" y="196"/>
                      <a:pt x="147" y="196"/>
                    </a:cubicBezTo>
                    <a:cubicBezTo>
                      <a:pt x="150" y="202"/>
                      <a:pt x="150" y="202"/>
                      <a:pt x="150" y="202"/>
                    </a:cubicBezTo>
                    <a:cubicBezTo>
                      <a:pt x="150" y="202"/>
                      <a:pt x="156" y="203"/>
                      <a:pt x="158" y="204"/>
                    </a:cubicBezTo>
                    <a:cubicBezTo>
                      <a:pt x="163" y="206"/>
                      <a:pt x="163" y="203"/>
                      <a:pt x="165" y="203"/>
                    </a:cubicBezTo>
                    <a:cubicBezTo>
                      <a:pt x="168" y="203"/>
                      <a:pt x="172" y="207"/>
                      <a:pt x="172" y="207"/>
                    </a:cubicBezTo>
                    <a:cubicBezTo>
                      <a:pt x="172" y="207"/>
                      <a:pt x="178" y="207"/>
                      <a:pt x="179" y="204"/>
                    </a:cubicBezTo>
                    <a:cubicBezTo>
                      <a:pt x="181" y="200"/>
                      <a:pt x="183" y="203"/>
                      <a:pt x="184" y="200"/>
                    </a:cubicBezTo>
                    <a:cubicBezTo>
                      <a:pt x="185" y="197"/>
                      <a:pt x="184" y="199"/>
                      <a:pt x="184" y="197"/>
                    </a:cubicBezTo>
                    <a:cubicBezTo>
                      <a:pt x="184" y="195"/>
                      <a:pt x="184" y="196"/>
                      <a:pt x="184" y="194"/>
                    </a:cubicBezTo>
                    <a:cubicBezTo>
                      <a:pt x="185" y="192"/>
                      <a:pt x="184" y="188"/>
                      <a:pt x="186" y="187"/>
                    </a:cubicBezTo>
                    <a:cubicBezTo>
                      <a:pt x="188" y="187"/>
                      <a:pt x="191" y="186"/>
                      <a:pt x="191" y="186"/>
                    </a:cubicBezTo>
                    <a:cubicBezTo>
                      <a:pt x="191" y="186"/>
                      <a:pt x="196" y="184"/>
                      <a:pt x="198" y="183"/>
                    </a:cubicBezTo>
                    <a:cubicBezTo>
                      <a:pt x="200" y="182"/>
                      <a:pt x="203" y="184"/>
                      <a:pt x="203" y="184"/>
                    </a:cubicBezTo>
                    <a:cubicBezTo>
                      <a:pt x="203" y="184"/>
                      <a:pt x="207" y="188"/>
                      <a:pt x="209" y="189"/>
                    </a:cubicBezTo>
                    <a:cubicBezTo>
                      <a:pt x="213" y="190"/>
                      <a:pt x="207" y="197"/>
                      <a:pt x="207" y="197"/>
                    </a:cubicBezTo>
                    <a:cubicBezTo>
                      <a:pt x="206" y="200"/>
                      <a:pt x="211" y="198"/>
                      <a:pt x="211" y="198"/>
                    </a:cubicBezTo>
                    <a:cubicBezTo>
                      <a:pt x="214" y="194"/>
                      <a:pt x="214" y="194"/>
                      <a:pt x="214" y="194"/>
                    </a:cubicBezTo>
                    <a:cubicBezTo>
                      <a:pt x="214" y="194"/>
                      <a:pt x="215" y="193"/>
                      <a:pt x="217" y="192"/>
                    </a:cubicBezTo>
                    <a:cubicBezTo>
                      <a:pt x="218" y="190"/>
                      <a:pt x="218" y="190"/>
                      <a:pt x="220" y="189"/>
                    </a:cubicBezTo>
                    <a:cubicBezTo>
                      <a:pt x="222" y="188"/>
                      <a:pt x="221" y="189"/>
                      <a:pt x="221" y="189"/>
                    </a:cubicBezTo>
                    <a:cubicBezTo>
                      <a:pt x="221" y="189"/>
                      <a:pt x="225" y="188"/>
                      <a:pt x="225" y="186"/>
                    </a:cubicBezTo>
                    <a:cubicBezTo>
                      <a:pt x="225" y="186"/>
                      <a:pt x="225" y="183"/>
                      <a:pt x="227" y="186"/>
                    </a:cubicBezTo>
                    <a:cubicBezTo>
                      <a:pt x="227" y="187"/>
                      <a:pt x="233" y="188"/>
                      <a:pt x="232" y="184"/>
                    </a:cubicBezTo>
                    <a:cubicBezTo>
                      <a:pt x="231" y="183"/>
                      <a:pt x="229" y="183"/>
                      <a:pt x="228" y="183"/>
                    </a:cubicBezTo>
                    <a:cubicBezTo>
                      <a:pt x="228" y="183"/>
                      <a:pt x="225" y="183"/>
                      <a:pt x="225" y="183"/>
                    </a:cubicBezTo>
                    <a:cubicBezTo>
                      <a:pt x="224" y="185"/>
                      <a:pt x="224" y="185"/>
                      <a:pt x="223" y="186"/>
                    </a:cubicBezTo>
                    <a:cubicBezTo>
                      <a:pt x="222" y="185"/>
                      <a:pt x="222" y="184"/>
                      <a:pt x="221" y="184"/>
                    </a:cubicBezTo>
                    <a:cubicBezTo>
                      <a:pt x="221" y="185"/>
                      <a:pt x="221" y="186"/>
                      <a:pt x="220" y="187"/>
                    </a:cubicBezTo>
                    <a:cubicBezTo>
                      <a:pt x="219" y="187"/>
                      <a:pt x="218" y="187"/>
                      <a:pt x="217" y="187"/>
                    </a:cubicBezTo>
                    <a:cubicBezTo>
                      <a:pt x="216" y="187"/>
                      <a:pt x="217" y="185"/>
                      <a:pt x="217" y="185"/>
                    </a:cubicBezTo>
                    <a:cubicBezTo>
                      <a:pt x="217" y="184"/>
                      <a:pt x="215" y="183"/>
                      <a:pt x="215" y="182"/>
                    </a:cubicBezTo>
                    <a:cubicBezTo>
                      <a:pt x="218" y="182"/>
                      <a:pt x="220" y="183"/>
                      <a:pt x="222" y="181"/>
                    </a:cubicBezTo>
                    <a:cubicBezTo>
                      <a:pt x="223" y="181"/>
                      <a:pt x="223" y="179"/>
                      <a:pt x="223" y="179"/>
                    </a:cubicBezTo>
                    <a:cubicBezTo>
                      <a:pt x="225" y="178"/>
                      <a:pt x="227" y="179"/>
                      <a:pt x="229" y="179"/>
                    </a:cubicBezTo>
                    <a:cubicBezTo>
                      <a:pt x="226" y="173"/>
                      <a:pt x="228" y="174"/>
                      <a:pt x="221" y="174"/>
                    </a:cubicBezTo>
                    <a:cubicBezTo>
                      <a:pt x="224" y="168"/>
                      <a:pt x="222" y="169"/>
                      <a:pt x="218" y="172"/>
                    </a:cubicBezTo>
                    <a:cubicBezTo>
                      <a:pt x="217" y="171"/>
                      <a:pt x="216" y="167"/>
                      <a:pt x="215" y="166"/>
                    </a:cubicBezTo>
                    <a:cubicBezTo>
                      <a:pt x="215" y="166"/>
                      <a:pt x="213" y="166"/>
                      <a:pt x="213" y="165"/>
                    </a:cubicBezTo>
                    <a:cubicBezTo>
                      <a:pt x="211" y="170"/>
                      <a:pt x="211" y="169"/>
                      <a:pt x="212" y="173"/>
                    </a:cubicBezTo>
                    <a:cubicBezTo>
                      <a:pt x="211" y="174"/>
                      <a:pt x="210" y="175"/>
                      <a:pt x="209" y="175"/>
                    </a:cubicBezTo>
                    <a:cubicBezTo>
                      <a:pt x="206" y="173"/>
                      <a:pt x="212" y="168"/>
                      <a:pt x="209" y="169"/>
                    </a:cubicBezTo>
                    <a:cubicBezTo>
                      <a:pt x="209" y="169"/>
                      <a:pt x="208" y="170"/>
                      <a:pt x="207" y="170"/>
                    </a:cubicBezTo>
                    <a:cubicBezTo>
                      <a:pt x="208" y="171"/>
                      <a:pt x="207" y="171"/>
                      <a:pt x="206" y="171"/>
                    </a:cubicBezTo>
                    <a:cubicBezTo>
                      <a:pt x="206" y="169"/>
                      <a:pt x="206" y="168"/>
                      <a:pt x="205" y="167"/>
                    </a:cubicBezTo>
                    <a:cubicBezTo>
                      <a:pt x="207" y="167"/>
                      <a:pt x="211" y="166"/>
                      <a:pt x="208" y="165"/>
                    </a:cubicBezTo>
                    <a:cubicBezTo>
                      <a:pt x="208" y="165"/>
                      <a:pt x="208" y="162"/>
                      <a:pt x="208" y="162"/>
                    </a:cubicBezTo>
                    <a:cubicBezTo>
                      <a:pt x="208" y="162"/>
                      <a:pt x="204" y="162"/>
                      <a:pt x="205" y="162"/>
                    </a:cubicBezTo>
                    <a:cubicBezTo>
                      <a:pt x="204" y="161"/>
                      <a:pt x="204" y="161"/>
                      <a:pt x="204" y="161"/>
                    </a:cubicBezTo>
                    <a:cubicBezTo>
                      <a:pt x="203" y="160"/>
                      <a:pt x="202" y="161"/>
                      <a:pt x="201" y="161"/>
                    </a:cubicBezTo>
                    <a:cubicBezTo>
                      <a:pt x="201" y="162"/>
                      <a:pt x="202" y="163"/>
                      <a:pt x="201" y="164"/>
                    </a:cubicBezTo>
                    <a:cubicBezTo>
                      <a:pt x="201" y="164"/>
                      <a:pt x="201" y="164"/>
                      <a:pt x="201" y="164"/>
                    </a:cubicBezTo>
                    <a:cubicBezTo>
                      <a:pt x="200" y="164"/>
                      <a:pt x="200" y="164"/>
                      <a:pt x="199" y="165"/>
                    </a:cubicBezTo>
                    <a:cubicBezTo>
                      <a:pt x="199" y="165"/>
                      <a:pt x="199" y="167"/>
                      <a:pt x="199" y="167"/>
                    </a:cubicBezTo>
                    <a:cubicBezTo>
                      <a:pt x="199" y="167"/>
                      <a:pt x="200" y="168"/>
                      <a:pt x="200" y="169"/>
                    </a:cubicBezTo>
                    <a:cubicBezTo>
                      <a:pt x="199" y="169"/>
                      <a:pt x="198" y="169"/>
                      <a:pt x="198" y="170"/>
                    </a:cubicBezTo>
                    <a:cubicBezTo>
                      <a:pt x="196" y="171"/>
                      <a:pt x="197" y="172"/>
                      <a:pt x="196" y="174"/>
                    </a:cubicBezTo>
                    <a:cubicBezTo>
                      <a:pt x="196" y="174"/>
                      <a:pt x="192" y="176"/>
                      <a:pt x="192" y="177"/>
                    </a:cubicBezTo>
                    <a:cubicBezTo>
                      <a:pt x="192" y="177"/>
                      <a:pt x="192" y="178"/>
                      <a:pt x="192" y="179"/>
                    </a:cubicBezTo>
                    <a:cubicBezTo>
                      <a:pt x="191" y="179"/>
                      <a:pt x="192" y="174"/>
                      <a:pt x="192" y="174"/>
                    </a:cubicBezTo>
                    <a:cubicBezTo>
                      <a:pt x="192" y="173"/>
                      <a:pt x="192" y="173"/>
                      <a:pt x="192" y="173"/>
                    </a:cubicBezTo>
                    <a:cubicBezTo>
                      <a:pt x="191" y="178"/>
                      <a:pt x="193" y="174"/>
                      <a:pt x="193" y="174"/>
                    </a:cubicBezTo>
                    <a:cubicBezTo>
                      <a:pt x="193" y="173"/>
                      <a:pt x="192" y="172"/>
                      <a:pt x="192" y="171"/>
                    </a:cubicBezTo>
                    <a:cubicBezTo>
                      <a:pt x="192" y="171"/>
                      <a:pt x="194" y="169"/>
                      <a:pt x="194" y="169"/>
                    </a:cubicBezTo>
                    <a:cubicBezTo>
                      <a:pt x="194" y="167"/>
                      <a:pt x="193" y="168"/>
                      <a:pt x="194" y="166"/>
                    </a:cubicBezTo>
                    <a:cubicBezTo>
                      <a:pt x="192" y="166"/>
                      <a:pt x="192" y="166"/>
                      <a:pt x="192" y="166"/>
                    </a:cubicBezTo>
                    <a:cubicBezTo>
                      <a:pt x="192" y="166"/>
                      <a:pt x="192" y="168"/>
                      <a:pt x="192" y="168"/>
                    </a:cubicBezTo>
                    <a:cubicBezTo>
                      <a:pt x="191" y="168"/>
                      <a:pt x="191" y="168"/>
                      <a:pt x="191" y="168"/>
                    </a:cubicBezTo>
                    <a:cubicBezTo>
                      <a:pt x="191" y="169"/>
                      <a:pt x="190" y="171"/>
                      <a:pt x="190" y="171"/>
                    </a:cubicBezTo>
                    <a:cubicBezTo>
                      <a:pt x="188" y="171"/>
                      <a:pt x="188" y="171"/>
                      <a:pt x="188" y="171"/>
                    </a:cubicBezTo>
                    <a:cubicBezTo>
                      <a:pt x="187" y="173"/>
                      <a:pt x="187" y="175"/>
                      <a:pt x="186" y="177"/>
                    </a:cubicBezTo>
                    <a:cubicBezTo>
                      <a:pt x="186" y="178"/>
                      <a:pt x="184" y="178"/>
                      <a:pt x="183" y="179"/>
                    </a:cubicBezTo>
                    <a:cubicBezTo>
                      <a:pt x="182" y="180"/>
                      <a:pt x="183" y="181"/>
                      <a:pt x="182" y="183"/>
                    </a:cubicBezTo>
                    <a:cubicBezTo>
                      <a:pt x="182" y="183"/>
                      <a:pt x="181" y="184"/>
                      <a:pt x="180" y="185"/>
                    </a:cubicBezTo>
                    <a:cubicBezTo>
                      <a:pt x="179" y="185"/>
                      <a:pt x="179" y="185"/>
                      <a:pt x="178" y="185"/>
                    </a:cubicBezTo>
                    <a:cubicBezTo>
                      <a:pt x="178" y="184"/>
                      <a:pt x="180" y="178"/>
                      <a:pt x="180" y="177"/>
                    </a:cubicBezTo>
                    <a:cubicBezTo>
                      <a:pt x="181" y="176"/>
                      <a:pt x="184" y="176"/>
                      <a:pt x="184" y="175"/>
                    </a:cubicBezTo>
                    <a:cubicBezTo>
                      <a:pt x="185" y="174"/>
                      <a:pt x="185" y="171"/>
                      <a:pt x="185" y="171"/>
                    </a:cubicBezTo>
                    <a:cubicBezTo>
                      <a:pt x="183" y="170"/>
                      <a:pt x="184" y="170"/>
                      <a:pt x="182" y="171"/>
                    </a:cubicBezTo>
                    <a:cubicBezTo>
                      <a:pt x="182" y="171"/>
                      <a:pt x="182" y="169"/>
                      <a:pt x="182" y="169"/>
                    </a:cubicBezTo>
                    <a:cubicBezTo>
                      <a:pt x="180" y="168"/>
                      <a:pt x="181" y="170"/>
                      <a:pt x="180" y="170"/>
                    </a:cubicBezTo>
                    <a:cubicBezTo>
                      <a:pt x="179" y="171"/>
                      <a:pt x="176" y="167"/>
                      <a:pt x="175" y="167"/>
                    </a:cubicBezTo>
                    <a:cubicBezTo>
                      <a:pt x="175" y="167"/>
                      <a:pt x="174" y="167"/>
                      <a:pt x="174" y="167"/>
                    </a:cubicBezTo>
                    <a:cubicBezTo>
                      <a:pt x="174" y="170"/>
                      <a:pt x="174" y="171"/>
                      <a:pt x="174" y="173"/>
                    </a:cubicBezTo>
                    <a:cubicBezTo>
                      <a:pt x="174" y="173"/>
                      <a:pt x="174" y="173"/>
                      <a:pt x="174" y="173"/>
                    </a:cubicBezTo>
                    <a:cubicBezTo>
                      <a:pt x="174" y="173"/>
                      <a:pt x="173" y="174"/>
                      <a:pt x="174" y="174"/>
                    </a:cubicBezTo>
                    <a:cubicBezTo>
                      <a:pt x="175" y="174"/>
                      <a:pt x="172" y="175"/>
                      <a:pt x="172" y="175"/>
                    </a:cubicBezTo>
                    <a:cubicBezTo>
                      <a:pt x="171" y="174"/>
                      <a:pt x="171" y="171"/>
                      <a:pt x="171" y="171"/>
                    </a:cubicBezTo>
                    <a:cubicBezTo>
                      <a:pt x="170" y="171"/>
                      <a:pt x="169" y="171"/>
                      <a:pt x="168" y="171"/>
                    </a:cubicBezTo>
                    <a:cubicBezTo>
                      <a:pt x="168" y="172"/>
                      <a:pt x="169" y="171"/>
                      <a:pt x="169" y="173"/>
                    </a:cubicBezTo>
                    <a:cubicBezTo>
                      <a:pt x="169" y="174"/>
                      <a:pt x="164" y="178"/>
                      <a:pt x="164" y="178"/>
                    </a:cubicBezTo>
                    <a:cubicBezTo>
                      <a:pt x="163" y="178"/>
                      <a:pt x="162" y="178"/>
                      <a:pt x="162" y="178"/>
                    </a:cubicBezTo>
                    <a:cubicBezTo>
                      <a:pt x="161" y="178"/>
                      <a:pt x="161" y="181"/>
                      <a:pt x="160" y="181"/>
                    </a:cubicBezTo>
                    <a:cubicBezTo>
                      <a:pt x="158" y="181"/>
                      <a:pt x="155" y="180"/>
                      <a:pt x="154" y="178"/>
                    </a:cubicBezTo>
                    <a:cubicBezTo>
                      <a:pt x="154" y="178"/>
                      <a:pt x="155" y="176"/>
                      <a:pt x="154" y="176"/>
                    </a:cubicBezTo>
                    <a:cubicBezTo>
                      <a:pt x="153" y="175"/>
                      <a:pt x="152" y="177"/>
                      <a:pt x="151" y="177"/>
                    </a:cubicBezTo>
                    <a:cubicBezTo>
                      <a:pt x="150" y="176"/>
                      <a:pt x="150" y="174"/>
                      <a:pt x="148" y="174"/>
                    </a:cubicBezTo>
                    <a:cubicBezTo>
                      <a:pt x="147" y="174"/>
                      <a:pt x="147" y="175"/>
                      <a:pt x="147" y="176"/>
                    </a:cubicBezTo>
                    <a:cubicBezTo>
                      <a:pt x="146" y="176"/>
                      <a:pt x="144" y="176"/>
                      <a:pt x="144" y="176"/>
                    </a:cubicBezTo>
                    <a:cubicBezTo>
                      <a:pt x="144" y="176"/>
                      <a:pt x="144" y="178"/>
                      <a:pt x="144" y="178"/>
                    </a:cubicBezTo>
                    <a:cubicBezTo>
                      <a:pt x="145" y="178"/>
                      <a:pt x="145" y="179"/>
                      <a:pt x="145" y="179"/>
                    </a:cubicBezTo>
                    <a:cubicBezTo>
                      <a:pt x="147" y="180"/>
                      <a:pt x="147" y="177"/>
                      <a:pt x="149" y="180"/>
                    </a:cubicBezTo>
                    <a:cubicBezTo>
                      <a:pt x="149" y="181"/>
                      <a:pt x="150" y="183"/>
                      <a:pt x="150" y="183"/>
                    </a:cubicBezTo>
                    <a:cubicBezTo>
                      <a:pt x="151" y="184"/>
                      <a:pt x="150" y="185"/>
                      <a:pt x="149" y="185"/>
                    </a:cubicBezTo>
                    <a:cubicBezTo>
                      <a:pt x="148" y="184"/>
                      <a:pt x="147" y="182"/>
                      <a:pt x="146" y="181"/>
                    </a:cubicBezTo>
                    <a:cubicBezTo>
                      <a:pt x="145" y="181"/>
                      <a:pt x="144" y="181"/>
                      <a:pt x="143" y="181"/>
                    </a:cubicBezTo>
                    <a:cubicBezTo>
                      <a:pt x="143" y="181"/>
                      <a:pt x="142" y="182"/>
                      <a:pt x="142" y="182"/>
                    </a:cubicBezTo>
                    <a:cubicBezTo>
                      <a:pt x="143" y="183"/>
                      <a:pt x="143" y="182"/>
                      <a:pt x="144" y="183"/>
                    </a:cubicBezTo>
                    <a:cubicBezTo>
                      <a:pt x="145" y="182"/>
                      <a:pt x="144" y="184"/>
                      <a:pt x="144" y="184"/>
                    </a:cubicBezTo>
                    <a:cubicBezTo>
                      <a:pt x="145" y="184"/>
                      <a:pt x="144" y="186"/>
                      <a:pt x="143" y="187"/>
                    </a:cubicBezTo>
                    <a:cubicBezTo>
                      <a:pt x="142" y="187"/>
                      <a:pt x="142" y="186"/>
                      <a:pt x="141" y="187"/>
                    </a:cubicBezTo>
                    <a:cubicBezTo>
                      <a:pt x="141" y="186"/>
                      <a:pt x="141" y="181"/>
                      <a:pt x="140" y="181"/>
                    </a:cubicBezTo>
                    <a:cubicBezTo>
                      <a:pt x="140" y="181"/>
                      <a:pt x="139" y="183"/>
                      <a:pt x="140" y="183"/>
                    </a:cubicBezTo>
                    <a:cubicBezTo>
                      <a:pt x="139" y="183"/>
                      <a:pt x="139" y="183"/>
                      <a:pt x="139" y="183"/>
                    </a:cubicBezTo>
                    <a:cubicBezTo>
                      <a:pt x="139" y="183"/>
                      <a:pt x="139" y="185"/>
                      <a:pt x="139" y="185"/>
                    </a:cubicBezTo>
                    <a:cubicBezTo>
                      <a:pt x="139" y="186"/>
                      <a:pt x="137" y="186"/>
                      <a:pt x="137" y="187"/>
                    </a:cubicBezTo>
                    <a:cubicBezTo>
                      <a:pt x="137" y="188"/>
                      <a:pt x="137" y="188"/>
                      <a:pt x="137" y="188"/>
                    </a:cubicBezTo>
                    <a:cubicBezTo>
                      <a:pt x="136" y="188"/>
                      <a:pt x="137" y="183"/>
                      <a:pt x="137" y="183"/>
                    </a:cubicBezTo>
                    <a:cubicBezTo>
                      <a:pt x="135" y="182"/>
                      <a:pt x="135" y="182"/>
                      <a:pt x="135" y="182"/>
                    </a:cubicBezTo>
                    <a:cubicBezTo>
                      <a:pt x="133" y="185"/>
                      <a:pt x="132" y="187"/>
                      <a:pt x="130" y="189"/>
                    </a:cubicBezTo>
                    <a:cubicBezTo>
                      <a:pt x="129" y="189"/>
                      <a:pt x="129" y="188"/>
                      <a:pt x="128" y="189"/>
                    </a:cubicBezTo>
                    <a:cubicBezTo>
                      <a:pt x="128" y="187"/>
                      <a:pt x="129" y="186"/>
                      <a:pt x="128" y="185"/>
                    </a:cubicBezTo>
                    <a:cubicBezTo>
                      <a:pt x="128" y="185"/>
                      <a:pt x="127" y="186"/>
                      <a:pt x="126" y="185"/>
                    </a:cubicBezTo>
                    <a:cubicBezTo>
                      <a:pt x="125" y="187"/>
                      <a:pt x="124" y="187"/>
                      <a:pt x="124" y="190"/>
                    </a:cubicBezTo>
                    <a:cubicBezTo>
                      <a:pt x="124" y="190"/>
                      <a:pt x="126" y="190"/>
                      <a:pt x="126" y="191"/>
                    </a:cubicBezTo>
                    <a:cubicBezTo>
                      <a:pt x="126" y="192"/>
                      <a:pt x="127" y="196"/>
                      <a:pt x="126" y="196"/>
                    </a:cubicBezTo>
                    <a:cubicBezTo>
                      <a:pt x="125" y="194"/>
                      <a:pt x="125" y="193"/>
                      <a:pt x="124" y="192"/>
                    </a:cubicBezTo>
                    <a:cubicBezTo>
                      <a:pt x="121" y="190"/>
                      <a:pt x="121" y="193"/>
                      <a:pt x="123" y="194"/>
                    </a:cubicBezTo>
                    <a:cubicBezTo>
                      <a:pt x="125" y="193"/>
                      <a:pt x="122" y="196"/>
                      <a:pt x="122" y="196"/>
                    </a:cubicBezTo>
                    <a:cubicBezTo>
                      <a:pt x="122" y="196"/>
                      <a:pt x="121" y="196"/>
                      <a:pt x="122" y="195"/>
                    </a:cubicBezTo>
                    <a:cubicBezTo>
                      <a:pt x="121" y="195"/>
                      <a:pt x="120" y="195"/>
                      <a:pt x="120" y="195"/>
                    </a:cubicBezTo>
                    <a:cubicBezTo>
                      <a:pt x="119" y="194"/>
                      <a:pt x="120" y="194"/>
                      <a:pt x="118" y="193"/>
                    </a:cubicBezTo>
                    <a:cubicBezTo>
                      <a:pt x="118" y="194"/>
                      <a:pt x="118" y="197"/>
                      <a:pt x="118" y="199"/>
                    </a:cubicBezTo>
                    <a:cubicBezTo>
                      <a:pt x="115" y="199"/>
                      <a:pt x="115" y="199"/>
                      <a:pt x="115" y="199"/>
                    </a:cubicBezTo>
                    <a:cubicBezTo>
                      <a:pt x="115" y="201"/>
                      <a:pt x="115" y="202"/>
                      <a:pt x="114" y="204"/>
                    </a:cubicBezTo>
                    <a:cubicBezTo>
                      <a:pt x="113" y="205"/>
                      <a:pt x="113" y="205"/>
                      <a:pt x="113" y="205"/>
                    </a:cubicBezTo>
                    <a:cubicBezTo>
                      <a:pt x="114" y="205"/>
                      <a:pt x="114" y="209"/>
                      <a:pt x="113" y="209"/>
                    </a:cubicBezTo>
                    <a:cubicBezTo>
                      <a:pt x="113" y="210"/>
                      <a:pt x="112" y="209"/>
                      <a:pt x="111" y="209"/>
                    </a:cubicBezTo>
                    <a:cubicBezTo>
                      <a:pt x="110" y="211"/>
                      <a:pt x="110" y="211"/>
                      <a:pt x="110" y="211"/>
                    </a:cubicBezTo>
                    <a:cubicBezTo>
                      <a:pt x="109" y="211"/>
                      <a:pt x="107" y="211"/>
                      <a:pt x="106" y="211"/>
                    </a:cubicBezTo>
                    <a:cubicBezTo>
                      <a:pt x="105" y="211"/>
                      <a:pt x="105" y="213"/>
                      <a:pt x="104" y="213"/>
                    </a:cubicBezTo>
                    <a:cubicBezTo>
                      <a:pt x="104" y="214"/>
                      <a:pt x="104" y="215"/>
                      <a:pt x="104" y="215"/>
                    </a:cubicBezTo>
                    <a:cubicBezTo>
                      <a:pt x="105" y="215"/>
                      <a:pt x="107" y="216"/>
                      <a:pt x="109" y="215"/>
                    </a:cubicBezTo>
                    <a:cubicBezTo>
                      <a:pt x="110" y="215"/>
                      <a:pt x="110" y="213"/>
                      <a:pt x="112" y="213"/>
                    </a:cubicBezTo>
                    <a:cubicBezTo>
                      <a:pt x="113" y="213"/>
                      <a:pt x="112" y="215"/>
                      <a:pt x="112" y="215"/>
                    </a:cubicBezTo>
                    <a:cubicBezTo>
                      <a:pt x="106" y="216"/>
                      <a:pt x="107" y="216"/>
                      <a:pt x="107" y="223"/>
                    </a:cubicBezTo>
                    <a:cubicBezTo>
                      <a:pt x="104" y="218"/>
                      <a:pt x="104" y="218"/>
                      <a:pt x="98" y="219"/>
                    </a:cubicBezTo>
                    <a:cubicBezTo>
                      <a:pt x="98" y="220"/>
                      <a:pt x="98" y="220"/>
                      <a:pt x="98" y="220"/>
                    </a:cubicBezTo>
                    <a:cubicBezTo>
                      <a:pt x="100" y="220"/>
                      <a:pt x="100" y="220"/>
                      <a:pt x="100" y="220"/>
                    </a:cubicBezTo>
                    <a:cubicBezTo>
                      <a:pt x="100" y="220"/>
                      <a:pt x="101" y="220"/>
                      <a:pt x="102" y="220"/>
                    </a:cubicBezTo>
                    <a:cubicBezTo>
                      <a:pt x="102" y="221"/>
                      <a:pt x="102" y="221"/>
                      <a:pt x="102" y="221"/>
                    </a:cubicBezTo>
                    <a:cubicBezTo>
                      <a:pt x="99" y="221"/>
                      <a:pt x="101" y="222"/>
                      <a:pt x="100" y="223"/>
                    </a:cubicBezTo>
                    <a:cubicBezTo>
                      <a:pt x="101" y="223"/>
                      <a:pt x="102" y="222"/>
                      <a:pt x="103" y="223"/>
                    </a:cubicBezTo>
                    <a:cubicBezTo>
                      <a:pt x="103" y="224"/>
                      <a:pt x="100" y="228"/>
                      <a:pt x="104" y="227"/>
                    </a:cubicBezTo>
                    <a:cubicBezTo>
                      <a:pt x="104" y="227"/>
                      <a:pt x="104" y="228"/>
                      <a:pt x="104" y="229"/>
                    </a:cubicBezTo>
                    <a:cubicBezTo>
                      <a:pt x="102" y="229"/>
                      <a:pt x="100" y="229"/>
                      <a:pt x="98" y="229"/>
                    </a:cubicBezTo>
                    <a:cubicBezTo>
                      <a:pt x="97" y="231"/>
                      <a:pt x="96" y="232"/>
                      <a:pt x="98" y="233"/>
                    </a:cubicBezTo>
                    <a:cubicBezTo>
                      <a:pt x="98" y="234"/>
                      <a:pt x="98" y="234"/>
                      <a:pt x="98" y="234"/>
                    </a:cubicBezTo>
                    <a:cubicBezTo>
                      <a:pt x="97" y="235"/>
                      <a:pt x="96" y="234"/>
                      <a:pt x="95" y="234"/>
                    </a:cubicBezTo>
                    <a:cubicBezTo>
                      <a:pt x="94" y="235"/>
                      <a:pt x="94" y="237"/>
                      <a:pt x="93" y="238"/>
                    </a:cubicBezTo>
                    <a:cubicBezTo>
                      <a:pt x="92" y="238"/>
                      <a:pt x="90" y="237"/>
                      <a:pt x="88" y="238"/>
                    </a:cubicBezTo>
                    <a:cubicBezTo>
                      <a:pt x="87" y="238"/>
                      <a:pt x="88" y="240"/>
                      <a:pt x="88" y="240"/>
                    </a:cubicBezTo>
                    <a:cubicBezTo>
                      <a:pt x="86" y="241"/>
                      <a:pt x="84" y="242"/>
                      <a:pt x="82" y="243"/>
                    </a:cubicBezTo>
                    <a:cubicBezTo>
                      <a:pt x="82" y="243"/>
                      <a:pt x="82" y="245"/>
                      <a:pt x="82" y="245"/>
                    </a:cubicBezTo>
                    <a:cubicBezTo>
                      <a:pt x="85" y="245"/>
                      <a:pt x="84" y="247"/>
                      <a:pt x="82" y="246"/>
                    </a:cubicBezTo>
                    <a:cubicBezTo>
                      <a:pt x="83" y="249"/>
                      <a:pt x="82" y="249"/>
                      <a:pt x="83" y="251"/>
                    </a:cubicBezTo>
                    <a:cubicBezTo>
                      <a:pt x="83" y="251"/>
                      <a:pt x="78" y="255"/>
                      <a:pt x="78" y="255"/>
                    </a:cubicBezTo>
                    <a:cubicBezTo>
                      <a:pt x="77" y="255"/>
                      <a:pt x="76" y="255"/>
                      <a:pt x="75" y="255"/>
                    </a:cubicBezTo>
                    <a:cubicBezTo>
                      <a:pt x="75" y="255"/>
                      <a:pt x="75" y="257"/>
                      <a:pt x="75" y="257"/>
                    </a:cubicBezTo>
                    <a:cubicBezTo>
                      <a:pt x="74" y="258"/>
                      <a:pt x="72" y="257"/>
                      <a:pt x="71" y="257"/>
                    </a:cubicBezTo>
                    <a:cubicBezTo>
                      <a:pt x="71" y="257"/>
                      <a:pt x="70" y="259"/>
                      <a:pt x="69" y="259"/>
                    </a:cubicBezTo>
                    <a:cubicBezTo>
                      <a:pt x="70" y="260"/>
                      <a:pt x="73" y="264"/>
                      <a:pt x="70" y="265"/>
                    </a:cubicBezTo>
                    <a:cubicBezTo>
                      <a:pt x="68" y="265"/>
                      <a:pt x="66" y="264"/>
                      <a:pt x="65" y="264"/>
                    </a:cubicBezTo>
                    <a:cubicBezTo>
                      <a:pt x="62" y="264"/>
                      <a:pt x="64" y="267"/>
                      <a:pt x="64" y="267"/>
                    </a:cubicBezTo>
                    <a:cubicBezTo>
                      <a:pt x="63" y="268"/>
                      <a:pt x="62" y="267"/>
                      <a:pt x="61" y="268"/>
                    </a:cubicBezTo>
                    <a:cubicBezTo>
                      <a:pt x="61" y="268"/>
                      <a:pt x="61" y="270"/>
                      <a:pt x="61" y="270"/>
                    </a:cubicBezTo>
                    <a:cubicBezTo>
                      <a:pt x="59" y="270"/>
                      <a:pt x="59" y="268"/>
                      <a:pt x="58" y="269"/>
                    </a:cubicBezTo>
                    <a:cubicBezTo>
                      <a:pt x="57" y="270"/>
                      <a:pt x="58" y="271"/>
                      <a:pt x="57" y="272"/>
                    </a:cubicBezTo>
                    <a:cubicBezTo>
                      <a:pt x="57" y="272"/>
                      <a:pt x="54" y="275"/>
                      <a:pt x="53" y="275"/>
                    </a:cubicBezTo>
                    <a:cubicBezTo>
                      <a:pt x="52" y="276"/>
                      <a:pt x="52" y="278"/>
                      <a:pt x="51" y="279"/>
                    </a:cubicBezTo>
                    <a:cubicBezTo>
                      <a:pt x="51" y="280"/>
                      <a:pt x="51" y="280"/>
                      <a:pt x="51" y="280"/>
                    </a:cubicBezTo>
                    <a:cubicBezTo>
                      <a:pt x="50" y="280"/>
                      <a:pt x="49" y="279"/>
                      <a:pt x="48" y="280"/>
                    </a:cubicBezTo>
                    <a:cubicBezTo>
                      <a:pt x="48" y="282"/>
                      <a:pt x="49" y="282"/>
                      <a:pt x="49" y="284"/>
                    </a:cubicBezTo>
                    <a:cubicBezTo>
                      <a:pt x="54" y="282"/>
                      <a:pt x="57" y="280"/>
                      <a:pt x="61" y="277"/>
                    </a:cubicBezTo>
                    <a:cubicBezTo>
                      <a:pt x="60" y="278"/>
                      <a:pt x="60" y="279"/>
                      <a:pt x="59" y="280"/>
                    </a:cubicBezTo>
                    <a:cubicBezTo>
                      <a:pt x="58" y="282"/>
                      <a:pt x="55" y="282"/>
                      <a:pt x="54" y="284"/>
                    </a:cubicBezTo>
                    <a:cubicBezTo>
                      <a:pt x="53" y="285"/>
                      <a:pt x="54" y="286"/>
                      <a:pt x="53" y="287"/>
                    </a:cubicBezTo>
                    <a:cubicBezTo>
                      <a:pt x="51" y="287"/>
                      <a:pt x="49" y="287"/>
                      <a:pt x="47" y="286"/>
                    </a:cubicBezTo>
                    <a:cubicBezTo>
                      <a:pt x="47" y="285"/>
                      <a:pt x="47" y="284"/>
                      <a:pt x="47" y="283"/>
                    </a:cubicBezTo>
                    <a:cubicBezTo>
                      <a:pt x="47" y="283"/>
                      <a:pt x="46" y="282"/>
                      <a:pt x="45" y="282"/>
                    </a:cubicBezTo>
                    <a:cubicBezTo>
                      <a:pt x="42" y="284"/>
                      <a:pt x="43" y="285"/>
                      <a:pt x="38" y="283"/>
                    </a:cubicBezTo>
                    <a:cubicBezTo>
                      <a:pt x="38" y="287"/>
                      <a:pt x="38" y="287"/>
                      <a:pt x="38" y="287"/>
                    </a:cubicBezTo>
                    <a:cubicBezTo>
                      <a:pt x="39" y="286"/>
                      <a:pt x="38" y="289"/>
                      <a:pt x="38" y="289"/>
                    </a:cubicBezTo>
                    <a:cubicBezTo>
                      <a:pt x="37" y="289"/>
                      <a:pt x="35" y="288"/>
                      <a:pt x="35" y="289"/>
                    </a:cubicBezTo>
                    <a:cubicBezTo>
                      <a:pt x="33" y="290"/>
                      <a:pt x="36" y="293"/>
                      <a:pt x="33" y="292"/>
                    </a:cubicBezTo>
                    <a:cubicBezTo>
                      <a:pt x="33" y="291"/>
                      <a:pt x="33" y="291"/>
                      <a:pt x="32" y="291"/>
                    </a:cubicBezTo>
                    <a:cubicBezTo>
                      <a:pt x="32" y="291"/>
                      <a:pt x="32" y="294"/>
                      <a:pt x="32" y="294"/>
                    </a:cubicBezTo>
                    <a:cubicBezTo>
                      <a:pt x="31" y="295"/>
                      <a:pt x="31" y="293"/>
                      <a:pt x="31" y="293"/>
                    </a:cubicBezTo>
                    <a:cubicBezTo>
                      <a:pt x="30" y="293"/>
                      <a:pt x="24" y="293"/>
                      <a:pt x="23" y="293"/>
                    </a:cubicBezTo>
                    <a:cubicBezTo>
                      <a:pt x="23" y="293"/>
                      <a:pt x="23" y="295"/>
                      <a:pt x="23" y="296"/>
                    </a:cubicBezTo>
                    <a:cubicBezTo>
                      <a:pt x="24" y="296"/>
                      <a:pt x="25" y="296"/>
                      <a:pt x="25" y="296"/>
                    </a:cubicBezTo>
                    <a:cubicBezTo>
                      <a:pt x="25" y="297"/>
                      <a:pt x="26" y="296"/>
                      <a:pt x="26" y="298"/>
                    </a:cubicBezTo>
                    <a:cubicBezTo>
                      <a:pt x="26" y="298"/>
                      <a:pt x="23" y="300"/>
                      <a:pt x="23" y="300"/>
                    </a:cubicBezTo>
                    <a:cubicBezTo>
                      <a:pt x="23" y="300"/>
                      <a:pt x="24" y="301"/>
                      <a:pt x="23" y="302"/>
                    </a:cubicBezTo>
                    <a:cubicBezTo>
                      <a:pt x="23" y="301"/>
                      <a:pt x="22" y="300"/>
                      <a:pt x="22" y="300"/>
                    </a:cubicBezTo>
                    <a:cubicBezTo>
                      <a:pt x="21" y="300"/>
                      <a:pt x="18" y="300"/>
                      <a:pt x="17" y="300"/>
                    </a:cubicBezTo>
                    <a:cubicBezTo>
                      <a:pt x="18" y="301"/>
                      <a:pt x="16" y="304"/>
                      <a:pt x="16" y="304"/>
                    </a:cubicBezTo>
                    <a:cubicBezTo>
                      <a:pt x="19" y="304"/>
                      <a:pt x="26" y="304"/>
                      <a:pt x="19" y="306"/>
                    </a:cubicBezTo>
                    <a:cubicBezTo>
                      <a:pt x="17" y="307"/>
                      <a:pt x="18" y="306"/>
                      <a:pt x="18" y="308"/>
                    </a:cubicBezTo>
                    <a:cubicBezTo>
                      <a:pt x="17" y="307"/>
                      <a:pt x="17" y="305"/>
                      <a:pt x="15" y="306"/>
                    </a:cubicBezTo>
                    <a:cubicBezTo>
                      <a:pt x="15" y="306"/>
                      <a:pt x="15" y="308"/>
                      <a:pt x="15" y="308"/>
                    </a:cubicBezTo>
                    <a:cubicBezTo>
                      <a:pt x="12" y="307"/>
                      <a:pt x="12" y="308"/>
                      <a:pt x="9" y="308"/>
                    </a:cubicBezTo>
                    <a:cubicBezTo>
                      <a:pt x="9" y="308"/>
                      <a:pt x="8" y="309"/>
                      <a:pt x="8" y="309"/>
                    </a:cubicBezTo>
                    <a:cubicBezTo>
                      <a:pt x="7" y="309"/>
                      <a:pt x="7" y="308"/>
                      <a:pt x="6" y="308"/>
                    </a:cubicBezTo>
                    <a:cubicBezTo>
                      <a:pt x="6" y="308"/>
                      <a:pt x="6" y="311"/>
                      <a:pt x="6" y="311"/>
                    </a:cubicBezTo>
                    <a:cubicBezTo>
                      <a:pt x="9" y="311"/>
                      <a:pt x="10" y="311"/>
                      <a:pt x="13" y="312"/>
                    </a:cubicBezTo>
                    <a:cubicBezTo>
                      <a:pt x="12" y="312"/>
                      <a:pt x="15" y="312"/>
                      <a:pt x="15" y="312"/>
                    </a:cubicBezTo>
                    <a:cubicBezTo>
                      <a:pt x="15" y="312"/>
                      <a:pt x="14" y="313"/>
                      <a:pt x="14" y="314"/>
                    </a:cubicBezTo>
                    <a:cubicBezTo>
                      <a:pt x="10" y="313"/>
                      <a:pt x="6" y="313"/>
                      <a:pt x="3" y="314"/>
                    </a:cubicBezTo>
                    <a:cubicBezTo>
                      <a:pt x="4" y="317"/>
                      <a:pt x="4" y="318"/>
                      <a:pt x="3" y="321"/>
                    </a:cubicBezTo>
                    <a:cubicBezTo>
                      <a:pt x="4" y="321"/>
                      <a:pt x="5" y="321"/>
                      <a:pt x="5" y="321"/>
                    </a:cubicBezTo>
                    <a:cubicBezTo>
                      <a:pt x="7" y="320"/>
                      <a:pt x="6" y="318"/>
                      <a:pt x="9" y="320"/>
                    </a:cubicBezTo>
                    <a:cubicBezTo>
                      <a:pt x="9" y="320"/>
                      <a:pt x="10" y="321"/>
                      <a:pt x="11" y="322"/>
                    </a:cubicBezTo>
                    <a:cubicBezTo>
                      <a:pt x="11" y="321"/>
                      <a:pt x="13" y="322"/>
                      <a:pt x="13" y="322"/>
                    </a:cubicBezTo>
                    <a:cubicBezTo>
                      <a:pt x="13" y="321"/>
                      <a:pt x="13" y="320"/>
                      <a:pt x="13" y="319"/>
                    </a:cubicBezTo>
                    <a:cubicBezTo>
                      <a:pt x="14" y="319"/>
                      <a:pt x="14" y="318"/>
                      <a:pt x="15" y="318"/>
                    </a:cubicBezTo>
                    <a:cubicBezTo>
                      <a:pt x="15" y="319"/>
                      <a:pt x="16" y="320"/>
                      <a:pt x="16" y="320"/>
                    </a:cubicBezTo>
                    <a:cubicBezTo>
                      <a:pt x="17" y="320"/>
                      <a:pt x="17" y="319"/>
                      <a:pt x="19" y="320"/>
                    </a:cubicBezTo>
                    <a:cubicBezTo>
                      <a:pt x="19" y="320"/>
                      <a:pt x="19" y="321"/>
                      <a:pt x="20" y="322"/>
                    </a:cubicBezTo>
                    <a:cubicBezTo>
                      <a:pt x="21" y="321"/>
                      <a:pt x="20" y="320"/>
                      <a:pt x="22" y="320"/>
                    </a:cubicBezTo>
                    <a:cubicBezTo>
                      <a:pt x="22" y="320"/>
                      <a:pt x="22" y="321"/>
                      <a:pt x="22" y="322"/>
                    </a:cubicBezTo>
                    <a:cubicBezTo>
                      <a:pt x="21" y="322"/>
                      <a:pt x="20" y="322"/>
                      <a:pt x="19" y="322"/>
                    </a:cubicBezTo>
                    <a:cubicBezTo>
                      <a:pt x="18" y="324"/>
                      <a:pt x="18" y="324"/>
                      <a:pt x="18" y="324"/>
                    </a:cubicBezTo>
                    <a:cubicBezTo>
                      <a:pt x="16" y="324"/>
                      <a:pt x="17" y="322"/>
                      <a:pt x="16" y="322"/>
                    </a:cubicBezTo>
                    <a:cubicBezTo>
                      <a:pt x="16" y="322"/>
                      <a:pt x="7" y="322"/>
                      <a:pt x="6" y="322"/>
                    </a:cubicBezTo>
                    <a:cubicBezTo>
                      <a:pt x="5" y="324"/>
                      <a:pt x="5" y="324"/>
                      <a:pt x="5" y="324"/>
                    </a:cubicBezTo>
                    <a:cubicBezTo>
                      <a:pt x="3" y="324"/>
                      <a:pt x="4" y="323"/>
                      <a:pt x="3" y="323"/>
                    </a:cubicBezTo>
                    <a:cubicBezTo>
                      <a:pt x="3" y="324"/>
                      <a:pt x="3" y="324"/>
                      <a:pt x="3" y="324"/>
                    </a:cubicBezTo>
                    <a:cubicBezTo>
                      <a:pt x="4" y="325"/>
                      <a:pt x="6" y="325"/>
                      <a:pt x="7" y="326"/>
                    </a:cubicBezTo>
                    <a:cubicBezTo>
                      <a:pt x="7" y="326"/>
                      <a:pt x="8" y="327"/>
                      <a:pt x="7" y="326"/>
                    </a:cubicBezTo>
                    <a:cubicBezTo>
                      <a:pt x="7" y="326"/>
                      <a:pt x="7" y="328"/>
                      <a:pt x="7" y="328"/>
                    </a:cubicBezTo>
                    <a:cubicBezTo>
                      <a:pt x="6" y="328"/>
                      <a:pt x="4" y="328"/>
                      <a:pt x="4" y="328"/>
                    </a:cubicBezTo>
                    <a:cubicBezTo>
                      <a:pt x="3" y="329"/>
                      <a:pt x="5" y="330"/>
                      <a:pt x="5" y="330"/>
                    </a:cubicBezTo>
                    <a:cubicBezTo>
                      <a:pt x="0" y="331"/>
                      <a:pt x="5" y="330"/>
                      <a:pt x="3" y="332"/>
                    </a:cubicBezTo>
                    <a:cubicBezTo>
                      <a:pt x="4" y="331"/>
                      <a:pt x="5" y="332"/>
                      <a:pt x="7" y="332"/>
                    </a:cubicBezTo>
                    <a:cubicBezTo>
                      <a:pt x="7" y="332"/>
                      <a:pt x="7" y="331"/>
                      <a:pt x="7" y="331"/>
                    </a:cubicBezTo>
                    <a:cubicBezTo>
                      <a:pt x="8" y="331"/>
                      <a:pt x="10" y="331"/>
                      <a:pt x="9" y="332"/>
                    </a:cubicBezTo>
                    <a:cubicBezTo>
                      <a:pt x="10" y="331"/>
                      <a:pt x="10" y="333"/>
                      <a:pt x="7" y="333"/>
                    </a:cubicBezTo>
                    <a:cubicBezTo>
                      <a:pt x="7" y="333"/>
                      <a:pt x="7" y="335"/>
                      <a:pt x="7" y="335"/>
                    </a:cubicBezTo>
                    <a:cubicBezTo>
                      <a:pt x="9" y="335"/>
                      <a:pt x="9" y="334"/>
                      <a:pt x="11" y="334"/>
                    </a:cubicBezTo>
                    <a:cubicBezTo>
                      <a:pt x="11" y="335"/>
                      <a:pt x="11" y="336"/>
                      <a:pt x="11" y="337"/>
                    </a:cubicBezTo>
                    <a:cubicBezTo>
                      <a:pt x="13" y="337"/>
                      <a:pt x="13" y="337"/>
                      <a:pt x="13" y="337"/>
                    </a:cubicBezTo>
                    <a:cubicBezTo>
                      <a:pt x="14" y="336"/>
                      <a:pt x="14" y="333"/>
                      <a:pt x="17" y="332"/>
                    </a:cubicBezTo>
                    <a:cubicBezTo>
                      <a:pt x="18" y="331"/>
                      <a:pt x="20" y="331"/>
                      <a:pt x="21" y="331"/>
                    </a:cubicBezTo>
                    <a:cubicBezTo>
                      <a:pt x="22" y="331"/>
                      <a:pt x="20" y="332"/>
                      <a:pt x="19" y="334"/>
                    </a:cubicBezTo>
                    <a:cubicBezTo>
                      <a:pt x="19" y="334"/>
                      <a:pt x="17" y="333"/>
                      <a:pt x="17" y="334"/>
                    </a:cubicBezTo>
                    <a:cubicBezTo>
                      <a:pt x="16" y="334"/>
                      <a:pt x="17" y="335"/>
                      <a:pt x="16" y="337"/>
                    </a:cubicBezTo>
                    <a:cubicBezTo>
                      <a:pt x="15" y="338"/>
                      <a:pt x="15" y="338"/>
                      <a:pt x="15" y="338"/>
                    </a:cubicBezTo>
                    <a:cubicBezTo>
                      <a:pt x="14" y="338"/>
                      <a:pt x="13" y="339"/>
                      <a:pt x="13" y="340"/>
                    </a:cubicBezTo>
                    <a:cubicBezTo>
                      <a:pt x="13" y="340"/>
                      <a:pt x="14" y="342"/>
                      <a:pt x="13" y="342"/>
                    </a:cubicBezTo>
                    <a:cubicBezTo>
                      <a:pt x="12" y="344"/>
                      <a:pt x="8" y="343"/>
                      <a:pt x="7" y="344"/>
                    </a:cubicBezTo>
                    <a:cubicBezTo>
                      <a:pt x="6" y="345"/>
                      <a:pt x="6" y="347"/>
                      <a:pt x="5" y="348"/>
                    </a:cubicBezTo>
                    <a:cubicBezTo>
                      <a:pt x="6" y="348"/>
                      <a:pt x="8" y="348"/>
                      <a:pt x="9" y="348"/>
                    </a:cubicBezTo>
                    <a:cubicBezTo>
                      <a:pt x="11" y="349"/>
                      <a:pt x="7" y="350"/>
                      <a:pt x="10" y="350"/>
                    </a:cubicBezTo>
                    <a:cubicBezTo>
                      <a:pt x="10" y="349"/>
                      <a:pt x="10" y="348"/>
                      <a:pt x="10" y="348"/>
                    </a:cubicBezTo>
                    <a:cubicBezTo>
                      <a:pt x="12" y="348"/>
                      <a:pt x="12" y="347"/>
                      <a:pt x="14" y="348"/>
                    </a:cubicBezTo>
                    <a:cubicBezTo>
                      <a:pt x="14" y="347"/>
                      <a:pt x="14" y="346"/>
                      <a:pt x="15" y="346"/>
                    </a:cubicBezTo>
                    <a:cubicBezTo>
                      <a:pt x="16" y="345"/>
                      <a:pt x="15" y="348"/>
                      <a:pt x="14" y="348"/>
                    </a:cubicBezTo>
                    <a:cubicBezTo>
                      <a:pt x="16" y="349"/>
                      <a:pt x="13" y="355"/>
                      <a:pt x="13" y="356"/>
                    </a:cubicBezTo>
                    <a:cubicBezTo>
                      <a:pt x="12" y="357"/>
                      <a:pt x="11" y="356"/>
                      <a:pt x="10" y="357"/>
                    </a:cubicBezTo>
                    <a:cubicBezTo>
                      <a:pt x="10" y="358"/>
                      <a:pt x="10" y="360"/>
                      <a:pt x="10" y="361"/>
                    </a:cubicBezTo>
                    <a:cubicBezTo>
                      <a:pt x="12" y="362"/>
                      <a:pt x="15" y="367"/>
                      <a:pt x="19" y="365"/>
                    </a:cubicBezTo>
                    <a:cubicBezTo>
                      <a:pt x="20" y="365"/>
                      <a:pt x="19" y="364"/>
                      <a:pt x="21" y="364"/>
                    </a:cubicBezTo>
                    <a:cubicBezTo>
                      <a:pt x="20" y="367"/>
                      <a:pt x="20" y="367"/>
                      <a:pt x="20" y="367"/>
                    </a:cubicBezTo>
                    <a:cubicBezTo>
                      <a:pt x="22" y="367"/>
                      <a:pt x="25" y="368"/>
                      <a:pt x="27" y="367"/>
                    </a:cubicBezTo>
                    <a:cubicBezTo>
                      <a:pt x="27" y="367"/>
                      <a:pt x="28" y="365"/>
                      <a:pt x="29" y="365"/>
                    </a:cubicBezTo>
                    <a:cubicBezTo>
                      <a:pt x="30" y="365"/>
                      <a:pt x="31" y="365"/>
                      <a:pt x="32" y="365"/>
                    </a:cubicBezTo>
                    <a:cubicBezTo>
                      <a:pt x="33" y="364"/>
                      <a:pt x="34" y="362"/>
                      <a:pt x="35" y="362"/>
                    </a:cubicBezTo>
                    <a:cubicBezTo>
                      <a:pt x="36" y="361"/>
                      <a:pt x="38" y="362"/>
                      <a:pt x="39" y="361"/>
                    </a:cubicBezTo>
                    <a:cubicBezTo>
                      <a:pt x="40" y="360"/>
                      <a:pt x="42" y="357"/>
                      <a:pt x="43" y="357"/>
                    </a:cubicBezTo>
                    <a:cubicBezTo>
                      <a:pt x="44" y="356"/>
                      <a:pt x="46" y="357"/>
                      <a:pt x="47" y="357"/>
                    </a:cubicBezTo>
                    <a:cubicBezTo>
                      <a:pt x="50" y="356"/>
                      <a:pt x="53" y="352"/>
                      <a:pt x="56" y="351"/>
                    </a:cubicBezTo>
                    <a:cubicBezTo>
                      <a:pt x="56" y="351"/>
                      <a:pt x="58" y="351"/>
                      <a:pt x="58" y="351"/>
                    </a:cubicBezTo>
                    <a:cubicBezTo>
                      <a:pt x="58" y="352"/>
                      <a:pt x="58" y="353"/>
                      <a:pt x="58" y="355"/>
                    </a:cubicBezTo>
                    <a:close/>
                    <a:moveTo>
                      <a:pt x="134" y="1"/>
                    </a:moveTo>
                    <a:cubicBezTo>
                      <a:pt x="134" y="1"/>
                      <a:pt x="133" y="3"/>
                      <a:pt x="133" y="4"/>
                    </a:cubicBezTo>
                    <a:cubicBezTo>
                      <a:pt x="134" y="5"/>
                      <a:pt x="134" y="4"/>
                      <a:pt x="135" y="6"/>
                    </a:cubicBezTo>
                    <a:cubicBezTo>
                      <a:pt x="129" y="8"/>
                      <a:pt x="132" y="6"/>
                      <a:pt x="130" y="12"/>
                    </a:cubicBezTo>
                    <a:cubicBezTo>
                      <a:pt x="129" y="11"/>
                      <a:pt x="128" y="12"/>
                      <a:pt x="127" y="12"/>
                    </a:cubicBezTo>
                    <a:cubicBezTo>
                      <a:pt x="127" y="12"/>
                      <a:pt x="126" y="9"/>
                      <a:pt x="126" y="9"/>
                    </a:cubicBezTo>
                    <a:cubicBezTo>
                      <a:pt x="122" y="8"/>
                      <a:pt x="121" y="9"/>
                      <a:pt x="118" y="8"/>
                    </a:cubicBezTo>
                    <a:cubicBezTo>
                      <a:pt x="118" y="9"/>
                      <a:pt x="117" y="10"/>
                      <a:pt x="118" y="10"/>
                    </a:cubicBezTo>
                    <a:cubicBezTo>
                      <a:pt x="119" y="11"/>
                      <a:pt x="119" y="12"/>
                      <a:pt x="119" y="12"/>
                    </a:cubicBezTo>
                    <a:cubicBezTo>
                      <a:pt x="121" y="12"/>
                      <a:pt x="124" y="12"/>
                      <a:pt x="127" y="12"/>
                    </a:cubicBezTo>
                    <a:cubicBezTo>
                      <a:pt x="127" y="13"/>
                      <a:pt x="127" y="14"/>
                      <a:pt x="127" y="14"/>
                    </a:cubicBezTo>
                    <a:cubicBezTo>
                      <a:pt x="126" y="15"/>
                      <a:pt x="127" y="15"/>
                      <a:pt x="126" y="16"/>
                    </a:cubicBezTo>
                    <a:cubicBezTo>
                      <a:pt x="125" y="16"/>
                      <a:pt x="124" y="16"/>
                      <a:pt x="122" y="16"/>
                    </a:cubicBezTo>
                    <a:cubicBezTo>
                      <a:pt x="122" y="17"/>
                      <a:pt x="122" y="19"/>
                      <a:pt x="122" y="20"/>
                    </a:cubicBezTo>
                    <a:cubicBezTo>
                      <a:pt x="123" y="20"/>
                      <a:pt x="128" y="22"/>
                      <a:pt x="130" y="22"/>
                    </a:cubicBezTo>
                    <a:cubicBezTo>
                      <a:pt x="131" y="22"/>
                      <a:pt x="134" y="20"/>
                      <a:pt x="134" y="20"/>
                    </a:cubicBezTo>
                    <a:cubicBezTo>
                      <a:pt x="138" y="19"/>
                      <a:pt x="143" y="20"/>
                      <a:pt x="146" y="20"/>
                    </a:cubicBezTo>
                    <a:cubicBezTo>
                      <a:pt x="145" y="22"/>
                      <a:pt x="145" y="22"/>
                      <a:pt x="145" y="22"/>
                    </a:cubicBezTo>
                    <a:cubicBezTo>
                      <a:pt x="142" y="23"/>
                      <a:pt x="139" y="22"/>
                      <a:pt x="136" y="23"/>
                    </a:cubicBezTo>
                    <a:cubicBezTo>
                      <a:pt x="136" y="23"/>
                      <a:pt x="136" y="25"/>
                      <a:pt x="136" y="25"/>
                    </a:cubicBezTo>
                    <a:cubicBezTo>
                      <a:pt x="136" y="25"/>
                      <a:pt x="133" y="25"/>
                      <a:pt x="134" y="24"/>
                    </a:cubicBezTo>
                    <a:cubicBezTo>
                      <a:pt x="132" y="24"/>
                      <a:pt x="132" y="24"/>
                      <a:pt x="130" y="23"/>
                    </a:cubicBezTo>
                    <a:cubicBezTo>
                      <a:pt x="130" y="24"/>
                      <a:pt x="130" y="24"/>
                      <a:pt x="129" y="24"/>
                    </a:cubicBezTo>
                    <a:cubicBezTo>
                      <a:pt x="130" y="26"/>
                      <a:pt x="129" y="28"/>
                      <a:pt x="131" y="28"/>
                    </a:cubicBezTo>
                    <a:cubicBezTo>
                      <a:pt x="135" y="30"/>
                      <a:pt x="138" y="28"/>
                      <a:pt x="142" y="28"/>
                    </a:cubicBezTo>
                    <a:cubicBezTo>
                      <a:pt x="144" y="30"/>
                      <a:pt x="144" y="30"/>
                      <a:pt x="144" y="30"/>
                    </a:cubicBezTo>
                    <a:cubicBezTo>
                      <a:pt x="145" y="30"/>
                      <a:pt x="148" y="29"/>
                      <a:pt x="150" y="30"/>
                    </a:cubicBezTo>
                    <a:cubicBezTo>
                      <a:pt x="150" y="30"/>
                      <a:pt x="151" y="32"/>
                      <a:pt x="152" y="32"/>
                    </a:cubicBezTo>
                    <a:cubicBezTo>
                      <a:pt x="153" y="32"/>
                      <a:pt x="155" y="31"/>
                      <a:pt x="157" y="32"/>
                    </a:cubicBezTo>
                    <a:cubicBezTo>
                      <a:pt x="158" y="32"/>
                      <a:pt x="162" y="34"/>
                      <a:pt x="164" y="34"/>
                    </a:cubicBezTo>
                    <a:cubicBezTo>
                      <a:pt x="167" y="34"/>
                      <a:pt x="169" y="33"/>
                      <a:pt x="172" y="33"/>
                    </a:cubicBezTo>
                    <a:cubicBezTo>
                      <a:pt x="172" y="33"/>
                      <a:pt x="175" y="34"/>
                      <a:pt x="177" y="34"/>
                    </a:cubicBezTo>
                    <a:cubicBezTo>
                      <a:pt x="180" y="33"/>
                      <a:pt x="179" y="28"/>
                      <a:pt x="179" y="28"/>
                    </a:cubicBezTo>
                    <a:cubicBezTo>
                      <a:pt x="180" y="27"/>
                      <a:pt x="187" y="27"/>
                      <a:pt x="188" y="26"/>
                    </a:cubicBezTo>
                    <a:cubicBezTo>
                      <a:pt x="188" y="26"/>
                      <a:pt x="189" y="25"/>
                      <a:pt x="190" y="25"/>
                    </a:cubicBezTo>
                    <a:cubicBezTo>
                      <a:pt x="191" y="25"/>
                      <a:pt x="188" y="24"/>
                      <a:pt x="188" y="24"/>
                    </a:cubicBezTo>
                    <a:cubicBezTo>
                      <a:pt x="188" y="24"/>
                      <a:pt x="188" y="22"/>
                      <a:pt x="188" y="22"/>
                    </a:cubicBezTo>
                    <a:cubicBezTo>
                      <a:pt x="190" y="22"/>
                      <a:pt x="191" y="22"/>
                      <a:pt x="193" y="22"/>
                    </a:cubicBezTo>
                    <a:cubicBezTo>
                      <a:pt x="193" y="22"/>
                      <a:pt x="198" y="14"/>
                      <a:pt x="199" y="12"/>
                    </a:cubicBezTo>
                    <a:cubicBezTo>
                      <a:pt x="195" y="13"/>
                      <a:pt x="195" y="13"/>
                      <a:pt x="192" y="12"/>
                    </a:cubicBezTo>
                    <a:cubicBezTo>
                      <a:pt x="192" y="12"/>
                      <a:pt x="186" y="11"/>
                      <a:pt x="186" y="11"/>
                    </a:cubicBezTo>
                    <a:cubicBezTo>
                      <a:pt x="185" y="11"/>
                      <a:pt x="187" y="10"/>
                      <a:pt x="187" y="10"/>
                    </a:cubicBezTo>
                    <a:cubicBezTo>
                      <a:pt x="187" y="9"/>
                      <a:pt x="187" y="9"/>
                      <a:pt x="187" y="9"/>
                    </a:cubicBezTo>
                    <a:cubicBezTo>
                      <a:pt x="187" y="8"/>
                      <a:pt x="187" y="8"/>
                      <a:pt x="187" y="8"/>
                    </a:cubicBezTo>
                    <a:cubicBezTo>
                      <a:pt x="187" y="8"/>
                      <a:pt x="184" y="8"/>
                      <a:pt x="186" y="8"/>
                    </a:cubicBezTo>
                    <a:cubicBezTo>
                      <a:pt x="185" y="9"/>
                      <a:pt x="184" y="10"/>
                      <a:pt x="184" y="10"/>
                    </a:cubicBezTo>
                    <a:cubicBezTo>
                      <a:pt x="182" y="10"/>
                      <a:pt x="183" y="11"/>
                      <a:pt x="181" y="11"/>
                    </a:cubicBezTo>
                    <a:cubicBezTo>
                      <a:pt x="177" y="12"/>
                      <a:pt x="181" y="10"/>
                      <a:pt x="182" y="8"/>
                    </a:cubicBezTo>
                    <a:cubicBezTo>
                      <a:pt x="182" y="8"/>
                      <a:pt x="181" y="7"/>
                      <a:pt x="182" y="6"/>
                    </a:cubicBezTo>
                    <a:cubicBezTo>
                      <a:pt x="180" y="7"/>
                      <a:pt x="178" y="8"/>
                      <a:pt x="177" y="9"/>
                    </a:cubicBezTo>
                    <a:cubicBezTo>
                      <a:pt x="176" y="10"/>
                      <a:pt x="176" y="13"/>
                      <a:pt x="174" y="13"/>
                    </a:cubicBezTo>
                    <a:cubicBezTo>
                      <a:pt x="173" y="13"/>
                      <a:pt x="172" y="13"/>
                      <a:pt x="171" y="13"/>
                    </a:cubicBezTo>
                    <a:cubicBezTo>
                      <a:pt x="172" y="8"/>
                      <a:pt x="172" y="9"/>
                      <a:pt x="170" y="4"/>
                    </a:cubicBezTo>
                    <a:cubicBezTo>
                      <a:pt x="169" y="9"/>
                      <a:pt x="169" y="14"/>
                      <a:pt x="166" y="8"/>
                    </a:cubicBezTo>
                    <a:cubicBezTo>
                      <a:pt x="164" y="11"/>
                      <a:pt x="164" y="11"/>
                      <a:pt x="162" y="14"/>
                    </a:cubicBezTo>
                    <a:cubicBezTo>
                      <a:pt x="161" y="13"/>
                      <a:pt x="159" y="11"/>
                      <a:pt x="158" y="11"/>
                    </a:cubicBezTo>
                    <a:cubicBezTo>
                      <a:pt x="157" y="11"/>
                      <a:pt x="156" y="11"/>
                      <a:pt x="155" y="11"/>
                    </a:cubicBezTo>
                    <a:cubicBezTo>
                      <a:pt x="154" y="11"/>
                      <a:pt x="154" y="9"/>
                      <a:pt x="153" y="8"/>
                    </a:cubicBezTo>
                    <a:cubicBezTo>
                      <a:pt x="153" y="8"/>
                      <a:pt x="151" y="9"/>
                      <a:pt x="150" y="9"/>
                    </a:cubicBezTo>
                    <a:cubicBezTo>
                      <a:pt x="150" y="9"/>
                      <a:pt x="144" y="7"/>
                      <a:pt x="144" y="6"/>
                    </a:cubicBezTo>
                    <a:cubicBezTo>
                      <a:pt x="142" y="3"/>
                      <a:pt x="142" y="3"/>
                      <a:pt x="142" y="3"/>
                    </a:cubicBezTo>
                    <a:cubicBezTo>
                      <a:pt x="140" y="2"/>
                      <a:pt x="139" y="4"/>
                      <a:pt x="138" y="4"/>
                    </a:cubicBezTo>
                    <a:cubicBezTo>
                      <a:pt x="137" y="3"/>
                      <a:pt x="136" y="1"/>
                      <a:pt x="136" y="1"/>
                    </a:cubicBezTo>
                    <a:cubicBezTo>
                      <a:pt x="135" y="0"/>
                      <a:pt x="134" y="1"/>
                      <a:pt x="134" y="1"/>
                    </a:cubicBezTo>
                    <a:close/>
                    <a:moveTo>
                      <a:pt x="142" y="56"/>
                    </a:moveTo>
                    <a:cubicBezTo>
                      <a:pt x="141" y="56"/>
                      <a:pt x="140" y="57"/>
                      <a:pt x="139" y="58"/>
                    </a:cubicBezTo>
                    <a:cubicBezTo>
                      <a:pt x="139" y="57"/>
                      <a:pt x="139" y="61"/>
                      <a:pt x="139" y="61"/>
                    </a:cubicBezTo>
                    <a:cubicBezTo>
                      <a:pt x="140" y="61"/>
                      <a:pt x="141" y="61"/>
                      <a:pt x="141" y="62"/>
                    </a:cubicBezTo>
                    <a:cubicBezTo>
                      <a:pt x="141" y="62"/>
                      <a:pt x="141" y="64"/>
                      <a:pt x="140" y="64"/>
                    </a:cubicBezTo>
                    <a:cubicBezTo>
                      <a:pt x="140" y="65"/>
                      <a:pt x="138" y="65"/>
                      <a:pt x="138" y="66"/>
                    </a:cubicBezTo>
                    <a:cubicBezTo>
                      <a:pt x="138" y="66"/>
                      <a:pt x="139" y="68"/>
                      <a:pt x="138" y="68"/>
                    </a:cubicBezTo>
                    <a:cubicBezTo>
                      <a:pt x="141" y="68"/>
                      <a:pt x="148" y="65"/>
                      <a:pt x="150" y="66"/>
                    </a:cubicBezTo>
                    <a:cubicBezTo>
                      <a:pt x="150" y="66"/>
                      <a:pt x="150" y="68"/>
                      <a:pt x="150" y="68"/>
                    </a:cubicBezTo>
                    <a:cubicBezTo>
                      <a:pt x="150" y="69"/>
                      <a:pt x="150" y="69"/>
                      <a:pt x="150" y="69"/>
                    </a:cubicBezTo>
                    <a:cubicBezTo>
                      <a:pt x="150" y="69"/>
                      <a:pt x="152" y="69"/>
                      <a:pt x="153" y="69"/>
                    </a:cubicBezTo>
                    <a:cubicBezTo>
                      <a:pt x="155" y="68"/>
                      <a:pt x="155" y="68"/>
                      <a:pt x="155" y="68"/>
                    </a:cubicBezTo>
                    <a:cubicBezTo>
                      <a:pt x="156" y="67"/>
                      <a:pt x="158" y="68"/>
                      <a:pt x="159" y="68"/>
                    </a:cubicBezTo>
                    <a:cubicBezTo>
                      <a:pt x="160" y="67"/>
                      <a:pt x="161" y="66"/>
                      <a:pt x="162" y="66"/>
                    </a:cubicBezTo>
                    <a:cubicBezTo>
                      <a:pt x="164" y="65"/>
                      <a:pt x="166" y="66"/>
                      <a:pt x="168" y="66"/>
                    </a:cubicBezTo>
                    <a:cubicBezTo>
                      <a:pt x="168" y="66"/>
                      <a:pt x="170" y="64"/>
                      <a:pt x="170" y="64"/>
                    </a:cubicBezTo>
                    <a:cubicBezTo>
                      <a:pt x="171" y="63"/>
                      <a:pt x="169" y="61"/>
                      <a:pt x="170" y="60"/>
                    </a:cubicBezTo>
                    <a:cubicBezTo>
                      <a:pt x="166" y="61"/>
                      <a:pt x="164" y="62"/>
                      <a:pt x="161" y="60"/>
                    </a:cubicBezTo>
                    <a:cubicBezTo>
                      <a:pt x="158" y="59"/>
                      <a:pt x="157" y="54"/>
                      <a:pt x="152" y="54"/>
                    </a:cubicBezTo>
                    <a:cubicBezTo>
                      <a:pt x="151" y="56"/>
                      <a:pt x="151" y="56"/>
                      <a:pt x="151" y="56"/>
                    </a:cubicBezTo>
                    <a:cubicBezTo>
                      <a:pt x="148" y="56"/>
                      <a:pt x="146" y="54"/>
                      <a:pt x="143" y="55"/>
                    </a:cubicBezTo>
                    <a:lnTo>
                      <a:pt x="142" y="56"/>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38" name="Freeform 117">
                <a:extLst>
                  <a:ext uri="{FF2B5EF4-FFF2-40B4-BE49-F238E27FC236}">
                    <a16:creationId xmlns:a16="http://schemas.microsoft.com/office/drawing/2014/main" id="{06170A1A-FC64-3D92-5BAC-69BF2BEE0E75}"/>
                  </a:ext>
                </a:extLst>
              </p:cNvPr>
              <p:cNvSpPr>
                <a:spLocks noEditPoints="1"/>
              </p:cNvSpPr>
              <p:nvPr/>
            </p:nvSpPr>
            <p:spPr bwMode="auto">
              <a:xfrm>
                <a:off x="3198" y="204"/>
                <a:ext cx="457" cy="722"/>
              </a:xfrm>
              <a:custGeom>
                <a:avLst/>
                <a:gdLst>
                  <a:gd name="T0" fmla="*/ 97 w 233"/>
                  <a:gd name="T1" fmla="*/ 35 h 368"/>
                  <a:gd name="T2" fmla="*/ 73 w 233"/>
                  <a:gd name="T3" fmla="*/ 20 h 368"/>
                  <a:gd name="T4" fmla="*/ 65 w 233"/>
                  <a:gd name="T5" fmla="*/ 22 h 368"/>
                  <a:gd name="T6" fmla="*/ 78 w 233"/>
                  <a:gd name="T7" fmla="*/ 42 h 368"/>
                  <a:gd name="T8" fmla="*/ 107 w 233"/>
                  <a:gd name="T9" fmla="*/ 44 h 368"/>
                  <a:gd name="T10" fmla="*/ 76 w 233"/>
                  <a:gd name="T11" fmla="*/ 54 h 368"/>
                  <a:gd name="T12" fmla="*/ 79 w 233"/>
                  <a:gd name="T13" fmla="*/ 68 h 368"/>
                  <a:gd name="T14" fmla="*/ 111 w 233"/>
                  <a:gd name="T15" fmla="*/ 72 h 368"/>
                  <a:gd name="T16" fmla="*/ 126 w 233"/>
                  <a:gd name="T17" fmla="*/ 37 h 368"/>
                  <a:gd name="T18" fmla="*/ 103 w 233"/>
                  <a:gd name="T19" fmla="*/ 14 h 368"/>
                  <a:gd name="T20" fmla="*/ 61 w 233"/>
                  <a:gd name="T21" fmla="*/ 30 h 368"/>
                  <a:gd name="T22" fmla="*/ 198 w 233"/>
                  <a:gd name="T23" fmla="*/ 42 h 368"/>
                  <a:gd name="T24" fmla="*/ 148 w 233"/>
                  <a:gd name="T25" fmla="*/ 48 h 368"/>
                  <a:gd name="T26" fmla="*/ 183 w 233"/>
                  <a:gd name="T27" fmla="*/ 161 h 368"/>
                  <a:gd name="T28" fmla="*/ 160 w 233"/>
                  <a:gd name="T29" fmla="*/ 175 h 368"/>
                  <a:gd name="T30" fmla="*/ 118 w 233"/>
                  <a:gd name="T31" fmla="*/ 185 h 368"/>
                  <a:gd name="T32" fmla="*/ 114 w 233"/>
                  <a:gd name="T33" fmla="*/ 189 h 368"/>
                  <a:gd name="T34" fmla="*/ 101 w 233"/>
                  <a:gd name="T35" fmla="*/ 205 h 368"/>
                  <a:gd name="T36" fmla="*/ 152 w 233"/>
                  <a:gd name="T37" fmla="*/ 173 h 368"/>
                  <a:gd name="T38" fmla="*/ 90 w 233"/>
                  <a:gd name="T39" fmla="*/ 205 h 368"/>
                  <a:gd name="T40" fmla="*/ 79 w 233"/>
                  <a:gd name="T41" fmla="*/ 215 h 368"/>
                  <a:gd name="T42" fmla="*/ 38 w 233"/>
                  <a:gd name="T43" fmla="*/ 280 h 368"/>
                  <a:gd name="T44" fmla="*/ 23 w 233"/>
                  <a:gd name="T45" fmla="*/ 308 h 368"/>
                  <a:gd name="T46" fmla="*/ 5 w 233"/>
                  <a:gd name="T47" fmla="*/ 343 h 368"/>
                  <a:gd name="T48" fmla="*/ 66 w 233"/>
                  <a:gd name="T49" fmla="*/ 322 h 368"/>
                  <a:gd name="T50" fmla="*/ 89 w 233"/>
                  <a:gd name="T51" fmla="*/ 266 h 368"/>
                  <a:gd name="T52" fmla="*/ 123 w 233"/>
                  <a:gd name="T53" fmla="*/ 215 h 368"/>
                  <a:gd name="T54" fmla="*/ 158 w 233"/>
                  <a:gd name="T55" fmla="*/ 204 h 368"/>
                  <a:gd name="T56" fmla="*/ 209 w 233"/>
                  <a:gd name="T57" fmla="*/ 189 h 368"/>
                  <a:gd name="T58" fmla="*/ 225 w 233"/>
                  <a:gd name="T59" fmla="*/ 183 h 368"/>
                  <a:gd name="T60" fmla="*/ 218 w 233"/>
                  <a:gd name="T61" fmla="*/ 172 h 368"/>
                  <a:gd name="T62" fmla="*/ 205 w 233"/>
                  <a:gd name="T63" fmla="*/ 162 h 368"/>
                  <a:gd name="T64" fmla="*/ 192 w 233"/>
                  <a:gd name="T65" fmla="*/ 179 h 368"/>
                  <a:gd name="T66" fmla="*/ 188 w 233"/>
                  <a:gd name="T67" fmla="*/ 171 h 368"/>
                  <a:gd name="T68" fmla="*/ 180 w 233"/>
                  <a:gd name="T69" fmla="*/ 170 h 368"/>
                  <a:gd name="T70" fmla="*/ 162 w 233"/>
                  <a:gd name="T71" fmla="*/ 178 h 368"/>
                  <a:gd name="T72" fmla="*/ 150 w 233"/>
                  <a:gd name="T73" fmla="*/ 183 h 368"/>
                  <a:gd name="T74" fmla="*/ 139 w 233"/>
                  <a:gd name="T75" fmla="*/ 183 h 368"/>
                  <a:gd name="T76" fmla="*/ 126 w 233"/>
                  <a:gd name="T77" fmla="*/ 191 h 368"/>
                  <a:gd name="T78" fmla="*/ 113 w 233"/>
                  <a:gd name="T79" fmla="*/ 205 h 368"/>
                  <a:gd name="T80" fmla="*/ 98 w 233"/>
                  <a:gd name="T81" fmla="*/ 219 h 368"/>
                  <a:gd name="T82" fmla="*/ 98 w 233"/>
                  <a:gd name="T83" fmla="*/ 234 h 368"/>
                  <a:gd name="T84" fmla="*/ 75 w 233"/>
                  <a:gd name="T85" fmla="*/ 257 h 368"/>
                  <a:gd name="T86" fmla="*/ 51 w 233"/>
                  <a:gd name="T87" fmla="*/ 279 h 368"/>
                  <a:gd name="T88" fmla="*/ 38 w 233"/>
                  <a:gd name="T89" fmla="*/ 283 h 368"/>
                  <a:gd name="T90" fmla="*/ 26 w 233"/>
                  <a:gd name="T91" fmla="*/ 298 h 368"/>
                  <a:gd name="T92" fmla="*/ 8 w 233"/>
                  <a:gd name="T93" fmla="*/ 309 h 368"/>
                  <a:gd name="T94" fmla="*/ 13 w 233"/>
                  <a:gd name="T95" fmla="*/ 322 h 368"/>
                  <a:gd name="T96" fmla="*/ 6 w 233"/>
                  <a:gd name="T97" fmla="*/ 322 h 368"/>
                  <a:gd name="T98" fmla="*/ 7 w 233"/>
                  <a:gd name="T99" fmla="*/ 331 h 368"/>
                  <a:gd name="T100" fmla="*/ 16 w 233"/>
                  <a:gd name="T101" fmla="*/ 337 h 368"/>
                  <a:gd name="T102" fmla="*/ 14 w 233"/>
                  <a:gd name="T103" fmla="*/ 348 h 368"/>
                  <a:gd name="T104" fmla="*/ 39 w 233"/>
                  <a:gd name="T105" fmla="*/ 361 h 368"/>
                  <a:gd name="T106" fmla="*/ 126 w 233"/>
                  <a:gd name="T107" fmla="*/ 9 h 368"/>
                  <a:gd name="T108" fmla="*/ 146 w 233"/>
                  <a:gd name="T109" fmla="*/ 20 h 368"/>
                  <a:gd name="T110" fmla="*/ 152 w 233"/>
                  <a:gd name="T111" fmla="*/ 32 h 368"/>
                  <a:gd name="T112" fmla="*/ 199 w 233"/>
                  <a:gd name="T113" fmla="*/ 12 h 368"/>
                  <a:gd name="T114" fmla="*/ 177 w 233"/>
                  <a:gd name="T115" fmla="*/ 9 h 368"/>
                  <a:gd name="T116" fmla="*/ 142 w 233"/>
                  <a:gd name="T117" fmla="*/ 3 h 368"/>
                  <a:gd name="T118" fmla="*/ 150 w 233"/>
                  <a:gd name="T119" fmla="*/ 66 h 368"/>
                  <a:gd name="T120" fmla="*/ 152 w 233"/>
                  <a:gd name="T121" fmla="*/ 5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3" h="368">
                    <a:moveTo>
                      <a:pt x="156" y="4"/>
                    </a:moveTo>
                    <a:cubicBezTo>
                      <a:pt x="156" y="5"/>
                      <a:pt x="156" y="6"/>
                      <a:pt x="156" y="6"/>
                    </a:cubicBezTo>
                    <a:cubicBezTo>
                      <a:pt x="159" y="7"/>
                      <a:pt x="158" y="5"/>
                      <a:pt x="156" y="4"/>
                    </a:cubicBezTo>
                    <a:close/>
                    <a:moveTo>
                      <a:pt x="101" y="10"/>
                    </a:moveTo>
                    <a:cubicBezTo>
                      <a:pt x="101" y="11"/>
                      <a:pt x="101" y="12"/>
                      <a:pt x="100" y="13"/>
                    </a:cubicBezTo>
                    <a:cubicBezTo>
                      <a:pt x="100" y="14"/>
                      <a:pt x="99" y="14"/>
                      <a:pt x="98" y="14"/>
                    </a:cubicBezTo>
                    <a:cubicBezTo>
                      <a:pt x="97" y="15"/>
                      <a:pt x="98" y="16"/>
                      <a:pt x="97" y="16"/>
                    </a:cubicBezTo>
                    <a:cubicBezTo>
                      <a:pt x="97" y="17"/>
                      <a:pt x="94" y="18"/>
                      <a:pt x="93" y="18"/>
                    </a:cubicBezTo>
                    <a:cubicBezTo>
                      <a:pt x="94" y="21"/>
                      <a:pt x="93" y="24"/>
                      <a:pt x="94" y="27"/>
                    </a:cubicBezTo>
                    <a:cubicBezTo>
                      <a:pt x="94" y="28"/>
                      <a:pt x="96" y="29"/>
                      <a:pt x="96" y="29"/>
                    </a:cubicBezTo>
                    <a:cubicBezTo>
                      <a:pt x="97" y="31"/>
                      <a:pt x="97" y="33"/>
                      <a:pt x="97" y="35"/>
                    </a:cubicBezTo>
                    <a:cubicBezTo>
                      <a:pt x="97" y="34"/>
                      <a:pt x="96" y="34"/>
                      <a:pt x="95" y="33"/>
                    </a:cubicBezTo>
                    <a:cubicBezTo>
                      <a:pt x="94" y="31"/>
                      <a:pt x="94" y="30"/>
                      <a:pt x="93" y="28"/>
                    </a:cubicBezTo>
                    <a:cubicBezTo>
                      <a:pt x="93" y="27"/>
                      <a:pt x="91" y="27"/>
                      <a:pt x="90" y="26"/>
                    </a:cubicBezTo>
                    <a:cubicBezTo>
                      <a:pt x="89" y="23"/>
                      <a:pt x="88" y="20"/>
                      <a:pt x="87" y="17"/>
                    </a:cubicBezTo>
                    <a:cubicBezTo>
                      <a:pt x="85" y="17"/>
                      <a:pt x="83" y="18"/>
                      <a:pt x="82" y="18"/>
                    </a:cubicBezTo>
                    <a:cubicBezTo>
                      <a:pt x="81" y="21"/>
                      <a:pt x="81" y="22"/>
                      <a:pt x="81" y="25"/>
                    </a:cubicBezTo>
                    <a:cubicBezTo>
                      <a:pt x="79" y="25"/>
                      <a:pt x="79" y="25"/>
                      <a:pt x="79" y="25"/>
                    </a:cubicBezTo>
                    <a:cubicBezTo>
                      <a:pt x="79" y="24"/>
                      <a:pt x="79" y="23"/>
                      <a:pt x="79" y="23"/>
                    </a:cubicBezTo>
                    <a:cubicBezTo>
                      <a:pt x="78" y="23"/>
                      <a:pt x="77" y="23"/>
                      <a:pt x="77" y="23"/>
                    </a:cubicBezTo>
                    <a:cubicBezTo>
                      <a:pt x="76" y="23"/>
                      <a:pt x="76" y="21"/>
                      <a:pt x="76" y="20"/>
                    </a:cubicBezTo>
                    <a:cubicBezTo>
                      <a:pt x="75" y="20"/>
                      <a:pt x="73" y="20"/>
                      <a:pt x="73" y="20"/>
                    </a:cubicBezTo>
                    <a:cubicBezTo>
                      <a:pt x="75" y="19"/>
                      <a:pt x="77" y="19"/>
                      <a:pt x="79" y="18"/>
                    </a:cubicBezTo>
                    <a:cubicBezTo>
                      <a:pt x="79" y="18"/>
                      <a:pt x="79" y="16"/>
                      <a:pt x="79" y="16"/>
                    </a:cubicBezTo>
                    <a:cubicBezTo>
                      <a:pt x="76" y="15"/>
                      <a:pt x="76" y="15"/>
                      <a:pt x="76" y="15"/>
                    </a:cubicBezTo>
                    <a:cubicBezTo>
                      <a:pt x="75" y="15"/>
                      <a:pt x="74" y="16"/>
                      <a:pt x="73" y="16"/>
                    </a:cubicBezTo>
                    <a:cubicBezTo>
                      <a:pt x="72" y="16"/>
                      <a:pt x="71" y="14"/>
                      <a:pt x="69" y="15"/>
                    </a:cubicBezTo>
                    <a:cubicBezTo>
                      <a:pt x="69" y="16"/>
                      <a:pt x="69" y="16"/>
                      <a:pt x="69" y="16"/>
                    </a:cubicBezTo>
                    <a:cubicBezTo>
                      <a:pt x="68" y="17"/>
                      <a:pt x="68" y="17"/>
                      <a:pt x="67" y="17"/>
                    </a:cubicBezTo>
                    <a:cubicBezTo>
                      <a:pt x="67" y="18"/>
                      <a:pt x="67" y="18"/>
                      <a:pt x="67" y="18"/>
                    </a:cubicBezTo>
                    <a:cubicBezTo>
                      <a:pt x="66" y="18"/>
                      <a:pt x="65" y="17"/>
                      <a:pt x="64" y="16"/>
                    </a:cubicBezTo>
                    <a:cubicBezTo>
                      <a:pt x="63" y="19"/>
                      <a:pt x="63" y="21"/>
                      <a:pt x="63" y="24"/>
                    </a:cubicBezTo>
                    <a:cubicBezTo>
                      <a:pt x="65" y="23"/>
                      <a:pt x="64" y="23"/>
                      <a:pt x="65" y="22"/>
                    </a:cubicBezTo>
                    <a:cubicBezTo>
                      <a:pt x="66" y="22"/>
                      <a:pt x="66" y="22"/>
                      <a:pt x="66" y="22"/>
                    </a:cubicBezTo>
                    <a:cubicBezTo>
                      <a:pt x="66" y="24"/>
                      <a:pt x="66" y="25"/>
                      <a:pt x="66" y="26"/>
                    </a:cubicBezTo>
                    <a:cubicBezTo>
                      <a:pt x="66" y="27"/>
                      <a:pt x="67" y="27"/>
                      <a:pt x="67" y="28"/>
                    </a:cubicBezTo>
                    <a:cubicBezTo>
                      <a:pt x="66" y="29"/>
                      <a:pt x="66" y="28"/>
                      <a:pt x="65" y="28"/>
                    </a:cubicBezTo>
                    <a:cubicBezTo>
                      <a:pt x="64" y="30"/>
                      <a:pt x="64" y="31"/>
                      <a:pt x="64" y="32"/>
                    </a:cubicBezTo>
                    <a:cubicBezTo>
                      <a:pt x="64" y="32"/>
                      <a:pt x="69" y="34"/>
                      <a:pt x="69" y="34"/>
                    </a:cubicBezTo>
                    <a:cubicBezTo>
                      <a:pt x="70" y="36"/>
                      <a:pt x="68" y="36"/>
                      <a:pt x="69" y="37"/>
                    </a:cubicBezTo>
                    <a:cubicBezTo>
                      <a:pt x="70" y="38"/>
                      <a:pt x="70" y="38"/>
                      <a:pt x="70" y="38"/>
                    </a:cubicBezTo>
                    <a:cubicBezTo>
                      <a:pt x="71" y="43"/>
                      <a:pt x="67" y="43"/>
                      <a:pt x="73" y="44"/>
                    </a:cubicBezTo>
                    <a:cubicBezTo>
                      <a:pt x="74" y="44"/>
                      <a:pt x="75" y="45"/>
                      <a:pt x="76" y="44"/>
                    </a:cubicBezTo>
                    <a:cubicBezTo>
                      <a:pt x="77" y="44"/>
                      <a:pt x="77" y="43"/>
                      <a:pt x="78" y="42"/>
                    </a:cubicBezTo>
                    <a:cubicBezTo>
                      <a:pt x="78" y="41"/>
                      <a:pt x="78" y="41"/>
                      <a:pt x="78" y="41"/>
                    </a:cubicBezTo>
                    <a:cubicBezTo>
                      <a:pt x="80" y="41"/>
                      <a:pt x="82" y="41"/>
                      <a:pt x="84" y="41"/>
                    </a:cubicBezTo>
                    <a:cubicBezTo>
                      <a:pt x="84" y="40"/>
                      <a:pt x="84" y="38"/>
                      <a:pt x="84" y="37"/>
                    </a:cubicBezTo>
                    <a:cubicBezTo>
                      <a:pt x="85" y="37"/>
                      <a:pt x="85" y="36"/>
                      <a:pt x="86" y="36"/>
                    </a:cubicBezTo>
                    <a:cubicBezTo>
                      <a:pt x="86" y="37"/>
                      <a:pt x="85" y="38"/>
                      <a:pt x="87" y="38"/>
                    </a:cubicBezTo>
                    <a:cubicBezTo>
                      <a:pt x="87" y="38"/>
                      <a:pt x="88" y="36"/>
                      <a:pt x="88" y="36"/>
                    </a:cubicBezTo>
                    <a:cubicBezTo>
                      <a:pt x="90" y="36"/>
                      <a:pt x="90" y="36"/>
                      <a:pt x="90" y="36"/>
                    </a:cubicBezTo>
                    <a:cubicBezTo>
                      <a:pt x="90" y="38"/>
                      <a:pt x="90" y="40"/>
                      <a:pt x="90" y="42"/>
                    </a:cubicBezTo>
                    <a:cubicBezTo>
                      <a:pt x="92" y="41"/>
                      <a:pt x="96" y="41"/>
                      <a:pt x="97" y="41"/>
                    </a:cubicBezTo>
                    <a:cubicBezTo>
                      <a:pt x="98" y="41"/>
                      <a:pt x="98" y="45"/>
                      <a:pt x="100" y="45"/>
                    </a:cubicBezTo>
                    <a:cubicBezTo>
                      <a:pt x="102" y="45"/>
                      <a:pt x="105" y="45"/>
                      <a:pt x="107" y="44"/>
                    </a:cubicBezTo>
                    <a:cubicBezTo>
                      <a:pt x="107" y="45"/>
                      <a:pt x="106" y="47"/>
                      <a:pt x="105" y="47"/>
                    </a:cubicBezTo>
                    <a:cubicBezTo>
                      <a:pt x="103" y="48"/>
                      <a:pt x="95" y="48"/>
                      <a:pt x="94" y="48"/>
                    </a:cubicBezTo>
                    <a:cubicBezTo>
                      <a:pt x="93" y="48"/>
                      <a:pt x="91" y="46"/>
                      <a:pt x="90" y="46"/>
                    </a:cubicBezTo>
                    <a:cubicBezTo>
                      <a:pt x="89" y="46"/>
                      <a:pt x="87" y="49"/>
                      <a:pt x="86" y="50"/>
                    </a:cubicBezTo>
                    <a:cubicBezTo>
                      <a:pt x="85" y="50"/>
                      <a:pt x="85" y="49"/>
                      <a:pt x="84" y="50"/>
                    </a:cubicBezTo>
                    <a:cubicBezTo>
                      <a:pt x="83" y="49"/>
                      <a:pt x="82" y="48"/>
                      <a:pt x="81" y="47"/>
                    </a:cubicBezTo>
                    <a:cubicBezTo>
                      <a:pt x="81" y="47"/>
                      <a:pt x="80" y="47"/>
                      <a:pt x="79" y="47"/>
                    </a:cubicBezTo>
                    <a:cubicBezTo>
                      <a:pt x="79" y="47"/>
                      <a:pt x="79" y="49"/>
                      <a:pt x="79" y="49"/>
                    </a:cubicBezTo>
                    <a:cubicBezTo>
                      <a:pt x="79" y="49"/>
                      <a:pt x="78" y="49"/>
                      <a:pt x="79" y="48"/>
                    </a:cubicBezTo>
                    <a:cubicBezTo>
                      <a:pt x="77" y="48"/>
                      <a:pt x="77" y="48"/>
                      <a:pt x="76" y="48"/>
                    </a:cubicBezTo>
                    <a:cubicBezTo>
                      <a:pt x="76" y="49"/>
                      <a:pt x="75" y="52"/>
                      <a:pt x="76" y="54"/>
                    </a:cubicBezTo>
                    <a:cubicBezTo>
                      <a:pt x="77" y="60"/>
                      <a:pt x="79" y="54"/>
                      <a:pt x="80" y="54"/>
                    </a:cubicBezTo>
                    <a:cubicBezTo>
                      <a:pt x="80" y="54"/>
                      <a:pt x="82" y="55"/>
                      <a:pt x="82" y="55"/>
                    </a:cubicBezTo>
                    <a:cubicBezTo>
                      <a:pt x="83" y="55"/>
                      <a:pt x="87" y="55"/>
                      <a:pt x="89" y="54"/>
                    </a:cubicBezTo>
                    <a:cubicBezTo>
                      <a:pt x="89" y="54"/>
                      <a:pt x="96" y="54"/>
                      <a:pt x="94" y="54"/>
                    </a:cubicBezTo>
                    <a:cubicBezTo>
                      <a:pt x="92" y="55"/>
                      <a:pt x="89" y="56"/>
                      <a:pt x="88" y="56"/>
                    </a:cubicBezTo>
                    <a:cubicBezTo>
                      <a:pt x="88" y="57"/>
                      <a:pt x="87" y="57"/>
                      <a:pt x="87" y="58"/>
                    </a:cubicBezTo>
                    <a:cubicBezTo>
                      <a:pt x="87" y="60"/>
                      <a:pt x="90" y="61"/>
                      <a:pt x="90" y="62"/>
                    </a:cubicBezTo>
                    <a:cubicBezTo>
                      <a:pt x="84" y="61"/>
                      <a:pt x="83" y="63"/>
                      <a:pt x="79" y="60"/>
                    </a:cubicBezTo>
                    <a:cubicBezTo>
                      <a:pt x="78" y="61"/>
                      <a:pt x="78" y="62"/>
                      <a:pt x="78" y="64"/>
                    </a:cubicBezTo>
                    <a:cubicBezTo>
                      <a:pt x="79" y="65"/>
                      <a:pt x="79" y="65"/>
                      <a:pt x="79" y="65"/>
                    </a:cubicBezTo>
                    <a:cubicBezTo>
                      <a:pt x="79" y="66"/>
                      <a:pt x="79" y="67"/>
                      <a:pt x="79" y="68"/>
                    </a:cubicBezTo>
                    <a:cubicBezTo>
                      <a:pt x="81" y="68"/>
                      <a:pt x="87" y="68"/>
                      <a:pt x="88" y="69"/>
                    </a:cubicBezTo>
                    <a:cubicBezTo>
                      <a:pt x="89" y="69"/>
                      <a:pt x="89" y="71"/>
                      <a:pt x="89" y="72"/>
                    </a:cubicBezTo>
                    <a:cubicBezTo>
                      <a:pt x="90" y="72"/>
                      <a:pt x="91" y="71"/>
                      <a:pt x="91" y="72"/>
                    </a:cubicBezTo>
                    <a:cubicBezTo>
                      <a:pt x="91" y="72"/>
                      <a:pt x="92" y="73"/>
                      <a:pt x="92" y="73"/>
                    </a:cubicBezTo>
                    <a:cubicBezTo>
                      <a:pt x="94" y="73"/>
                      <a:pt x="95" y="72"/>
                      <a:pt x="96" y="72"/>
                    </a:cubicBezTo>
                    <a:cubicBezTo>
                      <a:pt x="98" y="76"/>
                      <a:pt x="99" y="77"/>
                      <a:pt x="100" y="80"/>
                    </a:cubicBezTo>
                    <a:cubicBezTo>
                      <a:pt x="101" y="80"/>
                      <a:pt x="101" y="80"/>
                      <a:pt x="101" y="80"/>
                    </a:cubicBezTo>
                    <a:cubicBezTo>
                      <a:pt x="102" y="78"/>
                      <a:pt x="103" y="78"/>
                      <a:pt x="105" y="78"/>
                    </a:cubicBezTo>
                    <a:cubicBezTo>
                      <a:pt x="104" y="76"/>
                      <a:pt x="104" y="74"/>
                      <a:pt x="104" y="73"/>
                    </a:cubicBezTo>
                    <a:cubicBezTo>
                      <a:pt x="104" y="73"/>
                      <a:pt x="105" y="71"/>
                      <a:pt x="106" y="71"/>
                    </a:cubicBezTo>
                    <a:cubicBezTo>
                      <a:pt x="107" y="71"/>
                      <a:pt x="109" y="72"/>
                      <a:pt x="111" y="72"/>
                    </a:cubicBezTo>
                    <a:cubicBezTo>
                      <a:pt x="111" y="72"/>
                      <a:pt x="113" y="69"/>
                      <a:pt x="114" y="69"/>
                    </a:cubicBezTo>
                    <a:cubicBezTo>
                      <a:pt x="114" y="69"/>
                      <a:pt x="114" y="68"/>
                      <a:pt x="114" y="68"/>
                    </a:cubicBezTo>
                    <a:cubicBezTo>
                      <a:pt x="115" y="67"/>
                      <a:pt x="116" y="67"/>
                      <a:pt x="116" y="65"/>
                    </a:cubicBezTo>
                    <a:cubicBezTo>
                      <a:pt x="116" y="64"/>
                      <a:pt x="116" y="64"/>
                      <a:pt x="116" y="64"/>
                    </a:cubicBezTo>
                    <a:cubicBezTo>
                      <a:pt x="117" y="64"/>
                      <a:pt x="119" y="64"/>
                      <a:pt x="120" y="64"/>
                    </a:cubicBezTo>
                    <a:cubicBezTo>
                      <a:pt x="120" y="64"/>
                      <a:pt x="120" y="63"/>
                      <a:pt x="120" y="63"/>
                    </a:cubicBezTo>
                    <a:cubicBezTo>
                      <a:pt x="121" y="63"/>
                      <a:pt x="121" y="63"/>
                      <a:pt x="121" y="63"/>
                    </a:cubicBezTo>
                    <a:cubicBezTo>
                      <a:pt x="122" y="57"/>
                      <a:pt x="120" y="59"/>
                      <a:pt x="125" y="56"/>
                    </a:cubicBezTo>
                    <a:cubicBezTo>
                      <a:pt x="122" y="46"/>
                      <a:pt x="125" y="43"/>
                      <a:pt x="137" y="42"/>
                    </a:cubicBezTo>
                    <a:cubicBezTo>
                      <a:pt x="136" y="42"/>
                      <a:pt x="137" y="40"/>
                      <a:pt x="136" y="39"/>
                    </a:cubicBezTo>
                    <a:cubicBezTo>
                      <a:pt x="133" y="37"/>
                      <a:pt x="129" y="38"/>
                      <a:pt x="126" y="37"/>
                    </a:cubicBezTo>
                    <a:cubicBezTo>
                      <a:pt x="126" y="37"/>
                      <a:pt x="124" y="35"/>
                      <a:pt x="124" y="34"/>
                    </a:cubicBezTo>
                    <a:cubicBezTo>
                      <a:pt x="122" y="34"/>
                      <a:pt x="122" y="34"/>
                      <a:pt x="122" y="34"/>
                    </a:cubicBezTo>
                    <a:cubicBezTo>
                      <a:pt x="122" y="33"/>
                      <a:pt x="123" y="32"/>
                      <a:pt x="123" y="32"/>
                    </a:cubicBezTo>
                    <a:cubicBezTo>
                      <a:pt x="123" y="31"/>
                      <a:pt x="122" y="28"/>
                      <a:pt x="121" y="27"/>
                    </a:cubicBezTo>
                    <a:cubicBezTo>
                      <a:pt x="120" y="27"/>
                      <a:pt x="120" y="26"/>
                      <a:pt x="120" y="26"/>
                    </a:cubicBezTo>
                    <a:cubicBezTo>
                      <a:pt x="119" y="26"/>
                      <a:pt x="119" y="27"/>
                      <a:pt x="118" y="26"/>
                    </a:cubicBezTo>
                    <a:cubicBezTo>
                      <a:pt x="118" y="28"/>
                      <a:pt x="118" y="27"/>
                      <a:pt x="117" y="28"/>
                    </a:cubicBezTo>
                    <a:cubicBezTo>
                      <a:pt x="117" y="28"/>
                      <a:pt x="117" y="22"/>
                      <a:pt x="117" y="21"/>
                    </a:cubicBezTo>
                    <a:cubicBezTo>
                      <a:pt x="113" y="19"/>
                      <a:pt x="112" y="18"/>
                      <a:pt x="110" y="14"/>
                    </a:cubicBezTo>
                    <a:cubicBezTo>
                      <a:pt x="108" y="15"/>
                      <a:pt x="107" y="15"/>
                      <a:pt x="104" y="16"/>
                    </a:cubicBezTo>
                    <a:cubicBezTo>
                      <a:pt x="104" y="15"/>
                      <a:pt x="104" y="14"/>
                      <a:pt x="103" y="14"/>
                    </a:cubicBezTo>
                    <a:cubicBezTo>
                      <a:pt x="103" y="13"/>
                      <a:pt x="103" y="12"/>
                      <a:pt x="103" y="11"/>
                    </a:cubicBezTo>
                    <a:cubicBezTo>
                      <a:pt x="103" y="11"/>
                      <a:pt x="101" y="11"/>
                      <a:pt x="101" y="10"/>
                    </a:cubicBezTo>
                    <a:close/>
                    <a:moveTo>
                      <a:pt x="59" y="30"/>
                    </a:moveTo>
                    <a:cubicBezTo>
                      <a:pt x="60" y="32"/>
                      <a:pt x="59" y="34"/>
                      <a:pt x="60" y="36"/>
                    </a:cubicBezTo>
                    <a:cubicBezTo>
                      <a:pt x="60" y="37"/>
                      <a:pt x="62" y="38"/>
                      <a:pt x="63" y="39"/>
                    </a:cubicBezTo>
                    <a:cubicBezTo>
                      <a:pt x="63" y="39"/>
                      <a:pt x="62" y="41"/>
                      <a:pt x="63" y="41"/>
                    </a:cubicBezTo>
                    <a:cubicBezTo>
                      <a:pt x="64" y="42"/>
                      <a:pt x="65" y="41"/>
                      <a:pt x="66" y="42"/>
                    </a:cubicBezTo>
                    <a:cubicBezTo>
                      <a:pt x="65" y="41"/>
                      <a:pt x="66" y="40"/>
                      <a:pt x="65" y="40"/>
                    </a:cubicBezTo>
                    <a:cubicBezTo>
                      <a:pt x="64" y="39"/>
                      <a:pt x="63" y="37"/>
                      <a:pt x="63" y="35"/>
                    </a:cubicBezTo>
                    <a:cubicBezTo>
                      <a:pt x="62" y="35"/>
                      <a:pt x="61" y="34"/>
                      <a:pt x="61" y="34"/>
                    </a:cubicBezTo>
                    <a:cubicBezTo>
                      <a:pt x="60" y="32"/>
                      <a:pt x="61" y="31"/>
                      <a:pt x="61" y="30"/>
                    </a:cubicBezTo>
                    <a:lnTo>
                      <a:pt x="59" y="30"/>
                    </a:lnTo>
                    <a:close/>
                    <a:moveTo>
                      <a:pt x="209" y="34"/>
                    </a:moveTo>
                    <a:cubicBezTo>
                      <a:pt x="208" y="34"/>
                      <a:pt x="208" y="36"/>
                      <a:pt x="207" y="37"/>
                    </a:cubicBezTo>
                    <a:cubicBezTo>
                      <a:pt x="212" y="37"/>
                      <a:pt x="215" y="37"/>
                      <a:pt x="219" y="38"/>
                    </a:cubicBezTo>
                    <a:cubicBezTo>
                      <a:pt x="219" y="38"/>
                      <a:pt x="220" y="36"/>
                      <a:pt x="220" y="36"/>
                    </a:cubicBezTo>
                    <a:cubicBezTo>
                      <a:pt x="219" y="35"/>
                      <a:pt x="218" y="36"/>
                      <a:pt x="217" y="36"/>
                    </a:cubicBezTo>
                    <a:cubicBezTo>
                      <a:pt x="215" y="35"/>
                      <a:pt x="214" y="32"/>
                      <a:pt x="209" y="34"/>
                    </a:cubicBezTo>
                    <a:close/>
                    <a:moveTo>
                      <a:pt x="195" y="38"/>
                    </a:moveTo>
                    <a:cubicBezTo>
                      <a:pt x="195" y="39"/>
                      <a:pt x="194" y="40"/>
                      <a:pt x="194" y="40"/>
                    </a:cubicBezTo>
                    <a:cubicBezTo>
                      <a:pt x="195" y="41"/>
                      <a:pt x="195" y="42"/>
                      <a:pt x="196" y="42"/>
                    </a:cubicBezTo>
                    <a:cubicBezTo>
                      <a:pt x="196" y="42"/>
                      <a:pt x="199" y="43"/>
                      <a:pt x="198" y="42"/>
                    </a:cubicBezTo>
                    <a:cubicBezTo>
                      <a:pt x="196" y="41"/>
                      <a:pt x="197" y="40"/>
                      <a:pt x="196" y="38"/>
                    </a:cubicBezTo>
                    <a:lnTo>
                      <a:pt x="195" y="38"/>
                    </a:lnTo>
                    <a:close/>
                    <a:moveTo>
                      <a:pt x="135" y="45"/>
                    </a:moveTo>
                    <a:cubicBezTo>
                      <a:pt x="135" y="45"/>
                      <a:pt x="133" y="47"/>
                      <a:pt x="133" y="47"/>
                    </a:cubicBezTo>
                    <a:cubicBezTo>
                      <a:pt x="132" y="47"/>
                      <a:pt x="130" y="48"/>
                      <a:pt x="130" y="48"/>
                    </a:cubicBezTo>
                    <a:cubicBezTo>
                      <a:pt x="132" y="48"/>
                      <a:pt x="132" y="48"/>
                      <a:pt x="132" y="48"/>
                    </a:cubicBezTo>
                    <a:cubicBezTo>
                      <a:pt x="135" y="50"/>
                      <a:pt x="135" y="50"/>
                      <a:pt x="136" y="54"/>
                    </a:cubicBezTo>
                    <a:cubicBezTo>
                      <a:pt x="139" y="54"/>
                      <a:pt x="142" y="54"/>
                      <a:pt x="146" y="54"/>
                    </a:cubicBezTo>
                    <a:cubicBezTo>
                      <a:pt x="146" y="53"/>
                      <a:pt x="147" y="51"/>
                      <a:pt x="147" y="50"/>
                    </a:cubicBezTo>
                    <a:cubicBezTo>
                      <a:pt x="148" y="50"/>
                      <a:pt x="148" y="50"/>
                      <a:pt x="148" y="50"/>
                    </a:cubicBezTo>
                    <a:cubicBezTo>
                      <a:pt x="149" y="49"/>
                      <a:pt x="148" y="48"/>
                      <a:pt x="148" y="48"/>
                    </a:cubicBezTo>
                    <a:cubicBezTo>
                      <a:pt x="146" y="45"/>
                      <a:pt x="140" y="44"/>
                      <a:pt x="135" y="45"/>
                    </a:cubicBezTo>
                    <a:close/>
                    <a:moveTo>
                      <a:pt x="183" y="161"/>
                    </a:moveTo>
                    <a:cubicBezTo>
                      <a:pt x="182" y="162"/>
                      <a:pt x="181" y="163"/>
                      <a:pt x="181" y="163"/>
                    </a:cubicBezTo>
                    <a:cubicBezTo>
                      <a:pt x="181" y="163"/>
                      <a:pt x="181" y="165"/>
                      <a:pt x="181" y="165"/>
                    </a:cubicBezTo>
                    <a:cubicBezTo>
                      <a:pt x="181" y="165"/>
                      <a:pt x="182" y="167"/>
                      <a:pt x="182" y="167"/>
                    </a:cubicBezTo>
                    <a:cubicBezTo>
                      <a:pt x="182" y="167"/>
                      <a:pt x="183" y="165"/>
                      <a:pt x="183" y="165"/>
                    </a:cubicBezTo>
                    <a:cubicBezTo>
                      <a:pt x="184" y="166"/>
                      <a:pt x="184" y="166"/>
                      <a:pt x="186" y="166"/>
                    </a:cubicBezTo>
                    <a:cubicBezTo>
                      <a:pt x="187" y="165"/>
                      <a:pt x="187" y="165"/>
                      <a:pt x="187" y="165"/>
                    </a:cubicBezTo>
                    <a:cubicBezTo>
                      <a:pt x="187" y="165"/>
                      <a:pt x="185" y="165"/>
                      <a:pt x="185" y="165"/>
                    </a:cubicBezTo>
                    <a:cubicBezTo>
                      <a:pt x="184" y="163"/>
                      <a:pt x="185" y="163"/>
                      <a:pt x="186" y="163"/>
                    </a:cubicBezTo>
                    <a:cubicBezTo>
                      <a:pt x="185" y="162"/>
                      <a:pt x="183" y="161"/>
                      <a:pt x="183" y="161"/>
                    </a:cubicBezTo>
                    <a:close/>
                    <a:moveTo>
                      <a:pt x="155" y="163"/>
                    </a:moveTo>
                    <a:cubicBezTo>
                      <a:pt x="154" y="164"/>
                      <a:pt x="154" y="166"/>
                      <a:pt x="154" y="167"/>
                    </a:cubicBezTo>
                    <a:cubicBezTo>
                      <a:pt x="152" y="167"/>
                      <a:pt x="150" y="167"/>
                      <a:pt x="148" y="167"/>
                    </a:cubicBezTo>
                    <a:cubicBezTo>
                      <a:pt x="148" y="167"/>
                      <a:pt x="146" y="171"/>
                      <a:pt x="148" y="171"/>
                    </a:cubicBezTo>
                    <a:cubicBezTo>
                      <a:pt x="149" y="171"/>
                      <a:pt x="151" y="169"/>
                      <a:pt x="152" y="169"/>
                    </a:cubicBezTo>
                    <a:cubicBezTo>
                      <a:pt x="153" y="168"/>
                      <a:pt x="154" y="169"/>
                      <a:pt x="155" y="169"/>
                    </a:cubicBezTo>
                    <a:cubicBezTo>
                      <a:pt x="156" y="168"/>
                      <a:pt x="160" y="161"/>
                      <a:pt x="155" y="163"/>
                    </a:cubicBezTo>
                    <a:close/>
                    <a:moveTo>
                      <a:pt x="162" y="169"/>
                    </a:moveTo>
                    <a:cubicBezTo>
                      <a:pt x="162" y="171"/>
                      <a:pt x="162" y="171"/>
                      <a:pt x="162" y="171"/>
                    </a:cubicBezTo>
                    <a:cubicBezTo>
                      <a:pt x="160" y="171"/>
                      <a:pt x="159" y="170"/>
                      <a:pt x="158" y="170"/>
                    </a:cubicBezTo>
                    <a:cubicBezTo>
                      <a:pt x="159" y="174"/>
                      <a:pt x="156" y="172"/>
                      <a:pt x="160" y="175"/>
                    </a:cubicBezTo>
                    <a:cubicBezTo>
                      <a:pt x="160" y="176"/>
                      <a:pt x="160" y="176"/>
                      <a:pt x="160" y="176"/>
                    </a:cubicBezTo>
                    <a:cubicBezTo>
                      <a:pt x="161" y="175"/>
                      <a:pt x="166" y="170"/>
                      <a:pt x="162" y="169"/>
                    </a:cubicBezTo>
                    <a:close/>
                    <a:moveTo>
                      <a:pt x="124" y="177"/>
                    </a:moveTo>
                    <a:cubicBezTo>
                      <a:pt x="124" y="178"/>
                      <a:pt x="121" y="181"/>
                      <a:pt x="124" y="181"/>
                    </a:cubicBezTo>
                    <a:cubicBezTo>
                      <a:pt x="123" y="182"/>
                      <a:pt x="126" y="183"/>
                      <a:pt x="126" y="183"/>
                    </a:cubicBezTo>
                    <a:cubicBezTo>
                      <a:pt x="127" y="182"/>
                      <a:pt x="126" y="181"/>
                      <a:pt x="127" y="181"/>
                    </a:cubicBezTo>
                    <a:cubicBezTo>
                      <a:pt x="127" y="179"/>
                      <a:pt x="127" y="180"/>
                      <a:pt x="128" y="178"/>
                    </a:cubicBezTo>
                    <a:cubicBezTo>
                      <a:pt x="126" y="177"/>
                      <a:pt x="126" y="177"/>
                      <a:pt x="124" y="177"/>
                    </a:cubicBezTo>
                    <a:close/>
                    <a:moveTo>
                      <a:pt x="121" y="182"/>
                    </a:moveTo>
                    <a:cubicBezTo>
                      <a:pt x="120" y="182"/>
                      <a:pt x="120" y="182"/>
                      <a:pt x="118" y="183"/>
                    </a:cubicBezTo>
                    <a:cubicBezTo>
                      <a:pt x="118" y="183"/>
                      <a:pt x="119" y="185"/>
                      <a:pt x="118" y="185"/>
                    </a:cubicBezTo>
                    <a:cubicBezTo>
                      <a:pt x="117" y="184"/>
                      <a:pt x="118" y="187"/>
                      <a:pt x="118" y="187"/>
                    </a:cubicBezTo>
                    <a:cubicBezTo>
                      <a:pt x="118" y="187"/>
                      <a:pt x="120" y="188"/>
                      <a:pt x="120" y="188"/>
                    </a:cubicBezTo>
                    <a:cubicBezTo>
                      <a:pt x="124" y="185"/>
                      <a:pt x="122" y="186"/>
                      <a:pt x="123" y="182"/>
                    </a:cubicBezTo>
                    <a:cubicBezTo>
                      <a:pt x="123" y="182"/>
                      <a:pt x="121" y="182"/>
                      <a:pt x="121" y="182"/>
                    </a:cubicBezTo>
                    <a:close/>
                    <a:moveTo>
                      <a:pt x="114" y="189"/>
                    </a:moveTo>
                    <a:cubicBezTo>
                      <a:pt x="109" y="192"/>
                      <a:pt x="108" y="195"/>
                      <a:pt x="108" y="201"/>
                    </a:cubicBezTo>
                    <a:cubicBezTo>
                      <a:pt x="109" y="201"/>
                      <a:pt x="109" y="201"/>
                      <a:pt x="109" y="201"/>
                    </a:cubicBezTo>
                    <a:cubicBezTo>
                      <a:pt x="110" y="201"/>
                      <a:pt x="110" y="199"/>
                      <a:pt x="110" y="199"/>
                    </a:cubicBezTo>
                    <a:cubicBezTo>
                      <a:pt x="112" y="198"/>
                      <a:pt x="112" y="199"/>
                      <a:pt x="113" y="199"/>
                    </a:cubicBezTo>
                    <a:cubicBezTo>
                      <a:pt x="115" y="196"/>
                      <a:pt x="116" y="195"/>
                      <a:pt x="116" y="190"/>
                    </a:cubicBezTo>
                    <a:lnTo>
                      <a:pt x="114" y="189"/>
                    </a:lnTo>
                    <a:close/>
                    <a:moveTo>
                      <a:pt x="97" y="201"/>
                    </a:moveTo>
                    <a:cubicBezTo>
                      <a:pt x="95" y="206"/>
                      <a:pt x="94" y="208"/>
                      <a:pt x="92" y="213"/>
                    </a:cubicBezTo>
                    <a:cubicBezTo>
                      <a:pt x="93" y="213"/>
                      <a:pt x="94" y="211"/>
                      <a:pt x="94" y="211"/>
                    </a:cubicBezTo>
                    <a:cubicBezTo>
                      <a:pt x="95" y="211"/>
                      <a:pt x="94" y="214"/>
                      <a:pt x="94" y="214"/>
                    </a:cubicBezTo>
                    <a:cubicBezTo>
                      <a:pt x="95" y="214"/>
                      <a:pt x="96" y="214"/>
                      <a:pt x="96" y="214"/>
                    </a:cubicBezTo>
                    <a:cubicBezTo>
                      <a:pt x="96" y="214"/>
                      <a:pt x="96" y="212"/>
                      <a:pt x="96" y="212"/>
                    </a:cubicBezTo>
                    <a:cubicBezTo>
                      <a:pt x="97" y="212"/>
                      <a:pt x="99" y="212"/>
                      <a:pt x="98" y="213"/>
                    </a:cubicBezTo>
                    <a:cubicBezTo>
                      <a:pt x="101" y="210"/>
                      <a:pt x="103" y="209"/>
                      <a:pt x="105" y="206"/>
                    </a:cubicBezTo>
                    <a:cubicBezTo>
                      <a:pt x="104" y="203"/>
                      <a:pt x="104" y="203"/>
                      <a:pt x="104" y="203"/>
                    </a:cubicBezTo>
                    <a:cubicBezTo>
                      <a:pt x="103" y="203"/>
                      <a:pt x="102" y="203"/>
                      <a:pt x="101" y="203"/>
                    </a:cubicBezTo>
                    <a:cubicBezTo>
                      <a:pt x="101" y="205"/>
                      <a:pt x="101" y="205"/>
                      <a:pt x="101" y="205"/>
                    </a:cubicBezTo>
                    <a:cubicBezTo>
                      <a:pt x="100" y="205"/>
                      <a:pt x="99" y="205"/>
                      <a:pt x="98" y="205"/>
                    </a:cubicBezTo>
                    <a:cubicBezTo>
                      <a:pt x="98" y="204"/>
                      <a:pt x="99" y="202"/>
                      <a:pt x="98" y="201"/>
                    </a:cubicBezTo>
                    <a:lnTo>
                      <a:pt x="97" y="201"/>
                    </a:lnTo>
                    <a:close/>
                    <a:moveTo>
                      <a:pt x="167" y="163"/>
                    </a:moveTo>
                    <a:cubicBezTo>
                      <a:pt x="167" y="164"/>
                      <a:pt x="167" y="166"/>
                      <a:pt x="168" y="166"/>
                    </a:cubicBezTo>
                    <a:cubicBezTo>
                      <a:pt x="170" y="168"/>
                      <a:pt x="168" y="163"/>
                      <a:pt x="168" y="163"/>
                    </a:cubicBezTo>
                    <a:lnTo>
                      <a:pt x="167" y="163"/>
                    </a:lnTo>
                    <a:close/>
                    <a:moveTo>
                      <a:pt x="130" y="173"/>
                    </a:moveTo>
                    <a:cubicBezTo>
                      <a:pt x="131" y="174"/>
                      <a:pt x="130" y="175"/>
                      <a:pt x="131" y="177"/>
                    </a:cubicBezTo>
                    <a:cubicBezTo>
                      <a:pt x="136" y="177"/>
                      <a:pt x="130" y="173"/>
                      <a:pt x="130" y="173"/>
                    </a:cubicBezTo>
                    <a:close/>
                    <a:moveTo>
                      <a:pt x="152" y="173"/>
                    </a:moveTo>
                    <a:cubicBezTo>
                      <a:pt x="148" y="173"/>
                      <a:pt x="155" y="174"/>
                      <a:pt x="155" y="174"/>
                    </a:cubicBezTo>
                    <a:cubicBezTo>
                      <a:pt x="154" y="174"/>
                      <a:pt x="156" y="172"/>
                      <a:pt x="152" y="173"/>
                    </a:cubicBezTo>
                    <a:close/>
                    <a:moveTo>
                      <a:pt x="137" y="174"/>
                    </a:moveTo>
                    <a:cubicBezTo>
                      <a:pt x="137" y="175"/>
                      <a:pt x="137" y="175"/>
                      <a:pt x="137" y="175"/>
                    </a:cubicBezTo>
                    <a:cubicBezTo>
                      <a:pt x="136" y="175"/>
                      <a:pt x="137" y="177"/>
                      <a:pt x="138" y="177"/>
                    </a:cubicBezTo>
                    <a:cubicBezTo>
                      <a:pt x="138" y="177"/>
                      <a:pt x="139" y="173"/>
                      <a:pt x="137" y="174"/>
                    </a:cubicBezTo>
                    <a:close/>
                    <a:moveTo>
                      <a:pt x="105" y="195"/>
                    </a:moveTo>
                    <a:cubicBezTo>
                      <a:pt x="103" y="199"/>
                      <a:pt x="102" y="200"/>
                      <a:pt x="106" y="197"/>
                    </a:cubicBezTo>
                    <a:cubicBezTo>
                      <a:pt x="106" y="197"/>
                      <a:pt x="106" y="194"/>
                      <a:pt x="105" y="195"/>
                    </a:cubicBezTo>
                    <a:close/>
                    <a:moveTo>
                      <a:pt x="92" y="203"/>
                    </a:moveTo>
                    <a:cubicBezTo>
                      <a:pt x="91" y="203"/>
                      <a:pt x="90" y="204"/>
                      <a:pt x="90" y="205"/>
                    </a:cubicBezTo>
                    <a:cubicBezTo>
                      <a:pt x="88" y="206"/>
                      <a:pt x="92" y="205"/>
                      <a:pt x="93" y="206"/>
                    </a:cubicBezTo>
                    <a:cubicBezTo>
                      <a:pt x="93" y="204"/>
                      <a:pt x="94" y="202"/>
                      <a:pt x="92" y="203"/>
                    </a:cubicBezTo>
                    <a:close/>
                    <a:moveTo>
                      <a:pt x="89" y="210"/>
                    </a:moveTo>
                    <a:cubicBezTo>
                      <a:pt x="88" y="211"/>
                      <a:pt x="87" y="214"/>
                      <a:pt x="85" y="215"/>
                    </a:cubicBezTo>
                    <a:cubicBezTo>
                      <a:pt x="84" y="215"/>
                      <a:pt x="84" y="215"/>
                      <a:pt x="84" y="215"/>
                    </a:cubicBezTo>
                    <a:cubicBezTo>
                      <a:pt x="84" y="215"/>
                      <a:pt x="83" y="216"/>
                      <a:pt x="85" y="215"/>
                    </a:cubicBezTo>
                    <a:cubicBezTo>
                      <a:pt x="85" y="216"/>
                      <a:pt x="83" y="217"/>
                      <a:pt x="85" y="216"/>
                    </a:cubicBezTo>
                    <a:cubicBezTo>
                      <a:pt x="87" y="215"/>
                      <a:pt x="89" y="213"/>
                      <a:pt x="90" y="211"/>
                    </a:cubicBezTo>
                    <a:cubicBezTo>
                      <a:pt x="90" y="211"/>
                      <a:pt x="90" y="210"/>
                      <a:pt x="90" y="210"/>
                    </a:cubicBezTo>
                    <a:lnTo>
                      <a:pt x="89" y="210"/>
                    </a:lnTo>
                    <a:close/>
                    <a:moveTo>
                      <a:pt x="79" y="215"/>
                    </a:moveTo>
                    <a:cubicBezTo>
                      <a:pt x="79" y="217"/>
                      <a:pt x="79" y="217"/>
                      <a:pt x="79" y="217"/>
                    </a:cubicBezTo>
                    <a:cubicBezTo>
                      <a:pt x="77" y="216"/>
                      <a:pt x="79" y="218"/>
                      <a:pt x="81" y="218"/>
                    </a:cubicBezTo>
                    <a:cubicBezTo>
                      <a:pt x="82" y="218"/>
                      <a:pt x="81" y="216"/>
                      <a:pt x="81" y="216"/>
                    </a:cubicBezTo>
                    <a:lnTo>
                      <a:pt x="79" y="215"/>
                    </a:lnTo>
                    <a:close/>
                    <a:moveTo>
                      <a:pt x="87" y="249"/>
                    </a:moveTo>
                    <a:cubicBezTo>
                      <a:pt x="89" y="249"/>
                      <a:pt x="86" y="250"/>
                      <a:pt x="86" y="250"/>
                    </a:cubicBezTo>
                    <a:cubicBezTo>
                      <a:pt x="86" y="250"/>
                      <a:pt x="85" y="249"/>
                      <a:pt x="87" y="249"/>
                    </a:cubicBezTo>
                    <a:close/>
                    <a:moveTo>
                      <a:pt x="79" y="250"/>
                    </a:moveTo>
                    <a:cubicBezTo>
                      <a:pt x="78" y="250"/>
                      <a:pt x="78" y="251"/>
                      <a:pt x="80" y="252"/>
                    </a:cubicBezTo>
                    <a:cubicBezTo>
                      <a:pt x="80" y="251"/>
                      <a:pt x="80" y="250"/>
                      <a:pt x="79" y="250"/>
                    </a:cubicBezTo>
                    <a:close/>
                    <a:moveTo>
                      <a:pt x="38" y="280"/>
                    </a:moveTo>
                    <a:cubicBezTo>
                      <a:pt x="36" y="281"/>
                      <a:pt x="31" y="285"/>
                      <a:pt x="36" y="284"/>
                    </a:cubicBezTo>
                    <a:cubicBezTo>
                      <a:pt x="37" y="283"/>
                      <a:pt x="41" y="280"/>
                      <a:pt x="38" y="280"/>
                    </a:cubicBezTo>
                    <a:close/>
                    <a:moveTo>
                      <a:pt x="27" y="290"/>
                    </a:moveTo>
                    <a:cubicBezTo>
                      <a:pt x="27" y="292"/>
                      <a:pt x="27" y="292"/>
                      <a:pt x="27" y="292"/>
                    </a:cubicBezTo>
                    <a:cubicBezTo>
                      <a:pt x="29" y="292"/>
                      <a:pt x="27" y="291"/>
                      <a:pt x="27" y="290"/>
                    </a:cubicBezTo>
                    <a:close/>
                    <a:moveTo>
                      <a:pt x="35" y="292"/>
                    </a:moveTo>
                    <a:cubicBezTo>
                      <a:pt x="37" y="292"/>
                      <a:pt x="37" y="294"/>
                      <a:pt x="35" y="294"/>
                    </a:cubicBezTo>
                    <a:cubicBezTo>
                      <a:pt x="35" y="294"/>
                      <a:pt x="34" y="292"/>
                      <a:pt x="35" y="292"/>
                    </a:cubicBezTo>
                    <a:close/>
                    <a:moveTo>
                      <a:pt x="22" y="306"/>
                    </a:moveTo>
                    <a:cubicBezTo>
                      <a:pt x="21" y="306"/>
                      <a:pt x="23" y="306"/>
                      <a:pt x="23" y="306"/>
                    </a:cubicBezTo>
                    <a:cubicBezTo>
                      <a:pt x="23" y="307"/>
                      <a:pt x="23" y="307"/>
                      <a:pt x="23" y="308"/>
                    </a:cubicBezTo>
                    <a:cubicBezTo>
                      <a:pt x="22" y="308"/>
                      <a:pt x="22" y="309"/>
                      <a:pt x="21" y="309"/>
                    </a:cubicBezTo>
                    <a:cubicBezTo>
                      <a:pt x="21" y="308"/>
                      <a:pt x="21" y="305"/>
                      <a:pt x="22" y="306"/>
                    </a:cubicBezTo>
                    <a:close/>
                    <a:moveTo>
                      <a:pt x="8" y="337"/>
                    </a:moveTo>
                    <a:cubicBezTo>
                      <a:pt x="8" y="337"/>
                      <a:pt x="9" y="339"/>
                      <a:pt x="9" y="339"/>
                    </a:cubicBezTo>
                    <a:cubicBezTo>
                      <a:pt x="10" y="339"/>
                      <a:pt x="10" y="337"/>
                      <a:pt x="8" y="337"/>
                    </a:cubicBezTo>
                    <a:close/>
                    <a:moveTo>
                      <a:pt x="5" y="339"/>
                    </a:moveTo>
                    <a:cubicBezTo>
                      <a:pt x="5" y="340"/>
                      <a:pt x="5" y="340"/>
                      <a:pt x="5" y="340"/>
                    </a:cubicBezTo>
                    <a:cubicBezTo>
                      <a:pt x="6" y="340"/>
                      <a:pt x="6" y="340"/>
                      <a:pt x="6" y="340"/>
                    </a:cubicBezTo>
                    <a:cubicBezTo>
                      <a:pt x="5" y="340"/>
                      <a:pt x="7" y="339"/>
                      <a:pt x="5" y="339"/>
                    </a:cubicBezTo>
                    <a:close/>
                    <a:moveTo>
                      <a:pt x="5" y="342"/>
                    </a:moveTo>
                    <a:cubicBezTo>
                      <a:pt x="5" y="343"/>
                      <a:pt x="5" y="343"/>
                      <a:pt x="5" y="343"/>
                    </a:cubicBezTo>
                    <a:cubicBezTo>
                      <a:pt x="5" y="342"/>
                      <a:pt x="6" y="342"/>
                      <a:pt x="5" y="342"/>
                    </a:cubicBezTo>
                    <a:close/>
                    <a:moveTo>
                      <a:pt x="58" y="355"/>
                    </a:moveTo>
                    <a:cubicBezTo>
                      <a:pt x="58" y="355"/>
                      <a:pt x="58" y="354"/>
                      <a:pt x="60" y="355"/>
                    </a:cubicBezTo>
                    <a:cubicBezTo>
                      <a:pt x="62" y="356"/>
                      <a:pt x="62" y="352"/>
                      <a:pt x="62" y="350"/>
                    </a:cubicBezTo>
                    <a:cubicBezTo>
                      <a:pt x="62" y="348"/>
                      <a:pt x="60" y="347"/>
                      <a:pt x="60" y="345"/>
                    </a:cubicBezTo>
                    <a:cubicBezTo>
                      <a:pt x="60" y="342"/>
                      <a:pt x="58" y="343"/>
                      <a:pt x="61" y="342"/>
                    </a:cubicBezTo>
                    <a:cubicBezTo>
                      <a:pt x="63" y="341"/>
                      <a:pt x="61" y="339"/>
                      <a:pt x="63" y="338"/>
                    </a:cubicBezTo>
                    <a:cubicBezTo>
                      <a:pt x="65" y="337"/>
                      <a:pt x="65" y="336"/>
                      <a:pt x="63" y="334"/>
                    </a:cubicBezTo>
                    <a:cubicBezTo>
                      <a:pt x="61" y="332"/>
                      <a:pt x="63" y="331"/>
                      <a:pt x="63" y="329"/>
                    </a:cubicBezTo>
                    <a:cubicBezTo>
                      <a:pt x="63" y="327"/>
                      <a:pt x="64" y="323"/>
                      <a:pt x="64" y="323"/>
                    </a:cubicBezTo>
                    <a:cubicBezTo>
                      <a:pt x="64" y="323"/>
                      <a:pt x="64" y="324"/>
                      <a:pt x="66" y="322"/>
                    </a:cubicBezTo>
                    <a:cubicBezTo>
                      <a:pt x="68" y="321"/>
                      <a:pt x="67" y="320"/>
                      <a:pt x="67" y="317"/>
                    </a:cubicBezTo>
                    <a:cubicBezTo>
                      <a:pt x="67" y="313"/>
                      <a:pt x="66" y="312"/>
                      <a:pt x="65" y="312"/>
                    </a:cubicBezTo>
                    <a:cubicBezTo>
                      <a:pt x="64" y="312"/>
                      <a:pt x="63" y="310"/>
                      <a:pt x="65" y="308"/>
                    </a:cubicBezTo>
                    <a:cubicBezTo>
                      <a:pt x="66" y="305"/>
                      <a:pt x="65" y="302"/>
                      <a:pt x="65" y="300"/>
                    </a:cubicBezTo>
                    <a:cubicBezTo>
                      <a:pt x="65" y="298"/>
                      <a:pt x="65" y="294"/>
                      <a:pt x="65" y="293"/>
                    </a:cubicBezTo>
                    <a:cubicBezTo>
                      <a:pt x="66" y="291"/>
                      <a:pt x="65" y="289"/>
                      <a:pt x="64" y="287"/>
                    </a:cubicBezTo>
                    <a:cubicBezTo>
                      <a:pt x="63" y="285"/>
                      <a:pt x="69" y="283"/>
                      <a:pt x="69" y="281"/>
                    </a:cubicBezTo>
                    <a:cubicBezTo>
                      <a:pt x="69" y="278"/>
                      <a:pt x="73" y="275"/>
                      <a:pt x="73" y="273"/>
                    </a:cubicBezTo>
                    <a:cubicBezTo>
                      <a:pt x="73" y="271"/>
                      <a:pt x="78" y="268"/>
                      <a:pt x="80" y="267"/>
                    </a:cubicBezTo>
                    <a:cubicBezTo>
                      <a:pt x="82" y="266"/>
                      <a:pt x="84" y="271"/>
                      <a:pt x="86" y="272"/>
                    </a:cubicBezTo>
                    <a:cubicBezTo>
                      <a:pt x="88" y="273"/>
                      <a:pt x="88" y="269"/>
                      <a:pt x="89" y="266"/>
                    </a:cubicBezTo>
                    <a:cubicBezTo>
                      <a:pt x="90" y="263"/>
                      <a:pt x="88" y="259"/>
                      <a:pt x="88" y="257"/>
                    </a:cubicBezTo>
                    <a:cubicBezTo>
                      <a:pt x="88" y="256"/>
                      <a:pt x="92" y="255"/>
                      <a:pt x="94" y="253"/>
                    </a:cubicBezTo>
                    <a:cubicBezTo>
                      <a:pt x="96" y="252"/>
                      <a:pt x="98" y="244"/>
                      <a:pt x="98" y="242"/>
                    </a:cubicBezTo>
                    <a:cubicBezTo>
                      <a:pt x="98" y="240"/>
                      <a:pt x="99" y="236"/>
                      <a:pt x="101" y="236"/>
                    </a:cubicBezTo>
                    <a:cubicBezTo>
                      <a:pt x="103" y="236"/>
                      <a:pt x="104" y="236"/>
                      <a:pt x="104" y="234"/>
                    </a:cubicBezTo>
                    <a:cubicBezTo>
                      <a:pt x="104" y="232"/>
                      <a:pt x="107" y="231"/>
                      <a:pt x="108" y="230"/>
                    </a:cubicBezTo>
                    <a:cubicBezTo>
                      <a:pt x="110" y="228"/>
                      <a:pt x="111" y="228"/>
                      <a:pt x="111" y="226"/>
                    </a:cubicBezTo>
                    <a:cubicBezTo>
                      <a:pt x="111" y="223"/>
                      <a:pt x="112" y="221"/>
                      <a:pt x="113" y="219"/>
                    </a:cubicBezTo>
                    <a:cubicBezTo>
                      <a:pt x="114" y="217"/>
                      <a:pt x="116" y="215"/>
                      <a:pt x="116" y="215"/>
                    </a:cubicBezTo>
                    <a:cubicBezTo>
                      <a:pt x="116" y="215"/>
                      <a:pt x="125" y="223"/>
                      <a:pt x="123" y="220"/>
                    </a:cubicBezTo>
                    <a:cubicBezTo>
                      <a:pt x="121" y="219"/>
                      <a:pt x="124" y="217"/>
                      <a:pt x="123" y="215"/>
                    </a:cubicBezTo>
                    <a:cubicBezTo>
                      <a:pt x="122" y="213"/>
                      <a:pt x="125" y="214"/>
                      <a:pt x="126" y="213"/>
                    </a:cubicBezTo>
                    <a:cubicBezTo>
                      <a:pt x="126" y="212"/>
                      <a:pt x="130" y="214"/>
                      <a:pt x="132" y="214"/>
                    </a:cubicBezTo>
                    <a:cubicBezTo>
                      <a:pt x="133" y="215"/>
                      <a:pt x="135" y="210"/>
                      <a:pt x="135" y="210"/>
                    </a:cubicBezTo>
                    <a:cubicBezTo>
                      <a:pt x="136" y="205"/>
                      <a:pt x="136" y="205"/>
                      <a:pt x="136" y="205"/>
                    </a:cubicBezTo>
                    <a:cubicBezTo>
                      <a:pt x="134" y="202"/>
                      <a:pt x="134" y="202"/>
                      <a:pt x="134" y="202"/>
                    </a:cubicBezTo>
                    <a:cubicBezTo>
                      <a:pt x="138" y="197"/>
                      <a:pt x="138" y="197"/>
                      <a:pt x="138" y="197"/>
                    </a:cubicBezTo>
                    <a:cubicBezTo>
                      <a:pt x="140" y="196"/>
                      <a:pt x="140" y="196"/>
                      <a:pt x="140" y="196"/>
                    </a:cubicBezTo>
                    <a:cubicBezTo>
                      <a:pt x="141" y="194"/>
                      <a:pt x="141" y="194"/>
                      <a:pt x="141" y="194"/>
                    </a:cubicBezTo>
                    <a:cubicBezTo>
                      <a:pt x="142" y="192"/>
                      <a:pt x="147" y="196"/>
                      <a:pt x="147" y="196"/>
                    </a:cubicBezTo>
                    <a:cubicBezTo>
                      <a:pt x="150" y="202"/>
                      <a:pt x="150" y="202"/>
                      <a:pt x="150" y="202"/>
                    </a:cubicBezTo>
                    <a:cubicBezTo>
                      <a:pt x="150" y="202"/>
                      <a:pt x="156" y="203"/>
                      <a:pt x="158" y="204"/>
                    </a:cubicBezTo>
                    <a:cubicBezTo>
                      <a:pt x="163" y="206"/>
                      <a:pt x="163" y="203"/>
                      <a:pt x="165" y="203"/>
                    </a:cubicBezTo>
                    <a:cubicBezTo>
                      <a:pt x="168" y="203"/>
                      <a:pt x="172" y="207"/>
                      <a:pt x="172" y="207"/>
                    </a:cubicBezTo>
                    <a:cubicBezTo>
                      <a:pt x="172" y="207"/>
                      <a:pt x="178" y="207"/>
                      <a:pt x="179" y="204"/>
                    </a:cubicBezTo>
                    <a:cubicBezTo>
                      <a:pt x="181" y="200"/>
                      <a:pt x="183" y="203"/>
                      <a:pt x="184" y="200"/>
                    </a:cubicBezTo>
                    <a:cubicBezTo>
                      <a:pt x="185" y="197"/>
                      <a:pt x="184" y="199"/>
                      <a:pt x="184" y="197"/>
                    </a:cubicBezTo>
                    <a:cubicBezTo>
                      <a:pt x="184" y="195"/>
                      <a:pt x="184" y="196"/>
                      <a:pt x="184" y="194"/>
                    </a:cubicBezTo>
                    <a:cubicBezTo>
                      <a:pt x="185" y="192"/>
                      <a:pt x="184" y="188"/>
                      <a:pt x="186" y="187"/>
                    </a:cubicBezTo>
                    <a:cubicBezTo>
                      <a:pt x="188" y="187"/>
                      <a:pt x="191" y="186"/>
                      <a:pt x="191" y="186"/>
                    </a:cubicBezTo>
                    <a:cubicBezTo>
                      <a:pt x="191" y="186"/>
                      <a:pt x="196" y="184"/>
                      <a:pt x="198" y="183"/>
                    </a:cubicBezTo>
                    <a:cubicBezTo>
                      <a:pt x="200" y="182"/>
                      <a:pt x="203" y="184"/>
                      <a:pt x="203" y="184"/>
                    </a:cubicBezTo>
                    <a:cubicBezTo>
                      <a:pt x="203" y="184"/>
                      <a:pt x="207" y="188"/>
                      <a:pt x="209" y="189"/>
                    </a:cubicBezTo>
                    <a:cubicBezTo>
                      <a:pt x="213" y="190"/>
                      <a:pt x="207" y="197"/>
                      <a:pt x="207" y="197"/>
                    </a:cubicBezTo>
                    <a:cubicBezTo>
                      <a:pt x="206" y="200"/>
                      <a:pt x="211" y="198"/>
                      <a:pt x="211" y="198"/>
                    </a:cubicBezTo>
                    <a:cubicBezTo>
                      <a:pt x="214" y="194"/>
                      <a:pt x="214" y="194"/>
                      <a:pt x="214" y="194"/>
                    </a:cubicBezTo>
                    <a:cubicBezTo>
                      <a:pt x="214" y="194"/>
                      <a:pt x="215" y="193"/>
                      <a:pt x="217" y="192"/>
                    </a:cubicBezTo>
                    <a:cubicBezTo>
                      <a:pt x="218" y="190"/>
                      <a:pt x="218" y="190"/>
                      <a:pt x="220" y="189"/>
                    </a:cubicBezTo>
                    <a:cubicBezTo>
                      <a:pt x="222" y="188"/>
                      <a:pt x="221" y="189"/>
                      <a:pt x="221" y="189"/>
                    </a:cubicBezTo>
                    <a:cubicBezTo>
                      <a:pt x="221" y="189"/>
                      <a:pt x="225" y="188"/>
                      <a:pt x="225" y="186"/>
                    </a:cubicBezTo>
                    <a:cubicBezTo>
                      <a:pt x="225" y="186"/>
                      <a:pt x="225" y="183"/>
                      <a:pt x="227" y="186"/>
                    </a:cubicBezTo>
                    <a:cubicBezTo>
                      <a:pt x="227" y="187"/>
                      <a:pt x="233" y="188"/>
                      <a:pt x="232" y="184"/>
                    </a:cubicBezTo>
                    <a:cubicBezTo>
                      <a:pt x="231" y="183"/>
                      <a:pt x="229" y="183"/>
                      <a:pt x="228" y="183"/>
                    </a:cubicBezTo>
                    <a:cubicBezTo>
                      <a:pt x="228" y="183"/>
                      <a:pt x="225" y="183"/>
                      <a:pt x="225" y="183"/>
                    </a:cubicBezTo>
                    <a:cubicBezTo>
                      <a:pt x="224" y="185"/>
                      <a:pt x="224" y="185"/>
                      <a:pt x="223" y="186"/>
                    </a:cubicBezTo>
                    <a:cubicBezTo>
                      <a:pt x="222" y="185"/>
                      <a:pt x="222" y="184"/>
                      <a:pt x="221" y="184"/>
                    </a:cubicBezTo>
                    <a:cubicBezTo>
                      <a:pt x="221" y="185"/>
                      <a:pt x="221" y="186"/>
                      <a:pt x="220" y="187"/>
                    </a:cubicBezTo>
                    <a:cubicBezTo>
                      <a:pt x="219" y="187"/>
                      <a:pt x="218" y="187"/>
                      <a:pt x="217" y="187"/>
                    </a:cubicBezTo>
                    <a:cubicBezTo>
                      <a:pt x="216" y="187"/>
                      <a:pt x="217" y="185"/>
                      <a:pt x="217" y="185"/>
                    </a:cubicBezTo>
                    <a:cubicBezTo>
                      <a:pt x="217" y="184"/>
                      <a:pt x="215" y="183"/>
                      <a:pt x="215" y="182"/>
                    </a:cubicBezTo>
                    <a:cubicBezTo>
                      <a:pt x="218" y="182"/>
                      <a:pt x="220" y="183"/>
                      <a:pt x="222" y="181"/>
                    </a:cubicBezTo>
                    <a:cubicBezTo>
                      <a:pt x="223" y="181"/>
                      <a:pt x="223" y="179"/>
                      <a:pt x="223" y="179"/>
                    </a:cubicBezTo>
                    <a:cubicBezTo>
                      <a:pt x="225" y="178"/>
                      <a:pt x="227" y="179"/>
                      <a:pt x="229" y="179"/>
                    </a:cubicBezTo>
                    <a:cubicBezTo>
                      <a:pt x="226" y="173"/>
                      <a:pt x="228" y="174"/>
                      <a:pt x="221" y="174"/>
                    </a:cubicBezTo>
                    <a:cubicBezTo>
                      <a:pt x="224" y="168"/>
                      <a:pt x="222" y="169"/>
                      <a:pt x="218" y="172"/>
                    </a:cubicBezTo>
                    <a:cubicBezTo>
                      <a:pt x="217" y="171"/>
                      <a:pt x="216" y="167"/>
                      <a:pt x="215" y="166"/>
                    </a:cubicBezTo>
                    <a:cubicBezTo>
                      <a:pt x="215" y="166"/>
                      <a:pt x="213" y="166"/>
                      <a:pt x="213" y="165"/>
                    </a:cubicBezTo>
                    <a:cubicBezTo>
                      <a:pt x="211" y="170"/>
                      <a:pt x="211" y="169"/>
                      <a:pt x="212" y="173"/>
                    </a:cubicBezTo>
                    <a:cubicBezTo>
                      <a:pt x="211" y="174"/>
                      <a:pt x="210" y="175"/>
                      <a:pt x="209" y="175"/>
                    </a:cubicBezTo>
                    <a:cubicBezTo>
                      <a:pt x="206" y="173"/>
                      <a:pt x="212" y="168"/>
                      <a:pt x="209" y="169"/>
                    </a:cubicBezTo>
                    <a:cubicBezTo>
                      <a:pt x="209" y="169"/>
                      <a:pt x="208" y="170"/>
                      <a:pt x="207" y="170"/>
                    </a:cubicBezTo>
                    <a:cubicBezTo>
                      <a:pt x="208" y="171"/>
                      <a:pt x="207" y="171"/>
                      <a:pt x="206" y="171"/>
                    </a:cubicBezTo>
                    <a:cubicBezTo>
                      <a:pt x="206" y="169"/>
                      <a:pt x="206" y="168"/>
                      <a:pt x="205" y="167"/>
                    </a:cubicBezTo>
                    <a:cubicBezTo>
                      <a:pt x="207" y="167"/>
                      <a:pt x="211" y="166"/>
                      <a:pt x="208" y="165"/>
                    </a:cubicBezTo>
                    <a:cubicBezTo>
                      <a:pt x="208" y="165"/>
                      <a:pt x="208" y="162"/>
                      <a:pt x="208" y="162"/>
                    </a:cubicBezTo>
                    <a:cubicBezTo>
                      <a:pt x="208" y="162"/>
                      <a:pt x="204" y="162"/>
                      <a:pt x="205" y="162"/>
                    </a:cubicBezTo>
                    <a:cubicBezTo>
                      <a:pt x="204" y="161"/>
                      <a:pt x="204" y="161"/>
                      <a:pt x="204" y="161"/>
                    </a:cubicBezTo>
                    <a:cubicBezTo>
                      <a:pt x="203" y="160"/>
                      <a:pt x="202" y="161"/>
                      <a:pt x="201" y="161"/>
                    </a:cubicBezTo>
                    <a:cubicBezTo>
                      <a:pt x="201" y="162"/>
                      <a:pt x="202" y="163"/>
                      <a:pt x="201" y="164"/>
                    </a:cubicBezTo>
                    <a:cubicBezTo>
                      <a:pt x="201" y="164"/>
                      <a:pt x="201" y="164"/>
                      <a:pt x="201" y="164"/>
                    </a:cubicBezTo>
                    <a:cubicBezTo>
                      <a:pt x="200" y="164"/>
                      <a:pt x="200" y="164"/>
                      <a:pt x="199" y="165"/>
                    </a:cubicBezTo>
                    <a:cubicBezTo>
                      <a:pt x="199" y="165"/>
                      <a:pt x="199" y="167"/>
                      <a:pt x="199" y="167"/>
                    </a:cubicBezTo>
                    <a:cubicBezTo>
                      <a:pt x="199" y="167"/>
                      <a:pt x="200" y="168"/>
                      <a:pt x="200" y="169"/>
                    </a:cubicBezTo>
                    <a:cubicBezTo>
                      <a:pt x="199" y="169"/>
                      <a:pt x="198" y="169"/>
                      <a:pt x="198" y="170"/>
                    </a:cubicBezTo>
                    <a:cubicBezTo>
                      <a:pt x="196" y="171"/>
                      <a:pt x="197" y="172"/>
                      <a:pt x="196" y="174"/>
                    </a:cubicBezTo>
                    <a:cubicBezTo>
                      <a:pt x="196" y="174"/>
                      <a:pt x="192" y="176"/>
                      <a:pt x="192" y="177"/>
                    </a:cubicBezTo>
                    <a:cubicBezTo>
                      <a:pt x="192" y="177"/>
                      <a:pt x="192" y="178"/>
                      <a:pt x="192" y="179"/>
                    </a:cubicBezTo>
                    <a:cubicBezTo>
                      <a:pt x="191" y="179"/>
                      <a:pt x="192" y="174"/>
                      <a:pt x="192" y="174"/>
                    </a:cubicBezTo>
                    <a:cubicBezTo>
                      <a:pt x="192" y="173"/>
                      <a:pt x="192" y="173"/>
                      <a:pt x="192" y="173"/>
                    </a:cubicBezTo>
                    <a:cubicBezTo>
                      <a:pt x="191" y="178"/>
                      <a:pt x="193" y="174"/>
                      <a:pt x="193" y="174"/>
                    </a:cubicBezTo>
                    <a:cubicBezTo>
                      <a:pt x="193" y="173"/>
                      <a:pt x="192" y="172"/>
                      <a:pt x="192" y="171"/>
                    </a:cubicBezTo>
                    <a:cubicBezTo>
                      <a:pt x="192" y="171"/>
                      <a:pt x="194" y="169"/>
                      <a:pt x="194" y="169"/>
                    </a:cubicBezTo>
                    <a:cubicBezTo>
                      <a:pt x="194" y="167"/>
                      <a:pt x="193" y="168"/>
                      <a:pt x="194" y="166"/>
                    </a:cubicBezTo>
                    <a:cubicBezTo>
                      <a:pt x="192" y="166"/>
                      <a:pt x="192" y="166"/>
                      <a:pt x="192" y="166"/>
                    </a:cubicBezTo>
                    <a:cubicBezTo>
                      <a:pt x="192" y="166"/>
                      <a:pt x="192" y="168"/>
                      <a:pt x="192" y="168"/>
                    </a:cubicBezTo>
                    <a:cubicBezTo>
                      <a:pt x="191" y="168"/>
                      <a:pt x="191" y="168"/>
                      <a:pt x="191" y="168"/>
                    </a:cubicBezTo>
                    <a:cubicBezTo>
                      <a:pt x="191" y="169"/>
                      <a:pt x="190" y="171"/>
                      <a:pt x="190" y="171"/>
                    </a:cubicBezTo>
                    <a:cubicBezTo>
                      <a:pt x="188" y="171"/>
                      <a:pt x="188" y="171"/>
                      <a:pt x="188" y="171"/>
                    </a:cubicBezTo>
                    <a:cubicBezTo>
                      <a:pt x="187" y="173"/>
                      <a:pt x="187" y="175"/>
                      <a:pt x="186" y="177"/>
                    </a:cubicBezTo>
                    <a:cubicBezTo>
                      <a:pt x="186" y="178"/>
                      <a:pt x="184" y="178"/>
                      <a:pt x="183" y="179"/>
                    </a:cubicBezTo>
                    <a:cubicBezTo>
                      <a:pt x="182" y="180"/>
                      <a:pt x="183" y="181"/>
                      <a:pt x="182" y="183"/>
                    </a:cubicBezTo>
                    <a:cubicBezTo>
                      <a:pt x="182" y="183"/>
                      <a:pt x="181" y="184"/>
                      <a:pt x="180" y="185"/>
                    </a:cubicBezTo>
                    <a:cubicBezTo>
                      <a:pt x="179" y="185"/>
                      <a:pt x="179" y="185"/>
                      <a:pt x="178" y="185"/>
                    </a:cubicBezTo>
                    <a:cubicBezTo>
                      <a:pt x="178" y="184"/>
                      <a:pt x="180" y="178"/>
                      <a:pt x="180" y="177"/>
                    </a:cubicBezTo>
                    <a:cubicBezTo>
                      <a:pt x="181" y="176"/>
                      <a:pt x="184" y="176"/>
                      <a:pt x="184" y="175"/>
                    </a:cubicBezTo>
                    <a:cubicBezTo>
                      <a:pt x="185" y="174"/>
                      <a:pt x="185" y="171"/>
                      <a:pt x="185" y="171"/>
                    </a:cubicBezTo>
                    <a:cubicBezTo>
                      <a:pt x="183" y="170"/>
                      <a:pt x="184" y="170"/>
                      <a:pt x="182" y="171"/>
                    </a:cubicBezTo>
                    <a:cubicBezTo>
                      <a:pt x="182" y="171"/>
                      <a:pt x="182" y="169"/>
                      <a:pt x="182" y="169"/>
                    </a:cubicBezTo>
                    <a:cubicBezTo>
                      <a:pt x="180" y="168"/>
                      <a:pt x="181" y="170"/>
                      <a:pt x="180" y="170"/>
                    </a:cubicBezTo>
                    <a:cubicBezTo>
                      <a:pt x="179" y="171"/>
                      <a:pt x="176" y="167"/>
                      <a:pt x="175" y="167"/>
                    </a:cubicBezTo>
                    <a:cubicBezTo>
                      <a:pt x="175" y="167"/>
                      <a:pt x="174" y="167"/>
                      <a:pt x="174" y="167"/>
                    </a:cubicBezTo>
                    <a:cubicBezTo>
                      <a:pt x="174" y="170"/>
                      <a:pt x="174" y="171"/>
                      <a:pt x="174" y="173"/>
                    </a:cubicBezTo>
                    <a:cubicBezTo>
                      <a:pt x="174" y="173"/>
                      <a:pt x="174" y="173"/>
                      <a:pt x="174" y="173"/>
                    </a:cubicBezTo>
                    <a:cubicBezTo>
                      <a:pt x="174" y="173"/>
                      <a:pt x="173" y="174"/>
                      <a:pt x="174" y="174"/>
                    </a:cubicBezTo>
                    <a:cubicBezTo>
                      <a:pt x="175" y="174"/>
                      <a:pt x="172" y="175"/>
                      <a:pt x="172" y="175"/>
                    </a:cubicBezTo>
                    <a:cubicBezTo>
                      <a:pt x="171" y="174"/>
                      <a:pt x="171" y="171"/>
                      <a:pt x="171" y="171"/>
                    </a:cubicBezTo>
                    <a:cubicBezTo>
                      <a:pt x="170" y="171"/>
                      <a:pt x="169" y="171"/>
                      <a:pt x="168" y="171"/>
                    </a:cubicBezTo>
                    <a:cubicBezTo>
                      <a:pt x="168" y="172"/>
                      <a:pt x="169" y="171"/>
                      <a:pt x="169" y="173"/>
                    </a:cubicBezTo>
                    <a:cubicBezTo>
                      <a:pt x="169" y="174"/>
                      <a:pt x="164" y="178"/>
                      <a:pt x="164" y="178"/>
                    </a:cubicBezTo>
                    <a:cubicBezTo>
                      <a:pt x="163" y="178"/>
                      <a:pt x="162" y="178"/>
                      <a:pt x="162" y="178"/>
                    </a:cubicBezTo>
                    <a:cubicBezTo>
                      <a:pt x="161" y="178"/>
                      <a:pt x="161" y="181"/>
                      <a:pt x="160" y="181"/>
                    </a:cubicBezTo>
                    <a:cubicBezTo>
                      <a:pt x="158" y="181"/>
                      <a:pt x="155" y="180"/>
                      <a:pt x="154" y="178"/>
                    </a:cubicBezTo>
                    <a:cubicBezTo>
                      <a:pt x="154" y="178"/>
                      <a:pt x="155" y="176"/>
                      <a:pt x="154" y="176"/>
                    </a:cubicBezTo>
                    <a:cubicBezTo>
                      <a:pt x="153" y="175"/>
                      <a:pt x="152" y="177"/>
                      <a:pt x="151" y="177"/>
                    </a:cubicBezTo>
                    <a:cubicBezTo>
                      <a:pt x="150" y="176"/>
                      <a:pt x="150" y="174"/>
                      <a:pt x="148" y="174"/>
                    </a:cubicBezTo>
                    <a:cubicBezTo>
                      <a:pt x="147" y="174"/>
                      <a:pt x="147" y="175"/>
                      <a:pt x="147" y="176"/>
                    </a:cubicBezTo>
                    <a:cubicBezTo>
                      <a:pt x="146" y="176"/>
                      <a:pt x="144" y="176"/>
                      <a:pt x="144" y="176"/>
                    </a:cubicBezTo>
                    <a:cubicBezTo>
                      <a:pt x="144" y="176"/>
                      <a:pt x="144" y="178"/>
                      <a:pt x="144" y="178"/>
                    </a:cubicBezTo>
                    <a:cubicBezTo>
                      <a:pt x="145" y="178"/>
                      <a:pt x="145" y="179"/>
                      <a:pt x="145" y="179"/>
                    </a:cubicBezTo>
                    <a:cubicBezTo>
                      <a:pt x="147" y="180"/>
                      <a:pt x="147" y="177"/>
                      <a:pt x="149" y="180"/>
                    </a:cubicBezTo>
                    <a:cubicBezTo>
                      <a:pt x="149" y="181"/>
                      <a:pt x="150" y="183"/>
                      <a:pt x="150" y="183"/>
                    </a:cubicBezTo>
                    <a:cubicBezTo>
                      <a:pt x="151" y="184"/>
                      <a:pt x="150" y="185"/>
                      <a:pt x="149" y="185"/>
                    </a:cubicBezTo>
                    <a:cubicBezTo>
                      <a:pt x="148" y="184"/>
                      <a:pt x="147" y="182"/>
                      <a:pt x="146" y="181"/>
                    </a:cubicBezTo>
                    <a:cubicBezTo>
                      <a:pt x="145" y="181"/>
                      <a:pt x="144" y="181"/>
                      <a:pt x="143" y="181"/>
                    </a:cubicBezTo>
                    <a:cubicBezTo>
                      <a:pt x="143" y="181"/>
                      <a:pt x="142" y="182"/>
                      <a:pt x="142" y="182"/>
                    </a:cubicBezTo>
                    <a:cubicBezTo>
                      <a:pt x="143" y="183"/>
                      <a:pt x="143" y="182"/>
                      <a:pt x="144" y="183"/>
                    </a:cubicBezTo>
                    <a:cubicBezTo>
                      <a:pt x="145" y="182"/>
                      <a:pt x="144" y="184"/>
                      <a:pt x="144" y="184"/>
                    </a:cubicBezTo>
                    <a:cubicBezTo>
                      <a:pt x="145" y="184"/>
                      <a:pt x="144" y="186"/>
                      <a:pt x="143" y="187"/>
                    </a:cubicBezTo>
                    <a:cubicBezTo>
                      <a:pt x="142" y="187"/>
                      <a:pt x="142" y="186"/>
                      <a:pt x="141" y="187"/>
                    </a:cubicBezTo>
                    <a:cubicBezTo>
                      <a:pt x="141" y="186"/>
                      <a:pt x="141" y="181"/>
                      <a:pt x="140" y="181"/>
                    </a:cubicBezTo>
                    <a:cubicBezTo>
                      <a:pt x="140" y="181"/>
                      <a:pt x="139" y="183"/>
                      <a:pt x="140" y="183"/>
                    </a:cubicBezTo>
                    <a:cubicBezTo>
                      <a:pt x="139" y="183"/>
                      <a:pt x="139" y="183"/>
                      <a:pt x="139" y="183"/>
                    </a:cubicBezTo>
                    <a:cubicBezTo>
                      <a:pt x="139" y="183"/>
                      <a:pt x="139" y="185"/>
                      <a:pt x="139" y="185"/>
                    </a:cubicBezTo>
                    <a:cubicBezTo>
                      <a:pt x="139" y="186"/>
                      <a:pt x="137" y="186"/>
                      <a:pt x="137" y="187"/>
                    </a:cubicBezTo>
                    <a:cubicBezTo>
                      <a:pt x="137" y="188"/>
                      <a:pt x="137" y="188"/>
                      <a:pt x="137" y="188"/>
                    </a:cubicBezTo>
                    <a:cubicBezTo>
                      <a:pt x="136" y="188"/>
                      <a:pt x="137" y="183"/>
                      <a:pt x="137" y="183"/>
                    </a:cubicBezTo>
                    <a:cubicBezTo>
                      <a:pt x="135" y="182"/>
                      <a:pt x="135" y="182"/>
                      <a:pt x="135" y="182"/>
                    </a:cubicBezTo>
                    <a:cubicBezTo>
                      <a:pt x="133" y="185"/>
                      <a:pt x="132" y="187"/>
                      <a:pt x="130" y="189"/>
                    </a:cubicBezTo>
                    <a:cubicBezTo>
                      <a:pt x="129" y="189"/>
                      <a:pt x="129" y="188"/>
                      <a:pt x="128" y="189"/>
                    </a:cubicBezTo>
                    <a:cubicBezTo>
                      <a:pt x="128" y="187"/>
                      <a:pt x="129" y="186"/>
                      <a:pt x="128" y="185"/>
                    </a:cubicBezTo>
                    <a:cubicBezTo>
                      <a:pt x="128" y="185"/>
                      <a:pt x="127" y="186"/>
                      <a:pt x="126" y="185"/>
                    </a:cubicBezTo>
                    <a:cubicBezTo>
                      <a:pt x="125" y="187"/>
                      <a:pt x="124" y="187"/>
                      <a:pt x="124" y="190"/>
                    </a:cubicBezTo>
                    <a:cubicBezTo>
                      <a:pt x="124" y="190"/>
                      <a:pt x="126" y="190"/>
                      <a:pt x="126" y="191"/>
                    </a:cubicBezTo>
                    <a:cubicBezTo>
                      <a:pt x="126" y="192"/>
                      <a:pt x="127" y="196"/>
                      <a:pt x="126" y="196"/>
                    </a:cubicBezTo>
                    <a:cubicBezTo>
                      <a:pt x="125" y="194"/>
                      <a:pt x="125" y="193"/>
                      <a:pt x="124" y="192"/>
                    </a:cubicBezTo>
                    <a:cubicBezTo>
                      <a:pt x="121" y="190"/>
                      <a:pt x="121" y="193"/>
                      <a:pt x="123" y="194"/>
                    </a:cubicBezTo>
                    <a:cubicBezTo>
                      <a:pt x="125" y="193"/>
                      <a:pt x="122" y="196"/>
                      <a:pt x="122" y="196"/>
                    </a:cubicBezTo>
                    <a:cubicBezTo>
                      <a:pt x="122" y="196"/>
                      <a:pt x="121" y="196"/>
                      <a:pt x="122" y="195"/>
                    </a:cubicBezTo>
                    <a:cubicBezTo>
                      <a:pt x="121" y="195"/>
                      <a:pt x="120" y="195"/>
                      <a:pt x="120" y="195"/>
                    </a:cubicBezTo>
                    <a:cubicBezTo>
                      <a:pt x="119" y="194"/>
                      <a:pt x="120" y="194"/>
                      <a:pt x="118" y="193"/>
                    </a:cubicBezTo>
                    <a:cubicBezTo>
                      <a:pt x="118" y="194"/>
                      <a:pt x="118" y="197"/>
                      <a:pt x="118" y="199"/>
                    </a:cubicBezTo>
                    <a:cubicBezTo>
                      <a:pt x="115" y="199"/>
                      <a:pt x="115" y="199"/>
                      <a:pt x="115" y="199"/>
                    </a:cubicBezTo>
                    <a:cubicBezTo>
                      <a:pt x="115" y="201"/>
                      <a:pt x="115" y="202"/>
                      <a:pt x="114" y="204"/>
                    </a:cubicBezTo>
                    <a:cubicBezTo>
                      <a:pt x="113" y="205"/>
                      <a:pt x="113" y="205"/>
                      <a:pt x="113" y="205"/>
                    </a:cubicBezTo>
                    <a:cubicBezTo>
                      <a:pt x="114" y="205"/>
                      <a:pt x="114" y="209"/>
                      <a:pt x="113" y="209"/>
                    </a:cubicBezTo>
                    <a:cubicBezTo>
                      <a:pt x="113" y="210"/>
                      <a:pt x="112" y="209"/>
                      <a:pt x="111" y="209"/>
                    </a:cubicBezTo>
                    <a:cubicBezTo>
                      <a:pt x="110" y="211"/>
                      <a:pt x="110" y="211"/>
                      <a:pt x="110" y="211"/>
                    </a:cubicBezTo>
                    <a:cubicBezTo>
                      <a:pt x="109" y="211"/>
                      <a:pt x="107" y="211"/>
                      <a:pt x="106" y="211"/>
                    </a:cubicBezTo>
                    <a:cubicBezTo>
                      <a:pt x="105" y="211"/>
                      <a:pt x="105" y="213"/>
                      <a:pt x="104" y="213"/>
                    </a:cubicBezTo>
                    <a:cubicBezTo>
                      <a:pt x="104" y="214"/>
                      <a:pt x="104" y="215"/>
                      <a:pt x="104" y="215"/>
                    </a:cubicBezTo>
                    <a:cubicBezTo>
                      <a:pt x="105" y="215"/>
                      <a:pt x="107" y="216"/>
                      <a:pt x="109" y="215"/>
                    </a:cubicBezTo>
                    <a:cubicBezTo>
                      <a:pt x="110" y="215"/>
                      <a:pt x="110" y="213"/>
                      <a:pt x="112" y="213"/>
                    </a:cubicBezTo>
                    <a:cubicBezTo>
                      <a:pt x="113" y="213"/>
                      <a:pt x="112" y="215"/>
                      <a:pt x="112" y="215"/>
                    </a:cubicBezTo>
                    <a:cubicBezTo>
                      <a:pt x="106" y="216"/>
                      <a:pt x="107" y="216"/>
                      <a:pt x="107" y="223"/>
                    </a:cubicBezTo>
                    <a:cubicBezTo>
                      <a:pt x="104" y="218"/>
                      <a:pt x="104" y="218"/>
                      <a:pt x="98" y="219"/>
                    </a:cubicBezTo>
                    <a:cubicBezTo>
                      <a:pt x="98" y="220"/>
                      <a:pt x="98" y="220"/>
                      <a:pt x="98" y="220"/>
                    </a:cubicBezTo>
                    <a:cubicBezTo>
                      <a:pt x="100" y="220"/>
                      <a:pt x="100" y="220"/>
                      <a:pt x="100" y="220"/>
                    </a:cubicBezTo>
                    <a:cubicBezTo>
                      <a:pt x="100" y="220"/>
                      <a:pt x="101" y="220"/>
                      <a:pt x="102" y="220"/>
                    </a:cubicBezTo>
                    <a:cubicBezTo>
                      <a:pt x="102" y="221"/>
                      <a:pt x="102" y="221"/>
                      <a:pt x="102" y="221"/>
                    </a:cubicBezTo>
                    <a:cubicBezTo>
                      <a:pt x="99" y="221"/>
                      <a:pt x="101" y="222"/>
                      <a:pt x="100" y="223"/>
                    </a:cubicBezTo>
                    <a:cubicBezTo>
                      <a:pt x="101" y="223"/>
                      <a:pt x="102" y="222"/>
                      <a:pt x="103" y="223"/>
                    </a:cubicBezTo>
                    <a:cubicBezTo>
                      <a:pt x="103" y="224"/>
                      <a:pt x="100" y="228"/>
                      <a:pt x="104" y="227"/>
                    </a:cubicBezTo>
                    <a:cubicBezTo>
                      <a:pt x="104" y="227"/>
                      <a:pt x="104" y="228"/>
                      <a:pt x="104" y="229"/>
                    </a:cubicBezTo>
                    <a:cubicBezTo>
                      <a:pt x="102" y="229"/>
                      <a:pt x="100" y="229"/>
                      <a:pt x="98" y="229"/>
                    </a:cubicBezTo>
                    <a:cubicBezTo>
                      <a:pt x="97" y="231"/>
                      <a:pt x="96" y="232"/>
                      <a:pt x="98" y="233"/>
                    </a:cubicBezTo>
                    <a:cubicBezTo>
                      <a:pt x="98" y="234"/>
                      <a:pt x="98" y="234"/>
                      <a:pt x="98" y="234"/>
                    </a:cubicBezTo>
                    <a:cubicBezTo>
                      <a:pt x="97" y="235"/>
                      <a:pt x="96" y="234"/>
                      <a:pt x="95" y="234"/>
                    </a:cubicBezTo>
                    <a:cubicBezTo>
                      <a:pt x="94" y="235"/>
                      <a:pt x="94" y="237"/>
                      <a:pt x="93" y="238"/>
                    </a:cubicBezTo>
                    <a:cubicBezTo>
                      <a:pt x="92" y="238"/>
                      <a:pt x="90" y="237"/>
                      <a:pt x="88" y="238"/>
                    </a:cubicBezTo>
                    <a:cubicBezTo>
                      <a:pt x="87" y="238"/>
                      <a:pt x="88" y="240"/>
                      <a:pt x="88" y="240"/>
                    </a:cubicBezTo>
                    <a:cubicBezTo>
                      <a:pt x="86" y="241"/>
                      <a:pt x="84" y="242"/>
                      <a:pt x="82" y="243"/>
                    </a:cubicBezTo>
                    <a:cubicBezTo>
                      <a:pt x="82" y="243"/>
                      <a:pt x="82" y="245"/>
                      <a:pt x="82" y="245"/>
                    </a:cubicBezTo>
                    <a:cubicBezTo>
                      <a:pt x="85" y="245"/>
                      <a:pt x="84" y="247"/>
                      <a:pt x="82" y="246"/>
                    </a:cubicBezTo>
                    <a:cubicBezTo>
                      <a:pt x="83" y="249"/>
                      <a:pt x="82" y="249"/>
                      <a:pt x="83" y="251"/>
                    </a:cubicBezTo>
                    <a:cubicBezTo>
                      <a:pt x="83" y="251"/>
                      <a:pt x="78" y="255"/>
                      <a:pt x="78" y="255"/>
                    </a:cubicBezTo>
                    <a:cubicBezTo>
                      <a:pt x="77" y="255"/>
                      <a:pt x="76" y="255"/>
                      <a:pt x="75" y="255"/>
                    </a:cubicBezTo>
                    <a:cubicBezTo>
                      <a:pt x="75" y="255"/>
                      <a:pt x="75" y="257"/>
                      <a:pt x="75" y="257"/>
                    </a:cubicBezTo>
                    <a:cubicBezTo>
                      <a:pt x="74" y="258"/>
                      <a:pt x="72" y="257"/>
                      <a:pt x="71" y="257"/>
                    </a:cubicBezTo>
                    <a:cubicBezTo>
                      <a:pt x="71" y="257"/>
                      <a:pt x="70" y="259"/>
                      <a:pt x="69" y="259"/>
                    </a:cubicBezTo>
                    <a:cubicBezTo>
                      <a:pt x="70" y="260"/>
                      <a:pt x="73" y="264"/>
                      <a:pt x="70" y="265"/>
                    </a:cubicBezTo>
                    <a:cubicBezTo>
                      <a:pt x="68" y="265"/>
                      <a:pt x="66" y="264"/>
                      <a:pt x="65" y="264"/>
                    </a:cubicBezTo>
                    <a:cubicBezTo>
                      <a:pt x="62" y="264"/>
                      <a:pt x="64" y="267"/>
                      <a:pt x="64" y="267"/>
                    </a:cubicBezTo>
                    <a:cubicBezTo>
                      <a:pt x="63" y="268"/>
                      <a:pt x="62" y="267"/>
                      <a:pt x="61" y="268"/>
                    </a:cubicBezTo>
                    <a:cubicBezTo>
                      <a:pt x="61" y="268"/>
                      <a:pt x="61" y="270"/>
                      <a:pt x="61" y="270"/>
                    </a:cubicBezTo>
                    <a:cubicBezTo>
                      <a:pt x="59" y="270"/>
                      <a:pt x="59" y="268"/>
                      <a:pt x="58" y="269"/>
                    </a:cubicBezTo>
                    <a:cubicBezTo>
                      <a:pt x="57" y="270"/>
                      <a:pt x="58" y="271"/>
                      <a:pt x="57" y="272"/>
                    </a:cubicBezTo>
                    <a:cubicBezTo>
                      <a:pt x="57" y="272"/>
                      <a:pt x="54" y="275"/>
                      <a:pt x="53" y="275"/>
                    </a:cubicBezTo>
                    <a:cubicBezTo>
                      <a:pt x="52" y="276"/>
                      <a:pt x="52" y="278"/>
                      <a:pt x="51" y="279"/>
                    </a:cubicBezTo>
                    <a:cubicBezTo>
                      <a:pt x="51" y="280"/>
                      <a:pt x="51" y="280"/>
                      <a:pt x="51" y="280"/>
                    </a:cubicBezTo>
                    <a:cubicBezTo>
                      <a:pt x="50" y="280"/>
                      <a:pt x="49" y="279"/>
                      <a:pt x="48" y="280"/>
                    </a:cubicBezTo>
                    <a:cubicBezTo>
                      <a:pt x="48" y="282"/>
                      <a:pt x="49" y="282"/>
                      <a:pt x="49" y="284"/>
                    </a:cubicBezTo>
                    <a:cubicBezTo>
                      <a:pt x="54" y="282"/>
                      <a:pt x="57" y="280"/>
                      <a:pt x="61" y="277"/>
                    </a:cubicBezTo>
                    <a:cubicBezTo>
                      <a:pt x="60" y="278"/>
                      <a:pt x="60" y="279"/>
                      <a:pt x="59" y="280"/>
                    </a:cubicBezTo>
                    <a:cubicBezTo>
                      <a:pt x="58" y="282"/>
                      <a:pt x="55" y="282"/>
                      <a:pt x="54" y="284"/>
                    </a:cubicBezTo>
                    <a:cubicBezTo>
                      <a:pt x="53" y="285"/>
                      <a:pt x="54" y="286"/>
                      <a:pt x="53" y="287"/>
                    </a:cubicBezTo>
                    <a:cubicBezTo>
                      <a:pt x="51" y="287"/>
                      <a:pt x="49" y="287"/>
                      <a:pt x="47" y="286"/>
                    </a:cubicBezTo>
                    <a:cubicBezTo>
                      <a:pt x="47" y="285"/>
                      <a:pt x="47" y="284"/>
                      <a:pt x="47" y="283"/>
                    </a:cubicBezTo>
                    <a:cubicBezTo>
                      <a:pt x="47" y="283"/>
                      <a:pt x="46" y="282"/>
                      <a:pt x="45" y="282"/>
                    </a:cubicBezTo>
                    <a:cubicBezTo>
                      <a:pt x="42" y="284"/>
                      <a:pt x="43" y="285"/>
                      <a:pt x="38" y="283"/>
                    </a:cubicBezTo>
                    <a:cubicBezTo>
                      <a:pt x="38" y="287"/>
                      <a:pt x="38" y="287"/>
                      <a:pt x="38" y="287"/>
                    </a:cubicBezTo>
                    <a:cubicBezTo>
                      <a:pt x="39" y="286"/>
                      <a:pt x="38" y="289"/>
                      <a:pt x="38" y="289"/>
                    </a:cubicBezTo>
                    <a:cubicBezTo>
                      <a:pt x="37" y="289"/>
                      <a:pt x="35" y="288"/>
                      <a:pt x="35" y="289"/>
                    </a:cubicBezTo>
                    <a:cubicBezTo>
                      <a:pt x="33" y="290"/>
                      <a:pt x="36" y="293"/>
                      <a:pt x="33" y="292"/>
                    </a:cubicBezTo>
                    <a:cubicBezTo>
                      <a:pt x="33" y="291"/>
                      <a:pt x="33" y="291"/>
                      <a:pt x="32" y="291"/>
                    </a:cubicBezTo>
                    <a:cubicBezTo>
                      <a:pt x="32" y="291"/>
                      <a:pt x="32" y="294"/>
                      <a:pt x="32" y="294"/>
                    </a:cubicBezTo>
                    <a:cubicBezTo>
                      <a:pt x="31" y="295"/>
                      <a:pt x="31" y="293"/>
                      <a:pt x="31" y="293"/>
                    </a:cubicBezTo>
                    <a:cubicBezTo>
                      <a:pt x="30" y="293"/>
                      <a:pt x="24" y="293"/>
                      <a:pt x="23" y="293"/>
                    </a:cubicBezTo>
                    <a:cubicBezTo>
                      <a:pt x="23" y="293"/>
                      <a:pt x="23" y="295"/>
                      <a:pt x="23" y="296"/>
                    </a:cubicBezTo>
                    <a:cubicBezTo>
                      <a:pt x="24" y="296"/>
                      <a:pt x="25" y="296"/>
                      <a:pt x="25" y="296"/>
                    </a:cubicBezTo>
                    <a:cubicBezTo>
                      <a:pt x="25" y="297"/>
                      <a:pt x="26" y="296"/>
                      <a:pt x="26" y="298"/>
                    </a:cubicBezTo>
                    <a:cubicBezTo>
                      <a:pt x="26" y="298"/>
                      <a:pt x="23" y="300"/>
                      <a:pt x="23" y="300"/>
                    </a:cubicBezTo>
                    <a:cubicBezTo>
                      <a:pt x="23" y="300"/>
                      <a:pt x="24" y="301"/>
                      <a:pt x="23" y="302"/>
                    </a:cubicBezTo>
                    <a:cubicBezTo>
                      <a:pt x="23" y="301"/>
                      <a:pt x="22" y="300"/>
                      <a:pt x="22" y="300"/>
                    </a:cubicBezTo>
                    <a:cubicBezTo>
                      <a:pt x="21" y="300"/>
                      <a:pt x="18" y="300"/>
                      <a:pt x="17" y="300"/>
                    </a:cubicBezTo>
                    <a:cubicBezTo>
                      <a:pt x="18" y="301"/>
                      <a:pt x="16" y="304"/>
                      <a:pt x="16" y="304"/>
                    </a:cubicBezTo>
                    <a:cubicBezTo>
                      <a:pt x="19" y="304"/>
                      <a:pt x="26" y="304"/>
                      <a:pt x="19" y="306"/>
                    </a:cubicBezTo>
                    <a:cubicBezTo>
                      <a:pt x="17" y="307"/>
                      <a:pt x="18" y="306"/>
                      <a:pt x="18" y="308"/>
                    </a:cubicBezTo>
                    <a:cubicBezTo>
                      <a:pt x="17" y="307"/>
                      <a:pt x="17" y="305"/>
                      <a:pt x="15" y="306"/>
                    </a:cubicBezTo>
                    <a:cubicBezTo>
                      <a:pt x="15" y="306"/>
                      <a:pt x="15" y="308"/>
                      <a:pt x="15" y="308"/>
                    </a:cubicBezTo>
                    <a:cubicBezTo>
                      <a:pt x="12" y="307"/>
                      <a:pt x="12" y="308"/>
                      <a:pt x="9" y="308"/>
                    </a:cubicBezTo>
                    <a:cubicBezTo>
                      <a:pt x="9" y="308"/>
                      <a:pt x="8" y="309"/>
                      <a:pt x="8" y="309"/>
                    </a:cubicBezTo>
                    <a:cubicBezTo>
                      <a:pt x="7" y="309"/>
                      <a:pt x="7" y="308"/>
                      <a:pt x="6" y="308"/>
                    </a:cubicBezTo>
                    <a:cubicBezTo>
                      <a:pt x="6" y="308"/>
                      <a:pt x="6" y="311"/>
                      <a:pt x="6" y="311"/>
                    </a:cubicBezTo>
                    <a:cubicBezTo>
                      <a:pt x="9" y="311"/>
                      <a:pt x="10" y="311"/>
                      <a:pt x="13" y="312"/>
                    </a:cubicBezTo>
                    <a:cubicBezTo>
                      <a:pt x="12" y="312"/>
                      <a:pt x="15" y="312"/>
                      <a:pt x="15" y="312"/>
                    </a:cubicBezTo>
                    <a:cubicBezTo>
                      <a:pt x="15" y="312"/>
                      <a:pt x="14" y="313"/>
                      <a:pt x="14" y="314"/>
                    </a:cubicBezTo>
                    <a:cubicBezTo>
                      <a:pt x="10" y="313"/>
                      <a:pt x="6" y="313"/>
                      <a:pt x="3" y="314"/>
                    </a:cubicBezTo>
                    <a:cubicBezTo>
                      <a:pt x="4" y="317"/>
                      <a:pt x="4" y="318"/>
                      <a:pt x="3" y="321"/>
                    </a:cubicBezTo>
                    <a:cubicBezTo>
                      <a:pt x="4" y="321"/>
                      <a:pt x="5" y="321"/>
                      <a:pt x="5" y="321"/>
                    </a:cubicBezTo>
                    <a:cubicBezTo>
                      <a:pt x="7" y="320"/>
                      <a:pt x="6" y="318"/>
                      <a:pt x="9" y="320"/>
                    </a:cubicBezTo>
                    <a:cubicBezTo>
                      <a:pt x="9" y="320"/>
                      <a:pt x="10" y="321"/>
                      <a:pt x="11" y="322"/>
                    </a:cubicBezTo>
                    <a:cubicBezTo>
                      <a:pt x="11" y="321"/>
                      <a:pt x="13" y="322"/>
                      <a:pt x="13" y="322"/>
                    </a:cubicBezTo>
                    <a:cubicBezTo>
                      <a:pt x="13" y="321"/>
                      <a:pt x="13" y="320"/>
                      <a:pt x="13" y="319"/>
                    </a:cubicBezTo>
                    <a:cubicBezTo>
                      <a:pt x="14" y="319"/>
                      <a:pt x="14" y="318"/>
                      <a:pt x="15" y="318"/>
                    </a:cubicBezTo>
                    <a:cubicBezTo>
                      <a:pt x="15" y="319"/>
                      <a:pt x="16" y="320"/>
                      <a:pt x="16" y="320"/>
                    </a:cubicBezTo>
                    <a:cubicBezTo>
                      <a:pt x="17" y="320"/>
                      <a:pt x="17" y="319"/>
                      <a:pt x="19" y="320"/>
                    </a:cubicBezTo>
                    <a:cubicBezTo>
                      <a:pt x="19" y="320"/>
                      <a:pt x="19" y="321"/>
                      <a:pt x="20" y="322"/>
                    </a:cubicBezTo>
                    <a:cubicBezTo>
                      <a:pt x="21" y="321"/>
                      <a:pt x="20" y="320"/>
                      <a:pt x="22" y="320"/>
                    </a:cubicBezTo>
                    <a:cubicBezTo>
                      <a:pt x="22" y="320"/>
                      <a:pt x="22" y="321"/>
                      <a:pt x="22" y="322"/>
                    </a:cubicBezTo>
                    <a:cubicBezTo>
                      <a:pt x="21" y="322"/>
                      <a:pt x="20" y="322"/>
                      <a:pt x="19" y="322"/>
                    </a:cubicBezTo>
                    <a:cubicBezTo>
                      <a:pt x="18" y="324"/>
                      <a:pt x="18" y="324"/>
                      <a:pt x="18" y="324"/>
                    </a:cubicBezTo>
                    <a:cubicBezTo>
                      <a:pt x="16" y="324"/>
                      <a:pt x="17" y="322"/>
                      <a:pt x="16" y="322"/>
                    </a:cubicBezTo>
                    <a:cubicBezTo>
                      <a:pt x="16" y="322"/>
                      <a:pt x="7" y="322"/>
                      <a:pt x="6" y="322"/>
                    </a:cubicBezTo>
                    <a:cubicBezTo>
                      <a:pt x="5" y="324"/>
                      <a:pt x="5" y="324"/>
                      <a:pt x="5" y="324"/>
                    </a:cubicBezTo>
                    <a:cubicBezTo>
                      <a:pt x="3" y="324"/>
                      <a:pt x="4" y="323"/>
                      <a:pt x="3" y="323"/>
                    </a:cubicBezTo>
                    <a:cubicBezTo>
                      <a:pt x="3" y="324"/>
                      <a:pt x="3" y="324"/>
                      <a:pt x="3" y="324"/>
                    </a:cubicBezTo>
                    <a:cubicBezTo>
                      <a:pt x="4" y="325"/>
                      <a:pt x="6" y="325"/>
                      <a:pt x="7" y="326"/>
                    </a:cubicBezTo>
                    <a:cubicBezTo>
                      <a:pt x="7" y="326"/>
                      <a:pt x="8" y="327"/>
                      <a:pt x="7" y="326"/>
                    </a:cubicBezTo>
                    <a:cubicBezTo>
                      <a:pt x="7" y="326"/>
                      <a:pt x="7" y="328"/>
                      <a:pt x="7" y="328"/>
                    </a:cubicBezTo>
                    <a:cubicBezTo>
                      <a:pt x="6" y="328"/>
                      <a:pt x="4" y="328"/>
                      <a:pt x="4" y="328"/>
                    </a:cubicBezTo>
                    <a:cubicBezTo>
                      <a:pt x="3" y="329"/>
                      <a:pt x="5" y="330"/>
                      <a:pt x="5" y="330"/>
                    </a:cubicBezTo>
                    <a:cubicBezTo>
                      <a:pt x="0" y="331"/>
                      <a:pt x="5" y="330"/>
                      <a:pt x="3" y="332"/>
                    </a:cubicBezTo>
                    <a:cubicBezTo>
                      <a:pt x="4" y="331"/>
                      <a:pt x="5" y="332"/>
                      <a:pt x="7" y="332"/>
                    </a:cubicBezTo>
                    <a:cubicBezTo>
                      <a:pt x="7" y="332"/>
                      <a:pt x="7" y="331"/>
                      <a:pt x="7" y="331"/>
                    </a:cubicBezTo>
                    <a:cubicBezTo>
                      <a:pt x="8" y="331"/>
                      <a:pt x="10" y="331"/>
                      <a:pt x="9" y="332"/>
                    </a:cubicBezTo>
                    <a:cubicBezTo>
                      <a:pt x="10" y="331"/>
                      <a:pt x="10" y="333"/>
                      <a:pt x="7" y="333"/>
                    </a:cubicBezTo>
                    <a:cubicBezTo>
                      <a:pt x="7" y="333"/>
                      <a:pt x="7" y="335"/>
                      <a:pt x="7" y="335"/>
                    </a:cubicBezTo>
                    <a:cubicBezTo>
                      <a:pt x="9" y="335"/>
                      <a:pt x="9" y="334"/>
                      <a:pt x="11" y="334"/>
                    </a:cubicBezTo>
                    <a:cubicBezTo>
                      <a:pt x="11" y="335"/>
                      <a:pt x="11" y="336"/>
                      <a:pt x="11" y="337"/>
                    </a:cubicBezTo>
                    <a:cubicBezTo>
                      <a:pt x="13" y="337"/>
                      <a:pt x="13" y="337"/>
                      <a:pt x="13" y="337"/>
                    </a:cubicBezTo>
                    <a:cubicBezTo>
                      <a:pt x="14" y="336"/>
                      <a:pt x="14" y="333"/>
                      <a:pt x="17" y="332"/>
                    </a:cubicBezTo>
                    <a:cubicBezTo>
                      <a:pt x="18" y="331"/>
                      <a:pt x="20" y="331"/>
                      <a:pt x="21" y="331"/>
                    </a:cubicBezTo>
                    <a:cubicBezTo>
                      <a:pt x="22" y="331"/>
                      <a:pt x="20" y="332"/>
                      <a:pt x="19" y="334"/>
                    </a:cubicBezTo>
                    <a:cubicBezTo>
                      <a:pt x="19" y="334"/>
                      <a:pt x="17" y="333"/>
                      <a:pt x="17" y="334"/>
                    </a:cubicBezTo>
                    <a:cubicBezTo>
                      <a:pt x="16" y="334"/>
                      <a:pt x="17" y="335"/>
                      <a:pt x="16" y="337"/>
                    </a:cubicBezTo>
                    <a:cubicBezTo>
                      <a:pt x="15" y="338"/>
                      <a:pt x="15" y="338"/>
                      <a:pt x="15" y="338"/>
                    </a:cubicBezTo>
                    <a:cubicBezTo>
                      <a:pt x="14" y="338"/>
                      <a:pt x="13" y="339"/>
                      <a:pt x="13" y="340"/>
                    </a:cubicBezTo>
                    <a:cubicBezTo>
                      <a:pt x="13" y="340"/>
                      <a:pt x="14" y="342"/>
                      <a:pt x="13" y="342"/>
                    </a:cubicBezTo>
                    <a:cubicBezTo>
                      <a:pt x="12" y="344"/>
                      <a:pt x="8" y="343"/>
                      <a:pt x="7" y="344"/>
                    </a:cubicBezTo>
                    <a:cubicBezTo>
                      <a:pt x="6" y="345"/>
                      <a:pt x="6" y="347"/>
                      <a:pt x="5" y="348"/>
                    </a:cubicBezTo>
                    <a:cubicBezTo>
                      <a:pt x="6" y="348"/>
                      <a:pt x="8" y="348"/>
                      <a:pt x="9" y="348"/>
                    </a:cubicBezTo>
                    <a:cubicBezTo>
                      <a:pt x="11" y="349"/>
                      <a:pt x="7" y="350"/>
                      <a:pt x="10" y="350"/>
                    </a:cubicBezTo>
                    <a:cubicBezTo>
                      <a:pt x="10" y="349"/>
                      <a:pt x="10" y="348"/>
                      <a:pt x="10" y="348"/>
                    </a:cubicBezTo>
                    <a:cubicBezTo>
                      <a:pt x="12" y="348"/>
                      <a:pt x="12" y="347"/>
                      <a:pt x="14" y="348"/>
                    </a:cubicBezTo>
                    <a:cubicBezTo>
                      <a:pt x="14" y="347"/>
                      <a:pt x="14" y="346"/>
                      <a:pt x="15" y="346"/>
                    </a:cubicBezTo>
                    <a:cubicBezTo>
                      <a:pt x="16" y="345"/>
                      <a:pt x="15" y="348"/>
                      <a:pt x="14" y="348"/>
                    </a:cubicBezTo>
                    <a:cubicBezTo>
                      <a:pt x="16" y="349"/>
                      <a:pt x="13" y="355"/>
                      <a:pt x="13" y="356"/>
                    </a:cubicBezTo>
                    <a:cubicBezTo>
                      <a:pt x="12" y="357"/>
                      <a:pt x="11" y="356"/>
                      <a:pt x="10" y="357"/>
                    </a:cubicBezTo>
                    <a:cubicBezTo>
                      <a:pt x="10" y="358"/>
                      <a:pt x="10" y="360"/>
                      <a:pt x="10" y="361"/>
                    </a:cubicBezTo>
                    <a:cubicBezTo>
                      <a:pt x="12" y="362"/>
                      <a:pt x="15" y="367"/>
                      <a:pt x="19" y="365"/>
                    </a:cubicBezTo>
                    <a:cubicBezTo>
                      <a:pt x="20" y="365"/>
                      <a:pt x="19" y="364"/>
                      <a:pt x="21" y="364"/>
                    </a:cubicBezTo>
                    <a:cubicBezTo>
                      <a:pt x="20" y="367"/>
                      <a:pt x="20" y="367"/>
                      <a:pt x="20" y="367"/>
                    </a:cubicBezTo>
                    <a:cubicBezTo>
                      <a:pt x="22" y="367"/>
                      <a:pt x="25" y="368"/>
                      <a:pt x="27" y="367"/>
                    </a:cubicBezTo>
                    <a:cubicBezTo>
                      <a:pt x="27" y="367"/>
                      <a:pt x="28" y="365"/>
                      <a:pt x="29" y="365"/>
                    </a:cubicBezTo>
                    <a:cubicBezTo>
                      <a:pt x="30" y="365"/>
                      <a:pt x="31" y="365"/>
                      <a:pt x="32" y="365"/>
                    </a:cubicBezTo>
                    <a:cubicBezTo>
                      <a:pt x="33" y="364"/>
                      <a:pt x="34" y="362"/>
                      <a:pt x="35" y="362"/>
                    </a:cubicBezTo>
                    <a:cubicBezTo>
                      <a:pt x="36" y="361"/>
                      <a:pt x="38" y="362"/>
                      <a:pt x="39" y="361"/>
                    </a:cubicBezTo>
                    <a:cubicBezTo>
                      <a:pt x="40" y="360"/>
                      <a:pt x="42" y="357"/>
                      <a:pt x="43" y="357"/>
                    </a:cubicBezTo>
                    <a:cubicBezTo>
                      <a:pt x="44" y="356"/>
                      <a:pt x="46" y="357"/>
                      <a:pt x="47" y="357"/>
                    </a:cubicBezTo>
                    <a:cubicBezTo>
                      <a:pt x="50" y="356"/>
                      <a:pt x="53" y="352"/>
                      <a:pt x="56" y="351"/>
                    </a:cubicBezTo>
                    <a:cubicBezTo>
                      <a:pt x="56" y="351"/>
                      <a:pt x="58" y="351"/>
                      <a:pt x="58" y="351"/>
                    </a:cubicBezTo>
                    <a:cubicBezTo>
                      <a:pt x="58" y="352"/>
                      <a:pt x="58" y="353"/>
                      <a:pt x="58" y="355"/>
                    </a:cubicBezTo>
                    <a:close/>
                    <a:moveTo>
                      <a:pt x="134" y="1"/>
                    </a:moveTo>
                    <a:cubicBezTo>
                      <a:pt x="134" y="1"/>
                      <a:pt x="133" y="3"/>
                      <a:pt x="133" y="4"/>
                    </a:cubicBezTo>
                    <a:cubicBezTo>
                      <a:pt x="134" y="5"/>
                      <a:pt x="134" y="4"/>
                      <a:pt x="135" y="6"/>
                    </a:cubicBezTo>
                    <a:cubicBezTo>
                      <a:pt x="129" y="8"/>
                      <a:pt x="132" y="6"/>
                      <a:pt x="130" y="12"/>
                    </a:cubicBezTo>
                    <a:cubicBezTo>
                      <a:pt x="129" y="11"/>
                      <a:pt x="128" y="12"/>
                      <a:pt x="127" y="12"/>
                    </a:cubicBezTo>
                    <a:cubicBezTo>
                      <a:pt x="127" y="12"/>
                      <a:pt x="126" y="9"/>
                      <a:pt x="126" y="9"/>
                    </a:cubicBezTo>
                    <a:cubicBezTo>
                      <a:pt x="122" y="8"/>
                      <a:pt x="121" y="9"/>
                      <a:pt x="118" y="8"/>
                    </a:cubicBezTo>
                    <a:cubicBezTo>
                      <a:pt x="118" y="9"/>
                      <a:pt x="117" y="10"/>
                      <a:pt x="118" y="10"/>
                    </a:cubicBezTo>
                    <a:cubicBezTo>
                      <a:pt x="119" y="11"/>
                      <a:pt x="119" y="12"/>
                      <a:pt x="119" y="12"/>
                    </a:cubicBezTo>
                    <a:cubicBezTo>
                      <a:pt x="121" y="12"/>
                      <a:pt x="124" y="12"/>
                      <a:pt x="127" y="12"/>
                    </a:cubicBezTo>
                    <a:cubicBezTo>
                      <a:pt x="127" y="13"/>
                      <a:pt x="127" y="14"/>
                      <a:pt x="127" y="14"/>
                    </a:cubicBezTo>
                    <a:cubicBezTo>
                      <a:pt x="126" y="15"/>
                      <a:pt x="127" y="15"/>
                      <a:pt x="126" y="16"/>
                    </a:cubicBezTo>
                    <a:cubicBezTo>
                      <a:pt x="125" y="16"/>
                      <a:pt x="124" y="16"/>
                      <a:pt x="122" y="16"/>
                    </a:cubicBezTo>
                    <a:cubicBezTo>
                      <a:pt x="122" y="17"/>
                      <a:pt x="122" y="19"/>
                      <a:pt x="122" y="20"/>
                    </a:cubicBezTo>
                    <a:cubicBezTo>
                      <a:pt x="123" y="20"/>
                      <a:pt x="128" y="22"/>
                      <a:pt x="130" y="22"/>
                    </a:cubicBezTo>
                    <a:cubicBezTo>
                      <a:pt x="131" y="22"/>
                      <a:pt x="134" y="20"/>
                      <a:pt x="134" y="20"/>
                    </a:cubicBezTo>
                    <a:cubicBezTo>
                      <a:pt x="138" y="19"/>
                      <a:pt x="143" y="20"/>
                      <a:pt x="146" y="20"/>
                    </a:cubicBezTo>
                    <a:cubicBezTo>
                      <a:pt x="145" y="22"/>
                      <a:pt x="145" y="22"/>
                      <a:pt x="145" y="22"/>
                    </a:cubicBezTo>
                    <a:cubicBezTo>
                      <a:pt x="142" y="23"/>
                      <a:pt x="139" y="22"/>
                      <a:pt x="136" y="23"/>
                    </a:cubicBezTo>
                    <a:cubicBezTo>
                      <a:pt x="136" y="23"/>
                      <a:pt x="136" y="25"/>
                      <a:pt x="136" y="25"/>
                    </a:cubicBezTo>
                    <a:cubicBezTo>
                      <a:pt x="136" y="25"/>
                      <a:pt x="133" y="25"/>
                      <a:pt x="134" y="24"/>
                    </a:cubicBezTo>
                    <a:cubicBezTo>
                      <a:pt x="132" y="24"/>
                      <a:pt x="132" y="24"/>
                      <a:pt x="130" y="23"/>
                    </a:cubicBezTo>
                    <a:cubicBezTo>
                      <a:pt x="130" y="24"/>
                      <a:pt x="130" y="24"/>
                      <a:pt x="129" y="24"/>
                    </a:cubicBezTo>
                    <a:cubicBezTo>
                      <a:pt x="130" y="26"/>
                      <a:pt x="129" y="28"/>
                      <a:pt x="131" y="28"/>
                    </a:cubicBezTo>
                    <a:cubicBezTo>
                      <a:pt x="135" y="30"/>
                      <a:pt x="138" y="28"/>
                      <a:pt x="142" y="28"/>
                    </a:cubicBezTo>
                    <a:cubicBezTo>
                      <a:pt x="144" y="30"/>
                      <a:pt x="144" y="30"/>
                      <a:pt x="144" y="30"/>
                    </a:cubicBezTo>
                    <a:cubicBezTo>
                      <a:pt x="145" y="30"/>
                      <a:pt x="148" y="29"/>
                      <a:pt x="150" y="30"/>
                    </a:cubicBezTo>
                    <a:cubicBezTo>
                      <a:pt x="150" y="30"/>
                      <a:pt x="151" y="32"/>
                      <a:pt x="152" y="32"/>
                    </a:cubicBezTo>
                    <a:cubicBezTo>
                      <a:pt x="153" y="32"/>
                      <a:pt x="155" y="31"/>
                      <a:pt x="157" y="32"/>
                    </a:cubicBezTo>
                    <a:cubicBezTo>
                      <a:pt x="158" y="32"/>
                      <a:pt x="162" y="34"/>
                      <a:pt x="164" y="34"/>
                    </a:cubicBezTo>
                    <a:cubicBezTo>
                      <a:pt x="167" y="34"/>
                      <a:pt x="169" y="33"/>
                      <a:pt x="172" y="33"/>
                    </a:cubicBezTo>
                    <a:cubicBezTo>
                      <a:pt x="172" y="33"/>
                      <a:pt x="175" y="34"/>
                      <a:pt x="177" y="34"/>
                    </a:cubicBezTo>
                    <a:cubicBezTo>
                      <a:pt x="180" y="33"/>
                      <a:pt x="179" y="28"/>
                      <a:pt x="179" y="28"/>
                    </a:cubicBezTo>
                    <a:cubicBezTo>
                      <a:pt x="180" y="27"/>
                      <a:pt x="187" y="27"/>
                      <a:pt x="188" y="26"/>
                    </a:cubicBezTo>
                    <a:cubicBezTo>
                      <a:pt x="188" y="26"/>
                      <a:pt x="189" y="25"/>
                      <a:pt x="190" y="25"/>
                    </a:cubicBezTo>
                    <a:cubicBezTo>
                      <a:pt x="191" y="25"/>
                      <a:pt x="188" y="24"/>
                      <a:pt x="188" y="24"/>
                    </a:cubicBezTo>
                    <a:cubicBezTo>
                      <a:pt x="188" y="24"/>
                      <a:pt x="188" y="22"/>
                      <a:pt x="188" y="22"/>
                    </a:cubicBezTo>
                    <a:cubicBezTo>
                      <a:pt x="190" y="22"/>
                      <a:pt x="191" y="22"/>
                      <a:pt x="193" y="22"/>
                    </a:cubicBezTo>
                    <a:cubicBezTo>
                      <a:pt x="193" y="22"/>
                      <a:pt x="198" y="14"/>
                      <a:pt x="199" y="12"/>
                    </a:cubicBezTo>
                    <a:cubicBezTo>
                      <a:pt x="195" y="13"/>
                      <a:pt x="195" y="13"/>
                      <a:pt x="192" y="12"/>
                    </a:cubicBezTo>
                    <a:cubicBezTo>
                      <a:pt x="192" y="12"/>
                      <a:pt x="186" y="11"/>
                      <a:pt x="186" y="11"/>
                    </a:cubicBezTo>
                    <a:cubicBezTo>
                      <a:pt x="185" y="11"/>
                      <a:pt x="187" y="10"/>
                      <a:pt x="187" y="10"/>
                    </a:cubicBezTo>
                    <a:cubicBezTo>
                      <a:pt x="187" y="9"/>
                      <a:pt x="187" y="9"/>
                      <a:pt x="187" y="9"/>
                    </a:cubicBezTo>
                    <a:cubicBezTo>
                      <a:pt x="187" y="8"/>
                      <a:pt x="187" y="8"/>
                      <a:pt x="187" y="8"/>
                    </a:cubicBezTo>
                    <a:cubicBezTo>
                      <a:pt x="187" y="8"/>
                      <a:pt x="184" y="8"/>
                      <a:pt x="186" y="8"/>
                    </a:cubicBezTo>
                    <a:cubicBezTo>
                      <a:pt x="185" y="9"/>
                      <a:pt x="184" y="10"/>
                      <a:pt x="184" y="10"/>
                    </a:cubicBezTo>
                    <a:cubicBezTo>
                      <a:pt x="182" y="10"/>
                      <a:pt x="183" y="11"/>
                      <a:pt x="181" y="11"/>
                    </a:cubicBezTo>
                    <a:cubicBezTo>
                      <a:pt x="177" y="12"/>
                      <a:pt x="181" y="10"/>
                      <a:pt x="182" y="8"/>
                    </a:cubicBezTo>
                    <a:cubicBezTo>
                      <a:pt x="182" y="8"/>
                      <a:pt x="181" y="7"/>
                      <a:pt x="182" y="6"/>
                    </a:cubicBezTo>
                    <a:cubicBezTo>
                      <a:pt x="180" y="7"/>
                      <a:pt x="178" y="8"/>
                      <a:pt x="177" y="9"/>
                    </a:cubicBezTo>
                    <a:cubicBezTo>
                      <a:pt x="176" y="10"/>
                      <a:pt x="176" y="13"/>
                      <a:pt x="174" y="13"/>
                    </a:cubicBezTo>
                    <a:cubicBezTo>
                      <a:pt x="173" y="13"/>
                      <a:pt x="172" y="13"/>
                      <a:pt x="171" y="13"/>
                    </a:cubicBezTo>
                    <a:cubicBezTo>
                      <a:pt x="172" y="8"/>
                      <a:pt x="172" y="9"/>
                      <a:pt x="170" y="4"/>
                    </a:cubicBezTo>
                    <a:cubicBezTo>
                      <a:pt x="169" y="9"/>
                      <a:pt x="169" y="14"/>
                      <a:pt x="166" y="8"/>
                    </a:cubicBezTo>
                    <a:cubicBezTo>
                      <a:pt x="164" y="11"/>
                      <a:pt x="164" y="11"/>
                      <a:pt x="162" y="14"/>
                    </a:cubicBezTo>
                    <a:cubicBezTo>
                      <a:pt x="161" y="13"/>
                      <a:pt x="159" y="11"/>
                      <a:pt x="158" y="11"/>
                    </a:cubicBezTo>
                    <a:cubicBezTo>
                      <a:pt x="157" y="11"/>
                      <a:pt x="156" y="11"/>
                      <a:pt x="155" y="11"/>
                    </a:cubicBezTo>
                    <a:cubicBezTo>
                      <a:pt x="154" y="11"/>
                      <a:pt x="154" y="9"/>
                      <a:pt x="153" y="8"/>
                    </a:cubicBezTo>
                    <a:cubicBezTo>
                      <a:pt x="153" y="8"/>
                      <a:pt x="151" y="9"/>
                      <a:pt x="150" y="9"/>
                    </a:cubicBezTo>
                    <a:cubicBezTo>
                      <a:pt x="150" y="9"/>
                      <a:pt x="144" y="7"/>
                      <a:pt x="144" y="6"/>
                    </a:cubicBezTo>
                    <a:cubicBezTo>
                      <a:pt x="142" y="3"/>
                      <a:pt x="142" y="3"/>
                      <a:pt x="142" y="3"/>
                    </a:cubicBezTo>
                    <a:cubicBezTo>
                      <a:pt x="140" y="2"/>
                      <a:pt x="139" y="4"/>
                      <a:pt x="138" y="4"/>
                    </a:cubicBezTo>
                    <a:cubicBezTo>
                      <a:pt x="137" y="3"/>
                      <a:pt x="136" y="1"/>
                      <a:pt x="136" y="1"/>
                    </a:cubicBezTo>
                    <a:cubicBezTo>
                      <a:pt x="135" y="0"/>
                      <a:pt x="134" y="1"/>
                      <a:pt x="134" y="1"/>
                    </a:cubicBezTo>
                    <a:close/>
                    <a:moveTo>
                      <a:pt x="142" y="56"/>
                    </a:moveTo>
                    <a:cubicBezTo>
                      <a:pt x="141" y="56"/>
                      <a:pt x="140" y="57"/>
                      <a:pt x="139" y="58"/>
                    </a:cubicBezTo>
                    <a:cubicBezTo>
                      <a:pt x="139" y="57"/>
                      <a:pt x="139" y="61"/>
                      <a:pt x="139" y="61"/>
                    </a:cubicBezTo>
                    <a:cubicBezTo>
                      <a:pt x="140" y="61"/>
                      <a:pt x="141" y="61"/>
                      <a:pt x="141" y="62"/>
                    </a:cubicBezTo>
                    <a:cubicBezTo>
                      <a:pt x="141" y="62"/>
                      <a:pt x="141" y="64"/>
                      <a:pt x="140" y="64"/>
                    </a:cubicBezTo>
                    <a:cubicBezTo>
                      <a:pt x="140" y="65"/>
                      <a:pt x="138" y="65"/>
                      <a:pt x="138" y="66"/>
                    </a:cubicBezTo>
                    <a:cubicBezTo>
                      <a:pt x="138" y="66"/>
                      <a:pt x="139" y="68"/>
                      <a:pt x="138" y="68"/>
                    </a:cubicBezTo>
                    <a:cubicBezTo>
                      <a:pt x="141" y="68"/>
                      <a:pt x="148" y="65"/>
                      <a:pt x="150" y="66"/>
                    </a:cubicBezTo>
                    <a:cubicBezTo>
                      <a:pt x="150" y="66"/>
                      <a:pt x="150" y="68"/>
                      <a:pt x="150" y="68"/>
                    </a:cubicBezTo>
                    <a:cubicBezTo>
                      <a:pt x="150" y="69"/>
                      <a:pt x="150" y="69"/>
                      <a:pt x="150" y="69"/>
                    </a:cubicBezTo>
                    <a:cubicBezTo>
                      <a:pt x="150" y="69"/>
                      <a:pt x="152" y="69"/>
                      <a:pt x="153" y="69"/>
                    </a:cubicBezTo>
                    <a:cubicBezTo>
                      <a:pt x="155" y="68"/>
                      <a:pt x="155" y="68"/>
                      <a:pt x="155" y="68"/>
                    </a:cubicBezTo>
                    <a:cubicBezTo>
                      <a:pt x="156" y="67"/>
                      <a:pt x="158" y="68"/>
                      <a:pt x="159" y="68"/>
                    </a:cubicBezTo>
                    <a:cubicBezTo>
                      <a:pt x="160" y="67"/>
                      <a:pt x="161" y="66"/>
                      <a:pt x="162" y="66"/>
                    </a:cubicBezTo>
                    <a:cubicBezTo>
                      <a:pt x="164" y="65"/>
                      <a:pt x="166" y="66"/>
                      <a:pt x="168" y="66"/>
                    </a:cubicBezTo>
                    <a:cubicBezTo>
                      <a:pt x="168" y="66"/>
                      <a:pt x="170" y="64"/>
                      <a:pt x="170" y="64"/>
                    </a:cubicBezTo>
                    <a:cubicBezTo>
                      <a:pt x="171" y="63"/>
                      <a:pt x="169" y="61"/>
                      <a:pt x="170" y="60"/>
                    </a:cubicBezTo>
                    <a:cubicBezTo>
                      <a:pt x="166" y="61"/>
                      <a:pt x="164" y="62"/>
                      <a:pt x="161" y="60"/>
                    </a:cubicBezTo>
                    <a:cubicBezTo>
                      <a:pt x="158" y="59"/>
                      <a:pt x="157" y="54"/>
                      <a:pt x="152" y="54"/>
                    </a:cubicBezTo>
                    <a:cubicBezTo>
                      <a:pt x="151" y="56"/>
                      <a:pt x="151" y="56"/>
                      <a:pt x="151" y="56"/>
                    </a:cubicBezTo>
                    <a:cubicBezTo>
                      <a:pt x="148" y="56"/>
                      <a:pt x="146" y="54"/>
                      <a:pt x="143" y="55"/>
                    </a:cubicBezTo>
                    <a:lnTo>
                      <a:pt x="142" y="56"/>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39" name="Freeform 118">
                <a:extLst>
                  <a:ext uri="{FF2B5EF4-FFF2-40B4-BE49-F238E27FC236}">
                    <a16:creationId xmlns:a16="http://schemas.microsoft.com/office/drawing/2014/main" id="{6262398A-003A-CBC6-E645-5BCA4D2303D8}"/>
                  </a:ext>
                </a:extLst>
              </p:cNvPr>
              <p:cNvSpPr>
                <a:spLocks/>
              </p:cNvSpPr>
              <p:nvPr/>
            </p:nvSpPr>
            <p:spPr bwMode="auto">
              <a:xfrm>
                <a:off x="5225" y="1299"/>
                <a:ext cx="102" cy="141"/>
              </a:xfrm>
              <a:custGeom>
                <a:avLst/>
                <a:gdLst>
                  <a:gd name="T0" fmla="*/ 32 w 52"/>
                  <a:gd name="T1" fmla="*/ 64 h 72"/>
                  <a:gd name="T2" fmla="*/ 30 w 52"/>
                  <a:gd name="T3" fmla="*/ 62 h 72"/>
                  <a:gd name="T4" fmla="*/ 30 w 52"/>
                  <a:gd name="T5" fmla="*/ 57 h 72"/>
                  <a:gd name="T6" fmla="*/ 21 w 52"/>
                  <a:gd name="T7" fmla="*/ 53 h 72"/>
                  <a:gd name="T8" fmla="*/ 24 w 52"/>
                  <a:gd name="T9" fmla="*/ 49 h 72"/>
                  <a:gd name="T10" fmla="*/ 24 w 52"/>
                  <a:gd name="T11" fmla="*/ 45 h 72"/>
                  <a:gd name="T12" fmla="*/ 30 w 52"/>
                  <a:gd name="T13" fmla="*/ 42 h 72"/>
                  <a:gd name="T14" fmla="*/ 34 w 52"/>
                  <a:gd name="T15" fmla="*/ 35 h 72"/>
                  <a:gd name="T16" fmla="*/ 38 w 52"/>
                  <a:gd name="T17" fmla="*/ 35 h 72"/>
                  <a:gd name="T18" fmla="*/ 40 w 52"/>
                  <a:gd name="T19" fmla="*/ 31 h 72"/>
                  <a:gd name="T20" fmla="*/ 42 w 52"/>
                  <a:gd name="T21" fmla="*/ 31 h 72"/>
                  <a:gd name="T22" fmla="*/ 41 w 52"/>
                  <a:gd name="T23" fmla="*/ 20 h 72"/>
                  <a:gd name="T24" fmla="*/ 43 w 52"/>
                  <a:gd name="T25" fmla="*/ 19 h 72"/>
                  <a:gd name="T26" fmla="*/ 44 w 52"/>
                  <a:gd name="T27" fmla="*/ 16 h 72"/>
                  <a:gd name="T28" fmla="*/ 47 w 52"/>
                  <a:gd name="T29" fmla="*/ 16 h 72"/>
                  <a:gd name="T30" fmla="*/ 52 w 52"/>
                  <a:gd name="T31" fmla="*/ 9 h 72"/>
                  <a:gd name="T32" fmla="*/ 52 w 52"/>
                  <a:gd name="T33" fmla="*/ 9 h 72"/>
                  <a:gd name="T34" fmla="*/ 46 w 52"/>
                  <a:gd name="T35" fmla="*/ 0 h 72"/>
                  <a:gd name="T36" fmla="*/ 45 w 52"/>
                  <a:gd name="T37" fmla="*/ 6 h 72"/>
                  <a:gd name="T38" fmla="*/ 41 w 52"/>
                  <a:gd name="T39" fmla="*/ 8 h 72"/>
                  <a:gd name="T40" fmla="*/ 41 w 52"/>
                  <a:gd name="T41" fmla="*/ 10 h 72"/>
                  <a:gd name="T42" fmla="*/ 39 w 52"/>
                  <a:gd name="T43" fmla="*/ 12 h 72"/>
                  <a:gd name="T44" fmla="*/ 35 w 52"/>
                  <a:gd name="T45" fmla="*/ 12 h 72"/>
                  <a:gd name="T46" fmla="*/ 32 w 52"/>
                  <a:gd name="T47" fmla="*/ 14 h 72"/>
                  <a:gd name="T48" fmla="*/ 32 w 52"/>
                  <a:gd name="T49" fmla="*/ 17 h 72"/>
                  <a:gd name="T50" fmla="*/ 32 w 52"/>
                  <a:gd name="T51" fmla="*/ 20 h 72"/>
                  <a:gd name="T52" fmla="*/ 28 w 52"/>
                  <a:gd name="T53" fmla="*/ 19 h 72"/>
                  <a:gd name="T54" fmla="*/ 24 w 52"/>
                  <a:gd name="T55" fmla="*/ 18 h 72"/>
                  <a:gd name="T56" fmla="*/ 22 w 52"/>
                  <a:gd name="T57" fmla="*/ 15 h 72"/>
                  <a:gd name="T58" fmla="*/ 18 w 52"/>
                  <a:gd name="T59" fmla="*/ 16 h 72"/>
                  <a:gd name="T60" fmla="*/ 19 w 52"/>
                  <a:gd name="T61" fmla="*/ 21 h 72"/>
                  <a:gd name="T62" fmla="*/ 13 w 52"/>
                  <a:gd name="T63" fmla="*/ 26 h 72"/>
                  <a:gd name="T64" fmla="*/ 11 w 52"/>
                  <a:gd name="T65" fmla="*/ 30 h 72"/>
                  <a:gd name="T66" fmla="*/ 7 w 52"/>
                  <a:gd name="T67" fmla="*/ 36 h 72"/>
                  <a:gd name="T68" fmla="*/ 4 w 52"/>
                  <a:gd name="T69" fmla="*/ 39 h 72"/>
                  <a:gd name="T70" fmla="*/ 1 w 52"/>
                  <a:gd name="T71" fmla="*/ 45 h 72"/>
                  <a:gd name="T72" fmla="*/ 1 w 52"/>
                  <a:gd name="T73" fmla="*/ 47 h 72"/>
                  <a:gd name="T74" fmla="*/ 5 w 52"/>
                  <a:gd name="T75" fmla="*/ 49 h 72"/>
                  <a:gd name="T76" fmla="*/ 7 w 52"/>
                  <a:gd name="T77" fmla="*/ 57 h 72"/>
                  <a:gd name="T78" fmla="*/ 0 w 52"/>
                  <a:gd name="T79" fmla="*/ 65 h 72"/>
                  <a:gd name="T80" fmla="*/ 5 w 52"/>
                  <a:gd name="T81" fmla="*/ 67 h 72"/>
                  <a:gd name="T82" fmla="*/ 6 w 52"/>
                  <a:gd name="T83" fmla="*/ 71 h 72"/>
                  <a:gd name="T84" fmla="*/ 7 w 52"/>
                  <a:gd name="T85" fmla="*/ 72 h 72"/>
                  <a:gd name="T86" fmla="*/ 10 w 52"/>
                  <a:gd name="T87" fmla="*/ 70 h 72"/>
                  <a:gd name="T88" fmla="*/ 16 w 52"/>
                  <a:gd name="T89" fmla="*/ 70 h 72"/>
                  <a:gd name="T90" fmla="*/ 21 w 52"/>
                  <a:gd name="T91" fmla="*/ 65 h 72"/>
                  <a:gd name="T92" fmla="*/ 23 w 52"/>
                  <a:gd name="T93" fmla="*/ 64 h 72"/>
                  <a:gd name="T94" fmla="*/ 28 w 52"/>
                  <a:gd name="T95" fmla="*/ 66 h 72"/>
                  <a:gd name="T96" fmla="*/ 32 w 52"/>
                  <a:gd name="T97"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 h="72">
                    <a:moveTo>
                      <a:pt x="32" y="64"/>
                    </a:moveTo>
                    <a:cubicBezTo>
                      <a:pt x="31" y="64"/>
                      <a:pt x="30" y="63"/>
                      <a:pt x="30" y="62"/>
                    </a:cubicBezTo>
                    <a:cubicBezTo>
                      <a:pt x="30" y="62"/>
                      <a:pt x="30" y="58"/>
                      <a:pt x="30" y="57"/>
                    </a:cubicBezTo>
                    <a:cubicBezTo>
                      <a:pt x="29" y="56"/>
                      <a:pt x="22" y="53"/>
                      <a:pt x="21" y="53"/>
                    </a:cubicBezTo>
                    <a:cubicBezTo>
                      <a:pt x="22" y="52"/>
                      <a:pt x="23" y="51"/>
                      <a:pt x="24" y="49"/>
                    </a:cubicBezTo>
                    <a:cubicBezTo>
                      <a:pt x="24" y="48"/>
                      <a:pt x="23" y="46"/>
                      <a:pt x="24" y="45"/>
                    </a:cubicBezTo>
                    <a:cubicBezTo>
                      <a:pt x="24" y="44"/>
                      <a:pt x="28" y="43"/>
                      <a:pt x="30" y="42"/>
                    </a:cubicBezTo>
                    <a:cubicBezTo>
                      <a:pt x="31" y="41"/>
                      <a:pt x="33" y="36"/>
                      <a:pt x="34" y="35"/>
                    </a:cubicBezTo>
                    <a:cubicBezTo>
                      <a:pt x="35" y="35"/>
                      <a:pt x="37" y="35"/>
                      <a:pt x="38" y="35"/>
                    </a:cubicBezTo>
                    <a:cubicBezTo>
                      <a:pt x="39" y="34"/>
                      <a:pt x="39" y="32"/>
                      <a:pt x="40" y="31"/>
                    </a:cubicBezTo>
                    <a:cubicBezTo>
                      <a:pt x="41" y="31"/>
                      <a:pt x="42" y="31"/>
                      <a:pt x="42" y="31"/>
                    </a:cubicBezTo>
                    <a:cubicBezTo>
                      <a:pt x="43" y="27"/>
                      <a:pt x="40" y="24"/>
                      <a:pt x="41" y="20"/>
                    </a:cubicBezTo>
                    <a:cubicBezTo>
                      <a:pt x="41" y="19"/>
                      <a:pt x="42" y="19"/>
                      <a:pt x="43" y="19"/>
                    </a:cubicBezTo>
                    <a:cubicBezTo>
                      <a:pt x="43" y="19"/>
                      <a:pt x="43" y="16"/>
                      <a:pt x="44" y="16"/>
                    </a:cubicBezTo>
                    <a:cubicBezTo>
                      <a:pt x="44" y="15"/>
                      <a:pt x="46" y="16"/>
                      <a:pt x="47" y="16"/>
                    </a:cubicBezTo>
                    <a:cubicBezTo>
                      <a:pt x="48" y="15"/>
                      <a:pt x="51" y="9"/>
                      <a:pt x="52" y="9"/>
                    </a:cubicBezTo>
                    <a:cubicBezTo>
                      <a:pt x="52" y="9"/>
                      <a:pt x="52" y="9"/>
                      <a:pt x="52" y="9"/>
                    </a:cubicBezTo>
                    <a:cubicBezTo>
                      <a:pt x="46" y="0"/>
                      <a:pt x="46" y="0"/>
                      <a:pt x="46" y="0"/>
                    </a:cubicBezTo>
                    <a:cubicBezTo>
                      <a:pt x="45" y="6"/>
                      <a:pt x="45" y="6"/>
                      <a:pt x="45" y="6"/>
                    </a:cubicBezTo>
                    <a:cubicBezTo>
                      <a:pt x="41" y="8"/>
                      <a:pt x="41" y="8"/>
                      <a:pt x="41" y="8"/>
                    </a:cubicBezTo>
                    <a:cubicBezTo>
                      <a:pt x="41" y="10"/>
                      <a:pt x="41" y="10"/>
                      <a:pt x="41" y="10"/>
                    </a:cubicBezTo>
                    <a:cubicBezTo>
                      <a:pt x="39" y="12"/>
                      <a:pt x="39" y="12"/>
                      <a:pt x="39" y="12"/>
                    </a:cubicBezTo>
                    <a:cubicBezTo>
                      <a:pt x="35" y="12"/>
                      <a:pt x="35" y="12"/>
                      <a:pt x="35" y="12"/>
                    </a:cubicBezTo>
                    <a:cubicBezTo>
                      <a:pt x="32" y="14"/>
                      <a:pt x="32" y="14"/>
                      <a:pt x="32" y="14"/>
                    </a:cubicBezTo>
                    <a:cubicBezTo>
                      <a:pt x="32" y="17"/>
                      <a:pt x="32" y="17"/>
                      <a:pt x="32" y="17"/>
                    </a:cubicBezTo>
                    <a:cubicBezTo>
                      <a:pt x="32" y="20"/>
                      <a:pt x="32" y="20"/>
                      <a:pt x="32" y="20"/>
                    </a:cubicBezTo>
                    <a:cubicBezTo>
                      <a:pt x="28" y="19"/>
                      <a:pt x="28" y="19"/>
                      <a:pt x="28" y="19"/>
                    </a:cubicBezTo>
                    <a:cubicBezTo>
                      <a:pt x="24" y="18"/>
                      <a:pt x="24" y="18"/>
                      <a:pt x="24" y="18"/>
                    </a:cubicBezTo>
                    <a:cubicBezTo>
                      <a:pt x="22" y="15"/>
                      <a:pt x="22" y="15"/>
                      <a:pt x="22" y="15"/>
                    </a:cubicBezTo>
                    <a:cubicBezTo>
                      <a:pt x="18" y="16"/>
                      <a:pt x="18" y="16"/>
                      <a:pt x="18" y="16"/>
                    </a:cubicBezTo>
                    <a:cubicBezTo>
                      <a:pt x="19" y="21"/>
                      <a:pt x="19" y="21"/>
                      <a:pt x="19" y="21"/>
                    </a:cubicBezTo>
                    <a:cubicBezTo>
                      <a:pt x="13" y="26"/>
                      <a:pt x="13" y="26"/>
                      <a:pt x="13" y="26"/>
                    </a:cubicBezTo>
                    <a:cubicBezTo>
                      <a:pt x="11" y="30"/>
                      <a:pt x="11" y="30"/>
                      <a:pt x="11" y="30"/>
                    </a:cubicBezTo>
                    <a:cubicBezTo>
                      <a:pt x="7" y="36"/>
                      <a:pt x="7" y="36"/>
                      <a:pt x="7" y="36"/>
                    </a:cubicBezTo>
                    <a:cubicBezTo>
                      <a:pt x="4" y="39"/>
                      <a:pt x="4" y="39"/>
                      <a:pt x="4" y="39"/>
                    </a:cubicBezTo>
                    <a:cubicBezTo>
                      <a:pt x="1" y="45"/>
                      <a:pt x="1" y="45"/>
                      <a:pt x="1" y="45"/>
                    </a:cubicBezTo>
                    <a:cubicBezTo>
                      <a:pt x="1" y="46"/>
                      <a:pt x="1" y="47"/>
                      <a:pt x="1" y="47"/>
                    </a:cubicBezTo>
                    <a:cubicBezTo>
                      <a:pt x="2" y="48"/>
                      <a:pt x="4" y="48"/>
                      <a:pt x="5" y="49"/>
                    </a:cubicBezTo>
                    <a:cubicBezTo>
                      <a:pt x="4" y="54"/>
                      <a:pt x="4" y="54"/>
                      <a:pt x="7" y="57"/>
                    </a:cubicBezTo>
                    <a:cubicBezTo>
                      <a:pt x="1" y="59"/>
                      <a:pt x="1" y="59"/>
                      <a:pt x="0" y="65"/>
                    </a:cubicBezTo>
                    <a:cubicBezTo>
                      <a:pt x="1" y="65"/>
                      <a:pt x="3" y="66"/>
                      <a:pt x="5" y="67"/>
                    </a:cubicBezTo>
                    <a:cubicBezTo>
                      <a:pt x="3" y="69"/>
                      <a:pt x="3" y="69"/>
                      <a:pt x="6" y="71"/>
                    </a:cubicBezTo>
                    <a:cubicBezTo>
                      <a:pt x="7" y="72"/>
                      <a:pt x="7" y="72"/>
                      <a:pt x="7" y="72"/>
                    </a:cubicBezTo>
                    <a:cubicBezTo>
                      <a:pt x="8" y="72"/>
                      <a:pt x="9" y="70"/>
                      <a:pt x="10" y="70"/>
                    </a:cubicBezTo>
                    <a:cubicBezTo>
                      <a:pt x="13" y="69"/>
                      <a:pt x="13" y="70"/>
                      <a:pt x="16" y="70"/>
                    </a:cubicBezTo>
                    <a:cubicBezTo>
                      <a:pt x="21" y="65"/>
                      <a:pt x="21" y="65"/>
                      <a:pt x="21" y="65"/>
                    </a:cubicBezTo>
                    <a:cubicBezTo>
                      <a:pt x="23" y="64"/>
                      <a:pt x="23" y="64"/>
                      <a:pt x="23" y="64"/>
                    </a:cubicBezTo>
                    <a:cubicBezTo>
                      <a:pt x="23" y="64"/>
                      <a:pt x="26" y="66"/>
                      <a:pt x="28" y="66"/>
                    </a:cubicBezTo>
                    <a:cubicBezTo>
                      <a:pt x="30" y="66"/>
                      <a:pt x="32" y="64"/>
                      <a:pt x="32" y="6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40" name="Freeform 119">
                <a:extLst>
                  <a:ext uri="{FF2B5EF4-FFF2-40B4-BE49-F238E27FC236}">
                    <a16:creationId xmlns:a16="http://schemas.microsoft.com/office/drawing/2014/main" id="{6F37BE70-8E3C-953E-9C83-2BD45031CA70}"/>
                  </a:ext>
                </a:extLst>
              </p:cNvPr>
              <p:cNvSpPr>
                <a:spLocks/>
              </p:cNvSpPr>
              <p:nvPr/>
            </p:nvSpPr>
            <p:spPr bwMode="auto">
              <a:xfrm>
                <a:off x="5225" y="1299"/>
                <a:ext cx="102" cy="141"/>
              </a:xfrm>
              <a:custGeom>
                <a:avLst/>
                <a:gdLst>
                  <a:gd name="T0" fmla="*/ 32 w 52"/>
                  <a:gd name="T1" fmla="*/ 64 h 72"/>
                  <a:gd name="T2" fmla="*/ 30 w 52"/>
                  <a:gd name="T3" fmla="*/ 62 h 72"/>
                  <a:gd name="T4" fmla="*/ 30 w 52"/>
                  <a:gd name="T5" fmla="*/ 57 h 72"/>
                  <a:gd name="T6" fmla="*/ 21 w 52"/>
                  <a:gd name="T7" fmla="*/ 53 h 72"/>
                  <a:gd name="T8" fmla="*/ 24 w 52"/>
                  <a:gd name="T9" fmla="*/ 49 h 72"/>
                  <a:gd name="T10" fmla="*/ 24 w 52"/>
                  <a:gd name="T11" fmla="*/ 45 h 72"/>
                  <a:gd name="T12" fmla="*/ 30 w 52"/>
                  <a:gd name="T13" fmla="*/ 42 h 72"/>
                  <a:gd name="T14" fmla="*/ 34 w 52"/>
                  <a:gd name="T15" fmla="*/ 35 h 72"/>
                  <a:gd name="T16" fmla="*/ 38 w 52"/>
                  <a:gd name="T17" fmla="*/ 35 h 72"/>
                  <a:gd name="T18" fmla="*/ 40 w 52"/>
                  <a:gd name="T19" fmla="*/ 31 h 72"/>
                  <a:gd name="T20" fmla="*/ 42 w 52"/>
                  <a:gd name="T21" fmla="*/ 31 h 72"/>
                  <a:gd name="T22" fmla="*/ 41 w 52"/>
                  <a:gd name="T23" fmla="*/ 20 h 72"/>
                  <a:gd name="T24" fmla="*/ 43 w 52"/>
                  <a:gd name="T25" fmla="*/ 19 h 72"/>
                  <a:gd name="T26" fmla="*/ 44 w 52"/>
                  <a:gd name="T27" fmla="*/ 16 h 72"/>
                  <a:gd name="T28" fmla="*/ 47 w 52"/>
                  <a:gd name="T29" fmla="*/ 16 h 72"/>
                  <a:gd name="T30" fmla="*/ 52 w 52"/>
                  <a:gd name="T31" fmla="*/ 9 h 72"/>
                  <a:gd name="T32" fmla="*/ 52 w 52"/>
                  <a:gd name="T33" fmla="*/ 9 h 72"/>
                  <a:gd name="T34" fmla="*/ 46 w 52"/>
                  <a:gd name="T35" fmla="*/ 0 h 72"/>
                  <a:gd name="T36" fmla="*/ 45 w 52"/>
                  <a:gd name="T37" fmla="*/ 6 h 72"/>
                  <a:gd name="T38" fmla="*/ 41 w 52"/>
                  <a:gd name="T39" fmla="*/ 8 h 72"/>
                  <a:gd name="T40" fmla="*/ 41 w 52"/>
                  <a:gd name="T41" fmla="*/ 10 h 72"/>
                  <a:gd name="T42" fmla="*/ 39 w 52"/>
                  <a:gd name="T43" fmla="*/ 12 h 72"/>
                  <a:gd name="T44" fmla="*/ 35 w 52"/>
                  <a:gd name="T45" fmla="*/ 12 h 72"/>
                  <a:gd name="T46" fmla="*/ 32 w 52"/>
                  <a:gd name="T47" fmla="*/ 14 h 72"/>
                  <a:gd name="T48" fmla="*/ 32 w 52"/>
                  <a:gd name="T49" fmla="*/ 17 h 72"/>
                  <a:gd name="T50" fmla="*/ 32 w 52"/>
                  <a:gd name="T51" fmla="*/ 20 h 72"/>
                  <a:gd name="T52" fmla="*/ 28 w 52"/>
                  <a:gd name="T53" fmla="*/ 19 h 72"/>
                  <a:gd name="T54" fmla="*/ 24 w 52"/>
                  <a:gd name="T55" fmla="*/ 18 h 72"/>
                  <a:gd name="T56" fmla="*/ 22 w 52"/>
                  <a:gd name="T57" fmla="*/ 15 h 72"/>
                  <a:gd name="T58" fmla="*/ 18 w 52"/>
                  <a:gd name="T59" fmla="*/ 16 h 72"/>
                  <a:gd name="T60" fmla="*/ 19 w 52"/>
                  <a:gd name="T61" fmla="*/ 21 h 72"/>
                  <a:gd name="T62" fmla="*/ 13 w 52"/>
                  <a:gd name="T63" fmla="*/ 26 h 72"/>
                  <a:gd name="T64" fmla="*/ 11 w 52"/>
                  <a:gd name="T65" fmla="*/ 30 h 72"/>
                  <a:gd name="T66" fmla="*/ 7 w 52"/>
                  <a:gd name="T67" fmla="*/ 36 h 72"/>
                  <a:gd name="T68" fmla="*/ 4 w 52"/>
                  <a:gd name="T69" fmla="*/ 39 h 72"/>
                  <a:gd name="T70" fmla="*/ 1 w 52"/>
                  <a:gd name="T71" fmla="*/ 45 h 72"/>
                  <a:gd name="T72" fmla="*/ 1 w 52"/>
                  <a:gd name="T73" fmla="*/ 47 h 72"/>
                  <a:gd name="T74" fmla="*/ 5 w 52"/>
                  <a:gd name="T75" fmla="*/ 49 h 72"/>
                  <a:gd name="T76" fmla="*/ 7 w 52"/>
                  <a:gd name="T77" fmla="*/ 57 h 72"/>
                  <a:gd name="T78" fmla="*/ 0 w 52"/>
                  <a:gd name="T79" fmla="*/ 65 h 72"/>
                  <a:gd name="T80" fmla="*/ 5 w 52"/>
                  <a:gd name="T81" fmla="*/ 67 h 72"/>
                  <a:gd name="T82" fmla="*/ 6 w 52"/>
                  <a:gd name="T83" fmla="*/ 71 h 72"/>
                  <a:gd name="T84" fmla="*/ 7 w 52"/>
                  <a:gd name="T85" fmla="*/ 72 h 72"/>
                  <a:gd name="T86" fmla="*/ 10 w 52"/>
                  <a:gd name="T87" fmla="*/ 70 h 72"/>
                  <a:gd name="T88" fmla="*/ 16 w 52"/>
                  <a:gd name="T89" fmla="*/ 70 h 72"/>
                  <a:gd name="T90" fmla="*/ 21 w 52"/>
                  <a:gd name="T91" fmla="*/ 65 h 72"/>
                  <a:gd name="T92" fmla="*/ 23 w 52"/>
                  <a:gd name="T93" fmla="*/ 64 h 72"/>
                  <a:gd name="T94" fmla="*/ 28 w 52"/>
                  <a:gd name="T95" fmla="*/ 66 h 72"/>
                  <a:gd name="T96" fmla="*/ 32 w 52"/>
                  <a:gd name="T97"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 h="72">
                    <a:moveTo>
                      <a:pt x="32" y="64"/>
                    </a:moveTo>
                    <a:cubicBezTo>
                      <a:pt x="31" y="64"/>
                      <a:pt x="30" y="63"/>
                      <a:pt x="30" y="62"/>
                    </a:cubicBezTo>
                    <a:cubicBezTo>
                      <a:pt x="30" y="62"/>
                      <a:pt x="30" y="58"/>
                      <a:pt x="30" y="57"/>
                    </a:cubicBezTo>
                    <a:cubicBezTo>
                      <a:pt x="29" y="56"/>
                      <a:pt x="22" y="53"/>
                      <a:pt x="21" y="53"/>
                    </a:cubicBezTo>
                    <a:cubicBezTo>
                      <a:pt x="22" y="52"/>
                      <a:pt x="23" y="51"/>
                      <a:pt x="24" y="49"/>
                    </a:cubicBezTo>
                    <a:cubicBezTo>
                      <a:pt x="24" y="48"/>
                      <a:pt x="23" y="46"/>
                      <a:pt x="24" y="45"/>
                    </a:cubicBezTo>
                    <a:cubicBezTo>
                      <a:pt x="24" y="44"/>
                      <a:pt x="28" y="43"/>
                      <a:pt x="30" y="42"/>
                    </a:cubicBezTo>
                    <a:cubicBezTo>
                      <a:pt x="31" y="41"/>
                      <a:pt x="33" y="36"/>
                      <a:pt x="34" y="35"/>
                    </a:cubicBezTo>
                    <a:cubicBezTo>
                      <a:pt x="35" y="35"/>
                      <a:pt x="37" y="35"/>
                      <a:pt x="38" y="35"/>
                    </a:cubicBezTo>
                    <a:cubicBezTo>
                      <a:pt x="39" y="34"/>
                      <a:pt x="39" y="32"/>
                      <a:pt x="40" y="31"/>
                    </a:cubicBezTo>
                    <a:cubicBezTo>
                      <a:pt x="41" y="31"/>
                      <a:pt x="42" y="31"/>
                      <a:pt x="42" y="31"/>
                    </a:cubicBezTo>
                    <a:cubicBezTo>
                      <a:pt x="43" y="27"/>
                      <a:pt x="40" y="24"/>
                      <a:pt x="41" y="20"/>
                    </a:cubicBezTo>
                    <a:cubicBezTo>
                      <a:pt x="41" y="19"/>
                      <a:pt x="42" y="19"/>
                      <a:pt x="43" y="19"/>
                    </a:cubicBezTo>
                    <a:cubicBezTo>
                      <a:pt x="43" y="19"/>
                      <a:pt x="43" y="16"/>
                      <a:pt x="44" y="16"/>
                    </a:cubicBezTo>
                    <a:cubicBezTo>
                      <a:pt x="44" y="15"/>
                      <a:pt x="46" y="16"/>
                      <a:pt x="47" y="16"/>
                    </a:cubicBezTo>
                    <a:cubicBezTo>
                      <a:pt x="48" y="15"/>
                      <a:pt x="51" y="9"/>
                      <a:pt x="52" y="9"/>
                    </a:cubicBezTo>
                    <a:cubicBezTo>
                      <a:pt x="52" y="9"/>
                      <a:pt x="52" y="9"/>
                      <a:pt x="52" y="9"/>
                    </a:cubicBezTo>
                    <a:cubicBezTo>
                      <a:pt x="46" y="0"/>
                      <a:pt x="46" y="0"/>
                      <a:pt x="46" y="0"/>
                    </a:cubicBezTo>
                    <a:cubicBezTo>
                      <a:pt x="45" y="6"/>
                      <a:pt x="45" y="6"/>
                      <a:pt x="45" y="6"/>
                    </a:cubicBezTo>
                    <a:cubicBezTo>
                      <a:pt x="41" y="8"/>
                      <a:pt x="41" y="8"/>
                      <a:pt x="41" y="8"/>
                    </a:cubicBezTo>
                    <a:cubicBezTo>
                      <a:pt x="41" y="10"/>
                      <a:pt x="41" y="10"/>
                      <a:pt x="41" y="10"/>
                    </a:cubicBezTo>
                    <a:cubicBezTo>
                      <a:pt x="39" y="12"/>
                      <a:pt x="39" y="12"/>
                      <a:pt x="39" y="12"/>
                    </a:cubicBezTo>
                    <a:cubicBezTo>
                      <a:pt x="35" y="12"/>
                      <a:pt x="35" y="12"/>
                      <a:pt x="35" y="12"/>
                    </a:cubicBezTo>
                    <a:cubicBezTo>
                      <a:pt x="32" y="14"/>
                      <a:pt x="32" y="14"/>
                      <a:pt x="32" y="14"/>
                    </a:cubicBezTo>
                    <a:cubicBezTo>
                      <a:pt x="32" y="17"/>
                      <a:pt x="32" y="17"/>
                      <a:pt x="32" y="17"/>
                    </a:cubicBezTo>
                    <a:cubicBezTo>
                      <a:pt x="32" y="20"/>
                      <a:pt x="32" y="20"/>
                      <a:pt x="32" y="20"/>
                    </a:cubicBezTo>
                    <a:cubicBezTo>
                      <a:pt x="28" y="19"/>
                      <a:pt x="28" y="19"/>
                      <a:pt x="28" y="19"/>
                    </a:cubicBezTo>
                    <a:cubicBezTo>
                      <a:pt x="24" y="18"/>
                      <a:pt x="24" y="18"/>
                      <a:pt x="24" y="18"/>
                    </a:cubicBezTo>
                    <a:cubicBezTo>
                      <a:pt x="22" y="15"/>
                      <a:pt x="22" y="15"/>
                      <a:pt x="22" y="15"/>
                    </a:cubicBezTo>
                    <a:cubicBezTo>
                      <a:pt x="18" y="16"/>
                      <a:pt x="18" y="16"/>
                      <a:pt x="18" y="16"/>
                    </a:cubicBezTo>
                    <a:cubicBezTo>
                      <a:pt x="19" y="21"/>
                      <a:pt x="19" y="21"/>
                      <a:pt x="19" y="21"/>
                    </a:cubicBezTo>
                    <a:cubicBezTo>
                      <a:pt x="13" y="26"/>
                      <a:pt x="13" y="26"/>
                      <a:pt x="13" y="26"/>
                    </a:cubicBezTo>
                    <a:cubicBezTo>
                      <a:pt x="11" y="30"/>
                      <a:pt x="11" y="30"/>
                      <a:pt x="11" y="30"/>
                    </a:cubicBezTo>
                    <a:cubicBezTo>
                      <a:pt x="7" y="36"/>
                      <a:pt x="7" y="36"/>
                      <a:pt x="7" y="36"/>
                    </a:cubicBezTo>
                    <a:cubicBezTo>
                      <a:pt x="4" y="39"/>
                      <a:pt x="4" y="39"/>
                      <a:pt x="4" y="39"/>
                    </a:cubicBezTo>
                    <a:cubicBezTo>
                      <a:pt x="1" y="45"/>
                      <a:pt x="1" y="45"/>
                      <a:pt x="1" y="45"/>
                    </a:cubicBezTo>
                    <a:cubicBezTo>
                      <a:pt x="1" y="46"/>
                      <a:pt x="1" y="47"/>
                      <a:pt x="1" y="47"/>
                    </a:cubicBezTo>
                    <a:cubicBezTo>
                      <a:pt x="2" y="48"/>
                      <a:pt x="4" y="48"/>
                      <a:pt x="5" y="49"/>
                    </a:cubicBezTo>
                    <a:cubicBezTo>
                      <a:pt x="4" y="54"/>
                      <a:pt x="4" y="54"/>
                      <a:pt x="7" y="57"/>
                    </a:cubicBezTo>
                    <a:cubicBezTo>
                      <a:pt x="1" y="59"/>
                      <a:pt x="1" y="59"/>
                      <a:pt x="0" y="65"/>
                    </a:cubicBezTo>
                    <a:cubicBezTo>
                      <a:pt x="1" y="65"/>
                      <a:pt x="3" y="66"/>
                      <a:pt x="5" y="67"/>
                    </a:cubicBezTo>
                    <a:cubicBezTo>
                      <a:pt x="3" y="69"/>
                      <a:pt x="3" y="69"/>
                      <a:pt x="6" y="71"/>
                    </a:cubicBezTo>
                    <a:cubicBezTo>
                      <a:pt x="7" y="72"/>
                      <a:pt x="7" y="72"/>
                      <a:pt x="7" y="72"/>
                    </a:cubicBezTo>
                    <a:cubicBezTo>
                      <a:pt x="8" y="72"/>
                      <a:pt x="9" y="70"/>
                      <a:pt x="10" y="70"/>
                    </a:cubicBezTo>
                    <a:cubicBezTo>
                      <a:pt x="13" y="69"/>
                      <a:pt x="13" y="70"/>
                      <a:pt x="16" y="70"/>
                    </a:cubicBezTo>
                    <a:cubicBezTo>
                      <a:pt x="21" y="65"/>
                      <a:pt x="21" y="65"/>
                      <a:pt x="21" y="65"/>
                    </a:cubicBezTo>
                    <a:cubicBezTo>
                      <a:pt x="23" y="64"/>
                      <a:pt x="23" y="64"/>
                      <a:pt x="23" y="64"/>
                    </a:cubicBezTo>
                    <a:cubicBezTo>
                      <a:pt x="23" y="64"/>
                      <a:pt x="26" y="66"/>
                      <a:pt x="28" y="66"/>
                    </a:cubicBezTo>
                    <a:cubicBezTo>
                      <a:pt x="30" y="66"/>
                      <a:pt x="32" y="64"/>
                      <a:pt x="32" y="6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41" name="Freeform 120">
                <a:extLst>
                  <a:ext uri="{FF2B5EF4-FFF2-40B4-BE49-F238E27FC236}">
                    <a16:creationId xmlns:a16="http://schemas.microsoft.com/office/drawing/2014/main" id="{284CFA57-059E-6150-41E5-D4021C89D66F}"/>
                  </a:ext>
                </a:extLst>
              </p:cNvPr>
              <p:cNvSpPr>
                <a:spLocks/>
              </p:cNvSpPr>
              <p:nvPr/>
            </p:nvSpPr>
            <p:spPr bwMode="auto">
              <a:xfrm>
                <a:off x="3157" y="1950"/>
                <a:ext cx="205" cy="214"/>
              </a:xfrm>
              <a:custGeom>
                <a:avLst/>
                <a:gdLst>
                  <a:gd name="T0" fmla="*/ 51 w 105"/>
                  <a:gd name="T1" fmla="*/ 100 h 109"/>
                  <a:gd name="T2" fmla="*/ 51 w 105"/>
                  <a:gd name="T3" fmla="*/ 94 h 109"/>
                  <a:gd name="T4" fmla="*/ 54 w 105"/>
                  <a:gd name="T5" fmla="*/ 85 h 109"/>
                  <a:gd name="T6" fmla="*/ 63 w 105"/>
                  <a:gd name="T7" fmla="*/ 81 h 109"/>
                  <a:gd name="T8" fmla="*/ 67 w 105"/>
                  <a:gd name="T9" fmla="*/ 88 h 109"/>
                  <a:gd name="T10" fmla="*/ 73 w 105"/>
                  <a:gd name="T11" fmla="*/ 78 h 109"/>
                  <a:gd name="T12" fmla="*/ 79 w 105"/>
                  <a:gd name="T13" fmla="*/ 68 h 109"/>
                  <a:gd name="T14" fmla="*/ 82 w 105"/>
                  <a:gd name="T15" fmla="*/ 58 h 109"/>
                  <a:gd name="T16" fmla="*/ 91 w 105"/>
                  <a:gd name="T17" fmla="*/ 51 h 109"/>
                  <a:gd name="T18" fmla="*/ 93 w 105"/>
                  <a:gd name="T19" fmla="*/ 43 h 109"/>
                  <a:gd name="T20" fmla="*/ 96 w 105"/>
                  <a:gd name="T21" fmla="*/ 35 h 109"/>
                  <a:gd name="T22" fmla="*/ 102 w 105"/>
                  <a:gd name="T23" fmla="*/ 28 h 109"/>
                  <a:gd name="T24" fmla="*/ 102 w 105"/>
                  <a:gd name="T25" fmla="*/ 17 h 109"/>
                  <a:gd name="T26" fmla="*/ 98 w 105"/>
                  <a:gd name="T27" fmla="*/ 0 h 109"/>
                  <a:gd name="T28" fmla="*/ 88 w 105"/>
                  <a:gd name="T29" fmla="*/ 6 h 109"/>
                  <a:gd name="T30" fmla="*/ 69 w 105"/>
                  <a:gd name="T31" fmla="*/ 6 h 109"/>
                  <a:gd name="T32" fmla="*/ 55 w 105"/>
                  <a:gd name="T33" fmla="*/ 9 h 109"/>
                  <a:gd name="T34" fmla="*/ 44 w 105"/>
                  <a:gd name="T35" fmla="*/ 7 h 109"/>
                  <a:gd name="T36" fmla="*/ 34 w 105"/>
                  <a:gd name="T37" fmla="*/ 3 h 109"/>
                  <a:gd name="T38" fmla="*/ 23 w 105"/>
                  <a:gd name="T39" fmla="*/ 2 h 109"/>
                  <a:gd name="T40" fmla="*/ 14 w 105"/>
                  <a:gd name="T41" fmla="*/ 11 h 109"/>
                  <a:gd name="T42" fmla="*/ 7 w 105"/>
                  <a:gd name="T43" fmla="*/ 23 h 109"/>
                  <a:gd name="T44" fmla="*/ 8 w 105"/>
                  <a:gd name="T45" fmla="*/ 31 h 109"/>
                  <a:gd name="T46" fmla="*/ 9 w 105"/>
                  <a:gd name="T47" fmla="*/ 41 h 109"/>
                  <a:gd name="T48" fmla="*/ 6 w 105"/>
                  <a:gd name="T49" fmla="*/ 50 h 109"/>
                  <a:gd name="T50" fmla="*/ 3 w 105"/>
                  <a:gd name="T51" fmla="*/ 57 h 109"/>
                  <a:gd name="T52" fmla="*/ 2 w 105"/>
                  <a:gd name="T53" fmla="*/ 72 h 109"/>
                  <a:gd name="T54" fmla="*/ 2 w 105"/>
                  <a:gd name="T55" fmla="*/ 85 h 109"/>
                  <a:gd name="T56" fmla="*/ 8 w 105"/>
                  <a:gd name="T57" fmla="*/ 86 h 109"/>
                  <a:gd name="T58" fmla="*/ 22 w 105"/>
                  <a:gd name="T59" fmla="*/ 91 h 109"/>
                  <a:gd name="T60" fmla="*/ 25 w 105"/>
                  <a:gd name="T61" fmla="*/ 94 h 109"/>
                  <a:gd name="T62" fmla="*/ 28 w 105"/>
                  <a:gd name="T63" fmla="*/ 98 h 109"/>
                  <a:gd name="T64" fmla="*/ 26 w 105"/>
                  <a:gd name="T65" fmla="*/ 100 h 109"/>
                  <a:gd name="T66" fmla="*/ 38 w 105"/>
                  <a:gd name="T67" fmla="*/ 108 h 109"/>
                  <a:gd name="T68" fmla="*/ 41 w 105"/>
                  <a:gd name="T69" fmla="*/ 108 h 109"/>
                  <a:gd name="T70" fmla="*/ 44 w 105"/>
                  <a:gd name="T71" fmla="*/ 107 h 109"/>
                  <a:gd name="T72" fmla="*/ 48 w 105"/>
                  <a:gd name="T73" fmla="*/ 104 h 109"/>
                  <a:gd name="T74" fmla="*/ 51 w 105"/>
                  <a:gd name="T75"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9">
                    <a:moveTo>
                      <a:pt x="51" y="104"/>
                    </a:moveTo>
                    <a:cubicBezTo>
                      <a:pt x="51" y="100"/>
                      <a:pt x="51" y="100"/>
                      <a:pt x="51" y="100"/>
                    </a:cubicBezTo>
                    <a:cubicBezTo>
                      <a:pt x="52" y="97"/>
                      <a:pt x="52" y="97"/>
                      <a:pt x="52" y="97"/>
                    </a:cubicBezTo>
                    <a:cubicBezTo>
                      <a:pt x="52" y="97"/>
                      <a:pt x="51" y="96"/>
                      <a:pt x="51" y="94"/>
                    </a:cubicBezTo>
                    <a:cubicBezTo>
                      <a:pt x="51" y="92"/>
                      <a:pt x="50" y="92"/>
                      <a:pt x="52" y="91"/>
                    </a:cubicBezTo>
                    <a:cubicBezTo>
                      <a:pt x="53" y="91"/>
                      <a:pt x="53" y="88"/>
                      <a:pt x="54" y="85"/>
                    </a:cubicBezTo>
                    <a:cubicBezTo>
                      <a:pt x="54" y="83"/>
                      <a:pt x="58" y="84"/>
                      <a:pt x="60" y="82"/>
                    </a:cubicBezTo>
                    <a:cubicBezTo>
                      <a:pt x="62" y="80"/>
                      <a:pt x="63" y="81"/>
                      <a:pt x="63" y="81"/>
                    </a:cubicBezTo>
                    <a:cubicBezTo>
                      <a:pt x="63" y="81"/>
                      <a:pt x="64" y="81"/>
                      <a:pt x="66" y="82"/>
                    </a:cubicBezTo>
                    <a:cubicBezTo>
                      <a:pt x="68" y="83"/>
                      <a:pt x="67" y="86"/>
                      <a:pt x="67" y="88"/>
                    </a:cubicBezTo>
                    <a:cubicBezTo>
                      <a:pt x="71" y="89"/>
                      <a:pt x="71" y="84"/>
                      <a:pt x="73" y="83"/>
                    </a:cubicBezTo>
                    <a:cubicBezTo>
                      <a:pt x="75" y="82"/>
                      <a:pt x="73" y="80"/>
                      <a:pt x="73" y="78"/>
                    </a:cubicBezTo>
                    <a:cubicBezTo>
                      <a:pt x="73" y="76"/>
                      <a:pt x="74" y="75"/>
                      <a:pt x="75" y="72"/>
                    </a:cubicBezTo>
                    <a:cubicBezTo>
                      <a:pt x="76" y="70"/>
                      <a:pt x="78" y="71"/>
                      <a:pt x="79" y="68"/>
                    </a:cubicBezTo>
                    <a:cubicBezTo>
                      <a:pt x="80" y="65"/>
                      <a:pt x="79" y="65"/>
                      <a:pt x="81" y="64"/>
                    </a:cubicBezTo>
                    <a:cubicBezTo>
                      <a:pt x="83" y="62"/>
                      <a:pt x="82" y="61"/>
                      <a:pt x="82" y="58"/>
                    </a:cubicBezTo>
                    <a:cubicBezTo>
                      <a:pt x="83" y="55"/>
                      <a:pt x="83" y="55"/>
                      <a:pt x="85" y="54"/>
                    </a:cubicBezTo>
                    <a:cubicBezTo>
                      <a:pt x="87" y="54"/>
                      <a:pt x="90" y="52"/>
                      <a:pt x="91" y="51"/>
                    </a:cubicBezTo>
                    <a:cubicBezTo>
                      <a:pt x="93" y="50"/>
                      <a:pt x="91" y="47"/>
                      <a:pt x="91" y="47"/>
                    </a:cubicBezTo>
                    <a:cubicBezTo>
                      <a:pt x="91" y="47"/>
                      <a:pt x="91" y="44"/>
                      <a:pt x="93" y="43"/>
                    </a:cubicBezTo>
                    <a:cubicBezTo>
                      <a:pt x="94" y="43"/>
                      <a:pt x="94" y="41"/>
                      <a:pt x="95" y="39"/>
                    </a:cubicBezTo>
                    <a:cubicBezTo>
                      <a:pt x="96" y="37"/>
                      <a:pt x="94" y="36"/>
                      <a:pt x="96" y="35"/>
                    </a:cubicBezTo>
                    <a:cubicBezTo>
                      <a:pt x="97" y="33"/>
                      <a:pt x="99" y="31"/>
                      <a:pt x="99" y="30"/>
                    </a:cubicBezTo>
                    <a:cubicBezTo>
                      <a:pt x="99" y="28"/>
                      <a:pt x="100" y="28"/>
                      <a:pt x="102" y="28"/>
                    </a:cubicBezTo>
                    <a:cubicBezTo>
                      <a:pt x="104" y="28"/>
                      <a:pt x="105" y="21"/>
                      <a:pt x="105" y="20"/>
                    </a:cubicBezTo>
                    <a:cubicBezTo>
                      <a:pt x="105" y="18"/>
                      <a:pt x="102" y="17"/>
                      <a:pt x="102" y="17"/>
                    </a:cubicBezTo>
                    <a:cubicBezTo>
                      <a:pt x="103" y="9"/>
                      <a:pt x="103" y="9"/>
                      <a:pt x="103" y="9"/>
                    </a:cubicBezTo>
                    <a:cubicBezTo>
                      <a:pt x="98" y="0"/>
                      <a:pt x="98" y="0"/>
                      <a:pt x="98" y="0"/>
                    </a:cubicBezTo>
                    <a:cubicBezTo>
                      <a:pt x="93" y="2"/>
                      <a:pt x="93" y="2"/>
                      <a:pt x="93" y="2"/>
                    </a:cubicBezTo>
                    <a:cubicBezTo>
                      <a:pt x="93" y="2"/>
                      <a:pt x="91" y="6"/>
                      <a:pt x="88" y="6"/>
                    </a:cubicBezTo>
                    <a:cubicBezTo>
                      <a:pt x="85" y="6"/>
                      <a:pt x="82" y="7"/>
                      <a:pt x="78" y="6"/>
                    </a:cubicBezTo>
                    <a:cubicBezTo>
                      <a:pt x="74" y="4"/>
                      <a:pt x="71" y="6"/>
                      <a:pt x="69" y="6"/>
                    </a:cubicBezTo>
                    <a:cubicBezTo>
                      <a:pt x="67" y="6"/>
                      <a:pt x="64" y="7"/>
                      <a:pt x="63" y="9"/>
                    </a:cubicBezTo>
                    <a:cubicBezTo>
                      <a:pt x="63" y="10"/>
                      <a:pt x="60" y="9"/>
                      <a:pt x="55" y="9"/>
                    </a:cubicBezTo>
                    <a:cubicBezTo>
                      <a:pt x="50" y="9"/>
                      <a:pt x="52" y="8"/>
                      <a:pt x="51" y="7"/>
                    </a:cubicBezTo>
                    <a:cubicBezTo>
                      <a:pt x="49" y="5"/>
                      <a:pt x="46" y="6"/>
                      <a:pt x="44" y="7"/>
                    </a:cubicBezTo>
                    <a:cubicBezTo>
                      <a:pt x="42" y="9"/>
                      <a:pt x="38" y="8"/>
                      <a:pt x="38" y="8"/>
                    </a:cubicBezTo>
                    <a:cubicBezTo>
                      <a:pt x="38" y="8"/>
                      <a:pt x="36" y="3"/>
                      <a:pt x="34" y="3"/>
                    </a:cubicBezTo>
                    <a:cubicBezTo>
                      <a:pt x="32" y="3"/>
                      <a:pt x="32" y="1"/>
                      <a:pt x="30" y="1"/>
                    </a:cubicBezTo>
                    <a:cubicBezTo>
                      <a:pt x="27" y="1"/>
                      <a:pt x="25" y="1"/>
                      <a:pt x="23" y="2"/>
                    </a:cubicBezTo>
                    <a:cubicBezTo>
                      <a:pt x="20" y="3"/>
                      <a:pt x="14" y="6"/>
                      <a:pt x="14" y="6"/>
                    </a:cubicBezTo>
                    <a:cubicBezTo>
                      <a:pt x="14" y="6"/>
                      <a:pt x="14" y="9"/>
                      <a:pt x="14" y="11"/>
                    </a:cubicBezTo>
                    <a:cubicBezTo>
                      <a:pt x="14" y="13"/>
                      <a:pt x="10" y="16"/>
                      <a:pt x="10" y="16"/>
                    </a:cubicBezTo>
                    <a:cubicBezTo>
                      <a:pt x="7" y="23"/>
                      <a:pt x="7" y="23"/>
                      <a:pt x="7" y="23"/>
                    </a:cubicBezTo>
                    <a:cubicBezTo>
                      <a:pt x="7" y="23"/>
                      <a:pt x="8" y="27"/>
                      <a:pt x="7" y="28"/>
                    </a:cubicBezTo>
                    <a:cubicBezTo>
                      <a:pt x="5" y="29"/>
                      <a:pt x="6" y="30"/>
                      <a:pt x="8" y="31"/>
                    </a:cubicBezTo>
                    <a:cubicBezTo>
                      <a:pt x="10" y="32"/>
                      <a:pt x="10" y="33"/>
                      <a:pt x="9" y="36"/>
                    </a:cubicBezTo>
                    <a:cubicBezTo>
                      <a:pt x="8" y="39"/>
                      <a:pt x="10" y="41"/>
                      <a:pt x="9" y="41"/>
                    </a:cubicBezTo>
                    <a:cubicBezTo>
                      <a:pt x="7" y="41"/>
                      <a:pt x="7" y="42"/>
                      <a:pt x="7" y="45"/>
                    </a:cubicBezTo>
                    <a:cubicBezTo>
                      <a:pt x="7" y="47"/>
                      <a:pt x="7" y="48"/>
                      <a:pt x="6" y="50"/>
                    </a:cubicBezTo>
                    <a:cubicBezTo>
                      <a:pt x="5" y="52"/>
                      <a:pt x="3" y="52"/>
                      <a:pt x="5" y="54"/>
                    </a:cubicBezTo>
                    <a:cubicBezTo>
                      <a:pt x="6" y="56"/>
                      <a:pt x="5" y="58"/>
                      <a:pt x="3" y="57"/>
                    </a:cubicBezTo>
                    <a:cubicBezTo>
                      <a:pt x="1" y="56"/>
                      <a:pt x="1" y="58"/>
                      <a:pt x="2" y="60"/>
                    </a:cubicBezTo>
                    <a:cubicBezTo>
                      <a:pt x="3" y="62"/>
                      <a:pt x="0" y="70"/>
                      <a:pt x="2" y="72"/>
                    </a:cubicBezTo>
                    <a:cubicBezTo>
                      <a:pt x="3" y="74"/>
                      <a:pt x="3" y="76"/>
                      <a:pt x="3" y="78"/>
                    </a:cubicBezTo>
                    <a:cubicBezTo>
                      <a:pt x="3" y="80"/>
                      <a:pt x="2" y="85"/>
                      <a:pt x="2" y="85"/>
                    </a:cubicBezTo>
                    <a:cubicBezTo>
                      <a:pt x="5" y="84"/>
                      <a:pt x="8" y="84"/>
                      <a:pt x="9" y="84"/>
                    </a:cubicBezTo>
                    <a:cubicBezTo>
                      <a:pt x="9" y="84"/>
                      <a:pt x="8" y="85"/>
                      <a:pt x="8" y="86"/>
                    </a:cubicBezTo>
                    <a:cubicBezTo>
                      <a:pt x="10" y="86"/>
                      <a:pt x="15" y="85"/>
                      <a:pt x="17" y="86"/>
                    </a:cubicBezTo>
                    <a:cubicBezTo>
                      <a:pt x="19" y="86"/>
                      <a:pt x="20" y="90"/>
                      <a:pt x="22" y="91"/>
                    </a:cubicBezTo>
                    <a:cubicBezTo>
                      <a:pt x="23" y="91"/>
                      <a:pt x="25" y="91"/>
                      <a:pt x="25" y="91"/>
                    </a:cubicBezTo>
                    <a:cubicBezTo>
                      <a:pt x="25" y="91"/>
                      <a:pt x="25" y="93"/>
                      <a:pt x="25" y="94"/>
                    </a:cubicBezTo>
                    <a:cubicBezTo>
                      <a:pt x="26" y="94"/>
                      <a:pt x="26" y="94"/>
                      <a:pt x="26" y="94"/>
                    </a:cubicBezTo>
                    <a:cubicBezTo>
                      <a:pt x="27" y="95"/>
                      <a:pt x="27" y="96"/>
                      <a:pt x="28" y="98"/>
                    </a:cubicBezTo>
                    <a:cubicBezTo>
                      <a:pt x="28" y="98"/>
                      <a:pt x="28" y="98"/>
                      <a:pt x="28" y="98"/>
                    </a:cubicBezTo>
                    <a:cubicBezTo>
                      <a:pt x="28" y="98"/>
                      <a:pt x="27" y="99"/>
                      <a:pt x="26" y="100"/>
                    </a:cubicBezTo>
                    <a:cubicBezTo>
                      <a:pt x="27" y="103"/>
                      <a:pt x="29" y="106"/>
                      <a:pt x="31" y="109"/>
                    </a:cubicBezTo>
                    <a:cubicBezTo>
                      <a:pt x="34" y="109"/>
                      <a:pt x="35" y="109"/>
                      <a:pt x="38" y="108"/>
                    </a:cubicBezTo>
                    <a:cubicBezTo>
                      <a:pt x="38" y="107"/>
                      <a:pt x="38" y="107"/>
                      <a:pt x="38" y="107"/>
                    </a:cubicBezTo>
                    <a:cubicBezTo>
                      <a:pt x="39" y="107"/>
                      <a:pt x="39" y="108"/>
                      <a:pt x="41" y="108"/>
                    </a:cubicBezTo>
                    <a:cubicBezTo>
                      <a:pt x="42" y="106"/>
                      <a:pt x="42" y="106"/>
                      <a:pt x="42" y="106"/>
                    </a:cubicBezTo>
                    <a:cubicBezTo>
                      <a:pt x="43" y="106"/>
                      <a:pt x="42" y="108"/>
                      <a:pt x="44" y="107"/>
                    </a:cubicBezTo>
                    <a:cubicBezTo>
                      <a:pt x="45" y="106"/>
                      <a:pt x="45" y="104"/>
                      <a:pt x="46" y="104"/>
                    </a:cubicBezTo>
                    <a:cubicBezTo>
                      <a:pt x="46" y="103"/>
                      <a:pt x="48" y="104"/>
                      <a:pt x="48" y="104"/>
                    </a:cubicBezTo>
                    <a:cubicBezTo>
                      <a:pt x="49" y="105"/>
                      <a:pt x="49" y="105"/>
                      <a:pt x="50" y="106"/>
                    </a:cubicBezTo>
                    <a:cubicBezTo>
                      <a:pt x="50" y="105"/>
                      <a:pt x="50" y="103"/>
                      <a:pt x="51" y="10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42" name="Freeform 121">
                <a:extLst>
                  <a:ext uri="{FF2B5EF4-FFF2-40B4-BE49-F238E27FC236}">
                    <a16:creationId xmlns:a16="http://schemas.microsoft.com/office/drawing/2014/main" id="{E975DEB9-7411-8015-3745-155D6E4681C8}"/>
                  </a:ext>
                </a:extLst>
              </p:cNvPr>
              <p:cNvSpPr>
                <a:spLocks/>
              </p:cNvSpPr>
              <p:nvPr/>
            </p:nvSpPr>
            <p:spPr bwMode="auto">
              <a:xfrm>
                <a:off x="3157" y="1950"/>
                <a:ext cx="205" cy="214"/>
              </a:xfrm>
              <a:custGeom>
                <a:avLst/>
                <a:gdLst>
                  <a:gd name="T0" fmla="*/ 51 w 105"/>
                  <a:gd name="T1" fmla="*/ 100 h 109"/>
                  <a:gd name="T2" fmla="*/ 51 w 105"/>
                  <a:gd name="T3" fmla="*/ 94 h 109"/>
                  <a:gd name="T4" fmla="*/ 54 w 105"/>
                  <a:gd name="T5" fmla="*/ 85 h 109"/>
                  <a:gd name="T6" fmla="*/ 63 w 105"/>
                  <a:gd name="T7" fmla="*/ 81 h 109"/>
                  <a:gd name="T8" fmla="*/ 67 w 105"/>
                  <a:gd name="T9" fmla="*/ 88 h 109"/>
                  <a:gd name="T10" fmla="*/ 73 w 105"/>
                  <a:gd name="T11" fmla="*/ 78 h 109"/>
                  <a:gd name="T12" fmla="*/ 79 w 105"/>
                  <a:gd name="T13" fmla="*/ 68 h 109"/>
                  <a:gd name="T14" fmla="*/ 82 w 105"/>
                  <a:gd name="T15" fmla="*/ 58 h 109"/>
                  <a:gd name="T16" fmla="*/ 91 w 105"/>
                  <a:gd name="T17" fmla="*/ 51 h 109"/>
                  <a:gd name="T18" fmla="*/ 93 w 105"/>
                  <a:gd name="T19" fmla="*/ 43 h 109"/>
                  <a:gd name="T20" fmla="*/ 96 w 105"/>
                  <a:gd name="T21" fmla="*/ 35 h 109"/>
                  <a:gd name="T22" fmla="*/ 102 w 105"/>
                  <a:gd name="T23" fmla="*/ 28 h 109"/>
                  <a:gd name="T24" fmla="*/ 102 w 105"/>
                  <a:gd name="T25" fmla="*/ 17 h 109"/>
                  <a:gd name="T26" fmla="*/ 98 w 105"/>
                  <a:gd name="T27" fmla="*/ 0 h 109"/>
                  <a:gd name="T28" fmla="*/ 88 w 105"/>
                  <a:gd name="T29" fmla="*/ 6 h 109"/>
                  <a:gd name="T30" fmla="*/ 69 w 105"/>
                  <a:gd name="T31" fmla="*/ 6 h 109"/>
                  <a:gd name="T32" fmla="*/ 55 w 105"/>
                  <a:gd name="T33" fmla="*/ 9 h 109"/>
                  <a:gd name="T34" fmla="*/ 44 w 105"/>
                  <a:gd name="T35" fmla="*/ 7 h 109"/>
                  <a:gd name="T36" fmla="*/ 34 w 105"/>
                  <a:gd name="T37" fmla="*/ 3 h 109"/>
                  <a:gd name="T38" fmla="*/ 23 w 105"/>
                  <a:gd name="T39" fmla="*/ 2 h 109"/>
                  <a:gd name="T40" fmla="*/ 14 w 105"/>
                  <a:gd name="T41" fmla="*/ 11 h 109"/>
                  <a:gd name="T42" fmla="*/ 7 w 105"/>
                  <a:gd name="T43" fmla="*/ 23 h 109"/>
                  <a:gd name="T44" fmla="*/ 8 w 105"/>
                  <a:gd name="T45" fmla="*/ 31 h 109"/>
                  <a:gd name="T46" fmla="*/ 9 w 105"/>
                  <a:gd name="T47" fmla="*/ 41 h 109"/>
                  <a:gd name="T48" fmla="*/ 6 w 105"/>
                  <a:gd name="T49" fmla="*/ 50 h 109"/>
                  <a:gd name="T50" fmla="*/ 3 w 105"/>
                  <a:gd name="T51" fmla="*/ 57 h 109"/>
                  <a:gd name="T52" fmla="*/ 2 w 105"/>
                  <a:gd name="T53" fmla="*/ 72 h 109"/>
                  <a:gd name="T54" fmla="*/ 2 w 105"/>
                  <a:gd name="T55" fmla="*/ 85 h 109"/>
                  <a:gd name="T56" fmla="*/ 8 w 105"/>
                  <a:gd name="T57" fmla="*/ 86 h 109"/>
                  <a:gd name="T58" fmla="*/ 22 w 105"/>
                  <a:gd name="T59" fmla="*/ 91 h 109"/>
                  <a:gd name="T60" fmla="*/ 25 w 105"/>
                  <a:gd name="T61" fmla="*/ 94 h 109"/>
                  <a:gd name="T62" fmla="*/ 28 w 105"/>
                  <a:gd name="T63" fmla="*/ 98 h 109"/>
                  <a:gd name="T64" fmla="*/ 26 w 105"/>
                  <a:gd name="T65" fmla="*/ 100 h 109"/>
                  <a:gd name="T66" fmla="*/ 38 w 105"/>
                  <a:gd name="T67" fmla="*/ 108 h 109"/>
                  <a:gd name="T68" fmla="*/ 41 w 105"/>
                  <a:gd name="T69" fmla="*/ 108 h 109"/>
                  <a:gd name="T70" fmla="*/ 44 w 105"/>
                  <a:gd name="T71" fmla="*/ 107 h 109"/>
                  <a:gd name="T72" fmla="*/ 48 w 105"/>
                  <a:gd name="T73" fmla="*/ 104 h 109"/>
                  <a:gd name="T74" fmla="*/ 51 w 105"/>
                  <a:gd name="T75" fmla="*/ 10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09">
                    <a:moveTo>
                      <a:pt x="51" y="104"/>
                    </a:moveTo>
                    <a:cubicBezTo>
                      <a:pt x="51" y="100"/>
                      <a:pt x="51" y="100"/>
                      <a:pt x="51" y="100"/>
                    </a:cubicBezTo>
                    <a:cubicBezTo>
                      <a:pt x="52" y="97"/>
                      <a:pt x="52" y="97"/>
                      <a:pt x="52" y="97"/>
                    </a:cubicBezTo>
                    <a:cubicBezTo>
                      <a:pt x="52" y="97"/>
                      <a:pt x="51" y="96"/>
                      <a:pt x="51" y="94"/>
                    </a:cubicBezTo>
                    <a:cubicBezTo>
                      <a:pt x="51" y="92"/>
                      <a:pt x="50" y="92"/>
                      <a:pt x="52" y="91"/>
                    </a:cubicBezTo>
                    <a:cubicBezTo>
                      <a:pt x="53" y="91"/>
                      <a:pt x="53" y="88"/>
                      <a:pt x="54" y="85"/>
                    </a:cubicBezTo>
                    <a:cubicBezTo>
                      <a:pt x="54" y="83"/>
                      <a:pt x="58" y="84"/>
                      <a:pt x="60" y="82"/>
                    </a:cubicBezTo>
                    <a:cubicBezTo>
                      <a:pt x="62" y="80"/>
                      <a:pt x="63" y="81"/>
                      <a:pt x="63" y="81"/>
                    </a:cubicBezTo>
                    <a:cubicBezTo>
                      <a:pt x="63" y="81"/>
                      <a:pt x="64" y="81"/>
                      <a:pt x="66" y="82"/>
                    </a:cubicBezTo>
                    <a:cubicBezTo>
                      <a:pt x="68" y="83"/>
                      <a:pt x="67" y="86"/>
                      <a:pt x="67" y="88"/>
                    </a:cubicBezTo>
                    <a:cubicBezTo>
                      <a:pt x="71" y="89"/>
                      <a:pt x="71" y="84"/>
                      <a:pt x="73" y="83"/>
                    </a:cubicBezTo>
                    <a:cubicBezTo>
                      <a:pt x="75" y="82"/>
                      <a:pt x="73" y="80"/>
                      <a:pt x="73" y="78"/>
                    </a:cubicBezTo>
                    <a:cubicBezTo>
                      <a:pt x="73" y="76"/>
                      <a:pt x="74" y="75"/>
                      <a:pt x="75" y="72"/>
                    </a:cubicBezTo>
                    <a:cubicBezTo>
                      <a:pt x="76" y="70"/>
                      <a:pt x="78" y="71"/>
                      <a:pt x="79" y="68"/>
                    </a:cubicBezTo>
                    <a:cubicBezTo>
                      <a:pt x="80" y="65"/>
                      <a:pt x="79" y="65"/>
                      <a:pt x="81" y="64"/>
                    </a:cubicBezTo>
                    <a:cubicBezTo>
                      <a:pt x="83" y="62"/>
                      <a:pt x="82" y="61"/>
                      <a:pt x="82" y="58"/>
                    </a:cubicBezTo>
                    <a:cubicBezTo>
                      <a:pt x="83" y="55"/>
                      <a:pt x="83" y="55"/>
                      <a:pt x="85" y="54"/>
                    </a:cubicBezTo>
                    <a:cubicBezTo>
                      <a:pt x="87" y="54"/>
                      <a:pt x="90" y="52"/>
                      <a:pt x="91" y="51"/>
                    </a:cubicBezTo>
                    <a:cubicBezTo>
                      <a:pt x="93" y="50"/>
                      <a:pt x="91" y="47"/>
                      <a:pt x="91" y="47"/>
                    </a:cubicBezTo>
                    <a:cubicBezTo>
                      <a:pt x="91" y="47"/>
                      <a:pt x="91" y="44"/>
                      <a:pt x="93" y="43"/>
                    </a:cubicBezTo>
                    <a:cubicBezTo>
                      <a:pt x="94" y="43"/>
                      <a:pt x="94" y="41"/>
                      <a:pt x="95" y="39"/>
                    </a:cubicBezTo>
                    <a:cubicBezTo>
                      <a:pt x="96" y="37"/>
                      <a:pt x="94" y="36"/>
                      <a:pt x="96" y="35"/>
                    </a:cubicBezTo>
                    <a:cubicBezTo>
                      <a:pt x="97" y="33"/>
                      <a:pt x="99" y="31"/>
                      <a:pt x="99" y="30"/>
                    </a:cubicBezTo>
                    <a:cubicBezTo>
                      <a:pt x="99" y="28"/>
                      <a:pt x="100" y="28"/>
                      <a:pt x="102" y="28"/>
                    </a:cubicBezTo>
                    <a:cubicBezTo>
                      <a:pt x="104" y="28"/>
                      <a:pt x="105" y="21"/>
                      <a:pt x="105" y="20"/>
                    </a:cubicBezTo>
                    <a:cubicBezTo>
                      <a:pt x="105" y="18"/>
                      <a:pt x="102" y="17"/>
                      <a:pt x="102" y="17"/>
                    </a:cubicBezTo>
                    <a:cubicBezTo>
                      <a:pt x="103" y="9"/>
                      <a:pt x="103" y="9"/>
                      <a:pt x="103" y="9"/>
                    </a:cubicBezTo>
                    <a:cubicBezTo>
                      <a:pt x="98" y="0"/>
                      <a:pt x="98" y="0"/>
                      <a:pt x="98" y="0"/>
                    </a:cubicBezTo>
                    <a:cubicBezTo>
                      <a:pt x="93" y="2"/>
                      <a:pt x="93" y="2"/>
                      <a:pt x="93" y="2"/>
                    </a:cubicBezTo>
                    <a:cubicBezTo>
                      <a:pt x="93" y="2"/>
                      <a:pt x="91" y="6"/>
                      <a:pt x="88" y="6"/>
                    </a:cubicBezTo>
                    <a:cubicBezTo>
                      <a:pt x="85" y="6"/>
                      <a:pt x="82" y="7"/>
                      <a:pt x="78" y="6"/>
                    </a:cubicBezTo>
                    <a:cubicBezTo>
                      <a:pt x="74" y="4"/>
                      <a:pt x="71" y="6"/>
                      <a:pt x="69" y="6"/>
                    </a:cubicBezTo>
                    <a:cubicBezTo>
                      <a:pt x="67" y="6"/>
                      <a:pt x="64" y="7"/>
                      <a:pt x="63" y="9"/>
                    </a:cubicBezTo>
                    <a:cubicBezTo>
                      <a:pt x="63" y="10"/>
                      <a:pt x="60" y="9"/>
                      <a:pt x="55" y="9"/>
                    </a:cubicBezTo>
                    <a:cubicBezTo>
                      <a:pt x="50" y="9"/>
                      <a:pt x="52" y="8"/>
                      <a:pt x="51" y="7"/>
                    </a:cubicBezTo>
                    <a:cubicBezTo>
                      <a:pt x="49" y="5"/>
                      <a:pt x="46" y="6"/>
                      <a:pt x="44" y="7"/>
                    </a:cubicBezTo>
                    <a:cubicBezTo>
                      <a:pt x="42" y="9"/>
                      <a:pt x="38" y="8"/>
                      <a:pt x="38" y="8"/>
                    </a:cubicBezTo>
                    <a:cubicBezTo>
                      <a:pt x="38" y="8"/>
                      <a:pt x="36" y="3"/>
                      <a:pt x="34" y="3"/>
                    </a:cubicBezTo>
                    <a:cubicBezTo>
                      <a:pt x="32" y="3"/>
                      <a:pt x="32" y="1"/>
                      <a:pt x="30" y="1"/>
                    </a:cubicBezTo>
                    <a:cubicBezTo>
                      <a:pt x="27" y="1"/>
                      <a:pt x="25" y="1"/>
                      <a:pt x="23" y="2"/>
                    </a:cubicBezTo>
                    <a:cubicBezTo>
                      <a:pt x="20" y="3"/>
                      <a:pt x="14" y="6"/>
                      <a:pt x="14" y="6"/>
                    </a:cubicBezTo>
                    <a:cubicBezTo>
                      <a:pt x="14" y="6"/>
                      <a:pt x="14" y="9"/>
                      <a:pt x="14" y="11"/>
                    </a:cubicBezTo>
                    <a:cubicBezTo>
                      <a:pt x="14" y="13"/>
                      <a:pt x="10" y="16"/>
                      <a:pt x="10" y="16"/>
                    </a:cubicBezTo>
                    <a:cubicBezTo>
                      <a:pt x="7" y="23"/>
                      <a:pt x="7" y="23"/>
                      <a:pt x="7" y="23"/>
                    </a:cubicBezTo>
                    <a:cubicBezTo>
                      <a:pt x="7" y="23"/>
                      <a:pt x="8" y="27"/>
                      <a:pt x="7" y="28"/>
                    </a:cubicBezTo>
                    <a:cubicBezTo>
                      <a:pt x="5" y="29"/>
                      <a:pt x="6" y="30"/>
                      <a:pt x="8" y="31"/>
                    </a:cubicBezTo>
                    <a:cubicBezTo>
                      <a:pt x="10" y="32"/>
                      <a:pt x="10" y="33"/>
                      <a:pt x="9" y="36"/>
                    </a:cubicBezTo>
                    <a:cubicBezTo>
                      <a:pt x="8" y="39"/>
                      <a:pt x="10" y="41"/>
                      <a:pt x="9" y="41"/>
                    </a:cubicBezTo>
                    <a:cubicBezTo>
                      <a:pt x="7" y="41"/>
                      <a:pt x="7" y="42"/>
                      <a:pt x="7" y="45"/>
                    </a:cubicBezTo>
                    <a:cubicBezTo>
                      <a:pt x="7" y="47"/>
                      <a:pt x="7" y="48"/>
                      <a:pt x="6" y="50"/>
                    </a:cubicBezTo>
                    <a:cubicBezTo>
                      <a:pt x="5" y="52"/>
                      <a:pt x="3" y="52"/>
                      <a:pt x="5" y="54"/>
                    </a:cubicBezTo>
                    <a:cubicBezTo>
                      <a:pt x="6" y="56"/>
                      <a:pt x="5" y="58"/>
                      <a:pt x="3" y="57"/>
                    </a:cubicBezTo>
                    <a:cubicBezTo>
                      <a:pt x="1" y="56"/>
                      <a:pt x="1" y="58"/>
                      <a:pt x="2" y="60"/>
                    </a:cubicBezTo>
                    <a:cubicBezTo>
                      <a:pt x="3" y="62"/>
                      <a:pt x="0" y="70"/>
                      <a:pt x="2" y="72"/>
                    </a:cubicBezTo>
                    <a:cubicBezTo>
                      <a:pt x="3" y="74"/>
                      <a:pt x="3" y="76"/>
                      <a:pt x="3" y="78"/>
                    </a:cubicBezTo>
                    <a:cubicBezTo>
                      <a:pt x="3" y="80"/>
                      <a:pt x="2" y="85"/>
                      <a:pt x="2" y="85"/>
                    </a:cubicBezTo>
                    <a:cubicBezTo>
                      <a:pt x="5" y="84"/>
                      <a:pt x="8" y="84"/>
                      <a:pt x="9" y="84"/>
                    </a:cubicBezTo>
                    <a:cubicBezTo>
                      <a:pt x="9" y="84"/>
                      <a:pt x="8" y="85"/>
                      <a:pt x="8" y="86"/>
                    </a:cubicBezTo>
                    <a:cubicBezTo>
                      <a:pt x="10" y="86"/>
                      <a:pt x="15" y="85"/>
                      <a:pt x="17" y="86"/>
                    </a:cubicBezTo>
                    <a:cubicBezTo>
                      <a:pt x="19" y="86"/>
                      <a:pt x="20" y="90"/>
                      <a:pt x="22" y="91"/>
                    </a:cubicBezTo>
                    <a:cubicBezTo>
                      <a:pt x="23" y="91"/>
                      <a:pt x="25" y="91"/>
                      <a:pt x="25" y="91"/>
                    </a:cubicBezTo>
                    <a:cubicBezTo>
                      <a:pt x="25" y="91"/>
                      <a:pt x="25" y="93"/>
                      <a:pt x="25" y="94"/>
                    </a:cubicBezTo>
                    <a:cubicBezTo>
                      <a:pt x="26" y="94"/>
                      <a:pt x="26" y="94"/>
                      <a:pt x="26" y="94"/>
                    </a:cubicBezTo>
                    <a:cubicBezTo>
                      <a:pt x="27" y="95"/>
                      <a:pt x="27" y="96"/>
                      <a:pt x="28" y="98"/>
                    </a:cubicBezTo>
                    <a:cubicBezTo>
                      <a:pt x="28" y="98"/>
                      <a:pt x="28" y="98"/>
                      <a:pt x="28" y="98"/>
                    </a:cubicBezTo>
                    <a:cubicBezTo>
                      <a:pt x="28" y="98"/>
                      <a:pt x="27" y="99"/>
                      <a:pt x="26" y="100"/>
                    </a:cubicBezTo>
                    <a:cubicBezTo>
                      <a:pt x="27" y="103"/>
                      <a:pt x="29" y="106"/>
                      <a:pt x="31" y="109"/>
                    </a:cubicBezTo>
                    <a:cubicBezTo>
                      <a:pt x="34" y="109"/>
                      <a:pt x="35" y="109"/>
                      <a:pt x="38" y="108"/>
                    </a:cubicBezTo>
                    <a:cubicBezTo>
                      <a:pt x="38" y="107"/>
                      <a:pt x="38" y="107"/>
                      <a:pt x="38" y="107"/>
                    </a:cubicBezTo>
                    <a:cubicBezTo>
                      <a:pt x="39" y="107"/>
                      <a:pt x="39" y="108"/>
                      <a:pt x="41" y="108"/>
                    </a:cubicBezTo>
                    <a:cubicBezTo>
                      <a:pt x="42" y="106"/>
                      <a:pt x="42" y="106"/>
                      <a:pt x="42" y="106"/>
                    </a:cubicBezTo>
                    <a:cubicBezTo>
                      <a:pt x="43" y="106"/>
                      <a:pt x="42" y="108"/>
                      <a:pt x="44" y="107"/>
                    </a:cubicBezTo>
                    <a:cubicBezTo>
                      <a:pt x="45" y="106"/>
                      <a:pt x="45" y="104"/>
                      <a:pt x="46" y="104"/>
                    </a:cubicBezTo>
                    <a:cubicBezTo>
                      <a:pt x="46" y="103"/>
                      <a:pt x="48" y="104"/>
                      <a:pt x="48" y="104"/>
                    </a:cubicBezTo>
                    <a:cubicBezTo>
                      <a:pt x="49" y="105"/>
                      <a:pt x="49" y="105"/>
                      <a:pt x="50" y="106"/>
                    </a:cubicBezTo>
                    <a:cubicBezTo>
                      <a:pt x="50" y="105"/>
                      <a:pt x="50" y="103"/>
                      <a:pt x="51" y="10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43" name="Freeform 122">
                <a:extLst>
                  <a:ext uri="{FF2B5EF4-FFF2-40B4-BE49-F238E27FC236}">
                    <a16:creationId xmlns:a16="http://schemas.microsoft.com/office/drawing/2014/main" id="{F540196F-63DA-D102-CA2E-0D71EFFAD19E}"/>
                  </a:ext>
                </a:extLst>
              </p:cNvPr>
              <p:cNvSpPr>
                <a:spLocks/>
              </p:cNvSpPr>
              <p:nvPr/>
            </p:nvSpPr>
            <p:spPr bwMode="auto">
              <a:xfrm>
                <a:off x="3109" y="1750"/>
                <a:ext cx="275" cy="245"/>
              </a:xfrm>
              <a:custGeom>
                <a:avLst/>
                <a:gdLst>
                  <a:gd name="T0" fmla="*/ 130 w 140"/>
                  <a:gd name="T1" fmla="*/ 5 h 125"/>
                  <a:gd name="T2" fmla="*/ 123 w 140"/>
                  <a:gd name="T3" fmla="*/ 10 h 125"/>
                  <a:gd name="T4" fmla="*/ 122 w 140"/>
                  <a:gd name="T5" fmla="*/ 12 h 125"/>
                  <a:gd name="T6" fmla="*/ 102 w 140"/>
                  <a:gd name="T7" fmla="*/ 0 h 125"/>
                  <a:gd name="T8" fmla="*/ 55 w 140"/>
                  <a:gd name="T9" fmla="*/ 35 h 125"/>
                  <a:gd name="T10" fmla="*/ 50 w 140"/>
                  <a:gd name="T11" fmla="*/ 44 h 125"/>
                  <a:gd name="T12" fmla="*/ 38 w 140"/>
                  <a:gd name="T13" fmla="*/ 46 h 125"/>
                  <a:gd name="T14" fmla="*/ 39 w 140"/>
                  <a:gd name="T15" fmla="*/ 71 h 125"/>
                  <a:gd name="T16" fmla="*/ 36 w 140"/>
                  <a:gd name="T17" fmla="*/ 73 h 125"/>
                  <a:gd name="T18" fmla="*/ 36 w 140"/>
                  <a:gd name="T19" fmla="*/ 78 h 125"/>
                  <a:gd name="T20" fmla="*/ 35 w 140"/>
                  <a:gd name="T21" fmla="*/ 80 h 125"/>
                  <a:gd name="T22" fmla="*/ 30 w 140"/>
                  <a:gd name="T23" fmla="*/ 80 h 125"/>
                  <a:gd name="T24" fmla="*/ 19 w 140"/>
                  <a:gd name="T25" fmla="*/ 84 h 125"/>
                  <a:gd name="T26" fmla="*/ 10 w 140"/>
                  <a:gd name="T27" fmla="*/ 86 h 125"/>
                  <a:gd name="T28" fmla="*/ 4 w 140"/>
                  <a:gd name="T29" fmla="*/ 87 h 125"/>
                  <a:gd name="T30" fmla="*/ 3 w 140"/>
                  <a:gd name="T31" fmla="*/ 89 h 125"/>
                  <a:gd name="T32" fmla="*/ 2 w 140"/>
                  <a:gd name="T33" fmla="*/ 88 h 125"/>
                  <a:gd name="T34" fmla="*/ 0 w 140"/>
                  <a:gd name="T35" fmla="*/ 92 h 125"/>
                  <a:gd name="T36" fmla="*/ 3 w 140"/>
                  <a:gd name="T37" fmla="*/ 96 h 125"/>
                  <a:gd name="T38" fmla="*/ 9 w 140"/>
                  <a:gd name="T39" fmla="*/ 100 h 125"/>
                  <a:gd name="T40" fmla="*/ 9 w 140"/>
                  <a:gd name="T41" fmla="*/ 103 h 125"/>
                  <a:gd name="T42" fmla="*/ 13 w 140"/>
                  <a:gd name="T43" fmla="*/ 111 h 125"/>
                  <a:gd name="T44" fmla="*/ 16 w 140"/>
                  <a:gd name="T45" fmla="*/ 111 h 125"/>
                  <a:gd name="T46" fmla="*/ 15 w 140"/>
                  <a:gd name="T47" fmla="*/ 115 h 125"/>
                  <a:gd name="T48" fmla="*/ 17 w 140"/>
                  <a:gd name="T49" fmla="*/ 123 h 125"/>
                  <a:gd name="T50" fmla="*/ 21 w 140"/>
                  <a:gd name="T51" fmla="*/ 119 h 125"/>
                  <a:gd name="T52" fmla="*/ 25 w 140"/>
                  <a:gd name="T53" fmla="*/ 120 h 125"/>
                  <a:gd name="T54" fmla="*/ 26 w 140"/>
                  <a:gd name="T55" fmla="*/ 123 h 125"/>
                  <a:gd name="T56" fmla="*/ 31 w 140"/>
                  <a:gd name="T57" fmla="*/ 125 h 125"/>
                  <a:gd name="T58" fmla="*/ 34 w 140"/>
                  <a:gd name="T59" fmla="*/ 118 h 125"/>
                  <a:gd name="T60" fmla="*/ 38 w 140"/>
                  <a:gd name="T61" fmla="*/ 113 h 125"/>
                  <a:gd name="T62" fmla="*/ 38 w 140"/>
                  <a:gd name="T63" fmla="*/ 108 h 125"/>
                  <a:gd name="T64" fmla="*/ 47 w 140"/>
                  <a:gd name="T65" fmla="*/ 104 h 125"/>
                  <a:gd name="T66" fmla="*/ 54 w 140"/>
                  <a:gd name="T67" fmla="*/ 103 h 125"/>
                  <a:gd name="T68" fmla="*/ 58 w 140"/>
                  <a:gd name="T69" fmla="*/ 105 h 125"/>
                  <a:gd name="T70" fmla="*/ 62 w 140"/>
                  <a:gd name="T71" fmla="*/ 110 h 125"/>
                  <a:gd name="T72" fmla="*/ 68 w 140"/>
                  <a:gd name="T73" fmla="*/ 109 h 125"/>
                  <a:gd name="T74" fmla="*/ 75 w 140"/>
                  <a:gd name="T75" fmla="*/ 109 h 125"/>
                  <a:gd name="T76" fmla="*/ 79 w 140"/>
                  <a:gd name="T77" fmla="*/ 111 h 125"/>
                  <a:gd name="T78" fmla="*/ 87 w 140"/>
                  <a:gd name="T79" fmla="*/ 111 h 125"/>
                  <a:gd name="T80" fmla="*/ 93 w 140"/>
                  <a:gd name="T81" fmla="*/ 108 h 125"/>
                  <a:gd name="T82" fmla="*/ 102 w 140"/>
                  <a:gd name="T83" fmla="*/ 108 h 125"/>
                  <a:gd name="T84" fmla="*/ 112 w 140"/>
                  <a:gd name="T85" fmla="*/ 108 h 125"/>
                  <a:gd name="T86" fmla="*/ 117 w 140"/>
                  <a:gd name="T87" fmla="*/ 104 h 125"/>
                  <a:gd name="T88" fmla="*/ 122 w 140"/>
                  <a:gd name="T89" fmla="*/ 102 h 125"/>
                  <a:gd name="T90" fmla="*/ 122 w 140"/>
                  <a:gd name="T91" fmla="*/ 92 h 125"/>
                  <a:gd name="T92" fmla="*/ 135 w 140"/>
                  <a:gd name="T93" fmla="*/ 81 h 125"/>
                  <a:gd name="T94" fmla="*/ 135 w 140"/>
                  <a:gd name="T95" fmla="*/ 45 h 125"/>
                  <a:gd name="T96" fmla="*/ 138 w 140"/>
                  <a:gd name="T97" fmla="*/ 36 h 125"/>
                  <a:gd name="T98" fmla="*/ 135 w 140"/>
                  <a:gd name="T99" fmla="*/ 27 h 125"/>
                  <a:gd name="T100" fmla="*/ 130 w 140"/>
                  <a:gd name="T101"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 h="125">
                    <a:moveTo>
                      <a:pt x="130" y="5"/>
                    </a:moveTo>
                    <a:cubicBezTo>
                      <a:pt x="123" y="10"/>
                      <a:pt x="123" y="10"/>
                      <a:pt x="123" y="10"/>
                    </a:cubicBezTo>
                    <a:cubicBezTo>
                      <a:pt x="122" y="12"/>
                      <a:pt x="122" y="12"/>
                      <a:pt x="122" y="12"/>
                    </a:cubicBezTo>
                    <a:cubicBezTo>
                      <a:pt x="102" y="0"/>
                      <a:pt x="102" y="0"/>
                      <a:pt x="102" y="0"/>
                    </a:cubicBezTo>
                    <a:cubicBezTo>
                      <a:pt x="55" y="35"/>
                      <a:pt x="55" y="35"/>
                      <a:pt x="55" y="35"/>
                    </a:cubicBezTo>
                    <a:cubicBezTo>
                      <a:pt x="50" y="44"/>
                      <a:pt x="50" y="44"/>
                      <a:pt x="50" y="44"/>
                    </a:cubicBezTo>
                    <a:cubicBezTo>
                      <a:pt x="38" y="46"/>
                      <a:pt x="38" y="46"/>
                      <a:pt x="38" y="46"/>
                    </a:cubicBezTo>
                    <a:cubicBezTo>
                      <a:pt x="39" y="71"/>
                      <a:pt x="39" y="71"/>
                      <a:pt x="39" y="71"/>
                    </a:cubicBezTo>
                    <a:cubicBezTo>
                      <a:pt x="36" y="73"/>
                      <a:pt x="36" y="73"/>
                      <a:pt x="36" y="73"/>
                    </a:cubicBezTo>
                    <a:cubicBezTo>
                      <a:pt x="36" y="73"/>
                      <a:pt x="36" y="76"/>
                      <a:pt x="36" y="78"/>
                    </a:cubicBezTo>
                    <a:cubicBezTo>
                      <a:pt x="36" y="80"/>
                      <a:pt x="35" y="80"/>
                      <a:pt x="35" y="80"/>
                    </a:cubicBezTo>
                    <a:cubicBezTo>
                      <a:pt x="30" y="80"/>
                      <a:pt x="30" y="80"/>
                      <a:pt x="30" y="80"/>
                    </a:cubicBezTo>
                    <a:cubicBezTo>
                      <a:pt x="30" y="80"/>
                      <a:pt x="22" y="84"/>
                      <a:pt x="19" y="84"/>
                    </a:cubicBezTo>
                    <a:cubicBezTo>
                      <a:pt x="16" y="85"/>
                      <a:pt x="11" y="85"/>
                      <a:pt x="10" y="86"/>
                    </a:cubicBezTo>
                    <a:cubicBezTo>
                      <a:pt x="8" y="87"/>
                      <a:pt x="4" y="87"/>
                      <a:pt x="4" y="87"/>
                    </a:cubicBezTo>
                    <a:cubicBezTo>
                      <a:pt x="3" y="89"/>
                      <a:pt x="3" y="89"/>
                      <a:pt x="3" y="89"/>
                    </a:cubicBezTo>
                    <a:cubicBezTo>
                      <a:pt x="2" y="88"/>
                      <a:pt x="2" y="88"/>
                      <a:pt x="2" y="88"/>
                    </a:cubicBezTo>
                    <a:cubicBezTo>
                      <a:pt x="0" y="92"/>
                      <a:pt x="0" y="92"/>
                      <a:pt x="0" y="92"/>
                    </a:cubicBezTo>
                    <a:cubicBezTo>
                      <a:pt x="3" y="96"/>
                      <a:pt x="3" y="96"/>
                      <a:pt x="3" y="96"/>
                    </a:cubicBezTo>
                    <a:cubicBezTo>
                      <a:pt x="9" y="100"/>
                      <a:pt x="9" y="100"/>
                      <a:pt x="9" y="100"/>
                    </a:cubicBezTo>
                    <a:cubicBezTo>
                      <a:pt x="9" y="103"/>
                      <a:pt x="9" y="103"/>
                      <a:pt x="9" y="103"/>
                    </a:cubicBezTo>
                    <a:cubicBezTo>
                      <a:pt x="13" y="111"/>
                      <a:pt x="13" y="111"/>
                      <a:pt x="13" y="111"/>
                    </a:cubicBezTo>
                    <a:cubicBezTo>
                      <a:pt x="13" y="111"/>
                      <a:pt x="16" y="110"/>
                      <a:pt x="16" y="111"/>
                    </a:cubicBezTo>
                    <a:cubicBezTo>
                      <a:pt x="16" y="113"/>
                      <a:pt x="15" y="115"/>
                      <a:pt x="15" y="115"/>
                    </a:cubicBezTo>
                    <a:cubicBezTo>
                      <a:pt x="17" y="123"/>
                      <a:pt x="17" y="123"/>
                      <a:pt x="17" y="123"/>
                    </a:cubicBezTo>
                    <a:cubicBezTo>
                      <a:pt x="21" y="119"/>
                      <a:pt x="21" y="119"/>
                      <a:pt x="21" y="119"/>
                    </a:cubicBezTo>
                    <a:cubicBezTo>
                      <a:pt x="21" y="119"/>
                      <a:pt x="23" y="118"/>
                      <a:pt x="25" y="120"/>
                    </a:cubicBezTo>
                    <a:cubicBezTo>
                      <a:pt x="27" y="121"/>
                      <a:pt x="26" y="123"/>
                      <a:pt x="26" y="123"/>
                    </a:cubicBezTo>
                    <a:cubicBezTo>
                      <a:pt x="31" y="125"/>
                      <a:pt x="31" y="125"/>
                      <a:pt x="31" y="125"/>
                    </a:cubicBezTo>
                    <a:cubicBezTo>
                      <a:pt x="34" y="118"/>
                      <a:pt x="34" y="118"/>
                      <a:pt x="34" y="118"/>
                    </a:cubicBezTo>
                    <a:cubicBezTo>
                      <a:pt x="34" y="118"/>
                      <a:pt x="38" y="115"/>
                      <a:pt x="38" y="113"/>
                    </a:cubicBezTo>
                    <a:cubicBezTo>
                      <a:pt x="38" y="111"/>
                      <a:pt x="38" y="108"/>
                      <a:pt x="38" y="108"/>
                    </a:cubicBezTo>
                    <a:cubicBezTo>
                      <a:pt x="38" y="108"/>
                      <a:pt x="44" y="105"/>
                      <a:pt x="47" y="104"/>
                    </a:cubicBezTo>
                    <a:cubicBezTo>
                      <a:pt x="49" y="103"/>
                      <a:pt x="51" y="103"/>
                      <a:pt x="54" y="103"/>
                    </a:cubicBezTo>
                    <a:cubicBezTo>
                      <a:pt x="56" y="103"/>
                      <a:pt x="56" y="105"/>
                      <a:pt x="58" y="105"/>
                    </a:cubicBezTo>
                    <a:cubicBezTo>
                      <a:pt x="60" y="105"/>
                      <a:pt x="62" y="110"/>
                      <a:pt x="62" y="110"/>
                    </a:cubicBezTo>
                    <a:cubicBezTo>
                      <a:pt x="62" y="110"/>
                      <a:pt x="66" y="111"/>
                      <a:pt x="68" y="109"/>
                    </a:cubicBezTo>
                    <a:cubicBezTo>
                      <a:pt x="70" y="108"/>
                      <a:pt x="73" y="107"/>
                      <a:pt x="75" y="109"/>
                    </a:cubicBezTo>
                    <a:cubicBezTo>
                      <a:pt x="76" y="110"/>
                      <a:pt x="74" y="111"/>
                      <a:pt x="79" y="111"/>
                    </a:cubicBezTo>
                    <a:cubicBezTo>
                      <a:pt x="84" y="111"/>
                      <a:pt x="87" y="112"/>
                      <a:pt x="87" y="111"/>
                    </a:cubicBezTo>
                    <a:cubicBezTo>
                      <a:pt x="88" y="109"/>
                      <a:pt x="91" y="108"/>
                      <a:pt x="93" y="108"/>
                    </a:cubicBezTo>
                    <a:cubicBezTo>
                      <a:pt x="95" y="108"/>
                      <a:pt x="98" y="106"/>
                      <a:pt x="102" y="108"/>
                    </a:cubicBezTo>
                    <a:cubicBezTo>
                      <a:pt x="106" y="109"/>
                      <a:pt x="109" y="108"/>
                      <a:pt x="112" y="108"/>
                    </a:cubicBezTo>
                    <a:cubicBezTo>
                      <a:pt x="115" y="108"/>
                      <a:pt x="117" y="104"/>
                      <a:pt x="117" y="104"/>
                    </a:cubicBezTo>
                    <a:cubicBezTo>
                      <a:pt x="122" y="102"/>
                      <a:pt x="122" y="102"/>
                      <a:pt x="122" y="102"/>
                    </a:cubicBezTo>
                    <a:cubicBezTo>
                      <a:pt x="122" y="92"/>
                      <a:pt x="122" y="92"/>
                      <a:pt x="122" y="92"/>
                    </a:cubicBezTo>
                    <a:cubicBezTo>
                      <a:pt x="135" y="81"/>
                      <a:pt x="135" y="81"/>
                      <a:pt x="135" y="81"/>
                    </a:cubicBezTo>
                    <a:cubicBezTo>
                      <a:pt x="135" y="81"/>
                      <a:pt x="135" y="49"/>
                      <a:pt x="135" y="45"/>
                    </a:cubicBezTo>
                    <a:cubicBezTo>
                      <a:pt x="136" y="42"/>
                      <a:pt x="136" y="39"/>
                      <a:pt x="138" y="36"/>
                    </a:cubicBezTo>
                    <a:cubicBezTo>
                      <a:pt x="140" y="34"/>
                      <a:pt x="135" y="27"/>
                      <a:pt x="135" y="27"/>
                    </a:cubicBezTo>
                    <a:lnTo>
                      <a:pt x="130" y="5"/>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44" name="Freeform 123">
                <a:extLst>
                  <a:ext uri="{FF2B5EF4-FFF2-40B4-BE49-F238E27FC236}">
                    <a16:creationId xmlns:a16="http://schemas.microsoft.com/office/drawing/2014/main" id="{8C0064D2-8532-973D-56CE-C28C6933D024}"/>
                  </a:ext>
                </a:extLst>
              </p:cNvPr>
              <p:cNvSpPr>
                <a:spLocks/>
              </p:cNvSpPr>
              <p:nvPr/>
            </p:nvSpPr>
            <p:spPr bwMode="auto">
              <a:xfrm>
                <a:off x="3109" y="1750"/>
                <a:ext cx="275" cy="245"/>
              </a:xfrm>
              <a:custGeom>
                <a:avLst/>
                <a:gdLst>
                  <a:gd name="T0" fmla="*/ 130 w 140"/>
                  <a:gd name="T1" fmla="*/ 5 h 125"/>
                  <a:gd name="T2" fmla="*/ 123 w 140"/>
                  <a:gd name="T3" fmla="*/ 10 h 125"/>
                  <a:gd name="T4" fmla="*/ 122 w 140"/>
                  <a:gd name="T5" fmla="*/ 12 h 125"/>
                  <a:gd name="T6" fmla="*/ 102 w 140"/>
                  <a:gd name="T7" fmla="*/ 0 h 125"/>
                  <a:gd name="T8" fmla="*/ 55 w 140"/>
                  <a:gd name="T9" fmla="*/ 35 h 125"/>
                  <a:gd name="T10" fmla="*/ 50 w 140"/>
                  <a:gd name="T11" fmla="*/ 44 h 125"/>
                  <a:gd name="T12" fmla="*/ 38 w 140"/>
                  <a:gd name="T13" fmla="*/ 46 h 125"/>
                  <a:gd name="T14" fmla="*/ 39 w 140"/>
                  <a:gd name="T15" fmla="*/ 71 h 125"/>
                  <a:gd name="T16" fmla="*/ 36 w 140"/>
                  <a:gd name="T17" fmla="*/ 73 h 125"/>
                  <a:gd name="T18" fmla="*/ 36 w 140"/>
                  <a:gd name="T19" fmla="*/ 78 h 125"/>
                  <a:gd name="T20" fmla="*/ 35 w 140"/>
                  <a:gd name="T21" fmla="*/ 80 h 125"/>
                  <a:gd name="T22" fmla="*/ 30 w 140"/>
                  <a:gd name="T23" fmla="*/ 80 h 125"/>
                  <a:gd name="T24" fmla="*/ 19 w 140"/>
                  <a:gd name="T25" fmla="*/ 84 h 125"/>
                  <a:gd name="T26" fmla="*/ 10 w 140"/>
                  <a:gd name="T27" fmla="*/ 86 h 125"/>
                  <a:gd name="T28" fmla="*/ 4 w 140"/>
                  <a:gd name="T29" fmla="*/ 87 h 125"/>
                  <a:gd name="T30" fmla="*/ 3 w 140"/>
                  <a:gd name="T31" fmla="*/ 89 h 125"/>
                  <a:gd name="T32" fmla="*/ 2 w 140"/>
                  <a:gd name="T33" fmla="*/ 88 h 125"/>
                  <a:gd name="T34" fmla="*/ 0 w 140"/>
                  <a:gd name="T35" fmla="*/ 92 h 125"/>
                  <a:gd name="T36" fmla="*/ 3 w 140"/>
                  <a:gd name="T37" fmla="*/ 96 h 125"/>
                  <a:gd name="T38" fmla="*/ 9 w 140"/>
                  <a:gd name="T39" fmla="*/ 100 h 125"/>
                  <a:gd name="T40" fmla="*/ 9 w 140"/>
                  <a:gd name="T41" fmla="*/ 103 h 125"/>
                  <a:gd name="T42" fmla="*/ 13 w 140"/>
                  <a:gd name="T43" fmla="*/ 111 h 125"/>
                  <a:gd name="T44" fmla="*/ 16 w 140"/>
                  <a:gd name="T45" fmla="*/ 111 h 125"/>
                  <a:gd name="T46" fmla="*/ 15 w 140"/>
                  <a:gd name="T47" fmla="*/ 115 h 125"/>
                  <a:gd name="T48" fmla="*/ 17 w 140"/>
                  <a:gd name="T49" fmla="*/ 123 h 125"/>
                  <a:gd name="T50" fmla="*/ 21 w 140"/>
                  <a:gd name="T51" fmla="*/ 119 h 125"/>
                  <a:gd name="T52" fmla="*/ 25 w 140"/>
                  <a:gd name="T53" fmla="*/ 120 h 125"/>
                  <a:gd name="T54" fmla="*/ 26 w 140"/>
                  <a:gd name="T55" fmla="*/ 123 h 125"/>
                  <a:gd name="T56" fmla="*/ 31 w 140"/>
                  <a:gd name="T57" fmla="*/ 125 h 125"/>
                  <a:gd name="T58" fmla="*/ 34 w 140"/>
                  <a:gd name="T59" fmla="*/ 118 h 125"/>
                  <a:gd name="T60" fmla="*/ 38 w 140"/>
                  <a:gd name="T61" fmla="*/ 113 h 125"/>
                  <a:gd name="T62" fmla="*/ 38 w 140"/>
                  <a:gd name="T63" fmla="*/ 108 h 125"/>
                  <a:gd name="T64" fmla="*/ 47 w 140"/>
                  <a:gd name="T65" fmla="*/ 104 h 125"/>
                  <a:gd name="T66" fmla="*/ 54 w 140"/>
                  <a:gd name="T67" fmla="*/ 103 h 125"/>
                  <a:gd name="T68" fmla="*/ 58 w 140"/>
                  <a:gd name="T69" fmla="*/ 105 h 125"/>
                  <a:gd name="T70" fmla="*/ 62 w 140"/>
                  <a:gd name="T71" fmla="*/ 110 h 125"/>
                  <a:gd name="T72" fmla="*/ 68 w 140"/>
                  <a:gd name="T73" fmla="*/ 109 h 125"/>
                  <a:gd name="T74" fmla="*/ 75 w 140"/>
                  <a:gd name="T75" fmla="*/ 109 h 125"/>
                  <a:gd name="T76" fmla="*/ 79 w 140"/>
                  <a:gd name="T77" fmla="*/ 111 h 125"/>
                  <a:gd name="T78" fmla="*/ 87 w 140"/>
                  <a:gd name="T79" fmla="*/ 111 h 125"/>
                  <a:gd name="T80" fmla="*/ 93 w 140"/>
                  <a:gd name="T81" fmla="*/ 108 h 125"/>
                  <a:gd name="T82" fmla="*/ 102 w 140"/>
                  <a:gd name="T83" fmla="*/ 108 h 125"/>
                  <a:gd name="T84" fmla="*/ 112 w 140"/>
                  <a:gd name="T85" fmla="*/ 108 h 125"/>
                  <a:gd name="T86" fmla="*/ 117 w 140"/>
                  <a:gd name="T87" fmla="*/ 104 h 125"/>
                  <a:gd name="T88" fmla="*/ 122 w 140"/>
                  <a:gd name="T89" fmla="*/ 102 h 125"/>
                  <a:gd name="T90" fmla="*/ 122 w 140"/>
                  <a:gd name="T91" fmla="*/ 92 h 125"/>
                  <a:gd name="T92" fmla="*/ 135 w 140"/>
                  <a:gd name="T93" fmla="*/ 81 h 125"/>
                  <a:gd name="T94" fmla="*/ 135 w 140"/>
                  <a:gd name="T95" fmla="*/ 45 h 125"/>
                  <a:gd name="T96" fmla="*/ 138 w 140"/>
                  <a:gd name="T97" fmla="*/ 36 h 125"/>
                  <a:gd name="T98" fmla="*/ 135 w 140"/>
                  <a:gd name="T99" fmla="*/ 27 h 125"/>
                  <a:gd name="T100" fmla="*/ 130 w 140"/>
                  <a:gd name="T101" fmla="*/ 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 h="125">
                    <a:moveTo>
                      <a:pt x="130" y="5"/>
                    </a:moveTo>
                    <a:cubicBezTo>
                      <a:pt x="123" y="10"/>
                      <a:pt x="123" y="10"/>
                      <a:pt x="123" y="10"/>
                    </a:cubicBezTo>
                    <a:cubicBezTo>
                      <a:pt x="122" y="12"/>
                      <a:pt x="122" y="12"/>
                      <a:pt x="122" y="12"/>
                    </a:cubicBezTo>
                    <a:cubicBezTo>
                      <a:pt x="102" y="0"/>
                      <a:pt x="102" y="0"/>
                      <a:pt x="102" y="0"/>
                    </a:cubicBezTo>
                    <a:cubicBezTo>
                      <a:pt x="55" y="35"/>
                      <a:pt x="55" y="35"/>
                      <a:pt x="55" y="35"/>
                    </a:cubicBezTo>
                    <a:cubicBezTo>
                      <a:pt x="50" y="44"/>
                      <a:pt x="50" y="44"/>
                      <a:pt x="50" y="44"/>
                    </a:cubicBezTo>
                    <a:cubicBezTo>
                      <a:pt x="38" y="46"/>
                      <a:pt x="38" y="46"/>
                      <a:pt x="38" y="46"/>
                    </a:cubicBezTo>
                    <a:cubicBezTo>
                      <a:pt x="39" y="71"/>
                      <a:pt x="39" y="71"/>
                      <a:pt x="39" y="71"/>
                    </a:cubicBezTo>
                    <a:cubicBezTo>
                      <a:pt x="36" y="73"/>
                      <a:pt x="36" y="73"/>
                      <a:pt x="36" y="73"/>
                    </a:cubicBezTo>
                    <a:cubicBezTo>
                      <a:pt x="36" y="73"/>
                      <a:pt x="36" y="76"/>
                      <a:pt x="36" y="78"/>
                    </a:cubicBezTo>
                    <a:cubicBezTo>
                      <a:pt x="36" y="80"/>
                      <a:pt x="35" y="80"/>
                      <a:pt x="35" y="80"/>
                    </a:cubicBezTo>
                    <a:cubicBezTo>
                      <a:pt x="30" y="80"/>
                      <a:pt x="30" y="80"/>
                      <a:pt x="30" y="80"/>
                    </a:cubicBezTo>
                    <a:cubicBezTo>
                      <a:pt x="30" y="80"/>
                      <a:pt x="22" y="84"/>
                      <a:pt x="19" y="84"/>
                    </a:cubicBezTo>
                    <a:cubicBezTo>
                      <a:pt x="16" y="85"/>
                      <a:pt x="11" y="85"/>
                      <a:pt x="10" y="86"/>
                    </a:cubicBezTo>
                    <a:cubicBezTo>
                      <a:pt x="8" y="87"/>
                      <a:pt x="4" y="87"/>
                      <a:pt x="4" y="87"/>
                    </a:cubicBezTo>
                    <a:cubicBezTo>
                      <a:pt x="3" y="89"/>
                      <a:pt x="3" y="89"/>
                      <a:pt x="3" y="89"/>
                    </a:cubicBezTo>
                    <a:cubicBezTo>
                      <a:pt x="2" y="88"/>
                      <a:pt x="2" y="88"/>
                      <a:pt x="2" y="88"/>
                    </a:cubicBezTo>
                    <a:cubicBezTo>
                      <a:pt x="0" y="92"/>
                      <a:pt x="0" y="92"/>
                      <a:pt x="0" y="92"/>
                    </a:cubicBezTo>
                    <a:cubicBezTo>
                      <a:pt x="3" y="96"/>
                      <a:pt x="3" y="96"/>
                      <a:pt x="3" y="96"/>
                    </a:cubicBezTo>
                    <a:cubicBezTo>
                      <a:pt x="9" y="100"/>
                      <a:pt x="9" y="100"/>
                      <a:pt x="9" y="100"/>
                    </a:cubicBezTo>
                    <a:cubicBezTo>
                      <a:pt x="9" y="103"/>
                      <a:pt x="9" y="103"/>
                      <a:pt x="9" y="103"/>
                    </a:cubicBezTo>
                    <a:cubicBezTo>
                      <a:pt x="13" y="111"/>
                      <a:pt x="13" y="111"/>
                      <a:pt x="13" y="111"/>
                    </a:cubicBezTo>
                    <a:cubicBezTo>
                      <a:pt x="13" y="111"/>
                      <a:pt x="16" y="110"/>
                      <a:pt x="16" y="111"/>
                    </a:cubicBezTo>
                    <a:cubicBezTo>
                      <a:pt x="16" y="113"/>
                      <a:pt x="15" y="115"/>
                      <a:pt x="15" y="115"/>
                    </a:cubicBezTo>
                    <a:cubicBezTo>
                      <a:pt x="17" y="123"/>
                      <a:pt x="17" y="123"/>
                      <a:pt x="17" y="123"/>
                    </a:cubicBezTo>
                    <a:cubicBezTo>
                      <a:pt x="21" y="119"/>
                      <a:pt x="21" y="119"/>
                      <a:pt x="21" y="119"/>
                    </a:cubicBezTo>
                    <a:cubicBezTo>
                      <a:pt x="21" y="119"/>
                      <a:pt x="23" y="118"/>
                      <a:pt x="25" y="120"/>
                    </a:cubicBezTo>
                    <a:cubicBezTo>
                      <a:pt x="27" y="121"/>
                      <a:pt x="26" y="123"/>
                      <a:pt x="26" y="123"/>
                    </a:cubicBezTo>
                    <a:cubicBezTo>
                      <a:pt x="31" y="125"/>
                      <a:pt x="31" y="125"/>
                      <a:pt x="31" y="125"/>
                    </a:cubicBezTo>
                    <a:cubicBezTo>
                      <a:pt x="34" y="118"/>
                      <a:pt x="34" y="118"/>
                      <a:pt x="34" y="118"/>
                    </a:cubicBezTo>
                    <a:cubicBezTo>
                      <a:pt x="34" y="118"/>
                      <a:pt x="38" y="115"/>
                      <a:pt x="38" y="113"/>
                    </a:cubicBezTo>
                    <a:cubicBezTo>
                      <a:pt x="38" y="111"/>
                      <a:pt x="38" y="108"/>
                      <a:pt x="38" y="108"/>
                    </a:cubicBezTo>
                    <a:cubicBezTo>
                      <a:pt x="38" y="108"/>
                      <a:pt x="44" y="105"/>
                      <a:pt x="47" y="104"/>
                    </a:cubicBezTo>
                    <a:cubicBezTo>
                      <a:pt x="49" y="103"/>
                      <a:pt x="51" y="103"/>
                      <a:pt x="54" y="103"/>
                    </a:cubicBezTo>
                    <a:cubicBezTo>
                      <a:pt x="56" y="103"/>
                      <a:pt x="56" y="105"/>
                      <a:pt x="58" y="105"/>
                    </a:cubicBezTo>
                    <a:cubicBezTo>
                      <a:pt x="60" y="105"/>
                      <a:pt x="62" y="110"/>
                      <a:pt x="62" y="110"/>
                    </a:cubicBezTo>
                    <a:cubicBezTo>
                      <a:pt x="62" y="110"/>
                      <a:pt x="66" y="111"/>
                      <a:pt x="68" y="109"/>
                    </a:cubicBezTo>
                    <a:cubicBezTo>
                      <a:pt x="70" y="108"/>
                      <a:pt x="73" y="107"/>
                      <a:pt x="75" y="109"/>
                    </a:cubicBezTo>
                    <a:cubicBezTo>
                      <a:pt x="76" y="110"/>
                      <a:pt x="74" y="111"/>
                      <a:pt x="79" y="111"/>
                    </a:cubicBezTo>
                    <a:cubicBezTo>
                      <a:pt x="84" y="111"/>
                      <a:pt x="87" y="112"/>
                      <a:pt x="87" y="111"/>
                    </a:cubicBezTo>
                    <a:cubicBezTo>
                      <a:pt x="88" y="109"/>
                      <a:pt x="91" y="108"/>
                      <a:pt x="93" y="108"/>
                    </a:cubicBezTo>
                    <a:cubicBezTo>
                      <a:pt x="95" y="108"/>
                      <a:pt x="98" y="106"/>
                      <a:pt x="102" y="108"/>
                    </a:cubicBezTo>
                    <a:cubicBezTo>
                      <a:pt x="106" y="109"/>
                      <a:pt x="109" y="108"/>
                      <a:pt x="112" y="108"/>
                    </a:cubicBezTo>
                    <a:cubicBezTo>
                      <a:pt x="115" y="108"/>
                      <a:pt x="117" y="104"/>
                      <a:pt x="117" y="104"/>
                    </a:cubicBezTo>
                    <a:cubicBezTo>
                      <a:pt x="122" y="102"/>
                      <a:pt x="122" y="102"/>
                      <a:pt x="122" y="102"/>
                    </a:cubicBezTo>
                    <a:cubicBezTo>
                      <a:pt x="122" y="92"/>
                      <a:pt x="122" y="92"/>
                      <a:pt x="122" y="92"/>
                    </a:cubicBezTo>
                    <a:cubicBezTo>
                      <a:pt x="135" y="81"/>
                      <a:pt x="135" y="81"/>
                      <a:pt x="135" y="81"/>
                    </a:cubicBezTo>
                    <a:cubicBezTo>
                      <a:pt x="135" y="81"/>
                      <a:pt x="135" y="49"/>
                      <a:pt x="135" y="45"/>
                    </a:cubicBezTo>
                    <a:cubicBezTo>
                      <a:pt x="136" y="42"/>
                      <a:pt x="136" y="39"/>
                      <a:pt x="138" y="36"/>
                    </a:cubicBezTo>
                    <a:cubicBezTo>
                      <a:pt x="140" y="34"/>
                      <a:pt x="135" y="27"/>
                      <a:pt x="135" y="27"/>
                    </a:cubicBezTo>
                    <a:lnTo>
                      <a:pt x="130" y="5"/>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45" name="Freeform 124">
                <a:extLst>
                  <a:ext uri="{FF2B5EF4-FFF2-40B4-BE49-F238E27FC236}">
                    <a16:creationId xmlns:a16="http://schemas.microsoft.com/office/drawing/2014/main" id="{26C89EAE-2754-776C-65D1-3F65F5997C50}"/>
                  </a:ext>
                </a:extLst>
              </p:cNvPr>
              <p:cNvSpPr>
                <a:spLocks noEditPoints="1"/>
              </p:cNvSpPr>
              <p:nvPr/>
            </p:nvSpPr>
            <p:spPr bwMode="auto">
              <a:xfrm>
                <a:off x="1637" y="1939"/>
                <a:ext cx="70" cy="80"/>
              </a:xfrm>
              <a:custGeom>
                <a:avLst/>
                <a:gdLst>
                  <a:gd name="T0" fmla="*/ 0 w 36"/>
                  <a:gd name="T1" fmla="*/ 18 h 41"/>
                  <a:gd name="T2" fmla="*/ 0 w 36"/>
                  <a:gd name="T3" fmla="*/ 21 h 41"/>
                  <a:gd name="T4" fmla="*/ 5 w 36"/>
                  <a:gd name="T5" fmla="*/ 25 h 41"/>
                  <a:gd name="T6" fmla="*/ 8 w 36"/>
                  <a:gd name="T7" fmla="*/ 33 h 41"/>
                  <a:gd name="T8" fmla="*/ 12 w 36"/>
                  <a:gd name="T9" fmla="*/ 36 h 41"/>
                  <a:gd name="T10" fmla="*/ 15 w 36"/>
                  <a:gd name="T11" fmla="*/ 37 h 41"/>
                  <a:gd name="T12" fmla="*/ 14 w 36"/>
                  <a:gd name="T13" fmla="*/ 34 h 41"/>
                  <a:gd name="T14" fmla="*/ 12 w 36"/>
                  <a:gd name="T15" fmla="*/ 31 h 41"/>
                  <a:gd name="T16" fmla="*/ 14 w 36"/>
                  <a:gd name="T17" fmla="*/ 29 h 41"/>
                  <a:gd name="T18" fmla="*/ 16 w 36"/>
                  <a:gd name="T19" fmla="*/ 33 h 41"/>
                  <a:gd name="T20" fmla="*/ 20 w 36"/>
                  <a:gd name="T21" fmla="*/ 35 h 41"/>
                  <a:gd name="T22" fmla="*/ 22 w 36"/>
                  <a:gd name="T23" fmla="*/ 39 h 41"/>
                  <a:gd name="T24" fmla="*/ 26 w 36"/>
                  <a:gd name="T25" fmla="*/ 39 h 41"/>
                  <a:gd name="T26" fmla="*/ 29 w 36"/>
                  <a:gd name="T27" fmla="*/ 41 h 41"/>
                  <a:gd name="T28" fmla="*/ 32 w 36"/>
                  <a:gd name="T29" fmla="*/ 41 h 41"/>
                  <a:gd name="T30" fmla="*/ 30 w 36"/>
                  <a:gd name="T31" fmla="*/ 38 h 41"/>
                  <a:gd name="T32" fmla="*/ 31 w 36"/>
                  <a:gd name="T33" fmla="*/ 36 h 41"/>
                  <a:gd name="T34" fmla="*/ 30 w 36"/>
                  <a:gd name="T35" fmla="*/ 31 h 41"/>
                  <a:gd name="T36" fmla="*/ 31 w 36"/>
                  <a:gd name="T37" fmla="*/ 23 h 41"/>
                  <a:gd name="T38" fmla="*/ 32 w 36"/>
                  <a:gd name="T39" fmla="*/ 23 h 41"/>
                  <a:gd name="T40" fmla="*/ 33 w 36"/>
                  <a:gd name="T41" fmla="*/ 10 h 41"/>
                  <a:gd name="T42" fmla="*/ 36 w 36"/>
                  <a:gd name="T43" fmla="*/ 5 h 41"/>
                  <a:gd name="T44" fmla="*/ 35 w 36"/>
                  <a:gd name="T45" fmla="*/ 0 h 41"/>
                  <a:gd name="T46" fmla="*/ 29 w 36"/>
                  <a:gd name="T47" fmla="*/ 1 h 41"/>
                  <a:gd name="T48" fmla="*/ 26 w 36"/>
                  <a:gd name="T49" fmla="*/ 5 h 41"/>
                  <a:gd name="T50" fmla="*/ 20 w 36"/>
                  <a:gd name="T51" fmla="*/ 7 h 41"/>
                  <a:gd name="T52" fmla="*/ 16 w 36"/>
                  <a:gd name="T53" fmla="*/ 7 h 41"/>
                  <a:gd name="T54" fmla="*/ 11 w 36"/>
                  <a:gd name="T55" fmla="*/ 6 h 41"/>
                  <a:gd name="T56" fmla="*/ 4 w 36"/>
                  <a:gd name="T57" fmla="*/ 9 h 41"/>
                  <a:gd name="T58" fmla="*/ 4 w 36"/>
                  <a:gd name="T59" fmla="*/ 17 h 41"/>
                  <a:gd name="T60" fmla="*/ 0 w 36"/>
                  <a:gd name="T61" fmla="*/ 18 h 41"/>
                  <a:gd name="T62" fmla="*/ 7 w 36"/>
                  <a:gd name="T63" fmla="*/ 24 h 41"/>
                  <a:gd name="T64" fmla="*/ 9 w 36"/>
                  <a:gd name="T65" fmla="*/ 27 h 41"/>
                  <a:gd name="T66" fmla="*/ 7 w 36"/>
                  <a:gd name="T67"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41">
                    <a:moveTo>
                      <a:pt x="0" y="18"/>
                    </a:moveTo>
                    <a:cubicBezTo>
                      <a:pt x="0" y="19"/>
                      <a:pt x="0" y="20"/>
                      <a:pt x="0" y="21"/>
                    </a:cubicBezTo>
                    <a:cubicBezTo>
                      <a:pt x="1" y="22"/>
                      <a:pt x="4" y="24"/>
                      <a:pt x="5" y="25"/>
                    </a:cubicBezTo>
                    <a:cubicBezTo>
                      <a:pt x="7" y="27"/>
                      <a:pt x="6" y="30"/>
                      <a:pt x="8" y="33"/>
                    </a:cubicBezTo>
                    <a:cubicBezTo>
                      <a:pt x="9" y="34"/>
                      <a:pt x="10" y="35"/>
                      <a:pt x="12" y="36"/>
                    </a:cubicBezTo>
                    <a:cubicBezTo>
                      <a:pt x="12" y="36"/>
                      <a:pt x="13" y="36"/>
                      <a:pt x="15" y="37"/>
                    </a:cubicBezTo>
                    <a:cubicBezTo>
                      <a:pt x="15" y="36"/>
                      <a:pt x="14" y="35"/>
                      <a:pt x="14" y="34"/>
                    </a:cubicBezTo>
                    <a:cubicBezTo>
                      <a:pt x="14" y="33"/>
                      <a:pt x="12" y="34"/>
                      <a:pt x="12" y="31"/>
                    </a:cubicBezTo>
                    <a:cubicBezTo>
                      <a:pt x="14" y="29"/>
                      <a:pt x="14" y="29"/>
                      <a:pt x="14" y="29"/>
                    </a:cubicBezTo>
                    <a:cubicBezTo>
                      <a:pt x="14" y="30"/>
                      <a:pt x="15" y="32"/>
                      <a:pt x="16" y="33"/>
                    </a:cubicBezTo>
                    <a:cubicBezTo>
                      <a:pt x="18" y="34"/>
                      <a:pt x="18" y="32"/>
                      <a:pt x="20" y="35"/>
                    </a:cubicBezTo>
                    <a:cubicBezTo>
                      <a:pt x="21" y="37"/>
                      <a:pt x="21" y="38"/>
                      <a:pt x="22" y="39"/>
                    </a:cubicBezTo>
                    <a:cubicBezTo>
                      <a:pt x="24" y="39"/>
                      <a:pt x="26" y="39"/>
                      <a:pt x="26" y="39"/>
                    </a:cubicBezTo>
                    <a:cubicBezTo>
                      <a:pt x="26" y="39"/>
                      <a:pt x="27" y="41"/>
                      <a:pt x="29" y="41"/>
                    </a:cubicBezTo>
                    <a:cubicBezTo>
                      <a:pt x="31" y="41"/>
                      <a:pt x="32" y="41"/>
                      <a:pt x="32" y="41"/>
                    </a:cubicBezTo>
                    <a:cubicBezTo>
                      <a:pt x="32" y="40"/>
                      <a:pt x="30" y="39"/>
                      <a:pt x="30" y="38"/>
                    </a:cubicBezTo>
                    <a:cubicBezTo>
                      <a:pt x="30" y="36"/>
                      <a:pt x="31" y="37"/>
                      <a:pt x="31" y="36"/>
                    </a:cubicBezTo>
                    <a:cubicBezTo>
                      <a:pt x="32" y="34"/>
                      <a:pt x="30" y="31"/>
                      <a:pt x="30" y="31"/>
                    </a:cubicBezTo>
                    <a:cubicBezTo>
                      <a:pt x="30" y="28"/>
                      <a:pt x="31" y="26"/>
                      <a:pt x="31" y="23"/>
                    </a:cubicBezTo>
                    <a:cubicBezTo>
                      <a:pt x="32" y="23"/>
                      <a:pt x="32" y="23"/>
                      <a:pt x="32" y="23"/>
                    </a:cubicBezTo>
                    <a:cubicBezTo>
                      <a:pt x="33" y="18"/>
                      <a:pt x="31" y="15"/>
                      <a:pt x="33" y="10"/>
                    </a:cubicBezTo>
                    <a:cubicBezTo>
                      <a:pt x="34" y="8"/>
                      <a:pt x="36" y="6"/>
                      <a:pt x="36" y="5"/>
                    </a:cubicBezTo>
                    <a:cubicBezTo>
                      <a:pt x="36" y="4"/>
                      <a:pt x="35" y="0"/>
                      <a:pt x="35" y="0"/>
                    </a:cubicBezTo>
                    <a:cubicBezTo>
                      <a:pt x="29" y="1"/>
                      <a:pt x="29" y="1"/>
                      <a:pt x="29" y="1"/>
                    </a:cubicBezTo>
                    <a:cubicBezTo>
                      <a:pt x="29" y="1"/>
                      <a:pt x="26" y="3"/>
                      <a:pt x="26" y="5"/>
                    </a:cubicBezTo>
                    <a:cubicBezTo>
                      <a:pt x="26" y="6"/>
                      <a:pt x="22" y="6"/>
                      <a:pt x="20" y="7"/>
                    </a:cubicBezTo>
                    <a:cubicBezTo>
                      <a:pt x="18" y="8"/>
                      <a:pt x="16" y="9"/>
                      <a:pt x="16" y="7"/>
                    </a:cubicBezTo>
                    <a:cubicBezTo>
                      <a:pt x="15" y="6"/>
                      <a:pt x="13" y="6"/>
                      <a:pt x="11" y="6"/>
                    </a:cubicBezTo>
                    <a:cubicBezTo>
                      <a:pt x="8" y="7"/>
                      <a:pt x="4" y="9"/>
                      <a:pt x="4" y="9"/>
                    </a:cubicBezTo>
                    <a:cubicBezTo>
                      <a:pt x="4" y="9"/>
                      <a:pt x="5" y="15"/>
                      <a:pt x="4" y="17"/>
                    </a:cubicBezTo>
                    <a:cubicBezTo>
                      <a:pt x="3" y="19"/>
                      <a:pt x="0" y="18"/>
                      <a:pt x="0" y="18"/>
                    </a:cubicBezTo>
                    <a:close/>
                    <a:moveTo>
                      <a:pt x="7" y="24"/>
                    </a:moveTo>
                    <a:cubicBezTo>
                      <a:pt x="10" y="24"/>
                      <a:pt x="14" y="26"/>
                      <a:pt x="9" y="27"/>
                    </a:cubicBezTo>
                    <a:cubicBezTo>
                      <a:pt x="9" y="27"/>
                      <a:pt x="6" y="24"/>
                      <a:pt x="7" y="2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46" name="Freeform 125">
                <a:extLst>
                  <a:ext uri="{FF2B5EF4-FFF2-40B4-BE49-F238E27FC236}">
                    <a16:creationId xmlns:a16="http://schemas.microsoft.com/office/drawing/2014/main" id="{C7A1C494-4584-D541-99AF-609A18584267}"/>
                  </a:ext>
                </a:extLst>
              </p:cNvPr>
              <p:cNvSpPr>
                <a:spLocks noEditPoints="1"/>
              </p:cNvSpPr>
              <p:nvPr/>
            </p:nvSpPr>
            <p:spPr bwMode="auto">
              <a:xfrm>
                <a:off x="1637" y="1939"/>
                <a:ext cx="70" cy="80"/>
              </a:xfrm>
              <a:custGeom>
                <a:avLst/>
                <a:gdLst>
                  <a:gd name="T0" fmla="*/ 0 w 36"/>
                  <a:gd name="T1" fmla="*/ 18 h 41"/>
                  <a:gd name="T2" fmla="*/ 0 w 36"/>
                  <a:gd name="T3" fmla="*/ 21 h 41"/>
                  <a:gd name="T4" fmla="*/ 5 w 36"/>
                  <a:gd name="T5" fmla="*/ 25 h 41"/>
                  <a:gd name="T6" fmla="*/ 8 w 36"/>
                  <a:gd name="T7" fmla="*/ 33 h 41"/>
                  <a:gd name="T8" fmla="*/ 12 w 36"/>
                  <a:gd name="T9" fmla="*/ 36 h 41"/>
                  <a:gd name="T10" fmla="*/ 15 w 36"/>
                  <a:gd name="T11" fmla="*/ 37 h 41"/>
                  <a:gd name="T12" fmla="*/ 14 w 36"/>
                  <a:gd name="T13" fmla="*/ 34 h 41"/>
                  <a:gd name="T14" fmla="*/ 12 w 36"/>
                  <a:gd name="T15" fmla="*/ 31 h 41"/>
                  <a:gd name="T16" fmla="*/ 14 w 36"/>
                  <a:gd name="T17" fmla="*/ 29 h 41"/>
                  <a:gd name="T18" fmla="*/ 16 w 36"/>
                  <a:gd name="T19" fmla="*/ 33 h 41"/>
                  <a:gd name="T20" fmla="*/ 20 w 36"/>
                  <a:gd name="T21" fmla="*/ 35 h 41"/>
                  <a:gd name="T22" fmla="*/ 22 w 36"/>
                  <a:gd name="T23" fmla="*/ 39 h 41"/>
                  <a:gd name="T24" fmla="*/ 26 w 36"/>
                  <a:gd name="T25" fmla="*/ 39 h 41"/>
                  <a:gd name="T26" fmla="*/ 29 w 36"/>
                  <a:gd name="T27" fmla="*/ 41 h 41"/>
                  <a:gd name="T28" fmla="*/ 32 w 36"/>
                  <a:gd name="T29" fmla="*/ 41 h 41"/>
                  <a:gd name="T30" fmla="*/ 30 w 36"/>
                  <a:gd name="T31" fmla="*/ 38 h 41"/>
                  <a:gd name="T32" fmla="*/ 31 w 36"/>
                  <a:gd name="T33" fmla="*/ 36 h 41"/>
                  <a:gd name="T34" fmla="*/ 30 w 36"/>
                  <a:gd name="T35" fmla="*/ 31 h 41"/>
                  <a:gd name="T36" fmla="*/ 31 w 36"/>
                  <a:gd name="T37" fmla="*/ 23 h 41"/>
                  <a:gd name="T38" fmla="*/ 32 w 36"/>
                  <a:gd name="T39" fmla="*/ 23 h 41"/>
                  <a:gd name="T40" fmla="*/ 33 w 36"/>
                  <a:gd name="T41" fmla="*/ 10 h 41"/>
                  <a:gd name="T42" fmla="*/ 36 w 36"/>
                  <a:gd name="T43" fmla="*/ 5 h 41"/>
                  <a:gd name="T44" fmla="*/ 35 w 36"/>
                  <a:gd name="T45" fmla="*/ 0 h 41"/>
                  <a:gd name="T46" fmla="*/ 29 w 36"/>
                  <a:gd name="T47" fmla="*/ 1 h 41"/>
                  <a:gd name="T48" fmla="*/ 26 w 36"/>
                  <a:gd name="T49" fmla="*/ 5 h 41"/>
                  <a:gd name="T50" fmla="*/ 20 w 36"/>
                  <a:gd name="T51" fmla="*/ 7 h 41"/>
                  <a:gd name="T52" fmla="*/ 16 w 36"/>
                  <a:gd name="T53" fmla="*/ 7 h 41"/>
                  <a:gd name="T54" fmla="*/ 11 w 36"/>
                  <a:gd name="T55" fmla="*/ 6 h 41"/>
                  <a:gd name="T56" fmla="*/ 4 w 36"/>
                  <a:gd name="T57" fmla="*/ 9 h 41"/>
                  <a:gd name="T58" fmla="*/ 4 w 36"/>
                  <a:gd name="T59" fmla="*/ 17 h 41"/>
                  <a:gd name="T60" fmla="*/ 0 w 36"/>
                  <a:gd name="T61" fmla="*/ 18 h 41"/>
                  <a:gd name="T62" fmla="*/ 7 w 36"/>
                  <a:gd name="T63" fmla="*/ 24 h 41"/>
                  <a:gd name="T64" fmla="*/ 9 w 36"/>
                  <a:gd name="T65" fmla="*/ 27 h 41"/>
                  <a:gd name="T66" fmla="*/ 7 w 36"/>
                  <a:gd name="T67"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41">
                    <a:moveTo>
                      <a:pt x="0" y="18"/>
                    </a:moveTo>
                    <a:cubicBezTo>
                      <a:pt x="0" y="19"/>
                      <a:pt x="0" y="20"/>
                      <a:pt x="0" y="21"/>
                    </a:cubicBezTo>
                    <a:cubicBezTo>
                      <a:pt x="1" y="22"/>
                      <a:pt x="4" y="24"/>
                      <a:pt x="5" y="25"/>
                    </a:cubicBezTo>
                    <a:cubicBezTo>
                      <a:pt x="7" y="27"/>
                      <a:pt x="6" y="30"/>
                      <a:pt x="8" y="33"/>
                    </a:cubicBezTo>
                    <a:cubicBezTo>
                      <a:pt x="9" y="34"/>
                      <a:pt x="10" y="35"/>
                      <a:pt x="12" y="36"/>
                    </a:cubicBezTo>
                    <a:cubicBezTo>
                      <a:pt x="12" y="36"/>
                      <a:pt x="13" y="36"/>
                      <a:pt x="15" y="37"/>
                    </a:cubicBezTo>
                    <a:cubicBezTo>
                      <a:pt x="15" y="36"/>
                      <a:pt x="14" y="35"/>
                      <a:pt x="14" y="34"/>
                    </a:cubicBezTo>
                    <a:cubicBezTo>
                      <a:pt x="14" y="33"/>
                      <a:pt x="12" y="34"/>
                      <a:pt x="12" y="31"/>
                    </a:cubicBezTo>
                    <a:cubicBezTo>
                      <a:pt x="14" y="29"/>
                      <a:pt x="14" y="29"/>
                      <a:pt x="14" y="29"/>
                    </a:cubicBezTo>
                    <a:cubicBezTo>
                      <a:pt x="14" y="30"/>
                      <a:pt x="15" y="32"/>
                      <a:pt x="16" y="33"/>
                    </a:cubicBezTo>
                    <a:cubicBezTo>
                      <a:pt x="18" y="34"/>
                      <a:pt x="18" y="32"/>
                      <a:pt x="20" y="35"/>
                    </a:cubicBezTo>
                    <a:cubicBezTo>
                      <a:pt x="21" y="37"/>
                      <a:pt x="21" y="38"/>
                      <a:pt x="22" y="39"/>
                    </a:cubicBezTo>
                    <a:cubicBezTo>
                      <a:pt x="24" y="39"/>
                      <a:pt x="26" y="39"/>
                      <a:pt x="26" y="39"/>
                    </a:cubicBezTo>
                    <a:cubicBezTo>
                      <a:pt x="26" y="39"/>
                      <a:pt x="27" y="41"/>
                      <a:pt x="29" y="41"/>
                    </a:cubicBezTo>
                    <a:cubicBezTo>
                      <a:pt x="31" y="41"/>
                      <a:pt x="32" y="41"/>
                      <a:pt x="32" y="41"/>
                    </a:cubicBezTo>
                    <a:cubicBezTo>
                      <a:pt x="32" y="40"/>
                      <a:pt x="30" y="39"/>
                      <a:pt x="30" y="38"/>
                    </a:cubicBezTo>
                    <a:cubicBezTo>
                      <a:pt x="30" y="36"/>
                      <a:pt x="31" y="37"/>
                      <a:pt x="31" y="36"/>
                    </a:cubicBezTo>
                    <a:cubicBezTo>
                      <a:pt x="32" y="34"/>
                      <a:pt x="30" y="31"/>
                      <a:pt x="30" y="31"/>
                    </a:cubicBezTo>
                    <a:cubicBezTo>
                      <a:pt x="30" y="28"/>
                      <a:pt x="31" y="26"/>
                      <a:pt x="31" y="23"/>
                    </a:cubicBezTo>
                    <a:cubicBezTo>
                      <a:pt x="32" y="23"/>
                      <a:pt x="32" y="23"/>
                      <a:pt x="32" y="23"/>
                    </a:cubicBezTo>
                    <a:cubicBezTo>
                      <a:pt x="33" y="18"/>
                      <a:pt x="31" y="15"/>
                      <a:pt x="33" y="10"/>
                    </a:cubicBezTo>
                    <a:cubicBezTo>
                      <a:pt x="34" y="8"/>
                      <a:pt x="36" y="6"/>
                      <a:pt x="36" y="5"/>
                    </a:cubicBezTo>
                    <a:cubicBezTo>
                      <a:pt x="36" y="4"/>
                      <a:pt x="35" y="0"/>
                      <a:pt x="35" y="0"/>
                    </a:cubicBezTo>
                    <a:cubicBezTo>
                      <a:pt x="29" y="1"/>
                      <a:pt x="29" y="1"/>
                      <a:pt x="29" y="1"/>
                    </a:cubicBezTo>
                    <a:cubicBezTo>
                      <a:pt x="29" y="1"/>
                      <a:pt x="26" y="3"/>
                      <a:pt x="26" y="5"/>
                    </a:cubicBezTo>
                    <a:cubicBezTo>
                      <a:pt x="26" y="6"/>
                      <a:pt x="22" y="6"/>
                      <a:pt x="20" y="7"/>
                    </a:cubicBezTo>
                    <a:cubicBezTo>
                      <a:pt x="18" y="8"/>
                      <a:pt x="16" y="9"/>
                      <a:pt x="16" y="7"/>
                    </a:cubicBezTo>
                    <a:cubicBezTo>
                      <a:pt x="15" y="6"/>
                      <a:pt x="13" y="6"/>
                      <a:pt x="11" y="6"/>
                    </a:cubicBezTo>
                    <a:cubicBezTo>
                      <a:pt x="8" y="7"/>
                      <a:pt x="4" y="9"/>
                      <a:pt x="4" y="9"/>
                    </a:cubicBezTo>
                    <a:cubicBezTo>
                      <a:pt x="4" y="9"/>
                      <a:pt x="5" y="15"/>
                      <a:pt x="4" y="17"/>
                    </a:cubicBezTo>
                    <a:cubicBezTo>
                      <a:pt x="3" y="19"/>
                      <a:pt x="0" y="18"/>
                      <a:pt x="0" y="18"/>
                    </a:cubicBezTo>
                    <a:close/>
                    <a:moveTo>
                      <a:pt x="7" y="24"/>
                    </a:moveTo>
                    <a:cubicBezTo>
                      <a:pt x="10" y="24"/>
                      <a:pt x="14" y="26"/>
                      <a:pt x="9" y="27"/>
                    </a:cubicBezTo>
                    <a:cubicBezTo>
                      <a:pt x="9" y="27"/>
                      <a:pt x="6" y="24"/>
                      <a:pt x="7" y="2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47" name="Freeform 126">
                <a:extLst>
                  <a:ext uri="{FF2B5EF4-FFF2-40B4-BE49-F238E27FC236}">
                    <a16:creationId xmlns:a16="http://schemas.microsoft.com/office/drawing/2014/main" id="{85820D56-37C3-8401-AE07-7B58EC485D79}"/>
                  </a:ext>
                </a:extLst>
              </p:cNvPr>
              <p:cNvSpPr>
                <a:spLocks noEditPoints="1"/>
              </p:cNvSpPr>
              <p:nvPr/>
            </p:nvSpPr>
            <p:spPr bwMode="auto">
              <a:xfrm>
                <a:off x="5924" y="3010"/>
                <a:ext cx="209" cy="308"/>
              </a:xfrm>
              <a:custGeom>
                <a:avLst/>
                <a:gdLst>
                  <a:gd name="T0" fmla="*/ 16 w 107"/>
                  <a:gd name="T1" fmla="*/ 156 h 157"/>
                  <a:gd name="T2" fmla="*/ 15 w 107"/>
                  <a:gd name="T3" fmla="*/ 150 h 157"/>
                  <a:gd name="T4" fmla="*/ 52 w 107"/>
                  <a:gd name="T5" fmla="*/ 75 h 157"/>
                  <a:gd name="T6" fmla="*/ 46 w 107"/>
                  <a:gd name="T7" fmla="*/ 91 h 157"/>
                  <a:gd name="T8" fmla="*/ 40 w 107"/>
                  <a:gd name="T9" fmla="*/ 98 h 157"/>
                  <a:gd name="T10" fmla="*/ 32 w 107"/>
                  <a:gd name="T11" fmla="*/ 109 h 157"/>
                  <a:gd name="T12" fmla="*/ 18 w 107"/>
                  <a:gd name="T13" fmla="*/ 117 h 157"/>
                  <a:gd name="T14" fmla="*/ 9 w 107"/>
                  <a:gd name="T15" fmla="*/ 126 h 157"/>
                  <a:gd name="T16" fmla="*/ 3 w 107"/>
                  <a:gd name="T17" fmla="*/ 129 h 157"/>
                  <a:gd name="T18" fmla="*/ 3 w 107"/>
                  <a:gd name="T19" fmla="*/ 135 h 157"/>
                  <a:gd name="T20" fmla="*/ 0 w 107"/>
                  <a:gd name="T21" fmla="*/ 140 h 157"/>
                  <a:gd name="T22" fmla="*/ 11 w 107"/>
                  <a:gd name="T23" fmla="*/ 143 h 157"/>
                  <a:gd name="T24" fmla="*/ 17 w 107"/>
                  <a:gd name="T25" fmla="*/ 147 h 157"/>
                  <a:gd name="T26" fmla="*/ 29 w 107"/>
                  <a:gd name="T27" fmla="*/ 144 h 157"/>
                  <a:gd name="T28" fmla="*/ 36 w 107"/>
                  <a:gd name="T29" fmla="*/ 139 h 157"/>
                  <a:gd name="T30" fmla="*/ 42 w 107"/>
                  <a:gd name="T31" fmla="*/ 119 h 157"/>
                  <a:gd name="T32" fmla="*/ 58 w 107"/>
                  <a:gd name="T33" fmla="*/ 115 h 157"/>
                  <a:gd name="T34" fmla="*/ 60 w 107"/>
                  <a:gd name="T35" fmla="*/ 104 h 157"/>
                  <a:gd name="T36" fmla="*/ 67 w 107"/>
                  <a:gd name="T37" fmla="*/ 91 h 157"/>
                  <a:gd name="T38" fmla="*/ 69 w 107"/>
                  <a:gd name="T39" fmla="*/ 85 h 157"/>
                  <a:gd name="T40" fmla="*/ 65 w 107"/>
                  <a:gd name="T41" fmla="*/ 82 h 157"/>
                  <a:gd name="T42" fmla="*/ 62 w 107"/>
                  <a:gd name="T43" fmla="*/ 82 h 157"/>
                  <a:gd name="T44" fmla="*/ 58 w 107"/>
                  <a:gd name="T45" fmla="*/ 78 h 157"/>
                  <a:gd name="T46" fmla="*/ 57 w 107"/>
                  <a:gd name="T47" fmla="*/ 72 h 157"/>
                  <a:gd name="T48" fmla="*/ 54 w 107"/>
                  <a:gd name="T49" fmla="*/ 2 h 157"/>
                  <a:gd name="T50" fmla="*/ 67 w 107"/>
                  <a:gd name="T51" fmla="*/ 21 h 157"/>
                  <a:gd name="T52" fmla="*/ 71 w 107"/>
                  <a:gd name="T53" fmla="*/ 27 h 157"/>
                  <a:gd name="T54" fmla="*/ 72 w 107"/>
                  <a:gd name="T55" fmla="*/ 34 h 157"/>
                  <a:gd name="T56" fmla="*/ 70 w 107"/>
                  <a:gd name="T57" fmla="*/ 55 h 157"/>
                  <a:gd name="T58" fmla="*/ 64 w 107"/>
                  <a:gd name="T59" fmla="*/ 60 h 157"/>
                  <a:gd name="T60" fmla="*/ 73 w 107"/>
                  <a:gd name="T61" fmla="*/ 82 h 157"/>
                  <a:gd name="T62" fmla="*/ 86 w 107"/>
                  <a:gd name="T63" fmla="*/ 80 h 157"/>
                  <a:gd name="T64" fmla="*/ 93 w 107"/>
                  <a:gd name="T65" fmla="*/ 71 h 157"/>
                  <a:gd name="T66" fmla="*/ 93 w 107"/>
                  <a:gd name="T67" fmla="*/ 62 h 157"/>
                  <a:gd name="T68" fmla="*/ 103 w 107"/>
                  <a:gd name="T69" fmla="*/ 54 h 157"/>
                  <a:gd name="T70" fmla="*/ 95 w 107"/>
                  <a:gd name="T71" fmla="*/ 46 h 157"/>
                  <a:gd name="T72" fmla="*/ 84 w 107"/>
                  <a:gd name="T73" fmla="*/ 31 h 157"/>
                  <a:gd name="T74" fmla="*/ 80 w 107"/>
                  <a:gd name="T75" fmla="*/ 27 h 157"/>
                  <a:gd name="T76" fmla="*/ 75 w 107"/>
                  <a:gd name="T77" fmla="*/ 32 h 157"/>
                  <a:gd name="T78" fmla="*/ 74 w 107"/>
                  <a:gd name="T79" fmla="*/ 17 h 157"/>
                  <a:gd name="T80" fmla="*/ 70 w 107"/>
                  <a:gd name="T81" fmla="*/ 10 h 157"/>
                  <a:gd name="T82" fmla="*/ 64 w 107"/>
                  <a:gd name="T83" fmla="*/ 5 h 157"/>
                  <a:gd name="T84" fmla="*/ 58 w 107"/>
                  <a:gd name="T85"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157">
                    <a:moveTo>
                      <a:pt x="11" y="147"/>
                    </a:moveTo>
                    <a:cubicBezTo>
                      <a:pt x="11" y="150"/>
                      <a:pt x="10" y="154"/>
                      <a:pt x="9" y="157"/>
                    </a:cubicBezTo>
                    <a:cubicBezTo>
                      <a:pt x="12" y="157"/>
                      <a:pt x="15" y="156"/>
                      <a:pt x="16" y="156"/>
                    </a:cubicBezTo>
                    <a:cubicBezTo>
                      <a:pt x="16" y="155"/>
                      <a:pt x="16" y="154"/>
                      <a:pt x="17" y="153"/>
                    </a:cubicBezTo>
                    <a:cubicBezTo>
                      <a:pt x="15" y="153"/>
                      <a:pt x="15" y="153"/>
                      <a:pt x="15" y="153"/>
                    </a:cubicBezTo>
                    <a:cubicBezTo>
                      <a:pt x="14" y="152"/>
                      <a:pt x="15" y="151"/>
                      <a:pt x="15" y="150"/>
                    </a:cubicBezTo>
                    <a:cubicBezTo>
                      <a:pt x="14" y="149"/>
                      <a:pt x="12" y="148"/>
                      <a:pt x="11" y="147"/>
                    </a:cubicBezTo>
                    <a:close/>
                    <a:moveTo>
                      <a:pt x="54" y="72"/>
                    </a:moveTo>
                    <a:cubicBezTo>
                      <a:pt x="53" y="72"/>
                      <a:pt x="52" y="74"/>
                      <a:pt x="52" y="75"/>
                    </a:cubicBezTo>
                    <a:cubicBezTo>
                      <a:pt x="47" y="80"/>
                      <a:pt x="50" y="79"/>
                      <a:pt x="48" y="86"/>
                    </a:cubicBezTo>
                    <a:cubicBezTo>
                      <a:pt x="48" y="87"/>
                      <a:pt x="46" y="87"/>
                      <a:pt x="46" y="88"/>
                    </a:cubicBezTo>
                    <a:cubicBezTo>
                      <a:pt x="46" y="89"/>
                      <a:pt x="46" y="90"/>
                      <a:pt x="46" y="91"/>
                    </a:cubicBezTo>
                    <a:cubicBezTo>
                      <a:pt x="46" y="91"/>
                      <a:pt x="43" y="92"/>
                      <a:pt x="43" y="92"/>
                    </a:cubicBezTo>
                    <a:cubicBezTo>
                      <a:pt x="42" y="94"/>
                      <a:pt x="43" y="96"/>
                      <a:pt x="42" y="97"/>
                    </a:cubicBezTo>
                    <a:cubicBezTo>
                      <a:pt x="42" y="98"/>
                      <a:pt x="41" y="98"/>
                      <a:pt x="40" y="98"/>
                    </a:cubicBezTo>
                    <a:cubicBezTo>
                      <a:pt x="39" y="101"/>
                      <a:pt x="39" y="104"/>
                      <a:pt x="36" y="106"/>
                    </a:cubicBezTo>
                    <a:cubicBezTo>
                      <a:pt x="36" y="107"/>
                      <a:pt x="34" y="106"/>
                      <a:pt x="33" y="107"/>
                    </a:cubicBezTo>
                    <a:cubicBezTo>
                      <a:pt x="33" y="108"/>
                      <a:pt x="33" y="109"/>
                      <a:pt x="32" y="109"/>
                    </a:cubicBezTo>
                    <a:cubicBezTo>
                      <a:pt x="31" y="111"/>
                      <a:pt x="29" y="111"/>
                      <a:pt x="27" y="113"/>
                    </a:cubicBezTo>
                    <a:cubicBezTo>
                      <a:pt x="26" y="113"/>
                      <a:pt x="25" y="115"/>
                      <a:pt x="25" y="115"/>
                    </a:cubicBezTo>
                    <a:cubicBezTo>
                      <a:pt x="22" y="117"/>
                      <a:pt x="20" y="115"/>
                      <a:pt x="18" y="117"/>
                    </a:cubicBezTo>
                    <a:cubicBezTo>
                      <a:pt x="16" y="118"/>
                      <a:pt x="14" y="122"/>
                      <a:pt x="13" y="123"/>
                    </a:cubicBezTo>
                    <a:cubicBezTo>
                      <a:pt x="12" y="124"/>
                      <a:pt x="11" y="123"/>
                      <a:pt x="10" y="123"/>
                    </a:cubicBezTo>
                    <a:cubicBezTo>
                      <a:pt x="10" y="124"/>
                      <a:pt x="10" y="126"/>
                      <a:pt x="9" y="126"/>
                    </a:cubicBezTo>
                    <a:cubicBezTo>
                      <a:pt x="8" y="127"/>
                      <a:pt x="7" y="126"/>
                      <a:pt x="7" y="127"/>
                    </a:cubicBezTo>
                    <a:cubicBezTo>
                      <a:pt x="6" y="127"/>
                      <a:pt x="6" y="129"/>
                      <a:pt x="5" y="129"/>
                    </a:cubicBezTo>
                    <a:cubicBezTo>
                      <a:pt x="5" y="130"/>
                      <a:pt x="4" y="129"/>
                      <a:pt x="3" y="129"/>
                    </a:cubicBezTo>
                    <a:cubicBezTo>
                      <a:pt x="3" y="129"/>
                      <a:pt x="3" y="131"/>
                      <a:pt x="3" y="131"/>
                    </a:cubicBezTo>
                    <a:cubicBezTo>
                      <a:pt x="4" y="130"/>
                      <a:pt x="5" y="133"/>
                      <a:pt x="5" y="133"/>
                    </a:cubicBezTo>
                    <a:cubicBezTo>
                      <a:pt x="4" y="133"/>
                      <a:pt x="3" y="134"/>
                      <a:pt x="3" y="135"/>
                    </a:cubicBezTo>
                    <a:cubicBezTo>
                      <a:pt x="2" y="135"/>
                      <a:pt x="3" y="137"/>
                      <a:pt x="3" y="137"/>
                    </a:cubicBezTo>
                    <a:cubicBezTo>
                      <a:pt x="0" y="138"/>
                      <a:pt x="0" y="138"/>
                      <a:pt x="0" y="138"/>
                    </a:cubicBezTo>
                    <a:cubicBezTo>
                      <a:pt x="0" y="139"/>
                      <a:pt x="0" y="139"/>
                      <a:pt x="0" y="140"/>
                    </a:cubicBezTo>
                    <a:cubicBezTo>
                      <a:pt x="0" y="141"/>
                      <a:pt x="3" y="142"/>
                      <a:pt x="5" y="143"/>
                    </a:cubicBezTo>
                    <a:cubicBezTo>
                      <a:pt x="5" y="144"/>
                      <a:pt x="5" y="144"/>
                      <a:pt x="5" y="144"/>
                    </a:cubicBezTo>
                    <a:cubicBezTo>
                      <a:pt x="8" y="145"/>
                      <a:pt x="9" y="142"/>
                      <a:pt x="11" y="143"/>
                    </a:cubicBezTo>
                    <a:cubicBezTo>
                      <a:pt x="12" y="146"/>
                      <a:pt x="12" y="146"/>
                      <a:pt x="12" y="146"/>
                    </a:cubicBezTo>
                    <a:cubicBezTo>
                      <a:pt x="13" y="146"/>
                      <a:pt x="15" y="146"/>
                      <a:pt x="16" y="146"/>
                    </a:cubicBezTo>
                    <a:cubicBezTo>
                      <a:pt x="16" y="146"/>
                      <a:pt x="16" y="147"/>
                      <a:pt x="17" y="147"/>
                    </a:cubicBezTo>
                    <a:cubicBezTo>
                      <a:pt x="18" y="148"/>
                      <a:pt x="24" y="149"/>
                      <a:pt x="25" y="149"/>
                    </a:cubicBezTo>
                    <a:cubicBezTo>
                      <a:pt x="25" y="148"/>
                      <a:pt x="29" y="146"/>
                      <a:pt x="29" y="145"/>
                    </a:cubicBezTo>
                    <a:cubicBezTo>
                      <a:pt x="29" y="144"/>
                      <a:pt x="29" y="144"/>
                      <a:pt x="29" y="144"/>
                    </a:cubicBezTo>
                    <a:cubicBezTo>
                      <a:pt x="30" y="143"/>
                      <a:pt x="31" y="144"/>
                      <a:pt x="32" y="143"/>
                    </a:cubicBezTo>
                    <a:cubicBezTo>
                      <a:pt x="32" y="142"/>
                      <a:pt x="32" y="142"/>
                      <a:pt x="32" y="142"/>
                    </a:cubicBezTo>
                    <a:cubicBezTo>
                      <a:pt x="32" y="141"/>
                      <a:pt x="35" y="140"/>
                      <a:pt x="36" y="139"/>
                    </a:cubicBezTo>
                    <a:cubicBezTo>
                      <a:pt x="37" y="137"/>
                      <a:pt x="36" y="135"/>
                      <a:pt x="37" y="133"/>
                    </a:cubicBezTo>
                    <a:cubicBezTo>
                      <a:pt x="39" y="129"/>
                      <a:pt x="40" y="127"/>
                      <a:pt x="41" y="120"/>
                    </a:cubicBezTo>
                    <a:cubicBezTo>
                      <a:pt x="42" y="120"/>
                      <a:pt x="42" y="119"/>
                      <a:pt x="42" y="119"/>
                    </a:cubicBezTo>
                    <a:cubicBezTo>
                      <a:pt x="45" y="118"/>
                      <a:pt x="46" y="120"/>
                      <a:pt x="49" y="117"/>
                    </a:cubicBezTo>
                    <a:cubicBezTo>
                      <a:pt x="49" y="117"/>
                      <a:pt x="50" y="115"/>
                      <a:pt x="50" y="115"/>
                    </a:cubicBezTo>
                    <a:cubicBezTo>
                      <a:pt x="52" y="114"/>
                      <a:pt x="57" y="115"/>
                      <a:pt x="58" y="115"/>
                    </a:cubicBezTo>
                    <a:cubicBezTo>
                      <a:pt x="58" y="114"/>
                      <a:pt x="57" y="114"/>
                      <a:pt x="55" y="114"/>
                    </a:cubicBezTo>
                    <a:cubicBezTo>
                      <a:pt x="55" y="109"/>
                      <a:pt x="55" y="107"/>
                      <a:pt x="58" y="105"/>
                    </a:cubicBezTo>
                    <a:cubicBezTo>
                      <a:pt x="59" y="104"/>
                      <a:pt x="60" y="105"/>
                      <a:pt x="60" y="104"/>
                    </a:cubicBezTo>
                    <a:cubicBezTo>
                      <a:pt x="62" y="102"/>
                      <a:pt x="61" y="101"/>
                      <a:pt x="62" y="99"/>
                    </a:cubicBezTo>
                    <a:cubicBezTo>
                      <a:pt x="62" y="98"/>
                      <a:pt x="64" y="97"/>
                      <a:pt x="64" y="97"/>
                    </a:cubicBezTo>
                    <a:cubicBezTo>
                      <a:pt x="65" y="96"/>
                      <a:pt x="66" y="92"/>
                      <a:pt x="67" y="91"/>
                    </a:cubicBezTo>
                    <a:cubicBezTo>
                      <a:pt x="68" y="91"/>
                      <a:pt x="68" y="91"/>
                      <a:pt x="68" y="91"/>
                    </a:cubicBezTo>
                    <a:cubicBezTo>
                      <a:pt x="69" y="89"/>
                      <a:pt x="67" y="88"/>
                      <a:pt x="67" y="86"/>
                    </a:cubicBezTo>
                    <a:cubicBezTo>
                      <a:pt x="67" y="86"/>
                      <a:pt x="69" y="85"/>
                      <a:pt x="69" y="85"/>
                    </a:cubicBezTo>
                    <a:cubicBezTo>
                      <a:pt x="70" y="83"/>
                      <a:pt x="69" y="81"/>
                      <a:pt x="69" y="80"/>
                    </a:cubicBezTo>
                    <a:cubicBezTo>
                      <a:pt x="68" y="80"/>
                      <a:pt x="67" y="81"/>
                      <a:pt x="66" y="81"/>
                    </a:cubicBezTo>
                    <a:cubicBezTo>
                      <a:pt x="68" y="81"/>
                      <a:pt x="65" y="82"/>
                      <a:pt x="65" y="82"/>
                    </a:cubicBezTo>
                    <a:cubicBezTo>
                      <a:pt x="65" y="81"/>
                      <a:pt x="65" y="80"/>
                      <a:pt x="64" y="80"/>
                    </a:cubicBezTo>
                    <a:cubicBezTo>
                      <a:pt x="64" y="79"/>
                      <a:pt x="62" y="80"/>
                      <a:pt x="62" y="80"/>
                    </a:cubicBezTo>
                    <a:cubicBezTo>
                      <a:pt x="61" y="80"/>
                      <a:pt x="62" y="81"/>
                      <a:pt x="62" y="82"/>
                    </a:cubicBezTo>
                    <a:cubicBezTo>
                      <a:pt x="61" y="82"/>
                      <a:pt x="60" y="81"/>
                      <a:pt x="59" y="82"/>
                    </a:cubicBezTo>
                    <a:cubicBezTo>
                      <a:pt x="59" y="81"/>
                      <a:pt x="59" y="79"/>
                      <a:pt x="58" y="78"/>
                    </a:cubicBezTo>
                    <a:cubicBezTo>
                      <a:pt x="58" y="78"/>
                      <a:pt x="58" y="78"/>
                      <a:pt x="58" y="78"/>
                    </a:cubicBezTo>
                    <a:cubicBezTo>
                      <a:pt x="57" y="78"/>
                      <a:pt x="56" y="76"/>
                      <a:pt x="56" y="76"/>
                    </a:cubicBezTo>
                    <a:cubicBezTo>
                      <a:pt x="55" y="77"/>
                      <a:pt x="55" y="74"/>
                      <a:pt x="55" y="74"/>
                    </a:cubicBezTo>
                    <a:cubicBezTo>
                      <a:pt x="56" y="73"/>
                      <a:pt x="56" y="74"/>
                      <a:pt x="57" y="72"/>
                    </a:cubicBezTo>
                    <a:cubicBezTo>
                      <a:pt x="56" y="72"/>
                      <a:pt x="55" y="72"/>
                      <a:pt x="54" y="72"/>
                    </a:cubicBezTo>
                    <a:close/>
                    <a:moveTo>
                      <a:pt x="55" y="0"/>
                    </a:moveTo>
                    <a:cubicBezTo>
                      <a:pt x="55" y="1"/>
                      <a:pt x="54" y="0"/>
                      <a:pt x="54" y="2"/>
                    </a:cubicBezTo>
                    <a:cubicBezTo>
                      <a:pt x="55" y="4"/>
                      <a:pt x="59" y="6"/>
                      <a:pt x="60" y="8"/>
                    </a:cubicBezTo>
                    <a:cubicBezTo>
                      <a:pt x="61" y="10"/>
                      <a:pt x="61" y="13"/>
                      <a:pt x="62" y="15"/>
                    </a:cubicBezTo>
                    <a:cubicBezTo>
                      <a:pt x="64" y="17"/>
                      <a:pt x="66" y="19"/>
                      <a:pt x="67" y="21"/>
                    </a:cubicBezTo>
                    <a:cubicBezTo>
                      <a:pt x="68" y="22"/>
                      <a:pt x="67" y="22"/>
                      <a:pt x="68" y="23"/>
                    </a:cubicBezTo>
                    <a:cubicBezTo>
                      <a:pt x="69" y="24"/>
                      <a:pt x="69" y="23"/>
                      <a:pt x="70" y="24"/>
                    </a:cubicBezTo>
                    <a:cubicBezTo>
                      <a:pt x="70" y="25"/>
                      <a:pt x="71" y="26"/>
                      <a:pt x="71" y="27"/>
                    </a:cubicBezTo>
                    <a:cubicBezTo>
                      <a:pt x="69" y="28"/>
                      <a:pt x="70" y="30"/>
                      <a:pt x="70" y="32"/>
                    </a:cubicBezTo>
                    <a:cubicBezTo>
                      <a:pt x="71" y="33"/>
                      <a:pt x="73" y="32"/>
                      <a:pt x="74" y="33"/>
                    </a:cubicBezTo>
                    <a:cubicBezTo>
                      <a:pt x="74" y="34"/>
                      <a:pt x="73" y="34"/>
                      <a:pt x="72" y="34"/>
                    </a:cubicBezTo>
                    <a:cubicBezTo>
                      <a:pt x="73" y="39"/>
                      <a:pt x="75" y="43"/>
                      <a:pt x="73" y="48"/>
                    </a:cubicBezTo>
                    <a:cubicBezTo>
                      <a:pt x="73" y="48"/>
                      <a:pt x="71" y="49"/>
                      <a:pt x="71" y="50"/>
                    </a:cubicBezTo>
                    <a:cubicBezTo>
                      <a:pt x="70" y="51"/>
                      <a:pt x="70" y="53"/>
                      <a:pt x="70" y="55"/>
                    </a:cubicBezTo>
                    <a:cubicBezTo>
                      <a:pt x="68" y="55"/>
                      <a:pt x="66" y="56"/>
                      <a:pt x="64" y="56"/>
                    </a:cubicBezTo>
                    <a:cubicBezTo>
                      <a:pt x="64" y="58"/>
                      <a:pt x="65" y="57"/>
                      <a:pt x="64" y="58"/>
                    </a:cubicBezTo>
                    <a:cubicBezTo>
                      <a:pt x="64" y="58"/>
                      <a:pt x="64" y="59"/>
                      <a:pt x="64" y="60"/>
                    </a:cubicBezTo>
                    <a:cubicBezTo>
                      <a:pt x="69" y="63"/>
                      <a:pt x="78" y="66"/>
                      <a:pt x="76" y="76"/>
                    </a:cubicBezTo>
                    <a:cubicBezTo>
                      <a:pt x="76" y="77"/>
                      <a:pt x="73" y="79"/>
                      <a:pt x="73" y="80"/>
                    </a:cubicBezTo>
                    <a:cubicBezTo>
                      <a:pt x="73" y="81"/>
                      <a:pt x="73" y="81"/>
                      <a:pt x="73" y="82"/>
                    </a:cubicBezTo>
                    <a:cubicBezTo>
                      <a:pt x="74" y="82"/>
                      <a:pt x="78" y="83"/>
                      <a:pt x="78" y="83"/>
                    </a:cubicBezTo>
                    <a:cubicBezTo>
                      <a:pt x="79" y="84"/>
                      <a:pt x="80" y="86"/>
                      <a:pt x="80" y="86"/>
                    </a:cubicBezTo>
                    <a:cubicBezTo>
                      <a:pt x="84" y="84"/>
                      <a:pt x="84" y="85"/>
                      <a:pt x="86" y="80"/>
                    </a:cubicBezTo>
                    <a:cubicBezTo>
                      <a:pt x="86" y="80"/>
                      <a:pt x="88" y="78"/>
                      <a:pt x="88" y="78"/>
                    </a:cubicBezTo>
                    <a:cubicBezTo>
                      <a:pt x="88" y="77"/>
                      <a:pt x="87" y="75"/>
                      <a:pt x="88" y="74"/>
                    </a:cubicBezTo>
                    <a:cubicBezTo>
                      <a:pt x="89" y="72"/>
                      <a:pt x="92" y="72"/>
                      <a:pt x="93" y="71"/>
                    </a:cubicBezTo>
                    <a:cubicBezTo>
                      <a:pt x="94" y="70"/>
                      <a:pt x="93" y="68"/>
                      <a:pt x="93" y="66"/>
                    </a:cubicBezTo>
                    <a:cubicBezTo>
                      <a:pt x="93" y="66"/>
                      <a:pt x="95" y="65"/>
                      <a:pt x="95" y="64"/>
                    </a:cubicBezTo>
                    <a:cubicBezTo>
                      <a:pt x="94" y="63"/>
                      <a:pt x="94" y="63"/>
                      <a:pt x="93" y="62"/>
                    </a:cubicBezTo>
                    <a:cubicBezTo>
                      <a:pt x="98" y="58"/>
                      <a:pt x="97" y="57"/>
                      <a:pt x="102" y="60"/>
                    </a:cubicBezTo>
                    <a:cubicBezTo>
                      <a:pt x="102" y="58"/>
                      <a:pt x="101" y="56"/>
                      <a:pt x="101" y="55"/>
                    </a:cubicBezTo>
                    <a:cubicBezTo>
                      <a:pt x="101" y="55"/>
                      <a:pt x="103" y="54"/>
                      <a:pt x="103" y="54"/>
                    </a:cubicBezTo>
                    <a:cubicBezTo>
                      <a:pt x="105" y="51"/>
                      <a:pt x="106" y="47"/>
                      <a:pt x="107" y="44"/>
                    </a:cubicBezTo>
                    <a:cubicBezTo>
                      <a:pt x="102" y="38"/>
                      <a:pt x="102" y="42"/>
                      <a:pt x="96" y="44"/>
                    </a:cubicBezTo>
                    <a:cubicBezTo>
                      <a:pt x="95" y="46"/>
                      <a:pt x="95" y="46"/>
                      <a:pt x="95" y="46"/>
                    </a:cubicBezTo>
                    <a:cubicBezTo>
                      <a:pt x="95" y="46"/>
                      <a:pt x="88" y="43"/>
                      <a:pt x="88" y="43"/>
                    </a:cubicBezTo>
                    <a:cubicBezTo>
                      <a:pt x="85" y="42"/>
                      <a:pt x="86" y="40"/>
                      <a:pt x="85" y="36"/>
                    </a:cubicBezTo>
                    <a:cubicBezTo>
                      <a:pt x="85" y="36"/>
                      <a:pt x="85" y="32"/>
                      <a:pt x="84" y="31"/>
                    </a:cubicBezTo>
                    <a:cubicBezTo>
                      <a:pt x="84" y="31"/>
                      <a:pt x="82" y="32"/>
                      <a:pt x="82" y="32"/>
                    </a:cubicBezTo>
                    <a:cubicBezTo>
                      <a:pt x="82" y="30"/>
                      <a:pt x="82" y="27"/>
                      <a:pt x="82" y="27"/>
                    </a:cubicBezTo>
                    <a:cubicBezTo>
                      <a:pt x="80" y="27"/>
                      <a:pt x="80" y="27"/>
                      <a:pt x="80" y="27"/>
                    </a:cubicBezTo>
                    <a:cubicBezTo>
                      <a:pt x="80" y="30"/>
                      <a:pt x="79" y="33"/>
                      <a:pt x="79" y="35"/>
                    </a:cubicBezTo>
                    <a:cubicBezTo>
                      <a:pt x="79" y="35"/>
                      <a:pt x="78" y="33"/>
                      <a:pt x="78" y="33"/>
                    </a:cubicBezTo>
                    <a:cubicBezTo>
                      <a:pt x="78" y="32"/>
                      <a:pt x="76" y="32"/>
                      <a:pt x="75" y="32"/>
                    </a:cubicBezTo>
                    <a:cubicBezTo>
                      <a:pt x="75" y="28"/>
                      <a:pt x="75" y="26"/>
                      <a:pt x="75" y="24"/>
                    </a:cubicBezTo>
                    <a:cubicBezTo>
                      <a:pt x="75" y="22"/>
                      <a:pt x="72" y="21"/>
                      <a:pt x="72" y="19"/>
                    </a:cubicBezTo>
                    <a:cubicBezTo>
                      <a:pt x="72" y="18"/>
                      <a:pt x="74" y="17"/>
                      <a:pt x="74" y="17"/>
                    </a:cubicBezTo>
                    <a:cubicBezTo>
                      <a:pt x="74" y="15"/>
                      <a:pt x="73" y="14"/>
                      <a:pt x="73" y="12"/>
                    </a:cubicBezTo>
                    <a:cubicBezTo>
                      <a:pt x="71" y="12"/>
                      <a:pt x="71" y="13"/>
                      <a:pt x="70" y="13"/>
                    </a:cubicBezTo>
                    <a:cubicBezTo>
                      <a:pt x="69" y="12"/>
                      <a:pt x="70" y="11"/>
                      <a:pt x="70" y="10"/>
                    </a:cubicBezTo>
                    <a:cubicBezTo>
                      <a:pt x="70" y="10"/>
                      <a:pt x="67" y="7"/>
                      <a:pt x="67" y="7"/>
                    </a:cubicBezTo>
                    <a:cubicBezTo>
                      <a:pt x="67" y="7"/>
                      <a:pt x="65" y="7"/>
                      <a:pt x="64" y="7"/>
                    </a:cubicBezTo>
                    <a:cubicBezTo>
                      <a:pt x="65" y="7"/>
                      <a:pt x="64" y="5"/>
                      <a:pt x="64" y="5"/>
                    </a:cubicBezTo>
                    <a:cubicBezTo>
                      <a:pt x="60" y="6"/>
                      <a:pt x="64" y="10"/>
                      <a:pt x="60" y="4"/>
                    </a:cubicBezTo>
                    <a:cubicBezTo>
                      <a:pt x="59" y="4"/>
                      <a:pt x="57" y="2"/>
                      <a:pt x="57" y="2"/>
                    </a:cubicBezTo>
                    <a:cubicBezTo>
                      <a:pt x="57" y="0"/>
                      <a:pt x="58" y="1"/>
                      <a:pt x="58" y="0"/>
                    </a:cubicBezTo>
                    <a:cubicBezTo>
                      <a:pt x="57" y="0"/>
                      <a:pt x="56" y="0"/>
                      <a:pt x="55"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48" name="Freeform 127">
                <a:extLst>
                  <a:ext uri="{FF2B5EF4-FFF2-40B4-BE49-F238E27FC236}">
                    <a16:creationId xmlns:a16="http://schemas.microsoft.com/office/drawing/2014/main" id="{D5DEB8DC-169E-4FAA-098A-E2360DCA744B}"/>
                  </a:ext>
                </a:extLst>
              </p:cNvPr>
              <p:cNvSpPr>
                <a:spLocks noEditPoints="1"/>
              </p:cNvSpPr>
              <p:nvPr/>
            </p:nvSpPr>
            <p:spPr bwMode="auto">
              <a:xfrm>
                <a:off x="5924" y="3010"/>
                <a:ext cx="209" cy="308"/>
              </a:xfrm>
              <a:custGeom>
                <a:avLst/>
                <a:gdLst>
                  <a:gd name="T0" fmla="*/ 16 w 107"/>
                  <a:gd name="T1" fmla="*/ 156 h 157"/>
                  <a:gd name="T2" fmla="*/ 15 w 107"/>
                  <a:gd name="T3" fmla="*/ 150 h 157"/>
                  <a:gd name="T4" fmla="*/ 52 w 107"/>
                  <a:gd name="T5" fmla="*/ 75 h 157"/>
                  <a:gd name="T6" fmla="*/ 46 w 107"/>
                  <a:gd name="T7" fmla="*/ 91 h 157"/>
                  <a:gd name="T8" fmla="*/ 40 w 107"/>
                  <a:gd name="T9" fmla="*/ 98 h 157"/>
                  <a:gd name="T10" fmla="*/ 32 w 107"/>
                  <a:gd name="T11" fmla="*/ 109 h 157"/>
                  <a:gd name="T12" fmla="*/ 18 w 107"/>
                  <a:gd name="T13" fmla="*/ 117 h 157"/>
                  <a:gd name="T14" fmla="*/ 9 w 107"/>
                  <a:gd name="T15" fmla="*/ 126 h 157"/>
                  <a:gd name="T16" fmla="*/ 3 w 107"/>
                  <a:gd name="T17" fmla="*/ 129 h 157"/>
                  <a:gd name="T18" fmla="*/ 3 w 107"/>
                  <a:gd name="T19" fmla="*/ 135 h 157"/>
                  <a:gd name="T20" fmla="*/ 0 w 107"/>
                  <a:gd name="T21" fmla="*/ 140 h 157"/>
                  <a:gd name="T22" fmla="*/ 11 w 107"/>
                  <a:gd name="T23" fmla="*/ 143 h 157"/>
                  <a:gd name="T24" fmla="*/ 17 w 107"/>
                  <a:gd name="T25" fmla="*/ 147 h 157"/>
                  <a:gd name="T26" fmla="*/ 29 w 107"/>
                  <a:gd name="T27" fmla="*/ 144 h 157"/>
                  <a:gd name="T28" fmla="*/ 36 w 107"/>
                  <a:gd name="T29" fmla="*/ 139 h 157"/>
                  <a:gd name="T30" fmla="*/ 42 w 107"/>
                  <a:gd name="T31" fmla="*/ 119 h 157"/>
                  <a:gd name="T32" fmla="*/ 58 w 107"/>
                  <a:gd name="T33" fmla="*/ 115 h 157"/>
                  <a:gd name="T34" fmla="*/ 60 w 107"/>
                  <a:gd name="T35" fmla="*/ 104 h 157"/>
                  <a:gd name="T36" fmla="*/ 67 w 107"/>
                  <a:gd name="T37" fmla="*/ 91 h 157"/>
                  <a:gd name="T38" fmla="*/ 69 w 107"/>
                  <a:gd name="T39" fmla="*/ 85 h 157"/>
                  <a:gd name="T40" fmla="*/ 65 w 107"/>
                  <a:gd name="T41" fmla="*/ 82 h 157"/>
                  <a:gd name="T42" fmla="*/ 62 w 107"/>
                  <a:gd name="T43" fmla="*/ 82 h 157"/>
                  <a:gd name="T44" fmla="*/ 58 w 107"/>
                  <a:gd name="T45" fmla="*/ 78 h 157"/>
                  <a:gd name="T46" fmla="*/ 57 w 107"/>
                  <a:gd name="T47" fmla="*/ 72 h 157"/>
                  <a:gd name="T48" fmla="*/ 54 w 107"/>
                  <a:gd name="T49" fmla="*/ 2 h 157"/>
                  <a:gd name="T50" fmla="*/ 67 w 107"/>
                  <a:gd name="T51" fmla="*/ 21 h 157"/>
                  <a:gd name="T52" fmla="*/ 71 w 107"/>
                  <a:gd name="T53" fmla="*/ 27 h 157"/>
                  <a:gd name="T54" fmla="*/ 72 w 107"/>
                  <a:gd name="T55" fmla="*/ 34 h 157"/>
                  <a:gd name="T56" fmla="*/ 70 w 107"/>
                  <a:gd name="T57" fmla="*/ 55 h 157"/>
                  <a:gd name="T58" fmla="*/ 64 w 107"/>
                  <a:gd name="T59" fmla="*/ 60 h 157"/>
                  <a:gd name="T60" fmla="*/ 73 w 107"/>
                  <a:gd name="T61" fmla="*/ 82 h 157"/>
                  <a:gd name="T62" fmla="*/ 86 w 107"/>
                  <a:gd name="T63" fmla="*/ 80 h 157"/>
                  <a:gd name="T64" fmla="*/ 93 w 107"/>
                  <a:gd name="T65" fmla="*/ 71 h 157"/>
                  <a:gd name="T66" fmla="*/ 93 w 107"/>
                  <a:gd name="T67" fmla="*/ 62 h 157"/>
                  <a:gd name="T68" fmla="*/ 103 w 107"/>
                  <a:gd name="T69" fmla="*/ 54 h 157"/>
                  <a:gd name="T70" fmla="*/ 95 w 107"/>
                  <a:gd name="T71" fmla="*/ 46 h 157"/>
                  <a:gd name="T72" fmla="*/ 84 w 107"/>
                  <a:gd name="T73" fmla="*/ 31 h 157"/>
                  <a:gd name="T74" fmla="*/ 80 w 107"/>
                  <a:gd name="T75" fmla="*/ 27 h 157"/>
                  <a:gd name="T76" fmla="*/ 75 w 107"/>
                  <a:gd name="T77" fmla="*/ 32 h 157"/>
                  <a:gd name="T78" fmla="*/ 74 w 107"/>
                  <a:gd name="T79" fmla="*/ 17 h 157"/>
                  <a:gd name="T80" fmla="*/ 70 w 107"/>
                  <a:gd name="T81" fmla="*/ 10 h 157"/>
                  <a:gd name="T82" fmla="*/ 64 w 107"/>
                  <a:gd name="T83" fmla="*/ 5 h 157"/>
                  <a:gd name="T84" fmla="*/ 58 w 107"/>
                  <a:gd name="T85"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157">
                    <a:moveTo>
                      <a:pt x="11" y="147"/>
                    </a:moveTo>
                    <a:cubicBezTo>
                      <a:pt x="11" y="150"/>
                      <a:pt x="10" y="154"/>
                      <a:pt x="9" y="157"/>
                    </a:cubicBezTo>
                    <a:cubicBezTo>
                      <a:pt x="12" y="157"/>
                      <a:pt x="15" y="156"/>
                      <a:pt x="16" y="156"/>
                    </a:cubicBezTo>
                    <a:cubicBezTo>
                      <a:pt x="16" y="155"/>
                      <a:pt x="16" y="154"/>
                      <a:pt x="17" y="153"/>
                    </a:cubicBezTo>
                    <a:cubicBezTo>
                      <a:pt x="15" y="153"/>
                      <a:pt x="15" y="153"/>
                      <a:pt x="15" y="153"/>
                    </a:cubicBezTo>
                    <a:cubicBezTo>
                      <a:pt x="14" y="152"/>
                      <a:pt x="15" y="151"/>
                      <a:pt x="15" y="150"/>
                    </a:cubicBezTo>
                    <a:cubicBezTo>
                      <a:pt x="14" y="149"/>
                      <a:pt x="12" y="148"/>
                      <a:pt x="11" y="147"/>
                    </a:cubicBezTo>
                    <a:close/>
                    <a:moveTo>
                      <a:pt x="54" y="72"/>
                    </a:moveTo>
                    <a:cubicBezTo>
                      <a:pt x="53" y="72"/>
                      <a:pt x="52" y="74"/>
                      <a:pt x="52" y="75"/>
                    </a:cubicBezTo>
                    <a:cubicBezTo>
                      <a:pt x="47" y="80"/>
                      <a:pt x="50" y="79"/>
                      <a:pt x="48" y="86"/>
                    </a:cubicBezTo>
                    <a:cubicBezTo>
                      <a:pt x="48" y="87"/>
                      <a:pt x="46" y="87"/>
                      <a:pt x="46" y="88"/>
                    </a:cubicBezTo>
                    <a:cubicBezTo>
                      <a:pt x="46" y="89"/>
                      <a:pt x="46" y="90"/>
                      <a:pt x="46" y="91"/>
                    </a:cubicBezTo>
                    <a:cubicBezTo>
                      <a:pt x="46" y="91"/>
                      <a:pt x="43" y="92"/>
                      <a:pt x="43" y="92"/>
                    </a:cubicBezTo>
                    <a:cubicBezTo>
                      <a:pt x="42" y="94"/>
                      <a:pt x="43" y="96"/>
                      <a:pt x="42" y="97"/>
                    </a:cubicBezTo>
                    <a:cubicBezTo>
                      <a:pt x="42" y="98"/>
                      <a:pt x="41" y="98"/>
                      <a:pt x="40" y="98"/>
                    </a:cubicBezTo>
                    <a:cubicBezTo>
                      <a:pt x="39" y="101"/>
                      <a:pt x="39" y="104"/>
                      <a:pt x="36" y="106"/>
                    </a:cubicBezTo>
                    <a:cubicBezTo>
                      <a:pt x="36" y="107"/>
                      <a:pt x="34" y="106"/>
                      <a:pt x="33" y="107"/>
                    </a:cubicBezTo>
                    <a:cubicBezTo>
                      <a:pt x="33" y="108"/>
                      <a:pt x="33" y="109"/>
                      <a:pt x="32" y="109"/>
                    </a:cubicBezTo>
                    <a:cubicBezTo>
                      <a:pt x="31" y="111"/>
                      <a:pt x="29" y="111"/>
                      <a:pt x="27" y="113"/>
                    </a:cubicBezTo>
                    <a:cubicBezTo>
                      <a:pt x="26" y="113"/>
                      <a:pt x="25" y="115"/>
                      <a:pt x="25" y="115"/>
                    </a:cubicBezTo>
                    <a:cubicBezTo>
                      <a:pt x="22" y="117"/>
                      <a:pt x="20" y="115"/>
                      <a:pt x="18" y="117"/>
                    </a:cubicBezTo>
                    <a:cubicBezTo>
                      <a:pt x="16" y="118"/>
                      <a:pt x="14" y="122"/>
                      <a:pt x="13" y="123"/>
                    </a:cubicBezTo>
                    <a:cubicBezTo>
                      <a:pt x="12" y="124"/>
                      <a:pt x="11" y="123"/>
                      <a:pt x="10" y="123"/>
                    </a:cubicBezTo>
                    <a:cubicBezTo>
                      <a:pt x="10" y="124"/>
                      <a:pt x="10" y="126"/>
                      <a:pt x="9" y="126"/>
                    </a:cubicBezTo>
                    <a:cubicBezTo>
                      <a:pt x="8" y="127"/>
                      <a:pt x="7" y="126"/>
                      <a:pt x="7" y="127"/>
                    </a:cubicBezTo>
                    <a:cubicBezTo>
                      <a:pt x="6" y="127"/>
                      <a:pt x="6" y="129"/>
                      <a:pt x="5" y="129"/>
                    </a:cubicBezTo>
                    <a:cubicBezTo>
                      <a:pt x="5" y="130"/>
                      <a:pt x="4" y="129"/>
                      <a:pt x="3" y="129"/>
                    </a:cubicBezTo>
                    <a:cubicBezTo>
                      <a:pt x="3" y="129"/>
                      <a:pt x="3" y="131"/>
                      <a:pt x="3" y="131"/>
                    </a:cubicBezTo>
                    <a:cubicBezTo>
                      <a:pt x="4" y="130"/>
                      <a:pt x="5" y="133"/>
                      <a:pt x="5" y="133"/>
                    </a:cubicBezTo>
                    <a:cubicBezTo>
                      <a:pt x="4" y="133"/>
                      <a:pt x="3" y="134"/>
                      <a:pt x="3" y="135"/>
                    </a:cubicBezTo>
                    <a:cubicBezTo>
                      <a:pt x="2" y="135"/>
                      <a:pt x="3" y="137"/>
                      <a:pt x="3" y="137"/>
                    </a:cubicBezTo>
                    <a:cubicBezTo>
                      <a:pt x="0" y="138"/>
                      <a:pt x="0" y="138"/>
                      <a:pt x="0" y="138"/>
                    </a:cubicBezTo>
                    <a:cubicBezTo>
                      <a:pt x="0" y="139"/>
                      <a:pt x="0" y="139"/>
                      <a:pt x="0" y="140"/>
                    </a:cubicBezTo>
                    <a:cubicBezTo>
                      <a:pt x="0" y="141"/>
                      <a:pt x="3" y="142"/>
                      <a:pt x="5" y="143"/>
                    </a:cubicBezTo>
                    <a:cubicBezTo>
                      <a:pt x="5" y="144"/>
                      <a:pt x="5" y="144"/>
                      <a:pt x="5" y="144"/>
                    </a:cubicBezTo>
                    <a:cubicBezTo>
                      <a:pt x="8" y="145"/>
                      <a:pt x="9" y="142"/>
                      <a:pt x="11" y="143"/>
                    </a:cubicBezTo>
                    <a:cubicBezTo>
                      <a:pt x="12" y="146"/>
                      <a:pt x="12" y="146"/>
                      <a:pt x="12" y="146"/>
                    </a:cubicBezTo>
                    <a:cubicBezTo>
                      <a:pt x="13" y="146"/>
                      <a:pt x="15" y="146"/>
                      <a:pt x="16" y="146"/>
                    </a:cubicBezTo>
                    <a:cubicBezTo>
                      <a:pt x="16" y="146"/>
                      <a:pt x="16" y="147"/>
                      <a:pt x="17" y="147"/>
                    </a:cubicBezTo>
                    <a:cubicBezTo>
                      <a:pt x="18" y="148"/>
                      <a:pt x="24" y="149"/>
                      <a:pt x="25" y="149"/>
                    </a:cubicBezTo>
                    <a:cubicBezTo>
                      <a:pt x="25" y="148"/>
                      <a:pt x="29" y="146"/>
                      <a:pt x="29" y="145"/>
                    </a:cubicBezTo>
                    <a:cubicBezTo>
                      <a:pt x="29" y="144"/>
                      <a:pt x="29" y="144"/>
                      <a:pt x="29" y="144"/>
                    </a:cubicBezTo>
                    <a:cubicBezTo>
                      <a:pt x="30" y="143"/>
                      <a:pt x="31" y="144"/>
                      <a:pt x="32" y="143"/>
                    </a:cubicBezTo>
                    <a:cubicBezTo>
                      <a:pt x="32" y="142"/>
                      <a:pt x="32" y="142"/>
                      <a:pt x="32" y="142"/>
                    </a:cubicBezTo>
                    <a:cubicBezTo>
                      <a:pt x="32" y="141"/>
                      <a:pt x="35" y="140"/>
                      <a:pt x="36" y="139"/>
                    </a:cubicBezTo>
                    <a:cubicBezTo>
                      <a:pt x="37" y="137"/>
                      <a:pt x="36" y="135"/>
                      <a:pt x="37" y="133"/>
                    </a:cubicBezTo>
                    <a:cubicBezTo>
                      <a:pt x="39" y="129"/>
                      <a:pt x="40" y="127"/>
                      <a:pt x="41" y="120"/>
                    </a:cubicBezTo>
                    <a:cubicBezTo>
                      <a:pt x="42" y="120"/>
                      <a:pt x="42" y="119"/>
                      <a:pt x="42" y="119"/>
                    </a:cubicBezTo>
                    <a:cubicBezTo>
                      <a:pt x="45" y="118"/>
                      <a:pt x="46" y="120"/>
                      <a:pt x="49" y="117"/>
                    </a:cubicBezTo>
                    <a:cubicBezTo>
                      <a:pt x="49" y="117"/>
                      <a:pt x="50" y="115"/>
                      <a:pt x="50" y="115"/>
                    </a:cubicBezTo>
                    <a:cubicBezTo>
                      <a:pt x="52" y="114"/>
                      <a:pt x="57" y="115"/>
                      <a:pt x="58" y="115"/>
                    </a:cubicBezTo>
                    <a:cubicBezTo>
                      <a:pt x="58" y="114"/>
                      <a:pt x="57" y="114"/>
                      <a:pt x="55" y="114"/>
                    </a:cubicBezTo>
                    <a:cubicBezTo>
                      <a:pt x="55" y="109"/>
                      <a:pt x="55" y="107"/>
                      <a:pt x="58" y="105"/>
                    </a:cubicBezTo>
                    <a:cubicBezTo>
                      <a:pt x="59" y="104"/>
                      <a:pt x="60" y="105"/>
                      <a:pt x="60" y="104"/>
                    </a:cubicBezTo>
                    <a:cubicBezTo>
                      <a:pt x="62" y="102"/>
                      <a:pt x="61" y="101"/>
                      <a:pt x="62" y="99"/>
                    </a:cubicBezTo>
                    <a:cubicBezTo>
                      <a:pt x="62" y="98"/>
                      <a:pt x="64" y="97"/>
                      <a:pt x="64" y="97"/>
                    </a:cubicBezTo>
                    <a:cubicBezTo>
                      <a:pt x="65" y="96"/>
                      <a:pt x="66" y="92"/>
                      <a:pt x="67" y="91"/>
                    </a:cubicBezTo>
                    <a:cubicBezTo>
                      <a:pt x="68" y="91"/>
                      <a:pt x="68" y="91"/>
                      <a:pt x="68" y="91"/>
                    </a:cubicBezTo>
                    <a:cubicBezTo>
                      <a:pt x="69" y="89"/>
                      <a:pt x="67" y="88"/>
                      <a:pt x="67" y="86"/>
                    </a:cubicBezTo>
                    <a:cubicBezTo>
                      <a:pt x="67" y="86"/>
                      <a:pt x="69" y="85"/>
                      <a:pt x="69" y="85"/>
                    </a:cubicBezTo>
                    <a:cubicBezTo>
                      <a:pt x="70" y="83"/>
                      <a:pt x="69" y="81"/>
                      <a:pt x="69" y="80"/>
                    </a:cubicBezTo>
                    <a:cubicBezTo>
                      <a:pt x="68" y="80"/>
                      <a:pt x="67" y="81"/>
                      <a:pt x="66" y="81"/>
                    </a:cubicBezTo>
                    <a:cubicBezTo>
                      <a:pt x="68" y="81"/>
                      <a:pt x="65" y="82"/>
                      <a:pt x="65" y="82"/>
                    </a:cubicBezTo>
                    <a:cubicBezTo>
                      <a:pt x="65" y="81"/>
                      <a:pt x="65" y="80"/>
                      <a:pt x="64" y="80"/>
                    </a:cubicBezTo>
                    <a:cubicBezTo>
                      <a:pt x="64" y="79"/>
                      <a:pt x="62" y="80"/>
                      <a:pt x="62" y="80"/>
                    </a:cubicBezTo>
                    <a:cubicBezTo>
                      <a:pt x="61" y="80"/>
                      <a:pt x="62" y="81"/>
                      <a:pt x="62" y="82"/>
                    </a:cubicBezTo>
                    <a:cubicBezTo>
                      <a:pt x="61" y="82"/>
                      <a:pt x="60" y="81"/>
                      <a:pt x="59" y="82"/>
                    </a:cubicBezTo>
                    <a:cubicBezTo>
                      <a:pt x="59" y="81"/>
                      <a:pt x="59" y="79"/>
                      <a:pt x="58" y="78"/>
                    </a:cubicBezTo>
                    <a:cubicBezTo>
                      <a:pt x="58" y="78"/>
                      <a:pt x="58" y="78"/>
                      <a:pt x="58" y="78"/>
                    </a:cubicBezTo>
                    <a:cubicBezTo>
                      <a:pt x="57" y="78"/>
                      <a:pt x="56" y="76"/>
                      <a:pt x="56" y="76"/>
                    </a:cubicBezTo>
                    <a:cubicBezTo>
                      <a:pt x="55" y="77"/>
                      <a:pt x="55" y="74"/>
                      <a:pt x="55" y="74"/>
                    </a:cubicBezTo>
                    <a:cubicBezTo>
                      <a:pt x="56" y="73"/>
                      <a:pt x="56" y="74"/>
                      <a:pt x="57" y="72"/>
                    </a:cubicBezTo>
                    <a:cubicBezTo>
                      <a:pt x="56" y="72"/>
                      <a:pt x="55" y="72"/>
                      <a:pt x="54" y="72"/>
                    </a:cubicBezTo>
                    <a:close/>
                    <a:moveTo>
                      <a:pt x="55" y="0"/>
                    </a:moveTo>
                    <a:cubicBezTo>
                      <a:pt x="55" y="1"/>
                      <a:pt x="54" y="0"/>
                      <a:pt x="54" y="2"/>
                    </a:cubicBezTo>
                    <a:cubicBezTo>
                      <a:pt x="55" y="4"/>
                      <a:pt x="59" y="6"/>
                      <a:pt x="60" y="8"/>
                    </a:cubicBezTo>
                    <a:cubicBezTo>
                      <a:pt x="61" y="10"/>
                      <a:pt x="61" y="13"/>
                      <a:pt x="62" y="15"/>
                    </a:cubicBezTo>
                    <a:cubicBezTo>
                      <a:pt x="64" y="17"/>
                      <a:pt x="66" y="19"/>
                      <a:pt x="67" y="21"/>
                    </a:cubicBezTo>
                    <a:cubicBezTo>
                      <a:pt x="68" y="22"/>
                      <a:pt x="67" y="22"/>
                      <a:pt x="68" y="23"/>
                    </a:cubicBezTo>
                    <a:cubicBezTo>
                      <a:pt x="69" y="24"/>
                      <a:pt x="69" y="23"/>
                      <a:pt x="70" y="24"/>
                    </a:cubicBezTo>
                    <a:cubicBezTo>
                      <a:pt x="70" y="25"/>
                      <a:pt x="71" y="26"/>
                      <a:pt x="71" y="27"/>
                    </a:cubicBezTo>
                    <a:cubicBezTo>
                      <a:pt x="69" y="28"/>
                      <a:pt x="70" y="30"/>
                      <a:pt x="70" y="32"/>
                    </a:cubicBezTo>
                    <a:cubicBezTo>
                      <a:pt x="71" y="33"/>
                      <a:pt x="73" y="32"/>
                      <a:pt x="74" y="33"/>
                    </a:cubicBezTo>
                    <a:cubicBezTo>
                      <a:pt x="74" y="34"/>
                      <a:pt x="73" y="34"/>
                      <a:pt x="72" y="34"/>
                    </a:cubicBezTo>
                    <a:cubicBezTo>
                      <a:pt x="73" y="39"/>
                      <a:pt x="75" y="43"/>
                      <a:pt x="73" y="48"/>
                    </a:cubicBezTo>
                    <a:cubicBezTo>
                      <a:pt x="73" y="48"/>
                      <a:pt x="71" y="49"/>
                      <a:pt x="71" y="50"/>
                    </a:cubicBezTo>
                    <a:cubicBezTo>
                      <a:pt x="70" y="51"/>
                      <a:pt x="70" y="53"/>
                      <a:pt x="70" y="55"/>
                    </a:cubicBezTo>
                    <a:cubicBezTo>
                      <a:pt x="68" y="55"/>
                      <a:pt x="66" y="56"/>
                      <a:pt x="64" y="56"/>
                    </a:cubicBezTo>
                    <a:cubicBezTo>
                      <a:pt x="64" y="58"/>
                      <a:pt x="65" y="57"/>
                      <a:pt x="64" y="58"/>
                    </a:cubicBezTo>
                    <a:cubicBezTo>
                      <a:pt x="64" y="58"/>
                      <a:pt x="64" y="59"/>
                      <a:pt x="64" y="60"/>
                    </a:cubicBezTo>
                    <a:cubicBezTo>
                      <a:pt x="69" y="63"/>
                      <a:pt x="78" y="66"/>
                      <a:pt x="76" y="76"/>
                    </a:cubicBezTo>
                    <a:cubicBezTo>
                      <a:pt x="76" y="77"/>
                      <a:pt x="73" y="79"/>
                      <a:pt x="73" y="80"/>
                    </a:cubicBezTo>
                    <a:cubicBezTo>
                      <a:pt x="73" y="81"/>
                      <a:pt x="73" y="81"/>
                      <a:pt x="73" y="82"/>
                    </a:cubicBezTo>
                    <a:cubicBezTo>
                      <a:pt x="74" y="82"/>
                      <a:pt x="78" y="83"/>
                      <a:pt x="78" y="83"/>
                    </a:cubicBezTo>
                    <a:cubicBezTo>
                      <a:pt x="79" y="84"/>
                      <a:pt x="80" y="86"/>
                      <a:pt x="80" y="86"/>
                    </a:cubicBezTo>
                    <a:cubicBezTo>
                      <a:pt x="84" y="84"/>
                      <a:pt x="84" y="85"/>
                      <a:pt x="86" y="80"/>
                    </a:cubicBezTo>
                    <a:cubicBezTo>
                      <a:pt x="86" y="80"/>
                      <a:pt x="88" y="78"/>
                      <a:pt x="88" y="78"/>
                    </a:cubicBezTo>
                    <a:cubicBezTo>
                      <a:pt x="88" y="77"/>
                      <a:pt x="87" y="75"/>
                      <a:pt x="88" y="74"/>
                    </a:cubicBezTo>
                    <a:cubicBezTo>
                      <a:pt x="89" y="72"/>
                      <a:pt x="92" y="72"/>
                      <a:pt x="93" y="71"/>
                    </a:cubicBezTo>
                    <a:cubicBezTo>
                      <a:pt x="94" y="70"/>
                      <a:pt x="93" y="68"/>
                      <a:pt x="93" y="66"/>
                    </a:cubicBezTo>
                    <a:cubicBezTo>
                      <a:pt x="93" y="66"/>
                      <a:pt x="95" y="65"/>
                      <a:pt x="95" y="64"/>
                    </a:cubicBezTo>
                    <a:cubicBezTo>
                      <a:pt x="94" y="63"/>
                      <a:pt x="94" y="63"/>
                      <a:pt x="93" y="62"/>
                    </a:cubicBezTo>
                    <a:cubicBezTo>
                      <a:pt x="98" y="58"/>
                      <a:pt x="97" y="57"/>
                      <a:pt x="102" y="60"/>
                    </a:cubicBezTo>
                    <a:cubicBezTo>
                      <a:pt x="102" y="58"/>
                      <a:pt x="101" y="56"/>
                      <a:pt x="101" y="55"/>
                    </a:cubicBezTo>
                    <a:cubicBezTo>
                      <a:pt x="101" y="55"/>
                      <a:pt x="103" y="54"/>
                      <a:pt x="103" y="54"/>
                    </a:cubicBezTo>
                    <a:cubicBezTo>
                      <a:pt x="105" y="51"/>
                      <a:pt x="106" y="47"/>
                      <a:pt x="107" y="44"/>
                    </a:cubicBezTo>
                    <a:cubicBezTo>
                      <a:pt x="102" y="38"/>
                      <a:pt x="102" y="42"/>
                      <a:pt x="96" y="44"/>
                    </a:cubicBezTo>
                    <a:cubicBezTo>
                      <a:pt x="95" y="46"/>
                      <a:pt x="95" y="46"/>
                      <a:pt x="95" y="46"/>
                    </a:cubicBezTo>
                    <a:cubicBezTo>
                      <a:pt x="95" y="46"/>
                      <a:pt x="88" y="43"/>
                      <a:pt x="88" y="43"/>
                    </a:cubicBezTo>
                    <a:cubicBezTo>
                      <a:pt x="85" y="42"/>
                      <a:pt x="86" y="40"/>
                      <a:pt x="85" y="36"/>
                    </a:cubicBezTo>
                    <a:cubicBezTo>
                      <a:pt x="85" y="36"/>
                      <a:pt x="85" y="32"/>
                      <a:pt x="84" y="31"/>
                    </a:cubicBezTo>
                    <a:cubicBezTo>
                      <a:pt x="84" y="31"/>
                      <a:pt x="82" y="32"/>
                      <a:pt x="82" y="32"/>
                    </a:cubicBezTo>
                    <a:cubicBezTo>
                      <a:pt x="82" y="30"/>
                      <a:pt x="82" y="27"/>
                      <a:pt x="82" y="27"/>
                    </a:cubicBezTo>
                    <a:cubicBezTo>
                      <a:pt x="80" y="27"/>
                      <a:pt x="80" y="27"/>
                      <a:pt x="80" y="27"/>
                    </a:cubicBezTo>
                    <a:cubicBezTo>
                      <a:pt x="80" y="30"/>
                      <a:pt x="79" y="33"/>
                      <a:pt x="79" y="35"/>
                    </a:cubicBezTo>
                    <a:cubicBezTo>
                      <a:pt x="79" y="35"/>
                      <a:pt x="78" y="33"/>
                      <a:pt x="78" y="33"/>
                    </a:cubicBezTo>
                    <a:cubicBezTo>
                      <a:pt x="78" y="32"/>
                      <a:pt x="76" y="32"/>
                      <a:pt x="75" y="32"/>
                    </a:cubicBezTo>
                    <a:cubicBezTo>
                      <a:pt x="75" y="28"/>
                      <a:pt x="75" y="26"/>
                      <a:pt x="75" y="24"/>
                    </a:cubicBezTo>
                    <a:cubicBezTo>
                      <a:pt x="75" y="22"/>
                      <a:pt x="72" y="21"/>
                      <a:pt x="72" y="19"/>
                    </a:cubicBezTo>
                    <a:cubicBezTo>
                      <a:pt x="72" y="18"/>
                      <a:pt x="74" y="17"/>
                      <a:pt x="74" y="17"/>
                    </a:cubicBezTo>
                    <a:cubicBezTo>
                      <a:pt x="74" y="15"/>
                      <a:pt x="73" y="14"/>
                      <a:pt x="73" y="12"/>
                    </a:cubicBezTo>
                    <a:cubicBezTo>
                      <a:pt x="71" y="12"/>
                      <a:pt x="71" y="13"/>
                      <a:pt x="70" y="13"/>
                    </a:cubicBezTo>
                    <a:cubicBezTo>
                      <a:pt x="69" y="12"/>
                      <a:pt x="70" y="11"/>
                      <a:pt x="70" y="10"/>
                    </a:cubicBezTo>
                    <a:cubicBezTo>
                      <a:pt x="70" y="10"/>
                      <a:pt x="67" y="7"/>
                      <a:pt x="67" y="7"/>
                    </a:cubicBezTo>
                    <a:cubicBezTo>
                      <a:pt x="67" y="7"/>
                      <a:pt x="65" y="7"/>
                      <a:pt x="64" y="7"/>
                    </a:cubicBezTo>
                    <a:cubicBezTo>
                      <a:pt x="65" y="7"/>
                      <a:pt x="64" y="5"/>
                      <a:pt x="64" y="5"/>
                    </a:cubicBezTo>
                    <a:cubicBezTo>
                      <a:pt x="60" y="6"/>
                      <a:pt x="64" y="10"/>
                      <a:pt x="60" y="4"/>
                    </a:cubicBezTo>
                    <a:cubicBezTo>
                      <a:pt x="59" y="4"/>
                      <a:pt x="57" y="2"/>
                      <a:pt x="57" y="2"/>
                    </a:cubicBezTo>
                    <a:cubicBezTo>
                      <a:pt x="57" y="0"/>
                      <a:pt x="58" y="1"/>
                      <a:pt x="58" y="0"/>
                    </a:cubicBezTo>
                    <a:cubicBezTo>
                      <a:pt x="57" y="0"/>
                      <a:pt x="56" y="0"/>
                      <a:pt x="55"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49" name="Freeform 128">
                <a:extLst>
                  <a:ext uri="{FF2B5EF4-FFF2-40B4-BE49-F238E27FC236}">
                    <a16:creationId xmlns:a16="http://schemas.microsoft.com/office/drawing/2014/main" id="{377A356F-189D-C254-A517-98BF84FD7DD0}"/>
                  </a:ext>
                </a:extLst>
              </p:cNvPr>
              <p:cNvSpPr>
                <a:spLocks noEditPoints="1"/>
              </p:cNvSpPr>
              <p:nvPr/>
            </p:nvSpPr>
            <p:spPr bwMode="auto">
              <a:xfrm>
                <a:off x="3172" y="1046"/>
                <a:ext cx="75" cy="66"/>
              </a:xfrm>
              <a:custGeom>
                <a:avLst/>
                <a:gdLst>
                  <a:gd name="T0" fmla="*/ 38 w 38"/>
                  <a:gd name="T1" fmla="*/ 9 h 34"/>
                  <a:gd name="T2" fmla="*/ 36 w 38"/>
                  <a:gd name="T3" fmla="*/ 8 h 34"/>
                  <a:gd name="T4" fmla="*/ 36 w 38"/>
                  <a:gd name="T5" fmla="*/ 5 h 34"/>
                  <a:gd name="T6" fmla="*/ 31 w 38"/>
                  <a:gd name="T7" fmla="*/ 5 h 34"/>
                  <a:gd name="T8" fmla="*/ 28 w 38"/>
                  <a:gd name="T9" fmla="*/ 5 h 34"/>
                  <a:gd name="T10" fmla="*/ 27 w 38"/>
                  <a:gd name="T11" fmla="*/ 4 h 34"/>
                  <a:gd name="T12" fmla="*/ 24 w 38"/>
                  <a:gd name="T13" fmla="*/ 4 h 34"/>
                  <a:gd name="T14" fmla="*/ 22 w 38"/>
                  <a:gd name="T15" fmla="*/ 5 h 34"/>
                  <a:gd name="T16" fmla="*/ 20 w 38"/>
                  <a:gd name="T17" fmla="*/ 8 h 34"/>
                  <a:gd name="T18" fmla="*/ 14 w 38"/>
                  <a:gd name="T19" fmla="*/ 10 h 34"/>
                  <a:gd name="T20" fmla="*/ 10 w 38"/>
                  <a:gd name="T21" fmla="*/ 18 h 34"/>
                  <a:gd name="T22" fmla="*/ 12 w 38"/>
                  <a:gd name="T23" fmla="*/ 21 h 34"/>
                  <a:gd name="T24" fmla="*/ 9 w 38"/>
                  <a:gd name="T25" fmla="*/ 23 h 34"/>
                  <a:gd name="T26" fmla="*/ 10 w 38"/>
                  <a:gd name="T27" fmla="*/ 26 h 34"/>
                  <a:gd name="T28" fmla="*/ 8 w 38"/>
                  <a:gd name="T29" fmla="*/ 28 h 34"/>
                  <a:gd name="T30" fmla="*/ 4 w 38"/>
                  <a:gd name="T31" fmla="*/ 28 h 34"/>
                  <a:gd name="T32" fmla="*/ 0 w 38"/>
                  <a:gd name="T33" fmla="*/ 26 h 34"/>
                  <a:gd name="T34" fmla="*/ 0 w 38"/>
                  <a:gd name="T35" fmla="*/ 26 h 34"/>
                  <a:gd name="T36" fmla="*/ 7 w 38"/>
                  <a:gd name="T37" fmla="*/ 32 h 34"/>
                  <a:gd name="T38" fmla="*/ 12 w 38"/>
                  <a:gd name="T39" fmla="*/ 31 h 34"/>
                  <a:gd name="T40" fmla="*/ 16 w 38"/>
                  <a:gd name="T41" fmla="*/ 32 h 34"/>
                  <a:gd name="T42" fmla="*/ 20 w 38"/>
                  <a:gd name="T43" fmla="*/ 34 h 34"/>
                  <a:gd name="T44" fmla="*/ 23 w 38"/>
                  <a:gd name="T45" fmla="*/ 25 h 34"/>
                  <a:gd name="T46" fmla="*/ 28 w 38"/>
                  <a:gd name="T47" fmla="*/ 23 h 34"/>
                  <a:gd name="T48" fmla="*/ 32 w 38"/>
                  <a:gd name="T49" fmla="*/ 21 h 34"/>
                  <a:gd name="T50" fmla="*/ 35 w 38"/>
                  <a:gd name="T51" fmla="*/ 18 h 34"/>
                  <a:gd name="T52" fmla="*/ 36 w 38"/>
                  <a:gd name="T53" fmla="*/ 16 h 34"/>
                  <a:gd name="T54" fmla="*/ 38 w 38"/>
                  <a:gd name="T55" fmla="*/ 9 h 34"/>
                  <a:gd name="T56" fmla="*/ 2 w 38"/>
                  <a:gd name="T57" fmla="*/ 24 h 34"/>
                  <a:gd name="T58" fmla="*/ 4 w 38"/>
                  <a:gd name="T59" fmla="*/ 26 h 34"/>
                  <a:gd name="T60" fmla="*/ 7 w 38"/>
                  <a:gd name="T61" fmla="*/ 26 h 34"/>
                  <a:gd name="T62" fmla="*/ 6 w 38"/>
                  <a:gd name="T63" fmla="*/ 24 h 34"/>
                  <a:gd name="T64" fmla="*/ 2 w 38"/>
                  <a:gd name="T65" fmla="*/ 24 h 34"/>
                  <a:gd name="T66" fmla="*/ 24 w 38"/>
                  <a:gd name="T67" fmla="*/ 0 h 34"/>
                  <a:gd name="T68" fmla="*/ 24 w 38"/>
                  <a:gd name="T69" fmla="*/ 2 h 34"/>
                  <a:gd name="T70" fmla="*/ 24 w 38"/>
                  <a:gd name="T7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 h="34">
                    <a:moveTo>
                      <a:pt x="38" y="9"/>
                    </a:moveTo>
                    <a:cubicBezTo>
                      <a:pt x="38" y="9"/>
                      <a:pt x="36" y="8"/>
                      <a:pt x="36" y="8"/>
                    </a:cubicBezTo>
                    <a:cubicBezTo>
                      <a:pt x="36" y="7"/>
                      <a:pt x="36" y="5"/>
                      <a:pt x="36" y="5"/>
                    </a:cubicBezTo>
                    <a:cubicBezTo>
                      <a:pt x="34" y="4"/>
                      <a:pt x="32" y="4"/>
                      <a:pt x="31" y="5"/>
                    </a:cubicBezTo>
                    <a:cubicBezTo>
                      <a:pt x="30" y="5"/>
                      <a:pt x="29" y="5"/>
                      <a:pt x="28" y="5"/>
                    </a:cubicBezTo>
                    <a:cubicBezTo>
                      <a:pt x="27" y="4"/>
                      <a:pt x="27" y="4"/>
                      <a:pt x="27" y="4"/>
                    </a:cubicBezTo>
                    <a:cubicBezTo>
                      <a:pt x="26" y="3"/>
                      <a:pt x="24" y="4"/>
                      <a:pt x="24" y="4"/>
                    </a:cubicBezTo>
                    <a:cubicBezTo>
                      <a:pt x="24" y="5"/>
                      <a:pt x="22" y="5"/>
                      <a:pt x="22" y="5"/>
                    </a:cubicBezTo>
                    <a:cubicBezTo>
                      <a:pt x="21" y="6"/>
                      <a:pt x="21" y="8"/>
                      <a:pt x="20" y="8"/>
                    </a:cubicBezTo>
                    <a:cubicBezTo>
                      <a:pt x="18" y="9"/>
                      <a:pt x="16" y="9"/>
                      <a:pt x="14" y="10"/>
                    </a:cubicBezTo>
                    <a:cubicBezTo>
                      <a:pt x="13" y="11"/>
                      <a:pt x="13" y="16"/>
                      <a:pt x="10" y="18"/>
                    </a:cubicBezTo>
                    <a:cubicBezTo>
                      <a:pt x="9" y="19"/>
                      <a:pt x="12" y="20"/>
                      <a:pt x="12" y="21"/>
                    </a:cubicBezTo>
                    <a:cubicBezTo>
                      <a:pt x="12" y="22"/>
                      <a:pt x="9" y="22"/>
                      <a:pt x="9" y="23"/>
                    </a:cubicBezTo>
                    <a:cubicBezTo>
                      <a:pt x="9" y="24"/>
                      <a:pt x="9" y="25"/>
                      <a:pt x="10" y="26"/>
                    </a:cubicBezTo>
                    <a:cubicBezTo>
                      <a:pt x="9" y="27"/>
                      <a:pt x="9" y="27"/>
                      <a:pt x="8" y="28"/>
                    </a:cubicBezTo>
                    <a:cubicBezTo>
                      <a:pt x="8" y="28"/>
                      <a:pt x="5" y="28"/>
                      <a:pt x="4" y="28"/>
                    </a:cubicBezTo>
                    <a:cubicBezTo>
                      <a:pt x="3" y="27"/>
                      <a:pt x="3" y="26"/>
                      <a:pt x="0" y="26"/>
                    </a:cubicBezTo>
                    <a:cubicBezTo>
                      <a:pt x="0" y="26"/>
                      <a:pt x="0" y="26"/>
                      <a:pt x="0" y="26"/>
                    </a:cubicBezTo>
                    <a:cubicBezTo>
                      <a:pt x="0" y="26"/>
                      <a:pt x="2" y="32"/>
                      <a:pt x="7" y="32"/>
                    </a:cubicBezTo>
                    <a:cubicBezTo>
                      <a:pt x="10" y="33"/>
                      <a:pt x="10" y="31"/>
                      <a:pt x="12" y="31"/>
                    </a:cubicBezTo>
                    <a:cubicBezTo>
                      <a:pt x="15" y="31"/>
                      <a:pt x="16" y="30"/>
                      <a:pt x="16" y="32"/>
                    </a:cubicBezTo>
                    <a:cubicBezTo>
                      <a:pt x="16" y="34"/>
                      <a:pt x="20" y="34"/>
                      <a:pt x="20" y="34"/>
                    </a:cubicBezTo>
                    <a:cubicBezTo>
                      <a:pt x="20" y="34"/>
                      <a:pt x="22" y="28"/>
                      <a:pt x="23" y="25"/>
                    </a:cubicBezTo>
                    <a:cubicBezTo>
                      <a:pt x="24" y="23"/>
                      <a:pt x="23" y="21"/>
                      <a:pt x="28" y="23"/>
                    </a:cubicBezTo>
                    <a:cubicBezTo>
                      <a:pt x="32" y="25"/>
                      <a:pt x="32" y="21"/>
                      <a:pt x="32" y="21"/>
                    </a:cubicBezTo>
                    <a:cubicBezTo>
                      <a:pt x="32" y="21"/>
                      <a:pt x="37" y="20"/>
                      <a:pt x="35" y="18"/>
                    </a:cubicBezTo>
                    <a:cubicBezTo>
                      <a:pt x="33" y="17"/>
                      <a:pt x="34" y="15"/>
                      <a:pt x="36" y="16"/>
                    </a:cubicBezTo>
                    <a:cubicBezTo>
                      <a:pt x="38" y="16"/>
                      <a:pt x="38" y="9"/>
                      <a:pt x="38" y="9"/>
                    </a:cubicBezTo>
                    <a:close/>
                    <a:moveTo>
                      <a:pt x="2" y="24"/>
                    </a:moveTo>
                    <a:cubicBezTo>
                      <a:pt x="2" y="24"/>
                      <a:pt x="4" y="26"/>
                      <a:pt x="4" y="26"/>
                    </a:cubicBezTo>
                    <a:cubicBezTo>
                      <a:pt x="5" y="26"/>
                      <a:pt x="6" y="26"/>
                      <a:pt x="7" y="26"/>
                    </a:cubicBezTo>
                    <a:cubicBezTo>
                      <a:pt x="7" y="26"/>
                      <a:pt x="7" y="24"/>
                      <a:pt x="6" y="24"/>
                    </a:cubicBezTo>
                    <a:cubicBezTo>
                      <a:pt x="5" y="23"/>
                      <a:pt x="4" y="24"/>
                      <a:pt x="2" y="24"/>
                    </a:cubicBezTo>
                    <a:close/>
                    <a:moveTo>
                      <a:pt x="24" y="0"/>
                    </a:moveTo>
                    <a:cubicBezTo>
                      <a:pt x="23" y="0"/>
                      <a:pt x="20" y="3"/>
                      <a:pt x="24" y="2"/>
                    </a:cubicBezTo>
                    <a:cubicBezTo>
                      <a:pt x="24" y="2"/>
                      <a:pt x="27" y="0"/>
                      <a:pt x="24"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50" name="Freeform 129">
                <a:extLst>
                  <a:ext uri="{FF2B5EF4-FFF2-40B4-BE49-F238E27FC236}">
                    <a16:creationId xmlns:a16="http://schemas.microsoft.com/office/drawing/2014/main" id="{6C2CCE91-1D24-D682-C492-67BE8D9B6193}"/>
                  </a:ext>
                </a:extLst>
              </p:cNvPr>
              <p:cNvSpPr>
                <a:spLocks noEditPoints="1"/>
              </p:cNvSpPr>
              <p:nvPr/>
            </p:nvSpPr>
            <p:spPr bwMode="auto">
              <a:xfrm>
                <a:off x="3172" y="1046"/>
                <a:ext cx="75" cy="66"/>
              </a:xfrm>
              <a:custGeom>
                <a:avLst/>
                <a:gdLst>
                  <a:gd name="T0" fmla="*/ 38 w 38"/>
                  <a:gd name="T1" fmla="*/ 9 h 34"/>
                  <a:gd name="T2" fmla="*/ 36 w 38"/>
                  <a:gd name="T3" fmla="*/ 8 h 34"/>
                  <a:gd name="T4" fmla="*/ 36 w 38"/>
                  <a:gd name="T5" fmla="*/ 5 h 34"/>
                  <a:gd name="T6" fmla="*/ 31 w 38"/>
                  <a:gd name="T7" fmla="*/ 5 h 34"/>
                  <a:gd name="T8" fmla="*/ 28 w 38"/>
                  <a:gd name="T9" fmla="*/ 5 h 34"/>
                  <a:gd name="T10" fmla="*/ 27 w 38"/>
                  <a:gd name="T11" fmla="*/ 4 h 34"/>
                  <a:gd name="T12" fmla="*/ 24 w 38"/>
                  <a:gd name="T13" fmla="*/ 4 h 34"/>
                  <a:gd name="T14" fmla="*/ 22 w 38"/>
                  <a:gd name="T15" fmla="*/ 5 h 34"/>
                  <a:gd name="T16" fmla="*/ 20 w 38"/>
                  <a:gd name="T17" fmla="*/ 8 h 34"/>
                  <a:gd name="T18" fmla="*/ 14 w 38"/>
                  <a:gd name="T19" fmla="*/ 10 h 34"/>
                  <a:gd name="T20" fmla="*/ 10 w 38"/>
                  <a:gd name="T21" fmla="*/ 18 h 34"/>
                  <a:gd name="T22" fmla="*/ 12 w 38"/>
                  <a:gd name="T23" fmla="*/ 21 h 34"/>
                  <a:gd name="T24" fmla="*/ 9 w 38"/>
                  <a:gd name="T25" fmla="*/ 23 h 34"/>
                  <a:gd name="T26" fmla="*/ 10 w 38"/>
                  <a:gd name="T27" fmla="*/ 26 h 34"/>
                  <a:gd name="T28" fmla="*/ 8 w 38"/>
                  <a:gd name="T29" fmla="*/ 28 h 34"/>
                  <a:gd name="T30" fmla="*/ 4 w 38"/>
                  <a:gd name="T31" fmla="*/ 28 h 34"/>
                  <a:gd name="T32" fmla="*/ 0 w 38"/>
                  <a:gd name="T33" fmla="*/ 26 h 34"/>
                  <a:gd name="T34" fmla="*/ 0 w 38"/>
                  <a:gd name="T35" fmla="*/ 26 h 34"/>
                  <a:gd name="T36" fmla="*/ 7 w 38"/>
                  <a:gd name="T37" fmla="*/ 32 h 34"/>
                  <a:gd name="T38" fmla="*/ 12 w 38"/>
                  <a:gd name="T39" fmla="*/ 31 h 34"/>
                  <a:gd name="T40" fmla="*/ 16 w 38"/>
                  <a:gd name="T41" fmla="*/ 32 h 34"/>
                  <a:gd name="T42" fmla="*/ 20 w 38"/>
                  <a:gd name="T43" fmla="*/ 34 h 34"/>
                  <a:gd name="T44" fmla="*/ 23 w 38"/>
                  <a:gd name="T45" fmla="*/ 25 h 34"/>
                  <a:gd name="T46" fmla="*/ 28 w 38"/>
                  <a:gd name="T47" fmla="*/ 23 h 34"/>
                  <a:gd name="T48" fmla="*/ 32 w 38"/>
                  <a:gd name="T49" fmla="*/ 21 h 34"/>
                  <a:gd name="T50" fmla="*/ 35 w 38"/>
                  <a:gd name="T51" fmla="*/ 18 h 34"/>
                  <a:gd name="T52" fmla="*/ 36 w 38"/>
                  <a:gd name="T53" fmla="*/ 16 h 34"/>
                  <a:gd name="T54" fmla="*/ 38 w 38"/>
                  <a:gd name="T55" fmla="*/ 9 h 34"/>
                  <a:gd name="T56" fmla="*/ 2 w 38"/>
                  <a:gd name="T57" fmla="*/ 24 h 34"/>
                  <a:gd name="T58" fmla="*/ 4 w 38"/>
                  <a:gd name="T59" fmla="*/ 26 h 34"/>
                  <a:gd name="T60" fmla="*/ 7 w 38"/>
                  <a:gd name="T61" fmla="*/ 26 h 34"/>
                  <a:gd name="T62" fmla="*/ 6 w 38"/>
                  <a:gd name="T63" fmla="*/ 24 h 34"/>
                  <a:gd name="T64" fmla="*/ 2 w 38"/>
                  <a:gd name="T65" fmla="*/ 24 h 34"/>
                  <a:gd name="T66" fmla="*/ 24 w 38"/>
                  <a:gd name="T67" fmla="*/ 0 h 34"/>
                  <a:gd name="T68" fmla="*/ 24 w 38"/>
                  <a:gd name="T69" fmla="*/ 2 h 34"/>
                  <a:gd name="T70" fmla="*/ 24 w 38"/>
                  <a:gd name="T7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 h="34">
                    <a:moveTo>
                      <a:pt x="38" y="9"/>
                    </a:moveTo>
                    <a:cubicBezTo>
                      <a:pt x="38" y="9"/>
                      <a:pt x="36" y="8"/>
                      <a:pt x="36" y="8"/>
                    </a:cubicBezTo>
                    <a:cubicBezTo>
                      <a:pt x="36" y="7"/>
                      <a:pt x="36" y="5"/>
                      <a:pt x="36" y="5"/>
                    </a:cubicBezTo>
                    <a:cubicBezTo>
                      <a:pt x="34" y="4"/>
                      <a:pt x="32" y="4"/>
                      <a:pt x="31" y="5"/>
                    </a:cubicBezTo>
                    <a:cubicBezTo>
                      <a:pt x="30" y="5"/>
                      <a:pt x="29" y="5"/>
                      <a:pt x="28" y="5"/>
                    </a:cubicBezTo>
                    <a:cubicBezTo>
                      <a:pt x="27" y="4"/>
                      <a:pt x="27" y="4"/>
                      <a:pt x="27" y="4"/>
                    </a:cubicBezTo>
                    <a:cubicBezTo>
                      <a:pt x="26" y="3"/>
                      <a:pt x="24" y="4"/>
                      <a:pt x="24" y="4"/>
                    </a:cubicBezTo>
                    <a:cubicBezTo>
                      <a:pt x="24" y="5"/>
                      <a:pt x="22" y="5"/>
                      <a:pt x="22" y="5"/>
                    </a:cubicBezTo>
                    <a:cubicBezTo>
                      <a:pt x="21" y="6"/>
                      <a:pt x="21" y="8"/>
                      <a:pt x="20" y="8"/>
                    </a:cubicBezTo>
                    <a:cubicBezTo>
                      <a:pt x="18" y="9"/>
                      <a:pt x="16" y="9"/>
                      <a:pt x="14" y="10"/>
                    </a:cubicBezTo>
                    <a:cubicBezTo>
                      <a:pt x="13" y="11"/>
                      <a:pt x="13" y="16"/>
                      <a:pt x="10" y="18"/>
                    </a:cubicBezTo>
                    <a:cubicBezTo>
                      <a:pt x="9" y="19"/>
                      <a:pt x="12" y="20"/>
                      <a:pt x="12" y="21"/>
                    </a:cubicBezTo>
                    <a:cubicBezTo>
                      <a:pt x="12" y="22"/>
                      <a:pt x="9" y="22"/>
                      <a:pt x="9" y="23"/>
                    </a:cubicBezTo>
                    <a:cubicBezTo>
                      <a:pt x="9" y="24"/>
                      <a:pt x="9" y="25"/>
                      <a:pt x="10" y="26"/>
                    </a:cubicBezTo>
                    <a:cubicBezTo>
                      <a:pt x="9" y="27"/>
                      <a:pt x="9" y="27"/>
                      <a:pt x="8" y="28"/>
                    </a:cubicBezTo>
                    <a:cubicBezTo>
                      <a:pt x="8" y="28"/>
                      <a:pt x="5" y="28"/>
                      <a:pt x="4" y="28"/>
                    </a:cubicBezTo>
                    <a:cubicBezTo>
                      <a:pt x="3" y="27"/>
                      <a:pt x="3" y="26"/>
                      <a:pt x="0" y="26"/>
                    </a:cubicBezTo>
                    <a:cubicBezTo>
                      <a:pt x="0" y="26"/>
                      <a:pt x="0" y="26"/>
                      <a:pt x="0" y="26"/>
                    </a:cubicBezTo>
                    <a:cubicBezTo>
                      <a:pt x="0" y="26"/>
                      <a:pt x="2" y="32"/>
                      <a:pt x="7" y="32"/>
                    </a:cubicBezTo>
                    <a:cubicBezTo>
                      <a:pt x="10" y="33"/>
                      <a:pt x="10" y="31"/>
                      <a:pt x="12" y="31"/>
                    </a:cubicBezTo>
                    <a:cubicBezTo>
                      <a:pt x="15" y="31"/>
                      <a:pt x="16" y="30"/>
                      <a:pt x="16" y="32"/>
                    </a:cubicBezTo>
                    <a:cubicBezTo>
                      <a:pt x="16" y="34"/>
                      <a:pt x="20" y="34"/>
                      <a:pt x="20" y="34"/>
                    </a:cubicBezTo>
                    <a:cubicBezTo>
                      <a:pt x="20" y="34"/>
                      <a:pt x="22" y="28"/>
                      <a:pt x="23" y="25"/>
                    </a:cubicBezTo>
                    <a:cubicBezTo>
                      <a:pt x="24" y="23"/>
                      <a:pt x="23" y="21"/>
                      <a:pt x="28" y="23"/>
                    </a:cubicBezTo>
                    <a:cubicBezTo>
                      <a:pt x="32" y="25"/>
                      <a:pt x="32" y="21"/>
                      <a:pt x="32" y="21"/>
                    </a:cubicBezTo>
                    <a:cubicBezTo>
                      <a:pt x="32" y="21"/>
                      <a:pt x="37" y="20"/>
                      <a:pt x="35" y="18"/>
                    </a:cubicBezTo>
                    <a:cubicBezTo>
                      <a:pt x="33" y="17"/>
                      <a:pt x="34" y="15"/>
                      <a:pt x="36" y="16"/>
                    </a:cubicBezTo>
                    <a:cubicBezTo>
                      <a:pt x="38" y="16"/>
                      <a:pt x="38" y="9"/>
                      <a:pt x="38" y="9"/>
                    </a:cubicBezTo>
                    <a:close/>
                    <a:moveTo>
                      <a:pt x="2" y="24"/>
                    </a:moveTo>
                    <a:cubicBezTo>
                      <a:pt x="2" y="24"/>
                      <a:pt x="4" y="26"/>
                      <a:pt x="4" y="26"/>
                    </a:cubicBezTo>
                    <a:cubicBezTo>
                      <a:pt x="5" y="26"/>
                      <a:pt x="6" y="26"/>
                      <a:pt x="7" y="26"/>
                    </a:cubicBezTo>
                    <a:cubicBezTo>
                      <a:pt x="7" y="26"/>
                      <a:pt x="7" y="24"/>
                      <a:pt x="6" y="24"/>
                    </a:cubicBezTo>
                    <a:cubicBezTo>
                      <a:pt x="5" y="23"/>
                      <a:pt x="4" y="24"/>
                      <a:pt x="2" y="24"/>
                    </a:cubicBezTo>
                    <a:close/>
                    <a:moveTo>
                      <a:pt x="24" y="0"/>
                    </a:moveTo>
                    <a:cubicBezTo>
                      <a:pt x="23" y="0"/>
                      <a:pt x="20" y="3"/>
                      <a:pt x="24" y="2"/>
                    </a:cubicBezTo>
                    <a:cubicBezTo>
                      <a:pt x="24" y="2"/>
                      <a:pt x="27" y="0"/>
                      <a:pt x="24"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51" name="Freeform 130">
                <a:extLst>
                  <a:ext uri="{FF2B5EF4-FFF2-40B4-BE49-F238E27FC236}">
                    <a16:creationId xmlns:a16="http://schemas.microsoft.com/office/drawing/2014/main" id="{305E8BBD-AD86-D4E3-98D6-4786630BBAFD}"/>
                  </a:ext>
                </a:extLst>
              </p:cNvPr>
              <p:cNvSpPr>
                <a:spLocks/>
              </p:cNvSpPr>
              <p:nvPr/>
            </p:nvSpPr>
            <p:spPr bwMode="auto">
              <a:xfrm>
                <a:off x="4470" y="1613"/>
                <a:ext cx="140" cy="84"/>
              </a:xfrm>
              <a:custGeom>
                <a:avLst/>
                <a:gdLst>
                  <a:gd name="T0" fmla="*/ 140 w 140"/>
                  <a:gd name="T1" fmla="*/ 53 h 84"/>
                  <a:gd name="T2" fmla="*/ 126 w 140"/>
                  <a:gd name="T3" fmla="*/ 51 h 84"/>
                  <a:gd name="T4" fmla="*/ 112 w 140"/>
                  <a:gd name="T5" fmla="*/ 49 h 84"/>
                  <a:gd name="T6" fmla="*/ 102 w 140"/>
                  <a:gd name="T7" fmla="*/ 45 h 84"/>
                  <a:gd name="T8" fmla="*/ 95 w 140"/>
                  <a:gd name="T9" fmla="*/ 43 h 84"/>
                  <a:gd name="T10" fmla="*/ 91 w 140"/>
                  <a:gd name="T11" fmla="*/ 37 h 84"/>
                  <a:gd name="T12" fmla="*/ 83 w 140"/>
                  <a:gd name="T13" fmla="*/ 29 h 84"/>
                  <a:gd name="T14" fmla="*/ 75 w 140"/>
                  <a:gd name="T15" fmla="*/ 25 h 84"/>
                  <a:gd name="T16" fmla="*/ 75 w 140"/>
                  <a:gd name="T17" fmla="*/ 17 h 84"/>
                  <a:gd name="T18" fmla="*/ 69 w 140"/>
                  <a:gd name="T19" fmla="*/ 14 h 84"/>
                  <a:gd name="T20" fmla="*/ 59 w 140"/>
                  <a:gd name="T21" fmla="*/ 15 h 84"/>
                  <a:gd name="T22" fmla="*/ 51 w 140"/>
                  <a:gd name="T23" fmla="*/ 15 h 84"/>
                  <a:gd name="T24" fmla="*/ 44 w 140"/>
                  <a:gd name="T25" fmla="*/ 2 h 84"/>
                  <a:gd name="T26" fmla="*/ 38 w 140"/>
                  <a:gd name="T27" fmla="*/ 2 h 84"/>
                  <a:gd name="T28" fmla="*/ 30 w 140"/>
                  <a:gd name="T29" fmla="*/ 2 h 84"/>
                  <a:gd name="T30" fmla="*/ 22 w 140"/>
                  <a:gd name="T31" fmla="*/ 0 h 84"/>
                  <a:gd name="T32" fmla="*/ 18 w 140"/>
                  <a:gd name="T33" fmla="*/ 2 h 84"/>
                  <a:gd name="T34" fmla="*/ 8 w 140"/>
                  <a:gd name="T35" fmla="*/ 8 h 84"/>
                  <a:gd name="T36" fmla="*/ 0 w 140"/>
                  <a:gd name="T37" fmla="*/ 19 h 84"/>
                  <a:gd name="T38" fmla="*/ 2 w 140"/>
                  <a:gd name="T39" fmla="*/ 29 h 84"/>
                  <a:gd name="T40" fmla="*/ 12 w 140"/>
                  <a:gd name="T41" fmla="*/ 33 h 84"/>
                  <a:gd name="T42" fmla="*/ 16 w 140"/>
                  <a:gd name="T43" fmla="*/ 39 h 84"/>
                  <a:gd name="T44" fmla="*/ 24 w 140"/>
                  <a:gd name="T45" fmla="*/ 43 h 84"/>
                  <a:gd name="T46" fmla="*/ 34 w 140"/>
                  <a:gd name="T47" fmla="*/ 47 h 84"/>
                  <a:gd name="T48" fmla="*/ 46 w 140"/>
                  <a:gd name="T49" fmla="*/ 53 h 84"/>
                  <a:gd name="T50" fmla="*/ 55 w 140"/>
                  <a:gd name="T51" fmla="*/ 53 h 84"/>
                  <a:gd name="T52" fmla="*/ 63 w 140"/>
                  <a:gd name="T53" fmla="*/ 59 h 84"/>
                  <a:gd name="T54" fmla="*/ 67 w 140"/>
                  <a:gd name="T55" fmla="*/ 65 h 84"/>
                  <a:gd name="T56" fmla="*/ 75 w 140"/>
                  <a:gd name="T57" fmla="*/ 65 h 84"/>
                  <a:gd name="T58" fmla="*/ 83 w 140"/>
                  <a:gd name="T59" fmla="*/ 72 h 84"/>
                  <a:gd name="T60" fmla="*/ 97 w 140"/>
                  <a:gd name="T61" fmla="*/ 72 h 84"/>
                  <a:gd name="T62" fmla="*/ 110 w 140"/>
                  <a:gd name="T63" fmla="*/ 80 h 84"/>
                  <a:gd name="T64" fmla="*/ 120 w 140"/>
                  <a:gd name="T65" fmla="*/ 80 h 84"/>
                  <a:gd name="T66" fmla="*/ 128 w 140"/>
                  <a:gd name="T67" fmla="*/ 84 h 84"/>
                  <a:gd name="T68" fmla="*/ 136 w 140"/>
                  <a:gd name="T69" fmla="*/ 82 h 84"/>
                  <a:gd name="T70" fmla="*/ 140 w 140"/>
                  <a:gd name="T71" fmla="*/ 78 h 84"/>
                  <a:gd name="T72" fmla="*/ 140 w 140"/>
                  <a:gd name="T73" fmla="*/ 72 h 84"/>
                  <a:gd name="T74" fmla="*/ 136 w 140"/>
                  <a:gd name="T75" fmla="*/ 68 h 84"/>
                  <a:gd name="T76" fmla="*/ 138 w 140"/>
                  <a:gd name="T77" fmla="*/ 63 h 84"/>
                  <a:gd name="T78" fmla="*/ 140 w 140"/>
                  <a:gd name="T79" fmla="*/ 5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84">
                    <a:moveTo>
                      <a:pt x="140" y="53"/>
                    </a:moveTo>
                    <a:lnTo>
                      <a:pt x="126" y="51"/>
                    </a:lnTo>
                    <a:lnTo>
                      <a:pt x="112" y="49"/>
                    </a:lnTo>
                    <a:lnTo>
                      <a:pt x="102" y="45"/>
                    </a:lnTo>
                    <a:lnTo>
                      <a:pt x="95" y="43"/>
                    </a:lnTo>
                    <a:lnTo>
                      <a:pt x="91" y="37"/>
                    </a:lnTo>
                    <a:lnTo>
                      <a:pt x="83" y="29"/>
                    </a:lnTo>
                    <a:lnTo>
                      <a:pt x="75" y="25"/>
                    </a:lnTo>
                    <a:lnTo>
                      <a:pt x="75" y="17"/>
                    </a:lnTo>
                    <a:lnTo>
                      <a:pt x="69" y="14"/>
                    </a:lnTo>
                    <a:lnTo>
                      <a:pt x="59" y="15"/>
                    </a:lnTo>
                    <a:lnTo>
                      <a:pt x="51" y="15"/>
                    </a:lnTo>
                    <a:lnTo>
                      <a:pt x="44" y="2"/>
                    </a:lnTo>
                    <a:lnTo>
                      <a:pt x="38" y="2"/>
                    </a:lnTo>
                    <a:lnTo>
                      <a:pt x="30" y="2"/>
                    </a:lnTo>
                    <a:lnTo>
                      <a:pt x="22" y="0"/>
                    </a:lnTo>
                    <a:lnTo>
                      <a:pt x="18" y="2"/>
                    </a:lnTo>
                    <a:lnTo>
                      <a:pt x="8" y="8"/>
                    </a:lnTo>
                    <a:lnTo>
                      <a:pt x="0" y="19"/>
                    </a:lnTo>
                    <a:lnTo>
                      <a:pt x="2" y="29"/>
                    </a:lnTo>
                    <a:lnTo>
                      <a:pt x="12" y="33"/>
                    </a:lnTo>
                    <a:lnTo>
                      <a:pt x="16" y="39"/>
                    </a:lnTo>
                    <a:lnTo>
                      <a:pt x="24" y="43"/>
                    </a:lnTo>
                    <a:lnTo>
                      <a:pt x="34" y="47"/>
                    </a:lnTo>
                    <a:lnTo>
                      <a:pt x="46" y="53"/>
                    </a:lnTo>
                    <a:lnTo>
                      <a:pt x="55" y="53"/>
                    </a:lnTo>
                    <a:lnTo>
                      <a:pt x="63" y="59"/>
                    </a:lnTo>
                    <a:lnTo>
                      <a:pt x="67" y="65"/>
                    </a:lnTo>
                    <a:lnTo>
                      <a:pt x="75" y="65"/>
                    </a:lnTo>
                    <a:lnTo>
                      <a:pt x="83" y="72"/>
                    </a:lnTo>
                    <a:lnTo>
                      <a:pt x="97" y="72"/>
                    </a:lnTo>
                    <a:lnTo>
                      <a:pt x="110" y="80"/>
                    </a:lnTo>
                    <a:lnTo>
                      <a:pt x="120" y="80"/>
                    </a:lnTo>
                    <a:lnTo>
                      <a:pt x="128" y="84"/>
                    </a:lnTo>
                    <a:lnTo>
                      <a:pt x="136" y="82"/>
                    </a:lnTo>
                    <a:lnTo>
                      <a:pt x="140" y="78"/>
                    </a:lnTo>
                    <a:lnTo>
                      <a:pt x="140" y="72"/>
                    </a:lnTo>
                    <a:lnTo>
                      <a:pt x="136" y="68"/>
                    </a:lnTo>
                    <a:lnTo>
                      <a:pt x="138" y="63"/>
                    </a:lnTo>
                    <a:lnTo>
                      <a:pt x="140" y="53"/>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52" name="Freeform 131">
                <a:extLst>
                  <a:ext uri="{FF2B5EF4-FFF2-40B4-BE49-F238E27FC236}">
                    <a16:creationId xmlns:a16="http://schemas.microsoft.com/office/drawing/2014/main" id="{99F069F1-0796-A2E6-BC13-BF71814B7926}"/>
                  </a:ext>
                </a:extLst>
              </p:cNvPr>
              <p:cNvSpPr>
                <a:spLocks/>
              </p:cNvSpPr>
              <p:nvPr/>
            </p:nvSpPr>
            <p:spPr bwMode="auto">
              <a:xfrm>
                <a:off x="4470" y="1613"/>
                <a:ext cx="140" cy="84"/>
              </a:xfrm>
              <a:custGeom>
                <a:avLst/>
                <a:gdLst>
                  <a:gd name="T0" fmla="*/ 140 w 140"/>
                  <a:gd name="T1" fmla="*/ 53 h 84"/>
                  <a:gd name="T2" fmla="*/ 126 w 140"/>
                  <a:gd name="T3" fmla="*/ 51 h 84"/>
                  <a:gd name="T4" fmla="*/ 112 w 140"/>
                  <a:gd name="T5" fmla="*/ 49 h 84"/>
                  <a:gd name="T6" fmla="*/ 102 w 140"/>
                  <a:gd name="T7" fmla="*/ 45 h 84"/>
                  <a:gd name="T8" fmla="*/ 95 w 140"/>
                  <a:gd name="T9" fmla="*/ 43 h 84"/>
                  <a:gd name="T10" fmla="*/ 91 w 140"/>
                  <a:gd name="T11" fmla="*/ 37 h 84"/>
                  <a:gd name="T12" fmla="*/ 83 w 140"/>
                  <a:gd name="T13" fmla="*/ 29 h 84"/>
                  <a:gd name="T14" fmla="*/ 75 w 140"/>
                  <a:gd name="T15" fmla="*/ 25 h 84"/>
                  <a:gd name="T16" fmla="*/ 75 w 140"/>
                  <a:gd name="T17" fmla="*/ 17 h 84"/>
                  <a:gd name="T18" fmla="*/ 69 w 140"/>
                  <a:gd name="T19" fmla="*/ 14 h 84"/>
                  <a:gd name="T20" fmla="*/ 59 w 140"/>
                  <a:gd name="T21" fmla="*/ 15 h 84"/>
                  <a:gd name="T22" fmla="*/ 51 w 140"/>
                  <a:gd name="T23" fmla="*/ 15 h 84"/>
                  <a:gd name="T24" fmla="*/ 44 w 140"/>
                  <a:gd name="T25" fmla="*/ 2 h 84"/>
                  <a:gd name="T26" fmla="*/ 38 w 140"/>
                  <a:gd name="T27" fmla="*/ 2 h 84"/>
                  <a:gd name="T28" fmla="*/ 30 w 140"/>
                  <a:gd name="T29" fmla="*/ 2 h 84"/>
                  <a:gd name="T30" fmla="*/ 22 w 140"/>
                  <a:gd name="T31" fmla="*/ 0 h 84"/>
                  <a:gd name="T32" fmla="*/ 18 w 140"/>
                  <a:gd name="T33" fmla="*/ 2 h 84"/>
                  <a:gd name="T34" fmla="*/ 8 w 140"/>
                  <a:gd name="T35" fmla="*/ 8 h 84"/>
                  <a:gd name="T36" fmla="*/ 0 w 140"/>
                  <a:gd name="T37" fmla="*/ 19 h 84"/>
                  <a:gd name="T38" fmla="*/ 2 w 140"/>
                  <a:gd name="T39" fmla="*/ 29 h 84"/>
                  <a:gd name="T40" fmla="*/ 12 w 140"/>
                  <a:gd name="T41" fmla="*/ 33 h 84"/>
                  <a:gd name="T42" fmla="*/ 16 w 140"/>
                  <a:gd name="T43" fmla="*/ 39 h 84"/>
                  <a:gd name="T44" fmla="*/ 24 w 140"/>
                  <a:gd name="T45" fmla="*/ 43 h 84"/>
                  <a:gd name="T46" fmla="*/ 34 w 140"/>
                  <a:gd name="T47" fmla="*/ 47 h 84"/>
                  <a:gd name="T48" fmla="*/ 46 w 140"/>
                  <a:gd name="T49" fmla="*/ 53 h 84"/>
                  <a:gd name="T50" fmla="*/ 55 w 140"/>
                  <a:gd name="T51" fmla="*/ 53 h 84"/>
                  <a:gd name="T52" fmla="*/ 63 w 140"/>
                  <a:gd name="T53" fmla="*/ 59 h 84"/>
                  <a:gd name="T54" fmla="*/ 67 w 140"/>
                  <a:gd name="T55" fmla="*/ 65 h 84"/>
                  <a:gd name="T56" fmla="*/ 75 w 140"/>
                  <a:gd name="T57" fmla="*/ 65 h 84"/>
                  <a:gd name="T58" fmla="*/ 83 w 140"/>
                  <a:gd name="T59" fmla="*/ 72 h 84"/>
                  <a:gd name="T60" fmla="*/ 97 w 140"/>
                  <a:gd name="T61" fmla="*/ 72 h 84"/>
                  <a:gd name="T62" fmla="*/ 110 w 140"/>
                  <a:gd name="T63" fmla="*/ 80 h 84"/>
                  <a:gd name="T64" fmla="*/ 120 w 140"/>
                  <a:gd name="T65" fmla="*/ 80 h 84"/>
                  <a:gd name="T66" fmla="*/ 128 w 140"/>
                  <a:gd name="T67" fmla="*/ 84 h 84"/>
                  <a:gd name="T68" fmla="*/ 136 w 140"/>
                  <a:gd name="T69" fmla="*/ 82 h 84"/>
                  <a:gd name="T70" fmla="*/ 140 w 140"/>
                  <a:gd name="T71" fmla="*/ 78 h 84"/>
                  <a:gd name="T72" fmla="*/ 140 w 140"/>
                  <a:gd name="T73" fmla="*/ 72 h 84"/>
                  <a:gd name="T74" fmla="*/ 136 w 140"/>
                  <a:gd name="T75" fmla="*/ 68 h 84"/>
                  <a:gd name="T76" fmla="*/ 138 w 140"/>
                  <a:gd name="T77" fmla="*/ 63 h 84"/>
                  <a:gd name="T78" fmla="*/ 140 w 140"/>
                  <a:gd name="T79" fmla="*/ 5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84">
                    <a:moveTo>
                      <a:pt x="140" y="53"/>
                    </a:moveTo>
                    <a:lnTo>
                      <a:pt x="126" y="51"/>
                    </a:lnTo>
                    <a:lnTo>
                      <a:pt x="112" y="49"/>
                    </a:lnTo>
                    <a:lnTo>
                      <a:pt x="102" y="45"/>
                    </a:lnTo>
                    <a:lnTo>
                      <a:pt x="95" y="43"/>
                    </a:lnTo>
                    <a:lnTo>
                      <a:pt x="91" y="37"/>
                    </a:lnTo>
                    <a:lnTo>
                      <a:pt x="83" y="29"/>
                    </a:lnTo>
                    <a:lnTo>
                      <a:pt x="75" y="25"/>
                    </a:lnTo>
                    <a:lnTo>
                      <a:pt x="75" y="17"/>
                    </a:lnTo>
                    <a:lnTo>
                      <a:pt x="69" y="14"/>
                    </a:lnTo>
                    <a:lnTo>
                      <a:pt x="59" y="15"/>
                    </a:lnTo>
                    <a:lnTo>
                      <a:pt x="51" y="15"/>
                    </a:lnTo>
                    <a:lnTo>
                      <a:pt x="44" y="2"/>
                    </a:lnTo>
                    <a:lnTo>
                      <a:pt x="38" y="2"/>
                    </a:lnTo>
                    <a:lnTo>
                      <a:pt x="30" y="2"/>
                    </a:lnTo>
                    <a:lnTo>
                      <a:pt x="22" y="0"/>
                    </a:lnTo>
                    <a:lnTo>
                      <a:pt x="18" y="2"/>
                    </a:lnTo>
                    <a:lnTo>
                      <a:pt x="8" y="8"/>
                    </a:lnTo>
                    <a:lnTo>
                      <a:pt x="0" y="19"/>
                    </a:lnTo>
                    <a:lnTo>
                      <a:pt x="2" y="29"/>
                    </a:lnTo>
                    <a:lnTo>
                      <a:pt x="12" y="33"/>
                    </a:lnTo>
                    <a:lnTo>
                      <a:pt x="16" y="39"/>
                    </a:lnTo>
                    <a:lnTo>
                      <a:pt x="24" y="43"/>
                    </a:lnTo>
                    <a:lnTo>
                      <a:pt x="34" y="47"/>
                    </a:lnTo>
                    <a:lnTo>
                      <a:pt x="46" y="53"/>
                    </a:lnTo>
                    <a:lnTo>
                      <a:pt x="55" y="53"/>
                    </a:lnTo>
                    <a:lnTo>
                      <a:pt x="63" y="59"/>
                    </a:lnTo>
                    <a:lnTo>
                      <a:pt x="67" y="65"/>
                    </a:lnTo>
                    <a:lnTo>
                      <a:pt x="75" y="65"/>
                    </a:lnTo>
                    <a:lnTo>
                      <a:pt x="83" y="72"/>
                    </a:lnTo>
                    <a:lnTo>
                      <a:pt x="97" y="72"/>
                    </a:lnTo>
                    <a:lnTo>
                      <a:pt x="110" y="80"/>
                    </a:lnTo>
                    <a:lnTo>
                      <a:pt x="120" y="80"/>
                    </a:lnTo>
                    <a:lnTo>
                      <a:pt x="128" y="84"/>
                    </a:lnTo>
                    <a:lnTo>
                      <a:pt x="136" y="82"/>
                    </a:lnTo>
                    <a:lnTo>
                      <a:pt x="140" y="78"/>
                    </a:lnTo>
                    <a:lnTo>
                      <a:pt x="140" y="72"/>
                    </a:lnTo>
                    <a:lnTo>
                      <a:pt x="136" y="68"/>
                    </a:lnTo>
                    <a:lnTo>
                      <a:pt x="138" y="63"/>
                    </a:lnTo>
                    <a:lnTo>
                      <a:pt x="140" y="53"/>
                    </a:lnTo>
                    <a:close/>
                  </a:path>
                </a:pathLst>
              </a:custGeom>
              <a:grpFill/>
              <a:ln w="2" cap="rnd">
                <a:solidFill>
                  <a:schemeClr val="bg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53" name="Freeform 132">
                <a:extLst>
                  <a:ext uri="{FF2B5EF4-FFF2-40B4-BE49-F238E27FC236}">
                    <a16:creationId xmlns:a16="http://schemas.microsoft.com/office/drawing/2014/main" id="{B1E02D6B-65CB-371E-723B-062E056349B6}"/>
                  </a:ext>
                </a:extLst>
              </p:cNvPr>
              <p:cNvSpPr>
                <a:spLocks noEditPoints="1"/>
              </p:cNvSpPr>
              <p:nvPr/>
            </p:nvSpPr>
            <p:spPr bwMode="auto">
              <a:xfrm>
                <a:off x="3313" y="2612"/>
                <a:ext cx="228" cy="261"/>
              </a:xfrm>
              <a:custGeom>
                <a:avLst/>
                <a:gdLst>
                  <a:gd name="T0" fmla="*/ 2 w 116"/>
                  <a:gd name="T1" fmla="*/ 5 h 133"/>
                  <a:gd name="T2" fmla="*/ 1 w 116"/>
                  <a:gd name="T3" fmla="*/ 15 h 133"/>
                  <a:gd name="T4" fmla="*/ 8 w 116"/>
                  <a:gd name="T5" fmla="*/ 23 h 133"/>
                  <a:gd name="T6" fmla="*/ 10 w 116"/>
                  <a:gd name="T7" fmla="*/ 30 h 133"/>
                  <a:gd name="T8" fmla="*/ 12 w 116"/>
                  <a:gd name="T9" fmla="*/ 39 h 133"/>
                  <a:gd name="T10" fmla="*/ 18 w 116"/>
                  <a:gd name="T11" fmla="*/ 45 h 133"/>
                  <a:gd name="T12" fmla="*/ 20 w 116"/>
                  <a:gd name="T13" fmla="*/ 53 h 133"/>
                  <a:gd name="T14" fmla="*/ 24 w 116"/>
                  <a:gd name="T15" fmla="*/ 58 h 133"/>
                  <a:gd name="T16" fmla="*/ 24 w 116"/>
                  <a:gd name="T17" fmla="*/ 60 h 133"/>
                  <a:gd name="T18" fmla="*/ 23 w 116"/>
                  <a:gd name="T19" fmla="*/ 64 h 133"/>
                  <a:gd name="T20" fmla="*/ 24 w 116"/>
                  <a:gd name="T21" fmla="*/ 70 h 133"/>
                  <a:gd name="T22" fmla="*/ 24 w 116"/>
                  <a:gd name="T23" fmla="*/ 72 h 133"/>
                  <a:gd name="T24" fmla="*/ 24 w 116"/>
                  <a:gd name="T25" fmla="*/ 82 h 133"/>
                  <a:gd name="T26" fmla="*/ 28 w 116"/>
                  <a:gd name="T27" fmla="*/ 96 h 133"/>
                  <a:gd name="T28" fmla="*/ 28 w 116"/>
                  <a:gd name="T29" fmla="*/ 100 h 133"/>
                  <a:gd name="T30" fmla="*/ 29 w 116"/>
                  <a:gd name="T31" fmla="*/ 110 h 133"/>
                  <a:gd name="T32" fmla="*/ 35 w 116"/>
                  <a:gd name="T33" fmla="*/ 124 h 133"/>
                  <a:gd name="T34" fmla="*/ 39 w 116"/>
                  <a:gd name="T35" fmla="*/ 128 h 133"/>
                  <a:gd name="T36" fmla="*/ 45 w 116"/>
                  <a:gd name="T37" fmla="*/ 127 h 133"/>
                  <a:gd name="T38" fmla="*/ 49 w 116"/>
                  <a:gd name="T39" fmla="*/ 129 h 133"/>
                  <a:gd name="T40" fmla="*/ 58 w 116"/>
                  <a:gd name="T41" fmla="*/ 131 h 133"/>
                  <a:gd name="T42" fmla="*/ 67 w 116"/>
                  <a:gd name="T43" fmla="*/ 126 h 133"/>
                  <a:gd name="T44" fmla="*/ 68 w 116"/>
                  <a:gd name="T45" fmla="*/ 53 h 133"/>
                  <a:gd name="T46" fmla="*/ 78 w 116"/>
                  <a:gd name="T47" fmla="*/ 17 h 133"/>
                  <a:gd name="T48" fmla="*/ 104 w 116"/>
                  <a:gd name="T49" fmla="*/ 15 h 133"/>
                  <a:gd name="T50" fmla="*/ 112 w 116"/>
                  <a:gd name="T51" fmla="*/ 13 h 133"/>
                  <a:gd name="T52" fmla="*/ 113 w 116"/>
                  <a:gd name="T53" fmla="*/ 9 h 133"/>
                  <a:gd name="T54" fmla="*/ 98 w 116"/>
                  <a:gd name="T55" fmla="*/ 9 h 133"/>
                  <a:gd name="T56" fmla="*/ 73 w 116"/>
                  <a:gd name="T57" fmla="*/ 11 h 133"/>
                  <a:gd name="T58" fmla="*/ 63 w 116"/>
                  <a:gd name="T59" fmla="*/ 9 h 133"/>
                  <a:gd name="T60" fmla="*/ 55 w 116"/>
                  <a:gd name="T61" fmla="*/ 4 h 133"/>
                  <a:gd name="T62" fmla="*/ 12 w 116"/>
                  <a:gd name="T63" fmla="*/ 0 h 133"/>
                  <a:gd name="T64" fmla="*/ 1 w 116"/>
                  <a:gd name="T65" fmla="*/ 2 h 133"/>
                  <a:gd name="T66" fmla="*/ 24 w 116"/>
                  <a:gd name="T67" fmla="*/ 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6" h="133">
                    <a:moveTo>
                      <a:pt x="1" y="2"/>
                    </a:moveTo>
                    <a:cubicBezTo>
                      <a:pt x="1" y="4"/>
                      <a:pt x="2" y="5"/>
                      <a:pt x="2" y="5"/>
                    </a:cubicBezTo>
                    <a:cubicBezTo>
                      <a:pt x="1" y="6"/>
                      <a:pt x="0" y="9"/>
                      <a:pt x="0" y="13"/>
                    </a:cubicBezTo>
                    <a:cubicBezTo>
                      <a:pt x="1" y="15"/>
                      <a:pt x="1" y="15"/>
                      <a:pt x="1" y="15"/>
                    </a:cubicBezTo>
                    <a:cubicBezTo>
                      <a:pt x="1" y="16"/>
                      <a:pt x="4" y="16"/>
                      <a:pt x="4" y="17"/>
                    </a:cubicBezTo>
                    <a:cubicBezTo>
                      <a:pt x="6" y="18"/>
                      <a:pt x="7" y="22"/>
                      <a:pt x="8" y="23"/>
                    </a:cubicBezTo>
                    <a:cubicBezTo>
                      <a:pt x="9" y="24"/>
                      <a:pt x="11" y="24"/>
                      <a:pt x="11" y="25"/>
                    </a:cubicBezTo>
                    <a:cubicBezTo>
                      <a:pt x="11" y="26"/>
                      <a:pt x="10" y="29"/>
                      <a:pt x="10" y="30"/>
                    </a:cubicBezTo>
                    <a:cubicBezTo>
                      <a:pt x="10" y="31"/>
                      <a:pt x="12" y="33"/>
                      <a:pt x="12" y="35"/>
                    </a:cubicBezTo>
                    <a:cubicBezTo>
                      <a:pt x="12" y="36"/>
                      <a:pt x="12" y="37"/>
                      <a:pt x="12" y="39"/>
                    </a:cubicBezTo>
                    <a:cubicBezTo>
                      <a:pt x="16" y="45"/>
                      <a:pt x="16" y="45"/>
                      <a:pt x="16" y="45"/>
                    </a:cubicBezTo>
                    <a:cubicBezTo>
                      <a:pt x="16" y="45"/>
                      <a:pt x="18" y="45"/>
                      <a:pt x="18" y="45"/>
                    </a:cubicBezTo>
                    <a:cubicBezTo>
                      <a:pt x="20" y="48"/>
                      <a:pt x="18" y="51"/>
                      <a:pt x="19" y="53"/>
                    </a:cubicBezTo>
                    <a:cubicBezTo>
                      <a:pt x="20" y="53"/>
                      <a:pt x="20" y="53"/>
                      <a:pt x="20" y="53"/>
                    </a:cubicBezTo>
                    <a:cubicBezTo>
                      <a:pt x="20" y="53"/>
                      <a:pt x="21" y="55"/>
                      <a:pt x="21" y="56"/>
                    </a:cubicBezTo>
                    <a:cubicBezTo>
                      <a:pt x="21" y="56"/>
                      <a:pt x="23" y="57"/>
                      <a:pt x="24" y="58"/>
                    </a:cubicBezTo>
                    <a:cubicBezTo>
                      <a:pt x="24" y="58"/>
                      <a:pt x="23" y="60"/>
                      <a:pt x="24" y="60"/>
                    </a:cubicBezTo>
                    <a:cubicBezTo>
                      <a:pt x="24" y="60"/>
                      <a:pt x="24" y="60"/>
                      <a:pt x="24" y="60"/>
                    </a:cubicBezTo>
                    <a:cubicBezTo>
                      <a:pt x="24" y="61"/>
                      <a:pt x="24" y="61"/>
                      <a:pt x="25" y="62"/>
                    </a:cubicBezTo>
                    <a:cubicBezTo>
                      <a:pt x="25" y="62"/>
                      <a:pt x="23" y="64"/>
                      <a:pt x="23" y="64"/>
                    </a:cubicBezTo>
                    <a:cubicBezTo>
                      <a:pt x="23" y="64"/>
                      <a:pt x="24" y="66"/>
                      <a:pt x="24" y="66"/>
                    </a:cubicBezTo>
                    <a:cubicBezTo>
                      <a:pt x="24" y="66"/>
                      <a:pt x="23" y="69"/>
                      <a:pt x="24" y="70"/>
                    </a:cubicBezTo>
                    <a:cubicBezTo>
                      <a:pt x="24" y="71"/>
                      <a:pt x="25" y="71"/>
                      <a:pt x="25" y="72"/>
                    </a:cubicBezTo>
                    <a:cubicBezTo>
                      <a:pt x="24" y="72"/>
                      <a:pt x="24" y="72"/>
                      <a:pt x="24" y="72"/>
                    </a:cubicBezTo>
                    <a:cubicBezTo>
                      <a:pt x="24" y="73"/>
                      <a:pt x="25" y="78"/>
                      <a:pt x="25" y="78"/>
                    </a:cubicBezTo>
                    <a:cubicBezTo>
                      <a:pt x="24" y="79"/>
                      <a:pt x="24" y="80"/>
                      <a:pt x="24" y="82"/>
                    </a:cubicBezTo>
                    <a:cubicBezTo>
                      <a:pt x="25" y="84"/>
                      <a:pt x="27" y="86"/>
                      <a:pt x="28" y="88"/>
                    </a:cubicBezTo>
                    <a:cubicBezTo>
                      <a:pt x="28" y="90"/>
                      <a:pt x="27" y="93"/>
                      <a:pt x="28" y="96"/>
                    </a:cubicBezTo>
                    <a:cubicBezTo>
                      <a:pt x="27" y="96"/>
                      <a:pt x="26" y="96"/>
                      <a:pt x="26" y="96"/>
                    </a:cubicBezTo>
                    <a:cubicBezTo>
                      <a:pt x="26" y="98"/>
                      <a:pt x="28" y="99"/>
                      <a:pt x="28" y="100"/>
                    </a:cubicBezTo>
                    <a:cubicBezTo>
                      <a:pt x="27" y="101"/>
                      <a:pt x="27" y="106"/>
                      <a:pt x="28" y="109"/>
                    </a:cubicBezTo>
                    <a:cubicBezTo>
                      <a:pt x="28" y="109"/>
                      <a:pt x="29" y="109"/>
                      <a:pt x="29" y="110"/>
                    </a:cubicBezTo>
                    <a:cubicBezTo>
                      <a:pt x="30" y="112"/>
                      <a:pt x="30" y="113"/>
                      <a:pt x="30" y="116"/>
                    </a:cubicBezTo>
                    <a:cubicBezTo>
                      <a:pt x="31" y="117"/>
                      <a:pt x="34" y="124"/>
                      <a:pt x="35" y="124"/>
                    </a:cubicBezTo>
                    <a:cubicBezTo>
                      <a:pt x="36" y="125"/>
                      <a:pt x="38" y="124"/>
                      <a:pt x="39" y="124"/>
                    </a:cubicBezTo>
                    <a:cubicBezTo>
                      <a:pt x="40" y="125"/>
                      <a:pt x="39" y="127"/>
                      <a:pt x="39" y="128"/>
                    </a:cubicBezTo>
                    <a:cubicBezTo>
                      <a:pt x="40" y="129"/>
                      <a:pt x="40" y="129"/>
                      <a:pt x="41" y="130"/>
                    </a:cubicBezTo>
                    <a:cubicBezTo>
                      <a:pt x="41" y="130"/>
                      <a:pt x="44" y="128"/>
                      <a:pt x="45" y="127"/>
                    </a:cubicBezTo>
                    <a:cubicBezTo>
                      <a:pt x="45" y="125"/>
                      <a:pt x="46" y="125"/>
                      <a:pt x="48" y="125"/>
                    </a:cubicBezTo>
                    <a:cubicBezTo>
                      <a:pt x="50" y="125"/>
                      <a:pt x="48" y="127"/>
                      <a:pt x="49" y="129"/>
                    </a:cubicBezTo>
                    <a:cubicBezTo>
                      <a:pt x="50" y="131"/>
                      <a:pt x="50" y="131"/>
                      <a:pt x="53" y="131"/>
                    </a:cubicBezTo>
                    <a:cubicBezTo>
                      <a:pt x="56" y="131"/>
                      <a:pt x="56" y="133"/>
                      <a:pt x="58" y="131"/>
                    </a:cubicBezTo>
                    <a:cubicBezTo>
                      <a:pt x="60" y="130"/>
                      <a:pt x="61" y="130"/>
                      <a:pt x="62" y="128"/>
                    </a:cubicBezTo>
                    <a:cubicBezTo>
                      <a:pt x="63" y="126"/>
                      <a:pt x="67" y="126"/>
                      <a:pt x="67" y="126"/>
                    </a:cubicBezTo>
                    <a:cubicBezTo>
                      <a:pt x="68" y="93"/>
                      <a:pt x="68" y="93"/>
                      <a:pt x="68" y="93"/>
                    </a:cubicBezTo>
                    <a:cubicBezTo>
                      <a:pt x="68" y="53"/>
                      <a:pt x="68" y="53"/>
                      <a:pt x="68" y="53"/>
                    </a:cubicBezTo>
                    <a:cubicBezTo>
                      <a:pt x="78" y="53"/>
                      <a:pt x="78" y="53"/>
                      <a:pt x="78" y="53"/>
                    </a:cubicBezTo>
                    <a:cubicBezTo>
                      <a:pt x="78" y="17"/>
                      <a:pt x="78" y="17"/>
                      <a:pt x="78" y="17"/>
                    </a:cubicBezTo>
                    <a:cubicBezTo>
                      <a:pt x="85" y="17"/>
                      <a:pt x="85" y="17"/>
                      <a:pt x="85" y="17"/>
                    </a:cubicBezTo>
                    <a:cubicBezTo>
                      <a:pt x="104" y="15"/>
                      <a:pt x="104" y="15"/>
                      <a:pt x="104" y="15"/>
                    </a:cubicBezTo>
                    <a:cubicBezTo>
                      <a:pt x="104" y="15"/>
                      <a:pt x="107" y="17"/>
                      <a:pt x="107" y="14"/>
                    </a:cubicBezTo>
                    <a:cubicBezTo>
                      <a:pt x="107" y="11"/>
                      <a:pt x="112" y="16"/>
                      <a:pt x="112" y="13"/>
                    </a:cubicBezTo>
                    <a:cubicBezTo>
                      <a:pt x="112" y="10"/>
                      <a:pt x="116" y="11"/>
                      <a:pt x="116" y="11"/>
                    </a:cubicBezTo>
                    <a:cubicBezTo>
                      <a:pt x="116" y="11"/>
                      <a:pt x="114" y="11"/>
                      <a:pt x="113" y="9"/>
                    </a:cubicBezTo>
                    <a:cubicBezTo>
                      <a:pt x="112" y="7"/>
                      <a:pt x="110" y="8"/>
                      <a:pt x="110" y="8"/>
                    </a:cubicBezTo>
                    <a:cubicBezTo>
                      <a:pt x="98" y="9"/>
                      <a:pt x="98" y="9"/>
                      <a:pt x="98" y="9"/>
                    </a:cubicBezTo>
                    <a:cubicBezTo>
                      <a:pt x="80" y="12"/>
                      <a:pt x="80" y="12"/>
                      <a:pt x="80" y="12"/>
                    </a:cubicBezTo>
                    <a:cubicBezTo>
                      <a:pt x="80" y="12"/>
                      <a:pt x="75" y="10"/>
                      <a:pt x="73" y="11"/>
                    </a:cubicBezTo>
                    <a:cubicBezTo>
                      <a:pt x="71" y="11"/>
                      <a:pt x="72" y="9"/>
                      <a:pt x="70" y="11"/>
                    </a:cubicBezTo>
                    <a:cubicBezTo>
                      <a:pt x="67" y="12"/>
                      <a:pt x="66" y="8"/>
                      <a:pt x="63" y="9"/>
                    </a:cubicBezTo>
                    <a:cubicBezTo>
                      <a:pt x="60" y="10"/>
                      <a:pt x="61" y="7"/>
                      <a:pt x="59" y="7"/>
                    </a:cubicBezTo>
                    <a:cubicBezTo>
                      <a:pt x="57" y="7"/>
                      <a:pt x="55" y="4"/>
                      <a:pt x="55" y="4"/>
                    </a:cubicBezTo>
                    <a:cubicBezTo>
                      <a:pt x="17" y="3"/>
                      <a:pt x="17" y="3"/>
                      <a:pt x="17" y="3"/>
                    </a:cubicBezTo>
                    <a:cubicBezTo>
                      <a:pt x="17" y="3"/>
                      <a:pt x="14" y="0"/>
                      <a:pt x="12" y="0"/>
                    </a:cubicBezTo>
                    <a:cubicBezTo>
                      <a:pt x="10" y="0"/>
                      <a:pt x="10" y="4"/>
                      <a:pt x="7" y="3"/>
                    </a:cubicBezTo>
                    <a:cubicBezTo>
                      <a:pt x="4" y="2"/>
                      <a:pt x="1" y="2"/>
                      <a:pt x="1" y="2"/>
                    </a:cubicBezTo>
                    <a:close/>
                    <a:moveTo>
                      <a:pt x="25" y="31"/>
                    </a:moveTo>
                    <a:cubicBezTo>
                      <a:pt x="27" y="31"/>
                      <a:pt x="25" y="32"/>
                      <a:pt x="24" y="33"/>
                    </a:cubicBezTo>
                    <a:cubicBezTo>
                      <a:pt x="25" y="32"/>
                      <a:pt x="24" y="30"/>
                      <a:pt x="25" y="3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54" name="Freeform 133">
                <a:extLst>
                  <a:ext uri="{FF2B5EF4-FFF2-40B4-BE49-F238E27FC236}">
                    <a16:creationId xmlns:a16="http://schemas.microsoft.com/office/drawing/2014/main" id="{127D887C-0AF8-BA46-EF39-63962E57C5A6}"/>
                  </a:ext>
                </a:extLst>
              </p:cNvPr>
              <p:cNvSpPr>
                <a:spLocks noEditPoints="1"/>
              </p:cNvSpPr>
              <p:nvPr/>
            </p:nvSpPr>
            <p:spPr bwMode="auto">
              <a:xfrm>
                <a:off x="3313" y="2612"/>
                <a:ext cx="228" cy="261"/>
              </a:xfrm>
              <a:custGeom>
                <a:avLst/>
                <a:gdLst>
                  <a:gd name="T0" fmla="*/ 2 w 116"/>
                  <a:gd name="T1" fmla="*/ 5 h 133"/>
                  <a:gd name="T2" fmla="*/ 1 w 116"/>
                  <a:gd name="T3" fmla="*/ 15 h 133"/>
                  <a:gd name="T4" fmla="*/ 8 w 116"/>
                  <a:gd name="T5" fmla="*/ 23 h 133"/>
                  <a:gd name="T6" fmla="*/ 10 w 116"/>
                  <a:gd name="T7" fmla="*/ 30 h 133"/>
                  <a:gd name="T8" fmla="*/ 12 w 116"/>
                  <a:gd name="T9" fmla="*/ 39 h 133"/>
                  <a:gd name="T10" fmla="*/ 18 w 116"/>
                  <a:gd name="T11" fmla="*/ 45 h 133"/>
                  <a:gd name="T12" fmla="*/ 20 w 116"/>
                  <a:gd name="T13" fmla="*/ 53 h 133"/>
                  <a:gd name="T14" fmla="*/ 24 w 116"/>
                  <a:gd name="T15" fmla="*/ 58 h 133"/>
                  <a:gd name="T16" fmla="*/ 24 w 116"/>
                  <a:gd name="T17" fmla="*/ 60 h 133"/>
                  <a:gd name="T18" fmla="*/ 23 w 116"/>
                  <a:gd name="T19" fmla="*/ 64 h 133"/>
                  <a:gd name="T20" fmla="*/ 24 w 116"/>
                  <a:gd name="T21" fmla="*/ 70 h 133"/>
                  <a:gd name="T22" fmla="*/ 24 w 116"/>
                  <a:gd name="T23" fmla="*/ 72 h 133"/>
                  <a:gd name="T24" fmla="*/ 24 w 116"/>
                  <a:gd name="T25" fmla="*/ 82 h 133"/>
                  <a:gd name="T26" fmla="*/ 28 w 116"/>
                  <a:gd name="T27" fmla="*/ 96 h 133"/>
                  <a:gd name="T28" fmla="*/ 28 w 116"/>
                  <a:gd name="T29" fmla="*/ 100 h 133"/>
                  <a:gd name="T30" fmla="*/ 29 w 116"/>
                  <a:gd name="T31" fmla="*/ 110 h 133"/>
                  <a:gd name="T32" fmla="*/ 35 w 116"/>
                  <a:gd name="T33" fmla="*/ 124 h 133"/>
                  <a:gd name="T34" fmla="*/ 39 w 116"/>
                  <a:gd name="T35" fmla="*/ 128 h 133"/>
                  <a:gd name="T36" fmla="*/ 45 w 116"/>
                  <a:gd name="T37" fmla="*/ 127 h 133"/>
                  <a:gd name="T38" fmla="*/ 49 w 116"/>
                  <a:gd name="T39" fmla="*/ 129 h 133"/>
                  <a:gd name="T40" fmla="*/ 58 w 116"/>
                  <a:gd name="T41" fmla="*/ 131 h 133"/>
                  <a:gd name="T42" fmla="*/ 67 w 116"/>
                  <a:gd name="T43" fmla="*/ 126 h 133"/>
                  <a:gd name="T44" fmla="*/ 68 w 116"/>
                  <a:gd name="T45" fmla="*/ 53 h 133"/>
                  <a:gd name="T46" fmla="*/ 78 w 116"/>
                  <a:gd name="T47" fmla="*/ 17 h 133"/>
                  <a:gd name="T48" fmla="*/ 104 w 116"/>
                  <a:gd name="T49" fmla="*/ 15 h 133"/>
                  <a:gd name="T50" fmla="*/ 112 w 116"/>
                  <a:gd name="T51" fmla="*/ 13 h 133"/>
                  <a:gd name="T52" fmla="*/ 113 w 116"/>
                  <a:gd name="T53" fmla="*/ 9 h 133"/>
                  <a:gd name="T54" fmla="*/ 98 w 116"/>
                  <a:gd name="T55" fmla="*/ 9 h 133"/>
                  <a:gd name="T56" fmla="*/ 73 w 116"/>
                  <a:gd name="T57" fmla="*/ 11 h 133"/>
                  <a:gd name="T58" fmla="*/ 63 w 116"/>
                  <a:gd name="T59" fmla="*/ 9 h 133"/>
                  <a:gd name="T60" fmla="*/ 55 w 116"/>
                  <a:gd name="T61" fmla="*/ 4 h 133"/>
                  <a:gd name="T62" fmla="*/ 12 w 116"/>
                  <a:gd name="T63" fmla="*/ 0 h 133"/>
                  <a:gd name="T64" fmla="*/ 1 w 116"/>
                  <a:gd name="T65" fmla="*/ 2 h 133"/>
                  <a:gd name="T66" fmla="*/ 24 w 116"/>
                  <a:gd name="T67" fmla="*/ 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6" h="133">
                    <a:moveTo>
                      <a:pt x="1" y="2"/>
                    </a:moveTo>
                    <a:cubicBezTo>
                      <a:pt x="1" y="4"/>
                      <a:pt x="2" y="5"/>
                      <a:pt x="2" y="5"/>
                    </a:cubicBezTo>
                    <a:cubicBezTo>
                      <a:pt x="1" y="6"/>
                      <a:pt x="0" y="9"/>
                      <a:pt x="0" y="13"/>
                    </a:cubicBezTo>
                    <a:cubicBezTo>
                      <a:pt x="1" y="15"/>
                      <a:pt x="1" y="15"/>
                      <a:pt x="1" y="15"/>
                    </a:cubicBezTo>
                    <a:cubicBezTo>
                      <a:pt x="1" y="16"/>
                      <a:pt x="4" y="16"/>
                      <a:pt x="4" y="17"/>
                    </a:cubicBezTo>
                    <a:cubicBezTo>
                      <a:pt x="6" y="18"/>
                      <a:pt x="7" y="22"/>
                      <a:pt x="8" y="23"/>
                    </a:cubicBezTo>
                    <a:cubicBezTo>
                      <a:pt x="9" y="24"/>
                      <a:pt x="11" y="24"/>
                      <a:pt x="11" y="25"/>
                    </a:cubicBezTo>
                    <a:cubicBezTo>
                      <a:pt x="11" y="26"/>
                      <a:pt x="10" y="29"/>
                      <a:pt x="10" y="30"/>
                    </a:cubicBezTo>
                    <a:cubicBezTo>
                      <a:pt x="10" y="31"/>
                      <a:pt x="12" y="33"/>
                      <a:pt x="12" y="35"/>
                    </a:cubicBezTo>
                    <a:cubicBezTo>
                      <a:pt x="12" y="36"/>
                      <a:pt x="12" y="37"/>
                      <a:pt x="12" y="39"/>
                    </a:cubicBezTo>
                    <a:cubicBezTo>
                      <a:pt x="16" y="45"/>
                      <a:pt x="16" y="45"/>
                      <a:pt x="16" y="45"/>
                    </a:cubicBezTo>
                    <a:cubicBezTo>
                      <a:pt x="16" y="45"/>
                      <a:pt x="18" y="45"/>
                      <a:pt x="18" y="45"/>
                    </a:cubicBezTo>
                    <a:cubicBezTo>
                      <a:pt x="20" y="48"/>
                      <a:pt x="18" y="51"/>
                      <a:pt x="19" y="53"/>
                    </a:cubicBezTo>
                    <a:cubicBezTo>
                      <a:pt x="20" y="53"/>
                      <a:pt x="20" y="53"/>
                      <a:pt x="20" y="53"/>
                    </a:cubicBezTo>
                    <a:cubicBezTo>
                      <a:pt x="20" y="53"/>
                      <a:pt x="21" y="55"/>
                      <a:pt x="21" y="56"/>
                    </a:cubicBezTo>
                    <a:cubicBezTo>
                      <a:pt x="21" y="56"/>
                      <a:pt x="23" y="57"/>
                      <a:pt x="24" y="58"/>
                    </a:cubicBezTo>
                    <a:cubicBezTo>
                      <a:pt x="24" y="58"/>
                      <a:pt x="23" y="60"/>
                      <a:pt x="24" y="60"/>
                    </a:cubicBezTo>
                    <a:cubicBezTo>
                      <a:pt x="24" y="60"/>
                      <a:pt x="24" y="60"/>
                      <a:pt x="24" y="60"/>
                    </a:cubicBezTo>
                    <a:cubicBezTo>
                      <a:pt x="24" y="61"/>
                      <a:pt x="24" y="61"/>
                      <a:pt x="25" y="62"/>
                    </a:cubicBezTo>
                    <a:cubicBezTo>
                      <a:pt x="25" y="62"/>
                      <a:pt x="23" y="64"/>
                      <a:pt x="23" y="64"/>
                    </a:cubicBezTo>
                    <a:cubicBezTo>
                      <a:pt x="23" y="64"/>
                      <a:pt x="24" y="66"/>
                      <a:pt x="24" y="66"/>
                    </a:cubicBezTo>
                    <a:cubicBezTo>
                      <a:pt x="24" y="66"/>
                      <a:pt x="23" y="69"/>
                      <a:pt x="24" y="70"/>
                    </a:cubicBezTo>
                    <a:cubicBezTo>
                      <a:pt x="24" y="71"/>
                      <a:pt x="25" y="71"/>
                      <a:pt x="25" y="72"/>
                    </a:cubicBezTo>
                    <a:cubicBezTo>
                      <a:pt x="24" y="72"/>
                      <a:pt x="24" y="72"/>
                      <a:pt x="24" y="72"/>
                    </a:cubicBezTo>
                    <a:cubicBezTo>
                      <a:pt x="24" y="73"/>
                      <a:pt x="25" y="78"/>
                      <a:pt x="25" y="78"/>
                    </a:cubicBezTo>
                    <a:cubicBezTo>
                      <a:pt x="24" y="79"/>
                      <a:pt x="24" y="80"/>
                      <a:pt x="24" y="82"/>
                    </a:cubicBezTo>
                    <a:cubicBezTo>
                      <a:pt x="25" y="84"/>
                      <a:pt x="27" y="86"/>
                      <a:pt x="28" y="88"/>
                    </a:cubicBezTo>
                    <a:cubicBezTo>
                      <a:pt x="28" y="90"/>
                      <a:pt x="27" y="93"/>
                      <a:pt x="28" y="96"/>
                    </a:cubicBezTo>
                    <a:cubicBezTo>
                      <a:pt x="27" y="96"/>
                      <a:pt x="26" y="96"/>
                      <a:pt x="26" y="96"/>
                    </a:cubicBezTo>
                    <a:cubicBezTo>
                      <a:pt x="26" y="98"/>
                      <a:pt x="28" y="99"/>
                      <a:pt x="28" y="100"/>
                    </a:cubicBezTo>
                    <a:cubicBezTo>
                      <a:pt x="27" y="101"/>
                      <a:pt x="27" y="106"/>
                      <a:pt x="28" y="109"/>
                    </a:cubicBezTo>
                    <a:cubicBezTo>
                      <a:pt x="28" y="109"/>
                      <a:pt x="29" y="109"/>
                      <a:pt x="29" y="110"/>
                    </a:cubicBezTo>
                    <a:cubicBezTo>
                      <a:pt x="30" y="112"/>
                      <a:pt x="30" y="113"/>
                      <a:pt x="30" y="116"/>
                    </a:cubicBezTo>
                    <a:cubicBezTo>
                      <a:pt x="31" y="117"/>
                      <a:pt x="34" y="124"/>
                      <a:pt x="35" y="124"/>
                    </a:cubicBezTo>
                    <a:cubicBezTo>
                      <a:pt x="36" y="125"/>
                      <a:pt x="38" y="124"/>
                      <a:pt x="39" y="124"/>
                    </a:cubicBezTo>
                    <a:cubicBezTo>
                      <a:pt x="40" y="125"/>
                      <a:pt x="39" y="127"/>
                      <a:pt x="39" y="128"/>
                    </a:cubicBezTo>
                    <a:cubicBezTo>
                      <a:pt x="40" y="129"/>
                      <a:pt x="40" y="129"/>
                      <a:pt x="41" y="130"/>
                    </a:cubicBezTo>
                    <a:cubicBezTo>
                      <a:pt x="41" y="130"/>
                      <a:pt x="44" y="128"/>
                      <a:pt x="45" y="127"/>
                    </a:cubicBezTo>
                    <a:cubicBezTo>
                      <a:pt x="45" y="125"/>
                      <a:pt x="46" y="125"/>
                      <a:pt x="48" y="125"/>
                    </a:cubicBezTo>
                    <a:cubicBezTo>
                      <a:pt x="50" y="125"/>
                      <a:pt x="48" y="127"/>
                      <a:pt x="49" y="129"/>
                    </a:cubicBezTo>
                    <a:cubicBezTo>
                      <a:pt x="50" y="131"/>
                      <a:pt x="50" y="131"/>
                      <a:pt x="53" y="131"/>
                    </a:cubicBezTo>
                    <a:cubicBezTo>
                      <a:pt x="56" y="131"/>
                      <a:pt x="56" y="133"/>
                      <a:pt x="58" y="131"/>
                    </a:cubicBezTo>
                    <a:cubicBezTo>
                      <a:pt x="60" y="130"/>
                      <a:pt x="61" y="130"/>
                      <a:pt x="62" y="128"/>
                    </a:cubicBezTo>
                    <a:cubicBezTo>
                      <a:pt x="63" y="126"/>
                      <a:pt x="67" y="126"/>
                      <a:pt x="67" y="126"/>
                    </a:cubicBezTo>
                    <a:cubicBezTo>
                      <a:pt x="68" y="93"/>
                      <a:pt x="68" y="93"/>
                      <a:pt x="68" y="93"/>
                    </a:cubicBezTo>
                    <a:cubicBezTo>
                      <a:pt x="68" y="53"/>
                      <a:pt x="68" y="53"/>
                      <a:pt x="68" y="53"/>
                    </a:cubicBezTo>
                    <a:cubicBezTo>
                      <a:pt x="78" y="53"/>
                      <a:pt x="78" y="53"/>
                      <a:pt x="78" y="53"/>
                    </a:cubicBezTo>
                    <a:cubicBezTo>
                      <a:pt x="78" y="17"/>
                      <a:pt x="78" y="17"/>
                      <a:pt x="78" y="17"/>
                    </a:cubicBezTo>
                    <a:cubicBezTo>
                      <a:pt x="85" y="17"/>
                      <a:pt x="85" y="17"/>
                      <a:pt x="85" y="17"/>
                    </a:cubicBezTo>
                    <a:cubicBezTo>
                      <a:pt x="104" y="15"/>
                      <a:pt x="104" y="15"/>
                      <a:pt x="104" y="15"/>
                    </a:cubicBezTo>
                    <a:cubicBezTo>
                      <a:pt x="104" y="15"/>
                      <a:pt x="107" y="17"/>
                      <a:pt x="107" y="14"/>
                    </a:cubicBezTo>
                    <a:cubicBezTo>
                      <a:pt x="107" y="11"/>
                      <a:pt x="112" y="16"/>
                      <a:pt x="112" y="13"/>
                    </a:cubicBezTo>
                    <a:cubicBezTo>
                      <a:pt x="112" y="10"/>
                      <a:pt x="116" y="11"/>
                      <a:pt x="116" y="11"/>
                    </a:cubicBezTo>
                    <a:cubicBezTo>
                      <a:pt x="116" y="11"/>
                      <a:pt x="114" y="11"/>
                      <a:pt x="113" y="9"/>
                    </a:cubicBezTo>
                    <a:cubicBezTo>
                      <a:pt x="112" y="7"/>
                      <a:pt x="110" y="8"/>
                      <a:pt x="110" y="8"/>
                    </a:cubicBezTo>
                    <a:cubicBezTo>
                      <a:pt x="98" y="9"/>
                      <a:pt x="98" y="9"/>
                      <a:pt x="98" y="9"/>
                    </a:cubicBezTo>
                    <a:cubicBezTo>
                      <a:pt x="80" y="12"/>
                      <a:pt x="80" y="12"/>
                      <a:pt x="80" y="12"/>
                    </a:cubicBezTo>
                    <a:cubicBezTo>
                      <a:pt x="80" y="12"/>
                      <a:pt x="75" y="10"/>
                      <a:pt x="73" y="11"/>
                    </a:cubicBezTo>
                    <a:cubicBezTo>
                      <a:pt x="71" y="11"/>
                      <a:pt x="72" y="9"/>
                      <a:pt x="70" y="11"/>
                    </a:cubicBezTo>
                    <a:cubicBezTo>
                      <a:pt x="67" y="12"/>
                      <a:pt x="66" y="8"/>
                      <a:pt x="63" y="9"/>
                    </a:cubicBezTo>
                    <a:cubicBezTo>
                      <a:pt x="60" y="10"/>
                      <a:pt x="61" y="7"/>
                      <a:pt x="59" y="7"/>
                    </a:cubicBezTo>
                    <a:cubicBezTo>
                      <a:pt x="57" y="7"/>
                      <a:pt x="55" y="4"/>
                      <a:pt x="55" y="4"/>
                    </a:cubicBezTo>
                    <a:cubicBezTo>
                      <a:pt x="17" y="3"/>
                      <a:pt x="17" y="3"/>
                      <a:pt x="17" y="3"/>
                    </a:cubicBezTo>
                    <a:cubicBezTo>
                      <a:pt x="17" y="3"/>
                      <a:pt x="14" y="0"/>
                      <a:pt x="12" y="0"/>
                    </a:cubicBezTo>
                    <a:cubicBezTo>
                      <a:pt x="10" y="0"/>
                      <a:pt x="10" y="4"/>
                      <a:pt x="7" y="3"/>
                    </a:cubicBezTo>
                    <a:cubicBezTo>
                      <a:pt x="4" y="2"/>
                      <a:pt x="1" y="2"/>
                      <a:pt x="1" y="2"/>
                    </a:cubicBezTo>
                    <a:close/>
                    <a:moveTo>
                      <a:pt x="25" y="31"/>
                    </a:moveTo>
                    <a:cubicBezTo>
                      <a:pt x="27" y="31"/>
                      <a:pt x="25" y="32"/>
                      <a:pt x="24" y="33"/>
                    </a:cubicBezTo>
                    <a:cubicBezTo>
                      <a:pt x="25" y="32"/>
                      <a:pt x="24" y="30"/>
                      <a:pt x="25" y="3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55" name="Freeform 134">
                <a:extLst>
                  <a:ext uri="{FF2B5EF4-FFF2-40B4-BE49-F238E27FC236}">
                    <a16:creationId xmlns:a16="http://schemas.microsoft.com/office/drawing/2014/main" id="{E75C32CE-734F-B4A7-184F-866D2F362899}"/>
                  </a:ext>
                </a:extLst>
              </p:cNvPr>
              <p:cNvSpPr>
                <a:spLocks/>
              </p:cNvSpPr>
              <p:nvPr/>
            </p:nvSpPr>
            <p:spPr bwMode="auto">
              <a:xfrm>
                <a:off x="3910" y="1371"/>
                <a:ext cx="15" cy="18"/>
              </a:xfrm>
              <a:custGeom>
                <a:avLst/>
                <a:gdLst>
                  <a:gd name="T0" fmla="*/ 6 w 8"/>
                  <a:gd name="T1" fmla="*/ 9 h 9"/>
                  <a:gd name="T2" fmla="*/ 0 w 8"/>
                  <a:gd name="T3" fmla="*/ 1 h 9"/>
                  <a:gd name="T4" fmla="*/ 4 w 8"/>
                  <a:gd name="T5" fmla="*/ 0 h 9"/>
                  <a:gd name="T6" fmla="*/ 5 w 8"/>
                  <a:gd name="T7" fmla="*/ 2 h 9"/>
                  <a:gd name="T8" fmla="*/ 4 w 8"/>
                  <a:gd name="T9" fmla="*/ 2 h 9"/>
                  <a:gd name="T10" fmla="*/ 5 w 8"/>
                  <a:gd name="T11" fmla="*/ 5 h 9"/>
                  <a:gd name="T12" fmla="*/ 8 w 8"/>
                  <a:gd name="T13" fmla="*/ 7 h 9"/>
                  <a:gd name="T14" fmla="*/ 6 w 8"/>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9">
                    <a:moveTo>
                      <a:pt x="6" y="9"/>
                    </a:moveTo>
                    <a:cubicBezTo>
                      <a:pt x="4" y="7"/>
                      <a:pt x="1" y="4"/>
                      <a:pt x="0" y="1"/>
                    </a:cubicBezTo>
                    <a:cubicBezTo>
                      <a:pt x="4" y="0"/>
                      <a:pt x="4" y="0"/>
                      <a:pt x="4" y="0"/>
                    </a:cubicBezTo>
                    <a:cubicBezTo>
                      <a:pt x="5" y="2"/>
                      <a:pt x="5" y="2"/>
                      <a:pt x="5" y="2"/>
                    </a:cubicBezTo>
                    <a:cubicBezTo>
                      <a:pt x="4" y="2"/>
                      <a:pt x="4" y="2"/>
                      <a:pt x="4" y="2"/>
                    </a:cubicBezTo>
                    <a:cubicBezTo>
                      <a:pt x="5" y="5"/>
                      <a:pt x="5" y="5"/>
                      <a:pt x="5" y="5"/>
                    </a:cubicBezTo>
                    <a:cubicBezTo>
                      <a:pt x="7" y="5"/>
                      <a:pt x="8" y="6"/>
                      <a:pt x="8" y="7"/>
                    </a:cubicBezTo>
                    <a:cubicBezTo>
                      <a:pt x="8" y="8"/>
                      <a:pt x="7" y="9"/>
                      <a:pt x="6" y="9"/>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56" name="Freeform 135">
                <a:extLst>
                  <a:ext uri="{FF2B5EF4-FFF2-40B4-BE49-F238E27FC236}">
                    <a16:creationId xmlns:a16="http://schemas.microsoft.com/office/drawing/2014/main" id="{24740764-8722-E0E5-879A-76CF09201291}"/>
                  </a:ext>
                </a:extLst>
              </p:cNvPr>
              <p:cNvSpPr>
                <a:spLocks/>
              </p:cNvSpPr>
              <p:nvPr/>
            </p:nvSpPr>
            <p:spPr bwMode="auto">
              <a:xfrm>
                <a:off x="3625" y="2484"/>
                <a:ext cx="183" cy="336"/>
              </a:xfrm>
              <a:custGeom>
                <a:avLst/>
                <a:gdLst>
                  <a:gd name="T0" fmla="*/ 42 w 93"/>
                  <a:gd name="T1" fmla="*/ 30 h 171"/>
                  <a:gd name="T2" fmla="*/ 47 w 93"/>
                  <a:gd name="T3" fmla="*/ 40 h 171"/>
                  <a:gd name="T4" fmla="*/ 48 w 93"/>
                  <a:gd name="T5" fmla="*/ 52 h 171"/>
                  <a:gd name="T6" fmla="*/ 43 w 93"/>
                  <a:gd name="T7" fmla="*/ 62 h 171"/>
                  <a:gd name="T8" fmla="*/ 39 w 93"/>
                  <a:gd name="T9" fmla="*/ 62 h 171"/>
                  <a:gd name="T10" fmla="*/ 31 w 93"/>
                  <a:gd name="T11" fmla="*/ 56 h 171"/>
                  <a:gd name="T12" fmla="*/ 33 w 93"/>
                  <a:gd name="T13" fmla="*/ 45 h 171"/>
                  <a:gd name="T14" fmla="*/ 25 w 93"/>
                  <a:gd name="T15" fmla="*/ 43 h 171"/>
                  <a:gd name="T16" fmla="*/ 20 w 93"/>
                  <a:gd name="T17" fmla="*/ 37 h 171"/>
                  <a:gd name="T18" fmla="*/ 3 w 93"/>
                  <a:gd name="T19" fmla="*/ 48 h 171"/>
                  <a:gd name="T20" fmla="*/ 2 w 93"/>
                  <a:gd name="T21" fmla="*/ 55 h 171"/>
                  <a:gd name="T22" fmla="*/ 10 w 93"/>
                  <a:gd name="T23" fmla="*/ 57 h 171"/>
                  <a:gd name="T24" fmla="*/ 21 w 93"/>
                  <a:gd name="T25" fmla="*/ 63 h 171"/>
                  <a:gd name="T26" fmla="*/ 20 w 93"/>
                  <a:gd name="T27" fmla="*/ 72 h 171"/>
                  <a:gd name="T28" fmla="*/ 24 w 93"/>
                  <a:gd name="T29" fmla="*/ 83 h 171"/>
                  <a:gd name="T30" fmla="*/ 20 w 93"/>
                  <a:gd name="T31" fmla="*/ 90 h 171"/>
                  <a:gd name="T32" fmla="*/ 20 w 93"/>
                  <a:gd name="T33" fmla="*/ 99 h 171"/>
                  <a:gd name="T34" fmla="*/ 20 w 93"/>
                  <a:gd name="T35" fmla="*/ 109 h 171"/>
                  <a:gd name="T36" fmla="*/ 18 w 93"/>
                  <a:gd name="T37" fmla="*/ 117 h 171"/>
                  <a:gd name="T38" fmla="*/ 11 w 93"/>
                  <a:gd name="T39" fmla="*/ 134 h 171"/>
                  <a:gd name="T40" fmla="*/ 11 w 93"/>
                  <a:gd name="T41" fmla="*/ 153 h 171"/>
                  <a:gd name="T42" fmla="*/ 12 w 93"/>
                  <a:gd name="T43" fmla="*/ 161 h 171"/>
                  <a:gd name="T44" fmla="*/ 15 w 93"/>
                  <a:gd name="T45" fmla="*/ 171 h 171"/>
                  <a:gd name="T46" fmla="*/ 22 w 93"/>
                  <a:gd name="T47" fmla="*/ 167 h 171"/>
                  <a:gd name="T48" fmla="*/ 19 w 93"/>
                  <a:gd name="T49" fmla="*/ 163 h 171"/>
                  <a:gd name="T50" fmla="*/ 45 w 93"/>
                  <a:gd name="T51" fmla="*/ 147 h 171"/>
                  <a:gd name="T52" fmla="*/ 44 w 93"/>
                  <a:gd name="T53" fmla="*/ 126 h 171"/>
                  <a:gd name="T54" fmla="*/ 41 w 93"/>
                  <a:gd name="T55" fmla="*/ 109 h 171"/>
                  <a:gd name="T56" fmla="*/ 37 w 93"/>
                  <a:gd name="T57" fmla="*/ 96 h 171"/>
                  <a:gd name="T58" fmla="*/ 45 w 93"/>
                  <a:gd name="T59" fmla="*/ 89 h 171"/>
                  <a:gd name="T60" fmla="*/ 50 w 93"/>
                  <a:gd name="T61" fmla="*/ 78 h 171"/>
                  <a:gd name="T62" fmla="*/ 58 w 93"/>
                  <a:gd name="T63" fmla="*/ 77 h 171"/>
                  <a:gd name="T64" fmla="*/ 62 w 93"/>
                  <a:gd name="T65" fmla="*/ 76 h 171"/>
                  <a:gd name="T66" fmla="*/ 68 w 93"/>
                  <a:gd name="T67" fmla="*/ 72 h 171"/>
                  <a:gd name="T68" fmla="*/ 80 w 93"/>
                  <a:gd name="T69" fmla="*/ 64 h 171"/>
                  <a:gd name="T70" fmla="*/ 85 w 93"/>
                  <a:gd name="T71" fmla="*/ 58 h 171"/>
                  <a:gd name="T72" fmla="*/ 89 w 93"/>
                  <a:gd name="T73" fmla="*/ 50 h 171"/>
                  <a:gd name="T74" fmla="*/ 91 w 93"/>
                  <a:gd name="T75" fmla="*/ 47 h 171"/>
                  <a:gd name="T76" fmla="*/ 89 w 93"/>
                  <a:gd name="T77" fmla="*/ 42 h 171"/>
                  <a:gd name="T78" fmla="*/ 92 w 93"/>
                  <a:gd name="T79" fmla="*/ 29 h 171"/>
                  <a:gd name="T80" fmla="*/ 88 w 93"/>
                  <a:gd name="T81" fmla="*/ 4 h 171"/>
                  <a:gd name="T82" fmla="*/ 81 w 93"/>
                  <a:gd name="T83" fmla="*/ 4 h 171"/>
                  <a:gd name="T84" fmla="*/ 70 w 93"/>
                  <a:gd name="T85" fmla="*/ 9 h 171"/>
                  <a:gd name="T86" fmla="*/ 63 w 93"/>
                  <a:gd name="T87" fmla="*/ 11 h 171"/>
                  <a:gd name="T88" fmla="*/ 50 w 93"/>
                  <a:gd name="T89" fmla="*/ 13 h 171"/>
                  <a:gd name="T90" fmla="*/ 43 w 93"/>
                  <a:gd name="T91" fmla="*/ 11 h 171"/>
                  <a:gd name="T92" fmla="*/ 38 w 93"/>
                  <a:gd name="T93" fmla="*/ 17 h 171"/>
                  <a:gd name="T94" fmla="*/ 39 w 93"/>
                  <a:gd name="T95" fmla="*/ 2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3" h="171">
                    <a:moveTo>
                      <a:pt x="40" y="29"/>
                    </a:moveTo>
                    <a:cubicBezTo>
                      <a:pt x="41" y="29"/>
                      <a:pt x="41" y="29"/>
                      <a:pt x="42" y="30"/>
                    </a:cubicBezTo>
                    <a:cubicBezTo>
                      <a:pt x="43" y="32"/>
                      <a:pt x="44" y="33"/>
                      <a:pt x="44" y="36"/>
                    </a:cubicBezTo>
                    <a:cubicBezTo>
                      <a:pt x="45" y="39"/>
                      <a:pt x="46" y="39"/>
                      <a:pt x="47" y="40"/>
                    </a:cubicBezTo>
                    <a:cubicBezTo>
                      <a:pt x="49" y="41"/>
                      <a:pt x="48" y="43"/>
                      <a:pt x="47" y="47"/>
                    </a:cubicBezTo>
                    <a:cubicBezTo>
                      <a:pt x="46" y="50"/>
                      <a:pt x="48" y="49"/>
                      <a:pt x="48" y="52"/>
                    </a:cubicBezTo>
                    <a:cubicBezTo>
                      <a:pt x="47" y="55"/>
                      <a:pt x="44" y="54"/>
                      <a:pt x="43" y="54"/>
                    </a:cubicBezTo>
                    <a:cubicBezTo>
                      <a:pt x="41" y="53"/>
                      <a:pt x="42" y="60"/>
                      <a:pt x="43" y="62"/>
                    </a:cubicBezTo>
                    <a:cubicBezTo>
                      <a:pt x="45" y="63"/>
                      <a:pt x="43" y="66"/>
                      <a:pt x="41" y="66"/>
                    </a:cubicBezTo>
                    <a:cubicBezTo>
                      <a:pt x="39" y="67"/>
                      <a:pt x="39" y="62"/>
                      <a:pt x="39" y="62"/>
                    </a:cubicBezTo>
                    <a:cubicBezTo>
                      <a:pt x="39" y="62"/>
                      <a:pt x="39" y="62"/>
                      <a:pt x="37" y="61"/>
                    </a:cubicBezTo>
                    <a:cubicBezTo>
                      <a:pt x="35" y="60"/>
                      <a:pt x="33" y="58"/>
                      <a:pt x="31" y="56"/>
                    </a:cubicBezTo>
                    <a:cubicBezTo>
                      <a:pt x="30" y="55"/>
                      <a:pt x="31" y="53"/>
                      <a:pt x="32" y="52"/>
                    </a:cubicBezTo>
                    <a:cubicBezTo>
                      <a:pt x="33" y="50"/>
                      <a:pt x="33" y="47"/>
                      <a:pt x="33" y="45"/>
                    </a:cubicBezTo>
                    <a:cubicBezTo>
                      <a:pt x="33" y="43"/>
                      <a:pt x="31" y="41"/>
                      <a:pt x="31" y="41"/>
                    </a:cubicBezTo>
                    <a:cubicBezTo>
                      <a:pt x="31" y="41"/>
                      <a:pt x="27" y="43"/>
                      <a:pt x="25" y="43"/>
                    </a:cubicBezTo>
                    <a:cubicBezTo>
                      <a:pt x="24" y="44"/>
                      <a:pt x="25" y="42"/>
                      <a:pt x="24" y="40"/>
                    </a:cubicBezTo>
                    <a:cubicBezTo>
                      <a:pt x="23" y="38"/>
                      <a:pt x="20" y="37"/>
                      <a:pt x="20" y="37"/>
                    </a:cubicBezTo>
                    <a:cubicBezTo>
                      <a:pt x="0" y="43"/>
                      <a:pt x="0" y="43"/>
                      <a:pt x="0" y="43"/>
                    </a:cubicBezTo>
                    <a:cubicBezTo>
                      <a:pt x="0" y="43"/>
                      <a:pt x="4" y="46"/>
                      <a:pt x="3" y="48"/>
                    </a:cubicBezTo>
                    <a:cubicBezTo>
                      <a:pt x="3" y="48"/>
                      <a:pt x="3" y="48"/>
                      <a:pt x="3" y="48"/>
                    </a:cubicBezTo>
                    <a:cubicBezTo>
                      <a:pt x="2" y="55"/>
                      <a:pt x="2" y="55"/>
                      <a:pt x="2" y="55"/>
                    </a:cubicBezTo>
                    <a:cubicBezTo>
                      <a:pt x="2" y="55"/>
                      <a:pt x="4" y="55"/>
                      <a:pt x="6" y="55"/>
                    </a:cubicBezTo>
                    <a:cubicBezTo>
                      <a:pt x="7" y="55"/>
                      <a:pt x="9" y="56"/>
                      <a:pt x="10" y="57"/>
                    </a:cubicBezTo>
                    <a:cubicBezTo>
                      <a:pt x="12" y="58"/>
                      <a:pt x="13" y="60"/>
                      <a:pt x="16" y="60"/>
                    </a:cubicBezTo>
                    <a:cubicBezTo>
                      <a:pt x="18" y="61"/>
                      <a:pt x="19" y="62"/>
                      <a:pt x="21" y="63"/>
                    </a:cubicBezTo>
                    <a:cubicBezTo>
                      <a:pt x="22" y="64"/>
                      <a:pt x="22" y="67"/>
                      <a:pt x="22" y="67"/>
                    </a:cubicBezTo>
                    <a:cubicBezTo>
                      <a:pt x="22" y="67"/>
                      <a:pt x="20" y="69"/>
                      <a:pt x="20" y="72"/>
                    </a:cubicBezTo>
                    <a:cubicBezTo>
                      <a:pt x="21" y="74"/>
                      <a:pt x="20" y="76"/>
                      <a:pt x="21" y="79"/>
                    </a:cubicBezTo>
                    <a:cubicBezTo>
                      <a:pt x="22" y="81"/>
                      <a:pt x="24" y="83"/>
                      <a:pt x="24" y="83"/>
                    </a:cubicBezTo>
                    <a:cubicBezTo>
                      <a:pt x="24" y="83"/>
                      <a:pt x="22" y="85"/>
                      <a:pt x="21" y="86"/>
                    </a:cubicBezTo>
                    <a:cubicBezTo>
                      <a:pt x="20" y="88"/>
                      <a:pt x="18" y="89"/>
                      <a:pt x="20" y="90"/>
                    </a:cubicBezTo>
                    <a:cubicBezTo>
                      <a:pt x="21" y="92"/>
                      <a:pt x="22" y="92"/>
                      <a:pt x="21" y="94"/>
                    </a:cubicBezTo>
                    <a:cubicBezTo>
                      <a:pt x="19" y="97"/>
                      <a:pt x="21" y="96"/>
                      <a:pt x="20" y="99"/>
                    </a:cubicBezTo>
                    <a:cubicBezTo>
                      <a:pt x="19" y="102"/>
                      <a:pt x="22" y="104"/>
                      <a:pt x="21" y="106"/>
                    </a:cubicBezTo>
                    <a:cubicBezTo>
                      <a:pt x="20" y="111"/>
                      <a:pt x="20" y="107"/>
                      <a:pt x="20" y="109"/>
                    </a:cubicBezTo>
                    <a:cubicBezTo>
                      <a:pt x="20" y="111"/>
                      <a:pt x="24" y="109"/>
                      <a:pt x="22" y="111"/>
                    </a:cubicBezTo>
                    <a:cubicBezTo>
                      <a:pt x="21" y="113"/>
                      <a:pt x="18" y="117"/>
                      <a:pt x="18" y="117"/>
                    </a:cubicBezTo>
                    <a:cubicBezTo>
                      <a:pt x="12" y="125"/>
                      <a:pt x="12" y="125"/>
                      <a:pt x="12" y="125"/>
                    </a:cubicBezTo>
                    <a:cubicBezTo>
                      <a:pt x="12" y="125"/>
                      <a:pt x="13" y="132"/>
                      <a:pt x="11" y="134"/>
                    </a:cubicBezTo>
                    <a:cubicBezTo>
                      <a:pt x="10" y="137"/>
                      <a:pt x="11" y="140"/>
                      <a:pt x="12" y="144"/>
                    </a:cubicBezTo>
                    <a:cubicBezTo>
                      <a:pt x="13" y="148"/>
                      <a:pt x="12" y="151"/>
                      <a:pt x="11" y="153"/>
                    </a:cubicBezTo>
                    <a:cubicBezTo>
                      <a:pt x="11" y="155"/>
                      <a:pt x="10" y="156"/>
                      <a:pt x="11" y="158"/>
                    </a:cubicBezTo>
                    <a:cubicBezTo>
                      <a:pt x="12" y="160"/>
                      <a:pt x="12" y="161"/>
                      <a:pt x="12" y="161"/>
                    </a:cubicBezTo>
                    <a:cubicBezTo>
                      <a:pt x="12" y="161"/>
                      <a:pt x="16" y="163"/>
                      <a:pt x="16" y="165"/>
                    </a:cubicBezTo>
                    <a:cubicBezTo>
                      <a:pt x="16" y="167"/>
                      <a:pt x="15" y="171"/>
                      <a:pt x="15" y="171"/>
                    </a:cubicBezTo>
                    <a:cubicBezTo>
                      <a:pt x="21" y="171"/>
                      <a:pt x="21" y="171"/>
                      <a:pt x="21" y="171"/>
                    </a:cubicBezTo>
                    <a:cubicBezTo>
                      <a:pt x="21" y="170"/>
                      <a:pt x="22" y="169"/>
                      <a:pt x="22" y="167"/>
                    </a:cubicBezTo>
                    <a:cubicBezTo>
                      <a:pt x="21" y="167"/>
                      <a:pt x="19" y="167"/>
                      <a:pt x="19" y="165"/>
                    </a:cubicBezTo>
                    <a:cubicBezTo>
                      <a:pt x="18" y="165"/>
                      <a:pt x="19" y="164"/>
                      <a:pt x="19" y="163"/>
                    </a:cubicBezTo>
                    <a:cubicBezTo>
                      <a:pt x="25" y="156"/>
                      <a:pt x="38" y="156"/>
                      <a:pt x="44" y="149"/>
                    </a:cubicBezTo>
                    <a:cubicBezTo>
                      <a:pt x="44" y="149"/>
                      <a:pt x="45" y="147"/>
                      <a:pt x="45" y="147"/>
                    </a:cubicBezTo>
                    <a:cubicBezTo>
                      <a:pt x="46" y="145"/>
                      <a:pt x="44" y="144"/>
                      <a:pt x="44" y="143"/>
                    </a:cubicBezTo>
                    <a:cubicBezTo>
                      <a:pt x="43" y="139"/>
                      <a:pt x="45" y="130"/>
                      <a:pt x="44" y="126"/>
                    </a:cubicBezTo>
                    <a:cubicBezTo>
                      <a:pt x="44" y="125"/>
                      <a:pt x="41" y="120"/>
                      <a:pt x="41" y="118"/>
                    </a:cubicBezTo>
                    <a:cubicBezTo>
                      <a:pt x="40" y="115"/>
                      <a:pt x="41" y="110"/>
                      <a:pt x="41" y="109"/>
                    </a:cubicBezTo>
                    <a:cubicBezTo>
                      <a:pt x="40" y="108"/>
                      <a:pt x="38" y="108"/>
                      <a:pt x="38" y="108"/>
                    </a:cubicBezTo>
                    <a:cubicBezTo>
                      <a:pt x="37" y="106"/>
                      <a:pt x="37" y="98"/>
                      <a:pt x="37" y="96"/>
                    </a:cubicBezTo>
                    <a:cubicBezTo>
                      <a:pt x="37" y="96"/>
                      <a:pt x="41" y="95"/>
                      <a:pt x="42" y="94"/>
                    </a:cubicBezTo>
                    <a:cubicBezTo>
                      <a:pt x="44" y="93"/>
                      <a:pt x="43" y="90"/>
                      <a:pt x="45" y="89"/>
                    </a:cubicBezTo>
                    <a:cubicBezTo>
                      <a:pt x="45" y="88"/>
                      <a:pt x="47" y="88"/>
                      <a:pt x="48" y="88"/>
                    </a:cubicBezTo>
                    <a:cubicBezTo>
                      <a:pt x="50" y="86"/>
                      <a:pt x="50" y="80"/>
                      <a:pt x="50" y="78"/>
                    </a:cubicBezTo>
                    <a:cubicBezTo>
                      <a:pt x="53" y="78"/>
                      <a:pt x="55" y="78"/>
                      <a:pt x="57" y="78"/>
                    </a:cubicBezTo>
                    <a:cubicBezTo>
                      <a:pt x="57" y="78"/>
                      <a:pt x="58" y="77"/>
                      <a:pt x="58" y="77"/>
                    </a:cubicBezTo>
                    <a:cubicBezTo>
                      <a:pt x="59" y="77"/>
                      <a:pt x="61" y="77"/>
                      <a:pt x="62" y="77"/>
                    </a:cubicBezTo>
                    <a:cubicBezTo>
                      <a:pt x="62" y="76"/>
                      <a:pt x="62" y="76"/>
                      <a:pt x="62" y="76"/>
                    </a:cubicBezTo>
                    <a:cubicBezTo>
                      <a:pt x="63" y="75"/>
                      <a:pt x="65" y="75"/>
                      <a:pt x="66" y="74"/>
                    </a:cubicBezTo>
                    <a:cubicBezTo>
                      <a:pt x="66" y="74"/>
                      <a:pt x="67" y="72"/>
                      <a:pt x="68" y="72"/>
                    </a:cubicBezTo>
                    <a:cubicBezTo>
                      <a:pt x="70" y="70"/>
                      <a:pt x="73" y="71"/>
                      <a:pt x="76" y="70"/>
                    </a:cubicBezTo>
                    <a:cubicBezTo>
                      <a:pt x="78" y="69"/>
                      <a:pt x="78" y="66"/>
                      <a:pt x="80" y="64"/>
                    </a:cubicBezTo>
                    <a:cubicBezTo>
                      <a:pt x="81" y="63"/>
                      <a:pt x="83" y="64"/>
                      <a:pt x="84" y="62"/>
                    </a:cubicBezTo>
                    <a:cubicBezTo>
                      <a:pt x="85" y="61"/>
                      <a:pt x="84" y="60"/>
                      <a:pt x="85" y="58"/>
                    </a:cubicBezTo>
                    <a:cubicBezTo>
                      <a:pt x="85" y="57"/>
                      <a:pt x="87" y="57"/>
                      <a:pt x="88" y="56"/>
                    </a:cubicBezTo>
                    <a:cubicBezTo>
                      <a:pt x="89" y="54"/>
                      <a:pt x="88" y="53"/>
                      <a:pt x="89" y="50"/>
                    </a:cubicBezTo>
                    <a:cubicBezTo>
                      <a:pt x="89" y="50"/>
                      <a:pt x="91" y="50"/>
                      <a:pt x="91" y="49"/>
                    </a:cubicBezTo>
                    <a:cubicBezTo>
                      <a:pt x="91" y="48"/>
                      <a:pt x="92" y="48"/>
                      <a:pt x="91" y="47"/>
                    </a:cubicBezTo>
                    <a:cubicBezTo>
                      <a:pt x="90" y="47"/>
                      <a:pt x="90" y="47"/>
                      <a:pt x="90" y="47"/>
                    </a:cubicBezTo>
                    <a:cubicBezTo>
                      <a:pt x="90" y="47"/>
                      <a:pt x="88" y="42"/>
                      <a:pt x="89" y="42"/>
                    </a:cubicBezTo>
                    <a:cubicBezTo>
                      <a:pt x="90" y="43"/>
                      <a:pt x="90" y="31"/>
                      <a:pt x="91" y="30"/>
                    </a:cubicBezTo>
                    <a:cubicBezTo>
                      <a:pt x="91" y="30"/>
                      <a:pt x="93" y="29"/>
                      <a:pt x="92" y="29"/>
                    </a:cubicBezTo>
                    <a:cubicBezTo>
                      <a:pt x="90" y="29"/>
                      <a:pt x="91" y="21"/>
                      <a:pt x="91" y="21"/>
                    </a:cubicBezTo>
                    <a:cubicBezTo>
                      <a:pt x="90" y="16"/>
                      <a:pt x="90" y="6"/>
                      <a:pt x="88" y="4"/>
                    </a:cubicBezTo>
                    <a:cubicBezTo>
                      <a:pt x="87" y="4"/>
                      <a:pt x="88" y="2"/>
                      <a:pt x="89" y="0"/>
                    </a:cubicBezTo>
                    <a:cubicBezTo>
                      <a:pt x="89" y="0"/>
                      <a:pt x="83" y="3"/>
                      <a:pt x="81" y="4"/>
                    </a:cubicBezTo>
                    <a:cubicBezTo>
                      <a:pt x="79" y="5"/>
                      <a:pt x="77" y="5"/>
                      <a:pt x="74" y="6"/>
                    </a:cubicBezTo>
                    <a:cubicBezTo>
                      <a:pt x="72" y="6"/>
                      <a:pt x="72" y="8"/>
                      <a:pt x="70" y="9"/>
                    </a:cubicBezTo>
                    <a:cubicBezTo>
                      <a:pt x="68" y="9"/>
                      <a:pt x="68" y="10"/>
                      <a:pt x="67" y="9"/>
                    </a:cubicBezTo>
                    <a:cubicBezTo>
                      <a:pt x="65" y="8"/>
                      <a:pt x="65" y="10"/>
                      <a:pt x="63" y="11"/>
                    </a:cubicBezTo>
                    <a:cubicBezTo>
                      <a:pt x="61" y="12"/>
                      <a:pt x="59" y="12"/>
                      <a:pt x="57" y="12"/>
                    </a:cubicBezTo>
                    <a:cubicBezTo>
                      <a:pt x="54" y="12"/>
                      <a:pt x="53" y="13"/>
                      <a:pt x="50" y="13"/>
                    </a:cubicBezTo>
                    <a:cubicBezTo>
                      <a:pt x="48" y="14"/>
                      <a:pt x="48" y="10"/>
                      <a:pt x="46" y="10"/>
                    </a:cubicBezTo>
                    <a:cubicBezTo>
                      <a:pt x="44" y="9"/>
                      <a:pt x="45" y="9"/>
                      <a:pt x="43" y="11"/>
                    </a:cubicBezTo>
                    <a:cubicBezTo>
                      <a:pt x="41" y="11"/>
                      <a:pt x="40" y="12"/>
                      <a:pt x="39" y="12"/>
                    </a:cubicBezTo>
                    <a:cubicBezTo>
                      <a:pt x="38" y="13"/>
                      <a:pt x="38" y="15"/>
                      <a:pt x="38" y="17"/>
                    </a:cubicBezTo>
                    <a:cubicBezTo>
                      <a:pt x="38" y="17"/>
                      <a:pt x="40" y="19"/>
                      <a:pt x="40" y="19"/>
                    </a:cubicBezTo>
                    <a:cubicBezTo>
                      <a:pt x="41" y="21"/>
                      <a:pt x="39" y="23"/>
                      <a:pt x="39" y="24"/>
                    </a:cubicBezTo>
                    <a:cubicBezTo>
                      <a:pt x="39" y="25"/>
                      <a:pt x="40" y="27"/>
                      <a:pt x="40" y="29"/>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57" name="Freeform 136">
                <a:extLst>
                  <a:ext uri="{FF2B5EF4-FFF2-40B4-BE49-F238E27FC236}">
                    <a16:creationId xmlns:a16="http://schemas.microsoft.com/office/drawing/2014/main" id="{46D1865B-B441-6C92-DDC3-A633C13EB80F}"/>
                  </a:ext>
                </a:extLst>
              </p:cNvPr>
              <p:cNvSpPr>
                <a:spLocks/>
              </p:cNvSpPr>
              <p:nvPr/>
            </p:nvSpPr>
            <p:spPr bwMode="auto">
              <a:xfrm>
                <a:off x="3625" y="2484"/>
                <a:ext cx="183" cy="336"/>
              </a:xfrm>
              <a:custGeom>
                <a:avLst/>
                <a:gdLst>
                  <a:gd name="T0" fmla="*/ 42 w 93"/>
                  <a:gd name="T1" fmla="*/ 30 h 171"/>
                  <a:gd name="T2" fmla="*/ 47 w 93"/>
                  <a:gd name="T3" fmla="*/ 40 h 171"/>
                  <a:gd name="T4" fmla="*/ 48 w 93"/>
                  <a:gd name="T5" fmla="*/ 52 h 171"/>
                  <a:gd name="T6" fmla="*/ 43 w 93"/>
                  <a:gd name="T7" fmla="*/ 62 h 171"/>
                  <a:gd name="T8" fmla="*/ 39 w 93"/>
                  <a:gd name="T9" fmla="*/ 62 h 171"/>
                  <a:gd name="T10" fmla="*/ 31 w 93"/>
                  <a:gd name="T11" fmla="*/ 56 h 171"/>
                  <a:gd name="T12" fmla="*/ 33 w 93"/>
                  <a:gd name="T13" fmla="*/ 45 h 171"/>
                  <a:gd name="T14" fmla="*/ 25 w 93"/>
                  <a:gd name="T15" fmla="*/ 43 h 171"/>
                  <a:gd name="T16" fmla="*/ 20 w 93"/>
                  <a:gd name="T17" fmla="*/ 37 h 171"/>
                  <a:gd name="T18" fmla="*/ 3 w 93"/>
                  <a:gd name="T19" fmla="*/ 48 h 171"/>
                  <a:gd name="T20" fmla="*/ 2 w 93"/>
                  <a:gd name="T21" fmla="*/ 55 h 171"/>
                  <a:gd name="T22" fmla="*/ 10 w 93"/>
                  <a:gd name="T23" fmla="*/ 57 h 171"/>
                  <a:gd name="T24" fmla="*/ 21 w 93"/>
                  <a:gd name="T25" fmla="*/ 63 h 171"/>
                  <a:gd name="T26" fmla="*/ 20 w 93"/>
                  <a:gd name="T27" fmla="*/ 72 h 171"/>
                  <a:gd name="T28" fmla="*/ 24 w 93"/>
                  <a:gd name="T29" fmla="*/ 83 h 171"/>
                  <a:gd name="T30" fmla="*/ 20 w 93"/>
                  <a:gd name="T31" fmla="*/ 90 h 171"/>
                  <a:gd name="T32" fmla="*/ 20 w 93"/>
                  <a:gd name="T33" fmla="*/ 99 h 171"/>
                  <a:gd name="T34" fmla="*/ 20 w 93"/>
                  <a:gd name="T35" fmla="*/ 109 h 171"/>
                  <a:gd name="T36" fmla="*/ 18 w 93"/>
                  <a:gd name="T37" fmla="*/ 117 h 171"/>
                  <a:gd name="T38" fmla="*/ 11 w 93"/>
                  <a:gd name="T39" fmla="*/ 134 h 171"/>
                  <a:gd name="T40" fmla="*/ 11 w 93"/>
                  <a:gd name="T41" fmla="*/ 153 h 171"/>
                  <a:gd name="T42" fmla="*/ 12 w 93"/>
                  <a:gd name="T43" fmla="*/ 161 h 171"/>
                  <a:gd name="T44" fmla="*/ 15 w 93"/>
                  <a:gd name="T45" fmla="*/ 171 h 171"/>
                  <a:gd name="T46" fmla="*/ 22 w 93"/>
                  <a:gd name="T47" fmla="*/ 167 h 171"/>
                  <a:gd name="T48" fmla="*/ 19 w 93"/>
                  <a:gd name="T49" fmla="*/ 163 h 171"/>
                  <a:gd name="T50" fmla="*/ 45 w 93"/>
                  <a:gd name="T51" fmla="*/ 147 h 171"/>
                  <a:gd name="T52" fmla="*/ 44 w 93"/>
                  <a:gd name="T53" fmla="*/ 126 h 171"/>
                  <a:gd name="T54" fmla="*/ 41 w 93"/>
                  <a:gd name="T55" fmla="*/ 109 h 171"/>
                  <a:gd name="T56" fmla="*/ 37 w 93"/>
                  <a:gd name="T57" fmla="*/ 96 h 171"/>
                  <a:gd name="T58" fmla="*/ 45 w 93"/>
                  <a:gd name="T59" fmla="*/ 89 h 171"/>
                  <a:gd name="T60" fmla="*/ 50 w 93"/>
                  <a:gd name="T61" fmla="*/ 78 h 171"/>
                  <a:gd name="T62" fmla="*/ 58 w 93"/>
                  <a:gd name="T63" fmla="*/ 77 h 171"/>
                  <a:gd name="T64" fmla="*/ 62 w 93"/>
                  <a:gd name="T65" fmla="*/ 76 h 171"/>
                  <a:gd name="T66" fmla="*/ 68 w 93"/>
                  <a:gd name="T67" fmla="*/ 72 h 171"/>
                  <a:gd name="T68" fmla="*/ 80 w 93"/>
                  <a:gd name="T69" fmla="*/ 64 h 171"/>
                  <a:gd name="T70" fmla="*/ 85 w 93"/>
                  <a:gd name="T71" fmla="*/ 58 h 171"/>
                  <a:gd name="T72" fmla="*/ 89 w 93"/>
                  <a:gd name="T73" fmla="*/ 50 h 171"/>
                  <a:gd name="T74" fmla="*/ 91 w 93"/>
                  <a:gd name="T75" fmla="*/ 47 h 171"/>
                  <a:gd name="T76" fmla="*/ 89 w 93"/>
                  <a:gd name="T77" fmla="*/ 42 h 171"/>
                  <a:gd name="T78" fmla="*/ 92 w 93"/>
                  <a:gd name="T79" fmla="*/ 29 h 171"/>
                  <a:gd name="T80" fmla="*/ 88 w 93"/>
                  <a:gd name="T81" fmla="*/ 4 h 171"/>
                  <a:gd name="T82" fmla="*/ 81 w 93"/>
                  <a:gd name="T83" fmla="*/ 4 h 171"/>
                  <a:gd name="T84" fmla="*/ 70 w 93"/>
                  <a:gd name="T85" fmla="*/ 9 h 171"/>
                  <a:gd name="T86" fmla="*/ 63 w 93"/>
                  <a:gd name="T87" fmla="*/ 11 h 171"/>
                  <a:gd name="T88" fmla="*/ 50 w 93"/>
                  <a:gd name="T89" fmla="*/ 13 h 171"/>
                  <a:gd name="T90" fmla="*/ 43 w 93"/>
                  <a:gd name="T91" fmla="*/ 11 h 171"/>
                  <a:gd name="T92" fmla="*/ 38 w 93"/>
                  <a:gd name="T93" fmla="*/ 17 h 171"/>
                  <a:gd name="T94" fmla="*/ 39 w 93"/>
                  <a:gd name="T95" fmla="*/ 2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3" h="171">
                    <a:moveTo>
                      <a:pt x="40" y="29"/>
                    </a:moveTo>
                    <a:cubicBezTo>
                      <a:pt x="41" y="29"/>
                      <a:pt x="41" y="29"/>
                      <a:pt x="42" y="30"/>
                    </a:cubicBezTo>
                    <a:cubicBezTo>
                      <a:pt x="43" y="32"/>
                      <a:pt x="44" y="33"/>
                      <a:pt x="44" y="36"/>
                    </a:cubicBezTo>
                    <a:cubicBezTo>
                      <a:pt x="45" y="39"/>
                      <a:pt x="46" y="39"/>
                      <a:pt x="47" y="40"/>
                    </a:cubicBezTo>
                    <a:cubicBezTo>
                      <a:pt x="49" y="41"/>
                      <a:pt x="48" y="43"/>
                      <a:pt x="47" y="47"/>
                    </a:cubicBezTo>
                    <a:cubicBezTo>
                      <a:pt x="46" y="50"/>
                      <a:pt x="48" y="49"/>
                      <a:pt x="48" y="52"/>
                    </a:cubicBezTo>
                    <a:cubicBezTo>
                      <a:pt x="47" y="55"/>
                      <a:pt x="44" y="54"/>
                      <a:pt x="43" y="54"/>
                    </a:cubicBezTo>
                    <a:cubicBezTo>
                      <a:pt x="41" y="53"/>
                      <a:pt x="42" y="60"/>
                      <a:pt x="43" y="62"/>
                    </a:cubicBezTo>
                    <a:cubicBezTo>
                      <a:pt x="45" y="63"/>
                      <a:pt x="43" y="66"/>
                      <a:pt x="41" y="66"/>
                    </a:cubicBezTo>
                    <a:cubicBezTo>
                      <a:pt x="39" y="67"/>
                      <a:pt x="39" y="62"/>
                      <a:pt x="39" y="62"/>
                    </a:cubicBezTo>
                    <a:cubicBezTo>
                      <a:pt x="39" y="62"/>
                      <a:pt x="39" y="62"/>
                      <a:pt x="37" y="61"/>
                    </a:cubicBezTo>
                    <a:cubicBezTo>
                      <a:pt x="35" y="60"/>
                      <a:pt x="33" y="58"/>
                      <a:pt x="31" y="56"/>
                    </a:cubicBezTo>
                    <a:cubicBezTo>
                      <a:pt x="30" y="55"/>
                      <a:pt x="31" y="53"/>
                      <a:pt x="32" y="52"/>
                    </a:cubicBezTo>
                    <a:cubicBezTo>
                      <a:pt x="33" y="50"/>
                      <a:pt x="33" y="47"/>
                      <a:pt x="33" y="45"/>
                    </a:cubicBezTo>
                    <a:cubicBezTo>
                      <a:pt x="33" y="43"/>
                      <a:pt x="31" y="41"/>
                      <a:pt x="31" y="41"/>
                    </a:cubicBezTo>
                    <a:cubicBezTo>
                      <a:pt x="31" y="41"/>
                      <a:pt x="27" y="43"/>
                      <a:pt x="25" y="43"/>
                    </a:cubicBezTo>
                    <a:cubicBezTo>
                      <a:pt x="24" y="44"/>
                      <a:pt x="25" y="42"/>
                      <a:pt x="24" y="40"/>
                    </a:cubicBezTo>
                    <a:cubicBezTo>
                      <a:pt x="23" y="38"/>
                      <a:pt x="20" y="37"/>
                      <a:pt x="20" y="37"/>
                    </a:cubicBezTo>
                    <a:cubicBezTo>
                      <a:pt x="0" y="43"/>
                      <a:pt x="0" y="43"/>
                      <a:pt x="0" y="43"/>
                    </a:cubicBezTo>
                    <a:cubicBezTo>
                      <a:pt x="0" y="43"/>
                      <a:pt x="4" y="46"/>
                      <a:pt x="3" y="48"/>
                    </a:cubicBezTo>
                    <a:cubicBezTo>
                      <a:pt x="3" y="48"/>
                      <a:pt x="3" y="48"/>
                      <a:pt x="3" y="48"/>
                    </a:cubicBezTo>
                    <a:cubicBezTo>
                      <a:pt x="2" y="55"/>
                      <a:pt x="2" y="55"/>
                      <a:pt x="2" y="55"/>
                    </a:cubicBezTo>
                    <a:cubicBezTo>
                      <a:pt x="2" y="55"/>
                      <a:pt x="4" y="55"/>
                      <a:pt x="6" y="55"/>
                    </a:cubicBezTo>
                    <a:cubicBezTo>
                      <a:pt x="7" y="55"/>
                      <a:pt x="9" y="56"/>
                      <a:pt x="10" y="57"/>
                    </a:cubicBezTo>
                    <a:cubicBezTo>
                      <a:pt x="12" y="58"/>
                      <a:pt x="13" y="60"/>
                      <a:pt x="16" y="60"/>
                    </a:cubicBezTo>
                    <a:cubicBezTo>
                      <a:pt x="18" y="61"/>
                      <a:pt x="19" y="62"/>
                      <a:pt x="21" y="63"/>
                    </a:cubicBezTo>
                    <a:cubicBezTo>
                      <a:pt x="22" y="64"/>
                      <a:pt x="22" y="67"/>
                      <a:pt x="22" y="67"/>
                    </a:cubicBezTo>
                    <a:cubicBezTo>
                      <a:pt x="22" y="67"/>
                      <a:pt x="20" y="69"/>
                      <a:pt x="20" y="72"/>
                    </a:cubicBezTo>
                    <a:cubicBezTo>
                      <a:pt x="21" y="74"/>
                      <a:pt x="20" y="76"/>
                      <a:pt x="21" y="79"/>
                    </a:cubicBezTo>
                    <a:cubicBezTo>
                      <a:pt x="22" y="81"/>
                      <a:pt x="24" y="83"/>
                      <a:pt x="24" y="83"/>
                    </a:cubicBezTo>
                    <a:cubicBezTo>
                      <a:pt x="24" y="83"/>
                      <a:pt x="22" y="85"/>
                      <a:pt x="21" y="86"/>
                    </a:cubicBezTo>
                    <a:cubicBezTo>
                      <a:pt x="20" y="88"/>
                      <a:pt x="18" y="89"/>
                      <a:pt x="20" y="90"/>
                    </a:cubicBezTo>
                    <a:cubicBezTo>
                      <a:pt x="21" y="92"/>
                      <a:pt x="22" y="92"/>
                      <a:pt x="21" y="94"/>
                    </a:cubicBezTo>
                    <a:cubicBezTo>
                      <a:pt x="19" y="97"/>
                      <a:pt x="21" y="96"/>
                      <a:pt x="20" y="99"/>
                    </a:cubicBezTo>
                    <a:cubicBezTo>
                      <a:pt x="19" y="102"/>
                      <a:pt x="22" y="104"/>
                      <a:pt x="21" y="106"/>
                    </a:cubicBezTo>
                    <a:cubicBezTo>
                      <a:pt x="20" y="111"/>
                      <a:pt x="20" y="107"/>
                      <a:pt x="20" y="109"/>
                    </a:cubicBezTo>
                    <a:cubicBezTo>
                      <a:pt x="20" y="111"/>
                      <a:pt x="24" y="109"/>
                      <a:pt x="22" y="111"/>
                    </a:cubicBezTo>
                    <a:cubicBezTo>
                      <a:pt x="21" y="113"/>
                      <a:pt x="18" y="117"/>
                      <a:pt x="18" y="117"/>
                    </a:cubicBezTo>
                    <a:cubicBezTo>
                      <a:pt x="12" y="125"/>
                      <a:pt x="12" y="125"/>
                      <a:pt x="12" y="125"/>
                    </a:cubicBezTo>
                    <a:cubicBezTo>
                      <a:pt x="12" y="125"/>
                      <a:pt x="13" y="132"/>
                      <a:pt x="11" y="134"/>
                    </a:cubicBezTo>
                    <a:cubicBezTo>
                      <a:pt x="10" y="137"/>
                      <a:pt x="11" y="140"/>
                      <a:pt x="12" y="144"/>
                    </a:cubicBezTo>
                    <a:cubicBezTo>
                      <a:pt x="13" y="148"/>
                      <a:pt x="12" y="151"/>
                      <a:pt x="11" y="153"/>
                    </a:cubicBezTo>
                    <a:cubicBezTo>
                      <a:pt x="11" y="155"/>
                      <a:pt x="10" y="156"/>
                      <a:pt x="11" y="158"/>
                    </a:cubicBezTo>
                    <a:cubicBezTo>
                      <a:pt x="12" y="160"/>
                      <a:pt x="12" y="161"/>
                      <a:pt x="12" y="161"/>
                    </a:cubicBezTo>
                    <a:cubicBezTo>
                      <a:pt x="12" y="161"/>
                      <a:pt x="16" y="163"/>
                      <a:pt x="16" y="165"/>
                    </a:cubicBezTo>
                    <a:cubicBezTo>
                      <a:pt x="16" y="167"/>
                      <a:pt x="15" y="171"/>
                      <a:pt x="15" y="171"/>
                    </a:cubicBezTo>
                    <a:cubicBezTo>
                      <a:pt x="21" y="171"/>
                      <a:pt x="21" y="171"/>
                      <a:pt x="21" y="171"/>
                    </a:cubicBezTo>
                    <a:cubicBezTo>
                      <a:pt x="21" y="170"/>
                      <a:pt x="22" y="169"/>
                      <a:pt x="22" y="167"/>
                    </a:cubicBezTo>
                    <a:cubicBezTo>
                      <a:pt x="21" y="167"/>
                      <a:pt x="19" y="167"/>
                      <a:pt x="19" y="165"/>
                    </a:cubicBezTo>
                    <a:cubicBezTo>
                      <a:pt x="18" y="165"/>
                      <a:pt x="19" y="164"/>
                      <a:pt x="19" y="163"/>
                    </a:cubicBezTo>
                    <a:cubicBezTo>
                      <a:pt x="25" y="156"/>
                      <a:pt x="38" y="156"/>
                      <a:pt x="44" y="149"/>
                    </a:cubicBezTo>
                    <a:cubicBezTo>
                      <a:pt x="44" y="149"/>
                      <a:pt x="45" y="147"/>
                      <a:pt x="45" y="147"/>
                    </a:cubicBezTo>
                    <a:cubicBezTo>
                      <a:pt x="46" y="145"/>
                      <a:pt x="44" y="144"/>
                      <a:pt x="44" y="143"/>
                    </a:cubicBezTo>
                    <a:cubicBezTo>
                      <a:pt x="43" y="139"/>
                      <a:pt x="45" y="130"/>
                      <a:pt x="44" y="126"/>
                    </a:cubicBezTo>
                    <a:cubicBezTo>
                      <a:pt x="44" y="125"/>
                      <a:pt x="41" y="120"/>
                      <a:pt x="41" y="118"/>
                    </a:cubicBezTo>
                    <a:cubicBezTo>
                      <a:pt x="40" y="115"/>
                      <a:pt x="41" y="110"/>
                      <a:pt x="41" y="109"/>
                    </a:cubicBezTo>
                    <a:cubicBezTo>
                      <a:pt x="40" y="108"/>
                      <a:pt x="38" y="108"/>
                      <a:pt x="38" y="108"/>
                    </a:cubicBezTo>
                    <a:cubicBezTo>
                      <a:pt x="37" y="106"/>
                      <a:pt x="37" y="98"/>
                      <a:pt x="37" y="96"/>
                    </a:cubicBezTo>
                    <a:cubicBezTo>
                      <a:pt x="37" y="96"/>
                      <a:pt x="41" y="95"/>
                      <a:pt x="42" y="94"/>
                    </a:cubicBezTo>
                    <a:cubicBezTo>
                      <a:pt x="44" y="93"/>
                      <a:pt x="43" y="90"/>
                      <a:pt x="45" y="89"/>
                    </a:cubicBezTo>
                    <a:cubicBezTo>
                      <a:pt x="45" y="88"/>
                      <a:pt x="47" y="88"/>
                      <a:pt x="48" y="88"/>
                    </a:cubicBezTo>
                    <a:cubicBezTo>
                      <a:pt x="50" y="86"/>
                      <a:pt x="50" y="80"/>
                      <a:pt x="50" y="78"/>
                    </a:cubicBezTo>
                    <a:cubicBezTo>
                      <a:pt x="53" y="78"/>
                      <a:pt x="55" y="78"/>
                      <a:pt x="57" y="78"/>
                    </a:cubicBezTo>
                    <a:cubicBezTo>
                      <a:pt x="57" y="78"/>
                      <a:pt x="58" y="77"/>
                      <a:pt x="58" y="77"/>
                    </a:cubicBezTo>
                    <a:cubicBezTo>
                      <a:pt x="59" y="77"/>
                      <a:pt x="61" y="77"/>
                      <a:pt x="62" y="77"/>
                    </a:cubicBezTo>
                    <a:cubicBezTo>
                      <a:pt x="62" y="76"/>
                      <a:pt x="62" y="76"/>
                      <a:pt x="62" y="76"/>
                    </a:cubicBezTo>
                    <a:cubicBezTo>
                      <a:pt x="63" y="75"/>
                      <a:pt x="65" y="75"/>
                      <a:pt x="66" y="74"/>
                    </a:cubicBezTo>
                    <a:cubicBezTo>
                      <a:pt x="66" y="74"/>
                      <a:pt x="67" y="72"/>
                      <a:pt x="68" y="72"/>
                    </a:cubicBezTo>
                    <a:cubicBezTo>
                      <a:pt x="70" y="70"/>
                      <a:pt x="73" y="71"/>
                      <a:pt x="76" y="70"/>
                    </a:cubicBezTo>
                    <a:cubicBezTo>
                      <a:pt x="78" y="69"/>
                      <a:pt x="78" y="66"/>
                      <a:pt x="80" y="64"/>
                    </a:cubicBezTo>
                    <a:cubicBezTo>
                      <a:pt x="81" y="63"/>
                      <a:pt x="83" y="64"/>
                      <a:pt x="84" y="62"/>
                    </a:cubicBezTo>
                    <a:cubicBezTo>
                      <a:pt x="85" y="61"/>
                      <a:pt x="84" y="60"/>
                      <a:pt x="85" y="58"/>
                    </a:cubicBezTo>
                    <a:cubicBezTo>
                      <a:pt x="85" y="57"/>
                      <a:pt x="87" y="57"/>
                      <a:pt x="88" y="56"/>
                    </a:cubicBezTo>
                    <a:cubicBezTo>
                      <a:pt x="89" y="54"/>
                      <a:pt x="88" y="53"/>
                      <a:pt x="89" y="50"/>
                    </a:cubicBezTo>
                    <a:cubicBezTo>
                      <a:pt x="89" y="50"/>
                      <a:pt x="91" y="50"/>
                      <a:pt x="91" y="49"/>
                    </a:cubicBezTo>
                    <a:cubicBezTo>
                      <a:pt x="91" y="48"/>
                      <a:pt x="92" y="48"/>
                      <a:pt x="91" y="47"/>
                    </a:cubicBezTo>
                    <a:cubicBezTo>
                      <a:pt x="90" y="47"/>
                      <a:pt x="90" y="47"/>
                      <a:pt x="90" y="47"/>
                    </a:cubicBezTo>
                    <a:cubicBezTo>
                      <a:pt x="90" y="47"/>
                      <a:pt x="88" y="42"/>
                      <a:pt x="89" y="42"/>
                    </a:cubicBezTo>
                    <a:cubicBezTo>
                      <a:pt x="90" y="43"/>
                      <a:pt x="90" y="31"/>
                      <a:pt x="91" y="30"/>
                    </a:cubicBezTo>
                    <a:cubicBezTo>
                      <a:pt x="91" y="30"/>
                      <a:pt x="93" y="29"/>
                      <a:pt x="92" y="29"/>
                    </a:cubicBezTo>
                    <a:cubicBezTo>
                      <a:pt x="90" y="29"/>
                      <a:pt x="91" y="21"/>
                      <a:pt x="91" y="21"/>
                    </a:cubicBezTo>
                    <a:cubicBezTo>
                      <a:pt x="90" y="16"/>
                      <a:pt x="90" y="6"/>
                      <a:pt x="88" y="4"/>
                    </a:cubicBezTo>
                    <a:cubicBezTo>
                      <a:pt x="87" y="4"/>
                      <a:pt x="88" y="2"/>
                      <a:pt x="89" y="0"/>
                    </a:cubicBezTo>
                    <a:cubicBezTo>
                      <a:pt x="89" y="0"/>
                      <a:pt x="83" y="3"/>
                      <a:pt x="81" y="4"/>
                    </a:cubicBezTo>
                    <a:cubicBezTo>
                      <a:pt x="79" y="5"/>
                      <a:pt x="77" y="5"/>
                      <a:pt x="74" y="6"/>
                    </a:cubicBezTo>
                    <a:cubicBezTo>
                      <a:pt x="72" y="6"/>
                      <a:pt x="72" y="8"/>
                      <a:pt x="70" y="9"/>
                    </a:cubicBezTo>
                    <a:cubicBezTo>
                      <a:pt x="68" y="9"/>
                      <a:pt x="68" y="10"/>
                      <a:pt x="67" y="9"/>
                    </a:cubicBezTo>
                    <a:cubicBezTo>
                      <a:pt x="65" y="8"/>
                      <a:pt x="65" y="10"/>
                      <a:pt x="63" y="11"/>
                    </a:cubicBezTo>
                    <a:cubicBezTo>
                      <a:pt x="61" y="12"/>
                      <a:pt x="59" y="12"/>
                      <a:pt x="57" y="12"/>
                    </a:cubicBezTo>
                    <a:cubicBezTo>
                      <a:pt x="54" y="12"/>
                      <a:pt x="53" y="13"/>
                      <a:pt x="50" y="13"/>
                    </a:cubicBezTo>
                    <a:cubicBezTo>
                      <a:pt x="48" y="14"/>
                      <a:pt x="48" y="10"/>
                      <a:pt x="46" y="10"/>
                    </a:cubicBezTo>
                    <a:cubicBezTo>
                      <a:pt x="44" y="9"/>
                      <a:pt x="45" y="9"/>
                      <a:pt x="43" y="11"/>
                    </a:cubicBezTo>
                    <a:cubicBezTo>
                      <a:pt x="41" y="11"/>
                      <a:pt x="40" y="12"/>
                      <a:pt x="39" y="12"/>
                    </a:cubicBezTo>
                    <a:cubicBezTo>
                      <a:pt x="38" y="13"/>
                      <a:pt x="38" y="15"/>
                      <a:pt x="38" y="17"/>
                    </a:cubicBezTo>
                    <a:cubicBezTo>
                      <a:pt x="38" y="17"/>
                      <a:pt x="40" y="19"/>
                      <a:pt x="40" y="19"/>
                    </a:cubicBezTo>
                    <a:cubicBezTo>
                      <a:pt x="41" y="21"/>
                      <a:pt x="39" y="23"/>
                      <a:pt x="39" y="24"/>
                    </a:cubicBezTo>
                    <a:cubicBezTo>
                      <a:pt x="39" y="25"/>
                      <a:pt x="40" y="27"/>
                      <a:pt x="40" y="29"/>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58" name="Freeform 137">
                <a:extLst>
                  <a:ext uri="{FF2B5EF4-FFF2-40B4-BE49-F238E27FC236}">
                    <a16:creationId xmlns:a16="http://schemas.microsoft.com/office/drawing/2014/main" id="{64443B74-CABB-CF22-A0B9-B0AAF2F26485}"/>
                  </a:ext>
                </a:extLst>
              </p:cNvPr>
              <p:cNvSpPr>
                <a:spLocks/>
              </p:cNvSpPr>
              <p:nvPr/>
            </p:nvSpPr>
            <p:spPr bwMode="auto">
              <a:xfrm>
                <a:off x="2906" y="1475"/>
                <a:ext cx="190" cy="189"/>
              </a:xfrm>
              <a:custGeom>
                <a:avLst/>
                <a:gdLst>
                  <a:gd name="T0" fmla="*/ 88 w 97"/>
                  <a:gd name="T1" fmla="*/ 8 h 96"/>
                  <a:gd name="T2" fmla="*/ 87 w 97"/>
                  <a:gd name="T3" fmla="*/ 8 h 96"/>
                  <a:gd name="T4" fmla="*/ 84 w 97"/>
                  <a:gd name="T5" fmla="*/ 7 h 96"/>
                  <a:gd name="T6" fmla="*/ 84 w 97"/>
                  <a:gd name="T7" fmla="*/ 5 h 96"/>
                  <a:gd name="T8" fmla="*/ 83 w 97"/>
                  <a:gd name="T9" fmla="*/ 5 h 96"/>
                  <a:gd name="T10" fmla="*/ 80 w 97"/>
                  <a:gd name="T11" fmla="*/ 7 h 96"/>
                  <a:gd name="T12" fmla="*/ 72 w 97"/>
                  <a:gd name="T13" fmla="*/ 7 h 96"/>
                  <a:gd name="T14" fmla="*/ 67 w 97"/>
                  <a:gd name="T15" fmla="*/ 8 h 96"/>
                  <a:gd name="T16" fmla="*/ 61 w 97"/>
                  <a:gd name="T17" fmla="*/ 0 h 96"/>
                  <a:gd name="T18" fmla="*/ 59 w 97"/>
                  <a:gd name="T19" fmla="*/ 0 h 96"/>
                  <a:gd name="T20" fmla="*/ 55 w 97"/>
                  <a:gd name="T21" fmla="*/ 3 h 96"/>
                  <a:gd name="T22" fmla="*/ 54 w 97"/>
                  <a:gd name="T23" fmla="*/ 9 h 96"/>
                  <a:gd name="T24" fmla="*/ 53 w 97"/>
                  <a:gd name="T25" fmla="*/ 9 h 96"/>
                  <a:gd name="T26" fmla="*/ 53 w 97"/>
                  <a:gd name="T27" fmla="*/ 14 h 96"/>
                  <a:gd name="T28" fmla="*/ 49 w 97"/>
                  <a:gd name="T29" fmla="*/ 19 h 96"/>
                  <a:gd name="T30" fmla="*/ 48 w 97"/>
                  <a:gd name="T31" fmla="*/ 23 h 96"/>
                  <a:gd name="T32" fmla="*/ 37 w 97"/>
                  <a:gd name="T33" fmla="*/ 30 h 96"/>
                  <a:gd name="T34" fmla="*/ 34 w 97"/>
                  <a:gd name="T35" fmla="*/ 30 h 96"/>
                  <a:gd name="T36" fmla="*/ 25 w 97"/>
                  <a:gd name="T37" fmla="*/ 39 h 96"/>
                  <a:gd name="T38" fmla="*/ 25 w 97"/>
                  <a:gd name="T39" fmla="*/ 44 h 96"/>
                  <a:gd name="T40" fmla="*/ 22 w 97"/>
                  <a:gd name="T41" fmla="*/ 48 h 96"/>
                  <a:gd name="T42" fmla="*/ 21 w 97"/>
                  <a:gd name="T43" fmla="*/ 74 h 96"/>
                  <a:gd name="T44" fmla="*/ 20 w 97"/>
                  <a:gd name="T45" fmla="*/ 75 h 96"/>
                  <a:gd name="T46" fmla="*/ 14 w 97"/>
                  <a:gd name="T47" fmla="*/ 86 h 96"/>
                  <a:gd name="T48" fmla="*/ 11 w 97"/>
                  <a:gd name="T49" fmla="*/ 86 h 96"/>
                  <a:gd name="T50" fmla="*/ 6 w 97"/>
                  <a:gd name="T51" fmla="*/ 92 h 96"/>
                  <a:gd name="T52" fmla="*/ 3 w 97"/>
                  <a:gd name="T53" fmla="*/ 93 h 96"/>
                  <a:gd name="T54" fmla="*/ 0 w 97"/>
                  <a:gd name="T55" fmla="*/ 96 h 96"/>
                  <a:gd name="T56" fmla="*/ 37 w 97"/>
                  <a:gd name="T57" fmla="*/ 95 h 96"/>
                  <a:gd name="T58" fmla="*/ 37 w 97"/>
                  <a:gd name="T59" fmla="*/ 86 h 96"/>
                  <a:gd name="T60" fmla="*/ 39 w 97"/>
                  <a:gd name="T61" fmla="*/ 83 h 96"/>
                  <a:gd name="T62" fmla="*/ 44 w 97"/>
                  <a:gd name="T63" fmla="*/ 79 h 96"/>
                  <a:gd name="T64" fmla="*/ 50 w 97"/>
                  <a:gd name="T65" fmla="*/ 75 h 96"/>
                  <a:gd name="T66" fmla="*/ 59 w 97"/>
                  <a:gd name="T67" fmla="*/ 72 h 96"/>
                  <a:gd name="T68" fmla="*/ 65 w 97"/>
                  <a:gd name="T69" fmla="*/ 70 h 96"/>
                  <a:gd name="T70" fmla="*/ 71 w 97"/>
                  <a:gd name="T71" fmla="*/ 66 h 96"/>
                  <a:gd name="T72" fmla="*/ 77 w 97"/>
                  <a:gd name="T73" fmla="*/ 56 h 96"/>
                  <a:gd name="T74" fmla="*/ 83 w 97"/>
                  <a:gd name="T75" fmla="*/ 54 h 96"/>
                  <a:gd name="T76" fmla="*/ 84 w 97"/>
                  <a:gd name="T77" fmla="*/ 49 h 96"/>
                  <a:gd name="T78" fmla="*/ 89 w 97"/>
                  <a:gd name="T79" fmla="*/ 44 h 96"/>
                  <a:gd name="T80" fmla="*/ 95 w 97"/>
                  <a:gd name="T81" fmla="*/ 38 h 96"/>
                  <a:gd name="T82" fmla="*/ 93 w 97"/>
                  <a:gd name="T83" fmla="*/ 33 h 96"/>
                  <a:gd name="T84" fmla="*/ 92 w 97"/>
                  <a:gd name="T85" fmla="*/ 27 h 96"/>
                  <a:gd name="T86" fmla="*/ 89 w 97"/>
                  <a:gd name="T87" fmla="*/ 22 h 96"/>
                  <a:gd name="T88" fmla="*/ 91 w 97"/>
                  <a:gd name="T89" fmla="*/ 14 h 96"/>
                  <a:gd name="T90" fmla="*/ 88 w 97"/>
                  <a:gd name="T91"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96">
                    <a:moveTo>
                      <a:pt x="88" y="8"/>
                    </a:moveTo>
                    <a:cubicBezTo>
                      <a:pt x="87" y="8"/>
                      <a:pt x="87" y="8"/>
                      <a:pt x="87" y="8"/>
                    </a:cubicBezTo>
                    <a:cubicBezTo>
                      <a:pt x="86" y="7"/>
                      <a:pt x="85" y="7"/>
                      <a:pt x="84" y="7"/>
                    </a:cubicBezTo>
                    <a:cubicBezTo>
                      <a:pt x="84" y="6"/>
                      <a:pt x="84" y="5"/>
                      <a:pt x="84" y="5"/>
                    </a:cubicBezTo>
                    <a:cubicBezTo>
                      <a:pt x="83" y="5"/>
                      <a:pt x="83" y="5"/>
                      <a:pt x="83" y="5"/>
                    </a:cubicBezTo>
                    <a:cubicBezTo>
                      <a:pt x="82" y="5"/>
                      <a:pt x="81" y="7"/>
                      <a:pt x="80" y="7"/>
                    </a:cubicBezTo>
                    <a:cubicBezTo>
                      <a:pt x="77" y="8"/>
                      <a:pt x="75" y="6"/>
                      <a:pt x="72" y="7"/>
                    </a:cubicBezTo>
                    <a:cubicBezTo>
                      <a:pt x="71" y="7"/>
                      <a:pt x="69" y="9"/>
                      <a:pt x="67" y="8"/>
                    </a:cubicBezTo>
                    <a:cubicBezTo>
                      <a:pt x="64" y="7"/>
                      <a:pt x="63" y="3"/>
                      <a:pt x="61" y="0"/>
                    </a:cubicBezTo>
                    <a:cubicBezTo>
                      <a:pt x="61" y="0"/>
                      <a:pt x="59" y="0"/>
                      <a:pt x="59" y="0"/>
                    </a:cubicBezTo>
                    <a:cubicBezTo>
                      <a:pt x="58" y="1"/>
                      <a:pt x="56" y="3"/>
                      <a:pt x="55" y="3"/>
                    </a:cubicBezTo>
                    <a:cubicBezTo>
                      <a:pt x="54" y="5"/>
                      <a:pt x="55" y="7"/>
                      <a:pt x="54" y="9"/>
                    </a:cubicBezTo>
                    <a:cubicBezTo>
                      <a:pt x="53" y="9"/>
                      <a:pt x="53" y="9"/>
                      <a:pt x="53" y="9"/>
                    </a:cubicBezTo>
                    <a:cubicBezTo>
                      <a:pt x="52" y="11"/>
                      <a:pt x="53" y="12"/>
                      <a:pt x="53" y="14"/>
                    </a:cubicBezTo>
                    <a:cubicBezTo>
                      <a:pt x="52" y="16"/>
                      <a:pt x="50" y="18"/>
                      <a:pt x="49" y="19"/>
                    </a:cubicBezTo>
                    <a:cubicBezTo>
                      <a:pt x="48" y="20"/>
                      <a:pt x="49" y="22"/>
                      <a:pt x="48" y="23"/>
                    </a:cubicBezTo>
                    <a:cubicBezTo>
                      <a:pt x="47" y="24"/>
                      <a:pt x="39" y="29"/>
                      <a:pt x="37" y="30"/>
                    </a:cubicBezTo>
                    <a:cubicBezTo>
                      <a:pt x="36" y="30"/>
                      <a:pt x="35" y="29"/>
                      <a:pt x="34" y="30"/>
                    </a:cubicBezTo>
                    <a:cubicBezTo>
                      <a:pt x="33" y="30"/>
                      <a:pt x="26" y="37"/>
                      <a:pt x="25" y="39"/>
                    </a:cubicBezTo>
                    <a:cubicBezTo>
                      <a:pt x="25" y="40"/>
                      <a:pt x="26" y="42"/>
                      <a:pt x="25" y="44"/>
                    </a:cubicBezTo>
                    <a:cubicBezTo>
                      <a:pt x="25" y="45"/>
                      <a:pt x="23" y="47"/>
                      <a:pt x="22" y="48"/>
                    </a:cubicBezTo>
                    <a:cubicBezTo>
                      <a:pt x="19" y="58"/>
                      <a:pt x="27" y="65"/>
                      <a:pt x="21" y="74"/>
                    </a:cubicBezTo>
                    <a:cubicBezTo>
                      <a:pt x="21" y="75"/>
                      <a:pt x="20" y="75"/>
                      <a:pt x="20" y="75"/>
                    </a:cubicBezTo>
                    <a:cubicBezTo>
                      <a:pt x="18" y="77"/>
                      <a:pt x="16" y="84"/>
                      <a:pt x="14" y="86"/>
                    </a:cubicBezTo>
                    <a:cubicBezTo>
                      <a:pt x="13" y="86"/>
                      <a:pt x="12" y="86"/>
                      <a:pt x="11" y="86"/>
                    </a:cubicBezTo>
                    <a:cubicBezTo>
                      <a:pt x="9" y="88"/>
                      <a:pt x="8" y="91"/>
                      <a:pt x="6" y="92"/>
                    </a:cubicBezTo>
                    <a:cubicBezTo>
                      <a:pt x="5" y="93"/>
                      <a:pt x="4" y="93"/>
                      <a:pt x="3" y="93"/>
                    </a:cubicBezTo>
                    <a:cubicBezTo>
                      <a:pt x="2" y="93"/>
                      <a:pt x="1" y="95"/>
                      <a:pt x="0" y="96"/>
                    </a:cubicBezTo>
                    <a:cubicBezTo>
                      <a:pt x="37" y="95"/>
                      <a:pt x="37" y="95"/>
                      <a:pt x="37" y="95"/>
                    </a:cubicBezTo>
                    <a:cubicBezTo>
                      <a:pt x="37" y="86"/>
                      <a:pt x="37" y="86"/>
                      <a:pt x="37" y="86"/>
                    </a:cubicBezTo>
                    <a:cubicBezTo>
                      <a:pt x="37" y="86"/>
                      <a:pt x="38" y="85"/>
                      <a:pt x="39" y="83"/>
                    </a:cubicBezTo>
                    <a:cubicBezTo>
                      <a:pt x="41" y="82"/>
                      <a:pt x="42" y="80"/>
                      <a:pt x="44" y="79"/>
                    </a:cubicBezTo>
                    <a:cubicBezTo>
                      <a:pt x="45" y="77"/>
                      <a:pt x="47" y="76"/>
                      <a:pt x="50" y="75"/>
                    </a:cubicBezTo>
                    <a:cubicBezTo>
                      <a:pt x="54" y="75"/>
                      <a:pt x="57" y="75"/>
                      <a:pt x="59" y="72"/>
                    </a:cubicBezTo>
                    <a:cubicBezTo>
                      <a:pt x="62" y="68"/>
                      <a:pt x="62" y="70"/>
                      <a:pt x="65" y="70"/>
                    </a:cubicBezTo>
                    <a:cubicBezTo>
                      <a:pt x="67" y="69"/>
                      <a:pt x="67" y="68"/>
                      <a:pt x="71" y="66"/>
                    </a:cubicBezTo>
                    <a:cubicBezTo>
                      <a:pt x="74" y="64"/>
                      <a:pt x="77" y="56"/>
                      <a:pt x="77" y="56"/>
                    </a:cubicBezTo>
                    <a:cubicBezTo>
                      <a:pt x="77" y="56"/>
                      <a:pt x="80" y="56"/>
                      <a:pt x="83" y="54"/>
                    </a:cubicBezTo>
                    <a:cubicBezTo>
                      <a:pt x="85" y="52"/>
                      <a:pt x="84" y="52"/>
                      <a:pt x="84" y="49"/>
                    </a:cubicBezTo>
                    <a:cubicBezTo>
                      <a:pt x="84" y="46"/>
                      <a:pt x="89" y="46"/>
                      <a:pt x="89" y="44"/>
                    </a:cubicBezTo>
                    <a:cubicBezTo>
                      <a:pt x="89" y="41"/>
                      <a:pt x="94" y="40"/>
                      <a:pt x="95" y="38"/>
                    </a:cubicBezTo>
                    <a:cubicBezTo>
                      <a:pt x="97" y="37"/>
                      <a:pt x="95" y="35"/>
                      <a:pt x="93" y="33"/>
                    </a:cubicBezTo>
                    <a:cubicBezTo>
                      <a:pt x="92" y="30"/>
                      <a:pt x="92" y="30"/>
                      <a:pt x="92" y="27"/>
                    </a:cubicBezTo>
                    <a:cubicBezTo>
                      <a:pt x="92" y="24"/>
                      <a:pt x="89" y="25"/>
                      <a:pt x="89" y="22"/>
                    </a:cubicBezTo>
                    <a:cubicBezTo>
                      <a:pt x="89" y="19"/>
                      <a:pt x="90" y="17"/>
                      <a:pt x="91" y="14"/>
                    </a:cubicBezTo>
                    <a:cubicBezTo>
                      <a:pt x="91" y="12"/>
                      <a:pt x="88" y="8"/>
                      <a:pt x="88" y="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59" name="Freeform 138">
                <a:extLst>
                  <a:ext uri="{FF2B5EF4-FFF2-40B4-BE49-F238E27FC236}">
                    <a16:creationId xmlns:a16="http://schemas.microsoft.com/office/drawing/2014/main" id="{F3BED091-9E1E-C6CB-8FEA-117554CFD87B}"/>
                  </a:ext>
                </a:extLst>
              </p:cNvPr>
              <p:cNvSpPr>
                <a:spLocks/>
              </p:cNvSpPr>
              <p:nvPr/>
            </p:nvSpPr>
            <p:spPr bwMode="auto">
              <a:xfrm>
                <a:off x="2906" y="1475"/>
                <a:ext cx="190" cy="189"/>
              </a:xfrm>
              <a:custGeom>
                <a:avLst/>
                <a:gdLst>
                  <a:gd name="T0" fmla="*/ 88 w 97"/>
                  <a:gd name="T1" fmla="*/ 8 h 96"/>
                  <a:gd name="T2" fmla="*/ 87 w 97"/>
                  <a:gd name="T3" fmla="*/ 8 h 96"/>
                  <a:gd name="T4" fmla="*/ 84 w 97"/>
                  <a:gd name="T5" fmla="*/ 7 h 96"/>
                  <a:gd name="T6" fmla="*/ 84 w 97"/>
                  <a:gd name="T7" fmla="*/ 5 h 96"/>
                  <a:gd name="T8" fmla="*/ 83 w 97"/>
                  <a:gd name="T9" fmla="*/ 5 h 96"/>
                  <a:gd name="T10" fmla="*/ 80 w 97"/>
                  <a:gd name="T11" fmla="*/ 7 h 96"/>
                  <a:gd name="T12" fmla="*/ 72 w 97"/>
                  <a:gd name="T13" fmla="*/ 7 h 96"/>
                  <a:gd name="T14" fmla="*/ 67 w 97"/>
                  <a:gd name="T15" fmla="*/ 8 h 96"/>
                  <a:gd name="T16" fmla="*/ 61 w 97"/>
                  <a:gd name="T17" fmla="*/ 0 h 96"/>
                  <a:gd name="T18" fmla="*/ 59 w 97"/>
                  <a:gd name="T19" fmla="*/ 0 h 96"/>
                  <a:gd name="T20" fmla="*/ 55 w 97"/>
                  <a:gd name="T21" fmla="*/ 3 h 96"/>
                  <a:gd name="T22" fmla="*/ 54 w 97"/>
                  <a:gd name="T23" fmla="*/ 9 h 96"/>
                  <a:gd name="T24" fmla="*/ 53 w 97"/>
                  <a:gd name="T25" fmla="*/ 9 h 96"/>
                  <a:gd name="T26" fmla="*/ 53 w 97"/>
                  <a:gd name="T27" fmla="*/ 14 h 96"/>
                  <a:gd name="T28" fmla="*/ 49 w 97"/>
                  <a:gd name="T29" fmla="*/ 19 h 96"/>
                  <a:gd name="T30" fmla="*/ 48 w 97"/>
                  <a:gd name="T31" fmla="*/ 23 h 96"/>
                  <a:gd name="T32" fmla="*/ 37 w 97"/>
                  <a:gd name="T33" fmla="*/ 30 h 96"/>
                  <a:gd name="T34" fmla="*/ 34 w 97"/>
                  <a:gd name="T35" fmla="*/ 30 h 96"/>
                  <a:gd name="T36" fmla="*/ 25 w 97"/>
                  <a:gd name="T37" fmla="*/ 39 h 96"/>
                  <a:gd name="T38" fmla="*/ 25 w 97"/>
                  <a:gd name="T39" fmla="*/ 44 h 96"/>
                  <a:gd name="T40" fmla="*/ 22 w 97"/>
                  <a:gd name="T41" fmla="*/ 48 h 96"/>
                  <a:gd name="T42" fmla="*/ 21 w 97"/>
                  <a:gd name="T43" fmla="*/ 74 h 96"/>
                  <a:gd name="T44" fmla="*/ 20 w 97"/>
                  <a:gd name="T45" fmla="*/ 75 h 96"/>
                  <a:gd name="T46" fmla="*/ 14 w 97"/>
                  <a:gd name="T47" fmla="*/ 86 h 96"/>
                  <a:gd name="T48" fmla="*/ 11 w 97"/>
                  <a:gd name="T49" fmla="*/ 86 h 96"/>
                  <a:gd name="T50" fmla="*/ 6 w 97"/>
                  <a:gd name="T51" fmla="*/ 92 h 96"/>
                  <a:gd name="T52" fmla="*/ 3 w 97"/>
                  <a:gd name="T53" fmla="*/ 93 h 96"/>
                  <a:gd name="T54" fmla="*/ 0 w 97"/>
                  <a:gd name="T55" fmla="*/ 96 h 96"/>
                  <a:gd name="T56" fmla="*/ 37 w 97"/>
                  <a:gd name="T57" fmla="*/ 95 h 96"/>
                  <a:gd name="T58" fmla="*/ 37 w 97"/>
                  <a:gd name="T59" fmla="*/ 86 h 96"/>
                  <a:gd name="T60" fmla="*/ 39 w 97"/>
                  <a:gd name="T61" fmla="*/ 83 h 96"/>
                  <a:gd name="T62" fmla="*/ 44 w 97"/>
                  <a:gd name="T63" fmla="*/ 79 h 96"/>
                  <a:gd name="T64" fmla="*/ 50 w 97"/>
                  <a:gd name="T65" fmla="*/ 75 h 96"/>
                  <a:gd name="T66" fmla="*/ 59 w 97"/>
                  <a:gd name="T67" fmla="*/ 72 h 96"/>
                  <a:gd name="T68" fmla="*/ 65 w 97"/>
                  <a:gd name="T69" fmla="*/ 70 h 96"/>
                  <a:gd name="T70" fmla="*/ 71 w 97"/>
                  <a:gd name="T71" fmla="*/ 66 h 96"/>
                  <a:gd name="T72" fmla="*/ 77 w 97"/>
                  <a:gd name="T73" fmla="*/ 56 h 96"/>
                  <a:gd name="T74" fmla="*/ 83 w 97"/>
                  <a:gd name="T75" fmla="*/ 54 h 96"/>
                  <a:gd name="T76" fmla="*/ 84 w 97"/>
                  <a:gd name="T77" fmla="*/ 49 h 96"/>
                  <a:gd name="T78" fmla="*/ 89 w 97"/>
                  <a:gd name="T79" fmla="*/ 44 h 96"/>
                  <a:gd name="T80" fmla="*/ 95 w 97"/>
                  <a:gd name="T81" fmla="*/ 38 h 96"/>
                  <a:gd name="T82" fmla="*/ 93 w 97"/>
                  <a:gd name="T83" fmla="*/ 33 h 96"/>
                  <a:gd name="T84" fmla="*/ 92 w 97"/>
                  <a:gd name="T85" fmla="*/ 27 h 96"/>
                  <a:gd name="T86" fmla="*/ 89 w 97"/>
                  <a:gd name="T87" fmla="*/ 22 h 96"/>
                  <a:gd name="T88" fmla="*/ 91 w 97"/>
                  <a:gd name="T89" fmla="*/ 14 h 96"/>
                  <a:gd name="T90" fmla="*/ 88 w 97"/>
                  <a:gd name="T91"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96">
                    <a:moveTo>
                      <a:pt x="88" y="8"/>
                    </a:moveTo>
                    <a:cubicBezTo>
                      <a:pt x="87" y="8"/>
                      <a:pt x="87" y="8"/>
                      <a:pt x="87" y="8"/>
                    </a:cubicBezTo>
                    <a:cubicBezTo>
                      <a:pt x="86" y="7"/>
                      <a:pt x="85" y="7"/>
                      <a:pt x="84" y="7"/>
                    </a:cubicBezTo>
                    <a:cubicBezTo>
                      <a:pt x="84" y="6"/>
                      <a:pt x="84" y="5"/>
                      <a:pt x="84" y="5"/>
                    </a:cubicBezTo>
                    <a:cubicBezTo>
                      <a:pt x="83" y="5"/>
                      <a:pt x="83" y="5"/>
                      <a:pt x="83" y="5"/>
                    </a:cubicBezTo>
                    <a:cubicBezTo>
                      <a:pt x="82" y="5"/>
                      <a:pt x="81" y="7"/>
                      <a:pt x="80" y="7"/>
                    </a:cubicBezTo>
                    <a:cubicBezTo>
                      <a:pt x="77" y="8"/>
                      <a:pt x="75" y="6"/>
                      <a:pt x="72" y="7"/>
                    </a:cubicBezTo>
                    <a:cubicBezTo>
                      <a:pt x="71" y="7"/>
                      <a:pt x="69" y="9"/>
                      <a:pt x="67" y="8"/>
                    </a:cubicBezTo>
                    <a:cubicBezTo>
                      <a:pt x="64" y="7"/>
                      <a:pt x="63" y="3"/>
                      <a:pt x="61" y="0"/>
                    </a:cubicBezTo>
                    <a:cubicBezTo>
                      <a:pt x="61" y="0"/>
                      <a:pt x="59" y="0"/>
                      <a:pt x="59" y="0"/>
                    </a:cubicBezTo>
                    <a:cubicBezTo>
                      <a:pt x="58" y="1"/>
                      <a:pt x="56" y="3"/>
                      <a:pt x="55" y="3"/>
                    </a:cubicBezTo>
                    <a:cubicBezTo>
                      <a:pt x="54" y="5"/>
                      <a:pt x="55" y="7"/>
                      <a:pt x="54" y="9"/>
                    </a:cubicBezTo>
                    <a:cubicBezTo>
                      <a:pt x="53" y="9"/>
                      <a:pt x="53" y="9"/>
                      <a:pt x="53" y="9"/>
                    </a:cubicBezTo>
                    <a:cubicBezTo>
                      <a:pt x="52" y="11"/>
                      <a:pt x="53" y="12"/>
                      <a:pt x="53" y="14"/>
                    </a:cubicBezTo>
                    <a:cubicBezTo>
                      <a:pt x="52" y="16"/>
                      <a:pt x="50" y="18"/>
                      <a:pt x="49" y="19"/>
                    </a:cubicBezTo>
                    <a:cubicBezTo>
                      <a:pt x="48" y="20"/>
                      <a:pt x="49" y="22"/>
                      <a:pt x="48" y="23"/>
                    </a:cubicBezTo>
                    <a:cubicBezTo>
                      <a:pt x="47" y="24"/>
                      <a:pt x="39" y="29"/>
                      <a:pt x="37" y="30"/>
                    </a:cubicBezTo>
                    <a:cubicBezTo>
                      <a:pt x="36" y="30"/>
                      <a:pt x="35" y="29"/>
                      <a:pt x="34" y="30"/>
                    </a:cubicBezTo>
                    <a:cubicBezTo>
                      <a:pt x="33" y="30"/>
                      <a:pt x="26" y="37"/>
                      <a:pt x="25" y="39"/>
                    </a:cubicBezTo>
                    <a:cubicBezTo>
                      <a:pt x="25" y="40"/>
                      <a:pt x="26" y="42"/>
                      <a:pt x="25" y="44"/>
                    </a:cubicBezTo>
                    <a:cubicBezTo>
                      <a:pt x="25" y="45"/>
                      <a:pt x="23" y="47"/>
                      <a:pt x="22" y="48"/>
                    </a:cubicBezTo>
                    <a:cubicBezTo>
                      <a:pt x="19" y="58"/>
                      <a:pt x="27" y="65"/>
                      <a:pt x="21" y="74"/>
                    </a:cubicBezTo>
                    <a:cubicBezTo>
                      <a:pt x="21" y="75"/>
                      <a:pt x="20" y="75"/>
                      <a:pt x="20" y="75"/>
                    </a:cubicBezTo>
                    <a:cubicBezTo>
                      <a:pt x="18" y="77"/>
                      <a:pt x="16" y="84"/>
                      <a:pt x="14" y="86"/>
                    </a:cubicBezTo>
                    <a:cubicBezTo>
                      <a:pt x="13" y="86"/>
                      <a:pt x="12" y="86"/>
                      <a:pt x="11" y="86"/>
                    </a:cubicBezTo>
                    <a:cubicBezTo>
                      <a:pt x="9" y="88"/>
                      <a:pt x="8" y="91"/>
                      <a:pt x="6" y="92"/>
                    </a:cubicBezTo>
                    <a:cubicBezTo>
                      <a:pt x="5" y="93"/>
                      <a:pt x="4" y="93"/>
                      <a:pt x="3" y="93"/>
                    </a:cubicBezTo>
                    <a:cubicBezTo>
                      <a:pt x="2" y="93"/>
                      <a:pt x="1" y="95"/>
                      <a:pt x="0" y="96"/>
                    </a:cubicBezTo>
                    <a:cubicBezTo>
                      <a:pt x="37" y="95"/>
                      <a:pt x="37" y="95"/>
                      <a:pt x="37" y="95"/>
                    </a:cubicBezTo>
                    <a:cubicBezTo>
                      <a:pt x="37" y="86"/>
                      <a:pt x="37" y="86"/>
                      <a:pt x="37" y="86"/>
                    </a:cubicBezTo>
                    <a:cubicBezTo>
                      <a:pt x="37" y="86"/>
                      <a:pt x="38" y="85"/>
                      <a:pt x="39" y="83"/>
                    </a:cubicBezTo>
                    <a:cubicBezTo>
                      <a:pt x="41" y="82"/>
                      <a:pt x="42" y="80"/>
                      <a:pt x="44" y="79"/>
                    </a:cubicBezTo>
                    <a:cubicBezTo>
                      <a:pt x="45" y="77"/>
                      <a:pt x="47" y="76"/>
                      <a:pt x="50" y="75"/>
                    </a:cubicBezTo>
                    <a:cubicBezTo>
                      <a:pt x="54" y="75"/>
                      <a:pt x="57" y="75"/>
                      <a:pt x="59" y="72"/>
                    </a:cubicBezTo>
                    <a:cubicBezTo>
                      <a:pt x="62" y="68"/>
                      <a:pt x="62" y="70"/>
                      <a:pt x="65" y="70"/>
                    </a:cubicBezTo>
                    <a:cubicBezTo>
                      <a:pt x="67" y="69"/>
                      <a:pt x="67" y="68"/>
                      <a:pt x="71" y="66"/>
                    </a:cubicBezTo>
                    <a:cubicBezTo>
                      <a:pt x="74" y="64"/>
                      <a:pt x="77" y="56"/>
                      <a:pt x="77" y="56"/>
                    </a:cubicBezTo>
                    <a:cubicBezTo>
                      <a:pt x="77" y="56"/>
                      <a:pt x="80" y="56"/>
                      <a:pt x="83" y="54"/>
                    </a:cubicBezTo>
                    <a:cubicBezTo>
                      <a:pt x="85" y="52"/>
                      <a:pt x="84" y="52"/>
                      <a:pt x="84" y="49"/>
                    </a:cubicBezTo>
                    <a:cubicBezTo>
                      <a:pt x="84" y="46"/>
                      <a:pt x="89" y="46"/>
                      <a:pt x="89" y="44"/>
                    </a:cubicBezTo>
                    <a:cubicBezTo>
                      <a:pt x="89" y="41"/>
                      <a:pt x="94" y="40"/>
                      <a:pt x="95" y="38"/>
                    </a:cubicBezTo>
                    <a:cubicBezTo>
                      <a:pt x="97" y="37"/>
                      <a:pt x="95" y="35"/>
                      <a:pt x="93" y="33"/>
                    </a:cubicBezTo>
                    <a:cubicBezTo>
                      <a:pt x="92" y="30"/>
                      <a:pt x="92" y="30"/>
                      <a:pt x="92" y="27"/>
                    </a:cubicBezTo>
                    <a:cubicBezTo>
                      <a:pt x="92" y="24"/>
                      <a:pt x="89" y="25"/>
                      <a:pt x="89" y="22"/>
                    </a:cubicBezTo>
                    <a:cubicBezTo>
                      <a:pt x="89" y="19"/>
                      <a:pt x="90" y="17"/>
                      <a:pt x="91" y="14"/>
                    </a:cubicBezTo>
                    <a:cubicBezTo>
                      <a:pt x="91" y="12"/>
                      <a:pt x="88" y="8"/>
                      <a:pt x="88" y="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60" name="Freeform 139">
                <a:extLst>
                  <a:ext uri="{FF2B5EF4-FFF2-40B4-BE49-F238E27FC236}">
                    <a16:creationId xmlns:a16="http://schemas.microsoft.com/office/drawing/2014/main" id="{AE9ABB67-D0DB-F583-90A3-6B61AD26D7F9}"/>
                  </a:ext>
                </a:extLst>
              </p:cNvPr>
              <p:cNvSpPr>
                <a:spLocks noEditPoints="1"/>
              </p:cNvSpPr>
              <p:nvPr/>
            </p:nvSpPr>
            <p:spPr bwMode="auto">
              <a:xfrm>
                <a:off x="4612" y="1083"/>
                <a:ext cx="531" cy="261"/>
              </a:xfrm>
              <a:custGeom>
                <a:avLst/>
                <a:gdLst>
                  <a:gd name="T0" fmla="*/ 8 w 271"/>
                  <a:gd name="T1" fmla="*/ 34 h 133"/>
                  <a:gd name="T2" fmla="*/ 12 w 271"/>
                  <a:gd name="T3" fmla="*/ 26 h 133"/>
                  <a:gd name="T4" fmla="*/ 26 w 271"/>
                  <a:gd name="T5" fmla="*/ 20 h 133"/>
                  <a:gd name="T6" fmla="*/ 39 w 271"/>
                  <a:gd name="T7" fmla="*/ 18 h 133"/>
                  <a:gd name="T8" fmla="*/ 52 w 271"/>
                  <a:gd name="T9" fmla="*/ 22 h 133"/>
                  <a:gd name="T10" fmla="*/ 69 w 271"/>
                  <a:gd name="T11" fmla="*/ 26 h 133"/>
                  <a:gd name="T12" fmla="*/ 86 w 271"/>
                  <a:gd name="T13" fmla="*/ 23 h 133"/>
                  <a:gd name="T14" fmla="*/ 78 w 271"/>
                  <a:gd name="T15" fmla="*/ 11 h 133"/>
                  <a:gd name="T16" fmla="*/ 84 w 271"/>
                  <a:gd name="T17" fmla="*/ 0 h 133"/>
                  <a:gd name="T18" fmla="*/ 100 w 271"/>
                  <a:gd name="T19" fmla="*/ 2 h 133"/>
                  <a:gd name="T20" fmla="*/ 117 w 271"/>
                  <a:gd name="T21" fmla="*/ 12 h 133"/>
                  <a:gd name="T22" fmla="*/ 128 w 271"/>
                  <a:gd name="T23" fmla="*/ 24 h 133"/>
                  <a:gd name="T24" fmla="*/ 141 w 271"/>
                  <a:gd name="T25" fmla="*/ 27 h 133"/>
                  <a:gd name="T26" fmla="*/ 155 w 271"/>
                  <a:gd name="T27" fmla="*/ 25 h 133"/>
                  <a:gd name="T28" fmla="*/ 166 w 271"/>
                  <a:gd name="T29" fmla="*/ 31 h 133"/>
                  <a:gd name="T30" fmla="*/ 178 w 271"/>
                  <a:gd name="T31" fmla="*/ 37 h 133"/>
                  <a:gd name="T32" fmla="*/ 190 w 271"/>
                  <a:gd name="T33" fmla="*/ 36 h 133"/>
                  <a:gd name="T34" fmla="*/ 206 w 271"/>
                  <a:gd name="T35" fmla="*/ 34 h 133"/>
                  <a:gd name="T36" fmla="*/ 224 w 271"/>
                  <a:gd name="T37" fmla="*/ 26 h 133"/>
                  <a:gd name="T38" fmla="*/ 241 w 271"/>
                  <a:gd name="T39" fmla="*/ 32 h 133"/>
                  <a:gd name="T40" fmla="*/ 236 w 271"/>
                  <a:gd name="T41" fmla="*/ 52 h 133"/>
                  <a:gd name="T42" fmla="*/ 248 w 271"/>
                  <a:gd name="T43" fmla="*/ 58 h 133"/>
                  <a:gd name="T44" fmla="*/ 258 w 271"/>
                  <a:gd name="T45" fmla="*/ 57 h 133"/>
                  <a:gd name="T46" fmla="*/ 271 w 271"/>
                  <a:gd name="T47" fmla="*/ 66 h 133"/>
                  <a:gd name="T48" fmla="*/ 256 w 271"/>
                  <a:gd name="T49" fmla="*/ 75 h 133"/>
                  <a:gd name="T50" fmla="*/ 242 w 271"/>
                  <a:gd name="T51" fmla="*/ 77 h 133"/>
                  <a:gd name="T52" fmla="*/ 234 w 271"/>
                  <a:gd name="T53" fmla="*/ 84 h 133"/>
                  <a:gd name="T54" fmla="*/ 214 w 271"/>
                  <a:gd name="T55" fmla="*/ 97 h 133"/>
                  <a:gd name="T56" fmla="*/ 201 w 271"/>
                  <a:gd name="T57" fmla="*/ 90 h 133"/>
                  <a:gd name="T58" fmla="*/ 195 w 271"/>
                  <a:gd name="T59" fmla="*/ 102 h 133"/>
                  <a:gd name="T60" fmla="*/ 195 w 271"/>
                  <a:gd name="T61" fmla="*/ 116 h 133"/>
                  <a:gd name="T62" fmla="*/ 175 w 271"/>
                  <a:gd name="T63" fmla="*/ 122 h 133"/>
                  <a:gd name="T64" fmla="*/ 159 w 271"/>
                  <a:gd name="T65" fmla="*/ 123 h 133"/>
                  <a:gd name="T66" fmla="*/ 143 w 271"/>
                  <a:gd name="T67" fmla="*/ 130 h 133"/>
                  <a:gd name="T68" fmla="*/ 124 w 271"/>
                  <a:gd name="T69" fmla="*/ 129 h 133"/>
                  <a:gd name="T70" fmla="*/ 104 w 271"/>
                  <a:gd name="T71" fmla="*/ 123 h 133"/>
                  <a:gd name="T72" fmla="*/ 83 w 271"/>
                  <a:gd name="T73" fmla="*/ 122 h 133"/>
                  <a:gd name="T74" fmla="*/ 68 w 271"/>
                  <a:gd name="T75" fmla="*/ 114 h 133"/>
                  <a:gd name="T76" fmla="*/ 58 w 271"/>
                  <a:gd name="T77" fmla="*/ 103 h 133"/>
                  <a:gd name="T78" fmla="*/ 47 w 271"/>
                  <a:gd name="T79" fmla="*/ 95 h 133"/>
                  <a:gd name="T80" fmla="*/ 32 w 271"/>
                  <a:gd name="T81" fmla="*/ 90 h 133"/>
                  <a:gd name="T82" fmla="*/ 33 w 271"/>
                  <a:gd name="T83" fmla="*/ 77 h 133"/>
                  <a:gd name="T84" fmla="*/ 25 w 271"/>
                  <a:gd name="T85" fmla="*/ 67 h 133"/>
                  <a:gd name="T86" fmla="*/ 9 w 271"/>
                  <a:gd name="T87" fmla="*/ 59 h 133"/>
                  <a:gd name="T88" fmla="*/ 1 w 271"/>
                  <a:gd name="T89" fmla="*/ 52 h 133"/>
                  <a:gd name="T90" fmla="*/ 39 w 271"/>
                  <a:gd name="T91" fmla="*/ 20 h 133"/>
                  <a:gd name="T92" fmla="*/ 37 w 271"/>
                  <a:gd name="T93" fmla="*/ 24 h 133"/>
                  <a:gd name="T94" fmla="*/ 105 w 271"/>
                  <a:gd name="T95" fmla="*/ 11 h 133"/>
                  <a:gd name="T96" fmla="*/ 105 w 271"/>
                  <a:gd name="T97" fmla="*/ 1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1" h="133">
                    <a:moveTo>
                      <a:pt x="0" y="37"/>
                    </a:moveTo>
                    <a:cubicBezTo>
                      <a:pt x="5" y="36"/>
                      <a:pt x="5" y="36"/>
                      <a:pt x="5" y="36"/>
                    </a:cubicBezTo>
                    <a:cubicBezTo>
                      <a:pt x="8" y="34"/>
                      <a:pt x="8" y="34"/>
                      <a:pt x="8" y="34"/>
                    </a:cubicBezTo>
                    <a:cubicBezTo>
                      <a:pt x="10" y="31"/>
                      <a:pt x="10" y="31"/>
                      <a:pt x="10" y="31"/>
                    </a:cubicBezTo>
                    <a:cubicBezTo>
                      <a:pt x="10" y="29"/>
                      <a:pt x="10" y="29"/>
                      <a:pt x="10" y="29"/>
                    </a:cubicBezTo>
                    <a:cubicBezTo>
                      <a:pt x="12" y="26"/>
                      <a:pt x="12" y="26"/>
                      <a:pt x="12" y="26"/>
                    </a:cubicBezTo>
                    <a:cubicBezTo>
                      <a:pt x="16" y="24"/>
                      <a:pt x="16" y="24"/>
                      <a:pt x="16" y="24"/>
                    </a:cubicBezTo>
                    <a:cubicBezTo>
                      <a:pt x="20" y="22"/>
                      <a:pt x="20" y="22"/>
                      <a:pt x="20" y="22"/>
                    </a:cubicBezTo>
                    <a:cubicBezTo>
                      <a:pt x="26" y="20"/>
                      <a:pt x="26" y="20"/>
                      <a:pt x="26" y="20"/>
                    </a:cubicBezTo>
                    <a:cubicBezTo>
                      <a:pt x="29" y="17"/>
                      <a:pt x="29" y="17"/>
                      <a:pt x="29" y="17"/>
                    </a:cubicBezTo>
                    <a:cubicBezTo>
                      <a:pt x="34" y="17"/>
                      <a:pt x="34" y="17"/>
                      <a:pt x="34" y="17"/>
                    </a:cubicBezTo>
                    <a:cubicBezTo>
                      <a:pt x="39" y="18"/>
                      <a:pt x="39" y="18"/>
                      <a:pt x="39" y="18"/>
                    </a:cubicBezTo>
                    <a:cubicBezTo>
                      <a:pt x="41" y="21"/>
                      <a:pt x="41" y="21"/>
                      <a:pt x="41" y="21"/>
                    </a:cubicBezTo>
                    <a:cubicBezTo>
                      <a:pt x="46" y="18"/>
                      <a:pt x="46" y="18"/>
                      <a:pt x="46" y="18"/>
                    </a:cubicBezTo>
                    <a:cubicBezTo>
                      <a:pt x="52" y="22"/>
                      <a:pt x="52" y="22"/>
                      <a:pt x="52" y="22"/>
                    </a:cubicBezTo>
                    <a:cubicBezTo>
                      <a:pt x="57" y="24"/>
                      <a:pt x="57" y="24"/>
                      <a:pt x="57" y="24"/>
                    </a:cubicBezTo>
                    <a:cubicBezTo>
                      <a:pt x="63" y="25"/>
                      <a:pt x="63" y="25"/>
                      <a:pt x="63" y="25"/>
                    </a:cubicBezTo>
                    <a:cubicBezTo>
                      <a:pt x="69" y="26"/>
                      <a:pt x="69" y="26"/>
                      <a:pt x="69" y="26"/>
                    </a:cubicBezTo>
                    <a:cubicBezTo>
                      <a:pt x="77" y="25"/>
                      <a:pt x="77" y="25"/>
                      <a:pt x="77" y="25"/>
                    </a:cubicBezTo>
                    <a:cubicBezTo>
                      <a:pt x="84" y="25"/>
                      <a:pt x="84" y="25"/>
                      <a:pt x="84" y="25"/>
                    </a:cubicBezTo>
                    <a:cubicBezTo>
                      <a:pt x="86" y="23"/>
                      <a:pt x="86" y="23"/>
                      <a:pt x="86" y="23"/>
                    </a:cubicBezTo>
                    <a:cubicBezTo>
                      <a:pt x="85" y="17"/>
                      <a:pt x="85" y="17"/>
                      <a:pt x="85" y="17"/>
                    </a:cubicBezTo>
                    <a:cubicBezTo>
                      <a:pt x="83" y="13"/>
                      <a:pt x="83" y="13"/>
                      <a:pt x="83" y="13"/>
                    </a:cubicBezTo>
                    <a:cubicBezTo>
                      <a:pt x="78" y="11"/>
                      <a:pt x="78" y="11"/>
                      <a:pt x="78" y="11"/>
                    </a:cubicBezTo>
                    <a:cubicBezTo>
                      <a:pt x="80" y="7"/>
                      <a:pt x="80" y="7"/>
                      <a:pt x="80" y="7"/>
                    </a:cubicBezTo>
                    <a:cubicBezTo>
                      <a:pt x="82" y="4"/>
                      <a:pt x="82" y="4"/>
                      <a:pt x="82" y="4"/>
                    </a:cubicBezTo>
                    <a:cubicBezTo>
                      <a:pt x="84" y="0"/>
                      <a:pt x="84" y="0"/>
                      <a:pt x="84" y="0"/>
                    </a:cubicBezTo>
                    <a:cubicBezTo>
                      <a:pt x="90" y="1"/>
                      <a:pt x="90" y="1"/>
                      <a:pt x="90" y="1"/>
                    </a:cubicBezTo>
                    <a:cubicBezTo>
                      <a:pt x="94" y="2"/>
                      <a:pt x="94" y="2"/>
                      <a:pt x="94" y="2"/>
                    </a:cubicBezTo>
                    <a:cubicBezTo>
                      <a:pt x="100" y="2"/>
                      <a:pt x="100" y="2"/>
                      <a:pt x="100" y="2"/>
                    </a:cubicBezTo>
                    <a:cubicBezTo>
                      <a:pt x="103" y="5"/>
                      <a:pt x="103" y="5"/>
                      <a:pt x="103" y="5"/>
                    </a:cubicBezTo>
                    <a:cubicBezTo>
                      <a:pt x="109" y="5"/>
                      <a:pt x="109" y="5"/>
                      <a:pt x="109" y="5"/>
                    </a:cubicBezTo>
                    <a:cubicBezTo>
                      <a:pt x="117" y="12"/>
                      <a:pt x="117" y="12"/>
                      <a:pt x="117" y="12"/>
                    </a:cubicBezTo>
                    <a:cubicBezTo>
                      <a:pt x="122" y="16"/>
                      <a:pt x="122" y="16"/>
                      <a:pt x="122" y="16"/>
                    </a:cubicBezTo>
                    <a:cubicBezTo>
                      <a:pt x="125" y="22"/>
                      <a:pt x="125" y="22"/>
                      <a:pt x="125" y="22"/>
                    </a:cubicBezTo>
                    <a:cubicBezTo>
                      <a:pt x="128" y="24"/>
                      <a:pt x="128" y="24"/>
                      <a:pt x="128" y="24"/>
                    </a:cubicBezTo>
                    <a:cubicBezTo>
                      <a:pt x="134" y="28"/>
                      <a:pt x="134" y="28"/>
                      <a:pt x="134" y="28"/>
                    </a:cubicBezTo>
                    <a:cubicBezTo>
                      <a:pt x="138" y="27"/>
                      <a:pt x="138" y="27"/>
                      <a:pt x="138" y="27"/>
                    </a:cubicBezTo>
                    <a:cubicBezTo>
                      <a:pt x="141" y="27"/>
                      <a:pt x="141" y="27"/>
                      <a:pt x="141" y="27"/>
                    </a:cubicBezTo>
                    <a:cubicBezTo>
                      <a:pt x="146" y="26"/>
                      <a:pt x="146" y="26"/>
                      <a:pt x="146" y="26"/>
                    </a:cubicBezTo>
                    <a:cubicBezTo>
                      <a:pt x="149" y="23"/>
                      <a:pt x="149" y="23"/>
                      <a:pt x="149" y="23"/>
                    </a:cubicBezTo>
                    <a:cubicBezTo>
                      <a:pt x="155" y="25"/>
                      <a:pt x="155" y="25"/>
                      <a:pt x="155" y="25"/>
                    </a:cubicBezTo>
                    <a:cubicBezTo>
                      <a:pt x="163" y="27"/>
                      <a:pt x="163" y="27"/>
                      <a:pt x="163" y="27"/>
                    </a:cubicBezTo>
                    <a:cubicBezTo>
                      <a:pt x="166" y="28"/>
                      <a:pt x="166" y="28"/>
                      <a:pt x="166" y="28"/>
                    </a:cubicBezTo>
                    <a:cubicBezTo>
                      <a:pt x="166" y="31"/>
                      <a:pt x="166" y="31"/>
                      <a:pt x="166" y="31"/>
                    </a:cubicBezTo>
                    <a:cubicBezTo>
                      <a:pt x="169" y="34"/>
                      <a:pt x="169" y="34"/>
                      <a:pt x="169" y="34"/>
                    </a:cubicBezTo>
                    <a:cubicBezTo>
                      <a:pt x="174" y="34"/>
                      <a:pt x="174" y="34"/>
                      <a:pt x="174" y="34"/>
                    </a:cubicBezTo>
                    <a:cubicBezTo>
                      <a:pt x="178" y="37"/>
                      <a:pt x="178" y="37"/>
                      <a:pt x="178" y="37"/>
                    </a:cubicBezTo>
                    <a:cubicBezTo>
                      <a:pt x="182" y="37"/>
                      <a:pt x="182" y="37"/>
                      <a:pt x="182" y="37"/>
                    </a:cubicBezTo>
                    <a:cubicBezTo>
                      <a:pt x="186" y="35"/>
                      <a:pt x="186" y="35"/>
                      <a:pt x="186" y="35"/>
                    </a:cubicBezTo>
                    <a:cubicBezTo>
                      <a:pt x="190" y="36"/>
                      <a:pt x="190" y="36"/>
                      <a:pt x="190" y="36"/>
                    </a:cubicBezTo>
                    <a:cubicBezTo>
                      <a:pt x="195" y="38"/>
                      <a:pt x="195" y="38"/>
                      <a:pt x="195" y="38"/>
                    </a:cubicBezTo>
                    <a:cubicBezTo>
                      <a:pt x="202" y="36"/>
                      <a:pt x="202" y="36"/>
                      <a:pt x="202" y="36"/>
                    </a:cubicBezTo>
                    <a:cubicBezTo>
                      <a:pt x="206" y="34"/>
                      <a:pt x="206" y="34"/>
                      <a:pt x="206" y="34"/>
                    </a:cubicBezTo>
                    <a:cubicBezTo>
                      <a:pt x="214" y="33"/>
                      <a:pt x="214" y="33"/>
                      <a:pt x="214" y="33"/>
                    </a:cubicBezTo>
                    <a:cubicBezTo>
                      <a:pt x="222" y="27"/>
                      <a:pt x="222" y="27"/>
                      <a:pt x="222" y="27"/>
                    </a:cubicBezTo>
                    <a:cubicBezTo>
                      <a:pt x="224" y="26"/>
                      <a:pt x="224" y="26"/>
                      <a:pt x="224" y="26"/>
                    </a:cubicBezTo>
                    <a:cubicBezTo>
                      <a:pt x="230" y="31"/>
                      <a:pt x="230" y="31"/>
                      <a:pt x="230" y="31"/>
                    </a:cubicBezTo>
                    <a:cubicBezTo>
                      <a:pt x="235" y="30"/>
                      <a:pt x="235" y="30"/>
                      <a:pt x="235" y="30"/>
                    </a:cubicBezTo>
                    <a:cubicBezTo>
                      <a:pt x="241" y="32"/>
                      <a:pt x="241" y="32"/>
                      <a:pt x="241" y="32"/>
                    </a:cubicBezTo>
                    <a:cubicBezTo>
                      <a:pt x="237" y="42"/>
                      <a:pt x="237" y="42"/>
                      <a:pt x="237" y="42"/>
                    </a:cubicBezTo>
                    <a:cubicBezTo>
                      <a:pt x="237" y="42"/>
                      <a:pt x="237" y="44"/>
                      <a:pt x="238" y="45"/>
                    </a:cubicBezTo>
                    <a:cubicBezTo>
                      <a:pt x="239" y="49"/>
                      <a:pt x="236" y="52"/>
                      <a:pt x="236" y="52"/>
                    </a:cubicBezTo>
                    <a:cubicBezTo>
                      <a:pt x="235" y="57"/>
                      <a:pt x="235" y="57"/>
                      <a:pt x="235" y="57"/>
                    </a:cubicBezTo>
                    <a:cubicBezTo>
                      <a:pt x="242" y="59"/>
                      <a:pt x="242" y="59"/>
                      <a:pt x="242" y="59"/>
                    </a:cubicBezTo>
                    <a:cubicBezTo>
                      <a:pt x="248" y="58"/>
                      <a:pt x="248" y="58"/>
                      <a:pt x="248" y="58"/>
                    </a:cubicBezTo>
                    <a:cubicBezTo>
                      <a:pt x="253" y="53"/>
                      <a:pt x="253" y="53"/>
                      <a:pt x="253" y="53"/>
                    </a:cubicBezTo>
                    <a:cubicBezTo>
                      <a:pt x="256" y="54"/>
                      <a:pt x="256" y="54"/>
                      <a:pt x="256" y="54"/>
                    </a:cubicBezTo>
                    <a:cubicBezTo>
                      <a:pt x="258" y="57"/>
                      <a:pt x="258" y="57"/>
                      <a:pt x="258" y="57"/>
                    </a:cubicBezTo>
                    <a:cubicBezTo>
                      <a:pt x="262" y="60"/>
                      <a:pt x="262" y="60"/>
                      <a:pt x="262" y="60"/>
                    </a:cubicBezTo>
                    <a:cubicBezTo>
                      <a:pt x="268" y="62"/>
                      <a:pt x="268" y="62"/>
                      <a:pt x="268" y="62"/>
                    </a:cubicBezTo>
                    <a:cubicBezTo>
                      <a:pt x="271" y="66"/>
                      <a:pt x="271" y="66"/>
                      <a:pt x="271" y="66"/>
                    </a:cubicBezTo>
                    <a:cubicBezTo>
                      <a:pt x="270" y="70"/>
                      <a:pt x="270" y="70"/>
                      <a:pt x="270" y="70"/>
                    </a:cubicBezTo>
                    <a:cubicBezTo>
                      <a:pt x="270" y="70"/>
                      <a:pt x="265" y="69"/>
                      <a:pt x="262" y="70"/>
                    </a:cubicBezTo>
                    <a:cubicBezTo>
                      <a:pt x="260" y="70"/>
                      <a:pt x="256" y="75"/>
                      <a:pt x="256" y="75"/>
                    </a:cubicBezTo>
                    <a:cubicBezTo>
                      <a:pt x="251" y="74"/>
                      <a:pt x="251" y="74"/>
                      <a:pt x="251" y="74"/>
                    </a:cubicBezTo>
                    <a:cubicBezTo>
                      <a:pt x="244" y="79"/>
                      <a:pt x="244" y="79"/>
                      <a:pt x="244" y="79"/>
                    </a:cubicBezTo>
                    <a:cubicBezTo>
                      <a:pt x="242" y="77"/>
                      <a:pt x="242" y="77"/>
                      <a:pt x="242" y="77"/>
                    </a:cubicBezTo>
                    <a:cubicBezTo>
                      <a:pt x="239" y="77"/>
                      <a:pt x="239" y="77"/>
                      <a:pt x="239" y="77"/>
                    </a:cubicBezTo>
                    <a:cubicBezTo>
                      <a:pt x="237" y="82"/>
                      <a:pt x="237" y="82"/>
                      <a:pt x="237" y="82"/>
                    </a:cubicBezTo>
                    <a:cubicBezTo>
                      <a:pt x="234" y="84"/>
                      <a:pt x="234" y="84"/>
                      <a:pt x="234" y="84"/>
                    </a:cubicBezTo>
                    <a:cubicBezTo>
                      <a:pt x="223" y="87"/>
                      <a:pt x="223" y="87"/>
                      <a:pt x="223" y="87"/>
                    </a:cubicBezTo>
                    <a:cubicBezTo>
                      <a:pt x="221" y="93"/>
                      <a:pt x="221" y="93"/>
                      <a:pt x="221" y="93"/>
                    </a:cubicBezTo>
                    <a:cubicBezTo>
                      <a:pt x="214" y="97"/>
                      <a:pt x="214" y="97"/>
                      <a:pt x="214" y="97"/>
                    </a:cubicBezTo>
                    <a:cubicBezTo>
                      <a:pt x="209" y="95"/>
                      <a:pt x="209" y="95"/>
                      <a:pt x="209" y="95"/>
                    </a:cubicBezTo>
                    <a:cubicBezTo>
                      <a:pt x="205" y="91"/>
                      <a:pt x="205" y="91"/>
                      <a:pt x="205" y="91"/>
                    </a:cubicBezTo>
                    <a:cubicBezTo>
                      <a:pt x="201" y="90"/>
                      <a:pt x="201" y="90"/>
                      <a:pt x="201" y="90"/>
                    </a:cubicBezTo>
                    <a:cubicBezTo>
                      <a:pt x="197" y="92"/>
                      <a:pt x="197" y="92"/>
                      <a:pt x="197" y="92"/>
                    </a:cubicBezTo>
                    <a:cubicBezTo>
                      <a:pt x="195" y="97"/>
                      <a:pt x="195" y="97"/>
                      <a:pt x="195" y="97"/>
                    </a:cubicBezTo>
                    <a:cubicBezTo>
                      <a:pt x="195" y="102"/>
                      <a:pt x="195" y="102"/>
                      <a:pt x="195" y="102"/>
                    </a:cubicBezTo>
                    <a:cubicBezTo>
                      <a:pt x="196" y="107"/>
                      <a:pt x="196" y="107"/>
                      <a:pt x="196" y="107"/>
                    </a:cubicBezTo>
                    <a:cubicBezTo>
                      <a:pt x="198" y="111"/>
                      <a:pt x="198" y="111"/>
                      <a:pt x="198" y="111"/>
                    </a:cubicBezTo>
                    <a:cubicBezTo>
                      <a:pt x="195" y="116"/>
                      <a:pt x="195" y="116"/>
                      <a:pt x="195" y="116"/>
                    </a:cubicBezTo>
                    <a:cubicBezTo>
                      <a:pt x="191" y="118"/>
                      <a:pt x="191" y="118"/>
                      <a:pt x="191" y="118"/>
                    </a:cubicBezTo>
                    <a:cubicBezTo>
                      <a:pt x="184" y="120"/>
                      <a:pt x="184" y="120"/>
                      <a:pt x="184" y="120"/>
                    </a:cubicBezTo>
                    <a:cubicBezTo>
                      <a:pt x="175" y="122"/>
                      <a:pt x="175" y="122"/>
                      <a:pt x="175" y="122"/>
                    </a:cubicBezTo>
                    <a:cubicBezTo>
                      <a:pt x="167" y="121"/>
                      <a:pt x="167" y="121"/>
                      <a:pt x="167" y="121"/>
                    </a:cubicBezTo>
                    <a:cubicBezTo>
                      <a:pt x="163" y="123"/>
                      <a:pt x="163" y="123"/>
                      <a:pt x="163" y="123"/>
                    </a:cubicBezTo>
                    <a:cubicBezTo>
                      <a:pt x="159" y="123"/>
                      <a:pt x="159" y="123"/>
                      <a:pt x="159" y="123"/>
                    </a:cubicBezTo>
                    <a:cubicBezTo>
                      <a:pt x="155" y="128"/>
                      <a:pt x="155" y="128"/>
                      <a:pt x="155" y="128"/>
                    </a:cubicBezTo>
                    <a:cubicBezTo>
                      <a:pt x="149" y="130"/>
                      <a:pt x="149" y="130"/>
                      <a:pt x="149" y="130"/>
                    </a:cubicBezTo>
                    <a:cubicBezTo>
                      <a:pt x="143" y="130"/>
                      <a:pt x="143" y="130"/>
                      <a:pt x="143" y="130"/>
                    </a:cubicBezTo>
                    <a:cubicBezTo>
                      <a:pt x="137" y="133"/>
                      <a:pt x="137" y="133"/>
                      <a:pt x="137" y="133"/>
                    </a:cubicBezTo>
                    <a:cubicBezTo>
                      <a:pt x="128" y="133"/>
                      <a:pt x="128" y="133"/>
                      <a:pt x="128" y="133"/>
                    </a:cubicBezTo>
                    <a:cubicBezTo>
                      <a:pt x="124" y="129"/>
                      <a:pt x="124" y="129"/>
                      <a:pt x="124" y="129"/>
                    </a:cubicBezTo>
                    <a:cubicBezTo>
                      <a:pt x="119" y="125"/>
                      <a:pt x="119" y="125"/>
                      <a:pt x="119" y="125"/>
                    </a:cubicBezTo>
                    <a:cubicBezTo>
                      <a:pt x="117" y="124"/>
                      <a:pt x="117" y="124"/>
                      <a:pt x="117" y="124"/>
                    </a:cubicBezTo>
                    <a:cubicBezTo>
                      <a:pt x="104" y="123"/>
                      <a:pt x="104" y="123"/>
                      <a:pt x="104" y="123"/>
                    </a:cubicBezTo>
                    <a:cubicBezTo>
                      <a:pt x="96" y="122"/>
                      <a:pt x="96" y="122"/>
                      <a:pt x="96" y="122"/>
                    </a:cubicBezTo>
                    <a:cubicBezTo>
                      <a:pt x="89" y="121"/>
                      <a:pt x="89" y="121"/>
                      <a:pt x="89" y="121"/>
                    </a:cubicBezTo>
                    <a:cubicBezTo>
                      <a:pt x="83" y="122"/>
                      <a:pt x="83" y="122"/>
                      <a:pt x="83" y="122"/>
                    </a:cubicBezTo>
                    <a:cubicBezTo>
                      <a:pt x="77" y="121"/>
                      <a:pt x="77" y="121"/>
                      <a:pt x="77" y="121"/>
                    </a:cubicBezTo>
                    <a:cubicBezTo>
                      <a:pt x="73" y="119"/>
                      <a:pt x="73" y="119"/>
                      <a:pt x="73" y="119"/>
                    </a:cubicBezTo>
                    <a:cubicBezTo>
                      <a:pt x="68" y="114"/>
                      <a:pt x="68" y="114"/>
                      <a:pt x="68" y="114"/>
                    </a:cubicBezTo>
                    <a:cubicBezTo>
                      <a:pt x="63" y="110"/>
                      <a:pt x="63" y="110"/>
                      <a:pt x="63" y="110"/>
                    </a:cubicBezTo>
                    <a:cubicBezTo>
                      <a:pt x="60" y="107"/>
                      <a:pt x="60" y="107"/>
                      <a:pt x="60" y="107"/>
                    </a:cubicBezTo>
                    <a:cubicBezTo>
                      <a:pt x="58" y="103"/>
                      <a:pt x="58" y="103"/>
                      <a:pt x="58" y="103"/>
                    </a:cubicBezTo>
                    <a:cubicBezTo>
                      <a:pt x="55" y="99"/>
                      <a:pt x="55" y="99"/>
                      <a:pt x="55" y="99"/>
                    </a:cubicBezTo>
                    <a:cubicBezTo>
                      <a:pt x="50" y="97"/>
                      <a:pt x="50" y="97"/>
                      <a:pt x="50" y="97"/>
                    </a:cubicBezTo>
                    <a:cubicBezTo>
                      <a:pt x="47" y="95"/>
                      <a:pt x="47" y="95"/>
                      <a:pt x="47" y="95"/>
                    </a:cubicBezTo>
                    <a:cubicBezTo>
                      <a:pt x="42" y="92"/>
                      <a:pt x="42" y="92"/>
                      <a:pt x="42" y="92"/>
                    </a:cubicBezTo>
                    <a:cubicBezTo>
                      <a:pt x="37" y="92"/>
                      <a:pt x="37" y="92"/>
                      <a:pt x="37" y="92"/>
                    </a:cubicBezTo>
                    <a:cubicBezTo>
                      <a:pt x="32" y="90"/>
                      <a:pt x="32" y="90"/>
                      <a:pt x="32" y="90"/>
                    </a:cubicBezTo>
                    <a:cubicBezTo>
                      <a:pt x="31" y="86"/>
                      <a:pt x="31" y="86"/>
                      <a:pt x="31" y="86"/>
                    </a:cubicBezTo>
                    <a:cubicBezTo>
                      <a:pt x="32" y="81"/>
                      <a:pt x="32" y="81"/>
                      <a:pt x="32" y="81"/>
                    </a:cubicBezTo>
                    <a:cubicBezTo>
                      <a:pt x="33" y="77"/>
                      <a:pt x="33" y="77"/>
                      <a:pt x="33" y="77"/>
                    </a:cubicBezTo>
                    <a:cubicBezTo>
                      <a:pt x="30" y="72"/>
                      <a:pt x="30" y="72"/>
                      <a:pt x="30" y="72"/>
                    </a:cubicBezTo>
                    <a:cubicBezTo>
                      <a:pt x="25" y="70"/>
                      <a:pt x="25" y="70"/>
                      <a:pt x="25" y="70"/>
                    </a:cubicBezTo>
                    <a:cubicBezTo>
                      <a:pt x="25" y="67"/>
                      <a:pt x="25" y="67"/>
                      <a:pt x="25" y="67"/>
                    </a:cubicBezTo>
                    <a:cubicBezTo>
                      <a:pt x="20" y="61"/>
                      <a:pt x="20" y="61"/>
                      <a:pt x="20" y="61"/>
                    </a:cubicBezTo>
                    <a:cubicBezTo>
                      <a:pt x="15" y="58"/>
                      <a:pt x="15" y="58"/>
                      <a:pt x="15" y="58"/>
                    </a:cubicBezTo>
                    <a:cubicBezTo>
                      <a:pt x="9" y="59"/>
                      <a:pt x="9" y="59"/>
                      <a:pt x="9" y="59"/>
                    </a:cubicBezTo>
                    <a:cubicBezTo>
                      <a:pt x="5" y="58"/>
                      <a:pt x="5" y="58"/>
                      <a:pt x="5" y="58"/>
                    </a:cubicBezTo>
                    <a:cubicBezTo>
                      <a:pt x="2" y="55"/>
                      <a:pt x="2" y="55"/>
                      <a:pt x="2" y="55"/>
                    </a:cubicBezTo>
                    <a:cubicBezTo>
                      <a:pt x="1" y="52"/>
                      <a:pt x="1" y="52"/>
                      <a:pt x="1" y="52"/>
                    </a:cubicBezTo>
                    <a:cubicBezTo>
                      <a:pt x="0" y="45"/>
                      <a:pt x="0" y="45"/>
                      <a:pt x="0" y="45"/>
                    </a:cubicBezTo>
                    <a:lnTo>
                      <a:pt x="0" y="37"/>
                    </a:lnTo>
                    <a:close/>
                    <a:moveTo>
                      <a:pt x="39" y="20"/>
                    </a:moveTo>
                    <a:cubicBezTo>
                      <a:pt x="39" y="20"/>
                      <a:pt x="41" y="21"/>
                      <a:pt x="41" y="21"/>
                    </a:cubicBezTo>
                    <a:cubicBezTo>
                      <a:pt x="40" y="22"/>
                      <a:pt x="40" y="23"/>
                      <a:pt x="40" y="24"/>
                    </a:cubicBezTo>
                    <a:cubicBezTo>
                      <a:pt x="39" y="24"/>
                      <a:pt x="39" y="24"/>
                      <a:pt x="37" y="24"/>
                    </a:cubicBezTo>
                    <a:cubicBezTo>
                      <a:pt x="37" y="24"/>
                      <a:pt x="36" y="22"/>
                      <a:pt x="36" y="22"/>
                    </a:cubicBezTo>
                    <a:cubicBezTo>
                      <a:pt x="37" y="21"/>
                      <a:pt x="38" y="21"/>
                      <a:pt x="39" y="20"/>
                    </a:cubicBezTo>
                    <a:close/>
                    <a:moveTo>
                      <a:pt x="105" y="11"/>
                    </a:moveTo>
                    <a:cubicBezTo>
                      <a:pt x="106" y="13"/>
                      <a:pt x="106" y="13"/>
                      <a:pt x="106" y="13"/>
                    </a:cubicBezTo>
                    <a:cubicBezTo>
                      <a:pt x="107" y="16"/>
                      <a:pt x="103" y="22"/>
                      <a:pt x="103" y="14"/>
                    </a:cubicBezTo>
                    <a:lnTo>
                      <a:pt x="105" y="11"/>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61" name="Freeform 140">
                <a:extLst>
                  <a:ext uri="{FF2B5EF4-FFF2-40B4-BE49-F238E27FC236}">
                    <a16:creationId xmlns:a16="http://schemas.microsoft.com/office/drawing/2014/main" id="{35E2A91F-23D3-02C6-9DA2-2182F55AB87D}"/>
                  </a:ext>
                </a:extLst>
              </p:cNvPr>
              <p:cNvSpPr>
                <a:spLocks noEditPoints="1"/>
              </p:cNvSpPr>
              <p:nvPr/>
            </p:nvSpPr>
            <p:spPr bwMode="auto">
              <a:xfrm>
                <a:off x="4612" y="1083"/>
                <a:ext cx="531" cy="261"/>
              </a:xfrm>
              <a:custGeom>
                <a:avLst/>
                <a:gdLst>
                  <a:gd name="T0" fmla="*/ 8 w 271"/>
                  <a:gd name="T1" fmla="*/ 34 h 133"/>
                  <a:gd name="T2" fmla="*/ 12 w 271"/>
                  <a:gd name="T3" fmla="*/ 26 h 133"/>
                  <a:gd name="T4" fmla="*/ 26 w 271"/>
                  <a:gd name="T5" fmla="*/ 20 h 133"/>
                  <a:gd name="T6" fmla="*/ 39 w 271"/>
                  <a:gd name="T7" fmla="*/ 18 h 133"/>
                  <a:gd name="T8" fmla="*/ 52 w 271"/>
                  <a:gd name="T9" fmla="*/ 22 h 133"/>
                  <a:gd name="T10" fmla="*/ 69 w 271"/>
                  <a:gd name="T11" fmla="*/ 26 h 133"/>
                  <a:gd name="T12" fmla="*/ 86 w 271"/>
                  <a:gd name="T13" fmla="*/ 23 h 133"/>
                  <a:gd name="T14" fmla="*/ 78 w 271"/>
                  <a:gd name="T15" fmla="*/ 11 h 133"/>
                  <a:gd name="T16" fmla="*/ 84 w 271"/>
                  <a:gd name="T17" fmla="*/ 0 h 133"/>
                  <a:gd name="T18" fmla="*/ 100 w 271"/>
                  <a:gd name="T19" fmla="*/ 2 h 133"/>
                  <a:gd name="T20" fmla="*/ 117 w 271"/>
                  <a:gd name="T21" fmla="*/ 12 h 133"/>
                  <a:gd name="T22" fmla="*/ 128 w 271"/>
                  <a:gd name="T23" fmla="*/ 24 h 133"/>
                  <a:gd name="T24" fmla="*/ 141 w 271"/>
                  <a:gd name="T25" fmla="*/ 27 h 133"/>
                  <a:gd name="T26" fmla="*/ 155 w 271"/>
                  <a:gd name="T27" fmla="*/ 25 h 133"/>
                  <a:gd name="T28" fmla="*/ 166 w 271"/>
                  <a:gd name="T29" fmla="*/ 31 h 133"/>
                  <a:gd name="T30" fmla="*/ 178 w 271"/>
                  <a:gd name="T31" fmla="*/ 37 h 133"/>
                  <a:gd name="T32" fmla="*/ 190 w 271"/>
                  <a:gd name="T33" fmla="*/ 36 h 133"/>
                  <a:gd name="T34" fmla="*/ 206 w 271"/>
                  <a:gd name="T35" fmla="*/ 34 h 133"/>
                  <a:gd name="T36" fmla="*/ 224 w 271"/>
                  <a:gd name="T37" fmla="*/ 26 h 133"/>
                  <a:gd name="T38" fmla="*/ 241 w 271"/>
                  <a:gd name="T39" fmla="*/ 32 h 133"/>
                  <a:gd name="T40" fmla="*/ 236 w 271"/>
                  <a:gd name="T41" fmla="*/ 52 h 133"/>
                  <a:gd name="T42" fmla="*/ 248 w 271"/>
                  <a:gd name="T43" fmla="*/ 58 h 133"/>
                  <a:gd name="T44" fmla="*/ 258 w 271"/>
                  <a:gd name="T45" fmla="*/ 57 h 133"/>
                  <a:gd name="T46" fmla="*/ 271 w 271"/>
                  <a:gd name="T47" fmla="*/ 66 h 133"/>
                  <a:gd name="T48" fmla="*/ 256 w 271"/>
                  <a:gd name="T49" fmla="*/ 75 h 133"/>
                  <a:gd name="T50" fmla="*/ 242 w 271"/>
                  <a:gd name="T51" fmla="*/ 77 h 133"/>
                  <a:gd name="T52" fmla="*/ 234 w 271"/>
                  <a:gd name="T53" fmla="*/ 84 h 133"/>
                  <a:gd name="T54" fmla="*/ 214 w 271"/>
                  <a:gd name="T55" fmla="*/ 97 h 133"/>
                  <a:gd name="T56" fmla="*/ 201 w 271"/>
                  <a:gd name="T57" fmla="*/ 90 h 133"/>
                  <a:gd name="T58" fmla="*/ 195 w 271"/>
                  <a:gd name="T59" fmla="*/ 102 h 133"/>
                  <a:gd name="T60" fmla="*/ 195 w 271"/>
                  <a:gd name="T61" fmla="*/ 116 h 133"/>
                  <a:gd name="T62" fmla="*/ 175 w 271"/>
                  <a:gd name="T63" fmla="*/ 122 h 133"/>
                  <a:gd name="T64" fmla="*/ 159 w 271"/>
                  <a:gd name="T65" fmla="*/ 123 h 133"/>
                  <a:gd name="T66" fmla="*/ 143 w 271"/>
                  <a:gd name="T67" fmla="*/ 130 h 133"/>
                  <a:gd name="T68" fmla="*/ 124 w 271"/>
                  <a:gd name="T69" fmla="*/ 129 h 133"/>
                  <a:gd name="T70" fmla="*/ 104 w 271"/>
                  <a:gd name="T71" fmla="*/ 123 h 133"/>
                  <a:gd name="T72" fmla="*/ 83 w 271"/>
                  <a:gd name="T73" fmla="*/ 122 h 133"/>
                  <a:gd name="T74" fmla="*/ 68 w 271"/>
                  <a:gd name="T75" fmla="*/ 114 h 133"/>
                  <a:gd name="T76" fmla="*/ 58 w 271"/>
                  <a:gd name="T77" fmla="*/ 103 h 133"/>
                  <a:gd name="T78" fmla="*/ 47 w 271"/>
                  <a:gd name="T79" fmla="*/ 95 h 133"/>
                  <a:gd name="T80" fmla="*/ 32 w 271"/>
                  <a:gd name="T81" fmla="*/ 90 h 133"/>
                  <a:gd name="T82" fmla="*/ 33 w 271"/>
                  <a:gd name="T83" fmla="*/ 77 h 133"/>
                  <a:gd name="T84" fmla="*/ 25 w 271"/>
                  <a:gd name="T85" fmla="*/ 67 h 133"/>
                  <a:gd name="T86" fmla="*/ 9 w 271"/>
                  <a:gd name="T87" fmla="*/ 59 h 133"/>
                  <a:gd name="T88" fmla="*/ 1 w 271"/>
                  <a:gd name="T89" fmla="*/ 52 h 133"/>
                  <a:gd name="T90" fmla="*/ 39 w 271"/>
                  <a:gd name="T91" fmla="*/ 20 h 133"/>
                  <a:gd name="T92" fmla="*/ 37 w 271"/>
                  <a:gd name="T93" fmla="*/ 24 h 133"/>
                  <a:gd name="T94" fmla="*/ 105 w 271"/>
                  <a:gd name="T95" fmla="*/ 11 h 133"/>
                  <a:gd name="T96" fmla="*/ 105 w 271"/>
                  <a:gd name="T97" fmla="*/ 1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1" h="133">
                    <a:moveTo>
                      <a:pt x="0" y="37"/>
                    </a:moveTo>
                    <a:cubicBezTo>
                      <a:pt x="5" y="36"/>
                      <a:pt x="5" y="36"/>
                      <a:pt x="5" y="36"/>
                    </a:cubicBezTo>
                    <a:cubicBezTo>
                      <a:pt x="8" y="34"/>
                      <a:pt x="8" y="34"/>
                      <a:pt x="8" y="34"/>
                    </a:cubicBezTo>
                    <a:cubicBezTo>
                      <a:pt x="10" y="31"/>
                      <a:pt x="10" y="31"/>
                      <a:pt x="10" y="31"/>
                    </a:cubicBezTo>
                    <a:cubicBezTo>
                      <a:pt x="10" y="29"/>
                      <a:pt x="10" y="29"/>
                      <a:pt x="10" y="29"/>
                    </a:cubicBezTo>
                    <a:cubicBezTo>
                      <a:pt x="12" y="26"/>
                      <a:pt x="12" y="26"/>
                      <a:pt x="12" y="26"/>
                    </a:cubicBezTo>
                    <a:cubicBezTo>
                      <a:pt x="16" y="24"/>
                      <a:pt x="16" y="24"/>
                      <a:pt x="16" y="24"/>
                    </a:cubicBezTo>
                    <a:cubicBezTo>
                      <a:pt x="20" y="22"/>
                      <a:pt x="20" y="22"/>
                      <a:pt x="20" y="22"/>
                    </a:cubicBezTo>
                    <a:cubicBezTo>
                      <a:pt x="26" y="20"/>
                      <a:pt x="26" y="20"/>
                      <a:pt x="26" y="20"/>
                    </a:cubicBezTo>
                    <a:cubicBezTo>
                      <a:pt x="29" y="17"/>
                      <a:pt x="29" y="17"/>
                      <a:pt x="29" y="17"/>
                    </a:cubicBezTo>
                    <a:cubicBezTo>
                      <a:pt x="34" y="17"/>
                      <a:pt x="34" y="17"/>
                      <a:pt x="34" y="17"/>
                    </a:cubicBezTo>
                    <a:cubicBezTo>
                      <a:pt x="39" y="18"/>
                      <a:pt x="39" y="18"/>
                      <a:pt x="39" y="18"/>
                    </a:cubicBezTo>
                    <a:cubicBezTo>
                      <a:pt x="41" y="21"/>
                      <a:pt x="41" y="21"/>
                      <a:pt x="41" y="21"/>
                    </a:cubicBezTo>
                    <a:cubicBezTo>
                      <a:pt x="46" y="18"/>
                      <a:pt x="46" y="18"/>
                      <a:pt x="46" y="18"/>
                    </a:cubicBezTo>
                    <a:cubicBezTo>
                      <a:pt x="52" y="22"/>
                      <a:pt x="52" y="22"/>
                      <a:pt x="52" y="22"/>
                    </a:cubicBezTo>
                    <a:cubicBezTo>
                      <a:pt x="57" y="24"/>
                      <a:pt x="57" y="24"/>
                      <a:pt x="57" y="24"/>
                    </a:cubicBezTo>
                    <a:cubicBezTo>
                      <a:pt x="63" y="25"/>
                      <a:pt x="63" y="25"/>
                      <a:pt x="63" y="25"/>
                    </a:cubicBezTo>
                    <a:cubicBezTo>
                      <a:pt x="69" y="26"/>
                      <a:pt x="69" y="26"/>
                      <a:pt x="69" y="26"/>
                    </a:cubicBezTo>
                    <a:cubicBezTo>
                      <a:pt x="77" y="25"/>
                      <a:pt x="77" y="25"/>
                      <a:pt x="77" y="25"/>
                    </a:cubicBezTo>
                    <a:cubicBezTo>
                      <a:pt x="84" y="25"/>
                      <a:pt x="84" y="25"/>
                      <a:pt x="84" y="25"/>
                    </a:cubicBezTo>
                    <a:cubicBezTo>
                      <a:pt x="86" y="23"/>
                      <a:pt x="86" y="23"/>
                      <a:pt x="86" y="23"/>
                    </a:cubicBezTo>
                    <a:cubicBezTo>
                      <a:pt x="85" y="17"/>
                      <a:pt x="85" y="17"/>
                      <a:pt x="85" y="17"/>
                    </a:cubicBezTo>
                    <a:cubicBezTo>
                      <a:pt x="83" y="13"/>
                      <a:pt x="83" y="13"/>
                      <a:pt x="83" y="13"/>
                    </a:cubicBezTo>
                    <a:cubicBezTo>
                      <a:pt x="78" y="11"/>
                      <a:pt x="78" y="11"/>
                      <a:pt x="78" y="11"/>
                    </a:cubicBezTo>
                    <a:cubicBezTo>
                      <a:pt x="80" y="7"/>
                      <a:pt x="80" y="7"/>
                      <a:pt x="80" y="7"/>
                    </a:cubicBezTo>
                    <a:cubicBezTo>
                      <a:pt x="82" y="4"/>
                      <a:pt x="82" y="4"/>
                      <a:pt x="82" y="4"/>
                    </a:cubicBezTo>
                    <a:cubicBezTo>
                      <a:pt x="84" y="0"/>
                      <a:pt x="84" y="0"/>
                      <a:pt x="84" y="0"/>
                    </a:cubicBezTo>
                    <a:cubicBezTo>
                      <a:pt x="90" y="1"/>
                      <a:pt x="90" y="1"/>
                      <a:pt x="90" y="1"/>
                    </a:cubicBezTo>
                    <a:cubicBezTo>
                      <a:pt x="94" y="2"/>
                      <a:pt x="94" y="2"/>
                      <a:pt x="94" y="2"/>
                    </a:cubicBezTo>
                    <a:cubicBezTo>
                      <a:pt x="100" y="2"/>
                      <a:pt x="100" y="2"/>
                      <a:pt x="100" y="2"/>
                    </a:cubicBezTo>
                    <a:cubicBezTo>
                      <a:pt x="103" y="5"/>
                      <a:pt x="103" y="5"/>
                      <a:pt x="103" y="5"/>
                    </a:cubicBezTo>
                    <a:cubicBezTo>
                      <a:pt x="109" y="5"/>
                      <a:pt x="109" y="5"/>
                      <a:pt x="109" y="5"/>
                    </a:cubicBezTo>
                    <a:cubicBezTo>
                      <a:pt x="117" y="12"/>
                      <a:pt x="117" y="12"/>
                      <a:pt x="117" y="12"/>
                    </a:cubicBezTo>
                    <a:cubicBezTo>
                      <a:pt x="122" y="16"/>
                      <a:pt x="122" y="16"/>
                      <a:pt x="122" y="16"/>
                    </a:cubicBezTo>
                    <a:cubicBezTo>
                      <a:pt x="125" y="22"/>
                      <a:pt x="125" y="22"/>
                      <a:pt x="125" y="22"/>
                    </a:cubicBezTo>
                    <a:cubicBezTo>
                      <a:pt x="128" y="24"/>
                      <a:pt x="128" y="24"/>
                      <a:pt x="128" y="24"/>
                    </a:cubicBezTo>
                    <a:cubicBezTo>
                      <a:pt x="134" y="28"/>
                      <a:pt x="134" y="28"/>
                      <a:pt x="134" y="28"/>
                    </a:cubicBezTo>
                    <a:cubicBezTo>
                      <a:pt x="138" y="27"/>
                      <a:pt x="138" y="27"/>
                      <a:pt x="138" y="27"/>
                    </a:cubicBezTo>
                    <a:cubicBezTo>
                      <a:pt x="141" y="27"/>
                      <a:pt x="141" y="27"/>
                      <a:pt x="141" y="27"/>
                    </a:cubicBezTo>
                    <a:cubicBezTo>
                      <a:pt x="146" y="26"/>
                      <a:pt x="146" y="26"/>
                      <a:pt x="146" y="26"/>
                    </a:cubicBezTo>
                    <a:cubicBezTo>
                      <a:pt x="149" y="23"/>
                      <a:pt x="149" y="23"/>
                      <a:pt x="149" y="23"/>
                    </a:cubicBezTo>
                    <a:cubicBezTo>
                      <a:pt x="155" y="25"/>
                      <a:pt x="155" y="25"/>
                      <a:pt x="155" y="25"/>
                    </a:cubicBezTo>
                    <a:cubicBezTo>
                      <a:pt x="163" y="27"/>
                      <a:pt x="163" y="27"/>
                      <a:pt x="163" y="27"/>
                    </a:cubicBezTo>
                    <a:cubicBezTo>
                      <a:pt x="166" y="28"/>
                      <a:pt x="166" y="28"/>
                      <a:pt x="166" y="28"/>
                    </a:cubicBezTo>
                    <a:cubicBezTo>
                      <a:pt x="166" y="31"/>
                      <a:pt x="166" y="31"/>
                      <a:pt x="166" y="31"/>
                    </a:cubicBezTo>
                    <a:cubicBezTo>
                      <a:pt x="169" y="34"/>
                      <a:pt x="169" y="34"/>
                      <a:pt x="169" y="34"/>
                    </a:cubicBezTo>
                    <a:cubicBezTo>
                      <a:pt x="174" y="34"/>
                      <a:pt x="174" y="34"/>
                      <a:pt x="174" y="34"/>
                    </a:cubicBezTo>
                    <a:cubicBezTo>
                      <a:pt x="178" y="37"/>
                      <a:pt x="178" y="37"/>
                      <a:pt x="178" y="37"/>
                    </a:cubicBezTo>
                    <a:cubicBezTo>
                      <a:pt x="182" y="37"/>
                      <a:pt x="182" y="37"/>
                      <a:pt x="182" y="37"/>
                    </a:cubicBezTo>
                    <a:cubicBezTo>
                      <a:pt x="186" y="35"/>
                      <a:pt x="186" y="35"/>
                      <a:pt x="186" y="35"/>
                    </a:cubicBezTo>
                    <a:cubicBezTo>
                      <a:pt x="190" y="36"/>
                      <a:pt x="190" y="36"/>
                      <a:pt x="190" y="36"/>
                    </a:cubicBezTo>
                    <a:cubicBezTo>
                      <a:pt x="195" y="38"/>
                      <a:pt x="195" y="38"/>
                      <a:pt x="195" y="38"/>
                    </a:cubicBezTo>
                    <a:cubicBezTo>
                      <a:pt x="202" y="36"/>
                      <a:pt x="202" y="36"/>
                      <a:pt x="202" y="36"/>
                    </a:cubicBezTo>
                    <a:cubicBezTo>
                      <a:pt x="206" y="34"/>
                      <a:pt x="206" y="34"/>
                      <a:pt x="206" y="34"/>
                    </a:cubicBezTo>
                    <a:cubicBezTo>
                      <a:pt x="214" y="33"/>
                      <a:pt x="214" y="33"/>
                      <a:pt x="214" y="33"/>
                    </a:cubicBezTo>
                    <a:cubicBezTo>
                      <a:pt x="222" y="27"/>
                      <a:pt x="222" y="27"/>
                      <a:pt x="222" y="27"/>
                    </a:cubicBezTo>
                    <a:cubicBezTo>
                      <a:pt x="224" y="26"/>
                      <a:pt x="224" y="26"/>
                      <a:pt x="224" y="26"/>
                    </a:cubicBezTo>
                    <a:cubicBezTo>
                      <a:pt x="230" y="31"/>
                      <a:pt x="230" y="31"/>
                      <a:pt x="230" y="31"/>
                    </a:cubicBezTo>
                    <a:cubicBezTo>
                      <a:pt x="235" y="30"/>
                      <a:pt x="235" y="30"/>
                      <a:pt x="235" y="30"/>
                    </a:cubicBezTo>
                    <a:cubicBezTo>
                      <a:pt x="241" y="32"/>
                      <a:pt x="241" y="32"/>
                      <a:pt x="241" y="32"/>
                    </a:cubicBezTo>
                    <a:cubicBezTo>
                      <a:pt x="237" y="42"/>
                      <a:pt x="237" y="42"/>
                      <a:pt x="237" y="42"/>
                    </a:cubicBezTo>
                    <a:cubicBezTo>
                      <a:pt x="237" y="42"/>
                      <a:pt x="237" y="44"/>
                      <a:pt x="238" y="45"/>
                    </a:cubicBezTo>
                    <a:cubicBezTo>
                      <a:pt x="239" y="49"/>
                      <a:pt x="236" y="52"/>
                      <a:pt x="236" y="52"/>
                    </a:cubicBezTo>
                    <a:cubicBezTo>
                      <a:pt x="235" y="57"/>
                      <a:pt x="235" y="57"/>
                      <a:pt x="235" y="57"/>
                    </a:cubicBezTo>
                    <a:cubicBezTo>
                      <a:pt x="242" y="59"/>
                      <a:pt x="242" y="59"/>
                      <a:pt x="242" y="59"/>
                    </a:cubicBezTo>
                    <a:cubicBezTo>
                      <a:pt x="248" y="58"/>
                      <a:pt x="248" y="58"/>
                      <a:pt x="248" y="58"/>
                    </a:cubicBezTo>
                    <a:cubicBezTo>
                      <a:pt x="253" y="53"/>
                      <a:pt x="253" y="53"/>
                      <a:pt x="253" y="53"/>
                    </a:cubicBezTo>
                    <a:cubicBezTo>
                      <a:pt x="256" y="54"/>
                      <a:pt x="256" y="54"/>
                      <a:pt x="256" y="54"/>
                    </a:cubicBezTo>
                    <a:cubicBezTo>
                      <a:pt x="258" y="57"/>
                      <a:pt x="258" y="57"/>
                      <a:pt x="258" y="57"/>
                    </a:cubicBezTo>
                    <a:cubicBezTo>
                      <a:pt x="262" y="60"/>
                      <a:pt x="262" y="60"/>
                      <a:pt x="262" y="60"/>
                    </a:cubicBezTo>
                    <a:cubicBezTo>
                      <a:pt x="268" y="62"/>
                      <a:pt x="268" y="62"/>
                      <a:pt x="268" y="62"/>
                    </a:cubicBezTo>
                    <a:cubicBezTo>
                      <a:pt x="271" y="66"/>
                      <a:pt x="271" y="66"/>
                      <a:pt x="271" y="66"/>
                    </a:cubicBezTo>
                    <a:cubicBezTo>
                      <a:pt x="270" y="70"/>
                      <a:pt x="270" y="70"/>
                      <a:pt x="270" y="70"/>
                    </a:cubicBezTo>
                    <a:cubicBezTo>
                      <a:pt x="270" y="70"/>
                      <a:pt x="265" y="69"/>
                      <a:pt x="262" y="70"/>
                    </a:cubicBezTo>
                    <a:cubicBezTo>
                      <a:pt x="260" y="70"/>
                      <a:pt x="256" y="75"/>
                      <a:pt x="256" y="75"/>
                    </a:cubicBezTo>
                    <a:cubicBezTo>
                      <a:pt x="251" y="74"/>
                      <a:pt x="251" y="74"/>
                      <a:pt x="251" y="74"/>
                    </a:cubicBezTo>
                    <a:cubicBezTo>
                      <a:pt x="244" y="79"/>
                      <a:pt x="244" y="79"/>
                      <a:pt x="244" y="79"/>
                    </a:cubicBezTo>
                    <a:cubicBezTo>
                      <a:pt x="242" y="77"/>
                      <a:pt x="242" y="77"/>
                      <a:pt x="242" y="77"/>
                    </a:cubicBezTo>
                    <a:cubicBezTo>
                      <a:pt x="239" y="77"/>
                      <a:pt x="239" y="77"/>
                      <a:pt x="239" y="77"/>
                    </a:cubicBezTo>
                    <a:cubicBezTo>
                      <a:pt x="237" y="82"/>
                      <a:pt x="237" y="82"/>
                      <a:pt x="237" y="82"/>
                    </a:cubicBezTo>
                    <a:cubicBezTo>
                      <a:pt x="234" y="84"/>
                      <a:pt x="234" y="84"/>
                      <a:pt x="234" y="84"/>
                    </a:cubicBezTo>
                    <a:cubicBezTo>
                      <a:pt x="223" y="87"/>
                      <a:pt x="223" y="87"/>
                      <a:pt x="223" y="87"/>
                    </a:cubicBezTo>
                    <a:cubicBezTo>
                      <a:pt x="221" y="93"/>
                      <a:pt x="221" y="93"/>
                      <a:pt x="221" y="93"/>
                    </a:cubicBezTo>
                    <a:cubicBezTo>
                      <a:pt x="214" y="97"/>
                      <a:pt x="214" y="97"/>
                      <a:pt x="214" y="97"/>
                    </a:cubicBezTo>
                    <a:cubicBezTo>
                      <a:pt x="209" y="95"/>
                      <a:pt x="209" y="95"/>
                      <a:pt x="209" y="95"/>
                    </a:cubicBezTo>
                    <a:cubicBezTo>
                      <a:pt x="205" y="91"/>
                      <a:pt x="205" y="91"/>
                      <a:pt x="205" y="91"/>
                    </a:cubicBezTo>
                    <a:cubicBezTo>
                      <a:pt x="201" y="90"/>
                      <a:pt x="201" y="90"/>
                      <a:pt x="201" y="90"/>
                    </a:cubicBezTo>
                    <a:cubicBezTo>
                      <a:pt x="197" y="92"/>
                      <a:pt x="197" y="92"/>
                      <a:pt x="197" y="92"/>
                    </a:cubicBezTo>
                    <a:cubicBezTo>
                      <a:pt x="195" y="97"/>
                      <a:pt x="195" y="97"/>
                      <a:pt x="195" y="97"/>
                    </a:cubicBezTo>
                    <a:cubicBezTo>
                      <a:pt x="195" y="102"/>
                      <a:pt x="195" y="102"/>
                      <a:pt x="195" y="102"/>
                    </a:cubicBezTo>
                    <a:cubicBezTo>
                      <a:pt x="196" y="107"/>
                      <a:pt x="196" y="107"/>
                      <a:pt x="196" y="107"/>
                    </a:cubicBezTo>
                    <a:cubicBezTo>
                      <a:pt x="198" y="111"/>
                      <a:pt x="198" y="111"/>
                      <a:pt x="198" y="111"/>
                    </a:cubicBezTo>
                    <a:cubicBezTo>
                      <a:pt x="195" y="116"/>
                      <a:pt x="195" y="116"/>
                      <a:pt x="195" y="116"/>
                    </a:cubicBezTo>
                    <a:cubicBezTo>
                      <a:pt x="191" y="118"/>
                      <a:pt x="191" y="118"/>
                      <a:pt x="191" y="118"/>
                    </a:cubicBezTo>
                    <a:cubicBezTo>
                      <a:pt x="184" y="120"/>
                      <a:pt x="184" y="120"/>
                      <a:pt x="184" y="120"/>
                    </a:cubicBezTo>
                    <a:cubicBezTo>
                      <a:pt x="175" y="122"/>
                      <a:pt x="175" y="122"/>
                      <a:pt x="175" y="122"/>
                    </a:cubicBezTo>
                    <a:cubicBezTo>
                      <a:pt x="167" y="121"/>
                      <a:pt x="167" y="121"/>
                      <a:pt x="167" y="121"/>
                    </a:cubicBezTo>
                    <a:cubicBezTo>
                      <a:pt x="163" y="123"/>
                      <a:pt x="163" y="123"/>
                      <a:pt x="163" y="123"/>
                    </a:cubicBezTo>
                    <a:cubicBezTo>
                      <a:pt x="159" y="123"/>
                      <a:pt x="159" y="123"/>
                      <a:pt x="159" y="123"/>
                    </a:cubicBezTo>
                    <a:cubicBezTo>
                      <a:pt x="155" y="128"/>
                      <a:pt x="155" y="128"/>
                      <a:pt x="155" y="128"/>
                    </a:cubicBezTo>
                    <a:cubicBezTo>
                      <a:pt x="149" y="130"/>
                      <a:pt x="149" y="130"/>
                      <a:pt x="149" y="130"/>
                    </a:cubicBezTo>
                    <a:cubicBezTo>
                      <a:pt x="143" y="130"/>
                      <a:pt x="143" y="130"/>
                      <a:pt x="143" y="130"/>
                    </a:cubicBezTo>
                    <a:cubicBezTo>
                      <a:pt x="137" y="133"/>
                      <a:pt x="137" y="133"/>
                      <a:pt x="137" y="133"/>
                    </a:cubicBezTo>
                    <a:cubicBezTo>
                      <a:pt x="128" y="133"/>
                      <a:pt x="128" y="133"/>
                      <a:pt x="128" y="133"/>
                    </a:cubicBezTo>
                    <a:cubicBezTo>
                      <a:pt x="124" y="129"/>
                      <a:pt x="124" y="129"/>
                      <a:pt x="124" y="129"/>
                    </a:cubicBezTo>
                    <a:cubicBezTo>
                      <a:pt x="119" y="125"/>
                      <a:pt x="119" y="125"/>
                      <a:pt x="119" y="125"/>
                    </a:cubicBezTo>
                    <a:cubicBezTo>
                      <a:pt x="117" y="124"/>
                      <a:pt x="117" y="124"/>
                      <a:pt x="117" y="124"/>
                    </a:cubicBezTo>
                    <a:cubicBezTo>
                      <a:pt x="104" y="123"/>
                      <a:pt x="104" y="123"/>
                      <a:pt x="104" y="123"/>
                    </a:cubicBezTo>
                    <a:cubicBezTo>
                      <a:pt x="96" y="122"/>
                      <a:pt x="96" y="122"/>
                      <a:pt x="96" y="122"/>
                    </a:cubicBezTo>
                    <a:cubicBezTo>
                      <a:pt x="89" y="121"/>
                      <a:pt x="89" y="121"/>
                      <a:pt x="89" y="121"/>
                    </a:cubicBezTo>
                    <a:cubicBezTo>
                      <a:pt x="83" y="122"/>
                      <a:pt x="83" y="122"/>
                      <a:pt x="83" y="122"/>
                    </a:cubicBezTo>
                    <a:cubicBezTo>
                      <a:pt x="77" y="121"/>
                      <a:pt x="77" y="121"/>
                      <a:pt x="77" y="121"/>
                    </a:cubicBezTo>
                    <a:cubicBezTo>
                      <a:pt x="73" y="119"/>
                      <a:pt x="73" y="119"/>
                      <a:pt x="73" y="119"/>
                    </a:cubicBezTo>
                    <a:cubicBezTo>
                      <a:pt x="68" y="114"/>
                      <a:pt x="68" y="114"/>
                      <a:pt x="68" y="114"/>
                    </a:cubicBezTo>
                    <a:cubicBezTo>
                      <a:pt x="63" y="110"/>
                      <a:pt x="63" y="110"/>
                      <a:pt x="63" y="110"/>
                    </a:cubicBezTo>
                    <a:cubicBezTo>
                      <a:pt x="60" y="107"/>
                      <a:pt x="60" y="107"/>
                      <a:pt x="60" y="107"/>
                    </a:cubicBezTo>
                    <a:cubicBezTo>
                      <a:pt x="58" y="103"/>
                      <a:pt x="58" y="103"/>
                      <a:pt x="58" y="103"/>
                    </a:cubicBezTo>
                    <a:cubicBezTo>
                      <a:pt x="55" y="99"/>
                      <a:pt x="55" y="99"/>
                      <a:pt x="55" y="99"/>
                    </a:cubicBezTo>
                    <a:cubicBezTo>
                      <a:pt x="50" y="97"/>
                      <a:pt x="50" y="97"/>
                      <a:pt x="50" y="97"/>
                    </a:cubicBezTo>
                    <a:cubicBezTo>
                      <a:pt x="47" y="95"/>
                      <a:pt x="47" y="95"/>
                      <a:pt x="47" y="95"/>
                    </a:cubicBezTo>
                    <a:cubicBezTo>
                      <a:pt x="42" y="92"/>
                      <a:pt x="42" y="92"/>
                      <a:pt x="42" y="92"/>
                    </a:cubicBezTo>
                    <a:cubicBezTo>
                      <a:pt x="37" y="92"/>
                      <a:pt x="37" y="92"/>
                      <a:pt x="37" y="92"/>
                    </a:cubicBezTo>
                    <a:cubicBezTo>
                      <a:pt x="32" y="90"/>
                      <a:pt x="32" y="90"/>
                      <a:pt x="32" y="90"/>
                    </a:cubicBezTo>
                    <a:cubicBezTo>
                      <a:pt x="31" y="86"/>
                      <a:pt x="31" y="86"/>
                      <a:pt x="31" y="86"/>
                    </a:cubicBezTo>
                    <a:cubicBezTo>
                      <a:pt x="32" y="81"/>
                      <a:pt x="32" y="81"/>
                      <a:pt x="32" y="81"/>
                    </a:cubicBezTo>
                    <a:cubicBezTo>
                      <a:pt x="33" y="77"/>
                      <a:pt x="33" y="77"/>
                      <a:pt x="33" y="77"/>
                    </a:cubicBezTo>
                    <a:cubicBezTo>
                      <a:pt x="30" y="72"/>
                      <a:pt x="30" y="72"/>
                      <a:pt x="30" y="72"/>
                    </a:cubicBezTo>
                    <a:cubicBezTo>
                      <a:pt x="25" y="70"/>
                      <a:pt x="25" y="70"/>
                      <a:pt x="25" y="70"/>
                    </a:cubicBezTo>
                    <a:cubicBezTo>
                      <a:pt x="25" y="67"/>
                      <a:pt x="25" y="67"/>
                      <a:pt x="25" y="67"/>
                    </a:cubicBezTo>
                    <a:cubicBezTo>
                      <a:pt x="20" y="61"/>
                      <a:pt x="20" y="61"/>
                      <a:pt x="20" y="61"/>
                    </a:cubicBezTo>
                    <a:cubicBezTo>
                      <a:pt x="15" y="58"/>
                      <a:pt x="15" y="58"/>
                      <a:pt x="15" y="58"/>
                    </a:cubicBezTo>
                    <a:cubicBezTo>
                      <a:pt x="9" y="59"/>
                      <a:pt x="9" y="59"/>
                      <a:pt x="9" y="59"/>
                    </a:cubicBezTo>
                    <a:cubicBezTo>
                      <a:pt x="5" y="58"/>
                      <a:pt x="5" y="58"/>
                      <a:pt x="5" y="58"/>
                    </a:cubicBezTo>
                    <a:cubicBezTo>
                      <a:pt x="2" y="55"/>
                      <a:pt x="2" y="55"/>
                      <a:pt x="2" y="55"/>
                    </a:cubicBezTo>
                    <a:cubicBezTo>
                      <a:pt x="1" y="52"/>
                      <a:pt x="1" y="52"/>
                      <a:pt x="1" y="52"/>
                    </a:cubicBezTo>
                    <a:cubicBezTo>
                      <a:pt x="0" y="45"/>
                      <a:pt x="0" y="45"/>
                      <a:pt x="0" y="45"/>
                    </a:cubicBezTo>
                    <a:lnTo>
                      <a:pt x="0" y="37"/>
                    </a:lnTo>
                    <a:close/>
                    <a:moveTo>
                      <a:pt x="39" y="20"/>
                    </a:moveTo>
                    <a:cubicBezTo>
                      <a:pt x="39" y="20"/>
                      <a:pt x="41" y="21"/>
                      <a:pt x="41" y="21"/>
                    </a:cubicBezTo>
                    <a:cubicBezTo>
                      <a:pt x="40" y="22"/>
                      <a:pt x="40" y="23"/>
                      <a:pt x="40" y="24"/>
                    </a:cubicBezTo>
                    <a:cubicBezTo>
                      <a:pt x="39" y="24"/>
                      <a:pt x="39" y="24"/>
                      <a:pt x="37" y="24"/>
                    </a:cubicBezTo>
                    <a:cubicBezTo>
                      <a:pt x="37" y="24"/>
                      <a:pt x="36" y="22"/>
                      <a:pt x="36" y="22"/>
                    </a:cubicBezTo>
                    <a:cubicBezTo>
                      <a:pt x="37" y="21"/>
                      <a:pt x="38" y="21"/>
                      <a:pt x="39" y="20"/>
                    </a:cubicBezTo>
                    <a:close/>
                    <a:moveTo>
                      <a:pt x="105" y="11"/>
                    </a:moveTo>
                    <a:cubicBezTo>
                      <a:pt x="106" y="13"/>
                      <a:pt x="106" y="13"/>
                      <a:pt x="106" y="13"/>
                    </a:cubicBezTo>
                    <a:cubicBezTo>
                      <a:pt x="107" y="16"/>
                      <a:pt x="103" y="22"/>
                      <a:pt x="103" y="14"/>
                    </a:cubicBezTo>
                    <a:lnTo>
                      <a:pt x="105" y="11"/>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62" name="Freeform 141">
                <a:extLst>
                  <a:ext uri="{FF2B5EF4-FFF2-40B4-BE49-F238E27FC236}">
                    <a16:creationId xmlns:a16="http://schemas.microsoft.com/office/drawing/2014/main" id="{DCF9C9EE-4D66-A32C-CDD1-7CE4BCFB920D}"/>
                  </a:ext>
                </a:extLst>
              </p:cNvPr>
              <p:cNvSpPr>
                <a:spLocks/>
              </p:cNvSpPr>
              <p:nvPr/>
            </p:nvSpPr>
            <p:spPr bwMode="auto">
              <a:xfrm>
                <a:off x="3231" y="1291"/>
                <a:ext cx="6" cy="6"/>
              </a:xfrm>
              <a:custGeom>
                <a:avLst/>
                <a:gdLst>
                  <a:gd name="T0" fmla="*/ 1 w 3"/>
                  <a:gd name="T1" fmla="*/ 3 h 3"/>
                  <a:gd name="T2" fmla="*/ 0 w 3"/>
                  <a:gd name="T3" fmla="*/ 1 h 3"/>
                  <a:gd name="T4" fmla="*/ 2 w 3"/>
                  <a:gd name="T5" fmla="*/ 0 h 3"/>
                  <a:gd name="T6" fmla="*/ 3 w 3"/>
                  <a:gd name="T7" fmla="*/ 2 h 3"/>
                  <a:gd name="T8" fmla="*/ 2 w 3"/>
                  <a:gd name="T9" fmla="*/ 3 h 3"/>
                  <a:gd name="T10" fmla="*/ 1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1" y="3"/>
                    </a:moveTo>
                    <a:cubicBezTo>
                      <a:pt x="0" y="1"/>
                      <a:pt x="0" y="1"/>
                      <a:pt x="0" y="1"/>
                    </a:cubicBezTo>
                    <a:cubicBezTo>
                      <a:pt x="2" y="0"/>
                      <a:pt x="2" y="0"/>
                      <a:pt x="2" y="0"/>
                    </a:cubicBezTo>
                    <a:cubicBezTo>
                      <a:pt x="3" y="2"/>
                      <a:pt x="3" y="2"/>
                      <a:pt x="3" y="2"/>
                    </a:cubicBezTo>
                    <a:cubicBezTo>
                      <a:pt x="2" y="2"/>
                      <a:pt x="2" y="3"/>
                      <a:pt x="2" y="3"/>
                    </a:cubicBezTo>
                    <a:lnTo>
                      <a:pt x="1" y="3"/>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63" name="Freeform 142">
                <a:extLst>
                  <a:ext uri="{FF2B5EF4-FFF2-40B4-BE49-F238E27FC236}">
                    <a16:creationId xmlns:a16="http://schemas.microsoft.com/office/drawing/2014/main" id="{D9362A53-9540-9560-7A86-79162DA7BED9}"/>
                  </a:ext>
                </a:extLst>
              </p:cNvPr>
              <p:cNvSpPr>
                <a:spLocks/>
              </p:cNvSpPr>
              <p:nvPr/>
            </p:nvSpPr>
            <p:spPr bwMode="auto">
              <a:xfrm>
                <a:off x="3231" y="1291"/>
                <a:ext cx="6" cy="6"/>
              </a:xfrm>
              <a:custGeom>
                <a:avLst/>
                <a:gdLst>
                  <a:gd name="T0" fmla="*/ 1 w 3"/>
                  <a:gd name="T1" fmla="*/ 3 h 3"/>
                  <a:gd name="T2" fmla="*/ 0 w 3"/>
                  <a:gd name="T3" fmla="*/ 1 h 3"/>
                  <a:gd name="T4" fmla="*/ 2 w 3"/>
                  <a:gd name="T5" fmla="*/ 0 h 3"/>
                  <a:gd name="T6" fmla="*/ 3 w 3"/>
                  <a:gd name="T7" fmla="*/ 2 h 3"/>
                  <a:gd name="T8" fmla="*/ 2 w 3"/>
                  <a:gd name="T9" fmla="*/ 3 h 3"/>
                  <a:gd name="T10" fmla="*/ 1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1" y="3"/>
                    </a:moveTo>
                    <a:cubicBezTo>
                      <a:pt x="0" y="1"/>
                      <a:pt x="0" y="1"/>
                      <a:pt x="0" y="1"/>
                    </a:cubicBezTo>
                    <a:cubicBezTo>
                      <a:pt x="2" y="0"/>
                      <a:pt x="2" y="0"/>
                      <a:pt x="2" y="0"/>
                    </a:cubicBezTo>
                    <a:cubicBezTo>
                      <a:pt x="3" y="2"/>
                      <a:pt x="3" y="2"/>
                      <a:pt x="3" y="2"/>
                    </a:cubicBezTo>
                    <a:cubicBezTo>
                      <a:pt x="2" y="2"/>
                      <a:pt x="2" y="3"/>
                      <a:pt x="2" y="3"/>
                    </a:cubicBezTo>
                    <a:lnTo>
                      <a:pt x="1" y="3"/>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64" name="Freeform 143">
                <a:extLst>
                  <a:ext uri="{FF2B5EF4-FFF2-40B4-BE49-F238E27FC236}">
                    <a16:creationId xmlns:a16="http://schemas.microsoft.com/office/drawing/2014/main" id="{022B432A-7173-EDC2-DD4F-A0C5EFD3B2BD}"/>
                  </a:ext>
                </a:extLst>
              </p:cNvPr>
              <p:cNvSpPr>
                <a:spLocks/>
              </p:cNvSpPr>
              <p:nvPr/>
            </p:nvSpPr>
            <p:spPr bwMode="auto">
              <a:xfrm>
                <a:off x="3570" y="1167"/>
                <a:ext cx="65" cy="83"/>
              </a:xfrm>
              <a:custGeom>
                <a:avLst/>
                <a:gdLst>
                  <a:gd name="T0" fmla="*/ 16 w 33"/>
                  <a:gd name="T1" fmla="*/ 42 h 42"/>
                  <a:gd name="T2" fmla="*/ 19 w 33"/>
                  <a:gd name="T3" fmla="*/ 36 h 42"/>
                  <a:gd name="T4" fmla="*/ 23 w 33"/>
                  <a:gd name="T5" fmla="*/ 31 h 42"/>
                  <a:gd name="T6" fmla="*/ 27 w 33"/>
                  <a:gd name="T7" fmla="*/ 32 h 42"/>
                  <a:gd name="T8" fmla="*/ 33 w 33"/>
                  <a:gd name="T9" fmla="*/ 35 h 42"/>
                  <a:gd name="T10" fmla="*/ 28 w 33"/>
                  <a:gd name="T11" fmla="*/ 28 h 42"/>
                  <a:gd name="T12" fmla="*/ 25 w 33"/>
                  <a:gd name="T13" fmla="*/ 22 h 42"/>
                  <a:gd name="T14" fmla="*/ 24 w 33"/>
                  <a:gd name="T15" fmla="*/ 17 h 42"/>
                  <a:gd name="T16" fmla="*/ 22 w 33"/>
                  <a:gd name="T17" fmla="*/ 13 h 42"/>
                  <a:gd name="T18" fmla="*/ 19 w 33"/>
                  <a:gd name="T19" fmla="*/ 7 h 42"/>
                  <a:gd name="T20" fmla="*/ 15 w 33"/>
                  <a:gd name="T21" fmla="*/ 4 h 42"/>
                  <a:gd name="T22" fmla="*/ 10 w 33"/>
                  <a:gd name="T23" fmla="*/ 1 h 42"/>
                  <a:gd name="T24" fmla="*/ 5 w 33"/>
                  <a:gd name="T25" fmla="*/ 1 h 42"/>
                  <a:gd name="T26" fmla="*/ 0 w 33"/>
                  <a:gd name="T27" fmla="*/ 4 h 42"/>
                  <a:gd name="T28" fmla="*/ 6 w 33"/>
                  <a:gd name="T29" fmla="*/ 10 h 42"/>
                  <a:gd name="T30" fmla="*/ 9 w 33"/>
                  <a:gd name="T31" fmla="*/ 16 h 42"/>
                  <a:gd name="T32" fmla="*/ 13 w 33"/>
                  <a:gd name="T33" fmla="*/ 22 h 42"/>
                  <a:gd name="T34" fmla="*/ 13 w 33"/>
                  <a:gd name="T35" fmla="*/ 27 h 42"/>
                  <a:gd name="T36" fmla="*/ 13 w 33"/>
                  <a:gd name="T37" fmla="*/ 31 h 42"/>
                  <a:gd name="T38" fmla="*/ 13 w 33"/>
                  <a:gd name="T39" fmla="*/ 36 h 42"/>
                  <a:gd name="T40" fmla="*/ 14 w 33"/>
                  <a:gd name="T41" fmla="*/ 41 h 42"/>
                  <a:gd name="T42" fmla="*/ 16 w 33"/>
                  <a:gd name="T4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2">
                    <a:moveTo>
                      <a:pt x="16" y="42"/>
                    </a:moveTo>
                    <a:cubicBezTo>
                      <a:pt x="16" y="42"/>
                      <a:pt x="19" y="38"/>
                      <a:pt x="19" y="36"/>
                    </a:cubicBezTo>
                    <a:cubicBezTo>
                      <a:pt x="19" y="35"/>
                      <a:pt x="23" y="33"/>
                      <a:pt x="23" y="31"/>
                    </a:cubicBezTo>
                    <a:cubicBezTo>
                      <a:pt x="23" y="29"/>
                      <a:pt x="25" y="32"/>
                      <a:pt x="27" y="32"/>
                    </a:cubicBezTo>
                    <a:cubicBezTo>
                      <a:pt x="29" y="32"/>
                      <a:pt x="33" y="35"/>
                      <a:pt x="33" y="35"/>
                    </a:cubicBezTo>
                    <a:cubicBezTo>
                      <a:pt x="28" y="28"/>
                      <a:pt x="28" y="28"/>
                      <a:pt x="28" y="28"/>
                    </a:cubicBezTo>
                    <a:cubicBezTo>
                      <a:pt x="28" y="28"/>
                      <a:pt x="24" y="26"/>
                      <a:pt x="25" y="22"/>
                    </a:cubicBezTo>
                    <a:cubicBezTo>
                      <a:pt x="25" y="20"/>
                      <a:pt x="25" y="20"/>
                      <a:pt x="24" y="17"/>
                    </a:cubicBezTo>
                    <a:cubicBezTo>
                      <a:pt x="22" y="15"/>
                      <a:pt x="21" y="16"/>
                      <a:pt x="22" y="13"/>
                    </a:cubicBezTo>
                    <a:cubicBezTo>
                      <a:pt x="22" y="10"/>
                      <a:pt x="20" y="8"/>
                      <a:pt x="19" y="7"/>
                    </a:cubicBezTo>
                    <a:cubicBezTo>
                      <a:pt x="17" y="6"/>
                      <a:pt x="16" y="5"/>
                      <a:pt x="15" y="4"/>
                    </a:cubicBezTo>
                    <a:cubicBezTo>
                      <a:pt x="13" y="3"/>
                      <a:pt x="12" y="2"/>
                      <a:pt x="10" y="1"/>
                    </a:cubicBezTo>
                    <a:cubicBezTo>
                      <a:pt x="9" y="1"/>
                      <a:pt x="6" y="0"/>
                      <a:pt x="5" y="1"/>
                    </a:cubicBezTo>
                    <a:cubicBezTo>
                      <a:pt x="4" y="2"/>
                      <a:pt x="0" y="1"/>
                      <a:pt x="0" y="4"/>
                    </a:cubicBezTo>
                    <a:cubicBezTo>
                      <a:pt x="0" y="4"/>
                      <a:pt x="5" y="7"/>
                      <a:pt x="6" y="10"/>
                    </a:cubicBezTo>
                    <a:cubicBezTo>
                      <a:pt x="7" y="14"/>
                      <a:pt x="7" y="13"/>
                      <a:pt x="9" y="16"/>
                    </a:cubicBezTo>
                    <a:cubicBezTo>
                      <a:pt x="12" y="19"/>
                      <a:pt x="12" y="20"/>
                      <a:pt x="13" y="22"/>
                    </a:cubicBezTo>
                    <a:cubicBezTo>
                      <a:pt x="14" y="24"/>
                      <a:pt x="12" y="26"/>
                      <a:pt x="13" y="27"/>
                    </a:cubicBezTo>
                    <a:cubicBezTo>
                      <a:pt x="15" y="29"/>
                      <a:pt x="13" y="29"/>
                      <a:pt x="13" y="31"/>
                    </a:cubicBezTo>
                    <a:cubicBezTo>
                      <a:pt x="14" y="33"/>
                      <a:pt x="12" y="36"/>
                      <a:pt x="13" y="36"/>
                    </a:cubicBezTo>
                    <a:cubicBezTo>
                      <a:pt x="15" y="37"/>
                      <a:pt x="12" y="40"/>
                      <a:pt x="14" y="41"/>
                    </a:cubicBezTo>
                    <a:cubicBezTo>
                      <a:pt x="15" y="42"/>
                      <a:pt x="16" y="42"/>
                      <a:pt x="16" y="4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65" name="Freeform 144">
                <a:extLst>
                  <a:ext uri="{FF2B5EF4-FFF2-40B4-BE49-F238E27FC236}">
                    <a16:creationId xmlns:a16="http://schemas.microsoft.com/office/drawing/2014/main" id="{4E54833E-155D-2E75-4675-35AD0E650C23}"/>
                  </a:ext>
                </a:extLst>
              </p:cNvPr>
              <p:cNvSpPr>
                <a:spLocks/>
              </p:cNvSpPr>
              <p:nvPr/>
            </p:nvSpPr>
            <p:spPr bwMode="auto">
              <a:xfrm>
                <a:off x="3570" y="1167"/>
                <a:ext cx="65" cy="83"/>
              </a:xfrm>
              <a:custGeom>
                <a:avLst/>
                <a:gdLst>
                  <a:gd name="T0" fmla="*/ 16 w 33"/>
                  <a:gd name="T1" fmla="*/ 42 h 42"/>
                  <a:gd name="T2" fmla="*/ 19 w 33"/>
                  <a:gd name="T3" fmla="*/ 36 h 42"/>
                  <a:gd name="T4" fmla="*/ 23 w 33"/>
                  <a:gd name="T5" fmla="*/ 31 h 42"/>
                  <a:gd name="T6" fmla="*/ 27 w 33"/>
                  <a:gd name="T7" fmla="*/ 32 h 42"/>
                  <a:gd name="T8" fmla="*/ 33 w 33"/>
                  <a:gd name="T9" fmla="*/ 35 h 42"/>
                  <a:gd name="T10" fmla="*/ 28 w 33"/>
                  <a:gd name="T11" fmla="*/ 28 h 42"/>
                  <a:gd name="T12" fmla="*/ 25 w 33"/>
                  <a:gd name="T13" fmla="*/ 22 h 42"/>
                  <a:gd name="T14" fmla="*/ 24 w 33"/>
                  <a:gd name="T15" fmla="*/ 17 h 42"/>
                  <a:gd name="T16" fmla="*/ 22 w 33"/>
                  <a:gd name="T17" fmla="*/ 13 h 42"/>
                  <a:gd name="T18" fmla="*/ 19 w 33"/>
                  <a:gd name="T19" fmla="*/ 7 h 42"/>
                  <a:gd name="T20" fmla="*/ 15 w 33"/>
                  <a:gd name="T21" fmla="*/ 4 h 42"/>
                  <a:gd name="T22" fmla="*/ 10 w 33"/>
                  <a:gd name="T23" fmla="*/ 1 h 42"/>
                  <a:gd name="T24" fmla="*/ 5 w 33"/>
                  <a:gd name="T25" fmla="*/ 1 h 42"/>
                  <a:gd name="T26" fmla="*/ 0 w 33"/>
                  <a:gd name="T27" fmla="*/ 4 h 42"/>
                  <a:gd name="T28" fmla="*/ 6 w 33"/>
                  <a:gd name="T29" fmla="*/ 10 h 42"/>
                  <a:gd name="T30" fmla="*/ 9 w 33"/>
                  <a:gd name="T31" fmla="*/ 16 h 42"/>
                  <a:gd name="T32" fmla="*/ 13 w 33"/>
                  <a:gd name="T33" fmla="*/ 22 h 42"/>
                  <a:gd name="T34" fmla="*/ 13 w 33"/>
                  <a:gd name="T35" fmla="*/ 27 h 42"/>
                  <a:gd name="T36" fmla="*/ 13 w 33"/>
                  <a:gd name="T37" fmla="*/ 31 h 42"/>
                  <a:gd name="T38" fmla="*/ 13 w 33"/>
                  <a:gd name="T39" fmla="*/ 36 h 42"/>
                  <a:gd name="T40" fmla="*/ 14 w 33"/>
                  <a:gd name="T41" fmla="*/ 41 h 42"/>
                  <a:gd name="T42" fmla="*/ 16 w 33"/>
                  <a:gd name="T4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2">
                    <a:moveTo>
                      <a:pt x="16" y="42"/>
                    </a:moveTo>
                    <a:cubicBezTo>
                      <a:pt x="16" y="42"/>
                      <a:pt x="19" y="38"/>
                      <a:pt x="19" y="36"/>
                    </a:cubicBezTo>
                    <a:cubicBezTo>
                      <a:pt x="19" y="35"/>
                      <a:pt x="23" y="33"/>
                      <a:pt x="23" y="31"/>
                    </a:cubicBezTo>
                    <a:cubicBezTo>
                      <a:pt x="23" y="29"/>
                      <a:pt x="25" y="32"/>
                      <a:pt x="27" y="32"/>
                    </a:cubicBezTo>
                    <a:cubicBezTo>
                      <a:pt x="29" y="32"/>
                      <a:pt x="33" y="35"/>
                      <a:pt x="33" y="35"/>
                    </a:cubicBezTo>
                    <a:cubicBezTo>
                      <a:pt x="28" y="28"/>
                      <a:pt x="28" y="28"/>
                      <a:pt x="28" y="28"/>
                    </a:cubicBezTo>
                    <a:cubicBezTo>
                      <a:pt x="28" y="28"/>
                      <a:pt x="24" y="26"/>
                      <a:pt x="25" y="22"/>
                    </a:cubicBezTo>
                    <a:cubicBezTo>
                      <a:pt x="25" y="20"/>
                      <a:pt x="25" y="20"/>
                      <a:pt x="24" y="17"/>
                    </a:cubicBezTo>
                    <a:cubicBezTo>
                      <a:pt x="22" y="15"/>
                      <a:pt x="21" y="16"/>
                      <a:pt x="22" y="13"/>
                    </a:cubicBezTo>
                    <a:cubicBezTo>
                      <a:pt x="22" y="10"/>
                      <a:pt x="20" y="8"/>
                      <a:pt x="19" y="7"/>
                    </a:cubicBezTo>
                    <a:cubicBezTo>
                      <a:pt x="17" y="6"/>
                      <a:pt x="16" y="5"/>
                      <a:pt x="15" y="4"/>
                    </a:cubicBezTo>
                    <a:cubicBezTo>
                      <a:pt x="13" y="3"/>
                      <a:pt x="12" y="2"/>
                      <a:pt x="10" y="1"/>
                    </a:cubicBezTo>
                    <a:cubicBezTo>
                      <a:pt x="9" y="1"/>
                      <a:pt x="6" y="0"/>
                      <a:pt x="5" y="1"/>
                    </a:cubicBezTo>
                    <a:cubicBezTo>
                      <a:pt x="4" y="2"/>
                      <a:pt x="0" y="1"/>
                      <a:pt x="0" y="4"/>
                    </a:cubicBezTo>
                    <a:cubicBezTo>
                      <a:pt x="0" y="4"/>
                      <a:pt x="5" y="7"/>
                      <a:pt x="6" y="10"/>
                    </a:cubicBezTo>
                    <a:cubicBezTo>
                      <a:pt x="7" y="14"/>
                      <a:pt x="7" y="13"/>
                      <a:pt x="9" y="16"/>
                    </a:cubicBezTo>
                    <a:cubicBezTo>
                      <a:pt x="12" y="19"/>
                      <a:pt x="12" y="20"/>
                      <a:pt x="13" y="22"/>
                    </a:cubicBezTo>
                    <a:cubicBezTo>
                      <a:pt x="14" y="24"/>
                      <a:pt x="12" y="26"/>
                      <a:pt x="13" y="27"/>
                    </a:cubicBezTo>
                    <a:cubicBezTo>
                      <a:pt x="15" y="29"/>
                      <a:pt x="13" y="29"/>
                      <a:pt x="13" y="31"/>
                    </a:cubicBezTo>
                    <a:cubicBezTo>
                      <a:pt x="14" y="33"/>
                      <a:pt x="12" y="36"/>
                      <a:pt x="13" y="36"/>
                    </a:cubicBezTo>
                    <a:cubicBezTo>
                      <a:pt x="15" y="37"/>
                      <a:pt x="12" y="40"/>
                      <a:pt x="14" y="41"/>
                    </a:cubicBezTo>
                    <a:cubicBezTo>
                      <a:pt x="15" y="42"/>
                      <a:pt x="16" y="42"/>
                      <a:pt x="16" y="4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66" name="Freeform 145">
                <a:extLst>
                  <a:ext uri="{FF2B5EF4-FFF2-40B4-BE49-F238E27FC236}">
                    <a16:creationId xmlns:a16="http://schemas.microsoft.com/office/drawing/2014/main" id="{C7B32737-38F7-82D0-1482-85B8550E267A}"/>
                  </a:ext>
                </a:extLst>
              </p:cNvPr>
              <p:cNvSpPr>
                <a:spLocks/>
              </p:cNvSpPr>
              <p:nvPr/>
            </p:nvSpPr>
            <p:spPr bwMode="auto">
              <a:xfrm>
                <a:off x="1133" y="1544"/>
                <a:ext cx="518" cy="387"/>
              </a:xfrm>
              <a:custGeom>
                <a:avLst/>
                <a:gdLst>
                  <a:gd name="T0" fmla="*/ 4 w 264"/>
                  <a:gd name="T1" fmla="*/ 11 h 197"/>
                  <a:gd name="T2" fmla="*/ 11 w 264"/>
                  <a:gd name="T3" fmla="*/ 25 h 197"/>
                  <a:gd name="T4" fmla="*/ 19 w 264"/>
                  <a:gd name="T5" fmla="*/ 31 h 197"/>
                  <a:gd name="T6" fmla="*/ 24 w 264"/>
                  <a:gd name="T7" fmla="*/ 53 h 197"/>
                  <a:gd name="T8" fmla="*/ 25 w 264"/>
                  <a:gd name="T9" fmla="*/ 62 h 197"/>
                  <a:gd name="T10" fmla="*/ 41 w 264"/>
                  <a:gd name="T11" fmla="*/ 73 h 197"/>
                  <a:gd name="T12" fmla="*/ 46 w 264"/>
                  <a:gd name="T13" fmla="*/ 90 h 197"/>
                  <a:gd name="T14" fmla="*/ 58 w 264"/>
                  <a:gd name="T15" fmla="*/ 109 h 197"/>
                  <a:gd name="T16" fmla="*/ 63 w 264"/>
                  <a:gd name="T17" fmla="*/ 105 h 197"/>
                  <a:gd name="T18" fmla="*/ 57 w 264"/>
                  <a:gd name="T19" fmla="*/ 94 h 197"/>
                  <a:gd name="T20" fmla="*/ 51 w 264"/>
                  <a:gd name="T21" fmla="*/ 86 h 197"/>
                  <a:gd name="T22" fmla="*/ 41 w 264"/>
                  <a:gd name="T23" fmla="*/ 63 h 197"/>
                  <a:gd name="T24" fmla="*/ 36 w 264"/>
                  <a:gd name="T25" fmla="*/ 52 h 197"/>
                  <a:gd name="T26" fmla="*/ 33 w 264"/>
                  <a:gd name="T27" fmla="*/ 42 h 197"/>
                  <a:gd name="T28" fmla="*/ 31 w 264"/>
                  <a:gd name="T29" fmla="*/ 36 h 197"/>
                  <a:gd name="T30" fmla="*/ 22 w 264"/>
                  <a:gd name="T31" fmla="*/ 25 h 197"/>
                  <a:gd name="T32" fmla="*/ 18 w 264"/>
                  <a:gd name="T33" fmla="*/ 9 h 197"/>
                  <a:gd name="T34" fmla="*/ 27 w 264"/>
                  <a:gd name="T35" fmla="*/ 10 h 197"/>
                  <a:gd name="T36" fmla="*/ 37 w 264"/>
                  <a:gd name="T37" fmla="*/ 25 h 197"/>
                  <a:gd name="T38" fmla="*/ 46 w 264"/>
                  <a:gd name="T39" fmla="*/ 43 h 197"/>
                  <a:gd name="T40" fmla="*/ 57 w 264"/>
                  <a:gd name="T41" fmla="*/ 53 h 197"/>
                  <a:gd name="T42" fmla="*/ 67 w 264"/>
                  <a:gd name="T43" fmla="*/ 65 h 197"/>
                  <a:gd name="T44" fmla="*/ 66 w 264"/>
                  <a:gd name="T45" fmla="*/ 72 h 197"/>
                  <a:gd name="T46" fmla="*/ 74 w 264"/>
                  <a:gd name="T47" fmla="*/ 81 h 197"/>
                  <a:gd name="T48" fmla="*/ 86 w 264"/>
                  <a:gd name="T49" fmla="*/ 96 h 197"/>
                  <a:gd name="T50" fmla="*/ 92 w 264"/>
                  <a:gd name="T51" fmla="*/ 105 h 197"/>
                  <a:gd name="T52" fmla="*/ 100 w 264"/>
                  <a:gd name="T53" fmla="*/ 124 h 197"/>
                  <a:gd name="T54" fmla="*/ 99 w 264"/>
                  <a:gd name="T55" fmla="*/ 142 h 197"/>
                  <a:gd name="T56" fmla="*/ 108 w 264"/>
                  <a:gd name="T57" fmla="*/ 154 h 197"/>
                  <a:gd name="T58" fmla="*/ 119 w 264"/>
                  <a:gd name="T59" fmla="*/ 164 h 197"/>
                  <a:gd name="T60" fmla="*/ 142 w 264"/>
                  <a:gd name="T61" fmla="*/ 176 h 197"/>
                  <a:gd name="T62" fmla="*/ 158 w 264"/>
                  <a:gd name="T63" fmla="*/ 181 h 197"/>
                  <a:gd name="T64" fmla="*/ 164 w 264"/>
                  <a:gd name="T65" fmla="*/ 187 h 197"/>
                  <a:gd name="T66" fmla="*/ 175 w 264"/>
                  <a:gd name="T67" fmla="*/ 189 h 197"/>
                  <a:gd name="T68" fmla="*/ 193 w 264"/>
                  <a:gd name="T69" fmla="*/ 185 h 197"/>
                  <a:gd name="T70" fmla="*/ 208 w 264"/>
                  <a:gd name="T71" fmla="*/ 190 h 197"/>
                  <a:gd name="T72" fmla="*/ 218 w 264"/>
                  <a:gd name="T73" fmla="*/ 184 h 197"/>
                  <a:gd name="T74" fmla="*/ 222 w 264"/>
                  <a:gd name="T75" fmla="*/ 171 h 197"/>
                  <a:gd name="T76" fmla="*/ 244 w 264"/>
                  <a:gd name="T77" fmla="*/ 164 h 197"/>
                  <a:gd name="T78" fmla="*/ 254 w 264"/>
                  <a:gd name="T79" fmla="*/ 164 h 197"/>
                  <a:gd name="T80" fmla="*/ 259 w 264"/>
                  <a:gd name="T81" fmla="*/ 126 h 197"/>
                  <a:gd name="T82" fmla="*/ 246 w 264"/>
                  <a:gd name="T83" fmla="*/ 129 h 197"/>
                  <a:gd name="T84" fmla="*/ 231 w 264"/>
                  <a:gd name="T85" fmla="*/ 146 h 197"/>
                  <a:gd name="T86" fmla="*/ 222 w 264"/>
                  <a:gd name="T87" fmla="*/ 160 h 197"/>
                  <a:gd name="T88" fmla="*/ 208 w 264"/>
                  <a:gd name="T89" fmla="*/ 164 h 197"/>
                  <a:gd name="T90" fmla="*/ 184 w 264"/>
                  <a:gd name="T91" fmla="*/ 159 h 197"/>
                  <a:gd name="T92" fmla="*/ 178 w 264"/>
                  <a:gd name="T93" fmla="*/ 146 h 197"/>
                  <a:gd name="T94" fmla="*/ 168 w 264"/>
                  <a:gd name="T95" fmla="*/ 132 h 197"/>
                  <a:gd name="T96" fmla="*/ 168 w 264"/>
                  <a:gd name="T97" fmla="*/ 113 h 197"/>
                  <a:gd name="T98" fmla="*/ 166 w 264"/>
                  <a:gd name="T99" fmla="*/ 98 h 197"/>
                  <a:gd name="T100" fmla="*/ 168 w 264"/>
                  <a:gd name="T101" fmla="*/ 85 h 197"/>
                  <a:gd name="T102" fmla="*/ 168 w 264"/>
                  <a:gd name="T103" fmla="*/ 79 h 197"/>
                  <a:gd name="T104" fmla="*/ 156 w 264"/>
                  <a:gd name="T105" fmla="*/ 73 h 197"/>
                  <a:gd name="T106" fmla="*/ 149 w 264"/>
                  <a:gd name="T107" fmla="*/ 58 h 197"/>
                  <a:gd name="T108" fmla="*/ 142 w 264"/>
                  <a:gd name="T109" fmla="*/ 44 h 197"/>
                  <a:gd name="T110" fmla="*/ 133 w 264"/>
                  <a:gd name="T111" fmla="*/ 34 h 197"/>
                  <a:gd name="T112" fmla="*/ 122 w 264"/>
                  <a:gd name="T113" fmla="*/ 41 h 197"/>
                  <a:gd name="T114" fmla="*/ 111 w 264"/>
                  <a:gd name="T115" fmla="*/ 36 h 197"/>
                  <a:gd name="T116" fmla="*/ 103 w 264"/>
                  <a:gd name="T117" fmla="*/ 22 h 197"/>
                  <a:gd name="T118" fmla="*/ 93 w 264"/>
                  <a:gd name="T119" fmla="*/ 11 h 197"/>
                  <a:gd name="T120" fmla="*/ 24 w 264"/>
                  <a:gd name="T121"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4" h="197">
                    <a:moveTo>
                      <a:pt x="0" y="1"/>
                    </a:moveTo>
                    <a:cubicBezTo>
                      <a:pt x="0" y="3"/>
                      <a:pt x="0" y="4"/>
                      <a:pt x="1" y="6"/>
                    </a:cubicBezTo>
                    <a:cubicBezTo>
                      <a:pt x="1" y="7"/>
                      <a:pt x="3" y="7"/>
                      <a:pt x="4" y="8"/>
                    </a:cubicBezTo>
                    <a:cubicBezTo>
                      <a:pt x="4" y="9"/>
                      <a:pt x="3" y="10"/>
                      <a:pt x="4" y="11"/>
                    </a:cubicBezTo>
                    <a:cubicBezTo>
                      <a:pt x="4" y="12"/>
                      <a:pt x="6" y="13"/>
                      <a:pt x="7" y="14"/>
                    </a:cubicBezTo>
                    <a:cubicBezTo>
                      <a:pt x="8" y="16"/>
                      <a:pt x="6" y="19"/>
                      <a:pt x="8" y="22"/>
                    </a:cubicBezTo>
                    <a:cubicBezTo>
                      <a:pt x="8" y="22"/>
                      <a:pt x="10" y="23"/>
                      <a:pt x="10" y="23"/>
                    </a:cubicBezTo>
                    <a:cubicBezTo>
                      <a:pt x="11" y="23"/>
                      <a:pt x="10" y="25"/>
                      <a:pt x="11" y="25"/>
                    </a:cubicBezTo>
                    <a:cubicBezTo>
                      <a:pt x="11" y="26"/>
                      <a:pt x="13" y="26"/>
                      <a:pt x="14" y="27"/>
                    </a:cubicBezTo>
                    <a:cubicBezTo>
                      <a:pt x="14" y="27"/>
                      <a:pt x="14" y="28"/>
                      <a:pt x="14" y="29"/>
                    </a:cubicBezTo>
                    <a:cubicBezTo>
                      <a:pt x="15" y="29"/>
                      <a:pt x="17" y="28"/>
                      <a:pt x="18" y="29"/>
                    </a:cubicBezTo>
                    <a:cubicBezTo>
                      <a:pt x="18" y="29"/>
                      <a:pt x="18" y="31"/>
                      <a:pt x="19" y="31"/>
                    </a:cubicBezTo>
                    <a:cubicBezTo>
                      <a:pt x="20" y="32"/>
                      <a:pt x="21" y="32"/>
                      <a:pt x="22" y="33"/>
                    </a:cubicBezTo>
                    <a:cubicBezTo>
                      <a:pt x="24" y="36"/>
                      <a:pt x="22" y="37"/>
                      <a:pt x="23" y="41"/>
                    </a:cubicBezTo>
                    <a:cubicBezTo>
                      <a:pt x="23" y="41"/>
                      <a:pt x="25" y="43"/>
                      <a:pt x="25" y="43"/>
                    </a:cubicBezTo>
                    <a:cubicBezTo>
                      <a:pt x="25" y="47"/>
                      <a:pt x="24" y="50"/>
                      <a:pt x="24" y="53"/>
                    </a:cubicBezTo>
                    <a:cubicBezTo>
                      <a:pt x="22" y="53"/>
                      <a:pt x="20" y="53"/>
                      <a:pt x="17" y="53"/>
                    </a:cubicBezTo>
                    <a:cubicBezTo>
                      <a:pt x="17" y="55"/>
                      <a:pt x="17" y="55"/>
                      <a:pt x="17" y="55"/>
                    </a:cubicBezTo>
                    <a:cubicBezTo>
                      <a:pt x="19" y="56"/>
                      <a:pt x="21" y="57"/>
                      <a:pt x="22" y="58"/>
                    </a:cubicBezTo>
                    <a:cubicBezTo>
                      <a:pt x="23" y="59"/>
                      <a:pt x="24" y="62"/>
                      <a:pt x="25" y="62"/>
                    </a:cubicBezTo>
                    <a:cubicBezTo>
                      <a:pt x="25" y="62"/>
                      <a:pt x="26" y="62"/>
                      <a:pt x="27" y="62"/>
                    </a:cubicBezTo>
                    <a:cubicBezTo>
                      <a:pt x="27" y="63"/>
                      <a:pt x="27" y="64"/>
                      <a:pt x="28" y="65"/>
                    </a:cubicBezTo>
                    <a:cubicBezTo>
                      <a:pt x="28" y="65"/>
                      <a:pt x="30" y="64"/>
                      <a:pt x="31" y="65"/>
                    </a:cubicBezTo>
                    <a:cubicBezTo>
                      <a:pt x="32" y="65"/>
                      <a:pt x="40" y="72"/>
                      <a:pt x="41" y="73"/>
                    </a:cubicBezTo>
                    <a:cubicBezTo>
                      <a:pt x="41" y="75"/>
                      <a:pt x="40" y="74"/>
                      <a:pt x="40" y="76"/>
                    </a:cubicBezTo>
                    <a:cubicBezTo>
                      <a:pt x="40" y="76"/>
                      <a:pt x="42" y="79"/>
                      <a:pt x="42" y="80"/>
                    </a:cubicBezTo>
                    <a:cubicBezTo>
                      <a:pt x="43" y="82"/>
                      <a:pt x="41" y="86"/>
                      <a:pt x="42" y="88"/>
                    </a:cubicBezTo>
                    <a:cubicBezTo>
                      <a:pt x="43" y="89"/>
                      <a:pt x="45" y="89"/>
                      <a:pt x="46" y="90"/>
                    </a:cubicBezTo>
                    <a:cubicBezTo>
                      <a:pt x="47" y="90"/>
                      <a:pt x="46" y="92"/>
                      <a:pt x="47" y="93"/>
                    </a:cubicBezTo>
                    <a:cubicBezTo>
                      <a:pt x="47" y="93"/>
                      <a:pt x="49" y="94"/>
                      <a:pt x="50" y="95"/>
                    </a:cubicBezTo>
                    <a:cubicBezTo>
                      <a:pt x="51" y="96"/>
                      <a:pt x="58" y="104"/>
                      <a:pt x="58" y="105"/>
                    </a:cubicBezTo>
                    <a:cubicBezTo>
                      <a:pt x="58" y="106"/>
                      <a:pt x="58" y="107"/>
                      <a:pt x="58" y="109"/>
                    </a:cubicBezTo>
                    <a:cubicBezTo>
                      <a:pt x="61" y="109"/>
                      <a:pt x="61" y="109"/>
                      <a:pt x="61" y="109"/>
                    </a:cubicBezTo>
                    <a:cubicBezTo>
                      <a:pt x="61" y="109"/>
                      <a:pt x="60" y="108"/>
                      <a:pt x="61" y="107"/>
                    </a:cubicBezTo>
                    <a:cubicBezTo>
                      <a:pt x="61" y="107"/>
                      <a:pt x="61" y="107"/>
                      <a:pt x="61" y="107"/>
                    </a:cubicBezTo>
                    <a:cubicBezTo>
                      <a:pt x="62" y="107"/>
                      <a:pt x="63" y="106"/>
                      <a:pt x="63" y="105"/>
                    </a:cubicBezTo>
                    <a:cubicBezTo>
                      <a:pt x="63" y="104"/>
                      <a:pt x="64" y="103"/>
                      <a:pt x="63" y="101"/>
                    </a:cubicBezTo>
                    <a:cubicBezTo>
                      <a:pt x="63" y="101"/>
                      <a:pt x="58" y="98"/>
                      <a:pt x="58" y="98"/>
                    </a:cubicBezTo>
                    <a:cubicBezTo>
                      <a:pt x="58" y="97"/>
                      <a:pt x="58" y="96"/>
                      <a:pt x="58" y="95"/>
                    </a:cubicBezTo>
                    <a:cubicBezTo>
                      <a:pt x="57" y="95"/>
                      <a:pt x="57" y="94"/>
                      <a:pt x="57" y="94"/>
                    </a:cubicBezTo>
                    <a:cubicBezTo>
                      <a:pt x="56" y="94"/>
                      <a:pt x="55" y="94"/>
                      <a:pt x="54" y="94"/>
                    </a:cubicBezTo>
                    <a:cubicBezTo>
                      <a:pt x="53" y="94"/>
                      <a:pt x="54" y="92"/>
                      <a:pt x="53" y="92"/>
                    </a:cubicBezTo>
                    <a:cubicBezTo>
                      <a:pt x="53" y="91"/>
                      <a:pt x="55" y="90"/>
                      <a:pt x="54" y="88"/>
                    </a:cubicBezTo>
                    <a:cubicBezTo>
                      <a:pt x="54" y="87"/>
                      <a:pt x="52" y="87"/>
                      <a:pt x="51" y="86"/>
                    </a:cubicBezTo>
                    <a:cubicBezTo>
                      <a:pt x="51" y="84"/>
                      <a:pt x="52" y="83"/>
                      <a:pt x="52" y="81"/>
                    </a:cubicBezTo>
                    <a:cubicBezTo>
                      <a:pt x="52" y="81"/>
                      <a:pt x="48" y="76"/>
                      <a:pt x="48" y="76"/>
                    </a:cubicBezTo>
                    <a:cubicBezTo>
                      <a:pt x="48" y="75"/>
                      <a:pt x="48" y="74"/>
                      <a:pt x="48" y="73"/>
                    </a:cubicBezTo>
                    <a:cubicBezTo>
                      <a:pt x="47" y="69"/>
                      <a:pt x="45" y="65"/>
                      <a:pt x="41" y="63"/>
                    </a:cubicBezTo>
                    <a:cubicBezTo>
                      <a:pt x="42" y="62"/>
                      <a:pt x="43" y="60"/>
                      <a:pt x="42" y="59"/>
                    </a:cubicBezTo>
                    <a:cubicBezTo>
                      <a:pt x="42" y="58"/>
                      <a:pt x="40" y="58"/>
                      <a:pt x="39" y="57"/>
                    </a:cubicBezTo>
                    <a:cubicBezTo>
                      <a:pt x="39" y="57"/>
                      <a:pt x="40" y="55"/>
                      <a:pt x="39" y="55"/>
                    </a:cubicBezTo>
                    <a:cubicBezTo>
                      <a:pt x="39" y="54"/>
                      <a:pt x="37" y="53"/>
                      <a:pt x="36" y="52"/>
                    </a:cubicBezTo>
                    <a:cubicBezTo>
                      <a:pt x="35" y="50"/>
                      <a:pt x="36" y="47"/>
                      <a:pt x="35" y="45"/>
                    </a:cubicBezTo>
                    <a:cubicBezTo>
                      <a:pt x="33" y="44"/>
                      <a:pt x="33" y="44"/>
                      <a:pt x="33" y="44"/>
                    </a:cubicBezTo>
                    <a:cubicBezTo>
                      <a:pt x="33" y="44"/>
                      <a:pt x="34" y="42"/>
                      <a:pt x="33" y="42"/>
                    </a:cubicBezTo>
                    <a:cubicBezTo>
                      <a:pt x="33" y="42"/>
                      <a:pt x="33" y="42"/>
                      <a:pt x="33" y="42"/>
                    </a:cubicBezTo>
                    <a:cubicBezTo>
                      <a:pt x="33" y="41"/>
                      <a:pt x="33" y="41"/>
                      <a:pt x="33" y="41"/>
                    </a:cubicBezTo>
                    <a:cubicBezTo>
                      <a:pt x="32" y="41"/>
                      <a:pt x="31" y="42"/>
                      <a:pt x="30" y="41"/>
                    </a:cubicBezTo>
                    <a:cubicBezTo>
                      <a:pt x="30" y="40"/>
                      <a:pt x="30" y="37"/>
                      <a:pt x="31" y="37"/>
                    </a:cubicBezTo>
                    <a:cubicBezTo>
                      <a:pt x="31" y="36"/>
                      <a:pt x="31" y="36"/>
                      <a:pt x="31" y="36"/>
                    </a:cubicBezTo>
                    <a:cubicBezTo>
                      <a:pt x="28" y="31"/>
                      <a:pt x="28" y="31"/>
                      <a:pt x="28" y="31"/>
                    </a:cubicBezTo>
                    <a:cubicBezTo>
                      <a:pt x="27" y="31"/>
                      <a:pt x="26" y="31"/>
                      <a:pt x="25" y="31"/>
                    </a:cubicBezTo>
                    <a:cubicBezTo>
                      <a:pt x="25" y="31"/>
                      <a:pt x="25" y="29"/>
                      <a:pt x="25" y="29"/>
                    </a:cubicBezTo>
                    <a:cubicBezTo>
                      <a:pt x="25" y="28"/>
                      <a:pt x="23" y="26"/>
                      <a:pt x="22" y="25"/>
                    </a:cubicBezTo>
                    <a:cubicBezTo>
                      <a:pt x="21" y="23"/>
                      <a:pt x="22" y="21"/>
                      <a:pt x="20" y="19"/>
                    </a:cubicBezTo>
                    <a:cubicBezTo>
                      <a:pt x="20" y="18"/>
                      <a:pt x="17" y="16"/>
                      <a:pt x="17" y="16"/>
                    </a:cubicBezTo>
                    <a:cubicBezTo>
                      <a:pt x="16" y="13"/>
                      <a:pt x="18" y="11"/>
                      <a:pt x="18" y="10"/>
                    </a:cubicBezTo>
                    <a:cubicBezTo>
                      <a:pt x="18" y="9"/>
                      <a:pt x="17" y="10"/>
                      <a:pt x="18" y="9"/>
                    </a:cubicBezTo>
                    <a:cubicBezTo>
                      <a:pt x="19" y="9"/>
                      <a:pt x="20" y="8"/>
                      <a:pt x="22" y="9"/>
                    </a:cubicBezTo>
                    <a:cubicBezTo>
                      <a:pt x="22" y="9"/>
                      <a:pt x="22" y="11"/>
                      <a:pt x="23" y="11"/>
                    </a:cubicBezTo>
                    <a:cubicBezTo>
                      <a:pt x="24" y="12"/>
                      <a:pt x="25" y="11"/>
                      <a:pt x="26" y="12"/>
                    </a:cubicBezTo>
                    <a:cubicBezTo>
                      <a:pt x="26" y="12"/>
                      <a:pt x="27" y="10"/>
                      <a:pt x="27" y="10"/>
                    </a:cubicBezTo>
                    <a:cubicBezTo>
                      <a:pt x="28" y="9"/>
                      <a:pt x="29" y="10"/>
                      <a:pt x="31" y="10"/>
                    </a:cubicBezTo>
                    <a:cubicBezTo>
                      <a:pt x="33" y="14"/>
                      <a:pt x="30" y="11"/>
                      <a:pt x="34" y="15"/>
                    </a:cubicBezTo>
                    <a:cubicBezTo>
                      <a:pt x="33" y="20"/>
                      <a:pt x="34" y="22"/>
                      <a:pt x="36" y="25"/>
                    </a:cubicBezTo>
                    <a:cubicBezTo>
                      <a:pt x="37" y="25"/>
                      <a:pt x="37" y="25"/>
                      <a:pt x="37" y="25"/>
                    </a:cubicBezTo>
                    <a:cubicBezTo>
                      <a:pt x="39" y="28"/>
                      <a:pt x="38" y="30"/>
                      <a:pt x="39" y="33"/>
                    </a:cubicBezTo>
                    <a:cubicBezTo>
                      <a:pt x="41" y="35"/>
                      <a:pt x="43" y="37"/>
                      <a:pt x="44" y="39"/>
                    </a:cubicBezTo>
                    <a:cubicBezTo>
                      <a:pt x="44" y="39"/>
                      <a:pt x="46" y="39"/>
                      <a:pt x="46" y="39"/>
                    </a:cubicBezTo>
                    <a:cubicBezTo>
                      <a:pt x="47" y="41"/>
                      <a:pt x="46" y="42"/>
                      <a:pt x="46" y="43"/>
                    </a:cubicBezTo>
                    <a:cubicBezTo>
                      <a:pt x="46" y="45"/>
                      <a:pt x="46" y="45"/>
                      <a:pt x="46" y="45"/>
                    </a:cubicBezTo>
                    <a:cubicBezTo>
                      <a:pt x="47" y="45"/>
                      <a:pt x="50" y="45"/>
                      <a:pt x="51" y="46"/>
                    </a:cubicBezTo>
                    <a:cubicBezTo>
                      <a:pt x="52" y="47"/>
                      <a:pt x="52" y="53"/>
                      <a:pt x="54" y="53"/>
                    </a:cubicBezTo>
                    <a:cubicBezTo>
                      <a:pt x="55" y="54"/>
                      <a:pt x="57" y="53"/>
                      <a:pt x="57" y="53"/>
                    </a:cubicBezTo>
                    <a:cubicBezTo>
                      <a:pt x="59" y="55"/>
                      <a:pt x="57" y="57"/>
                      <a:pt x="57" y="59"/>
                    </a:cubicBezTo>
                    <a:cubicBezTo>
                      <a:pt x="58" y="60"/>
                      <a:pt x="61" y="60"/>
                      <a:pt x="62" y="61"/>
                    </a:cubicBezTo>
                    <a:cubicBezTo>
                      <a:pt x="62" y="62"/>
                      <a:pt x="62" y="65"/>
                      <a:pt x="63" y="65"/>
                    </a:cubicBezTo>
                    <a:cubicBezTo>
                      <a:pt x="64" y="66"/>
                      <a:pt x="66" y="65"/>
                      <a:pt x="67" y="65"/>
                    </a:cubicBezTo>
                    <a:cubicBezTo>
                      <a:pt x="68" y="66"/>
                      <a:pt x="68" y="67"/>
                      <a:pt x="68" y="68"/>
                    </a:cubicBezTo>
                    <a:cubicBezTo>
                      <a:pt x="69" y="68"/>
                      <a:pt x="69" y="68"/>
                      <a:pt x="69" y="68"/>
                    </a:cubicBezTo>
                    <a:cubicBezTo>
                      <a:pt x="69" y="69"/>
                      <a:pt x="69" y="70"/>
                      <a:pt x="69" y="71"/>
                    </a:cubicBezTo>
                    <a:cubicBezTo>
                      <a:pt x="68" y="71"/>
                      <a:pt x="66" y="71"/>
                      <a:pt x="66" y="72"/>
                    </a:cubicBezTo>
                    <a:cubicBezTo>
                      <a:pt x="66" y="73"/>
                      <a:pt x="66" y="75"/>
                      <a:pt x="66" y="76"/>
                    </a:cubicBezTo>
                    <a:cubicBezTo>
                      <a:pt x="67" y="76"/>
                      <a:pt x="68" y="76"/>
                      <a:pt x="69" y="77"/>
                    </a:cubicBezTo>
                    <a:cubicBezTo>
                      <a:pt x="70" y="77"/>
                      <a:pt x="70" y="79"/>
                      <a:pt x="70" y="79"/>
                    </a:cubicBezTo>
                    <a:cubicBezTo>
                      <a:pt x="71" y="80"/>
                      <a:pt x="73" y="81"/>
                      <a:pt x="74" y="81"/>
                    </a:cubicBezTo>
                    <a:cubicBezTo>
                      <a:pt x="74" y="81"/>
                      <a:pt x="79" y="88"/>
                      <a:pt x="79" y="88"/>
                    </a:cubicBezTo>
                    <a:cubicBezTo>
                      <a:pt x="80" y="89"/>
                      <a:pt x="79" y="90"/>
                      <a:pt x="80" y="91"/>
                    </a:cubicBezTo>
                    <a:cubicBezTo>
                      <a:pt x="81" y="92"/>
                      <a:pt x="82" y="92"/>
                      <a:pt x="83" y="93"/>
                    </a:cubicBezTo>
                    <a:cubicBezTo>
                      <a:pt x="84" y="94"/>
                      <a:pt x="86" y="96"/>
                      <a:pt x="86" y="96"/>
                    </a:cubicBezTo>
                    <a:cubicBezTo>
                      <a:pt x="86" y="97"/>
                      <a:pt x="86" y="98"/>
                      <a:pt x="86" y="99"/>
                    </a:cubicBezTo>
                    <a:cubicBezTo>
                      <a:pt x="87" y="99"/>
                      <a:pt x="89" y="101"/>
                      <a:pt x="90" y="102"/>
                    </a:cubicBezTo>
                    <a:cubicBezTo>
                      <a:pt x="90" y="103"/>
                      <a:pt x="90" y="103"/>
                      <a:pt x="90" y="104"/>
                    </a:cubicBezTo>
                    <a:cubicBezTo>
                      <a:pt x="90" y="104"/>
                      <a:pt x="92" y="105"/>
                      <a:pt x="92" y="105"/>
                    </a:cubicBezTo>
                    <a:cubicBezTo>
                      <a:pt x="93" y="107"/>
                      <a:pt x="92" y="108"/>
                      <a:pt x="93" y="110"/>
                    </a:cubicBezTo>
                    <a:cubicBezTo>
                      <a:pt x="95" y="113"/>
                      <a:pt x="97" y="114"/>
                      <a:pt x="99" y="119"/>
                    </a:cubicBezTo>
                    <a:cubicBezTo>
                      <a:pt x="100" y="119"/>
                      <a:pt x="100" y="119"/>
                      <a:pt x="100" y="119"/>
                    </a:cubicBezTo>
                    <a:cubicBezTo>
                      <a:pt x="100" y="121"/>
                      <a:pt x="100" y="122"/>
                      <a:pt x="100" y="124"/>
                    </a:cubicBezTo>
                    <a:cubicBezTo>
                      <a:pt x="100" y="125"/>
                      <a:pt x="103" y="126"/>
                      <a:pt x="102" y="131"/>
                    </a:cubicBezTo>
                    <a:cubicBezTo>
                      <a:pt x="102" y="132"/>
                      <a:pt x="100" y="134"/>
                      <a:pt x="99" y="134"/>
                    </a:cubicBezTo>
                    <a:cubicBezTo>
                      <a:pt x="98" y="136"/>
                      <a:pt x="101" y="137"/>
                      <a:pt x="101" y="138"/>
                    </a:cubicBezTo>
                    <a:cubicBezTo>
                      <a:pt x="100" y="139"/>
                      <a:pt x="98" y="139"/>
                      <a:pt x="99" y="142"/>
                    </a:cubicBezTo>
                    <a:cubicBezTo>
                      <a:pt x="99" y="142"/>
                      <a:pt x="100" y="145"/>
                      <a:pt x="101" y="146"/>
                    </a:cubicBezTo>
                    <a:cubicBezTo>
                      <a:pt x="102" y="146"/>
                      <a:pt x="102" y="146"/>
                      <a:pt x="102" y="146"/>
                    </a:cubicBezTo>
                    <a:cubicBezTo>
                      <a:pt x="103" y="147"/>
                      <a:pt x="102" y="148"/>
                      <a:pt x="103" y="149"/>
                    </a:cubicBezTo>
                    <a:cubicBezTo>
                      <a:pt x="103" y="150"/>
                      <a:pt x="107" y="153"/>
                      <a:pt x="108" y="154"/>
                    </a:cubicBezTo>
                    <a:cubicBezTo>
                      <a:pt x="109" y="154"/>
                      <a:pt x="110" y="154"/>
                      <a:pt x="111" y="154"/>
                    </a:cubicBezTo>
                    <a:cubicBezTo>
                      <a:pt x="112" y="155"/>
                      <a:pt x="111" y="156"/>
                      <a:pt x="112" y="157"/>
                    </a:cubicBezTo>
                    <a:cubicBezTo>
                      <a:pt x="113" y="158"/>
                      <a:pt x="115" y="159"/>
                      <a:pt x="117" y="160"/>
                    </a:cubicBezTo>
                    <a:cubicBezTo>
                      <a:pt x="117" y="161"/>
                      <a:pt x="119" y="163"/>
                      <a:pt x="119" y="164"/>
                    </a:cubicBezTo>
                    <a:cubicBezTo>
                      <a:pt x="119" y="164"/>
                      <a:pt x="121" y="167"/>
                      <a:pt x="121" y="167"/>
                    </a:cubicBezTo>
                    <a:cubicBezTo>
                      <a:pt x="125" y="169"/>
                      <a:pt x="128" y="167"/>
                      <a:pt x="131" y="168"/>
                    </a:cubicBezTo>
                    <a:cubicBezTo>
                      <a:pt x="132" y="169"/>
                      <a:pt x="133" y="172"/>
                      <a:pt x="134" y="172"/>
                    </a:cubicBezTo>
                    <a:cubicBezTo>
                      <a:pt x="136" y="174"/>
                      <a:pt x="140" y="175"/>
                      <a:pt x="142" y="176"/>
                    </a:cubicBezTo>
                    <a:cubicBezTo>
                      <a:pt x="143" y="177"/>
                      <a:pt x="143" y="178"/>
                      <a:pt x="144" y="178"/>
                    </a:cubicBezTo>
                    <a:cubicBezTo>
                      <a:pt x="147" y="180"/>
                      <a:pt x="149" y="179"/>
                      <a:pt x="153" y="180"/>
                    </a:cubicBezTo>
                    <a:cubicBezTo>
                      <a:pt x="154" y="182"/>
                      <a:pt x="154" y="182"/>
                      <a:pt x="154" y="182"/>
                    </a:cubicBezTo>
                    <a:cubicBezTo>
                      <a:pt x="156" y="182"/>
                      <a:pt x="156" y="181"/>
                      <a:pt x="158" y="181"/>
                    </a:cubicBezTo>
                    <a:cubicBezTo>
                      <a:pt x="158" y="181"/>
                      <a:pt x="158" y="183"/>
                      <a:pt x="158" y="183"/>
                    </a:cubicBezTo>
                    <a:cubicBezTo>
                      <a:pt x="159" y="183"/>
                      <a:pt x="160" y="183"/>
                      <a:pt x="161" y="183"/>
                    </a:cubicBezTo>
                    <a:cubicBezTo>
                      <a:pt x="162" y="183"/>
                      <a:pt x="163" y="185"/>
                      <a:pt x="164" y="186"/>
                    </a:cubicBezTo>
                    <a:cubicBezTo>
                      <a:pt x="164" y="187"/>
                      <a:pt x="164" y="187"/>
                      <a:pt x="164" y="187"/>
                    </a:cubicBezTo>
                    <a:cubicBezTo>
                      <a:pt x="165" y="187"/>
                      <a:pt x="166" y="186"/>
                      <a:pt x="166" y="186"/>
                    </a:cubicBezTo>
                    <a:cubicBezTo>
                      <a:pt x="169" y="186"/>
                      <a:pt x="168" y="187"/>
                      <a:pt x="169" y="188"/>
                    </a:cubicBezTo>
                    <a:cubicBezTo>
                      <a:pt x="171" y="188"/>
                      <a:pt x="173" y="187"/>
                      <a:pt x="174" y="187"/>
                    </a:cubicBezTo>
                    <a:cubicBezTo>
                      <a:pt x="175" y="187"/>
                      <a:pt x="175" y="188"/>
                      <a:pt x="175" y="189"/>
                    </a:cubicBezTo>
                    <a:cubicBezTo>
                      <a:pt x="176" y="189"/>
                      <a:pt x="178" y="190"/>
                      <a:pt x="178" y="190"/>
                    </a:cubicBezTo>
                    <a:cubicBezTo>
                      <a:pt x="181" y="190"/>
                      <a:pt x="182" y="187"/>
                      <a:pt x="184" y="187"/>
                    </a:cubicBezTo>
                    <a:cubicBezTo>
                      <a:pt x="186" y="186"/>
                      <a:pt x="188" y="187"/>
                      <a:pt x="190" y="187"/>
                    </a:cubicBezTo>
                    <a:cubicBezTo>
                      <a:pt x="191" y="187"/>
                      <a:pt x="193" y="185"/>
                      <a:pt x="193" y="185"/>
                    </a:cubicBezTo>
                    <a:cubicBezTo>
                      <a:pt x="195" y="185"/>
                      <a:pt x="194" y="186"/>
                      <a:pt x="195" y="186"/>
                    </a:cubicBezTo>
                    <a:cubicBezTo>
                      <a:pt x="198" y="187"/>
                      <a:pt x="200" y="186"/>
                      <a:pt x="202" y="187"/>
                    </a:cubicBezTo>
                    <a:cubicBezTo>
                      <a:pt x="203" y="187"/>
                      <a:pt x="204" y="190"/>
                      <a:pt x="205" y="190"/>
                    </a:cubicBezTo>
                    <a:cubicBezTo>
                      <a:pt x="206" y="191"/>
                      <a:pt x="207" y="190"/>
                      <a:pt x="208" y="190"/>
                    </a:cubicBezTo>
                    <a:cubicBezTo>
                      <a:pt x="210" y="191"/>
                      <a:pt x="211" y="194"/>
                      <a:pt x="212" y="197"/>
                    </a:cubicBezTo>
                    <a:cubicBezTo>
                      <a:pt x="212" y="197"/>
                      <a:pt x="212" y="197"/>
                      <a:pt x="212" y="197"/>
                    </a:cubicBezTo>
                    <a:cubicBezTo>
                      <a:pt x="212" y="197"/>
                      <a:pt x="214" y="194"/>
                      <a:pt x="213" y="192"/>
                    </a:cubicBezTo>
                    <a:cubicBezTo>
                      <a:pt x="212" y="191"/>
                      <a:pt x="218" y="184"/>
                      <a:pt x="218" y="184"/>
                    </a:cubicBezTo>
                    <a:cubicBezTo>
                      <a:pt x="229" y="184"/>
                      <a:pt x="229" y="184"/>
                      <a:pt x="229" y="184"/>
                    </a:cubicBezTo>
                    <a:cubicBezTo>
                      <a:pt x="229" y="184"/>
                      <a:pt x="229" y="181"/>
                      <a:pt x="227" y="179"/>
                    </a:cubicBezTo>
                    <a:cubicBezTo>
                      <a:pt x="224" y="178"/>
                      <a:pt x="222" y="174"/>
                      <a:pt x="222" y="174"/>
                    </a:cubicBezTo>
                    <a:cubicBezTo>
                      <a:pt x="222" y="171"/>
                      <a:pt x="222" y="171"/>
                      <a:pt x="222" y="171"/>
                    </a:cubicBezTo>
                    <a:cubicBezTo>
                      <a:pt x="225" y="171"/>
                      <a:pt x="225" y="171"/>
                      <a:pt x="225" y="171"/>
                    </a:cubicBezTo>
                    <a:cubicBezTo>
                      <a:pt x="226" y="166"/>
                      <a:pt x="226" y="166"/>
                      <a:pt x="226" y="166"/>
                    </a:cubicBezTo>
                    <a:cubicBezTo>
                      <a:pt x="241" y="166"/>
                      <a:pt x="241" y="166"/>
                      <a:pt x="241" y="166"/>
                    </a:cubicBezTo>
                    <a:cubicBezTo>
                      <a:pt x="244" y="164"/>
                      <a:pt x="244" y="164"/>
                      <a:pt x="244" y="164"/>
                    </a:cubicBezTo>
                    <a:cubicBezTo>
                      <a:pt x="244" y="164"/>
                      <a:pt x="246" y="161"/>
                      <a:pt x="248" y="163"/>
                    </a:cubicBezTo>
                    <a:cubicBezTo>
                      <a:pt x="249" y="161"/>
                      <a:pt x="250" y="160"/>
                      <a:pt x="251" y="158"/>
                    </a:cubicBezTo>
                    <a:cubicBezTo>
                      <a:pt x="251" y="160"/>
                      <a:pt x="251" y="162"/>
                      <a:pt x="250" y="162"/>
                    </a:cubicBezTo>
                    <a:cubicBezTo>
                      <a:pt x="252" y="163"/>
                      <a:pt x="253" y="164"/>
                      <a:pt x="254" y="164"/>
                    </a:cubicBezTo>
                    <a:cubicBezTo>
                      <a:pt x="254" y="158"/>
                      <a:pt x="255" y="154"/>
                      <a:pt x="256" y="148"/>
                    </a:cubicBezTo>
                    <a:cubicBezTo>
                      <a:pt x="257" y="148"/>
                      <a:pt x="257" y="148"/>
                      <a:pt x="257" y="148"/>
                    </a:cubicBezTo>
                    <a:cubicBezTo>
                      <a:pt x="258" y="147"/>
                      <a:pt x="256" y="146"/>
                      <a:pt x="256" y="143"/>
                    </a:cubicBezTo>
                    <a:cubicBezTo>
                      <a:pt x="256" y="139"/>
                      <a:pt x="264" y="129"/>
                      <a:pt x="259" y="126"/>
                    </a:cubicBezTo>
                    <a:cubicBezTo>
                      <a:pt x="258" y="126"/>
                      <a:pt x="257" y="126"/>
                      <a:pt x="257" y="126"/>
                    </a:cubicBezTo>
                    <a:cubicBezTo>
                      <a:pt x="255" y="125"/>
                      <a:pt x="255" y="125"/>
                      <a:pt x="255" y="125"/>
                    </a:cubicBezTo>
                    <a:cubicBezTo>
                      <a:pt x="254" y="124"/>
                      <a:pt x="249" y="125"/>
                      <a:pt x="248" y="126"/>
                    </a:cubicBezTo>
                    <a:cubicBezTo>
                      <a:pt x="247" y="126"/>
                      <a:pt x="246" y="128"/>
                      <a:pt x="246" y="129"/>
                    </a:cubicBezTo>
                    <a:cubicBezTo>
                      <a:pt x="244" y="129"/>
                      <a:pt x="243" y="128"/>
                      <a:pt x="242" y="129"/>
                    </a:cubicBezTo>
                    <a:cubicBezTo>
                      <a:pt x="241" y="129"/>
                      <a:pt x="240" y="131"/>
                      <a:pt x="240" y="131"/>
                    </a:cubicBezTo>
                    <a:cubicBezTo>
                      <a:pt x="236" y="132"/>
                      <a:pt x="235" y="130"/>
                      <a:pt x="234" y="134"/>
                    </a:cubicBezTo>
                    <a:cubicBezTo>
                      <a:pt x="232" y="137"/>
                      <a:pt x="232" y="142"/>
                      <a:pt x="231" y="146"/>
                    </a:cubicBezTo>
                    <a:cubicBezTo>
                      <a:pt x="231" y="146"/>
                      <a:pt x="228" y="148"/>
                      <a:pt x="228" y="148"/>
                    </a:cubicBezTo>
                    <a:cubicBezTo>
                      <a:pt x="228" y="150"/>
                      <a:pt x="229" y="152"/>
                      <a:pt x="228" y="154"/>
                    </a:cubicBezTo>
                    <a:cubicBezTo>
                      <a:pt x="228" y="154"/>
                      <a:pt x="228" y="154"/>
                      <a:pt x="228" y="154"/>
                    </a:cubicBezTo>
                    <a:cubicBezTo>
                      <a:pt x="225" y="155"/>
                      <a:pt x="224" y="158"/>
                      <a:pt x="222" y="160"/>
                    </a:cubicBezTo>
                    <a:cubicBezTo>
                      <a:pt x="221" y="160"/>
                      <a:pt x="219" y="161"/>
                      <a:pt x="219" y="161"/>
                    </a:cubicBezTo>
                    <a:cubicBezTo>
                      <a:pt x="219" y="161"/>
                      <a:pt x="218" y="159"/>
                      <a:pt x="218" y="158"/>
                    </a:cubicBezTo>
                    <a:cubicBezTo>
                      <a:pt x="213" y="159"/>
                      <a:pt x="212" y="159"/>
                      <a:pt x="209" y="162"/>
                    </a:cubicBezTo>
                    <a:cubicBezTo>
                      <a:pt x="209" y="162"/>
                      <a:pt x="208" y="164"/>
                      <a:pt x="208" y="164"/>
                    </a:cubicBezTo>
                    <a:cubicBezTo>
                      <a:pt x="207" y="164"/>
                      <a:pt x="205" y="164"/>
                      <a:pt x="203" y="164"/>
                    </a:cubicBezTo>
                    <a:cubicBezTo>
                      <a:pt x="203" y="165"/>
                      <a:pt x="203" y="165"/>
                      <a:pt x="203" y="165"/>
                    </a:cubicBezTo>
                    <a:cubicBezTo>
                      <a:pt x="201" y="166"/>
                      <a:pt x="198" y="165"/>
                      <a:pt x="195" y="165"/>
                    </a:cubicBezTo>
                    <a:cubicBezTo>
                      <a:pt x="192" y="159"/>
                      <a:pt x="191" y="159"/>
                      <a:pt x="184" y="159"/>
                    </a:cubicBezTo>
                    <a:cubicBezTo>
                      <a:pt x="183" y="158"/>
                      <a:pt x="184" y="157"/>
                      <a:pt x="184" y="156"/>
                    </a:cubicBezTo>
                    <a:cubicBezTo>
                      <a:pt x="183" y="154"/>
                      <a:pt x="180" y="152"/>
                      <a:pt x="180" y="150"/>
                    </a:cubicBezTo>
                    <a:cubicBezTo>
                      <a:pt x="180" y="149"/>
                      <a:pt x="180" y="147"/>
                      <a:pt x="180" y="146"/>
                    </a:cubicBezTo>
                    <a:cubicBezTo>
                      <a:pt x="180" y="146"/>
                      <a:pt x="178" y="147"/>
                      <a:pt x="178" y="146"/>
                    </a:cubicBezTo>
                    <a:cubicBezTo>
                      <a:pt x="177" y="146"/>
                      <a:pt x="176" y="143"/>
                      <a:pt x="175" y="142"/>
                    </a:cubicBezTo>
                    <a:cubicBezTo>
                      <a:pt x="175" y="141"/>
                      <a:pt x="173" y="141"/>
                      <a:pt x="172" y="140"/>
                    </a:cubicBezTo>
                    <a:cubicBezTo>
                      <a:pt x="171" y="138"/>
                      <a:pt x="172" y="136"/>
                      <a:pt x="171" y="134"/>
                    </a:cubicBezTo>
                    <a:cubicBezTo>
                      <a:pt x="171" y="134"/>
                      <a:pt x="169" y="133"/>
                      <a:pt x="168" y="132"/>
                    </a:cubicBezTo>
                    <a:cubicBezTo>
                      <a:pt x="168" y="131"/>
                      <a:pt x="168" y="129"/>
                      <a:pt x="168" y="129"/>
                    </a:cubicBezTo>
                    <a:cubicBezTo>
                      <a:pt x="167" y="129"/>
                      <a:pt x="166" y="130"/>
                      <a:pt x="166" y="130"/>
                    </a:cubicBezTo>
                    <a:cubicBezTo>
                      <a:pt x="167" y="125"/>
                      <a:pt x="166" y="124"/>
                      <a:pt x="166" y="119"/>
                    </a:cubicBezTo>
                    <a:cubicBezTo>
                      <a:pt x="167" y="118"/>
                      <a:pt x="169" y="116"/>
                      <a:pt x="168" y="113"/>
                    </a:cubicBezTo>
                    <a:cubicBezTo>
                      <a:pt x="167" y="111"/>
                      <a:pt x="167" y="111"/>
                      <a:pt x="167" y="111"/>
                    </a:cubicBezTo>
                    <a:cubicBezTo>
                      <a:pt x="167" y="109"/>
                      <a:pt x="168" y="107"/>
                      <a:pt x="167" y="106"/>
                    </a:cubicBezTo>
                    <a:cubicBezTo>
                      <a:pt x="166" y="105"/>
                      <a:pt x="166" y="105"/>
                      <a:pt x="166" y="105"/>
                    </a:cubicBezTo>
                    <a:cubicBezTo>
                      <a:pt x="165" y="102"/>
                      <a:pt x="167" y="101"/>
                      <a:pt x="166" y="98"/>
                    </a:cubicBezTo>
                    <a:cubicBezTo>
                      <a:pt x="165" y="95"/>
                      <a:pt x="165" y="95"/>
                      <a:pt x="165" y="95"/>
                    </a:cubicBezTo>
                    <a:cubicBezTo>
                      <a:pt x="165" y="94"/>
                      <a:pt x="167" y="90"/>
                      <a:pt x="165" y="89"/>
                    </a:cubicBezTo>
                    <a:cubicBezTo>
                      <a:pt x="166" y="88"/>
                      <a:pt x="167" y="88"/>
                      <a:pt x="168" y="87"/>
                    </a:cubicBezTo>
                    <a:cubicBezTo>
                      <a:pt x="168" y="86"/>
                      <a:pt x="167" y="85"/>
                      <a:pt x="168" y="85"/>
                    </a:cubicBezTo>
                    <a:cubicBezTo>
                      <a:pt x="168" y="85"/>
                      <a:pt x="170" y="85"/>
                      <a:pt x="170" y="85"/>
                    </a:cubicBezTo>
                    <a:cubicBezTo>
                      <a:pt x="171" y="83"/>
                      <a:pt x="171" y="82"/>
                      <a:pt x="172" y="81"/>
                    </a:cubicBezTo>
                    <a:cubicBezTo>
                      <a:pt x="173" y="80"/>
                      <a:pt x="172" y="79"/>
                      <a:pt x="172" y="79"/>
                    </a:cubicBezTo>
                    <a:cubicBezTo>
                      <a:pt x="168" y="79"/>
                      <a:pt x="168" y="79"/>
                      <a:pt x="168" y="79"/>
                    </a:cubicBezTo>
                    <a:cubicBezTo>
                      <a:pt x="166" y="76"/>
                      <a:pt x="166" y="76"/>
                      <a:pt x="166" y="76"/>
                    </a:cubicBezTo>
                    <a:cubicBezTo>
                      <a:pt x="162" y="76"/>
                      <a:pt x="162" y="76"/>
                      <a:pt x="162" y="76"/>
                    </a:cubicBezTo>
                    <a:cubicBezTo>
                      <a:pt x="158" y="74"/>
                      <a:pt x="158" y="74"/>
                      <a:pt x="158" y="74"/>
                    </a:cubicBezTo>
                    <a:cubicBezTo>
                      <a:pt x="156" y="73"/>
                      <a:pt x="156" y="73"/>
                      <a:pt x="156" y="73"/>
                    </a:cubicBezTo>
                    <a:cubicBezTo>
                      <a:pt x="155" y="69"/>
                      <a:pt x="155" y="69"/>
                      <a:pt x="155" y="69"/>
                    </a:cubicBezTo>
                    <a:cubicBezTo>
                      <a:pt x="153" y="63"/>
                      <a:pt x="153" y="63"/>
                      <a:pt x="153" y="63"/>
                    </a:cubicBezTo>
                    <a:cubicBezTo>
                      <a:pt x="152" y="60"/>
                      <a:pt x="152" y="60"/>
                      <a:pt x="152" y="60"/>
                    </a:cubicBezTo>
                    <a:cubicBezTo>
                      <a:pt x="149" y="58"/>
                      <a:pt x="149" y="58"/>
                      <a:pt x="149" y="58"/>
                    </a:cubicBezTo>
                    <a:cubicBezTo>
                      <a:pt x="147" y="54"/>
                      <a:pt x="147" y="54"/>
                      <a:pt x="147" y="54"/>
                    </a:cubicBezTo>
                    <a:cubicBezTo>
                      <a:pt x="145" y="50"/>
                      <a:pt x="145" y="50"/>
                      <a:pt x="145" y="50"/>
                    </a:cubicBezTo>
                    <a:cubicBezTo>
                      <a:pt x="143" y="46"/>
                      <a:pt x="143" y="46"/>
                      <a:pt x="143" y="46"/>
                    </a:cubicBezTo>
                    <a:cubicBezTo>
                      <a:pt x="142" y="44"/>
                      <a:pt x="142" y="44"/>
                      <a:pt x="142" y="44"/>
                    </a:cubicBezTo>
                    <a:cubicBezTo>
                      <a:pt x="141" y="41"/>
                      <a:pt x="141" y="41"/>
                      <a:pt x="141" y="41"/>
                    </a:cubicBezTo>
                    <a:cubicBezTo>
                      <a:pt x="139" y="38"/>
                      <a:pt x="139" y="38"/>
                      <a:pt x="139" y="38"/>
                    </a:cubicBezTo>
                    <a:cubicBezTo>
                      <a:pt x="136" y="36"/>
                      <a:pt x="136" y="36"/>
                      <a:pt x="136" y="36"/>
                    </a:cubicBezTo>
                    <a:cubicBezTo>
                      <a:pt x="133" y="34"/>
                      <a:pt x="133" y="34"/>
                      <a:pt x="133" y="34"/>
                    </a:cubicBezTo>
                    <a:cubicBezTo>
                      <a:pt x="130" y="34"/>
                      <a:pt x="130" y="34"/>
                      <a:pt x="130" y="34"/>
                    </a:cubicBezTo>
                    <a:cubicBezTo>
                      <a:pt x="127" y="35"/>
                      <a:pt x="127" y="35"/>
                      <a:pt x="127" y="35"/>
                    </a:cubicBezTo>
                    <a:cubicBezTo>
                      <a:pt x="124" y="39"/>
                      <a:pt x="124" y="39"/>
                      <a:pt x="124" y="39"/>
                    </a:cubicBezTo>
                    <a:cubicBezTo>
                      <a:pt x="122" y="41"/>
                      <a:pt x="122" y="41"/>
                      <a:pt x="122" y="41"/>
                    </a:cubicBezTo>
                    <a:cubicBezTo>
                      <a:pt x="119" y="41"/>
                      <a:pt x="119" y="41"/>
                      <a:pt x="119" y="41"/>
                    </a:cubicBezTo>
                    <a:cubicBezTo>
                      <a:pt x="116" y="41"/>
                      <a:pt x="116" y="41"/>
                      <a:pt x="116" y="41"/>
                    </a:cubicBezTo>
                    <a:cubicBezTo>
                      <a:pt x="113" y="39"/>
                      <a:pt x="113" y="39"/>
                      <a:pt x="113" y="39"/>
                    </a:cubicBezTo>
                    <a:cubicBezTo>
                      <a:pt x="111" y="36"/>
                      <a:pt x="111" y="36"/>
                      <a:pt x="111" y="36"/>
                    </a:cubicBezTo>
                    <a:cubicBezTo>
                      <a:pt x="109" y="32"/>
                      <a:pt x="109" y="32"/>
                      <a:pt x="109" y="32"/>
                    </a:cubicBezTo>
                    <a:cubicBezTo>
                      <a:pt x="108" y="30"/>
                      <a:pt x="108" y="30"/>
                      <a:pt x="108" y="30"/>
                    </a:cubicBezTo>
                    <a:cubicBezTo>
                      <a:pt x="107" y="26"/>
                      <a:pt x="107" y="26"/>
                      <a:pt x="107" y="26"/>
                    </a:cubicBezTo>
                    <a:cubicBezTo>
                      <a:pt x="103" y="22"/>
                      <a:pt x="103" y="22"/>
                      <a:pt x="103" y="22"/>
                    </a:cubicBezTo>
                    <a:cubicBezTo>
                      <a:pt x="101" y="20"/>
                      <a:pt x="101" y="20"/>
                      <a:pt x="101" y="20"/>
                    </a:cubicBezTo>
                    <a:cubicBezTo>
                      <a:pt x="100" y="18"/>
                      <a:pt x="100" y="18"/>
                      <a:pt x="100" y="18"/>
                    </a:cubicBezTo>
                    <a:cubicBezTo>
                      <a:pt x="96" y="16"/>
                      <a:pt x="96" y="16"/>
                      <a:pt x="96" y="16"/>
                    </a:cubicBezTo>
                    <a:cubicBezTo>
                      <a:pt x="93" y="11"/>
                      <a:pt x="93" y="11"/>
                      <a:pt x="93" y="11"/>
                    </a:cubicBezTo>
                    <a:cubicBezTo>
                      <a:pt x="75" y="11"/>
                      <a:pt x="75" y="11"/>
                      <a:pt x="75" y="11"/>
                    </a:cubicBezTo>
                    <a:cubicBezTo>
                      <a:pt x="75" y="16"/>
                      <a:pt x="75" y="16"/>
                      <a:pt x="75" y="16"/>
                    </a:cubicBezTo>
                    <a:cubicBezTo>
                      <a:pt x="47" y="15"/>
                      <a:pt x="47" y="15"/>
                      <a:pt x="47" y="15"/>
                    </a:cubicBezTo>
                    <a:cubicBezTo>
                      <a:pt x="24" y="3"/>
                      <a:pt x="24" y="3"/>
                      <a:pt x="24" y="3"/>
                    </a:cubicBezTo>
                    <a:cubicBezTo>
                      <a:pt x="24" y="0"/>
                      <a:pt x="24" y="0"/>
                      <a:pt x="24" y="0"/>
                    </a:cubicBezTo>
                    <a:lnTo>
                      <a:pt x="0" y="1"/>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67" name="Freeform 146">
                <a:extLst>
                  <a:ext uri="{FF2B5EF4-FFF2-40B4-BE49-F238E27FC236}">
                    <a16:creationId xmlns:a16="http://schemas.microsoft.com/office/drawing/2014/main" id="{D857B38F-C3FF-32E0-65B9-7A9B26782F73}"/>
                  </a:ext>
                </a:extLst>
              </p:cNvPr>
              <p:cNvSpPr>
                <a:spLocks/>
              </p:cNvSpPr>
              <p:nvPr/>
            </p:nvSpPr>
            <p:spPr bwMode="auto">
              <a:xfrm>
                <a:off x="1133" y="1544"/>
                <a:ext cx="518" cy="387"/>
              </a:xfrm>
              <a:custGeom>
                <a:avLst/>
                <a:gdLst>
                  <a:gd name="T0" fmla="*/ 4 w 264"/>
                  <a:gd name="T1" fmla="*/ 11 h 197"/>
                  <a:gd name="T2" fmla="*/ 11 w 264"/>
                  <a:gd name="T3" fmla="*/ 25 h 197"/>
                  <a:gd name="T4" fmla="*/ 19 w 264"/>
                  <a:gd name="T5" fmla="*/ 31 h 197"/>
                  <a:gd name="T6" fmla="*/ 24 w 264"/>
                  <a:gd name="T7" fmla="*/ 53 h 197"/>
                  <a:gd name="T8" fmla="*/ 25 w 264"/>
                  <a:gd name="T9" fmla="*/ 62 h 197"/>
                  <a:gd name="T10" fmla="*/ 41 w 264"/>
                  <a:gd name="T11" fmla="*/ 73 h 197"/>
                  <a:gd name="T12" fmla="*/ 46 w 264"/>
                  <a:gd name="T13" fmla="*/ 90 h 197"/>
                  <a:gd name="T14" fmla="*/ 58 w 264"/>
                  <a:gd name="T15" fmla="*/ 109 h 197"/>
                  <a:gd name="T16" fmla="*/ 63 w 264"/>
                  <a:gd name="T17" fmla="*/ 105 h 197"/>
                  <a:gd name="T18" fmla="*/ 57 w 264"/>
                  <a:gd name="T19" fmla="*/ 94 h 197"/>
                  <a:gd name="T20" fmla="*/ 51 w 264"/>
                  <a:gd name="T21" fmla="*/ 86 h 197"/>
                  <a:gd name="T22" fmla="*/ 41 w 264"/>
                  <a:gd name="T23" fmla="*/ 63 h 197"/>
                  <a:gd name="T24" fmla="*/ 36 w 264"/>
                  <a:gd name="T25" fmla="*/ 52 h 197"/>
                  <a:gd name="T26" fmla="*/ 33 w 264"/>
                  <a:gd name="T27" fmla="*/ 42 h 197"/>
                  <a:gd name="T28" fmla="*/ 31 w 264"/>
                  <a:gd name="T29" fmla="*/ 36 h 197"/>
                  <a:gd name="T30" fmla="*/ 22 w 264"/>
                  <a:gd name="T31" fmla="*/ 25 h 197"/>
                  <a:gd name="T32" fmla="*/ 18 w 264"/>
                  <a:gd name="T33" fmla="*/ 9 h 197"/>
                  <a:gd name="T34" fmla="*/ 27 w 264"/>
                  <a:gd name="T35" fmla="*/ 10 h 197"/>
                  <a:gd name="T36" fmla="*/ 37 w 264"/>
                  <a:gd name="T37" fmla="*/ 25 h 197"/>
                  <a:gd name="T38" fmla="*/ 46 w 264"/>
                  <a:gd name="T39" fmla="*/ 43 h 197"/>
                  <a:gd name="T40" fmla="*/ 57 w 264"/>
                  <a:gd name="T41" fmla="*/ 53 h 197"/>
                  <a:gd name="T42" fmla="*/ 67 w 264"/>
                  <a:gd name="T43" fmla="*/ 65 h 197"/>
                  <a:gd name="T44" fmla="*/ 66 w 264"/>
                  <a:gd name="T45" fmla="*/ 72 h 197"/>
                  <a:gd name="T46" fmla="*/ 74 w 264"/>
                  <a:gd name="T47" fmla="*/ 81 h 197"/>
                  <a:gd name="T48" fmla="*/ 86 w 264"/>
                  <a:gd name="T49" fmla="*/ 96 h 197"/>
                  <a:gd name="T50" fmla="*/ 92 w 264"/>
                  <a:gd name="T51" fmla="*/ 105 h 197"/>
                  <a:gd name="T52" fmla="*/ 100 w 264"/>
                  <a:gd name="T53" fmla="*/ 124 h 197"/>
                  <a:gd name="T54" fmla="*/ 99 w 264"/>
                  <a:gd name="T55" fmla="*/ 142 h 197"/>
                  <a:gd name="T56" fmla="*/ 108 w 264"/>
                  <a:gd name="T57" fmla="*/ 154 h 197"/>
                  <a:gd name="T58" fmla="*/ 119 w 264"/>
                  <a:gd name="T59" fmla="*/ 164 h 197"/>
                  <a:gd name="T60" fmla="*/ 142 w 264"/>
                  <a:gd name="T61" fmla="*/ 176 h 197"/>
                  <a:gd name="T62" fmla="*/ 158 w 264"/>
                  <a:gd name="T63" fmla="*/ 181 h 197"/>
                  <a:gd name="T64" fmla="*/ 164 w 264"/>
                  <a:gd name="T65" fmla="*/ 187 h 197"/>
                  <a:gd name="T66" fmla="*/ 175 w 264"/>
                  <a:gd name="T67" fmla="*/ 189 h 197"/>
                  <a:gd name="T68" fmla="*/ 193 w 264"/>
                  <a:gd name="T69" fmla="*/ 185 h 197"/>
                  <a:gd name="T70" fmla="*/ 208 w 264"/>
                  <a:gd name="T71" fmla="*/ 190 h 197"/>
                  <a:gd name="T72" fmla="*/ 218 w 264"/>
                  <a:gd name="T73" fmla="*/ 184 h 197"/>
                  <a:gd name="T74" fmla="*/ 222 w 264"/>
                  <a:gd name="T75" fmla="*/ 171 h 197"/>
                  <a:gd name="T76" fmla="*/ 244 w 264"/>
                  <a:gd name="T77" fmla="*/ 164 h 197"/>
                  <a:gd name="T78" fmla="*/ 254 w 264"/>
                  <a:gd name="T79" fmla="*/ 164 h 197"/>
                  <a:gd name="T80" fmla="*/ 259 w 264"/>
                  <a:gd name="T81" fmla="*/ 126 h 197"/>
                  <a:gd name="T82" fmla="*/ 246 w 264"/>
                  <a:gd name="T83" fmla="*/ 129 h 197"/>
                  <a:gd name="T84" fmla="*/ 231 w 264"/>
                  <a:gd name="T85" fmla="*/ 146 h 197"/>
                  <a:gd name="T86" fmla="*/ 222 w 264"/>
                  <a:gd name="T87" fmla="*/ 160 h 197"/>
                  <a:gd name="T88" fmla="*/ 208 w 264"/>
                  <a:gd name="T89" fmla="*/ 164 h 197"/>
                  <a:gd name="T90" fmla="*/ 184 w 264"/>
                  <a:gd name="T91" fmla="*/ 159 h 197"/>
                  <a:gd name="T92" fmla="*/ 178 w 264"/>
                  <a:gd name="T93" fmla="*/ 146 h 197"/>
                  <a:gd name="T94" fmla="*/ 168 w 264"/>
                  <a:gd name="T95" fmla="*/ 132 h 197"/>
                  <a:gd name="T96" fmla="*/ 168 w 264"/>
                  <a:gd name="T97" fmla="*/ 113 h 197"/>
                  <a:gd name="T98" fmla="*/ 166 w 264"/>
                  <a:gd name="T99" fmla="*/ 98 h 197"/>
                  <a:gd name="T100" fmla="*/ 168 w 264"/>
                  <a:gd name="T101" fmla="*/ 85 h 197"/>
                  <a:gd name="T102" fmla="*/ 168 w 264"/>
                  <a:gd name="T103" fmla="*/ 79 h 197"/>
                  <a:gd name="T104" fmla="*/ 156 w 264"/>
                  <a:gd name="T105" fmla="*/ 73 h 197"/>
                  <a:gd name="T106" fmla="*/ 149 w 264"/>
                  <a:gd name="T107" fmla="*/ 58 h 197"/>
                  <a:gd name="T108" fmla="*/ 142 w 264"/>
                  <a:gd name="T109" fmla="*/ 44 h 197"/>
                  <a:gd name="T110" fmla="*/ 133 w 264"/>
                  <a:gd name="T111" fmla="*/ 34 h 197"/>
                  <a:gd name="T112" fmla="*/ 122 w 264"/>
                  <a:gd name="T113" fmla="*/ 41 h 197"/>
                  <a:gd name="T114" fmla="*/ 111 w 264"/>
                  <a:gd name="T115" fmla="*/ 36 h 197"/>
                  <a:gd name="T116" fmla="*/ 103 w 264"/>
                  <a:gd name="T117" fmla="*/ 22 h 197"/>
                  <a:gd name="T118" fmla="*/ 93 w 264"/>
                  <a:gd name="T119" fmla="*/ 11 h 197"/>
                  <a:gd name="T120" fmla="*/ 24 w 264"/>
                  <a:gd name="T121"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4" h="197">
                    <a:moveTo>
                      <a:pt x="0" y="1"/>
                    </a:moveTo>
                    <a:cubicBezTo>
                      <a:pt x="0" y="3"/>
                      <a:pt x="0" y="4"/>
                      <a:pt x="1" y="6"/>
                    </a:cubicBezTo>
                    <a:cubicBezTo>
                      <a:pt x="1" y="7"/>
                      <a:pt x="3" y="7"/>
                      <a:pt x="4" y="8"/>
                    </a:cubicBezTo>
                    <a:cubicBezTo>
                      <a:pt x="4" y="9"/>
                      <a:pt x="3" y="10"/>
                      <a:pt x="4" y="11"/>
                    </a:cubicBezTo>
                    <a:cubicBezTo>
                      <a:pt x="4" y="12"/>
                      <a:pt x="6" y="13"/>
                      <a:pt x="7" y="14"/>
                    </a:cubicBezTo>
                    <a:cubicBezTo>
                      <a:pt x="8" y="16"/>
                      <a:pt x="6" y="19"/>
                      <a:pt x="8" y="22"/>
                    </a:cubicBezTo>
                    <a:cubicBezTo>
                      <a:pt x="8" y="22"/>
                      <a:pt x="10" y="23"/>
                      <a:pt x="10" y="23"/>
                    </a:cubicBezTo>
                    <a:cubicBezTo>
                      <a:pt x="11" y="23"/>
                      <a:pt x="10" y="25"/>
                      <a:pt x="11" y="25"/>
                    </a:cubicBezTo>
                    <a:cubicBezTo>
                      <a:pt x="11" y="26"/>
                      <a:pt x="13" y="26"/>
                      <a:pt x="14" y="27"/>
                    </a:cubicBezTo>
                    <a:cubicBezTo>
                      <a:pt x="14" y="27"/>
                      <a:pt x="14" y="28"/>
                      <a:pt x="14" y="29"/>
                    </a:cubicBezTo>
                    <a:cubicBezTo>
                      <a:pt x="15" y="29"/>
                      <a:pt x="17" y="28"/>
                      <a:pt x="18" y="29"/>
                    </a:cubicBezTo>
                    <a:cubicBezTo>
                      <a:pt x="18" y="29"/>
                      <a:pt x="18" y="31"/>
                      <a:pt x="19" y="31"/>
                    </a:cubicBezTo>
                    <a:cubicBezTo>
                      <a:pt x="20" y="32"/>
                      <a:pt x="21" y="32"/>
                      <a:pt x="22" y="33"/>
                    </a:cubicBezTo>
                    <a:cubicBezTo>
                      <a:pt x="24" y="36"/>
                      <a:pt x="22" y="37"/>
                      <a:pt x="23" y="41"/>
                    </a:cubicBezTo>
                    <a:cubicBezTo>
                      <a:pt x="23" y="41"/>
                      <a:pt x="25" y="43"/>
                      <a:pt x="25" y="43"/>
                    </a:cubicBezTo>
                    <a:cubicBezTo>
                      <a:pt x="25" y="47"/>
                      <a:pt x="24" y="50"/>
                      <a:pt x="24" y="53"/>
                    </a:cubicBezTo>
                    <a:cubicBezTo>
                      <a:pt x="22" y="53"/>
                      <a:pt x="20" y="53"/>
                      <a:pt x="17" y="53"/>
                    </a:cubicBezTo>
                    <a:cubicBezTo>
                      <a:pt x="17" y="55"/>
                      <a:pt x="17" y="55"/>
                      <a:pt x="17" y="55"/>
                    </a:cubicBezTo>
                    <a:cubicBezTo>
                      <a:pt x="19" y="56"/>
                      <a:pt x="21" y="57"/>
                      <a:pt x="22" y="58"/>
                    </a:cubicBezTo>
                    <a:cubicBezTo>
                      <a:pt x="23" y="59"/>
                      <a:pt x="24" y="62"/>
                      <a:pt x="25" y="62"/>
                    </a:cubicBezTo>
                    <a:cubicBezTo>
                      <a:pt x="25" y="62"/>
                      <a:pt x="26" y="62"/>
                      <a:pt x="27" y="62"/>
                    </a:cubicBezTo>
                    <a:cubicBezTo>
                      <a:pt x="27" y="63"/>
                      <a:pt x="27" y="64"/>
                      <a:pt x="28" y="65"/>
                    </a:cubicBezTo>
                    <a:cubicBezTo>
                      <a:pt x="28" y="65"/>
                      <a:pt x="30" y="64"/>
                      <a:pt x="31" y="65"/>
                    </a:cubicBezTo>
                    <a:cubicBezTo>
                      <a:pt x="32" y="65"/>
                      <a:pt x="40" y="72"/>
                      <a:pt x="41" y="73"/>
                    </a:cubicBezTo>
                    <a:cubicBezTo>
                      <a:pt x="41" y="75"/>
                      <a:pt x="40" y="74"/>
                      <a:pt x="40" y="76"/>
                    </a:cubicBezTo>
                    <a:cubicBezTo>
                      <a:pt x="40" y="76"/>
                      <a:pt x="42" y="79"/>
                      <a:pt x="42" y="80"/>
                    </a:cubicBezTo>
                    <a:cubicBezTo>
                      <a:pt x="43" y="82"/>
                      <a:pt x="41" y="86"/>
                      <a:pt x="42" y="88"/>
                    </a:cubicBezTo>
                    <a:cubicBezTo>
                      <a:pt x="43" y="89"/>
                      <a:pt x="45" y="89"/>
                      <a:pt x="46" y="90"/>
                    </a:cubicBezTo>
                    <a:cubicBezTo>
                      <a:pt x="47" y="90"/>
                      <a:pt x="46" y="92"/>
                      <a:pt x="47" y="93"/>
                    </a:cubicBezTo>
                    <a:cubicBezTo>
                      <a:pt x="47" y="93"/>
                      <a:pt x="49" y="94"/>
                      <a:pt x="50" y="95"/>
                    </a:cubicBezTo>
                    <a:cubicBezTo>
                      <a:pt x="51" y="96"/>
                      <a:pt x="58" y="104"/>
                      <a:pt x="58" y="105"/>
                    </a:cubicBezTo>
                    <a:cubicBezTo>
                      <a:pt x="58" y="106"/>
                      <a:pt x="58" y="107"/>
                      <a:pt x="58" y="109"/>
                    </a:cubicBezTo>
                    <a:cubicBezTo>
                      <a:pt x="61" y="109"/>
                      <a:pt x="61" y="109"/>
                      <a:pt x="61" y="109"/>
                    </a:cubicBezTo>
                    <a:cubicBezTo>
                      <a:pt x="61" y="109"/>
                      <a:pt x="60" y="108"/>
                      <a:pt x="61" y="107"/>
                    </a:cubicBezTo>
                    <a:cubicBezTo>
                      <a:pt x="61" y="107"/>
                      <a:pt x="61" y="107"/>
                      <a:pt x="61" y="107"/>
                    </a:cubicBezTo>
                    <a:cubicBezTo>
                      <a:pt x="62" y="107"/>
                      <a:pt x="63" y="106"/>
                      <a:pt x="63" y="105"/>
                    </a:cubicBezTo>
                    <a:cubicBezTo>
                      <a:pt x="63" y="104"/>
                      <a:pt x="64" y="103"/>
                      <a:pt x="63" y="101"/>
                    </a:cubicBezTo>
                    <a:cubicBezTo>
                      <a:pt x="63" y="101"/>
                      <a:pt x="58" y="98"/>
                      <a:pt x="58" y="98"/>
                    </a:cubicBezTo>
                    <a:cubicBezTo>
                      <a:pt x="58" y="97"/>
                      <a:pt x="58" y="96"/>
                      <a:pt x="58" y="95"/>
                    </a:cubicBezTo>
                    <a:cubicBezTo>
                      <a:pt x="57" y="95"/>
                      <a:pt x="57" y="94"/>
                      <a:pt x="57" y="94"/>
                    </a:cubicBezTo>
                    <a:cubicBezTo>
                      <a:pt x="56" y="94"/>
                      <a:pt x="55" y="94"/>
                      <a:pt x="54" y="94"/>
                    </a:cubicBezTo>
                    <a:cubicBezTo>
                      <a:pt x="53" y="94"/>
                      <a:pt x="54" y="92"/>
                      <a:pt x="53" y="92"/>
                    </a:cubicBezTo>
                    <a:cubicBezTo>
                      <a:pt x="53" y="91"/>
                      <a:pt x="55" y="90"/>
                      <a:pt x="54" y="88"/>
                    </a:cubicBezTo>
                    <a:cubicBezTo>
                      <a:pt x="54" y="87"/>
                      <a:pt x="52" y="87"/>
                      <a:pt x="51" y="86"/>
                    </a:cubicBezTo>
                    <a:cubicBezTo>
                      <a:pt x="51" y="84"/>
                      <a:pt x="52" y="83"/>
                      <a:pt x="52" y="81"/>
                    </a:cubicBezTo>
                    <a:cubicBezTo>
                      <a:pt x="52" y="81"/>
                      <a:pt x="48" y="76"/>
                      <a:pt x="48" y="76"/>
                    </a:cubicBezTo>
                    <a:cubicBezTo>
                      <a:pt x="48" y="75"/>
                      <a:pt x="48" y="74"/>
                      <a:pt x="48" y="73"/>
                    </a:cubicBezTo>
                    <a:cubicBezTo>
                      <a:pt x="47" y="69"/>
                      <a:pt x="45" y="65"/>
                      <a:pt x="41" y="63"/>
                    </a:cubicBezTo>
                    <a:cubicBezTo>
                      <a:pt x="42" y="62"/>
                      <a:pt x="43" y="60"/>
                      <a:pt x="42" y="59"/>
                    </a:cubicBezTo>
                    <a:cubicBezTo>
                      <a:pt x="42" y="58"/>
                      <a:pt x="40" y="58"/>
                      <a:pt x="39" y="57"/>
                    </a:cubicBezTo>
                    <a:cubicBezTo>
                      <a:pt x="39" y="57"/>
                      <a:pt x="40" y="55"/>
                      <a:pt x="39" y="55"/>
                    </a:cubicBezTo>
                    <a:cubicBezTo>
                      <a:pt x="39" y="54"/>
                      <a:pt x="37" y="53"/>
                      <a:pt x="36" y="52"/>
                    </a:cubicBezTo>
                    <a:cubicBezTo>
                      <a:pt x="35" y="50"/>
                      <a:pt x="36" y="47"/>
                      <a:pt x="35" y="45"/>
                    </a:cubicBezTo>
                    <a:cubicBezTo>
                      <a:pt x="33" y="44"/>
                      <a:pt x="33" y="44"/>
                      <a:pt x="33" y="44"/>
                    </a:cubicBezTo>
                    <a:cubicBezTo>
                      <a:pt x="33" y="44"/>
                      <a:pt x="34" y="42"/>
                      <a:pt x="33" y="42"/>
                    </a:cubicBezTo>
                    <a:cubicBezTo>
                      <a:pt x="33" y="42"/>
                      <a:pt x="33" y="42"/>
                      <a:pt x="33" y="42"/>
                    </a:cubicBezTo>
                    <a:cubicBezTo>
                      <a:pt x="33" y="41"/>
                      <a:pt x="33" y="41"/>
                      <a:pt x="33" y="41"/>
                    </a:cubicBezTo>
                    <a:cubicBezTo>
                      <a:pt x="32" y="41"/>
                      <a:pt x="31" y="42"/>
                      <a:pt x="30" y="41"/>
                    </a:cubicBezTo>
                    <a:cubicBezTo>
                      <a:pt x="30" y="40"/>
                      <a:pt x="30" y="37"/>
                      <a:pt x="31" y="37"/>
                    </a:cubicBezTo>
                    <a:cubicBezTo>
                      <a:pt x="31" y="36"/>
                      <a:pt x="31" y="36"/>
                      <a:pt x="31" y="36"/>
                    </a:cubicBezTo>
                    <a:cubicBezTo>
                      <a:pt x="28" y="31"/>
                      <a:pt x="28" y="31"/>
                      <a:pt x="28" y="31"/>
                    </a:cubicBezTo>
                    <a:cubicBezTo>
                      <a:pt x="27" y="31"/>
                      <a:pt x="26" y="31"/>
                      <a:pt x="25" y="31"/>
                    </a:cubicBezTo>
                    <a:cubicBezTo>
                      <a:pt x="25" y="31"/>
                      <a:pt x="25" y="29"/>
                      <a:pt x="25" y="29"/>
                    </a:cubicBezTo>
                    <a:cubicBezTo>
                      <a:pt x="25" y="28"/>
                      <a:pt x="23" y="26"/>
                      <a:pt x="22" y="25"/>
                    </a:cubicBezTo>
                    <a:cubicBezTo>
                      <a:pt x="21" y="23"/>
                      <a:pt x="22" y="21"/>
                      <a:pt x="20" y="19"/>
                    </a:cubicBezTo>
                    <a:cubicBezTo>
                      <a:pt x="20" y="18"/>
                      <a:pt x="17" y="16"/>
                      <a:pt x="17" y="16"/>
                    </a:cubicBezTo>
                    <a:cubicBezTo>
                      <a:pt x="16" y="13"/>
                      <a:pt x="18" y="11"/>
                      <a:pt x="18" y="10"/>
                    </a:cubicBezTo>
                    <a:cubicBezTo>
                      <a:pt x="18" y="9"/>
                      <a:pt x="17" y="10"/>
                      <a:pt x="18" y="9"/>
                    </a:cubicBezTo>
                    <a:cubicBezTo>
                      <a:pt x="19" y="9"/>
                      <a:pt x="20" y="8"/>
                      <a:pt x="22" y="9"/>
                    </a:cubicBezTo>
                    <a:cubicBezTo>
                      <a:pt x="22" y="9"/>
                      <a:pt x="22" y="11"/>
                      <a:pt x="23" y="11"/>
                    </a:cubicBezTo>
                    <a:cubicBezTo>
                      <a:pt x="24" y="12"/>
                      <a:pt x="25" y="11"/>
                      <a:pt x="26" y="12"/>
                    </a:cubicBezTo>
                    <a:cubicBezTo>
                      <a:pt x="26" y="12"/>
                      <a:pt x="27" y="10"/>
                      <a:pt x="27" y="10"/>
                    </a:cubicBezTo>
                    <a:cubicBezTo>
                      <a:pt x="28" y="9"/>
                      <a:pt x="29" y="10"/>
                      <a:pt x="31" y="10"/>
                    </a:cubicBezTo>
                    <a:cubicBezTo>
                      <a:pt x="33" y="14"/>
                      <a:pt x="30" y="11"/>
                      <a:pt x="34" y="15"/>
                    </a:cubicBezTo>
                    <a:cubicBezTo>
                      <a:pt x="33" y="20"/>
                      <a:pt x="34" y="22"/>
                      <a:pt x="36" y="25"/>
                    </a:cubicBezTo>
                    <a:cubicBezTo>
                      <a:pt x="37" y="25"/>
                      <a:pt x="37" y="25"/>
                      <a:pt x="37" y="25"/>
                    </a:cubicBezTo>
                    <a:cubicBezTo>
                      <a:pt x="39" y="28"/>
                      <a:pt x="38" y="30"/>
                      <a:pt x="39" y="33"/>
                    </a:cubicBezTo>
                    <a:cubicBezTo>
                      <a:pt x="41" y="35"/>
                      <a:pt x="43" y="37"/>
                      <a:pt x="44" y="39"/>
                    </a:cubicBezTo>
                    <a:cubicBezTo>
                      <a:pt x="44" y="39"/>
                      <a:pt x="46" y="39"/>
                      <a:pt x="46" y="39"/>
                    </a:cubicBezTo>
                    <a:cubicBezTo>
                      <a:pt x="47" y="41"/>
                      <a:pt x="46" y="42"/>
                      <a:pt x="46" y="43"/>
                    </a:cubicBezTo>
                    <a:cubicBezTo>
                      <a:pt x="46" y="45"/>
                      <a:pt x="46" y="45"/>
                      <a:pt x="46" y="45"/>
                    </a:cubicBezTo>
                    <a:cubicBezTo>
                      <a:pt x="47" y="45"/>
                      <a:pt x="50" y="45"/>
                      <a:pt x="51" y="46"/>
                    </a:cubicBezTo>
                    <a:cubicBezTo>
                      <a:pt x="52" y="47"/>
                      <a:pt x="52" y="53"/>
                      <a:pt x="54" y="53"/>
                    </a:cubicBezTo>
                    <a:cubicBezTo>
                      <a:pt x="55" y="54"/>
                      <a:pt x="57" y="53"/>
                      <a:pt x="57" y="53"/>
                    </a:cubicBezTo>
                    <a:cubicBezTo>
                      <a:pt x="59" y="55"/>
                      <a:pt x="57" y="57"/>
                      <a:pt x="57" y="59"/>
                    </a:cubicBezTo>
                    <a:cubicBezTo>
                      <a:pt x="58" y="60"/>
                      <a:pt x="61" y="60"/>
                      <a:pt x="62" y="61"/>
                    </a:cubicBezTo>
                    <a:cubicBezTo>
                      <a:pt x="62" y="62"/>
                      <a:pt x="62" y="65"/>
                      <a:pt x="63" y="65"/>
                    </a:cubicBezTo>
                    <a:cubicBezTo>
                      <a:pt x="64" y="66"/>
                      <a:pt x="66" y="65"/>
                      <a:pt x="67" y="65"/>
                    </a:cubicBezTo>
                    <a:cubicBezTo>
                      <a:pt x="68" y="66"/>
                      <a:pt x="68" y="67"/>
                      <a:pt x="68" y="68"/>
                    </a:cubicBezTo>
                    <a:cubicBezTo>
                      <a:pt x="69" y="68"/>
                      <a:pt x="69" y="68"/>
                      <a:pt x="69" y="68"/>
                    </a:cubicBezTo>
                    <a:cubicBezTo>
                      <a:pt x="69" y="69"/>
                      <a:pt x="69" y="70"/>
                      <a:pt x="69" y="71"/>
                    </a:cubicBezTo>
                    <a:cubicBezTo>
                      <a:pt x="68" y="71"/>
                      <a:pt x="66" y="71"/>
                      <a:pt x="66" y="72"/>
                    </a:cubicBezTo>
                    <a:cubicBezTo>
                      <a:pt x="66" y="73"/>
                      <a:pt x="66" y="75"/>
                      <a:pt x="66" y="76"/>
                    </a:cubicBezTo>
                    <a:cubicBezTo>
                      <a:pt x="67" y="76"/>
                      <a:pt x="68" y="76"/>
                      <a:pt x="69" y="77"/>
                    </a:cubicBezTo>
                    <a:cubicBezTo>
                      <a:pt x="70" y="77"/>
                      <a:pt x="70" y="79"/>
                      <a:pt x="70" y="79"/>
                    </a:cubicBezTo>
                    <a:cubicBezTo>
                      <a:pt x="71" y="80"/>
                      <a:pt x="73" y="81"/>
                      <a:pt x="74" y="81"/>
                    </a:cubicBezTo>
                    <a:cubicBezTo>
                      <a:pt x="74" y="81"/>
                      <a:pt x="79" y="88"/>
                      <a:pt x="79" y="88"/>
                    </a:cubicBezTo>
                    <a:cubicBezTo>
                      <a:pt x="80" y="89"/>
                      <a:pt x="79" y="90"/>
                      <a:pt x="80" y="91"/>
                    </a:cubicBezTo>
                    <a:cubicBezTo>
                      <a:pt x="81" y="92"/>
                      <a:pt x="82" y="92"/>
                      <a:pt x="83" y="93"/>
                    </a:cubicBezTo>
                    <a:cubicBezTo>
                      <a:pt x="84" y="94"/>
                      <a:pt x="86" y="96"/>
                      <a:pt x="86" y="96"/>
                    </a:cubicBezTo>
                    <a:cubicBezTo>
                      <a:pt x="86" y="97"/>
                      <a:pt x="86" y="98"/>
                      <a:pt x="86" y="99"/>
                    </a:cubicBezTo>
                    <a:cubicBezTo>
                      <a:pt x="87" y="99"/>
                      <a:pt x="89" y="101"/>
                      <a:pt x="90" y="102"/>
                    </a:cubicBezTo>
                    <a:cubicBezTo>
                      <a:pt x="90" y="103"/>
                      <a:pt x="90" y="103"/>
                      <a:pt x="90" y="104"/>
                    </a:cubicBezTo>
                    <a:cubicBezTo>
                      <a:pt x="90" y="104"/>
                      <a:pt x="92" y="105"/>
                      <a:pt x="92" y="105"/>
                    </a:cubicBezTo>
                    <a:cubicBezTo>
                      <a:pt x="93" y="107"/>
                      <a:pt x="92" y="108"/>
                      <a:pt x="93" y="110"/>
                    </a:cubicBezTo>
                    <a:cubicBezTo>
                      <a:pt x="95" y="113"/>
                      <a:pt x="97" y="114"/>
                      <a:pt x="99" y="119"/>
                    </a:cubicBezTo>
                    <a:cubicBezTo>
                      <a:pt x="100" y="119"/>
                      <a:pt x="100" y="119"/>
                      <a:pt x="100" y="119"/>
                    </a:cubicBezTo>
                    <a:cubicBezTo>
                      <a:pt x="100" y="121"/>
                      <a:pt x="100" y="122"/>
                      <a:pt x="100" y="124"/>
                    </a:cubicBezTo>
                    <a:cubicBezTo>
                      <a:pt x="100" y="125"/>
                      <a:pt x="103" y="126"/>
                      <a:pt x="102" y="131"/>
                    </a:cubicBezTo>
                    <a:cubicBezTo>
                      <a:pt x="102" y="132"/>
                      <a:pt x="100" y="134"/>
                      <a:pt x="99" y="134"/>
                    </a:cubicBezTo>
                    <a:cubicBezTo>
                      <a:pt x="98" y="136"/>
                      <a:pt x="101" y="137"/>
                      <a:pt x="101" y="138"/>
                    </a:cubicBezTo>
                    <a:cubicBezTo>
                      <a:pt x="100" y="139"/>
                      <a:pt x="98" y="139"/>
                      <a:pt x="99" y="142"/>
                    </a:cubicBezTo>
                    <a:cubicBezTo>
                      <a:pt x="99" y="142"/>
                      <a:pt x="100" y="145"/>
                      <a:pt x="101" y="146"/>
                    </a:cubicBezTo>
                    <a:cubicBezTo>
                      <a:pt x="102" y="146"/>
                      <a:pt x="102" y="146"/>
                      <a:pt x="102" y="146"/>
                    </a:cubicBezTo>
                    <a:cubicBezTo>
                      <a:pt x="103" y="147"/>
                      <a:pt x="102" y="148"/>
                      <a:pt x="103" y="149"/>
                    </a:cubicBezTo>
                    <a:cubicBezTo>
                      <a:pt x="103" y="150"/>
                      <a:pt x="107" y="153"/>
                      <a:pt x="108" y="154"/>
                    </a:cubicBezTo>
                    <a:cubicBezTo>
                      <a:pt x="109" y="154"/>
                      <a:pt x="110" y="154"/>
                      <a:pt x="111" y="154"/>
                    </a:cubicBezTo>
                    <a:cubicBezTo>
                      <a:pt x="112" y="155"/>
                      <a:pt x="111" y="156"/>
                      <a:pt x="112" y="157"/>
                    </a:cubicBezTo>
                    <a:cubicBezTo>
                      <a:pt x="113" y="158"/>
                      <a:pt x="115" y="159"/>
                      <a:pt x="117" y="160"/>
                    </a:cubicBezTo>
                    <a:cubicBezTo>
                      <a:pt x="117" y="161"/>
                      <a:pt x="119" y="163"/>
                      <a:pt x="119" y="164"/>
                    </a:cubicBezTo>
                    <a:cubicBezTo>
                      <a:pt x="119" y="164"/>
                      <a:pt x="121" y="167"/>
                      <a:pt x="121" y="167"/>
                    </a:cubicBezTo>
                    <a:cubicBezTo>
                      <a:pt x="125" y="169"/>
                      <a:pt x="128" y="167"/>
                      <a:pt x="131" y="168"/>
                    </a:cubicBezTo>
                    <a:cubicBezTo>
                      <a:pt x="132" y="169"/>
                      <a:pt x="133" y="172"/>
                      <a:pt x="134" y="172"/>
                    </a:cubicBezTo>
                    <a:cubicBezTo>
                      <a:pt x="136" y="174"/>
                      <a:pt x="140" y="175"/>
                      <a:pt x="142" y="176"/>
                    </a:cubicBezTo>
                    <a:cubicBezTo>
                      <a:pt x="143" y="177"/>
                      <a:pt x="143" y="178"/>
                      <a:pt x="144" y="178"/>
                    </a:cubicBezTo>
                    <a:cubicBezTo>
                      <a:pt x="147" y="180"/>
                      <a:pt x="149" y="179"/>
                      <a:pt x="153" y="180"/>
                    </a:cubicBezTo>
                    <a:cubicBezTo>
                      <a:pt x="154" y="182"/>
                      <a:pt x="154" y="182"/>
                      <a:pt x="154" y="182"/>
                    </a:cubicBezTo>
                    <a:cubicBezTo>
                      <a:pt x="156" y="182"/>
                      <a:pt x="156" y="181"/>
                      <a:pt x="158" y="181"/>
                    </a:cubicBezTo>
                    <a:cubicBezTo>
                      <a:pt x="158" y="181"/>
                      <a:pt x="158" y="183"/>
                      <a:pt x="158" y="183"/>
                    </a:cubicBezTo>
                    <a:cubicBezTo>
                      <a:pt x="159" y="183"/>
                      <a:pt x="160" y="183"/>
                      <a:pt x="161" y="183"/>
                    </a:cubicBezTo>
                    <a:cubicBezTo>
                      <a:pt x="162" y="183"/>
                      <a:pt x="163" y="185"/>
                      <a:pt x="164" y="186"/>
                    </a:cubicBezTo>
                    <a:cubicBezTo>
                      <a:pt x="164" y="187"/>
                      <a:pt x="164" y="187"/>
                      <a:pt x="164" y="187"/>
                    </a:cubicBezTo>
                    <a:cubicBezTo>
                      <a:pt x="165" y="187"/>
                      <a:pt x="166" y="186"/>
                      <a:pt x="166" y="186"/>
                    </a:cubicBezTo>
                    <a:cubicBezTo>
                      <a:pt x="169" y="186"/>
                      <a:pt x="168" y="187"/>
                      <a:pt x="169" y="188"/>
                    </a:cubicBezTo>
                    <a:cubicBezTo>
                      <a:pt x="171" y="188"/>
                      <a:pt x="173" y="187"/>
                      <a:pt x="174" y="187"/>
                    </a:cubicBezTo>
                    <a:cubicBezTo>
                      <a:pt x="175" y="187"/>
                      <a:pt x="175" y="188"/>
                      <a:pt x="175" y="189"/>
                    </a:cubicBezTo>
                    <a:cubicBezTo>
                      <a:pt x="176" y="189"/>
                      <a:pt x="178" y="190"/>
                      <a:pt x="178" y="190"/>
                    </a:cubicBezTo>
                    <a:cubicBezTo>
                      <a:pt x="181" y="190"/>
                      <a:pt x="182" y="187"/>
                      <a:pt x="184" y="187"/>
                    </a:cubicBezTo>
                    <a:cubicBezTo>
                      <a:pt x="186" y="186"/>
                      <a:pt x="188" y="187"/>
                      <a:pt x="190" y="187"/>
                    </a:cubicBezTo>
                    <a:cubicBezTo>
                      <a:pt x="191" y="187"/>
                      <a:pt x="193" y="185"/>
                      <a:pt x="193" y="185"/>
                    </a:cubicBezTo>
                    <a:cubicBezTo>
                      <a:pt x="195" y="185"/>
                      <a:pt x="194" y="186"/>
                      <a:pt x="195" y="186"/>
                    </a:cubicBezTo>
                    <a:cubicBezTo>
                      <a:pt x="198" y="187"/>
                      <a:pt x="200" y="186"/>
                      <a:pt x="202" y="187"/>
                    </a:cubicBezTo>
                    <a:cubicBezTo>
                      <a:pt x="203" y="187"/>
                      <a:pt x="204" y="190"/>
                      <a:pt x="205" y="190"/>
                    </a:cubicBezTo>
                    <a:cubicBezTo>
                      <a:pt x="206" y="191"/>
                      <a:pt x="207" y="190"/>
                      <a:pt x="208" y="190"/>
                    </a:cubicBezTo>
                    <a:cubicBezTo>
                      <a:pt x="210" y="191"/>
                      <a:pt x="211" y="194"/>
                      <a:pt x="212" y="197"/>
                    </a:cubicBezTo>
                    <a:cubicBezTo>
                      <a:pt x="212" y="197"/>
                      <a:pt x="212" y="197"/>
                      <a:pt x="212" y="197"/>
                    </a:cubicBezTo>
                    <a:cubicBezTo>
                      <a:pt x="212" y="197"/>
                      <a:pt x="214" y="194"/>
                      <a:pt x="213" y="192"/>
                    </a:cubicBezTo>
                    <a:cubicBezTo>
                      <a:pt x="212" y="191"/>
                      <a:pt x="218" y="184"/>
                      <a:pt x="218" y="184"/>
                    </a:cubicBezTo>
                    <a:cubicBezTo>
                      <a:pt x="229" y="184"/>
                      <a:pt x="229" y="184"/>
                      <a:pt x="229" y="184"/>
                    </a:cubicBezTo>
                    <a:cubicBezTo>
                      <a:pt x="229" y="184"/>
                      <a:pt x="229" y="181"/>
                      <a:pt x="227" y="179"/>
                    </a:cubicBezTo>
                    <a:cubicBezTo>
                      <a:pt x="224" y="178"/>
                      <a:pt x="222" y="174"/>
                      <a:pt x="222" y="174"/>
                    </a:cubicBezTo>
                    <a:cubicBezTo>
                      <a:pt x="222" y="171"/>
                      <a:pt x="222" y="171"/>
                      <a:pt x="222" y="171"/>
                    </a:cubicBezTo>
                    <a:cubicBezTo>
                      <a:pt x="225" y="171"/>
                      <a:pt x="225" y="171"/>
                      <a:pt x="225" y="171"/>
                    </a:cubicBezTo>
                    <a:cubicBezTo>
                      <a:pt x="226" y="166"/>
                      <a:pt x="226" y="166"/>
                      <a:pt x="226" y="166"/>
                    </a:cubicBezTo>
                    <a:cubicBezTo>
                      <a:pt x="241" y="166"/>
                      <a:pt x="241" y="166"/>
                      <a:pt x="241" y="166"/>
                    </a:cubicBezTo>
                    <a:cubicBezTo>
                      <a:pt x="244" y="164"/>
                      <a:pt x="244" y="164"/>
                      <a:pt x="244" y="164"/>
                    </a:cubicBezTo>
                    <a:cubicBezTo>
                      <a:pt x="244" y="164"/>
                      <a:pt x="246" y="161"/>
                      <a:pt x="248" y="163"/>
                    </a:cubicBezTo>
                    <a:cubicBezTo>
                      <a:pt x="249" y="161"/>
                      <a:pt x="250" y="160"/>
                      <a:pt x="251" y="158"/>
                    </a:cubicBezTo>
                    <a:cubicBezTo>
                      <a:pt x="251" y="160"/>
                      <a:pt x="251" y="162"/>
                      <a:pt x="250" y="162"/>
                    </a:cubicBezTo>
                    <a:cubicBezTo>
                      <a:pt x="252" y="163"/>
                      <a:pt x="253" y="164"/>
                      <a:pt x="254" y="164"/>
                    </a:cubicBezTo>
                    <a:cubicBezTo>
                      <a:pt x="254" y="158"/>
                      <a:pt x="255" y="154"/>
                      <a:pt x="256" y="148"/>
                    </a:cubicBezTo>
                    <a:cubicBezTo>
                      <a:pt x="257" y="148"/>
                      <a:pt x="257" y="148"/>
                      <a:pt x="257" y="148"/>
                    </a:cubicBezTo>
                    <a:cubicBezTo>
                      <a:pt x="258" y="147"/>
                      <a:pt x="256" y="146"/>
                      <a:pt x="256" y="143"/>
                    </a:cubicBezTo>
                    <a:cubicBezTo>
                      <a:pt x="256" y="139"/>
                      <a:pt x="264" y="129"/>
                      <a:pt x="259" y="126"/>
                    </a:cubicBezTo>
                    <a:cubicBezTo>
                      <a:pt x="258" y="126"/>
                      <a:pt x="257" y="126"/>
                      <a:pt x="257" y="126"/>
                    </a:cubicBezTo>
                    <a:cubicBezTo>
                      <a:pt x="255" y="125"/>
                      <a:pt x="255" y="125"/>
                      <a:pt x="255" y="125"/>
                    </a:cubicBezTo>
                    <a:cubicBezTo>
                      <a:pt x="254" y="124"/>
                      <a:pt x="249" y="125"/>
                      <a:pt x="248" y="126"/>
                    </a:cubicBezTo>
                    <a:cubicBezTo>
                      <a:pt x="247" y="126"/>
                      <a:pt x="246" y="128"/>
                      <a:pt x="246" y="129"/>
                    </a:cubicBezTo>
                    <a:cubicBezTo>
                      <a:pt x="244" y="129"/>
                      <a:pt x="243" y="128"/>
                      <a:pt x="242" y="129"/>
                    </a:cubicBezTo>
                    <a:cubicBezTo>
                      <a:pt x="241" y="129"/>
                      <a:pt x="240" y="131"/>
                      <a:pt x="240" y="131"/>
                    </a:cubicBezTo>
                    <a:cubicBezTo>
                      <a:pt x="236" y="132"/>
                      <a:pt x="235" y="130"/>
                      <a:pt x="234" y="134"/>
                    </a:cubicBezTo>
                    <a:cubicBezTo>
                      <a:pt x="232" y="137"/>
                      <a:pt x="232" y="142"/>
                      <a:pt x="231" y="146"/>
                    </a:cubicBezTo>
                    <a:cubicBezTo>
                      <a:pt x="231" y="146"/>
                      <a:pt x="228" y="148"/>
                      <a:pt x="228" y="148"/>
                    </a:cubicBezTo>
                    <a:cubicBezTo>
                      <a:pt x="228" y="150"/>
                      <a:pt x="229" y="152"/>
                      <a:pt x="228" y="154"/>
                    </a:cubicBezTo>
                    <a:cubicBezTo>
                      <a:pt x="228" y="154"/>
                      <a:pt x="228" y="154"/>
                      <a:pt x="228" y="154"/>
                    </a:cubicBezTo>
                    <a:cubicBezTo>
                      <a:pt x="225" y="155"/>
                      <a:pt x="224" y="158"/>
                      <a:pt x="222" y="160"/>
                    </a:cubicBezTo>
                    <a:cubicBezTo>
                      <a:pt x="221" y="160"/>
                      <a:pt x="219" y="161"/>
                      <a:pt x="219" y="161"/>
                    </a:cubicBezTo>
                    <a:cubicBezTo>
                      <a:pt x="219" y="161"/>
                      <a:pt x="218" y="159"/>
                      <a:pt x="218" y="158"/>
                    </a:cubicBezTo>
                    <a:cubicBezTo>
                      <a:pt x="213" y="159"/>
                      <a:pt x="212" y="159"/>
                      <a:pt x="209" y="162"/>
                    </a:cubicBezTo>
                    <a:cubicBezTo>
                      <a:pt x="209" y="162"/>
                      <a:pt x="208" y="164"/>
                      <a:pt x="208" y="164"/>
                    </a:cubicBezTo>
                    <a:cubicBezTo>
                      <a:pt x="207" y="164"/>
                      <a:pt x="205" y="164"/>
                      <a:pt x="203" y="164"/>
                    </a:cubicBezTo>
                    <a:cubicBezTo>
                      <a:pt x="203" y="165"/>
                      <a:pt x="203" y="165"/>
                      <a:pt x="203" y="165"/>
                    </a:cubicBezTo>
                    <a:cubicBezTo>
                      <a:pt x="201" y="166"/>
                      <a:pt x="198" y="165"/>
                      <a:pt x="195" y="165"/>
                    </a:cubicBezTo>
                    <a:cubicBezTo>
                      <a:pt x="192" y="159"/>
                      <a:pt x="191" y="159"/>
                      <a:pt x="184" y="159"/>
                    </a:cubicBezTo>
                    <a:cubicBezTo>
                      <a:pt x="183" y="158"/>
                      <a:pt x="184" y="157"/>
                      <a:pt x="184" y="156"/>
                    </a:cubicBezTo>
                    <a:cubicBezTo>
                      <a:pt x="183" y="154"/>
                      <a:pt x="180" y="152"/>
                      <a:pt x="180" y="150"/>
                    </a:cubicBezTo>
                    <a:cubicBezTo>
                      <a:pt x="180" y="149"/>
                      <a:pt x="180" y="147"/>
                      <a:pt x="180" y="146"/>
                    </a:cubicBezTo>
                    <a:cubicBezTo>
                      <a:pt x="180" y="146"/>
                      <a:pt x="178" y="147"/>
                      <a:pt x="178" y="146"/>
                    </a:cubicBezTo>
                    <a:cubicBezTo>
                      <a:pt x="177" y="146"/>
                      <a:pt x="176" y="143"/>
                      <a:pt x="175" y="142"/>
                    </a:cubicBezTo>
                    <a:cubicBezTo>
                      <a:pt x="175" y="141"/>
                      <a:pt x="173" y="141"/>
                      <a:pt x="172" y="140"/>
                    </a:cubicBezTo>
                    <a:cubicBezTo>
                      <a:pt x="171" y="138"/>
                      <a:pt x="172" y="136"/>
                      <a:pt x="171" y="134"/>
                    </a:cubicBezTo>
                    <a:cubicBezTo>
                      <a:pt x="171" y="134"/>
                      <a:pt x="169" y="133"/>
                      <a:pt x="168" y="132"/>
                    </a:cubicBezTo>
                    <a:cubicBezTo>
                      <a:pt x="168" y="131"/>
                      <a:pt x="168" y="129"/>
                      <a:pt x="168" y="129"/>
                    </a:cubicBezTo>
                    <a:cubicBezTo>
                      <a:pt x="167" y="129"/>
                      <a:pt x="166" y="130"/>
                      <a:pt x="166" y="130"/>
                    </a:cubicBezTo>
                    <a:cubicBezTo>
                      <a:pt x="167" y="125"/>
                      <a:pt x="166" y="124"/>
                      <a:pt x="166" y="119"/>
                    </a:cubicBezTo>
                    <a:cubicBezTo>
                      <a:pt x="167" y="118"/>
                      <a:pt x="169" y="116"/>
                      <a:pt x="168" y="113"/>
                    </a:cubicBezTo>
                    <a:cubicBezTo>
                      <a:pt x="167" y="111"/>
                      <a:pt x="167" y="111"/>
                      <a:pt x="167" y="111"/>
                    </a:cubicBezTo>
                    <a:cubicBezTo>
                      <a:pt x="167" y="109"/>
                      <a:pt x="168" y="107"/>
                      <a:pt x="167" y="106"/>
                    </a:cubicBezTo>
                    <a:cubicBezTo>
                      <a:pt x="166" y="105"/>
                      <a:pt x="166" y="105"/>
                      <a:pt x="166" y="105"/>
                    </a:cubicBezTo>
                    <a:cubicBezTo>
                      <a:pt x="165" y="102"/>
                      <a:pt x="167" y="101"/>
                      <a:pt x="166" y="98"/>
                    </a:cubicBezTo>
                    <a:cubicBezTo>
                      <a:pt x="165" y="95"/>
                      <a:pt x="165" y="95"/>
                      <a:pt x="165" y="95"/>
                    </a:cubicBezTo>
                    <a:cubicBezTo>
                      <a:pt x="165" y="94"/>
                      <a:pt x="167" y="90"/>
                      <a:pt x="165" y="89"/>
                    </a:cubicBezTo>
                    <a:cubicBezTo>
                      <a:pt x="166" y="88"/>
                      <a:pt x="167" y="88"/>
                      <a:pt x="168" y="87"/>
                    </a:cubicBezTo>
                    <a:cubicBezTo>
                      <a:pt x="168" y="86"/>
                      <a:pt x="167" y="85"/>
                      <a:pt x="168" y="85"/>
                    </a:cubicBezTo>
                    <a:cubicBezTo>
                      <a:pt x="168" y="85"/>
                      <a:pt x="170" y="85"/>
                      <a:pt x="170" y="85"/>
                    </a:cubicBezTo>
                    <a:cubicBezTo>
                      <a:pt x="171" y="83"/>
                      <a:pt x="171" y="82"/>
                      <a:pt x="172" y="81"/>
                    </a:cubicBezTo>
                    <a:cubicBezTo>
                      <a:pt x="173" y="80"/>
                      <a:pt x="172" y="79"/>
                      <a:pt x="172" y="79"/>
                    </a:cubicBezTo>
                    <a:cubicBezTo>
                      <a:pt x="168" y="79"/>
                      <a:pt x="168" y="79"/>
                      <a:pt x="168" y="79"/>
                    </a:cubicBezTo>
                    <a:cubicBezTo>
                      <a:pt x="166" y="76"/>
                      <a:pt x="166" y="76"/>
                      <a:pt x="166" y="76"/>
                    </a:cubicBezTo>
                    <a:cubicBezTo>
                      <a:pt x="162" y="76"/>
                      <a:pt x="162" y="76"/>
                      <a:pt x="162" y="76"/>
                    </a:cubicBezTo>
                    <a:cubicBezTo>
                      <a:pt x="158" y="74"/>
                      <a:pt x="158" y="74"/>
                      <a:pt x="158" y="74"/>
                    </a:cubicBezTo>
                    <a:cubicBezTo>
                      <a:pt x="156" y="73"/>
                      <a:pt x="156" y="73"/>
                      <a:pt x="156" y="73"/>
                    </a:cubicBezTo>
                    <a:cubicBezTo>
                      <a:pt x="155" y="69"/>
                      <a:pt x="155" y="69"/>
                      <a:pt x="155" y="69"/>
                    </a:cubicBezTo>
                    <a:cubicBezTo>
                      <a:pt x="153" y="63"/>
                      <a:pt x="153" y="63"/>
                      <a:pt x="153" y="63"/>
                    </a:cubicBezTo>
                    <a:cubicBezTo>
                      <a:pt x="152" y="60"/>
                      <a:pt x="152" y="60"/>
                      <a:pt x="152" y="60"/>
                    </a:cubicBezTo>
                    <a:cubicBezTo>
                      <a:pt x="149" y="58"/>
                      <a:pt x="149" y="58"/>
                      <a:pt x="149" y="58"/>
                    </a:cubicBezTo>
                    <a:cubicBezTo>
                      <a:pt x="147" y="54"/>
                      <a:pt x="147" y="54"/>
                      <a:pt x="147" y="54"/>
                    </a:cubicBezTo>
                    <a:cubicBezTo>
                      <a:pt x="145" y="50"/>
                      <a:pt x="145" y="50"/>
                      <a:pt x="145" y="50"/>
                    </a:cubicBezTo>
                    <a:cubicBezTo>
                      <a:pt x="143" y="46"/>
                      <a:pt x="143" y="46"/>
                      <a:pt x="143" y="46"/>
                    </a:cubicBezTo>
                    <a:cubicBezTo>
                      <a:pt x="142" y="44"/>
                      <a:pt x="142" y="44"/>
                      <a:pt x="142" y="44"/>
                    </a:cubicBezTo>
                    <a:cubicBezTo>
                      <a:pt x="141" y="41"/>
                      <a:pt x="141" y="41"/>
                      <a:pt x="141" y="41"/>
                    </a:cubicBezTo>
                    <a:cubicBezTo>
                      <a:pt x="139" y="38"/>
                      <a:pt x="139" y="38"/>
                      <a:pt x="139" y="38"/>
                    </a:cubicBezTo>
                    <a:cubicBezTo>
                      <a:pt x="136" y="36"/>
                      <a:pt x="136" y="36"/>
                      <a:pt x="136" y="36"/>
                    </a:cubicBezTo>
                    <a:cubicBezTo>
                      <a:pt x="133" y="34"/>
                      <a:pt x="133" y="34"/>
                      <a:pt x="133" y="34"/>
                    </a:cubicBezTo>
                    <a:cubicBezTo>
                      <a:pt x="130" y="34"/>
                      <a:pt x="130" y="34"/>
                      <a:pt x="130" y="34"/>
                    </a:cubicBezTo>
                    <a:cubicBezTo>
                      <a:pt x="127" y="35"/>
                      <a:pt x="127" y="35"/>
                      <a:pt x="127" y="35"/>
                    </a:cubicBezTo>
                    <a:cubicBezTo>
                      <a:pt x="124" y="39"/>
                      <a:pt x="124" y="39"/>
                      <a:pt x="124" y="39"/>
                    </a:cubicBezTo>
                    <a:cubicBezTo>
                      <a:pt x="122" y="41"/>
                      <a:pt x="122" y="41"/>
                      <a:pt x="122" y="41"/>
                    </a:cubicBezTo>
                    <a:cubicBezTo>
                      <a:pt x="119" y="41"/>
                      <a:pt x="119" y="41"/>
                      <a:pt x="119" y="41"/>
                    </a:cubicBezTo>
                    <a:cubicBezTo>
                      <a:pt x="116" y="41"/>
                      <a:pt x="116" y="41"/>
                      <a:pt x="116" y="41"/>
                    </a:cubicBezTo>
                    <a:cubicBezTo>
                      <a:pt x="113" y="39"/>
                      <a:pt x="113" y="39"/>
                      <a:pt x="113" y="39"/>
                    </a:cubicBezTo>
                    <a:cubicBezTo>
                      <a:pt x="111" y="36"/>
                      <a:pt x="111" y="36"/>
                      <a:pt x="111" y="36"/>
                    </a:cubicBezTo>
                    <a:cubicBezTo>
                      <a:pt x="109" y="32"/>
                      <a:pt x="109" y="32"/>
                      <a:pt x="109" y="32"/>
                    </a:cubicBezTo>
                    <a:cubicBezTo>
                      <a:pt x="108" y="30"/>
                      <a:pt x="108" y="30"/>
                      <a:pt x="108" y="30"/>
                    </a:cubicBezTo>
                    <a:cubicBezTo>
                      <a:pt x="107" y="26"/>
                      <a:pt x="107" y="26"/>
                      <a:pt x="107" y="26"/>
                    </a:cubicBezTo>
                    <a:cubicBezTo>
                      <a:pt x="103" y="22"/>
                      <a:pt x="103" y="22"/>
                      <a:pt x="103" y="22"/>
                    </a:cubicBezTo>
                    <a:cubicBezTo>
                      <a:pt x="101" y="20"/>
                      <a:pt x="101" y="20"/>
                      <a:pt x="101" y="20"/>
                    </a:cubicBezTo>
                    <a:cubicBezTo>
                      <a:pt x="100" y="18"/>
                      <a:pt x="100" y="18"/>
                      <a:pt x="100" y="18"/>
                    </a:cubicBezTo>
                    <a:cubicBezTo>
                      <a:pt x="96" y="16"/>
                      <a:pt x="96" y="16"/>
                      <a:pt x="96" y="16"/>
                    </a:cubicBezTo>
                    <a:cubicBezTo>
                      <a:pt x="93" y="11"/>
                      <a:pt x="93" y="11"/>
                      <a:pt x="93" y="11"/>
                    </a:cubicBezTo>
                    <a:cubicBezTo>
                      <a:pt x="75" y="11"/>
                      <a:pt x="75" y="11"/>
                      <a:pt x="75" y="11"/>
                    </a:cubicBezTo>
                    <a:cubicBezTo>
                      <a:pt x="75" y="16"/>
                      <a:pt x="75" y="16"/>
                      <a:pt x="75" y="16"/>
                    </a:cubicBezTo>
                    <a:cubicBezTo>
                      <a:pt x="47" y="15"/>
                      <a:pt x="47" y="15"/>
                      <a:pt x="47" y="15"/>
                    </a:cubicBezTo>
                    <a:cubicBezTo>
                      <a:pt x="24" y="3"/>
                      <a:pt x="24" y="3"/>
                      <a:pt x="24" y="3"/>
                    </a:cubicBezTo>
                    <a:cubicBezTo>
                      <a:pt x="24" y="0"/>
                      <a:pt x="24" y="0"/>
                      <a:pt x="24" y="0"/>
                    </a:cubicBezTo>
                    <a:lnTo>
                      <a:pt x="0" y="1"/>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68" name="Freeform 147">
                <a:extLst>
                  <a:ext uri="{FF2B5EF4-FFF2-40B4-BE49-F238E27FC236}">
                    <a16:creationId xmlns:a16="http://schemas.microsoft.com/office/drawing/2014/main" id="{85BD1316-3B1B-4044-2763-5A764FF9E11B}"/>
                  </a:ext>
                </a:extLst>
              </p:cNvPr>
              <p:cNvSpPr>
                <a:spLocks/>
              </p:cNvSpPr>
              <p:nvPr/>
            </p:nvSpPr>
            <p:spPr bwMode="auto">
              <a:xfrm>
                <a:off x="4078" y="2680"/>
                <a:ext cx="14" cy="16"/>
              </a:xfrm>
              <a:custGeom>
                <a:avLst/>
                <a:gdLst>
                  <a:gd name="T0" fmla="*/ 4 w 7"/>
                  <a:gd name="T1" fmla="*/ 0 h 8"/>
                  <a:gd name="T2" fmla="*/ 2 w 7"/>
                  <a:gd name="T3" fmla="*/ 2 h 8"/>
                  <a:gd name="T4" fmla="*/ 0 w 7"/>
                  <a:gd name="T5" fmla="*/ 2 h 8"/>
                  <a:gd name="T6" fmla="*/ 0 w 7"/>
                  <a:gd name="T7" fmla="*/ 7 h 8"/>
                  <a:gd name="T8" fmla="*/ 6 w 7"/>
                  <a:gd name="T9" fmla="*/ 2 h 8"/>
                  <a:gd name="T10" fmla="*/ 5 w 7"/>
                  <a:gd name="T11" fmla="*/ 0 h 8"/>
                  <a:gd name="T12" fmla="*/ 4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4" y="0"/>
                    </a:moveTo>
                    <a:cubicBezTo>
                      <a:pt x="3" y="0"/>
                      <a:pt x="3" y="2"/>
                      <a:pt x="2" y="2"/>
                    </a:cubicBezTo>
                    <a:cubicBezTo>
                      <a:pt x="2" y="2"/>
                      <a:pt x="1" y="2"/>
                      <a:pt x="0" y="2"/>
                    </a:cubicBezTo>
                    <a:cubicBezTo>
                      <a:pt x="1" y="4"/>
                      <a:pt x="0" y="5"/>
                      <a:pt x="0" y="7"/>
                    </a:cubicBezTo>
                    <a:cubicBezTo>
                      <a:pt x="4" y="7"/>
                      <a:pt x="7" y="8"/>
                      <a:pt x="6" y="2"/>
                    </a:cubicBezTo>
                    <a:cubicBezTo>
                      <a:pt x="6" y="2"/>
                      <a:pt x="5" y="0"/>
                      <a:pt x="5" y="0"/>
                    </a:cubicBezTo>
                    <a:lnTo>
                      <a:pt x="4" y="0"/>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69" name="Freeform 148">
                <a:extLst>
                  <a:ext uri="{FF2B5EF4-FFF2-40B4-BE49-F238E27FC236}">
                    <a16:creationId xmlns:a16="http://schemas.microsoft.com/office/drawing/2014/main" id="{EEA2313A-BD6F-859E-05CE-39F8E8299A7B}"/>
                  </a:ext>
                </a:extLst>
              </p:cNvPr>
              <p:cNvSpPr>
                <a:spLocks/>
              </p:cNvSpPr>
              <p:nvPr/>
            </p:nvSpPr>
            <p:spPr bwMode="auto">
              <a:xfrm>
                <a:off x="4078" y="2680"/>
                <a:ext cx="14" cy="16"/>
              </a:xfrm>
              <a:custGeom>
                <a:avLst/>
                <a:gdLst>
                  <a:gd name="T0" fmla="*/ 4 w 7"/>
                  <a:gd name="T1" fmla="*/ 0 h 8"/>
                  <a:gd name="T2" fmla="*/ 2 w 7"/>
                  <a:gd name="T3" fmla="*/ 2 h 8"/>
                  <a:gd name="T4" fmla="*/ 0 w 7"/>
                  <a:gd name="T5" fmla="*/ 2 h 8"/>
                  <a:gd name="T6" fmla="*/ 0 w 7"/>
                  <a:gd name="T7" fmla="*/ 7 h 8"/>
                  <a:gd name="T8" fmla="*/ 6 w 7"/>
                  <a:gd name="T9" fmla="*/ 2 h 8"/>
                  <a:gd name="T10" fmla="*/ 5 w 7"/>
                  <a:gd name="T11" fmla="*/ 0 h 8"/>
                  <a:gd name="T12" fmla="*/ 4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4" y="0"/>
                    </a:moveTo>
                    <a:cubicBezTo>
                      <a:pt x="3" y="0"/>
                      <a:pt x="3" y="2"/>
                      <a:pt x="2" y="2"/>
                    </a:cubicBezTo>
                    <a:cubicBezTo>
                      <a:pt x="2" y="2"/>
                      <a:pt x="1" y="2"/>
                      <a:pt x="0" y="2"/>
                    </a:cubicBezTo>
                    <a:cubicBezTo>
                      <a:pt x="1" y="4"/>
                      <a:pt x="0" y="5"/>
                      <a:pt x="0" y="7"/>
                    </a:cubicBezTo>
                    <a:cubicBezTo>
                      <a:pt x="4" y="7"/>
                      <a:pt x="7" y="8"/>
                      <a:pt x="6" y="2"/>
                    </a:cubicBezTo>
                    <a:cubicBezTo>
                      <a:pt x="6" y="2"/>
                      <a:pt x="5" y="0"/>
                      <a:pt x="5" y="0"/>
                    </a:cubicBezTo>
                    <a:lnTo>
                      <a:pt x="4" y="0"/>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70" name="Freeform 149">
                <a:extLst>
                  <a:ext uri="{FF2B5EF4-FFF2-40B4-BE49-F238E27FC236}">
                    <a16:creationId xmlns:a16="http://schemas.microsoft.com/office/drawing/2014/main" id="{FE57B73F-CE1A-3C78-BB9C-0B652A655637}"/>
                  </a:ext>
                </a:extLst>
              </p:cNvPr>
              <p:cNvSpPr>
                <a:spLocks/>
              </p:cNvSpPr>
              <p:nvPr/>
            </p:nvSpPr>
            <p:spPr bwMode="auto">
              <a:xfrm>
                <a:off x="2827" y="1676"/>
                <a:ext cx="208" cy="261"/>
              </a:xfrm>
              <a:custGeom>
                <a:avLst/>
                <a:gdLst>
                  <a:gd name="T0" fmla="*/ 5 w 106"/>
                  <a:gd name="T1" fmla="*/ 115 h 133"/>
                  <a:gd name="T2" fmla="*/ 7 w 106"/>
                  <a:gd name="T3" fmla="*/ 114 h 133"/>
                  <a:gd name="T4" fmla="*/ 11 w 106"/>
                  <a:gd name="T5" fmla="*/ 112 h 133"/>
                  <a:gd name="T6" fmla="*/ 16 w 106"/>
                  <a:gd name="T7" fmla="*/ 112 h 133"/>
                  <a:gd name="T8" fmla="*/ 22 w 106"/>
                  <a:gd name="T9" fmla="*/ 111 h 133"/>
                  <a:gd name="T10" fmla="*/ 27 w 106"/>
                  <a:gd name="T11" fmla="*/ 114 h 133"/>
                  <a:gd name="T12" fmla="*/ 29 w 106"/>
                  <a:gd name="T13" fmla="*/ 119 h 133"/>
                  <a:gd name="T14" fmla="*/ 34 w 106"/>
                  <a:gd name="T15" fmla="*/ 121 h 133"/>
                  <a:gd name="T16" fmla="*/ 35 w 106"/>
                  <a:gd name="T17" fmla="*/ 127 h 133"/>
                  <a:gd name="T18" fmla="*/ 40 w 106"/>
                  <a:gd name="T19" fmla="*/ 129 h 133"/>
                  <a:gd name="T20" fmla="*/ 42 w 106"/>
                  <a:gd name="T21" fmla="*/ 132 h 133"/>
                  <a:gd name="T22" fmla="*/ 45 w 106"/>
                  <a:gd name="T23" fmla="*/ 131 h 133"/>
                  <a:gd name="T24" fmla="*/ 46 w 106"/>
                  <a:gd name="T25" fmla="*/ 125 h 133"/>
                  <a:gd name="T26" fmla="*/ 48 w 106"/>
                  <a:gd name="T27" fmla="*/ 122 h 133"/>
                  <a:gd name="T28" fmla="*/ 54 w 106"/>
                  <a:gd name="T29" fmla="*/ 123 h 133"/>
                  <a:gd name="T30" fmla="*/ 59 w 106"/>
                  <a:gd name="T31" fmla="*/ 123 h 133"/>
                  <a:gd name="T32" fmla="*/ 61 w 106"/>
                  <a:gd name="T33" fmla="*/ 122 h 133"/>
                  <a:gd name="T34" fmla="*/ 62 w 106"/>
                  <a:gd name="T35" fmla="*/ 117 h 133"/>
                  <a:gd name="T36" fmla="*/ 65 w 106"/>
                  <a:gd name="T37" fmla="*/ 120 h 133"/>
                  <a:gd name="T38" fmla="*/ 97 w 106"/>
                  <a:gd name="T39" fmla="*/ 119 h 133"/>
                  <a:gd name="T40" fmla="*/ 99 w 106"/>
                  <a:gd name="T41" fmla="*/ 114 h 133"/>
                  <a:gd name="T42" fmla="*/ 96 w 106"/>
                  <a:gd name="T43" fmla="*/ 111 h 133"/>
                  <a:gd name="T44" fmla="*/ 91 w 106"/>
                  <a:gd name="T45" fmla="*/ 23 h 133"/>
                  <a:gd name="T46" fmla="*/ 106 w 106"/>
                  <a:gd name="T47" fmla="*/ 22 h 133"/>
                  <a:gd name="T48" fmla="*/ 77 w 106"/>
                  <a:gd name="T49" fmla="*/ 0 h 133"/>
                  <a:gd name="T50" fmla="*/ 78 w 106"/>
                  <a:gd name="T51" fmla="*/ 16 h 133"/>
                  <a:gd name="T52" fmla="*/ 45 w 106"/>
                  <a:gd name="T53" fmla="*/ 17 h 133"/>
                  <a:gd name="T54" fmla="*/ 44 w 106"/>
                  <a:gd name="T55" fmla="*/ 40 h 133"/>
                  <a:gd name="T56" fmla="*/ 34 w 106"/>
                  <a:gd name="T57" fmla="*/ 46 h 133"/>
                  <a:gd name="T58" fmla="*/ 35 w 106"/>
                  <a:gd name="T59" fmla="*/ 63 h 133"/>
                  <a:gd name="T60" fmla="*/ 2 w 106"/>
                  <a:gd name="T61" fmla="*/ 64 h 133"/>
                  <a:gd name="T62" fmla="*/ 0 w 106"/>
                  <a:gd name="T63" fmla="*/ 66 h 133"/>
                  <a:gd name="T64" fmla="*/ 2 w 106"/>
                  <a:gd name="T65" fmla="*/ 70 h 133"/>
                  <a:gd name="T66" fmla="*/ 5 w 106"/>
                  <a:gd name="T67" fmla="*/ 75 h 133"/>
                  <a:gd name="T68" fmla="*/ 4 w 106"/>
                  <a:gd name="T69" fmla="*/ 78 h 133"/>
                  <a:gd name="T70" fmla="*/ 5 w 106"/>
                  <a:gd name="T71" fmla="*/ 83 h 133"/>
                  <a:gd name="T72" fmla="*/ 4 w 106"/>
                  <a:gd name="T73" fmla="*/ 83 h 133"/>
                  <a:gd name="T74" fmla="*/ 4 w 106"/>
                  <a:gd name="T75" fmla="*/ 88 h 133"/>
                  <a:gd name="T76" fmla="*/ 6 w 106"/>
                  <a:gd name="T77" fmla="*/ 93 h 133"/>
                  <a:gd name="T78" fmla="*/ 6 w 106"/>
                  <a:gd name="T79" fmla="*/ 100 h 133"/>
                  <a:gd name="T80" fmla="*/ 7 w 106"/>
                  <a:gd name="T81" fmla="*/ 101 h 133"/>
                  <a:gd name="T82" fmla="*/ 7 w 106"/>
                  <a:gd name="T83" fmla="*/ 102 h 133"/>
                  <a:gd name="T84" fmla="*/ 6 w 106"/>
                  <a:gd name="T85" fmla="*/ 105 h 133"/>
                  <a:gd name="T86" fmla="*/ 6 w 106"/>
                  <a:gd name="T87" fmla="*/ 111 h 133"/>
                  <a:gd name="T88" fmla="*/ 5 w 106"/>
                  <a:gd name="T89"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133">
                    <a:moveTo>
                      <a:pt x="5" y="115"/>
                    </a:moveTo>
                    <a:cubicBezTo>
                      <a:pt x="7" y="114"/>
                      <a:pt x="7" y="114"/>
                      <a:pt x="7" y="114"/>
                    </a:cubicBezTo>
                    <a:cubicBezTo>
                      <a:pt x="7" y="114"/>
                      <a:pt x="10" y="114"/>
                      <a:pt x="11" y="112"/>
                    </a:cubicBezTo>
                    <a:cubicBezTo>
                      <a:pt x="12" y="109"/>
                      <a:pt x="13" y="111"/>
                      <a:pt x="16" y="112"/>
                    </a:cubicBezTo>
                    <a:cubicBezTo>
                      <a:pt x="18" y="112"/>
                      <a:pt x="18" y="112"/>
                      <a:pt x="22" y="111"/>
                    </a:cubicBezTo>
                    <a:cubicBezTo>
                      <a:pt x="25" y="111"/>
                      <a:pt x="25" y="113"/>
                      <a:pt x="27" y="114"/>
                    </a:cubicBezTo>
                    <a:cubicBezTo>
                      <a:pt x="28" y="115"/>
                      <a:pt x="29" y="116"/>
                      <a:pt x="29" y="119"/>
                    </a:cubicBezTo>
                    <a:cubicBezTo>
                      <a:pt x="29" y="122"/>
                      <a:pt x="32" y="121"/>
                      <a:pt x="34" y="121"/>
                    </a:cubicBezTo>
                    <a:cubicBezTo>
                      <a:pt x="35" y="122"/>
                      <a:pt x="34" y="124"/>
                      <a:pt x="35" y="127"/>
                    </a:cubicBezTo>
                    <a:cubicBezTo>
                      <a:pt x="36" y="130"/>
                      <a:pt x="40" y="127"/>
                      <a:pt x="40" y="129"/>
                    </a:cubicBezTo>
                    <a:cubicBezTo>
                      <a:pt x="40" y="130"/>
                      <a:pt x="42" y="132"/>
                      <a:pt x="42" y="132"/>
                    </a:cubicBezTo>
                    <a:cubicBezTo>
                      <a:pt x="42" y="132"/>
                      <a:pt x="44" y="133"/>
                      <a:pt x="45" y="131"/>
                    </a:cubicBezTo>
                    <a:cubicBezTo>
                      <a:pt x="47" y="130"/>
                      <a:pt x="45" y="128"/>
                      <a:pt x="46" y="125"/>
                    </a:cubicBezTo>
                    <a:cubicBezTo>
                      <a:pt x="48" y="123"/>
                      <a:pt x="46" y="122"/>
                      <a:pt x="48" y="122"/>
                    </a:cubicBezTo>
                    <a:cubicBezTo>
                      <a:pt x="49" y="122"/>
                      <a:pt x="51" y="122"/>
                      <a:pt x="54" y="123"/>
                    </a:cubicBezTo>
                    <a:cubicBezTo>
                      <a:pt x="57" y="124"/>
                      <a:pt x="59" y="123"/>
                      <a:pt x="59" y="123"/>
                    </a:cubicBezTo>
                    <a:cubicBezTo>
                      <a:pt x="59" y="123"/>
                      <a:pt x="63" y="124"/>
                      <a:pt x="61" y="122"/>
                    </a:cubicBezTo>
                    <a:cubicBezTo>
                      <a:pt x="60" y="120"/>
                      <a:pt x="60" y="118"/>
                      <a:pt x="62" y="117"/>
                    </a:cubicBezTo>
                    <a:cubicBezTo>
                      <a:pt x="64" y="117"/>
                      <a:pt x="65" y="120"/>
                      <a:pt x="65" y="120"/>
                    </a:cubicBezTo>
                    <a:cubicBezTo>
                      <a:pt x="97" y="119"/>
                      <a:pt x="97" y="119"/>
                      <a:pt x="97" y="119"/>
                    </a:cubicBezTo>
                    <a:cubicBezTo>
                      <a:pt x="97" y="119"/>
                      <a:pt x="98" y="118"/>
                      <a:pt x="99" y="114"/>
                    </a:cubicBezTo>
                    <a:cubicBezTo>
                      <a:pt x="101" y="110"/>
                      <a:pt x="96" y="111"/>
                      <a:pt x="96" y="111"/>
                    </a:cubicBezTo>
                    <a:cubicBezTo>
                      <a:pt x="91" y="23"/>
                      <a:pt x="91" y="23"/>
                      <a:pt x="91" y="23"/>
                    </a:cubicBezTo>
                    <a:cubicBezTo>
                      <a:pt x="106" y="22"/>
                      <a:pt x="106" y="22"/>
                      <a:pt x="106" y="22"/>
                    </a:cubicBezTo>
                    <a:cubicBezTo>
                      <a:pt x="77" y="0"/>
                      <a:pt x="77" y="0"/>
                      <a:pt x="77" y="0"/>
                    </a:cubicBezTo>
                    <a:cubicBezTo>
                      <a:pt x="78" y="16"/>
                      <a:pt x="78" y="16"/>
                      <a:pt x="78" y="16"/>
                    </a:cubicBezTo>
                    <a:cubicBezTo>
                      <a:pt x="45" y="17"/>
                      <a:pt x="45" y="17"/>
                      <a:pt x="45" y="17"/>
                    </a:cubicBezTo>
                    <a:cubicBezTo>
                      <a:pt x="44" y="40"/>
                      <a:pt x="44" y="40"/>
                      <a:pt x="44" y="40"/>
                    </a:cubicBezTo>
                    <a:cubicBezTo>
                      <a:pt x="44" y="40"/>
                      <a:pt x="34" y="39"/>
                      <a:pt x="34" y="46"/>
                    </a:cubicBezTo>
                    <a:cubicBezTo>
                      <a:pt x="34" y="52"/>
                      <a:pt x="35" y="63"/>
                      <a:pt x="35" y="63"/>
                    </a:cubicBezTo>
                    <a:cubicBezTo>
                      <a:pt x="2" y="64"/>
                      <a:pt x="2" y="64"/>
                      <a:pt x="2" y="64"/>
                    </a:cubicBezTo>
                    <a:cubicBezTo>
                      <a:pt x="2" y="64"/>
                      <a:pt x="2" y="62"/>
                      <a:pt x="0" y="66"/>
                    </a:cubicBezTo>
                    <a:cubicBezTo>
                      <a:pt x="1" y="68"/>
                      <a:pt x="1" y="69"/>
                      <a:pt x="2" y="70"/>
                    </a:cubicBezTo>
                    <a:cubicBezTo>
                      <a:pt x="3" y="72"/>
                      <a:pt x="5" y="73"/>
                      <a:pt x="5" y="75"/>
                    </a:cubicBezTo>
                    <a:cubicBezTo>
                      <a:pt x="5" y="76"/>
                      <a:pt x="4" y="76"/>
                      <a:pt x="4" y="78"/>
                    </a:cubicBezTo>
                    <a:cubicBezTo>
                      <a:pt x="4" y="79"/>
                      <a:pt x="5" y="80"/>
                      <a:pt x="5" y="83"/>
                    </a:cubicBezTo>
                    <a:cubicBezTo>
                      <a:pt x="4" y="83"/>
                      <a:pt x="4" y="83"/>
                      <a:pt x="4" y="83"/>
                    </a:cubicBezTo>
                    <a:cubicBezTo>
                      <a:pt x="4" y="84"/>
                      <a:pt x="3" y="86"/>
                      <a:pt x="4" y="88"/>
                    </a:cubicBezTo>
                    <a:cubicBezTo>
                      <a:pt x="4" y="89"/>
                      <a:pt x="6" y="91"/>
                      <a:pt x="6" y="93"/>
                    </a:cubicBezTo>
                    <a:cubicBezTo>
                      <a:pt x="7" y="96"/>
                      <a:pt x="6" y="97"/>
                      <a:pt x="6" y="100"/>
                    </a:cubicBezTo>
                    <a:cubicBezTo>
                      <a:pt x="6" y="100"/>
                      <a:pt x="7" y="101"/>
                      <a:pt x="7" y="101"/>
                    </a:cubicBezTo>
                    <a:cubicBezTo>
                      <a:pt x="7" y="102"/>
                      <a:pt x="7" y="102"/>
                      <a:pt x="7" y="102"/>
                    </a:cubicBezTo>
                    <a:cubicBezTo>
                      <a:pt x="6" y="103"/>
                      <a:pt x="6" y="103"/>
                      <a:pt x="6" y="105"/>
                    </a:cubicBezTo>
                    <a:cubicBezTo>
                      <a:pt x="6" y="106"/>
                      <a:pt x="7" y="109"/>
                      <a:pt x="6" y="111"/>
                    </a:cubicBezTo>
                    <a:cubicBezTo>
                      <a:pt x="6" y="112"/>
                      <a:pt x="5" y="114"/>
                      <a:pt x="5" y="11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71" name="Freeform 150">
                <a:extLst>
                  <a:ext uri="{FF2B5EF4-FFF2-40B4-BE49-F238E27FC236}">
                    <a16:creationId xmlns:a16="http://schemas.microsoft.com/office/drawing/2014/main" id="{A87814C0-D3EC-E414-E4F0-DCDEEE870DD8}"/>
                  </a:ext>
                </a:extLst>
              </p:cNvPr>
              <p:cNvSpPr>
                <a:spLocks/>
              </p:cNvSpPr>
              <p:nvPr/>
            </p:nvSpPr>
            <p:spPr bwMode="auto">
              <a:xfrm>
                <a:off x="2827" y="1676"/>
                <a:ext cx="208" cy="261"/>
              </a:xfrm>
              <a:custGeom>
                <a:avLst/>
                <a:gdLst>
                  <a:gd name="T0" fmla="*/ 5 w 106"/>
                  <a:gd name="T1" fmla="*/ 115 h 133"/>
                  <a:gd name="T2" fmla="*/ 7 w 106"/>
                  <a:gd name="T3" fmla="*/ 114 h 133"/>
                  <a:gd name="T4" fmla="*/ 11 w 106"/>
                  <a:gd name="T5" fmla="*/ 112 h 133"/>
                  <a:gd name="T6" fmla="*/ 16 w 106"/>
                  <a:gd name="T7" fmla="*/ 112 h 133"/>
                  <a:gd name="T8" fmla="*/ 22 w 106"/>
                  <a:gd name="T9" fmla="*/ 111 h 133"/>
                  <a:gd name="T10" fmla="*/ 27 w 106"/>
                  <a:gd name="T11" fmla="*/ 114 h 133"/>
                  <a:gd name="T12" fmla="*/ 29 w 106"/>
                  <a:gd name="T13" fmla="*/ 119 h 133"/>
                  <a:gd name="T14" fmla="*/ 34 w 106"/>
                  <a:gd name="T15" fmla="*/ 121 h 133"/>
                  <a:gd name="T16" fmla="*/ 35 w 106"/>
                  <a:gd name="T17" fmla="*/ 127 h 133"/>
                  <a:gd name="T18" fmla="*/ 40 w 106"/>
                  <a:gd name="T19" fmla="*/ 129 h 133"/>
                  <a:gd name="T20" fmla="*/ 42 w 106"/>
                  <a:gd name="T21" fmla="*/ 132 h 133"/>
                  <a:gd name="T22" fmla="*/ 45 w 106"/>
                  <a:gd name="T23" fmla="*/ 131 h 133"/>
                  <a:gd name="T24" fmla="*/ 46 w 106"/>
                  <a:gd name="T25" fmla="*/ 125 h 133"/>
                  <a:gd name="T26" fmla="*/ 48 w 106"/>
                  <a:gd name="T27" fmla="*/ 122 h 133"/>
                  <a:gd name="T28" fmla="*/ 54 w 106"/>
                  <a:gd name="T29" fmla="*/ 123 h 133"/>
                  <a:gd name="T30" fmla="*/ 59 w 106"/>
                  <a:gd name="T31" fmla="*/ 123 h 133"/>
                  <a:gd name="T32" fmla="*/ 61 w 106"/>
                  <a:gd name="T33" fmla="*/ 122 h 133"/>
                  <a:gd name="T34" fmla="*/ 62 w 106"/>
                  <a:gd name="T35" fmla="*/ 117 h 133"/>
                  <a:gd name="T36" fmla="*/ 65 w 106"/>
                  <a:gd name="T37" fmla="*/ 120 h 133"/>
                  <a:gd name="T38" fmla="*/ 97 w 106"/>
                  <a:gd name="T39" fmla="*/ 119 h 133"/>
                  <a:gd name="T40" fmla="*/ 99 w 106"/>
                  <a:gd name="T41" fmla="*/ 114 h 133"/>
                  <a:gd name="T42" fmla="*/ 96 w 106"/>
                  <a:gd name="T43" fmla="*/ 111 h 133"/>
                  <a:gd name="T44" fmla="*/ 91 w 106"/>
                  <a:gd name="T45" fmla="*/ 23 h 133"/>
                  <a:gd name="T46" fmla="*/ 106 w 106"/>
                  <a:gd name="T47" fmla="*/ 22 h 133"/>
                  <a:gd name="T48" fmla="*/ 77 w 106"/>
                  <a:gd name="T49" fmla="*/ 0 h 133"/>
                  <a:gd name="T50" fmla="*/ 78 w 106"/>
                  <a:gd name="T51" fmla="*/ 16 h 133"/>
                  <a:gd name="T52" fmla="*/ 45 w 106"/>
                  <a:gd name="T53" fmla="*/ 17 h 133"/>
                  <a:gd name="T54" fmla="*/ 44 w 106"/>
                  <a:gd name="T55" fmla="*/ 40 h 133"/>
                  <a:gd name="T56" fmla="*/ 34 w 106"/>
                  <a:gd name="T57" fmla="*/ 46 h 133"/>
                  <a:gd name="T58" fmla="*/ 35 w 106"/>
                  <a:gd name="T59" fmla="*/ 63 h 133"/>
                  <a:gd name="T60" fmla="*/ 2 w 106"/>
                  <a:gd name="T61" fmla="*/ 64 h 133"/>
                  <a:gd name="T62" fmla="*/ 0 w 106"/>
                  <a:gd name="T63" fmla="*/ 66 h 133"/>
                  <a:gd name="T64" fmla="*/ 2 w 106"/>
                  <a:gd name="T65" fmla="*/ 70 h 133"/>
                  <a:gd name="T66" fmla="*/ 5 w 106"/>
                  <a:gd name="T67" fmla="*/ 75 h 133"/>
                  <a:gd name="T68" fmla="*/ 4 w 106"/>
                  <a:gd name="T69" fmla="*/ 78 h 133"/>
                  <a:gd name="T70" fmla="*/ 5 w 106"/>
                  <a:gd name="T71" fmla="*/ 83 h 133"/>
                  <a:gd name="T72" fmla="*/ 4 w 106"/>
                  <a:gd name="T73" fmla="*/ 83 h 133"/>
                  <a:gd name="T74" fmla="*/ 4 w 106"/>
                  <a:gd name="T75" fmla="*/ 88 h 133"/>
                  <a:gd name="T76" fmla="*/ 6 w 106"/>
                  <a:gd name="T77" fmla="*/ 93 h 133"/>
                  <a:gd name="T78" fmla="*/ 6 w 106"/>
                  <a:gd name="T79" fmla="*/ 100 h 133"/>
                  <a:gd name="T80" fmla="*/ 7 w 106"/>
                  <a:gd name="T81" fmla="*/ 101 h 133"/>
                  <a:gd name="T82" fmla="*/ 7 w 106"/>
                  <a:gd name="T83" fmla="*/ 102 h 133"/>
                  <a:gd name="T84" fmla="*/ 6 w 106"/>
                  <a:gd name="T85" fmla="*/ 105 h 133"/>
                  <a:gd name="T86" fmla="*/ 6 w 106"/>
                  <a:gd name="T87" fmla="*/ 111 h 133"/>
                  <a:gd name="T88" fmla="*/ 5 w 106"/>
                  <a:gd name="T89" fmla="*/ 11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133">
                    <a:moveTo>
                      <a:pt x="5" y="115"/>
                    </a:moveTo>
                    <a:cubicBezTo>
                      <a:pt x="7" y="114"/>
                      <a:pt x="7" y="114"/>
                      <a:pt x="7" y="114"/>
                    </a:cubicBezTo>
                    <a:cubicBezTo>
                      <a:pt x="7" y="114"/>
                      <a:pt x="10" y="114"/>
                      <a:pt x="11" y="112"/>
                    </a:cubicBezTo>
                    <a:cubicBezTo>
                      <a:pt x="12" y="109"/>
                      <a:pt x="13" y="111"/>
                      <a:pt x="16" y="112"/>
                    </a:cubicBezTo>
                    <a:cubicBezTo>
                      <a:pt x="18" y="112"/>
                      <a:pt x="18" y="112"/>
                      <a:pt x="22" y="111"/>
                    </a:cubicBezTo>
                    <a:cubicBezTo>
                      <a:pt x="25" y="111"/>
                      <a:pt x="25" y="113"/>
                      <a:pt x="27" y="114"/>
                    </a:cubicBezTo>
                    <a:cubicBezTo>
                      <a:pt x="28" y="115"/>
                      <a:pt x="29" y="116"/>
                      <a:pt x="29" y="119"/>
                    </a:cubicBezTo>
                    <a:cubicBezTo>
                      <a:pt x="29" y="122"/>
                      <a:pt x="32" y="121"/>
                      <a:pt x="34" y="121"/>
                    </a:cubicBezTo>
                    <a:cubicBezTo>
                      <a:pt x="35" y="122"/>
                      <a:pt x="34" y="124"/>
                      <a:pt x="35" y="127"/>
                    </a:cubicBezTo>
                    <a:cubicBezTo>
                      <a:pt x="36" y="130"/>
                      <a:pt x="40" y="127"/>
                      <a:pt x="40" y="129"/>
                    </a:cubicBezTo>
                    <a:cubicBezTo>
                      <a:pt x="40" y="130"/>
                      <a:pt x="42" y="132"/>
                      <a:pt x="42" y="132"/>
                    </a:cubicBezTo>
                    <a:cubicBezTo>
                      <a:pt x="42" y="132"/>
                      <a:pt x="44" y="133"/>
                      <a:pt x="45" y="131"/>
                    </a:cubicBezTo>
                    <a:cubicBezTo>
                      <a:pt x="47" y="130"/>
                      <a:pt x="45" y="128"/>
                      <a:pt x="46" y="125"/>
                    </a:cubicBezTo>
                    <a:cubicBezTo>
                      <a:pt x="48" y="123"/>
                      <a:pt x="46" y="122"/>
                      <a:pt x="48" y="122"/>
                    </a:cubicBezTo>
                    <a:cubicBezTo>
                      <a:pt x="49" y="122"/>
                      <a:pt x="51" y="122"/>
                      <a:pt x="54" y="123"/>
                    </a:cubicBezTo>
                    <a:cubicBezTo>
                      <a:pt x="57" y="124"/>
                      <a:pt x="59" y="123"/>
                      <a:pt x="59" y="123"/>
                    </a:cubicBezTo>
                    <a:cubicBezTo>
                      <a:pt x="59" y="123"/>
                      <a:pt x="63" y="124"/>
                      <a:pt x="61" y="122"/>
                    </a:cubicBezTo>
                    <a:cubicBezTo>
                      <a:pt x="60" y="120"/>
                      <a:pt x="60" y="118"/>
                      <a:pt x="62" y="117"/>
                    </a:cubicBezTo>
                    <a:cubicBezTo>
                      <a:pt x="64" y="117"/>
                      <a:pt x="65" y="120"/>
                      <a:pt x="65" y="120"/>
                    </a:cubicBezTo>
                    <a:cubicBezTo>
                      <a:pt x="97" y="119"/>
                      <a:pt x="97" y="119"/>
                      <a:pt x="97" y="119"/>
                    </a:cubicBezTo>
                    <a:cubicBezTo>
                      <a:pt x="97" y="119"/>
                      <a:pt x="98" y="118"/>
                      <a:pt x="99" y="114"/>
                    </a:cubicBezTo>
                    <a:cubicBezTo>
                      <a:pt x="101" y="110"/>
                      <a:pt x="96" y="111"/>
                      <a:pt x="96" y="111"/>
                    </a:cubicBezTo>
                    <a:cubicBezTo>
                      <a:pt x="91" y="23"/>
                      <a:pt x="91" y="23"/>
                      <a:pt x="91" y="23"/>
                    </a:cubicBezTo>
                    <a:cubicBezTo>
                      <a:pt x="106" y="22"/>
                      <a:pt x="106" y="22"/>
                      <a:pt x="106" y="22"/>
                    </a:cubicBezTo>
                    <a:cubicBezTo>
                      <a:pt x="77" y="0"/>
                      <a:pt x="77" y="0"/>
                      <a:pt x="77" y="0"/>
                    </a:cubicBezTo>
                    <a:cubicBezTo>
                      <a:pt x="78" y="16"/>
                      <a:pt x="78" y="16"/>
                      <a:pt x="78" y="16"/>
                    </a:cubicBezTo>
                    <a:cubicBezTo>
                      <a:pt x="45" y="17"/>
                      <a:pt x="45" y="17"/>
                      <a:pt x="45" y="17"/>
                    </a:cubicBezTo>
                    <a:cubicBezTo>
                      <a:pt x="44" y="40"/>
                      <a:pt x="44" y="40"/>
                      <a:pt x="44" y="40"/>
                    </a:cubicBezTo>
                    <a:cubicBezTo>
                      <a:pt x="44" y="40"/>
                      <a:pt x="34" y="39"/>
                      <a:pt x="34" y="46"/>
                    </a:cubicBezTo>
                    <a:cubicBezTo>
                      <a:pt x="34" y="52"/>
                      <a:pt x="35" y="63"/>
                      <a:pt x="35" y="63"/>
                    </a:cubicBezTo>
                    <a:cubicBezTo>
                      <a:pt x="2" y="64"/>
                      <a:pt x="2" y="64"/>
                      <a:pt x="2" y="64"/>
                    </a:cubicBezTo>
                    <a:cubicBezTo>
                      <a:pt x="2" y="64"/>
                      <a:pt x="2" y="62"/>
                      <a:pt x="0" y="66"/>
                    </a:cubicBezTo>
                    <a:cubicBezTo>
                      <a:pt x="1" y="68"/>
                      <a:pt x="1" y="69"/>
                      <a:pt x="2" y="70"/>
                    </a:cubicBezTo>
                    <a:cubicBezTo>
                      <a:pt x="3" y="72"/>
                      <a:pt x="5" y="73"/>
                      <a:pt x="5" y="75"/>
                    </a:cubicBezTo>
                    <a:cubicBezTo>
                      <a:pt x="5" y="76"/>
                      <a:pt x="4" y="76"/>
                      <a:pt x="4" y="78"/>
                    </a:cubicBezTo>
                    <a:cubicBezTo>
                      <a:pt x="4" y="79"/>
                      <a:pt x="5" y="80"/>
                      <a:pt x="5" y="83"/>
                    </a:cubicBezTo>
                    <a:cubicBezTo>
                      <a:pt x="4" y="83"/>
                      <a:pt x="4" y="83"/>
                      <a:pt x="4" y="83"/>
                    </a:cubicBezTo>
                    <a:cubicBezTo>
                      <a:pt x="4" y="84"/>
                      <a:pt x="3" y="86"/>
                      <a:pt x="4" y="88"/>
                    </a:cubicBezTo>
                    <a:cubicBezTo>
                      <a:pt x="4" y="89"/>
                      <a:pt x="6" y="91"/>
                      <a:pt x="6" y="93"/>
                    </a:cubicBezTo>
                    <a:cubicBezTo>
                      <a:pt x="7" y="96"/>
                      <a:pt x="6" y="97"/>
                      <a:pt x="6" y="100"/>
                    </a:cubicBezTo>
                    <a:cubicBezTo>
                      <a:pt x="6" y="100"/>
                      <a:pt x="7" y="101"/>
                      <a:pt x="7" y="101"/>
                    </a:cubicBezTo>
                    <a:cubicBezTo>
                      <a:pt x="7" y="102"/>
                      <a:pt x="7" y="102"/>
                      <a:pt x="7" y="102"/>
                    </a:cubicBezTo>
                    <a:cubicBezTo>
                      <a:pt x="6" y="103"/>
                      <a:pt x="6" y="103"/>
                      <a:pt x="6" y="105"/>
                    </a:cubicBezTo>
                    <a:cubicBezTo>
                      <a:pt x="6" y="106"/>
                      <a:pt x="7" y="109"/>
                      <a:pt x="6" y="111"/>
                    </a:cubicBezTo>
                    <a:cubicBezTo>
                      <a:pt x="6" y="112"/>
                      <a:pt x="5" y="114"/>
                      <a:pt x="5" y="11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72" name="Freeform 151">
                <a:extLst>
                  <a:ext uri="{FF2B5EF4-FFF2-40B4-BE49-F238E27FC236}">
                    <a16:creationId xmlns:a16="http://schemas.microsoft.com/office/drawing/2014/main" id="{9BE02297-55B9-6270-DAA2-6979BF17638C}"/>
                  </a:ext>
                </a:extLst>
              </p:cNvPr>
              <p:cNvSpPr>
                <a:spLocks/>
              </p:cNvSpPr>
              <p:nvPr/>
            </p:nvSpPr>
            <p:spPr bwMode="auto">
              <a:xfrm>
                <a:off x="2908" y="1719"/>
                <a:ext cx="278" cy="331"/>
              </a:xfrm>
              <a:custGeom>
                <a:avLst/>
                <a:gdLst>
                  <a:gd name="T0" fmla="*/ 58 w 142"/>
                  <a:gd name="T1" fmla="*/ 149 h 169"/>
                  <a:gd name="T2" fmla="*/ 60 w 142"/>
                  <a:gd name="T3" fmla="*/ 140 h 169"/>
                  <a:gd name="T4" fmla="*/ 65 w 142"/>
                  <a:gd name="T5" fmla="*/ 137 h 169"/>
                  <a:gd name="T6" fmla="*/ 70 w 142"/>
                  <a:gd name="T7" fmla="*/ 126 h 169"/>
                  <a:gd name="T8" fmla="*/ 81 w 142"/>
                  <a:gd name="T9" fmla="*/ 119 h 169"/>
                  <a:gd name="T10" fmla="*/ 88 w 142"/>
                  <a:gd name="T11" fmla="*/ 111 h 169"/>
                  <a:gd name="T12" fmla="*/ 96 w 142"/>
                  <a:gd name="T13" fmla="*/ 102 h 169"/>
                  <a:gd name="T14" fmla="*/ 102 w 142"/>
                  <a:gd name="T15" fmla="*/ 101 h 169"/>
                  <a:gd name="T16" fmla="*/ 106 w 142"/>
                  <a:gd name="T17" fmla="*/ 105 h 169"/>
                  <a:gd name="T18" fmla="*/ 113 w 142"/>
                  <a:gd name="T19" fmla="*/ 102 h 169"/>
                  <a:gd name="T20" fmla="*/ 133 w 142"/>
                  <a:gd name="T21" fmla="*/ 96 h 169"/>
                  <a:gd name="T22" fmla="*/ 139 w 142"/>
                  <a:gd name="T23" fmla="*/ 94 h 169"/>
                  <a:gd name="T24" fmla="*/ 142 w 142"/>
                  <a:gd name="T25" fmla="*/ 87 h 169"/>
                  <a:gd name="T26" fmla="*/ 132 w 142"/>
                  <a:gd name="T27" fmla="*/ 64 h 169"/>
                  <a:gd name="T28" fmla="*/ 132 w 142"/>
                  <a:gd name="T29" fmla="*/ 54 h 169"/>
                  <a:gd name="T30" fmla="*/ 123 w 142"/>
                  <a:gd name="T31" fmla="*/ 46 h 169"/>
                  <a:gd name="T32" fmla="*/ 65 w 142"/>
                  <a:gd name="T33" fmla="*/ 0 h 169"/>
                  <a:gd name="T34" fmla="*/ 55 w 142"/>
                  <a:gd name="T35" fmla="*/ 89 h 169"/>
                  <a:gd name="T36" fmla="*/ 56 w 142"/>
                  <a:gd name="T37" fmla="*/ 97 h 169"/>
                  <a:gd name="T38" fmla="*/ 21 w 142"/>
                  <a:gd name="T39" fmla="*/ 95 h 169"/>
                  <a:gd name="T40" fmla="*/ 18 w 142"/>
                  <a:gd name="T41" fmla="*/ 101 h 169"/>
                  <a:gd name="T42" fmla="*/ 7 w 142"/>
                  <a:gd name="T43" fmla="*/ 100 h 169"/>
                  <a:gd name="T44" fmla="*/ 4 w 142"/>
                  <a:gd name="T45" fmla="*/ 109 h 169"/>
                  <a:gd name="T46" fmla="*/ 1 w 142"/>
                  <a:gd name="T47" fmla="*/ 115 h 169"/>
                  <a:gd name="T48" fmla="*/ 1 w 142"/>
                  <a:gd name="T49" fmla="*/ 126 h 169"/>
                  <a:gd name="T50" fmla="*/ 5 w 142"/>
                  <a:gd name="T51" fmla="*/ 136 h 169"/>
                  <a:gd name="T52" fmla="*/ 8 w 142"/>
                  <a:gd name="T53" fmla="*/ 140 h 169"/>
                  <a:gd name="T54" fmla="*/ 14 w 142"/>
                  <a:gd name="T55" fmla="*/ 140 h 169"/>
                  <a:gd name="T56" fmla="*/ 21 w 142"/>
                  <a:gd name="T57" fmla="*/ 139 h 169"/>
                  <a:gd name="T58" fmla="*/ 26 w 142"/>
                  <a:gd name="T59" fmla="*/ 144 h 169"/>
                  <a:gd name="T60" fmla="*/ 27 w 142"/>
                  <a:gd name="T61" fmla="*/ 154 h 169"/>
                  <a:gd name="T62" fmla="*/ 24 w 142"/>
                  <a:gd name="T63" fmla="*/ 159 h 169"/>
                  <a:gd name="T64" fmla="*/ 29 w 142"/>
                  <a:gd name="T65" fmla="*/ 161 h 169"/>
                  <a:gd name="T66" fmla="*/ 37 w 142"/>
                  <a:gd name="T67" fmla="*/ 167 h 169"/>
                  <a:gd name="T68" fmla="*/ 44 w 142"/>
                  <a:gd name="T69" fmla="*/ 165 h 169"/>
                  <a:gd name="T70" fmla="*/ 47 w 142"/>
                  <a:gd name="T71" fmla="*/ 162 h 169"/>
                  <a:gd name="T72" fmla="*/ 53 w 142"/>
                  <a:gd name="T73" fmla="*/ 163 h 169"/>
                  <a:gd name="T74" fmla="*/ 57 w 142"/>
                  <a:gd name="T75" fmla="*/ 1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 h="169">
                    <a:moveTo>
                      <a:pt x="57" y="156"/>
                    </a:moveTo>
                    <a:cubicBezTo>
                      <a:pt x="57" y="156"/>
                      <a:pt x="56" y="150"/>
                      <a:pt x="58" y="149"/>
                    </a:cubicBezTo>
                    <a:cubicBezTo>
                      <a:pt x="61" y="148"/>
                      <a:pt x="60" y="146"/>
                      <a:pt x="59" y="144"/>
                    </a:cubicBezTo>
                    <a:cubicBezTo>
                      <a:pt x="58" y="143"/>
                      <a:pt x="60" y="140"/>
                      <a:pt x="60" y="140"/>
                    </a:cubicBezTo>
                    <a:cubicBezTo>
                      <a:pt x="60" y="140"/>
                      <a:pt x="61" y="137"/>
                      <a:pt x="63" y="137"/>
                    </a:cubicBezTo>
                    <a:cubicBezTo>
                      <a:pt x="64" y="136"/>
                      <a:pt x="65" y="137"/>
                      <a:pt x="65" y="137"/>
                    </a:cubicBezTo>
                    <a:cubicBezTo>
                      <a:pt x="65" y="137"/>
                      <a:pt x="66" y="132"/>
                      <a:pt x="67" y="130"/>
                    </a:cubicBezTo>
                    <a:cubicBezTo>
                      <a:pt x="68" y="128"/>
                      <a:pt x="68" y="127"/>
                      <a:pt x="70" y="126"/>
                    </a:cubicBezTo>
                    <a:cubicBezTo>
                      <a:pt x="72" y="125"/>
                      <a:pt x="75" y="123"/>
                      <a:pt x="77" y="123"/>
                    </a:cubicBezTo>
                    <a:cubicBezTo>
                      <a:pt x="78" y="124"/>
                      <a:pt x="81" y="121"/>
                      <a:pt x="81" y="119"/>
                    </a:cubicBezTo>
                    <a:cubicBezTo>
                      <a:pt x="81" y="118"/>
                      <a:pt x="81" y="116"/>
                      <a:pt x="83" y="114"/>
                    </a:cubicBezTo>
                    <a:cubicBezTo>
                      <a:pt x="86" y="112"/>
                      <a:pt x="88" y="113"/>
                      <a:pt x="88" y="111"/>
                    </a:cubicBezTo>
                    <a:cubicBezTo>
                      <a:pt x="88" y="109"/>
                      <a:pt x="89" y="105"/>
                      <a:pt x="91" y="105"/>
                    </a:cubicBezTo>
                    <a:cubicBezTo>
                      <a:pt x="94" y="105"/>
                      <a:pt x="96" y="104"/>
                      <a:pt x="96" y="102"/>
                    </a:cubicBezTo>
                    <a:cubicBezTo>
                      <a:pt x="96" y="100"/>
                      <a:pt x="98" y="99"/>
                      <a:pt x="99" y="101"/>
                    </a:cubicBezTo>
                    <a:cubicBezTo>
                      <a:pt x="100" y="102"/>
                      <a:pt x="101" y="100"/>
                      <a:pt x="102" y="101"/>
                    </a:cubicBezTo>
                    <a:cubicBezTo>
                      <a:pt x="104" y="102"/>
                      <a:pt x="105" y="104"/>
                      <a:pt x="105" y="104"/>
                    </a:cubicBezTo>
                    <a:cubicBezTo>
                      <a:pt x="106" y="105"/>
                      <a:pt x="106" y="105"/>
                      <a:pt x="106" y="105"/>
                    </a:cubicBezTo>
                    <a:cubicBezTo>
                      <a:pt x="107" y="103"/>
                      <a:pt x="107" y="103"/>
                      <a:pt x="107" y="103"/>
                    </a:cubicBezTo>
                    <a:cubicBezTo>
                      <a:pt x="107" y="103"/>
                      <a:pt x="111" y="103"/>
                      <a:pt x="113" y="102"/>
                    </a:cubicBezTo>
                    <a:cubicBezTo>
                      <a:pt x="114" y="101"/>
                      <a:pt x="119" y="101"/>
                      <a:pt x="122" y="100"/>
                    </a:cubicBezTo>
                    <a:cubicBezTo>
                      <a:pt x="125" y="100"/>
                      <a:pt x="133" y="96"/>
                      <a:pt x="133" y="96"/>
                    </a:cubicBezTo>
                    <a:cubicBezTo>
                      <a:pt x="138" y="96"/>
                      <a:pt x="138" y="96"/>
                      <a:pt x="138" y="96"/>
                    </a:cubicBezTo>
                    <a:cubicBezTo>
                      <a:pt x="138" y="96"/>
                      <a:pt x="139" y="96"/>
                      <a:pt x="139" y="94"/>
                    </a:cubicBezTo>
                    <a:cubicBezTo>
                      <a:pt x="139" y="92"/>
                      <a:pt x="139" y="89"/>
                      <a:pt x="139" y="89"/>
                    </a:cubicBezTo>
                    <a:cubicBezTo>
                      <a:pt x="142" y="87"/>
                      <a:pt x="142" y="87"/>
                      <a:pt x="142" y="87"/>
                    </a:cubicBezTo>
                    <a:cubicBezTo>
                      <a:pt x="141" y="62"/>
                      <a:pt x="141" y="62"/>
                      <a:pt x="141" y="62"/>
                    </a:cubicBezTo>
                    <a:cubicBezTo>
                      <a:pt x="141" y="62"/>
                      <a:pt x="132" y="65"/>
                      <a:pt x="132" y="64"/>
                    </a:cubicBezTo>
                    <a:cubicBezTo>
                      <a:pt x="133" y="63"/>
                      <a:pt x="133" y="61"/>
                      <a:pt x="132" y="59"/>
                    </a:cubicBezTo>
                    <a:cubicBezTo>
                      <a:pt x="131" y="57"/>
                      <a:pt x="131" y="58"/>
                      <a:pt x="132" y="54"/>
                    </a:cubicBezTo>
                    <a:cubicBezTo>
                      <a:pt x="133" y="50"/>
                      <a:pt x="131" y="51"/>
                      <a:pt x="129" y="49"/>
                    </a:cubicBezTo>
                    <a:cubicBezTo>
                      <a:pt x="127" y="48"/>
                      <a:pt x="125" y="48"/>
                      <a:pt x="123" y="46"/>
                    </a:cubicBezTo>
                    <a:cubicBezTo>
                      <a:pt x="120" y="45"/>
                      <a:pt x="120" y="42"/>
                      <a:pt x="120" y="42"/>
                    </a:cubicBezTo>
                    <a:cubicBezTo>
                      <a:pt x="65" y="0"/>
                      <a:pt x="65" y="0"/>
                      <a:pt x="65" y="0"/>
                    </a:cubicBezTo>
                    <a:cubicBezTo>
                      <a:pt x="50" y="1"/>
                      <a:pt x="50" y="1"/>
                      <a:pt x="50" y="1"/>
                    </a:cubicBezTo>
                    <a:cubicBezTo>
                      <a:pt x="55" y="89"/>
                      <a:pt x="55" y="89"/>
                      <a:pt x="55" y="89"/>
                    </a:cubicBezTo>
                    <a:cubicBezTo>
                      <a:pt x="55" y="89"/>
                      <a:pt x="60" y="88"/>
                      <a:pt x="58" y="92"/>
                    </a:cubicBezTo>
                    <a:cubicBezTo>
                      <a:pt x="57" y="96"/>
                      <a:pt x="56" y="97"/>
                      <a:pt x="56" y="97"/>
                    </a:cubicBezTo>
                    <a:cubicBezTo>
                      <a:pt x="24" y="98"/>
                      <a:pt x="24" y="98"/>
                      <a:pt x="24" y="98"/>
                    </a:cubicBezTo>
                    <a:cubicBezTo>
                      <a:pt x="24" y="98"/>
                      <a:pt x="23" y="95"/>
                      <a:pt x="21" y="95"/>
                    </a:cubicBezTo>
                    <a:cubicBezTo>
                      <a:pt x="19" y="96"/>
                      <a:pt x="19" y="98"/>
                      <a:pt x="20" y="100"/>
                    </a:cubicBezTo>
                    <a:cubicBezTo>
                      <a:pt x="22" y="102"/>
                      <a:pt x="18" y="101"/>
                      <a:pt x="18" y="101"/>
                    </a:cubicBezTo>
                    <a:cubicBezTo>
                      <a:pt x="18" y="101"/>
                      <a:pt x="16" y="102"/>
                      <a:pt x="13" y="101"/>
                    </a:cubicBezTo>
                    <a:cubicBezTo>
                      <a:pt x="10" y="100"/>
                      <a:pt x="8" y="100"/>
                      <a:pt x="7" y="100"/>
                    </a:cubicBezTo>
                    <a:cubicBezTo>
                      <a:pt x="5" y="100"/>
                      <a:pt x="7" y="101"/>
                      <a:pt x="5" y="103"/>
                    </a:cubicBezTo>
                    <a:cubicBezTo>
                      <a:pt x="4" y="106"/>
                      <a:pt x="6" y="108"/>
                      <a:pt x="4" y="109"/>
                    </a:cubicBezTo>
                    <a:cubicBezTo>
                      <a:pt x="3" y="111"/>
                      <a:pt x="1" y="110"/>
                      <a:pt x="1" y="110"/>
                    </a:cubicBezTo>
                    <a:cubicBezTo>
                      <a:pt x="1" y="110"/>
                      <a:pt x="0" y="115"/>
                      <a:pt x="1" y="115"/>
                    </a:cubicBezTo>
                    <a:cubicBezTo>
                      <a:pt x="3" y="116"/>
                      <a:pt x="0" y="123"/>
                      <a:pt x="0" y="123"/>
                    </a:cubicBezTo>
                    <a:cubicBezTo>
                      <a:pt x="0" y="123"/>
                      <a:pt x="0" y="125"/>
                      <a:pt x="1" y="126"/>
                    </a:cubicBezTo>
                    <a:cubicBezTo>
                      <a:pt x="3" y="128"/>
                      <a:pt x="4" y="128"/>
                      <a:pt x="4" y="130"/>
                    </a:cubicBezTo>
                    <a:cubicBezTo>
                      <a:pt x="4" y="131"/>
                      <a:pt x="5" y="136"/>
                      <a:pt x="5" y="136"/>
                    </a:cubicBezTo>
                    <a:cubicBezTo>
                      <a:pt x="5" y="140"/>
                      <a:pt x="5" y="140"/>
                      <a:pt x="5" y="140"/>
                    </a:cubicBezTo>
                    <a:cubicBezTo>
                      <a:pt x="8" y="140"/>
                      <a:pt x="8" y="140"/>
                      <a:pt x="8" y="140"/>
                    </a:cubicBezTo>
                    <a:cubicBezTo>
                      <a:pt x="8" y="140"/>
                      <a:pt x="9" y="138"/>
                      <a:pt x="11" y="138"/>
                    </a:cubicBezTo>
                    <a:cubicBezTo>
                      <a:pt x="13" y="139"/>
                      <a:pt x="13" y="141"/>
                      <a:pt x="14" y="140"/>
                    </a:cubicBezTo>
                    <a:cubicBezTo>
                      <a:pt x="16" y="140"/>
                      <a:pt x="17" y="137"/>
                      <a:pt x="17" y="137"/>
                    </a:cubicBezTo>
                    <a:cubicBezTo>
                      <a:pt x="17" y="137"/>
                      <a:pt x="18" y="140"/>
                      <a:pt x="21" y="139"/>
                    </a:cubicBezTo>
                    <a:cubicBezTo>
                      <a:pt x="24" y="138"/>
                      <a:pt x="25" y="139"/>
                      <a:pt x="25" y="139"/>
                    </a:cubicBezTo>
                    <a:cubicBezTo>
                      <a:pt x="25" y="139"/>
                      <a:pt x="26" y="142"/>
                      <a:pt x="26" y="144"/>
                    </a:cubicBezTo>
                    <a:cubicBezTo>
                      <a:pt x="26" y="147"/>
                      <a:pt x="23" y="149"/>
                      <a:pt x="25" y="150"/>
                    </a:cubicBezTo>
                    <a:cubicBezTo>
                      <a:pt x="26" y="150"/>
                      <a:pt x="27" y="153"/>
                      <a:pt x="27" y="154"/>
                    </a:cubicBezTo>
                    <a:cubicBezTo>
                      <a:pt x="27" y="156"/>
                      <a:pt x="30" y="155"/>
                      <a:pt x="30" y="155"/>
                    </a:cubicBezTo>
                    <a:cubicBezTo>
                      <a:pt x="24" y="159"/>
                      <a:pt x="24" y="159"/>
                      <a:pt x="24" y="159"/>
                    </a:cubicBezTo>
                    <a:cubicBezTo>
                      <a:pt x="24" y="159"/>
                      <a:pt x="24" y="161"/>
                      <a:pt x="26" y="161"/>
                    </a:cubicBezTo>
                    <a:cubicBezTo>
                      <a:pt x="28" y="161"/>
                      <a:pt x="28" y="158"/>
                      <a:pt x="29" y="161"/>
                    </a:cubicBezTo>
                    <a:cubicBezTo>
                      <a:pt x="30" y="163"/>
                      <a:pt x="32" y="160"/>
                      <a:pt x="34" y="163"/>
                    </a:cubicBezTo>
                    <a:cubicBezTo>
                      <a:pt x="35" y="165"/>
                      <a:pt x="36" y="167"/>
                      <a:pt x="37" y="167"/>
                    </a:cubicBezTo>
                    <a:cubicBezTo>
                      <a:pt x="39" y="167"/>
                      <a:pt x="40" y="169"/>
                      <a:pt x="40" y="169"/>
                    </a:cubicBezTo>
                    <a:cubicBezTo>
                      <a:pt x="40" y="169"/>
                      <a:pt x="41" y="167"/>
                      <a:pt x="44" y="165"/>
                    </a:cubicBezTo>
                    <a:cubicBezTo>
                      <a:pt x="46" y="164"/>
                      <a:pt x="46" y="167"/>
                      <a:pt x="46" y="167"/>
                    </a:cubicBezTo>
                    <a:cubicBezTo>
                      <a:pt x="47" y="162"/>
                      <a:pt x="47" y="162"/>
                      <a:pt x="47" y="162"/>
                    </a:cubicBezTo>
                    <a:cubicBezTo>
                      <a:pt x="49" y="160"/>
                      <a:pt x="49" y="160"/>
                      <a:pt x="49" y="160"/>
                    </a:cubicBezTo>
                    <a:cubicBezTo>
                      <a:pt x="49" y="160"/>
                      <a:pt x="51" y="164"/>
                      <a:pt x="53" y="163"/>
                    </a:cubicBezTo>
                    <a:cubicBezTo>
                      <a:pt x="56" y="162"/>
                      <a:pt x="55" y="159"/>
                      <a:pt x="55" y="159"/>
                    </a:cubicBezTo>
                    <a:lnTo>
                      <a:pt x="57" y="156"/>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73" name="Freeform 152">
                <a:extLst>
                  <a:ext uri="{FF2B5EF4-FFF2-40B4-BE49-F238E27FC236}">
                    <a16:creationId xmlns:a16="http://schemas.microsoft.com/office/drawing/2014/main" id="{8F3AB42A-F8CE-6A63-94A9-190E6DB38DD9}"/>
                  </a:ext>
                </a:extLst>
              </p:cNvPr>
              <p:cNvSpPr>
                <a:spLocks/>
              </p:cNvSpPr>
              <p:nvPr/>
            </p:nvSpPr>
            <p:spPr bwMode="auto">
              <a:xfrm>
                <a:off x="2908" y="1719"/>
                <a:ext cx="278" cy="331"/>
              </a:xfrm>
              <a:custGeom>
                <a:avLst/>
                <a:gdLst>
                  <a:gd name="T0" fmla="*/ 58 w 142"/>
                  <a:gd name="T1" fmla="*/ 149 h 169"/>
                  <a:gd name="T2" fmla="*/ 60 w 142"/>
                  <a:gd name="T3" fmla="*/ 140 h 169"/>
                  <a:gd name="T4" fmla="*/ 65 w 142"/>
                  <a:gd name="T5" fmla="*/ 137 h 169"/>
                  <a:gd name="T6" fmla="*/ 70 w 142"/>
                  <a:gd name="T7" fmla="*/ 126 h 169"/>
                  <a:gd name="T8" fmla="*/ 81 w 142"/>
                  <a:gd name="T9" fmla="*/ 119 h 169"/>
                  <a:gd name="T10" fmla="*/ 88 w 142"/>
                  <a:gd name="T11" fmla="*/ 111 h 169"/>
                  <a:gd name="T12" fmla="*/ 96 w 142"/>
                  <a:gd name="T13" fmla="*/ 102 h 169"/>
                  <a:gd name="T14" fmla="*/ 102 w 142"/>
                  <a:gd name="T15" fmla="*/ 101 h 169"/>
                  <a:gd name="T16" fmla="*/ 106 w 142"/>
                  <a:gd name="T17" fmla="*/ 105 h 169"/>
                  <a:gd name="T18" fmla="*/ 113 w 142"/>
                  <a:gd name="T19" fmla="*/ 102 h 169"/>
                  <a:gd name="T20" fmla="*/ 133 w 142"/>
                  <a:gd name="T21" fmla="*/ 96 h 169"/>
                  <a:gd name="T22" fmla="*/ 139 w 142"/>
                  <a:gd name="T23" fmla="*/ 94 h 169"/>
                  <a:gd name="T24" fmla="*/ 142 w 142"/>
                  <a:gd name="T25" fmla="*/ 87 h 169"/>
                  <a:gd name="T26" fmla="*/ 132 w 142"/>
                  <a:gd name="T27" fmla="*/ 64 h 169"/>
                  <a:gd name="T28" fmla="*/ 132 w 142"/>
                  <a:gd name="T29" fmla="*/ 54 h 169"/>
                  <a:gd name="T30" fmla="*/ 123 w 142"/>
                  <a:gd name="T31" fmla="*/ 46 h 169"/>
                  <a:gd name="T32" fmla="*/ 65 w 142"/>
                  <a:gd name="T33" fmla="*/ 0 h 169"/>
                  <a:gd name="T34" fmla="*/ 55 w 142"/>
                  <a:gd name="T35" fmla="*/ 89 h 169"/>
                  <a:gd name="T36" fmla="*/ 56 w 142"/>
                  <a:gd name="T37" fmla="*/ 97 h 169"/>
                  <a:gd name="T38" fmla="*/ 21 w 142"/>
                  <a:gd name="T39" fmla="*/ 95 h 169"/>
                  <a:gd name="T40" fmla="*/ 18 w 142"/>
                  <a:gd name="T41" fmla="*/ 101 h 169"/>
                  <a:gd name="T42" fmla="*/ 7 w 142"/>
                  <a:gd name="T43" fmla="*/ 100 h 169"/>
                  <a:gd name="T44" fmla="*/ 4 w 142"/>
                  <a:gd name="T45" fmla="*/ 109 h 169"/>
                  <a:gd name="T46" fmla="*/ 1 w 142"/>
                  <a:gd name="T47" fmla="*/ 115 h 169"/>
                  <a:gd name="T48" fmla="*/ 1 w 142"/>
                  <a:gd name="T49" fmla="*/ 126 h 169"/>
                  <a:gd name="T50" fmla="*/ 5 w 142"/>
                  <a:gd name="T51" fmla="*/ 136 h 169"/>
                  <a:gd name="T52" fmla="*/ 8 w 142"/>
                  <a:gd name="T53" fmla="*/ 140 h 169"/>
                  <a:gd name="T54" fmla="*/ 14 w 142"/>
                  <a:gd name="T55" fmla="*/ 140 h 169"/>
                  <a:gd name="T56" fmla="*/ 21 w 142"/>
                  <a:gd name="T57" fmla="*/ 139 h 169"/>
                  <a:gd name="T58" fmla="*/ 26 w 142"/>
                  <a:gd name="T59" fmla="*/ 144 h 169"/>
                  <a:gd name="T60" fmla="*/ 27 w 142"/>
                  <a:gd name="T61" fmla="*/ 154 h 169"/>
                  <a:gd name="T62" fmla="*/ 24 w 142"/>
                  <a:gd name="T63" fmla="*/ 159 h 169"/>
                  <a:gd name="T64" fmla="*/ 29 w 142"/>
                  <a:gd name="T65" fmla="*/ 161 h 169"/>
                  <a:gd name="T66" fmla="*/ 37 w 142"/>
                  <a:gd name="T67" fmla="*/ 167 h 169"/>
                  <a:gd name="T68" fmla="*/ 44 w 142"/>
                  <a:gd name="T69" fmla="*/ 165 h 169"/>
                  <a:gd name="T70" fmla="*/ 47 w 142"/>
                  <a:gd name="T71" fmla="*/ 162 h 169"/>
                  <a:gd name="T72" fmla="*/ 53 w 142"/>
                  <a:gd name="T73" fmla="*/ 163 h 169"/>
                  <a:gd name="T74" fmla="*/ 57 w 142"/>
                  <a:gd name="T75" fmla="*/ 1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2" h="169">
                    <a:moveTo>
                      <a:pt x="57" y="156"/>
                    </a:moveTo>
                    <a:cubicBezTo>
                      <a:pt x="57" y="156"/>
                      <a:pt x="56" y="150"/>
                      <a:pt x="58" y="149"/>
                    </a:cubicBezTo>
                    <a:cubicBezTo>
                      <a:pt x="61" y="148"/>
                      <a:pt x="60" y="146"/>
                      <a:pt x="59" y="144"/>
                    </a:cubicBezTo>
                    <a:cubicBezTo>
                      <a:pt x="58" y="143"/>
                      <a:pt x="60" y="140"/>
                      <a:pt x="60" y="140"/>
                    </a:cubicBezTo>
                    <a:cubicBezTo>
                      <a:pt x="60" y="140"/>
                      <a:pt x="61" y="137"/>
                      <a:pt x="63" y="137"/>
                    </a:cubicBezTo>
                    <a:cubicBezTo>
                      <a:pt x="64" y="136"/>
                      <a:pt x="65" y="137"/>
                      <a:pt x="65" y="137"/>
                    </a:cubicBezTo>
                    <a:cubicBezTo>
                      <a:pt x="65" y="137"/>
                      <a:pt x="66" y="132"/>
                      <a:pt x="67" y="130"/>
                    </a:cubicBezTo>
                    <a:cubicBezTo>
                      <a:pt x="68" y="128"/>
                      <a:pt x="68" y="127"/>
                      <a:pt x="70" y="126"/>
                    </a:cubicBezTo>
                    <a:cubicBezTo>
                      <a:pt x="72" y="125"/>
                      <a:pt x="75" y="123"/>
                      <a:pt x="77" y="123"/>
                    </a:cubicBezTo>
                    <a:cubicBezTo>
                      <a:pt x="78" y="124"/>
                      <a:pt x="81" y="121"/>
                      <a:pt x="81" y="119"/>
                    </a:cubicBezTo>
                    <a:cubicBezTo>
                      <a:pt x="81" y="118"/>
                      <a:pt x="81" y="116"/>
                      <a:pt x="83" y="114"/>
                    </a:cubicBezTo>
                    <a:cubicBezTo>
                      <a:pt x="86" y="112"/>
                      <a:pt x="88" y="113"/>
                      <a:pt x="88" y="111"/>
                    </a:cubicBezTo>
                    <a:cubicBezTo>
                      <a:pt x="88" y="109"/>
                      <a:pt x="89" y="105"/>
                      <a:pt x="91" y="105"/>
                    </a:cubicBezTo>
                    <a:cubicBezTo>
                      <a:pt x="94" y="105"/>
                      <a:pt x="96" y="104"/>
                      <a:pt x="96" y="102"/>
                    </a:cubicBezTo>
                    <a:cubicBezTo>
                      <a:pt x="96" y="100"/>
                      <a:pt x="98" y="99"/>
                      <a:pt x="99" y="101"/>
                    </a:cubicBezTo>
                    <a:cubicBezTo>
                      <a:pt x="100" y="102"/>
                      <a:pt x="101" y="100"/>
                      <a:pt x="102" y="101"/>
                    </a:cubicBezTo>
                    <a:cubicBezTo>
                      <a:pt x="104" y="102"/>
                      <a:pt x="105" y="104"/>
                      <a:pt x="105" y="104"/>
                    </a:cubicBezTo>
                    <a:cubicBezTo>
                      <a:pt x="106" y="105"/>
                      <a:pt x="106" y="105"/>
                      <a:pt x="106" y="105"/>
                    </a:cubicBezTo>
                    <a:cubicBezTo>
                      <a:pt x="107" y="103"/>
                      <a:pt x="107" y="103"/>
                      <a:pt x="107" y="103"/>
                    </a:cubicBezTo>
                    <a:cubicBezTo>
                      <a:pt x="107" y="103"/>
                      <a:pt x="111" y="103"/>
                      <a:pt x="113" y="102"/>
                    </a:cubicBezTo>
                    <a:cubicBezTo>
                      <a:pt x="114" y="101"/>
                      <a:pt x="119" y="101"/>
                      <a:pt x="122" y="100"/>
                    </a:cubicBezTo>
                    <a:cubicBezTo>
                      <a:pt x="125" y="100"/>
                      <a:pt x="133" y="96"/>
                      <a:pt x="133" y="96"/>
                    </a:cubicBezTo>
                    <a:cubicBezTo>
                      <a:pt x="138" y="96"/>
                      <a:pt x="138" y="96"/>
                      <a:pt x="138" y="96"/>
                    </a:cubicBezTo>
                    <a:cubicBezTo>
                      <a:pt x="138" y="96"/>
                      <a:pt x="139" y="96"/>
                      <a:pt x="139" y="94"/>
                    </a:cubicBezTo>
                    <a:cubicBezTo>
                      <a:pt x="139" y="92"/>
                      <a:pt x="139" y="89"/>
                      <a:pt x="139" y="89"/>
                    </a:cubicBezTo>
                    <a:cubicBezTo>
                      <a:pt x="142" y="87"/>
                      <a:pt x="142" y="87"/>
                      <a:pt x="142" y="87"/>
                    </a:cubicBezTo>
                    <a:cubicBezTo>
                      <a:pt x="141" y="62"/>
                      <a:pt x="141" y="62"/>
                      <a:pt x="141" y="62"/>
                    </a:cubicBezTo>
                    <a:cubicBezTo>
                      <a:pt x="141" y="62"/>
                      <a:pt x="132" y="65"/>
                      <a:pt x="132" y="64"/>
                    </a:cubicBezTo>
                    <a:cubicBezTo>
                      <a:pt x="133" y="63"/>
                      <a:pt x="133" y="61"/>
                      <a:pt x="132" y="59"/>
                    </a:cubicBezTo>
                    <a:cubicBezTo>
                      <a:pt x="131" y="57"/>
                      <a:pt x="131" y="58"/>
                      <a:pt x="132" y="54"/>
                    </a:cubicBezTo>
                    <a:cubicBezTo>
                      <a:pt x="133" y="50"/>
                      <a:pt x="131" y="51"/>
                      <a:pt x="129" y="49"/>
                    </a:cubicBezTo>
                    <a:cubicBezTo>
                      <a:pt x="127" y="48"/>
                      <a:pt x="125" y="48"/>
                      <a:pt x="123" y="46"/>
                    </a:cubicBezTo>
                    <a:cubicBezTo>
                      <a:pt x="120" y="45"/>
                      <a:pt x="120" y="42"/>
                      <a:pt x="120" y="42"/>
                    </a:cubicBezTo>
                    <a:cubicBezTo>
                      <a:pt x="65" y="0"/>
                      <a:pt x="65" y="0"/>
                      <a:pt x="65" y="0"/>
                    </a:cubicBezTo>
                    <a:cubicBezTo>
                      <a:pt x="50" y="1"/>
                      <a:pt x="50" y="1"/>
                      <a:pt x="50" y="1"/>
                    </a:cubicBezTo>
                    <a:cubicBezTo>
                      <a:pt x="55" y="89"/>
                      <a:pt x="55" y="89"/>
                      <a:pt x="55" y="89"/>
                    </a:cubicBezTo>
                    <a:cubicBezTo>
                      <a:pt x="55" y="89"/>
                      <a:pt x="60" y="88"/>
                      <a:pt x="58" y="92"/>
                    </a:cubicBezTo>
                    <a:cubicBezTo>
                      <a:pt x="57" y="96"/>
                      <a:pt x="56" y="97"/>
                      <a:pt x="56" y="97"/>
                    </a:cubicBezTo>
                    <a:cubicBezTo>
                      <a:pt x="24" y="98"/>
                      <a:pt x="24" y="98"/>
                      <a:pt x="24" y="98"/>
                    </a:cubicBezTo>
                    <a:cubicBezTo>
                      <a:pt x="24" y="98"/>
                      <a:pt x="23" y="95"/>
                      <a:pt x="21" y="95"/>
                    </a:cubicBezTo>
                    <a:cubicBezTo>
                      <a:pt x="19" y="96"/>
                      <a:pt x="19" y="98"/>
                      <a:pt x="20" y="100"/>
                    </a:cubicBezTo>
                    <a:cubicBezTo>
                      <a:pt x="22" y="102"/>
                      <a:pt x="18" y="101"/>
                      <a:pt x="18" y="101"/>
                    </a:cubicBezTo>
                    <a:cubicBezTo>
                      <a:pt x="18" y="101"/>
                      <a:pt x="16" y="102"/>
                      <a:pt x="13" y="101"/>
                    </a:cubicBezTo>
                    <a:cubicBezTo>
                      <a:pt x="10" y="100"/>
                      <a:pt x="8" y="100"/>
                      <a:pt x="7" y="100"/>
                    </a:cubicBezTo>
                    <a:cubicBezTo>
                      <a:pt x="5" y="100"/>
                      <a:pt x="7" y="101"/>
                      <a:pt x="5" y="103"/>
                    </a:cubicBezTo>
                    <a:cubicBezTo>
                      <a:pt x="4" y="106"/>
                      <a:pt x="6" y="108"/>
                      <a:pt x="4" y="109"/>
                    </a:cubicBezTo>
                    <a:cubicBezTo>
                      <a:pt x="3" y="111"/>
                      <a:pt x="1" y="110"/>
                      <a:pt x="1" y="110"/>
                    </a:cubicBezTo>
                    <a:cubicBezTo>
                      <a:pt x="1" y="110"/>
                      <a:pt x="0" y="115"/>
                      <a:pt x="1" y="115"/>
                    </a:cubicBezTo>
                    <a:cubicBezTo>
                      <a:pt x="3" y="116"/>
                      <a:pt x="0" y="123"/>
                      <a:pt x="0" y="123"/>
                    </a:cubicBezTo>
                    <a:cubicBezTo>
                      <a:pt x="0" y="123"/>
                      <a:pt x="0" y="125"/>
                      <a:pt x="1" y="126"/>
                    </a:cubicBezTo>
                    <a:cubicBezTo>
                      <a:pt x="3" y="128"/>
                      <a:pt x="4" y="128"/>
                      <a:pt x="4" y="130"/>
                    </a:cubicBezTo>
                    <a:cubicBezTo>
                      <a:pt x="4" y="131"/>
                      <a:pt x="5" y="136"/>
                      <a:pt x="5" y="136"/>
                    </a:cubicBezTo>
                    <a:cubicBezTo>
                      <a:pt x="5" y="140"/>
                      <a:pt x="5" y="140"/>
                      <a:pt x="5" y="140"/>
                    </a:cubicBezTo>
                    <a:cubicBezTo>
                      <a:pt x="8" y="140"/>
                      <a:pt x="8" y="140"/>
                      <a:pt x="8" y="140"/>
                    </a:cubicBezTo>
                    <a:cubicBezTo>
                      <a:pt x="8" y="140"/>
                      <a:pt x="9" y="138"/>
                      <a:pt x="11" y="138"/>
                    </a:cubicBezTo>
                    <a:cubicBezTo>
                      <a:pt x="13" y="139"/>
                      <a:pt x="13" y="141"/>
                      <a:pt x="14" y="140"/>
                    </a:cubicBezTo>
                    <a:cubicBezTo>
                      <a:pt x="16" y="140"/>
                      <a:pt x="17" y="137"/>
                      <a:pt x="17" y="137"/>
                    </a:cubicBezTo>
                    <a:cubicBezTo>
                      <a:pt x="17" y="137"/>
                      <a:pt x="18" y="140"/>
                      <a:pt x="21" y="139"/>
                    </a:cubicBezTo>
                    <a:cubicBezTo>
                      <a:pt x="24" y="138"/>
                      <a:pt x="25" y="139"/>
                      <a:pt x="25" y="139"/>
                    </a:cubicBezTo>
                    <a:cubicBezTo>
                      <a:pt x="25" y="139"/>
                      <a:pt x="26" y="142"/>
                      <a:pt x="26" y="144"/>
                    </a:cubicBezTo>
                    <a:cubicBezTo>
                      <a:pt x="26" y="147"/>
                      <a:pt x="23" y="149"/>
                      <a:pt x="25" y="150"/>
                    </a:cubicBezTo>
                    <a:cubicBezTo>
                      <a:pt x="26" y="150"/>
                      <a:pt x="27" y="153"/>
                      <a:pt x="27" y="154"/>
                    </a:cubicBezTo>
                    <a:cubicBezTo>
                      <a:pt x="27" y="156"/>
                      <a:pt x="30" y="155"/>
                      <a:pt x="30" y="155"/>
                    </a:cubicBezTo>
                    <a:cubicBezTo>
                      <a:pt x="24" y="159"/>
                      <a:pt x="24" y="159"/>
                      <a:pt x="24" y="159"/>
                    </a:cubicBezTo>
                    <a:cubicBezTo>
                      <a:pt x="24" y="159"/>
                      <a:pt x="24" y="161"/>
                      <a:pt x="26" y="161"/>
                    </a:cubicBezTo>
                    <a:cubicBezTo>
                      <a:pt x="28" y="161"/>
                      <a:pt x="28" y="158"/>
                      <a:pt x="29" y="161"/>
                    </a:cubicBezTo>
                    <a:cubicBezTo>
                      <a:pt x="30" y="163"/>
                      <a:pt x="32" y="160"/>
                      <a:pt x="34" y="163"/>
                    </a:cubicBezTo>
                    <a:cubicBezTo>
                      <a:pt x="35" y="165"/>
                      <a:pt x="36" y="167"/>
                      <a:pt x="37" y="167"/>
                    </a:cubicBezTo>
                    <a:cubicBezTo>
                      <a:pt x="39" y="167"/>
                      <a:pt x="40" y="169"/>
                      <a:pt x="40" y="169"/>
                    </a:cubicBezTo>
                    <a:cubicBezTo>
                      <a:pt x="40" y="169"/>
                      <a:pt x="41" y="167"/>
                      <a:pt x="44" y="165"/>
                    </a:cubicBezTo>
                    <a:cubicBezTo>
                      <a:pt x="46" y="164"/>
                      <a:pt x="46" y="167"/>
                      <a:pt x="46" y="167"/>
                    </a:cubicBezTo>
                    <a:cubicBezTo>
                      <a:pt x="47" y="162"/>
                      <a:pt x="47" y="162"/>
                      <a:pt x="47" y="162"/>
                    </a:cubicBezTo>
                    <a:cubicBezTo>
                      <a:pt x="49" y="160"/>
                      <a:pt x="49" y="160"/>
                      <a:pt x="49" y="160"/>
                    </a:cubicBezTo>
                    <a:cubicBezTo>
                      <a:pt x="49" y="160"/>
                      <a:pt x="51" y="164"/>
                      <a:pt x="53" y="163"/>
                    </a:cubicBezTo>
                    <a:cubicBezTo>
                      <a:pt x="56" y="162"/>
                      <a:pt x="55" y="159"/>
                      <a:pt x="55" y="159"/>
                    </a:cubicBezTo>
                    <a:lnTo>
                      <a:pt x="57" y="156"/>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74" name="Freeform 153">
                <a:extLst>
                  <a:ext uri="{FF2B5EF4-FFF2-40B4-BE49-F238E27FC236}">
                    <a16:creationId xmlns:a16="http://schemas.microsoft.com/office/drawing/2014/main" id="{B60D4001-136A-FABA-4945-80EDD331420E}"/>
                  </a:ext>
                </a:extLst>
              </p:cNvPr>
              <p:cNvSpPr>
                <a:spLocks noEditPoints="1"/>
              </p:cNvSpPr>
              <p:nvPr/>
            </p:nvSpPr>
            <p:spPr bwMode="auto">
              <a:xfrm>
                <a:off x="4814" y="2109"/>
                <a:ext cx="313" cy="130"/>
              </a:xfrm>
              <a:custGeom>
                <a:avLst/>
                <a:gdLst>
                  <a:gd name="T0" fmla="*/ 80 w 160"/>
                  <a:gd name="T1" fmla="*/ 58 h 66"/>
                  <a:gd name="T2" fmla="*/ 84 w 160"/>
                  <a:gd name="T3" fmla="*/ 63 h 66"/>
                  <a:gd name="T4" fmla="*/ 91 w 160"/>
                  <a:gd name="T5" fmla="*/ 66 h 66"/>
                  <a:gd name="T6" fmla="*/ 100 w 160"/>
                  <a:gd name="T7" fmla="*/ 64 h 66"/>
                  <a:gd name="T8" fmla="*/ 107 w 160"/>
                  <a:gd name="T9" fmla="*/ 61 h 66"/>
                  <a:gd name="T10" fmla="*/ 114 w 160"/>
                  <a:gd name="T11" fmla="*/ 62 h 66"/>
                  <a:gd name="T12" fmla="*/ 119 w 160"/>
                  <a:gd name="T13" fmla="*/ 58 h 66"/>
                  <a:gd name="T14" fmla="*/ 122 w 160"/>
                  <a:gd name="T15" fmla="*/ 50 h 66"/>
                  <a:gd name="T16" fmla="*/ 126 w 160"/>
                  <a:gd name="T17" fmla="*/ 46 h 66"/>
                  <a:gd name="T18" fmla="*/ 130 w 160"/>
                  <a:gd name="T19" fmla="*/ 41 h 66"/>
                  <a:gd name="T20" fmla="*/ 133 w 160"/>
                  <a:gd name="T21" fmla="*/ 32 h 66"/>
                  <a:gd name="T22" fmla="*/ 144 w 160"/>
                  <a:gd name="T23" fmla="*/ 33 h 66"/>
                  <a:gd name="T24" fmla="*/ 151 w 160"/>
                  <a:gd name="T25" fmla="*/ 31 h 66"/>
                  <a:gd name="T26" fmla="*/ 154 w 160"/>
                  <a:gd name="T27" fmla="*/ 29 h 66"/>
                  <a:gd name="T28" fmla="*/ 152 w 160"/>
                  <a:gd name="T29" fmla="*/ 25 h 66"/>
                  <a:gd name="T30" fmla="*/ 160 w 160"/>
                  <a:gd name="T31" fmla="*/ 20 h 66"/>
                  <a:gd name="T32" fmla="*/ 156 w 160"/>
                  <a:gd name="T33" fmla="*/ 13 h 66"/>
                  <a:gd name="T34" fmla="*/ 152 w 160"/>
                  <a:gd name="T35" fmla="*/ 11 h 66"/>
                  <a:gd name="T36" fmla="*/ 151 w 160"/>
                  <a:gd name="T37" fmla="*/ 7 h 66"/>
                  <a:gd name="T38" fmla="*/ 147 w 160"/>
                  <a:gd name="T39" fmla="*/ 4 h 66"/>
                  <a:gd name="T40" fmla="*/ 145 w 160"/>
                  <a:gd name="T41" fmla="*/ 3 h 66"/>
                  <a:gd name="T42" fmla="*/ 141 w 160"/>
                  <a:gd name="T43" fmla="*/ 1 h 66"/>
                  <a:gd name="T44" fmla="*/ 129 w 160"/>
                  <a:gd name="T45" fmla="*/ 16 h 66"/>
                  <a:gd name="T46" fmla="*/ 131 w 160"/>
                  <a:gd name="T47" fmla="*/ 20 h 66"/>
                  <a:gd name="T48" fmla="*/ 130 w 160"/>
                  <a:gd name="T49" fmla="*/ 30 h 66"/>
                  <a:gd name="T50" fmla="*/ 126 w 160"/>
                  <a:gd name="T51" fmla="*/ 29 h 66"/>
                  <a:gd name="T52" fmla="*/ 124 w 160"/>
                  <a:gd name="T53" fmla="*/ 32 h 66"/>
                  <a:gd name="T54" fmla="*/ 117 w 160"/>
                  <a:gd name="T55" fmla="*/ 29 h 66"/>
                  <a:gd name="T56" fmla="*/ 110 w 160"/>
                  <a:gd name="T57" fmla="*/ 43 h 66"/>
                  <a:gd name="T58" fmla="*/ 94 w 160"/>
                  <a:gd name="T59" fmla="*/ 47 h 66"/>
                  <a:gd name="T60" fmla="*/ 94 w 160"/>
                  <a:gd name="T61" fmla="*/ 51 h 66"/>
                  <a:gd name="T62" fmla="*/ 91 w 160"/>
                  <a:gd name="T63" fmla="*/ 56 h 66"/>
                  <a:gd name="T64" fmla="*/ 87 w 160"/>
                  <a:gd name="T65" fmla="*/ 55 h 66"/>
                  <a:gd name="T66" fmla="*/ 80 w 160"/>
                  <a:gd name="T67" fmla="*/ 54 h 66"/>
                  <a:gd name="T68" fmla="*/ 0 w 160"/>
                  <a:gd name="T69" fmla="*/ 12 h 66"/>
                  <a:gd name="T70" fmla="*/ 2 w 160"/>
                  <a:gd name="T71" fmla="*/ 23 h 66"/>
                  <a:gd name="T72" fmla="*/ 5 w 160"/>
                  <a:gd name="T73" fmla="*/ 37 h 66"/>
                  <a:gd name="T74" fmla="*/ 10 w 160"/>
                  <a:gd name="T75" fmla="*/ 47 h 66"/>
                  <a:gd name="T76" fmla="*/ 18 w 160"/>
                  <a:gd name="T77" fmla="*/ 55 h 66"/>
                  <a:gd name="T78" fmla="*/ 27 w 160"/>
                  <a:gd name="T79" fmla="*/ 59 h 66"/>
                  <a:gd name="T80" fmla="*/ 34 w 160"/>
                  <a:gd name="T81" fmla="*/ 57 h 66"/>
                  <a:gd name="T82" fmla="*/ 30 w 160"/>
                  <a:gd name="T83" fmla="*/ 49 h 66"/>
                  <a:gd name="T84" fmla="*/ 27 w 160"/>
                  <a:gd name="T85" fmla="*/ 43 h 66"/>
                  <a:gd name="T86" fmla="*/ 26 w 160"/>
                  <a:gd name="T87" fmla="*/ 22 h 66"/>
                  <a:gd name="T88" fmla="*/ 20 w 160"/>
                  <a:gd name="T89" fmla="*/ 13 h 66"/>
                  <a:gd name="T90" fmla="*/ 14 w 160"/>
                  <a:gd name="T91" fmla="*/ 11 h 66"/>
                  <a:gd name="T92" fmla="*/ 11 w 160"/>
                  <a:gd name="T93" fmla="*/ 15 h 66"/>
                  <a:gd name="T94" fmla="*/ 8 w 160"/>
                  <a:gd name="T95" fmla="*/ 17 h 66"/>
                  <a:gd name="T96" fmla="*/ 3 w 160"/>
                  <a:gd name="T97" fmla="*/ 1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66">
                    <a:moveTo>
                      <a:pt x="80" y="53"/>
                    </a:moveTo>
                    <a:cubicBezTo>
                      <a:pt x="80" y="58"/>
                      <a:pt x="80" y="58"/>
                      <a:pt x="80" y="58"/>
                    </a:cubicBezTo>
                    <a:cubicBezTo>
                      <a:pt x="81" y="62"/>
                      <a:pt x="81" y="62"/>
                      <a:pt x="81" y="62"/>
                    </a:cubicBezTo>
                    <a:cubicBezTo>
                      <a:pt x="84" y="63"/>
                      <a:pt x="84" y="63"/>
                      <a:pt x="84" y="63"/>
                    </a:cubicBezTo>
                    <a:cubicBezTo>
                      <a:pt x="87" y="65"/>
                      <a:pt x="87" y="65"/>
                      <a:pt x="87" y="65"/>
                    </a:cubicBezTo>
                    <a:cubicBezTo>
                      <a:pt x="91" y="66"/>
                      <a:pt x="91" y="66"/>
                      <a:pt x="91" y="66"/>
                    </a:cubicBezTo>
                    <a:cubicBezTo>
                      <a:pt x="96" y="65"/>
                      <a:pt x="96" y="65"/>
                      <a:pt x="96" y="65"/>
                    </a:cubicBezTo>
                    <a:cubicBezTo>
                      <a:pt x="100" y="64"/>
                      <a:pt x="100" y="64"/>
                      <a:pt x="100" y="64"/>
                    </a:cubicBezTo>
                    <a:cubicBezTo>
                      <a:pt x="102" y="62"/>
                      <a:pt x="102" y="62"/>
                      <a:pt x="102" y="62"/>
                    </a:cubicBezTo>
                    <a:cubicBezTo>
                      <a:pt x="107" y="61"/>
                      <a:pt x="107" y="61"/>
                      <a:pt x="107" y="61"/>
                    </a:cubicBezTo>
                    <a:cubicBezTo>
                      <a:pt x="109" y="62"/>
                      <a:pt x="109" y="62"/>
                      <a:pt x="109" y="62"/>
                    </a:cubicBezTo>
                    <a:cubicBezTo>
                      <a:pt x="114" y="62"/>
                      <a:pt x="114" y="62"/>
                      <a:pt x="114" y="62"/>
                    </a:cubicBezTo>
                    <a:cubicBezTo>
                      <a:pt x="118" y="60"/>
                      <a:pt x="118" y="60"/>
                      <a:pt x="118" y="60"/>
                    </a:cubicBezTo>
                    <a:cubicBezTo>
                      <a:pt x="119" y="58"/>
                      <a:pt x="119" y="58"/>
                      <a:pt x="119" y="58"/>
                    </a:cubicBezTo>
                    <a:cubicBezTo>
                      <a:pt x="121" y="53"/>
                      <a:pt x="121" y="53"/>
                      <a:pt x="121" y="53"/>
                    </a:cubicBezTo>
                    <a:cubicBezTo>
                      <a:pt x="122" y="50"/>
                      <a:pt x="122" y="50"/>
                      <a:pt x="122" y="50"/>
                    </a:cubicBezTo>
                    <a:cubicBezTo>
                      <a:pt x="124" y="49"/>
                      <a:pt x="124" y="49"/>
                      <a:pt x="124" y="49"/>
                    </a:cubicBezTo>
                    <a:cubicBezTo>
                      <a:pt x="126" y="46"/>
                      <a:pt x="126" y="46"/>
                      <a:pt x="126" y="46"/>
                    </a:cubicBezTo>
                    <a:cubicBezTo>
                      <a:pt x="128" y="44"/>
                      <a:pt x="128" y="44"/>
                      <a:pt x="128" y="44"/>
                    </a:cubicBezTo>
                    <a:cubicBezTo>
                      <a:pt x="130" y="41"/>
                      <a:pt x="130" y="41"/>
                      <a:pt x="130" y="41"/>
                    </a:cubicBezTo>
                    <a:cubicBezTo>
                      <a:pt x="131" y="35"/>
                      <a:pt x="131" y="35"/>
                      <a:pt x="131" y="35"/>
                    </a:cubicBezTo>
                    <a:cubicBezTo>
                      <a:pt x="133" y="32"/>
                      <a:pt x="133" y="32"/>
                      <a:pt x="133" y="32"/>
                    </a:cubicBezTo>
                    <a:cubicBezTo>
                      <a:pt x="139" y="33"/>
                      <a:pt x="139" y="33"/>
                      <a:pt x="139" y="33"/>
                    </a:cubicBezTo>
                    <a:cubicBezTo>
                      <a:pt x="144" y="33"/>
                      <a:pt x="144" y="33"/>
                      <a:pt x="144" y="33"/>
                    </a:cubicBezTo>
                    <a:cubicBezTo>
                      <a:pt x="145" y="32"/>
                      <a:pt x="145" y="31"/>
                      <a:pt x="146" y="30"/>
                    </a:cubicBezTo>
                    <a:cubicBezTo>
                      <a:pt x="148" y="31"/>
                      <a:pt x="149" y="31"/>
                      <a:pt x="151" y="31"/>
                    </a:cubicBezTo>
                    <a:cubicBezTo>
                      <a:pt x="151" y="31"/>
                      <a:pt x="152" y="29"/>
                      <a:pt x="152" y="29"/>
                    </a:cubicBezTo>
                    <a:cubicBezTo>
                      <a:pt x="152" y="29"/>
                      <a:pt x="153" y="29"/>
                      <a:pt x="154" y="29"/>
                    </a:cubicBezTo>
                    <a:cubicBezTo>
                      <a:pt x="154" y="28"/>
                      <a:pt x="153" y="27"/>
                      <a:pt x="154" y="26"/>
                    </a:cubicBezTo>
                    <a:cubicBezTo>
                      <a:pt x="153" y="26"/>
                      <a:pt x="152" y="26"/>
                      <a:pt x="152" y="25"/>
                    </a:cubicBezTo>
                    <a:cubicBezTo>
                      <a:pt x="151" y="24"/>
                      <a:pt x="153" y="23"/>
                      <a:pt x="152" y="23"/>
                    </a:cubicBezTo>
                    <a:cubicBezTo>
                      <a:pt x="155" y="22"/>
                      <a:pt x="159" y="23"/>
                      <a:pt x="160" y="20"/>
                    </a:cubicBezTo>
                    <a:cubicBezTo>
                      <a:pt x="160" y="19"/>
                      <a:pt x="160" y="19"/>
                      <a:pt x="160" y="19"/>
                    </a:cubicBezTo>
                    <a:cubicBezTo>
                      <a:pt x="158" y="17"/>
                      <a:pt x="157" y="16"/>
                      <a:pt x="156" y="13"/>
                    </a:cubicBezTo>
                    <a:cubicBezTo>
                      <a:pt x="155" y="14"/>
                      <a:pt x="153" y="14"/>
                      <a:pt x="152" y="14"/>
                    </a:cubicBezTo>
                    <a:cubicBezTo>
                      <a:pt x="152" y="14"/>
                      <a:pt x="153" y="12"/>
                      <a:pt x="152" y="11"/>
                    </a:cubicBezTo>
                    <a:cubicBezTo>
                      <a:pt x="152" y="11"/>
                      <a:pt x="151" y="11"/>
                      <a:pt x="150" y="11"/>
                    </a:cubicBezTo>
                    <a:cubicBezTo>
                      <a:pt x="149" y="10"/>
                      <a:pt x="150" y="7"/>
                      <a:pt x="151" y="7"/>
                    </a:cubicBezTo>
                    <a:cubicBezTo>
                      <a:pt x="150" y="6"/>
                      <a:pt x="149" y="4"/>
                      <a:pt x="149" y="4"/>
                    </a:cubicBezTo>
                    <a:cubicBezTo>
                      <a:pt x="148" y="4"/>
                      <a:pt x="147" y="4"/>
                      <a:pt x="147" y="4"/>
                    </a:cubicBezTo>
                    <a:cubicBezTo>
                      <a:pt x="146" y="4"/>
                      <a:pt x="147" y="2"/>
                      <a:pt x="147" y="1"/>
                    </a:cubicBezTo>
                    <a:cubicBezTo>
                      <a:pt x="143" y="3"/>
                      <a:pt x="146" y="2"/>
                      <a:pt x="145" y="3"/>
                    </a:cubicBezTo>
                    <a:cubicBezTo>
                      <a:pt x="145" y="3"/>
                      <a:pt x="143" y="3"/>
                      <a:pt x="143" y="3"/>
                    </a:cubicBezTo>
                    <a:cubicBezTo>
                      <a:pt x="142" y="2"/>
                      <a:pt x="143" y="2"/>
                      <a:pt x="141" y="1"/>
                    </a:cubicBezTo>
                    <a:cubicBezTo>
                      <a:pt x="141" y="0"/>
                      <a:pt x="141" y="0"/>
                      <a:pt x="141" y="0"/>
                    </a:cubicBezTo>
                    <a:cubicBezTo>
                      <a:pt x="138" y="8"/>
                      <a:pt x="135" y="12"/>
                      <a:pt x="129" y="16"/>
                    </a:cubicBezTo>
                    <a:cubicBezTo>
                      <a:pt x="130" y="18"/>
                      <a:pt x="129" y="17"/>
                      <a:pt x="131" y="17"/>
                    </a:cubicBezTo>
                    <a:cubicBezTo>
                      <a:pt x="131" y="17"/>
                      <a:pt x="131" y="20"/>
                      <a:pt x="131" y="20"/>
                    </a:cubicBezTo>
                    <a:cubicBezTo>
                      <a:pt x="132" y="19"/>
                      <a:pt x="131" y="23"/>
                      <a:pt x="128" y="24"/>
                    </a:cubicBezTo>
                    <a:cubicBezTo>
                      <a:pt x="130" y="30"/>
                      <a:pt x="130" y="30"/>
                      <a:pt x="130" y="30"/>
                    </a:cubicBezTo>
                    <a:cubicBezTo>
                      <a:pt x="128" y="30"/>
                      <a:pt x="128" y="30"/>
                      <a:pt x="128" y="30"/>
                    </a:cubicBezTo>
                    <a:cubicBezTo>
                      <a:pt x="126" y="29"/>
                      <a:pt x="126" y="29"/>
                      <a:pt x="126" y="29"/>
                    </a:cubicBezTo>
                    <a:cubicBezTo>
                      <a:pt x="125" y="31"/>
                      <a:pt x="125" y="31"/>
                      <a:pt x="125" y="31"/>
                    </a:cubicBezTo>
                    <a:cubicBezTo>
                      <a:pt x="124" y="32"/>
                      <a:pt x="124" y="32"/>
                      <a:pt x="124" y="32"/>
                    </a:cubicBezTo>
                    <a:cubicBezTo>
                      <a:pt x="121" y="33"/>
                      <a:pt x="121" y="33"/>
                      <a:pt x="121" y="33"/>
                    </a:cubicBezTo>
                    <a:cubicBezTo>
                      <a:pt x="117" y="29"/>
                      <a:pt x="117" y="29"/>
                      <a:pt x="117" y="29"/>
                    </a:cubicBezTo>
                    <a:cubicBezTo>
                      <a:pt x="117" y="29"/>
                      <a:pt x="117" y="30"/>
                      <a:pt x="117" y="31"/>
                    </a:cubicBezTo>
                    <a:cubicBezTo>
                      <a:pt x="110" y="43"/>
                      <a:pt x="110" y="43"/>
                      <a:pt x="110" y="43"/>
                    </a:cubicBezTo>
                    <a:cubicBezTo>
                      <a:pt x="109" y="43"/>
                      <a:pt x="106" y="42"/>
                      <a:pt x="105" y="43"/>
                    </a:cubicBezTo>
                    <a:cubicBezTo>
                      <a:pt x="102" y="43"/>
                      <a:pt x="95" y="46"/>
                      <a:pt x="94" y="47"/>
                    </a:cubicBezTo>
                    <a:cubicBezTo>
                      <a:pt x="93" y="49"/>
                      <a:pt x="95" y="51"/>
                      <a:pt x="95" y="51"/>
                    </a:cubicBezTo>
                    <a:cubicBezTo>
                      <a:pt x="94" y="51"/>
                      <a:pt x="94" y="51"/>
                      <a:pt x="94" y="51"/>
                    </a:cubicBezTo>
                    <a:cubicBezTo>
                      <a:pt x="94" y="53"/>
                      <a:pt x="94" y="54"/>
                      <a:pt x="93" y="56"/>
                    </a:cubicBezTo>
                    <a:cubicBezTo>
                      <a:pt x="93" y="56"/>
                      <a:pt x="91" y="56"/>
                      <a:pt x="91" y="56"/>
                    </a:cubicBezTo>
                    <a:cubicBezTo>
                      <a:pt x="91" y="56"/>
                      <a:pt x="91" y="59"/>
                      <a:pt x="91" y="59"/>
                    </a:cubicBezTo>
                    <a:cubicBezTo>
                      <a:pt x="87" y="60"/>
                      <a:pt x="88" y="56"/>
                      <a:pt x="87" y="55"/>
                    </a:cubicBezTo>
                    <a:cubicBezTo>
                      <a:pt x="84" y="54"/>
                      <a:pt x="84" y="57"/>
                      <a:pt x="82" y="56"/>
                    </a:cubicBezTo>
                    <a:cubicBezTo>
                      <a:pt x="81" y="56"/>
                      <a:pt x="81" y="55"/>
                      <a:pt x="80" y="54"/>
                    </a:cubicBezTo>
                    <a:lnTo>
                      <a:pt x="80" y="53"/>
                    </a:lnTo>
                    <a:close/>
                    <a:moveTo>
                      <a:pt x="0" y="12"/>
                    </a:moveTo>
                    <a:cubicBezTo>
                      <a:pt x="0" y="14"/>
                      <a:pt x="2" y="17"/>
                      <a:pt x="2" y="19"/>
                    </a:cubicBezTo>
                    <a:cubicBezTo>
                      <a:pt x="2" y="19"/>
                      <a:pt x="1" y="22"/>
                      <a:pt x="2" y="23"/>
                    </a:cubicBezTo>
                    <a:cubicBezTo>
                      <a:pt x="2" y="25"/>
                      <a:pt x="5" y="30"/>
                      <a:pt x="5" y="33"/>
                    </a:cubicBezTo>
                    <a:cubicBezTo>
                      <a:pt x="5" y="34"/>
                      <a:pt x="4" y="35"/>
                      <a:pt x="5" y="37"/>
                    </a:cubicBezTo>
                    <a:cubicBezTo>
                      <a:pt x="5" y="37"/>
                      <a:pt x="8" y="39"/>
                      <a:pt x="9" y="41"/>
                    </a:cubicBezTo>
                    <a:cubicBezTo>
                      <a:pt x="10" y="43"/>
                      <a:pt x="9" y="45"/>
                      <a:pt x="10" y="47"/>
                    </a:cubicBezTo>
                    <a:cubicBezTo>
                      <a:pt x="10" y="49"/>
                      <a:pt x="15" y="51"/>
                      <a:pt x="17" y="52"/>
                    </a:cubicBezTo>
                    <a:cubicBezTo>
                      <a:pt x="18" y="52"/>
                      <a:pt x="18" y="54"/>
                      <a:pt x="18" y="55"/>
                    </a:cubicBezTo>
                    <a:cubicBezTo>
                      <a:pt x="21" y="57"/>
                      <a:pt x="24" y="58"/>
                      <a:pt x="27" y="60"/>
                    </a:cubicBezTo>
                    <a:cubicBezTo>
                      <a:pt x="27" y="59"/>
                      <a:pt x="27" y="59"/>
                      <a:pt x="27" y="59"/>
                    </a:cubicBezTo>
                    <a:cubicBezTo>
                      <a:pt x="28" y="58"/>
                      <a:pt x="28" y="57"/>
                      <a:pt x="29" y="57"/>
                    </a:cubicBezTo>
                    <a:cubicBezTo>
                      <a:pt x="30" y="56"/>
                      <a:pt x="32" y="57"/>
                      <a:pt x="34" y="57"/>
                    </a:cubicBezTo>
                    <a:cubicBezTo>
                      <a:pt x="33" y="55"/>
                      <a:pt x="34" y="54"/>
                      <a:pt x="34" y="53"/>
                    </a:cubicBezTo>
                    <a:cubicBezTo>
                      <a:pt x="33" y="52"/>
                      <a:pt x="31" y="50"/>
                      <a:pt x="30" y="49"/>
                    </a:cubicBezTo>
                    <a:cubicBezTo>
                      <a:pt x="30" y="48"/>
                      <a:pt x="31" y="47"/>
                      <a:pt x="30" y="46"/>
                    </a:cubicBezTo>
                    <a:cubicBezTo>
                      <a:pt x="29" y="45"/>
                      <a:pt x="27" y="45"/>
                      <a:pt x="27" y="43"/>
                    </a:cubicBezTo>
                    <a:cubicBezTo>
                      <a:pt x="26" y="40"/>
                      <a:pt x="27" y="36"/>
                      <a:pt x="28" y="35"/>
                    </a:cubicBezTo>
                    <a:cubicBezTo>
                      <a:pt x="28" y="29"/>
                      <a:pt x="28" y="26"/>
                      <a:pt x="26" y="22"/>
                    </a:cubicBezTo>
                    <a:cubicBezTo>
                      <a:pt x="26" y="21"/>
                      <a:pt x="24" y="21"/>
                      <a:pt x="24" y="21"/>
                    </a:cubicBezTo>
                    <a:cubicBezTo>
                      <a:pt x="22" y="17"/>
                      <a:pt x="23" y="15"/>
                      <a:pt x="20" y="13"/>
                    </a:cubicBezTo>
                    <a:cubicBezTo>
                      <a:pt x="19" y="11"/>
                      <a:pt x="17" y="11"/>
                      <a:pt x="16" y="9"/>
                    </a:cubicBezTo>
                    <a:cubicBezTo>
                      <a:pt x="14" y="11"/>
                      <a:pt x="14" y="11"/>
                      <a:pt x="14" y="11"/>
                    </a:cubicBezTo>
                    <a:cubicBezTo>
                      <a:pt x="13" y="15"/>
                      <a:pt x="13" y="15"/>
                      <a:pt x="13" y="15"/>
                    </a:cubicBezTo>
                    <a:cubicBezTo>
                      <a:pt x="11" y="15"/>
                      <a:pt x="11" y="15"/>
                      <a:pt x="11" y="15"/>
                    </a:cubicBezTo>
                    <a:cubicBezTo>
                      <a:pt x="10" y="17"/>
                      <a:pt x="10" y="17"/>
                      <a:pt x="10" y="17"/>
                    </a:cubicBezTo>
                    <a:cubicBezTo>
                      <a:pt x="8" y="17"/>
                      <a:pt x="8" y="17"/>
                      <a:pt x="8" y="17"/>
                    </a:cubicBezTo>
                    <a:cubicBezTo>
                      <a:pt x="8" y="13"/>
                      <a:pt x="8" y="13"/>
                      <a:pt x="8" y="13"/>
                    </a:cubicBezTo>
                    <a:cubicBezTo>
                      <a:pt x="3" y="10"/>
                      <a:pt x="3" y="10"/>
                      <a:pt x="3" y="10"/>
                    </a:cubicBezTo>
                    <a:cubicBezTo>
                      <a:pt x="0" y="12"/>
                      <a:pt x="0" y="12"/>
                      <a:pt x="0" y="1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75" name="Freeform 154">
                <a:extLst>
                  <a:ext uri="{FF2B5EF4-FFF2-40B4-BE49-F238E27FC236}">
                    <a16:creationId xmlns:a16="http://schemas.microsoft.com/office/drawing/2014/main" id="{5D7B729E-2DBA-51FA-FBF5-AC3FE27A2CFF}"/>
                  </a:ext>
                </a:extLst>
              </p:cNvPr>
              <p:cNvSpPr>
                <a:spLocks noEditPoints="1"/>
              </p:cNvSpPr>
              <p:nvPr/>
            </p:nvSpPr>
            <p:spPr bwMode="auto">
              <a:xfrm>
                <a:off x="4814" y="2109"/>
                <a:ext cx="313" cy="130"/>
              </a:xfrm>
              <a:custGeom>
                <a:avLst/>
                <a:gdLst>
                  <a:gd name="T0" fmla="*/ 80 w 160"/>
                  <a:gd name="T1" fmla="*/ 58 h 66"/>
                  <a:gd name="T2" fmla="*/ 84 w 160"/>
                  <a:gd name="T3" fmla="*/ 63 h 66"/>
                  <a:gd name="T4" fmla="*/ 91 w 160"/>
                  <a:gd name="T5" fmla="*/ 66 h 66"/>
                  <a:gd name="T6" fmla="*/ 100 w 160"/>
                  <a:gd name="T7" fmla="*/ 64 h 66"/>
                  <a:gd name="T8" fmla="*/ 107 w 160"/>
                  <a:gd name="T9" fmla="*/ 61 h 66"/>
                  <a:gd name="T10" fmla="*/ 114 w 160"/>
                  <a:gd name="T11" fmla="*/ 62 h 66"/>
                  <a:gd name="T12" fmla="*/ 119 w 160"/>
                  <a:gd name="T13" fmla="*/ 58 h 66"/>
                  <a:gd name="T14" fmla="*/ 122 w 160"/>
                  <a:gd name="T15" fmla="*/ 50 h 66"/>
                  <a:gd name="T16" fmla="*/ 126 w 160"/>
                  <a:gd name="T17" fmla="*/ 46 h 66"/>
                  <a:gd name="T18" fmla="*/ 130 w 160"/>
                  <a:gd name="T19" fmla="*/ 41 h 66"/>
                  <a:gd name="T20" fmla="*/ 133 w 160"/>
                  <a:gd name="T21" fmla="*/ 32 h 66"/>
                  <a:gd name="T22" fmla="*/ 144 w 160"/>
                  <a:gd name="T23" fmla="*/ 33 h 66"/>
                  <a:gd name="T24" fmla="*/ 151 w 160"/>
                  <a:gd name="T25" fmla="*/ 31 h 66"/>
                  <a:gd name="T26" fmla="*/ 154 w 160"/>
                  <a:gd name="T27" fmla="*/ 29 h 66"/>
                  <a:gd name="T28" fmla="*/ 152 w 160"/>
                  <a:gd name="T29" fmla="*/ 25 h 66"/>
                  <a:gd name="T30" fmla="*/ 160 w 160"/>
                  <a:gd name="T31" fmla="*/ 20 h 66"/>
                  <a:gd name="T32" fmla="*/ 156 w 160"/>
                  <a:gd name="T33" fmla="*/ 13 h 66"/>
                  <a:gd name="T34" fmla="*/ 152 w 160"/>
                  <a:gd name="T35" fmla="*/ 11 h 66"/>
                  <a:gd name="T36" fmla="*/ 151 w 160"/>
                  <a:gd name="T37" fmla="*/ 7 h 66"/>
                  <a:gd name="T38" fmla="*/ 147 w 160"/>
                  <a:gd name="T39" fmla="*/ 4 h 66"/>
                  <a:gd name="T40" fmla="*/ 145 w 160"/>
                  <a:gd name="T41" fmla="*/ 3 h 66"/>
                  <a:gd name="T42" fmla="*/ 141 w 160"/>
                  <a:gd name="T43" fmla="*/ 1 h 66"/>
                  <a:gd name="T44" fmla="*/ 129 w 160"/>
                  <a:gd name="T45" fmla="*/ 16 h 66"/>
                  <a:gd name="T46" fmla="*/ 131 w 160"/>
                  <a:gd name="T47" fmla="*/ 20 h 66"/>
                  <a:gd name="T48" fmla="*/ 130 w 160"/>
                  <a:gd name="T49" fmla="*/ 30 h 66"/>
                  <a:gd name="T50" fmla="*/ 126 w 160"/>
                  <a:gd name="T51" fmla="*/ 29 h 66"/>
                  <a:gd name="T52" fmla="*/ 124 w 160"/>
                  <a:gd name="T53" fmla="*/ 32 h 66"/>
                  <a:gd name="T54" fmla="*/ 117 w 160"/>
                  <a:gd name="T55" fmla="*/ 29 h 66"/>
                  <a:gd name="T56" fmla="*/ 110 w 160"/>
                  <a:gd name="T57" fmla="*/ 43 h 66"/>
                  <a:gd name="T58" fmla="*/ 94 w 160"/>
                  <a:gd name="T59" fmla="*/ 47 h 66"/>
                  <a:gd name="T60" fmla="*/ 94 w 160"/>
                  <a:gd name="T61" fmla="*/ 51 h 66"/>
                  <a:gd name="T62" fmla="*/ 91 w 160"/>
                  <a:gd name="T63" fmla="*/ 56 h 66"/>
                  <a:gd name="T64" fmla="*/ 87 w 160"/>
                  <a:gd name="T65" fmla="*/ 55 h 66"/>
                  <a:gd name="T66" fmla="*/ 80 w 160"/>
                  <a:gd name="T67" fmla="*/ 54 h 66"/>
                  <a:gd name="T68" fmla="*/ 0 w 160"/>
                  <a:gd name="T69" fmla="*/ 12 h 66"/>
                  <a:gd name="T70" fmla="*/ 2 w 160"/>
                  <a:gd name="T71" fmla="*/ 23 h 66"/>
                  <a:gd name="T72" fmla="*/ 5 w 160"/>
                  <a:gd name="T73" fmla="*/ 37 h 66"/>
                  <a:gd name="T74" fmla="*/ 10 w 160"/>
                  <a:gd name="T75" fmla="*/ 47 h 66"/>
                  <a:gd name="T76" fmla="*/ 18 w 160"/>
                  <a:gd name="T77" fmla="*/ 55 h 66"/>
                  <a:gd name="T78" fmla="*/ 27 w 160"/>
                  <a:gd name="T79" fmla="*/ 59 h 66"/>
                  <a:gd name="T80" fmla="*/ 34 w 160"/>
                  <a:gd name="T81" fmla="*/ 57 h 66"/>
                  <a:gd name="T82" fmla="*/ 30 w 160"/>
                  <a:gd name="T83" fmla="*/ 49 h 66"/>
                  <a:gd name="T84" fmla="*/ 27 w 160"/>
                  <a:gd name="T85" fmla="*/ 43 h 66"/>
                  <a:gd name="T86" fmla="*/ 26 w 160"/>
                  <a:gd name="T87" fmla="*/ 22 h 66"/>
                  <a:gd name="T88" fmla="*/ 20 w 160"/>
                  <a:gd name="T89" fmla="*/ 13 h 66"/>
                  <a:gd name="T90" fmla="*/ 14 w 160"/>
                  <a:gd name="T91" fmla="*/ 11 h 66"/>
                  <a:gd name="T92" fmla="*/ 11 w 160"/>
                  <a:gd name="T93" fmla="*/ 15 h 66"/>
                  <a:gd name="T94" fmla="*/ 8 w 160"/>
                  <a:gd name="T95" fmla="*/ 17 h 66"/>
                  <a:gd name="T96" fmla="*/ 3 w 160"/>
                  <a:gd name="T97" fmla="*/ 1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66">
                    <a:moveTo>
                      <a:pt x="80" y="53"/>
                    </a:moveTo>
                    <a:cubicBezTo>
                      <a:pt x="80" y="58"/>
                      <a:pt x="80" y="58"/>
                      <a:pt x="80" y="58"/>
                    </a:cubicBezTo>
                    <a:cubicBezTo>
                      <a:pt x="81" y="62"/>
                      <a:pt x="81" y="62"/>
                      <a:pt x="81" y="62"/>
                    </a:cubicBezTo>
                    <a:cubicBezTo>
                      <a:pt x="84" y="63"/>
                      <a:pt x="84" y="63"/>
                      <a:pt x="84" y="63"/>
                    </a:cubicBezTo>
                    <a:cubicBezTo>
                      <a:pt x="87" y="65"/>
                      <a:pt x="87" y="65"/>
                      <a:pt x="87" y="65"/>
                    </a:cubicBezTo>
                    <a:cubicBezTo>
                      <a:pt x="91" y="66"/>
                      <a:pt x="91" y="66"/>
                      <a:pt x="91" y="66"/>
                    </a:cubicBezTo>
                    <a:cubicBezTo>
                      <a:pt x="96" y="65"/>
                      <a:pt x="96" y="65"/>
                      <a:pt x="96" y="65"/>
                    </a:cubicBezTo>
                    <a:cubicBezTo>
                      <a:pt x="100" y="64"/>
                      <a:pt x="100" y="64"/>
                      <a:pt x="100" y="64"/>
                    </a:cubicBezTo>
                    <a:cubicBezTo>
                      <a:pt x="102" y="62"/>
                      <a:pt x="102" y="62"/>
                      <a:pt x="102" y="62"/>
                    </a:cubicBezTo>
                    <a:cubicBezTo>
                      <a:pt x="107" y="61"/>
                      <a:pt x="107" y="61"/>
                      <a:pt x="107" y="61"/>
                    </a:cubicBezTo>
                    <a:cubicBezTo>
                      <a:pt x="109" y="62"/>
                      <a:pt x="109" y="62"/>
                      <a:pt x="109" y="62"/>
                    </a:cubicBezTo>
                    <a:cubicBezTo>
                      <a:pt x="114" y="62"/>
                      <a:pt x="114" y="62"/>
                      <a:pt x="114" y="62"/>
                    </a:cubicBezTo>
                    <a:cubicBezTo>
                      <a:pt x="118" y="60"/>
                      <a:pt x="118" y="60"/>
                      <a:pt x="118" y="60"/>
                    </a:cubicBezTo>
                    <a:cubicBezTo>
                      <a:pt x="119" y="58"/>
                      <a:pt x="119" y="58"/>
                      <a:pt x="119" y="58"/>
                    </a:cubicBezTo>
                    <a:cubicBezTo>
                      <a:pt x="121" y="53"/>
                      <a:pt x="121" y="53"/>
                      <a:pt x="121" y="53"/>
                    </a:cubicBezTo>
                    <a:cubicBezTo>
                      <a:pt x="122" y="50"/>
                      <a:pt x="122" y="50"/>
                      <a:pt x="122" y="50"/>
                    </a:cubicBezTo>
                    <a:cubicBezTo>
                      <a:pt x="124" y="49"/>
                      <a:pt x="124" y="49"/>
                      <a:pt x="124" y="49"/>
                    </a:cubicBezTo>
                    <a:cubicBezTo>
                      <a:pt x="126" y="46"/>
                      <a:pt x="126" y="46"/>
                      <a:pt x="126" y="46"/>
                    </a:cubicBezTo>
                    <a:cubicBezTo>
                      <a:pt x="128" y="44"/>
                      <a:pt x="128" y="44"/>
                      <a:pt x="128" y="44"/>
                    </a:cubicBezTo>
                    <a:cubicBezTo>
                      <a:pt x="130" y="41"/>
                      <a:pt x="130" y="41"/>
                      <a:pt x="130" y="41"/>
                    </a:cubicBezTo>
                    <a:cubicBezTo>
                      <a:pt x="131" y="35"/>
                      <a:pt x="131" y="35"/>
                      <a:pt x="131" y="35"/>
                    </a:cubicBezTo>
                    <a:cubicBezTo>
                      <a:pt x="133" y="32"/>
                      <a:pt x="133" y="32"/>
                      <a:pt x="133" y="32"/>
                    </a:cubicBezTo>
                    <a:cubicBezTo>
                      <a:pt x="139" y="33"/>
                      <a:pt x="139" y="33"/>
                      <a:pt x="139" y="33"/>
                    </a:cubicBezTo>
                    <a:cubicBezTo>
                      <a:pt x="144" y="33"/>
                      <a:pt x="144" y="33"/>
                      <a:pt x="144" y="33"/>
                    </a:cubicBezTo>
                    <a:cubicBezTo>
                      <a:pt x="145" y="32"/>
                      <a:pt x="145" y="31"/>
                      <a:pt x="146" y="30"/>
                    </a:cubicBezTo>
                    <a:cubicBezTo>
                      <a:pt x="148" y="31"/>
                      <a:pt x="149" y="31"/>
                      <a:pt x="151" y="31"/>
                    </a:cubicBezTo>
                    <a:cubicBezTo>
                      <a:pt x="151" y="31"/>
                      <a:pt x="152" y="29"/>
                      <a:pt x="152" y="29"/>
                    </a:cubicBezTo>
                    <a:cubicBezTo>
                      <a:pt x="152" y="29"/>
                      <a:pt x="153" y="29"/>
                      <a:pt x="154" y="29"/>
                    </a:cubicBezTo>
                    <a:cubicBezTo>
                      <a:pt x="154" y="28"/>
                      <a:pt x="153" y="27"/>
                      <a:pt x="154" y="26"/>
                    </a:cubicBezTo>
                    <a:cubicBezTo>
                      <a:pt x="153" y="26"/>
                      <a:pt x="152" y="26"/>
                      <a:pt x="152" y="25"/>
                    </a:cubicBezTo>
                    <a:cubicBezTo>
                      <a:pt x="151" y="24"/>
                      <a:pt x="153" y="23"/>
                      <a:pt x="152" y="23"/>
                    </a:cubicBezTo>
                    <a:cubicBezTo>
                      <a:pt x="155" y="22"/>
                      <a:pt x="159" y="23"/>
                      <a:pt x="160" y="20"/>
                    </a:cubicBezTo>
                    <a:cubicBezTo>
                      <a:pt x="160" y="19"/>
                      <a:pt x="160" y="19"/>
                      <a:pt x="160" y="19"/>
                    </a:cubicBezTo>
                    <a:cubicBezTo>
                      <a:pt x="158" y="17"/>
                      <a:pt x="157" y="16"/>
                      <a:pt x="156" y="13"/>
                    </a:cubicBezTo>
                    <a:cubicBezTo>
                      <a:pt x="155" y="14"/>
                      <a:pt x="153" y="14"/>
                      <a:pt x="152" y="14"/>
                    </a:cubicBezTo>
                    <a:cubicBezTo>
                      <a:pt x="152" y="14"/>
                      <a:pt x="153" y="12"/>
                      <a:pt x="152" y="11"/>
                    </a:cubicBezTo>
                    <a:cubicBezTo>
                      <a:pt x="152" y="11"/>
                      <a:pt x="151" y="11"/>
                      <a:pt x="150" y="11"/>
                    </a:cubicBezTo>
                    <a:cubicBezTo>
                      <a:pt x="149" y="10"/>
                      <a:pt x="150" y="7"/>
                      <a:pt x="151" y="7"/>
                    </a:cubicBezTo>
                    <a:cubicBezTo>
                      <a:pt x="150" y="6"/>
                      <a:pt x="149" y="4"/>
                      <a:pt x="149" y="4"/>
                    </a:cubicBezTo>
                    <a:cubicBezTo>
                      <a:pt x="148" y="4"/>
                      <a:pt x="147" y="4"/>
                      <a:pt x="147" y="4"/>
                    </a:cubicBezTo>
                    <a:cubicBezTo>
                      <a:pt x="146" y="4"/>
                      <a:pt x="147" y="2"/>
                      <a:pt x="147" y="1"/>
                    </a:cubicBezTo>
                    <a:cubicBezTo>
                      <a:pt x="143" y="3"/>
                      <a:pt x="146" y="2"/>
                      <a:pt x="145" y="3"/>
                    </a:cubicBezTo>
                    <a:cubicBezTo>
                      <a:pt x="145" y="3"/>
                      <a:pt x="143" y="3"/>
                      <a:pt x="143" y="3"/>
                    </a:cubicBezTo>
                    <a:cubicBezTo>
                      <a:pt x="142" y="2"/>
                      <a:pt x="143" y="2"/>
                      <a:pt x="141" y="1"/>
                    </a:cubicBezTo>
                    <a:cubicBezTo>
                      <a:pt x="141" y="0"/>
                      <a:pt x="141" y="0"/>
                      <a:pt x="141" y="0"/>
                    </a:cubicBezTo>
                    <a:cubicBezTo>
                      <a:pt x="138" y="8"/>
                      <a:pt x="135" y="12"/>
                      <a:pt x="129" y="16"/>
                    </a:cubicBezTo>
                    <a:cubicBezTo>
                      <a:pt x="130" y="18"/>
                      <a:pt x="129" y="17"/>
                      <a:pt x="131" y="17"/>
                    </a:cubicBezTo>
                    <a:cubicBezTo>
                      <a:pt x="131" y="17"/>
                      <a:pt x="131" y="20"/>
                      <a:pt x="131" y="20"/>
                    </a:cubicBezTo>
                    <a:cubicBezTo>
                      <a:pt x="132" y="19"/>
                      <a:pt x="131" y="23"/>
                      <a:pt x="128" y="24"/>
                    </a:cubicBezTo>
                    <a:cubicBezTo>
                      <a:pt x="130" y="30"/>
                      <a:pt x="130" y="30"/>
                      <a:pt x="130" y="30"/>
                    </a:cubicBezTo>
                    <a:cubicBezTo>
                      <a:pt x="128" y="30"/>
                      <a:pt x="128" y="30"/>
                      <a:pt x="128" y="30"/>
                    </a:cubicBezTo>
                    <a:cubicBezTo>
                      <a:pt x="126" y="29"/>
                      <a:pt x="126" y="29"/>
                      <a:pt x="126" y="29"/>
                    </a:cubicBezTo>
                    <a:cubicBezTo>
                      <a:pt x="125" y="31"/>
                      <a:pt x="125" y="31"/>
                      <a:pt x="125" y="31"/>
                    </a:cubicBezTo>
                    <a:cubicBezTo>
                      <a:pt x="124" y="32"/>
                      <a:pt x="124" y="32"/>
                      <a:pt x="124" y="32"/>
                    </a:cubicBezTo>
                    <a:cubicBezTo>
                      <a:pt x="121" y="33"/>
                      <a:pt x="121" y="33"/>
                      <a:pt x="121" y="33"/>
                    </a:cubicBezTo>
                    <a:cubicBezTo>
                      <a:pt x="117" y="29"/>
                      <a:pt x="117" y="29"/>
                      <a:pt x="117" y="29"/>
                    </a:cubicBezTo>
                    <a:cubicBezTo>
                      <a:pt x="117" y="29"/>
                      <a:pt x="117" y="30"/>
                      <a:pt x="117" y="31"/>
                    </a:cubicBezTo>
                    <a:cubicBezTo>
                      <a:pt x="110" y="43"/>
                      <a:pt x="110" y="43"/>
                      <a:pt x="110" y="43"/>
                    </a:cubicBezTo>
                    <a:cubicBezTo>
                      <a:pt x="109" y="43"/>
                      <a:pt x="106" y="42"/>
                      <a:pt x="105" y="43"/>
                    </a:cubicBezTo>
                    <a:cubicBezTo>
                      <a:pt x="102" y="43"/>
                      <a:pt x="95" y="46"/>
                      <a:pt x="94" y="47"/>
                    </a:cubicBezTo>
                    <a:cubicBezTo>
                      <a:pt x="93" y="49"/>
                      <a:pt x="95" y="51"/>
                      <a:pt x="95" y="51"/>
                    </a:cubicBezTo>
                    <a:cubicBezTo>
                      <a:pt x="94" y="51"/>
                      <a:pt x="94" y="51"/>
                      <a:pt x="94" y="51"/>
                    </a:cubicBezTo>
                    <a:cubicBezTo>
                      <a:pt x="94" y="53"/>
                      <a:pt x="94" y="54"/>
                      <a:pt x="93" y="56"/>
                    </a:cubicBezTo>
                    <a:cubicBezTo>
                      <a:pt x="93" y="56"/>
                      <a:pt x="91" y="56"/>
                      <a:pt x="91" y="56"/>
                    </a:cubicBezTo>
                    <a:cubicBezTo>
                      <a:pt x="91" y="56"/>
                      <a:pt x="91" y="59"/>
                      <a:pt x="91" y="59"/>
                    </a:cubicBezTo>
                    <a:cubicBezTo>
                      <a:pt x="87" y="60"/>
                      <a:pt x="88" y="56"/>
                      <a:pt x="87" y="55"/>
                    </a:cubicBezTo>
                    <a:cubicBezTo>
                      <a:pt x="84" y="54"/>
                      <a:pt x="84" y="57"/>
                      <a:pt x="82" y="56"/>
                    </a:cubicBezTo>
                    <a:cubicBezTo>
                      <a:pt x="81" y="56"/>
                      <a:pt x="81" y="55"/>
                      <a:pt x="80" y="54"/>
                    </a:cubicBezTo>
                    <a:lnTo>
                      <a:pt x="80" y="53"/>
                    </a:lnTo>
                    <a:close/>
                    <a:moveTo>
                      <a:pt x="0" y="12"/>
                    </a:moveTo>
                    <a:cubicBezTo>
                      <a:pt x="0" y="14"/>
                      <a:pt x="2" y="17"/>
                      <a:pt x="2" y="19"/>
                    </a:cubicBezTo>
                    <a:cubicBezTo>
                      <a:pt x="2" y="19"/>
                      <a:pt x="1" y="22"/>
                      <a:pt x="2" y="23"/>
                    </a:cubicBezTo>
                    <a:cubicBezTo>
                      <a:pt x="2" y="25"/>
                      <a:pt x="5" y="30"/>
                      <a:pt x="5" y="33"/>
                    </a:cubicBezTo>
                    <a:cubicBezTo>
                      <a:pt x="5" y="34"/>
                      <a:pt x="4" y="35"/>
                      <a:pt x="5" y="37"/>
                    </a:cubicBezTo>
                    <a:cubicBezTo>
                      <a:pt x="5" y="37"/>
                      <a:pt x="8" y="39"/>
                      <a:pt x="9" y="41"/>
                    </a:cubicBezTo>
                    <a:cubicBezTo>
                      <a:pt x="10" y="43"/>
                      <a:pt x="9" y="45"/>
                      <a:pt x="10" y="47"/>
                    </a:cubicBezTo>
                    <a:cubicBezTo>
                      <a:pt x="10" y="49"/>
                      <a:pt x="15" y="51"/>
                      <a:pt x="17" y="52"/>
                    </a:cubicBezTo>
                    <a:cubicBezTo>
                      <a:pt x="18" y="52"/>
                      <a:pt x="18" y="54"/>
                      <a:pt x="18" y="55"/>
                    </a:cubicBezTo>
                    <a:cubicBezTo>
                      <a:pt x="21" y="57"/>
                      <a:pt x="24" y="58"/>
                      <a:pt x="27" y="60"/>
                    </a:cubicBezTo>
                    <a:cubicBezTo>
                      <a:pt x="27" y="59"/>
                      <a:pt x="27" y="59"/>
                      <a:pt x="27" y="59"/>
                    </a:cubicBezTo>
                    <a:cubicBezTo>
                      <a:pt x="28" y="58"/>
                      <a:pt x="28" y="57"/>
                      <a:pt x="29" y="57"/>
                    </a:cubicBezTo>
                    <a:cubicBezTo>
                      <a:pt x="30" y="56"/>
                      <a:pt x="32" y="57"/>
                      <a:pt x="34" y="57"/>
                    </a:cubicBezTo>
                    <a:cubicBezTo>
                      <a:pt x="33" y="55"/>
                      <a:pt x="34" y="54"/>
                      <a:pt x="34" y="53"/>
                    </a:cubicBezTo>
                    <a:cubicBezTo>
                      <a:pt x="33" y="52"/>
                      <a:pt x="31" y="50"/>
                      <a:pt x="30" y="49"/>
                    </a:cubicBezTo>
                    <a:cubicBezTo>
                      <a:pt x="30" y="48"/>
                      <a:pt x="31" y="47"/>
                      <a:pt x="30" y="46"/>
                    </a:cubicBezTo>
                    <a:cubicBezTo>
                      <a:pt x="29" y="45"/>
                      <a:pt x="27" y="45"/>
                      <a:pt x="27" y="43"/>
                    </a:cubicBezTo>
                    <a:cubicBezTo>
                      <a:pt x="26" y="40"/>
                      <a:pt x="27" y="36"/>
                      <a:pt x="28" y="35"/>
                    </a:cubicBezTo>
                    <a:cubicBezTo>
                      <a:pt x="28" y="29"/>
                      <a:pt x="28" y="26"/>
                      <a:pt x="26" y="22"/>
                    </a:cubicBezTo>
                    <a:cubicBezTo>
                      <a:pt x="26" y="21"/>
                      <a:pt x="24" y="21"/>
                      <a:pt x="24" y="21"/>
                    </a:cubicBezTo>
                    <a:cubicBezTo>
                      <a:pt x="22" y="17"/>
                      <a:pt x="23" y="15"/>
                      <a:pt x="20" y="13"/>
                    </a:cubicBezTo>
                    <a:cubicBezTo>
                      <a:pt x="19" y="11"/>
                      <a:pt x="17" y="11"/>
                      <a:pt x="16" y="9"/>
                    </a:cubicBezTo>
                    <a:cubicBezTo>
                      <a:pt x="14" y="11"/>
                      <a:pt x="14" y="11"/>
                      <a:pt x="14" y="11"/>
                    </a:cubicBezTo>
                    <a:cubicBezTo>
                      <a:pt x="13" y="15"/>
                      <a:pt x="13" y="15"/>
                      <a:pt x="13" y="15"/>
                    </a:cubicBezTo>
                    <a:cubicBezTo>
                      <a:pt x="11" y="15"/>
                      <a:pt x="11" y="15"/>
                      <a:pt x="11" y="15"/>
                    </a:cubicBezTo>
                    <a:cubicBezTo>
                      <a:pt x="10" y="17"/>
                      <a:pt x="10" y="17"/>
                      <a:pt x="10" y="17"/>
                    </a:cubicBezTo>
                    <a:cubicBezTo>
                      <a:pt x="8" y="17"/>
                      <a:pt x="8" y="17"/>
                      <a:pt x="8" y="17"/>
                    </a:cubicBezTo>
                    <a:cubicBezTo>
                      <a:pt x="8" y="13"/>
                      <a:pt x="8" y="13"/>
                      <a:pt x="8" y="13"/>
                    </a:cubicBezTo>
                    <a:cubicBezTo>
                      <a:pt x="3" y="10"/>
                      <a:pt x="3" y="10"/>
                      <a:pt x="3" y="10"/>
                    </a:cubicBezTo>
                    <a:cubicBezTo>
                      <a:pt x="0" y="12"/>
                      <a:pt x="0" y="12"/>
                      <a:pt x="0" y="1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76" name="Freeform 155">
                <a:extLst>
                  <a:ext uri="{FF2B5EF4-FFF2-40B4-BE49-F238E27FC236}">
                    <a16:creationId xmlns:a16="http://schemas.microsoft.com/office/drawing/2014/main" id="{263D50D7-69FB-4632-01E8-C506CBB1DFCF}"/>
                  </a:ext>
                </a:extLst>
              </p:cNvPr>
              <p:cNvSpPr>
                <a:spLocks/>
              </p:cNvSpPr>
              <p:nvPr/>
            </p:nvSpPr>
            <p:spPr bwMode="auto">
              <a:xfrm>
                <a:off x="3661" y="2453"/>
                <a:ext cx="60" cy="163"/>
              </a:xfrm>
              <a:custGeom>
                <a:avLst/>
                <a:gdLst>
                  <a:gd name="T0" fmla="*/ 16 w 31"/>
                  <a:gd name="T1" fmla="*/ 2 h 83"/>
                  <a:gd name="T2" fmla="*/ 15 w 31"/>
                  <a:gd name="T3" fmla="*/ 2 h 83"/>
                  <a:gd name="T4" fmla="*/ 6 w 31"/>
                  <a:gd name="T5" fmla="*/ 0 h 83"/>
                  <a:gd name="T6" fmla="*/ 9 w 31"/>
                  <a:gd name="T7" fmla="*/ 5 h 83"/>
                  <a:gd name="T8" fmla="*/ 10 w 31"/>
                  <a:gd name="T9" fmla="*/ 11 h 83"/>
                  <a:gd name="T10" fmla="*/ 8 w 31"/>
                  <a:gd name="T11" fmla="*/ 16 h 83"/>
                  <a:gd name="T12" fmla="*/ 5 w 31"/>
                  <a:gd name="T13" fmla="*/ 20 h 83"/>
                  <a:gd name="T14" fmla="*/ 6 w 31"/>
                  <a:gd name="T15" fmla="*/ 27 h 83"/>
                  <a:gd name="T16" fmla="*/ 8 w 31"/>
                  <a:gd name="T17" fmla="*/ 29 h 83"/>
                  <a:gd name="T18" fmla="*/ 3 w 31"/>
                  <a:gd name="T19" fmla="*/ 34 h 83"/>
                  <a:gd name="T20" fmla="*/ 2 w 31"/>
                  <a:gd name="T21" fmla="*/ 42 h 83"/>
                  <a:gd name="T22" fmla="*/ 1 w 31"/>
                  <a:gd name="T23" fmla="*/ 47 h 83"/>
                  <a:gd name="T24" fmla="*/ 2 w 31"/>
                  <a:gd name="T25" fmla="*/ 53 h 83"/>
                  <a:gd name="T26" fmla="*/ 6 w 31"/>
                  <a:gd name="T27" fmla="*/ 56 h 83"/>
                  <a:gd name="T28" fmla="*/ 7 w 31"/>
                  <a:gd name="T29" fmla="*/ 59 h 83"/>
                  <a:gd name="T30" fmla="*/ 13 w 31"/>
                  <a:gd name="T31" fmla="*/ 57 h 83"/>
                  <a:gd name="T32" fmla="*/ 15 w 31"/>
                  <a:gd name="T33" fmla="*/ 61 h 83"/>
                  <a:gd name="T34" fmla="*/ 14 w 31"/>
                  <a:gd name="T35" fmla="*/ 68 h 83"/>
                  <a:gd name="T36" fmla="*/ 13 w 31"/>
                  <a:gd name="T37" fmla="*/ 72 h 83"/>
                  <a:gd name="T38" fmla="*/ 19 w 31"/>
                  <a:gd name="T39" fmla="*/ 77 h 83"/>
                  <a:gd name="T40" fmla="*/ 21 w 31"/>
                  <a:gd name="T41" fmla="*/ 78 h 83"/>
                  <a:gd name="T42" fmla="*/ 23 w 31"/>
                  <a:gd name="T43" fmla="*/ 82 h 83"/>
                  <a:gd name="T44" fmla="*/ 25 w 31"/>
                  <a:gd name="T45" fmla="*/ 78 h 83"/>
                  <a:gd name="T46" fmla="*/ 25 w 31"/>
                  <a:gd name="T47" fmla="*/ 70 h 83"/>
                  <a:gd name="T48" fmla="*/ 30 w 31"/>
                  <a:gd name="T49" fmla="*/ 68 h 83"/>
                  <a:gd name="T50" fmla="*/ 29 w 31"/>
                  <a:gd name="T51" fmla="*/ 63 h 83"/>
                  <a:gd name="T52" fmla="*/ 29 w 31"/>
                  <a:gd name="T53" fmla="*/ 56 h 83"/>
                  <a:gd name="T54" fmla="*/ 26 w 31"/>
                  <a:gd name="T55" fmla="*/ 52 h 83"/>
                  <a:gd name="T56" fmla="*/ 24 w 31"/>
                  <a:gd name="T57" fmla="*/ 46 h 83"/>
                  <a:gd name="T58" fmla="*/ 22 w 31"/>
                  <a:gd name="T59" fmla="*/ 45 h 83"/>
                  <a:gd name="T60" fmla="*/ 23 w 31"/>
                  <a:gd name="T61" fmla="*/ 46 h 83"/>
                  <a:gd name="T62" fmla="*/ 24 w 31"/>
                  <a:gd name="T63" fmla="*/ 47 h 83"/>
                  <a:gd name="T64" fmla="*/ 24 w 31"/>
                  <a:gd name="T65" fmla="*/ 50 h 83"/>
                  <a:gd name="T66" fmla="*/ 21 w 31"/>
                  <a:gd name="T67" fmla="*/ 48 h 83"/>
                  <a:gd name="T68" fmla="*/ 19 w 31"/>
                  <a:gd name="T69" fmla="*/ 49 h 83"/>
                  <a:gd name="T70" fmla="*/ 19 w 31"/>
                  <a:gd name="T71" fmla="*/ 44 h 83"/>
                  <a:gd name="T72" fmla="*/ 17 w 31"/>
                  <a:gd name="T73" fmla="*/ 42 h 83"/>
                  <a:gd name="T74" fmla="*/ 18 w 31"/>
                  <a:gd name="T75" fmla="*/ 38 h 83"/>
                  <a:gd name="T76" fmla="*/ 17 w 31"/>
                  <a:gd name="T77" fmla="*/ 34 h 83"/>
                  <a:gd name="T78" fmla="*/ 17 w 31"/>
                  <a:gd name="T79" fmla="*/ 28 h 83"/>
                  <a:gd name="T80" fmla="*/ 15 w 31"/>
                  <a:gd name="T81" fmla="*/ 28 h 83"/>
                  <a:gd name="T82" fmla="*/ 15 w 31"/>
                  <a:gd name="T83" fmla="*/ 26 h 83"/>
                  <a:gd name="T84" fmla="*/ 17 w 31"/>
                  <a:gd name="T85" fmla="*/ 21 h 83"/>
                  <a:gd name="T86" fmla="*/ 17 w 31"/>
                  <a:gd name="T87" fmla="*/ 7 h 83"/>
                  <a:gd name="T88" fmla="*/ 16 w 31"/>
                  <a:gd name="T89" fmla="*/ 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 h="83">
                    <a:moveTo>
                      <a:pt x="16" y="2"/>
                    </a:moveTo>
                    <a:cubicBezTo>
                      <a:pt x="15" y="2"/>
                      <a:pt x="15" y="2"/>
                      <a:pt x="15" y="2"/>
                    </a:cubicBezTo>
                    <a:cubicBezTo>
                      <a:pt x="6" y="0"/>
                      <a:pt x="6" y="0"/>
                      <a:pt x="6" y="0"/>
                    </a:cubicBezTo>
                    <a:cubicBezTo>
                      <a:pt x="6" y="0"/>
                      <a:pt x="7" y="4"/>
                      <a:pt x="9" y="5"/>
                    </a:cubicBezTo>
                    <a:cubicBezTo>
                      <a:pt x="10" y="6"/>
                      <a:pt x="8" y="10"/>
                      <a:pt x="10" y="11"/>
                    </a:cubicBezTo>
                    <a:cubicBezTo>
                      <a:pt x="12" y="13"/>
                      <a:pt x="9" y="15"/>
                      <a:pt x="8" y="16"/>
                    </a:cubicBezTo>
                    <a:cubicBezTo>
                      <a:pt x="8" y="18"/>
                      <a:pt x="4" y="18"/>
                      <a:pt x="5" y="20"/>
                    </a:cubicBezTo>
                    <a:cubicBezTo>
                      <a:pt x="6" y="22"/>
                      <a:pt x="6" y="24"/>
                      <a:pt x="6" y="27"/>
                    </a:cubicBezTo>
                    <a:cubicBezTo>
                      <a:pt x="5" y="29"/>
                      <a:pt x="8" y="26"/>
                      <a:pt x="8" y="29"/>
                    </a:cubicBezTo>
                    <a:cubicBezTo>
                      <a:pt x="9" y="32"/>
                      <a:pt x="5" y="33"/>
                      <a:pt x="3" y="34"/>
                    </a:cubicBezTo>
                    <a:cubicBezTo>
                      <a:pt x="1" y="36"/>
                      <a:pt x="1" y="40"/>
                      <a:pt x="2" y="42"/>
                    </a:cubicBezTo>
                    <a:cubicBezTo>
                      <a:pt x="3" y="44"/>
                      <a:pt x="0" y="45"/>
                      <a:pt x="1" y="47"/>
                    </a:cubicBezTo>
                    <a:cubicBezTo>
                      <a:pt x="1" y="49"/>
                      <a:pt x="2" y="53"/>
                      <a:pt x="2" y="53"/>
                    </a:cubicBezTo>
                    <a:cubicBezTo>
                      <a:pt x="2" y="53"/>
                      <a:pt x="5" y="54"/>
                      <a:pt x="6" y="56"/>
                    </a:cubicBezTo>
                    <a:cubicBezTo>
                      <a:pt x="7" y="58"/>
                      <a:pt x="6" y="60"/>
                      <a:pt x="7" y="59"/>
                    </a:cubicBezTo>
                    <a:cubicBezTo>
                      <a:pt x="9" y="59"/>
                      <a:pt x="13" y="57"/>
                      <a:pt x="13" y="57"/>
                    </a:cubicBezTo>
                    <a:cubicBezTo>
                      <a:pt x="13" y="57"/>
                      <a:pt x="15" y="59"/>
                      <a:pt x="15" y="61"/>
                    </a:cubicBezTo>
                    <a:cubicBezTo>
                      <a:pt x="15" y="63"/>
                      <a:pt x="15" y="66"/>
                      <a:pt x="14" y="68"/>
                    </a:cubicBezTo>
                    <a:cubicBezTo>
                      <a:pt x="13" y="69"/>
                      <a:pt x="12" y="71"/>
                      <a:pt x="13" y="72"/>
                    </a:cubicBezTo>
                    <a:cubicBezTo>
                      <a:pt x="15" y="74"/>
                      <a:pt x="17" y="76"/>
                      <a:pt x="19" y="77"/>
                    </a:cubicBezTo>
                    <a:cubicBezTo>
                      <a:pt x="21" y="78"/>
                      <a:pt x="21" y="78"/>
                      <a:pt x="21" y="78"/>
                    </a:cubicBezTo>
                    <a:cubicBezTo>
                      <a:pt x="21" y="78"/>
                      <a:pt x="21" y="83"/>
                      <a:pt x="23" y="82"/>
                    </a:cubicBezTo>
                    <a:cubicBezTo>
                      <a:pt x="25" y="82"/>
                      <a:pt x="27" y="79"/>
                      <a:pt x="25" y="78"/>
                    </a:cubicBezTo>
                    <a:cubicBezTo>
                      <a:pt x="24" y="76"/>
                      <a:pt x="23" y="69"/>
                      <a:pt x="25" y="70"/>
                    </a:cubicBezTo>
                    <a:cubicBezTo>
                      <a:pt x="26" y="70"/>
                      <a:pt x="29" y="71"/>
                      <a:pt x="30" y="68"/>
                    </a:cubicBezTo>
                    <a:cubicBezTo>
                      <a:pt x="30" y="65"/>
                      <a:pt x="28" y="66"/>
                      <a:pt x="29" y="63"/>
                    </a:cubicBezTo>
                    <a:cubicBezTo>
                      <a:pt x="30" y="59"/>
                      <a:pt x="31" y="57"/>
                      <a:pt x="29" y="56"/>
                    </a:cubicBezTo>
                    <a:cubicBezTo>
                      <a:pt x="28" y="55"/>
                      <a:pt x="27" y="55"/>
                      <a:pt x="26" y="52"/>
                    </a:cubicBezTo>
                    <a:cubicBezTo>
                      <a:pt x="26" y="49"/>
                      <a:pt x="25" y="48"/>
                      <a:pt x="24" y="46"/>
                    </a:cubicBezTo>
                    <a:cubicBezTo>
                      <a:pt x="23" y="45"/>
                      <a:pt x="23" y="45"/>
                      <a:pt x="22" y="45"/>
                    </a:cubicBezTo>
                    <a:cubicBezTo>
                      <a:pt x="22" y="45"/>
                      <a:pt x="22" y="46"/>
                      <a:pt x="23" y="46"/>
                    </a:cubicBezTo>
                    <a:cubicBezTo>
                      <a:pt x="23" y="47"/>
                      <a:pt x="24" y="47"/>
                      <a:pt x="24" y="47"/>
                    </a:cubicBezTo>
                    <a:cubicBezTo>
                      <a:pt x="24" y="48"/>
                      <a:pt x="24" y="49"/>
                      <a:pt x="24" y="50"/>
                    </a:cubicBezTo>
                    <a:cubicBezTo>
                      <a:pt x="23" y="50"/>
                      <a:pt x="22" y="48"/>
                      <a:pt x="21" y="48"/>
                    </a:cubicBezTo>
                    <a:cubicBezTo>
                      <a:pt x="20" y="48"/>
                      <a:pt x="21" y="50"/>
                      <a:pt x="19" y="49"/>
                    </a:cubicBezTo>
                    <a:cubicBezTo>
                      <a:pt x="19" y="47"/>
                      <a:pt x="20" y="45"/>
                      <a:pt x="19" y="44"/>
                    </a:cubicBezTo>
                    <a:cubicBezTo>
                      <a:pt x="19" y="43"/>
                      <a:pt x="17" y="43"/>
                      <a:pt x="17" y="42"/>
                    </a:cubicBezTo>
                    <a:cubicBezTo>
                      <a:pt x="17" y="42"/>
                      <a:pt x="17" y="38"/>
                      <a:pt x="18" y="38"/>
                    </a:cubicBezTo>
                    <a:cubicBezTo>
                      <a:pt x="19" y="38"/>
                      <a:pt x="17" y="34"/>
                      <a:pt x="17" y="34"/>
                    </a:cubicBezTo>
                    <a:cubicBezTo>
                      <a:pt x="16" y="32"/>
                      <a:pt x="17" y="30"/>
                      <a:pt x="17" y="28"/>
                    </a:cubicBezTo>
                    <a:cubicBezTo>
                      <a:pt x="16" y="28"/>
                      <a:pt x="16" y="28"/>
                      <a:pt x="15" y="28"/>
                    </a:cubicBezTo>
                    <a:cubicBezTo>
                      <a:pt x="15" y="28"/>
                      <a:pt x="15" y="26"/>
                      <a:pt x="15" y="26"/>
                    </a:cubicBezTo>
                    <a:cubicBezTo>
                      <a:pt x="17" y="21"/>
                      <a:pt x="17" y="21"/>
                      <a:pt x="17" y="21"/>
                    </a:cubicBezTo>
                    <a:cubicBezTo>
                      <a:pt x="18" y="17"/>
                      <a:pt x="17" y="11"/>
                      <a:pt x="17" y="7"/>
                    </a:cubicBezTo>
                    <a:cubicBezTo>
                      <a:pt x="17" y="7"/>
                      <a:pt x="14" y="2"/>
                      <a:pt x="16" y="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77" name="Freeform 156">
                <a:extLst>
                  <a:ext uri="{FF2B5EF4-FFF2-40B4-BE49-F238E27FC236}">
                    <a16:creationId xmlns:a16="http://schemas.microsoft.com/office/drawing/2014/main" id="{708C0BF9-4B7F-557F-1703-38D06EEDF767}"/>
                  </a:ext>
                </a:extLst>
              </p:cNvPr>
              <p:cNvSpPr>
                <a:spLocks/>
              </p:cNvSpPr>
              <p:nvPr/>
            </p:nvSpPr>
            <p:spPr bwMode="auto">
              <a:xfrm>
                <a:off x="3661" y="2453"/>
                <a:ext cx="60" cy="163"/>
              </a:xfrm>
              <a:custGeom>
                <a:avLst/>
                <a:gdLst>
                  <a:gd name="T0" fmla="*/ 16 w 31"/>
                  <a:gd name="T1" fmla="*/ 2 h 83"/>
                  <a:gd name="T2" fmla="*/ 15 w 31"/>
                  <a:gd name="T3" fmla="*/ 2 h 83"/>
                  <a:gd name="T4" fmla="*/ 6 w 31"/>
                  <a:gd name="T5" fmla="*/ 0 h 83"/>
                  <a:gd name="T6" fmla="*/ 9 w 31"/>
                  <a:gd name="T7" fmla="*/ 5 h 83"/>
                  <a:gd name="T8" fmla="*/ 10 w 31"/>
                  <a:gd name="T9" fmla="*/ 11 h 83"/>
                  <a:gd name="T10" fmla="*/ 8 w 31"/>
                  <a:gd name="T11" fmla="*/ 16 h 83"/>
                  <a:gd name="T12" fmla="*/ 5 w 31"/>
                  <a:gd name="T13" fmla="*/ 20 h 83"/>
                  <a:gd name="T14" fmla="*/ 6 w 31"/>
                  <a:gd name="T15" fmla="*/ 27 h 83"/>
                  <a:gd name="T16" fmla="*/ 8 w 31"/>
                  <a:gd name="T17" fmla="*/ 29 h 83"/>
                  <a:gd name="T18" fmla="*/ 3 w 31"/>
                  <a:gd name="T19" fmla="*/ 34 h 83"/>
                  <a:gd name="T20" fmla="*/ 2 w 31"/>
                  <a:gd name="T21" fmla="*/ 42 h 83"/>
                  <a:gd name="T22" fmla="*/ 1 w 31"/>
                  <a:gd name="T23" fmla="*/ 47 h 83"/>
                  <a:gd name="T24" fmla="*/ 2 w 31"/>
                  <a:gd name="T25" fmla="*/ 53 h 83"/>
                  <a:gd name="T26" fmla="*/ 6 w 31"/>
                  <a:gd name="T27" fmla="*/ 56 h 83"/>
                  <a:gd name="T28" fmla="*/ 7 w 31"/>
                  <a:gd name="T29" fmla="*/ 59 h 83"/>
                  <a:gd name="T30" fmla="*/ 13 w 31"/>
                  <a:gd name="T31" fmla="*/ 57 h 83"/>
                  <a:gd name="T32" fmla="*/ 15 w 31"/>
                  <a:gd name="T33" fmla="*/ 61 h 83"/>
                  <a:gd name="T34" fmla="*/ 14 w 31"/>
                  <a:gd name="T35" fmla="*/ 68 h 83"/>
                  <a:gd name="T36" fmla="*/ 13 w 31"/>
                  <a:gd name="T37" fmla="*/ 72 h 83"/>
                  <a:gd name="T38" fmla="*/ 19 w 31"/>
                  <a:gd name="T39" fmla="*/ 77 h 83"/>
                  <a:gd name="T40" fmla="*/ 21 w 31"/>
                  <a:gd name="T41" fmla="*/ 78 h 83"/>
                  <a:gd name="T42" fmla="*/ 23 w 31"/>
                  <a:gd name="T43" fmla="*/ 82 h 83"/>
                  <a:gd name="T44" fmla="*/ 25 w 31"/>
                  <a:gd name="T45" fmla="*/ 78 h 83"/>
                  <a:gd name="T46" fmla="*/ 25 w 31"/>
                  <a:gd name="T47" fmla="*/ 70 h 83"/>
                  <a:gd name="T48" fmla="*/ 30 w 31"/>
                  <a:gd name="T49" fmla="*/ 68 h 83"/>
                  <a:gd name="T50" fmla="*/ 29 w 31"/>
                  <a:gd name="T51" fmla="*/ 63 h 83"/>
                  <a:gd name="T52" fmla="*/ 29 w 31"/>
                  <a:gd name="T53" fmla="*/ 56 h 83"/>
                  <a:gd name="T54" fmla="*/ 26 w 31"/>
                  <a:gd name="T55" fmla="*/ 52 h 83"/>
                  <a:gd name="T56" fmla="*/ 24 w 31"/>
                  <a:gd name="T57" fmla="*/ 46 h 83"/>
                  <a:gd name="T58" fmla="*/ 22 w 31"/>
                  <a:gd name="T59" fmla="*/ 45 h 83"/>
                  <a:gd name="T60" fmla="*/ 23 w 31"/>
                  <a:gd name="T61" fmla="*/ 46 h 83"/>
                  <a:gd name="T62" fmla="*/ 24 w 31"/>
                  <a:gd name="T63" fmla="*/ 47 h 83"/>
                  <a:gd name="T64" fmla="*/ 24 w 31"/>
                  <a:gd name="T65" fmla="*/ 50 h 83"/>
                  <a:gd name="T66" fmla="*/ 21 w 31"/>
                  <a:gd name="T67" fmla="*/ 48 h 83"/>
                  <a:gd name="T68" fmla="*/ 19 w 31"/>
                  <a:gd name="T69" fmla="*/ 49 h 83"/>
                  <a:gd name="T70" fmla="*/ 19 w 31"/>
                  <a:gd name="T71" fmla="*/ 44 h 83"/>
                  <a:gd name="T72" fmla="*/ 17 w 31"/>
                  <a:gd name="T73" fmla="*/ 42 h 83"/>
                  <a:gd name="T74" fmla="*/ 18 w 31"/>
                  <a:gd name="T75" fmla="*/ 38 h 83"/>
                  <a:gd name="T76" fmla="*/ 17 w 31"/>
                  <a:gd name="T77" fmla="*/ 34 h 83"/>
                  <a:gd name="T78" fmla="*/ 17 w 31"/>
                  <a:gd name="T79" fmla="*/ 28 h 83"/>
                  <a:gd name="T80" fmla="*/ 15 w 31"/>
                  <a:gd name="T81" fmla="*/ 28 h 83"/>
                  <a:gd name="T82" fmla="*/ 15 w 31"/>
                  <a:gd name="T83" fmla="*/ 26 h 83"/>
                  <a:gd name="T84" fmla="*/ 17 w 31"/>
                  <a:gd name="T85" fmla="*/ 21 h 83"/>
                  <a:gd name="T86" fmla="*/ 17 w 31"/>
                  <a:gd name="T87" fmla="*/ 7 h 83"/>
                  <a:gd name="T88" fmla="*/ 16 w 31"/>
                  <a:gd name="T89" fmla="*/ 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 h="83">
                    <a:moveTo>
                      <a:pt x="16" y="2"/>
                    </a:moveTo>
                    <a:cubicBezTo>
                      <a:pt x="15" y="2"/>
                      <a:pt x="15" y="2"/>
                      <a:pt x="15" y="2"/>
                    </a:cubicBezTo>
                    <a:cubicBezTo>
                      <a:pt x="6" y="0"/>
                      <a:pt x="6" y="0"/>
                      <a:pt x="6" y="0"/>
                    </a:cubicBezTo>
                    <a:cubicBezTo>
                      <a:pt x="6" y="0"/>
                      <a:pt x="7" y="4"/>
                      <a:pt x="9" y="5"/>
                    </a:cubicBezTo>
                    <a:cubicBezTo>
                      <a:pt x="10" y="6"/>
                      <a:pt x="8" y="10"/>
                      <a:pt x="10" y="11"/>
                    </a:cubicBezTo>
                    <a:cubicBezTo>
                      <a:pt x="12" y="13"/>
                      <a:pt x="9" y="15"/>
                      <a:pt x="8" y="16"/>
                    </a:cubicBezTo>
                    <a:cubicBezTo>
                      <a:pt x="8" y="18"/>
                      <a:pt x="4" y="18"/>
                      <a:pt x="5" y="20"/>
                    </a:cubicBezTo>
                    <a:cubicBezTo>
                      <a:pt x="6" y="22"/>
                      <a:pt x="6" y="24"/>
                      <a:pt x="6" y="27"/>
                    </a:cubicBezTo>
                    <a:cubicBezTo>
                      <a:pt x="5" y="29"/>
                      <a:pt x="8" y="26"/>
                      <a:pt x="8" y="29"/>
                    </a:cubicBezTo>
                    <a:cubicBezTo>
                      <a:pt x="9" y="32"/>
                      <a:pt x="5" y="33"/>
                      <a:pt x="3" y="34"/>
                    </a:cubicBezTo>
                    <a:cubicBezTo>
                      <a:pt x="1" y="36"/>
                      <a:pt x="1" y="40"/>
                      <a:pt x="2" y="42"/>
                    </a:cubicBezTo>
                    <a:cubicBezTo>
                      <a:pt x="3" y="44"/>
                      <a:pt x="0" y="45"/>
                      <a:pt x="1" y="47"/>
                    </a:cubicBezTo>
                    <a:cubicBezTo>
                      <a:pt x="1" y="49"/>
                      <a:pt x="2" y="53"/>
                      <a:pt x="2" y="53"/>
                    </a:cubicBezTo>
                    <a:cubicBezTo>
                      <a:pt x="2" y="53"/>
                      <a:pt x="5" y="54"/>
                      <a:pt x="6" y="56"/>
                    </a:cubicBezTo>
                    <a:cubicBezTo>
                      <a:pt x="7" y="58"/>
                      <a:pt x="6" y="60"/>
                      <a:pt x="7" y="59"/>
                    </a:cubicBezTo>
                    <a:cubicBezTo>
                      <a:pt x="9" y="59"/>
                      <a:pt x="13" y="57"/>
                      <a:pt x="13" y="57"/>
                    </a:cubicBezTo>
                    <a:cubicBezTo>
                      <a:pt x="13" y="57"/>
                      <a:pt x="15" y="59"/>
                      <a:pt x="15" y="61"/>
                    </a:cubicBezTo>
                    <a:cubicBezTo>
                      <a:pt x="15" y="63"/>
                      <a:pt x="15" y="66"/>
                      <a:pt x="14" y="68"/>
                    </a:cubicBezTo>
                    <a:cubicBezTo>
                      <a:pt x="13" y="69"/>
                      <a:pt x="12" y="71"/>
                      <a:pt x="13" y="72"/>
                    </a:cubicBezTo>
                    <a:cubicBezTo>
                      <a:pt x="15" y="74"/>
                      <a:pt x="17" y="76"/>
                      <a:pt x="19" y="77"/>
                    </a:cubicBezTo>
                    <a:cubicBezTo>
                      <a:pt x="21" y="78"/>
                      <a:pt x="21" y="78"/>
                      <a:pt x="21" y="78"/>
                    </a:cubicBezTo>
                    <a:cubicBezTo>
                      <a:pt x="21" y="78"/>
                      <a:pt x="21" y="83"/>
                      <a:pt x="23" y="82"/>
                    </a:cubicBezTo>
                    <a:cubicBezTo>
                      <a:pt x="25" y="82"/>
                      <a:pt x="27" y="79"/>
                      <a:pt x="25" y="78"/>
                    </a:cubicBezTo>
                    <a:cubicBezTo>
                      <a:pt x="24" y="76"/>
                      <a:pt x="23" y="69"/>
                      <a:pt x="25" y="70"/>
                    </a:cubicBezTo>
                    <a:cubicBezTo>
                      <a:pt x="26" y="70"/>
                      <a:pt x="29" y="71"/>
                      <a:pt x="30" y="68"/>
                    </a:cubicBezTo>
                    <a:cubicBezTo>
                      <a:pt x="30" y="65"/>
                      <a:pt x="28" y="66"/>
                      <a:pt x="29" y="63"/>
                    </a:cubicBezTo>
                    <a:cubicBezTo>
                      <a:pt x="30" y="59"/>
                      <a:pt x="31" y="57"/>
                      <a:pt x="29" y="56"/>
                    </a:cubicBezTo>
                    <a:cubicBezTo>
                      <a:pt x="28" y="55"/>
                      <a:pt x="27" y="55"/>
                      <a:pt x="26" y="52"/>
                    </a:cubicBezTo>
                    <a:cubicBezTo>
                      <a:pt x="26" y="49"/>
                      <a:pt x="25" y="48"/>
                      <a:pt x="24" y="46"/>
                    </a:cubicBezTo>
                    <a:cubicBezTo>
                      <a:pt x="23" y="45"/>
                      <a:pt x="23" y="45"/>
                      <a:pt x="22" y="45"/>
                    </a:cubicBezTo>
                    <a:cubicBezTo>
                      <a:pt x="22" y="45"/>
                      <a:pt x="22" y="46"/>
                      <a:pt x="23" y="46"/>
                    </a:cubicBezTo>
                    <a:cubicBezTo>
                      <a:pt x="23" y="47"/>
                      <a:pt x="24" y="47"/>
                      <a:pt x="24" y="47"/>
                    </a:cubicBezTo>
                    <a:cubicBezTo>
                      <a:pt x="24" y="48"/>
                      <a:pt x="24" y="49"/>
                      <a:pt x="24" y="50"/>
                    </a:cubicBezTo>
                    <a:cubicBezTo>
                      <a:pt x="23" y="50"/>
                      <a:pt x="22" y="48"/>
                      <a:pt x="21" y="48"/>
                    </a:cubicBezTo>
                    <a:cubicBezTo>
                      <a:pt x="20" y="48"/>
                      <a:pt x="21" y="50"/>
                      <a:pt x="19" y="49"/>
                    </a:cubicBezTo>
                    <a:cubicBezTo>
                      <a:pt x="19" y="47"/>
                      <a:pt x="20" y="45"/>
                      <a:pt x="19" y="44"/>
                    </a:cubicBezTo>
                    <a:cubicBezTo>
                      <a:pt x="19" y="43"/>
                      <a:pt x="17" y="43"/>
                      <a:pt x="17" y="42"/>
                    </a:cubicBezTo>
                    <a:cubicBezTo>
                      <a:pt x="17" y="42"/>
                      <a:pt x="17" y="38"/>
                      <a:pt x="18" y="38"/>
                    </a:cubicBezTo>
                    <a:cubicBezTo>
                      <a:pt x="19" y="38"/>
                      <a:pt x="17" y="34"/>
                      <a:pt x="17" y="34"/>
                    </a:cubicBezTo>
                    <a:cubicBezTo>
                      <a:pt x="16" y="32"/>
                      <a:pt x="17" y="30"/>
                      <a:pt x="17" y="28"/>
                    </a:cubicBezTo>
                    <a:cubicBezTo>
                      <a:pt x="16" y="28"/>
                      <a:pt x="16" y="28"/>
                      <a:pt x="15" y="28"/>
                    </a:cubicBezTo>
                    <a:cubicBezTo>
                      <a:pt x="15" y="28"/>
                      <a:pt x="15" y="26"/>
                      <a:pt x="15" y="26"/>
                    </a:cubicBezTo>
                    <a:cubicBezTo>
                      <a:pt x="17" y="21"/>
                      <a:pt x="17" y="21"/>
                      <a:pt x="17" y="21"/>
                    </a:cubicBezTo>
                    <a:cubicBezTo>
                      <a:pt x="18" y="17"/>
                      <a:pt x="17" y="11"/>
                      <a:pt x="17" y="7"/>
                    </a:cubicBezTo>
                    <a:cubicBezTo>
                      <a:pt x="17" y="7"/>
                      <a:pt x="14" y="2"/>
                      <a:pt x="16" y="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78" name="Freeform 157">
                <a:extLst>
                  <a:ext uri="{FF2B5EF4-FFF2-40B4-BE49-F238E27FC236}">
                    <a16:creationId xmlns:a16="http://schemas.microsoft.com/office/drawing/2014/main" id="{8A76FE7D-58D5-2801-CD64-025AEE8179C7}"/>
                  </a:ext>
                </a:extLst>
              </p:cNvPr>
              <p:cNvSpPr>
                <a:spLocks/>
              </p:cNvSpPr>
              <p:nvPr/>
            </p:nvSpPr>
            <p:spPr bwMode="auto">
              <a:xfrm>
                <a:off x="3837" y="2519"/>
                <a:ext cx="133" cy="285"/>
              </a:xfrm>
              <a:custGeom>
                <a:avLst/>
                <a:gdLst>
                  <a:gd name="T0" fmla="*/ 52 w 68"/>
                  <a:gd name="T1" fmla="*/ 4 h 145"/>
                  <a:gd name="T2" fmla="*/ 48 w 68"/>
                  <a:gd name="T3" fmla="*/ 16 h 145"/>
                  <a:gd name="T4" fmla="*/ 44 w 68"/>
                  <a:gd name="T5" fmla="*/ 17 h 145"/>
                  <a:gd name="T6" fmla="*/ 43 w 68"/>
                  <a:gd name="T7" fmla="*/ 24 h 145"/>
                  <a:gd name="T8" fmla="*/ 42 w 68"/>
                  <a:gd name="T9" fmla="*/ 26 h 145"/>
                  <a:gd name="T10" fmla="*/ 39 w 68"/>
                  <a:gd name="T11" fmla="*/ 28 h 145"/>
                  <a:gd name="T12" fmla="*/ 37 w 68"/>
                  <a:gd name="T13" fmla="*/ 36 h 145"/>
                  <a:gd name="T14" fmla="*/ 30 w 68"/>
                  <a:gd name="T15" fmla="*/ 36 h 145"/>
                  <a:gd name="T16" fmla="*/ 24 w 68"/>
                  <a:gd name="T17" fmla="*/ 37 h 145"/>
                  <a:gd name="T18" fmla="*/ 21 w 68"/>
                  <a:gd name="T19" fmla="*/ 39 h 145"/>
                  <a:gd name="T20" fmla="*/ 16 w 68"/>
                  <a:gd name="T21" fmla="*/ 42 h 145"/>
                  <a:gd name="T22" fmla="*/ 12 w 68"/>
                  <a:gd name="T23" fmla="*/ 46 h 145"/>
                  <a:gd name="T24" fmla="*/ 11 w 68"/>
                  <a:gd name="T25" fmla="*/ 49 h 145"/>
                  <a:gd name="T26" fmla="*/ 10 w 68"/>
                  <a:gd name="T27" fmla="*/ 65 h 145"/>
                  <a:gd name="T28" fmla="*/ 12 w 68"/>
                  <a:gd name="T29" fmla="*/ 74 h 145"/>
                  <a:gd name="T30" fmla="*/ 11 w 68"/>
                  <a:gd name="T31" fmla="*/ 82 h 145"/>
                  <a:gd name="T32" fmla="*/ 6 w 68"/>
                  <a:gd name="T33" fmla="*/ 88 h 145"/>
                  <a:gd name="T34" fmla="*/ 6 w 68"/>
                  <a:gd name="T35" fmla="*/ 94 h 145"/>
                  <a:gd name="T36" fmla="*/ 2 w 68"/>
                  <a:gd name="T37" fmla="*/ 101 h 145"/>
                  <a:gd name="T38" fmla="*/ 3 w 68"/>
                  <a:gd name="T39" fmla="*/ 119 h 145"/>
                  <a:gd name="T40" fmla="*/ 5 w 68"/>
                  <a:gd name="T41" fmla="*/ 123 h 145"/>
                  <a:gd name="T42" fmla="*/ 11 w 68"/>
                  <a:gd name="T43" fmla="*/ 138 h 145"/>
                  <a:gd name="T44" fmla="*/ 20 w 68"/>
                  <a:gd name="T45" fmla="*/ 144 h 145"/>
                  <a:gd name="T46" fmla="*/ 35 w 68"/>
                  <a:gd name="T47" fmla="*/ 137 h 145"/>
                  <a:gd name="T48" fmla="*/ 36 w 68"/>
                  <a:gd name="T49" fmla="*/ 134 h 145"/>
                  <a:gd name="T50" fmla="*/ 40 w 68"/>
                  <a:gd name="T51" fmla="*/ 119 h 145"/>
                  <a:gd name="T52" fmla="*/ 44 w 68"/>
                  <a:gd name="T53" fmla="*/ 105 h 145"/>
                  <a:gd name="T54" fmla="*/ 46 w 68"/>
                  <a:gd name="T55" fmla="*/ 101 h 145"/>
                  <a:gd name="T56" fmla="*/ 48 w 68"/>
                  <a:gd name="T57" fmla="*/ 96 h 145"/>
                  <a:gd name="T58" fmla="*/ 50 w 68"/>
                  <a:gd name="T59" fmla="*/ 86 h 145"/>
                  <a:gd name="T60" fmla="*/ 52 w 68"/>
                  <a:gd name="T61" fmla="*/ 76 h 145"/>
                  <a:gd name="T62" fmla="*/ 55 w 68"/>
                  <a:gd name="T63" fmla="*/ 70 h 145"/>
                  <a:gd name="T64" fmla="*/ 58 w 68"/>
                  <a:gd name="T65" fmla="*/ 64 h 145"/>
                  <a:gd name="T66" fmla="*/ 61 w 68"/>
                  <a:gd name="T67" fmla="*/ 52 h 145"/>
                  <a:gd name="T68" fmla="*/ 62 w 68"/>
                  <a:gd name="T69" fmla="*/ 48 h 145"/>
                  <a:gd name="T70" fmla="*/ 60 w 68"/>
                  <a:gd name="T71" fmla="*/ 42 h 145"/>
                  <a:gd name="T72" fmla="*/ 60 w 68"/>
                  <a:gd name="T73" fmla="*/ 34 h 145"/>
                  <a:gd name="T74" fmla="*/ 64 w 68"/>
                  <a:gd name="T75" fmla="*/ 39 h 145"/>
                  <a:gd name="T76" fmla="*/ 64 w 68"/>
                  <a:gd name="T77" fmla="*/ 22 h 145"/>
                  <a:gd name="T78" fmla="*/ 64 w 68"/>
                  <a:gd name="T79" fmla="*/ 17 h 145"/>
                  <a:gd name="T80" fmla="*/ 58 w 68"/>
                  <a:gd name="T81" fmla="*/ 6 h 145"/>
                  <a:gd name="T82" fmla="*/ 55 w 68"/>
                  <a:gd name="T83" fmla="*/ 2 h 145"/>
                  <a:gd name="T84" fmla="*/ 54 w 68"/>
                  <a:gd name="T8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145">
                    <a:moveTo>
                      <a:pt x="54" y="0"/>
                    </a:moveTo>
                    <a:cubicBezTo>
                      <a:pt x="54" y="1"/>
                      <a:pt x="52" y="3"/>
                      <a:pt x="52" y="4"/>
                    </a:cubicBezTo>
                    <a:cubicBezTo>
                      <a:pt x="50" y="8"/>
                      <a:pt x="51" y="13"/>
                      <a:pt x="51" y="16"/>
                    </a:cubicBezTo>
                    <a:cubicBezTo>
                      <a:pt x="50" y="16"/>
                      <a:pt x="49" y="16"/>
                      <a:pt x="48" y="16"/>
                    </a:cubicBezTo>
                    <a:cubicBezTo>
                      <a:pt x="47" y="18"/>
                      <a:pt x="47" y="18"/>
                      <a:pt x="47" y="18"/>
                    </a:cubicBezTo>
                    <a:cubicBezTo>
                      <a:pt x="45" y="18"/>
                      <a:pt x="46" y="18"/>
                      <a:pt x="44" y="17"/>
                    </a:cubicBezTo>
                    <a:cubicBezTo>
                      <a:pt x="45" y="19"/>
                      <a:pt x="44" y="20"/>
                      <a:pt x="45" y="23"/>
                    </a:cubicBezTo>
                    <a:cubicBezTo>
                      <a:pt x="44" y="23"/>
                      <a:pt x="43" y="23"/>
                      <a:pt x="43" y="24"/>
                    </a:cubicBezTo>
                    <a:cubicBezTo>
                      <a:pt x="42" y="25"/>
                      <a:pt x="44" y="26"/>
                      <a:pt x="44" y="26"/>
                    </a:cubicBezTo>
                    <a:cubicBezTo>
                      <a:pt x="44" y="26"/>
                      <a:pt x="42" y="26"/>
                      <a:pt x="42" y="26"/>
                    </a:cubicBezTo>
                    <a:cubicBezTo>
                      <a:pt x="41" y="28"/>
                      <a:pt x="41" y="29"/>
                      <a:pt x="41" y="30"/>
                    </a:cubicBezTo>
                    <a:cubicBezTo>
                      <a:pt x="40" y="29"/>
                      <a:pt x="40" y="28"/>
                      <a:pt x="39" y="28"/>
                    </a:cubicBezTo>
                    <a:cubicBezTo>
                      <a:pt x="39" y="28"/>
                      <a:pt x="37" y="29"/>
                      <a:pt x="37" y="29"/>
                    </a:cubicBezTo>
                    <a:cubicBezTo>
                      <a:pt x="36" y="31"/>
                      <a:pt x="37" y="34"/>
                      <a:pt x="37" y="36"/>
                    </a:cubicBezTo>
                    <a:cubicBezTo>
                      <a:pt x="35" y="35"/>
                      <a:pt x="36" y="35"/>
                      <a:pt x="36" y="34"/>
                    </a:cubicBezTo>
                    <a:cubicBezTo>
                      <a:pt x="34" y="34"/>
                      <a:pt x="31" y="36"/>
                      <a:pt x="30" y="36"/>
                    </a:cubicBezTo>
                    <a:cubicBezTo>
                      <a:pt x="30" y="38"/>
                      <a:pt x="30" y="38"/>
                      <a:pt x="30" y="38"/>
                    </a:cubicBezTo>
                    <a:cubicBezTo>
                      <a:pt x="29" y="39"/>
                      <a:pt x="25" y="37"/>
                      <a:pt x="24" y="37"/>
                    </a:cubicBezTo>
                    <a:cubicBezTo>
                      <a:pt x="24" y="37"/>
                      <a:pt x="24" y="39"/>
                      <a:pt x="24" y="40"/>
                    </a:cubicBezTo>
                    <a:cubicBezTo>
                      <a:pt x="23" y="40"/>
                      <a:pt x="22" y="39"/>
                      <a:pt x="21" y="39"/>
                    </a:cubicBezTo>
                    <a:cubicBezTo>
                      <a:pt x="20" y="40"/>
                      <a:pt x="20" y="40"/>
                      <a:pt x="20" y="40"/>
                    </a:cubicBezTo>
                    <a:cubicBezTo>
                      <a:pt x="19" y="41"/>
                      <a:pt x="18" y="41"/>
                      <a:pt x="16" y="42"/>
                    </a:cubicBezTo>
                    <a:cubicBezTo>
                      <a:pt x="16" y="42"/>
                      <a:pt x="16" y="43"/>
                      <a:pt x="16" y="44"/>
                    </a:cubicBezTo>
                    <a:cubicBezTo>
                      <a:pt x="15" y="45"/>
                      <a:pt x="12" y="46"/>
                      <a:pt x="12" y="46"/>
                    </a:cubicBezTo>
                    <a:cubicBezTo>
                      <a:pt x="11" y="46"/>
                      <a:pt x="11" y="46"/>
                      <a:pt x="11" y="46"/>
                    </a:cubicBezTo>
                    <a:cubicBezTo>
                      <a:pt x="11" y="47"/>
                      <a:pt x="11" y="48"/>
                      <a:pt x="11" y="49"/>
                    </a:cubicBezTo>
                    <a:cubicBezTo>
                      <a:pt x="11" y="50"/>
                      <a:pt x="8" y="52"/>
                      <a:pt x="8" y="53"/>
                    </a:cubicBezTo>
                    <a:cubicBezTo>
                      <a:pt x="6" y="59"/>
                      <a:pt x="10" y="62"/>
                      <a:pt x="10" y="65"/>
                    </a:cubicBezTo>
                    <a:cubicBezTo>
                      <a:pt x="11" y="68"/>
                      <a:pt x="10" y="70"/>
                      <a:pt x="11" y="73"/>
                    </a:cubicBezTo>
                    <a:cubicBezTo>
                      <a:pt x="11" y="73"/>
                      <a:pt x="12" y="73"/>
                      <a:pt x="12" y="74"/>
                    </a:cubicBezTo>
                    <a:cubicBezTo>
                      <a:pt x="13" y="77"/>
                      <a:pt x="14" y="78"/>
                      <a:pt x="13" y="81"/>
                    </a:cubicBezTo>
                    <a:cubicBezTo>
                      <a:pt x="13" y="81"/>
                      <a:pt x="11" y="82"/>
                      <a:pt x="11" y="82"/>
                    </a:cubicBezTo>
                    <a:cubicBezTo>
                      <a:pt x="10" y="83"/>
                      <a:pt x="11" y="84"/>
                      <a:pt x="10" y="86"/>
                    </a:cubicBezTo>
                    <a:cubicBezTo>
                      <a:pt x="10" y="87"/>
                      <a:pt x="7" y="87"/>
                      <a:pt x="6" y="88"/>
                    </a:cubicBezTo>
                    <a:cubicBezTo>
                      <a:pt x="6" y="89"/>
                      <a:pt x="6" y="92"/>
                      <a:pt x="6" y="92"/>
                    </a:cubicBezTo>
                    <a:cubicBezTo>
                      <a:pt x="6" y="94"/>
                      <a:pt x="6" y="94"/>
                      <a:pt x="6" y="94"/>
                    </a:cubicBezTo>
                    <a:cubicBezTo>
                      <a:pt x="2" y="97"/>
                      <a:pt x="2" y="97"/>
                      <a:pt x="2" y="97"/>
                    </a:cubicBezTo>
                    <a:cubicBezTo>
                      <a:pt x="1" y="99"/>
                      <a:pt x="3" y="99"/>
                      <a:pt x="2" y="101"/>
                    </a:cubicBezTo>
                    <a:cubicBezTo>
                      <a:pt x="2" y="102"/>
                      <a:pt x="1" y="104"/>
                      <a:pt x="0" y="104"/>
                    </a:cubicBezTo>
                    <a:cubicBezTo>
                      <a:pt x="0" y="108"/>
                      <a:pt x="1" y="116"/>
                      <a:pt x="3" y="119"/>
                    </a:cubicBezTo>
                    <a:cubicBezTo>
                      <a:pt x="3" y="119"/>
                      <a:pt x="6" y="120"/>
                      <a:pt x="6" y="121"/>
                    </a:cubicBezTo>
                    <a:cubicBezTo>
                      <a:pt x="6" y="122"/>
                      <a:pt x="5" y="122"/>
                      <a:pt x="5" y="123"/>
                    </a:cubicBezTo>
                    <a:cubicBezTo>
                      <a:pt x="6" y="125"/>
                      <a:pt x="6" y="125"/>
                      <a:pt x="6" y="125"/>
                    </a:cubicBezTo>
                    <a:cubicBezTo>
                      <a:pt x="8" y="129"/>
                      <a:pt x="8" y="135"/>
                      <a:pt x="11" y="138"/>
                    </a:cubicBezTo>
                    <a:cubicBezTo>
                      <a:pt x="13" y="140"/>
                      <a:pt x="16" y="140"/>
                      <a:pt x="18" y="141"/>
                    </a:cubicBezTo>
                    <a:cubicBezTo>
                      <a:pt x="18" y="142"/>
                      <a:pt x="20" y="144"/>
                      <a:pt x="20" y="144"/>
                    </a:cubicBezTo>
                    <a:cubicBezTo>
                      <a:pt x="23" y="145"/>
                      <a:pt x="25" y="142"/>
                      <a:pt x="26" y="141"/>
                    </a:cubicBezTo>
                    <a:cubicBezTo>
                      <a:pt x="29" y="140"/>
                      <a:pt x="33" y="139"/>
                      <a:pt x="35" y="137"/>
                    </a:cubicBezTo>
                    <a:cubicBezTo>
                      <a:pt x="35" y="136"/>
                      <a:pt x="35" y="135"/>
                      <a:pt x="35" y="135"/>
                    </a:cubicBezTo>
                    <a:cubicBezTo>
                      <a:pt x="35" y="134"/>
                      <a:pt x="36" y="134"/>
                      <a:pt x="36" y="134"/>
                    </a:cubicBezTo>
                    <a:cubicBezTo>
                      <a:pt x="37" y="131"/>
                      <a:pt x="38" y="128"/>
                      <a:pt x="39" y="126"/>
                    </a:cubicBezTo>
                    <a:cubicBezTo>
                      <a:pt x="40" y="123"/>
                      <a:pt x="39" y="122"/>
                      <a:pt x="40" y="119"/>
                    </a:cubicBezTo>
                    <a:cubicBezTo>
                      <a:pt x="40" y="118"/>
                      <a:pt x="42" y="115"/>
                      <a:pt x="43" y="113"/>
                    </a:cubicBezTo>
                    <a:cubicBezTo>
                      <a:pt x="44" y="110"/>
                      <a:pt x="43" y="109"/>
                      <a:pt x="44" y="105"/>
                    </a:cubicBezTo>
                    <a:cubicBezTo>
                      <a:pt x="46" y="104"/>
                      <a:pt x="46" y="104"/>
                      <a:pt x="46" y="104"/>
                    </a:cubicBezTo>
                    <a:cubicBezTo>
                      <a:pt x="46" y="103"/>
                      <a:pt x="46" y="101"/>
                      <a:pt x="46" y="101"/>
                    </a:cubicBezTo>
                    <a:cubicBezTo>
                      <a:pt x="46" y="101"/>
                      <a:pt x="46" y="99"/>
                      <a:pt x="46" y="99"/>
                    </a:cubicBezTo>
                    <a:cubicBezTo>
                      <a:pt x="46" y="98"/>
                      <a:pt x="48" y="97"/>
                      <a:pt x="48" y="96"/>
                    </a:cubicBezTo>
                    <a:cubicBezTo>
                      <a:pt x="49" y="95"/>
                      <a:pt x="48" y="93"/>
                      <a:pt x="48" y="92"/>
                    </a:cubicBezTo>
                    <a:cubicBezTo>
                      <a:pt x="48" y="90"/>
                      <a:pt x="50" y="87"/>
                      <a:pt x="50" y="86"/>
                    </a:cubicBezTo>
                    <a:cubicBezTo>
                      <a:pt x="50" y="83"/>
                      <a:pt x="49" y="82"/>
                      <a:pt x="50" y="80"/>
                    </a:cubicBezTo>
                    <a:cubicBezTo>
                      <a:pt x="50" y="79"/>
                      <a:pt x="52" y="77"/>
                      <a:pt x="52" y="76"/>
                    </a:cubicBezTo>
                    <a:cubicBezTo>
                      <a:pt x="53" y="75"/>
                      <a:pt x="52" y="74"/>
                      <a:pt x="52" y="73"/>
                    </a:cubicBezTo>
                    <a:cubicBezTo>
                      <a:pt x="53" y="72"/>
                      <a:pt x="55" y="70"/>
                      <a:pt x="55" y="70"/>
                    </a:cubicBezTo>
                    <a:cubicBezTo>
                      <a:pt x="56" y="69"/>
                      <a:pt x="55" y="68"/>
                      <a:pt x="56" y="66"/>
                    </a:cubicBezTo>
                    <a:cubicBezTo>
                      <a:pt x="56" y="66"/>
                      <a:pt x="57" y="64"/>
                      <a:pt x="58" y="64"/>
                    </a:cubicBezTo>
                    <a:cubicBezTo>
                      <a:pt x="59" y="60"/>
                      <a:pt x="56" y="57"/>
                      <a:pt x="58" y="54"/>
                    </a:cubicBezTo>
                    <a:cubicBezTo>
                      <a:pt x="59" y="53"/>
                      <a:pt x="61" y="52"/>
                      <a:pt x="61" y="52"/>
                    </a:cubicBezTo>
                    <a:cubicBezTo>
                      <a:pt x="61" y="50"/>
                      <a:pt x="61" y="50"/>
                      <a:pt x="61" y="50"/>
                    </a:cubicBezTo>
                    <a:cubicBezTo>
                      <a:pt x="60" y="51"/>
                      <a:pt x="59" y="49"/>
                      <a:pt x="62" y="48"/>
                    </a:cubicBezTo>
                    <a:cubicBezTo>
                      <a:pt x="61" y="46"/>
                      <a:pt x="62" y="45"/>
                      <a:pt x="62" y="44"/>
                    </a:cubicBezTo>
                    <a:cubicBezTo>
                      <a:pt x="61" y="43"/>
                      <a:pt x="60" y="43"/>
                      <a:pt x="60" y="42"/>
                    </a:cubicBezTo>
                    <a:cubicBezTo>
                      <a:pt x="59" y="40"/>
                      <a:pt x="59" y="37"/>
                      <a:pt x="58" y="34"/>
                    </a:cubicBezTo>
                    <a:cubicBezTo>
                      <a:pt x="60" y="35"/>
                      <a:pt x="59" y="34"/>
                      <a:pt x="60" y="34"/>
                    </a:cubicBezTo>
                    <a:cubicBezTo>
                      <a:pt x="61" y="36"/>
                      <a:pt x="62" y="36"/>
                      <a:pt x="63" y="39"/>
                    </a:cubicBezTo>
                    <a:cubicBezTo>
                      <a:pt x="64" y="39"/>
                      <a:pt x="64" y="39"/>
                      <a:pt x="64" y="39"/>
                    </a:cubicBezTo>
                    <a:cubicBezTo>
                      <a:pt x="65" y="35"/>
                      <a:pt x="68" y="31"/>
                      <a:pt x="66" y="26"/>
                    </a:cubicBezTo>
                    <a:cubicBezTo>
                      <a:pt x="66" y="25"/>
                      <a:pt x="64" y="23"/>
                      <a:pt x="64" y="22"/>
                    </a:cubicBezTo>
                    <a:cubicBezTo>
                      <a:pt x="63" y="21"/>
                      <a:pt x="64" y="20"/>
                      <a:pt x="64" y="19"/>
                    </a:cubicBezTo>
                    <a:cubicBezTo>
                      <a:pt x="64" y="20"/>
                      <a:pt x="64" y="18"/>
                      <a:pt x="64" y="17"/>
                    </a:cubicBezTo>
                    <a:cubicBezTo>
                      <a:pt x="64" y="15"/>
                      <a:pt x="63" y="8"/>
                      <a:pt x="62" y="6"/>
                    </a:cubicBezTo>
                    <a:cubicBezTo>
                      <a:pt x="60" y="4"/>
                      <a:pt x="60" y="7"/>
                      <a:pt x="58" y="6"/>
                    </a:cubicBezTo>
                    <a:cubicBezTo>
                      <a:pt x="58" y="5"/>
                      <a:pt x="58" y="4"/>
                      <a:pt x="57" y="3"/>
                    </a:cubicBezTo>
                    <a:cubicBezTo>
                      <a:pt x="56" y="3"/>
                      <a:pt x="55" y="3"/>
                      <a:pt x="55" y="2"/>
                    </a:cubicBezTo>
                    <a:cubicBezTo>
                      <a:pt x="56" y="2"/>
                      <a:pt x="55" y="0"/>
                      <a:pt x="55" y="0"/>
                    </a:cubicBezTo>
                    <a:lnTo>
                      <a:pt x="54" y="0"/>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79" name="Freeform 158">
                <a:extLst>
                  <a:ext uri="{FF2B5EF4-FFF2-40B4-BE49-F238E27FC236}">
                    <a16:creationId xmlns:a16="http://schemas.microsoft.com/office/drawing/2014/main" id="{77ABB875-FD48-121F-2C08-E13B6D8E454B}"/>
                  </a:ext>
                </a:extLst>
              </p:cNvPr>
              <p:cNvSpPr>
                <a:spLocks/>
              </p:cNvSpPr>
              <p:nvPr/>
            </p:nvSpPr>
            <p:spPr bwMode="auto">
              <a:xfrm>
                <a:off x="3837" y="2519"/>
                <a:ext cx="133" cy="285"/>
              </a:xfrm>
              <a:custGeom>
                <a:avLst/>
                <a:gdLst>
                  <a:gd name="T0" fmla="*/ 52 w 68"/>
                  <a:gd name="T1" fmla="*/ 4 h 145"/>
                  <a:gd name="T2" fmla="*/ 48 w 68"/>
                  <a:gd name="T3" fmla="*/ 16 h 145"/>
                  <a:gd name="T4" fmla="*/ 44 w 68"/>
                  <a:gd name="T5" fmla="*/ 17 h 145"/>
                  <a:gd name="T6" fmla="*/ 43 w 68"/>
                  <a:gd name="T7" fmla="*/ 24 h 145"/>
                  <a:gd name="T8" fmla="*/ 42 w 68"/>
                  <a:gd name="T9" fmla="*/ 26 h 145"/>
                  <a:gd name="T10" fmla="*/ 39 w 68"/>
                  <a:gd name="T11" fmla="*/ 28 h 145"/>
                  <a:gd name="T12" fmla="*/ 37 w 68"/>
                  <a:gd name="T13" fmla="*/ 36 h 145"/>
                  <a:gd name="T14" fmla="*/ 30 w 68"/>
                  <a:gd name="T15" fmla="*/ 36 h 145"/>
                  <a:gd name="T16" fmla="*/ 24 w 68"/>
                  <a:gd name="T17" fmla="*/ 37 h 145"/>
                  <a:gd name="T18" fmla="*/ 21 w 68"/>
                  <a:gd name="T19" fmla="*/ 39 h 145"/>
                  <a:gd name="T20" fmla="*/ 16 w 68"/>
                  <a:gd name="T21" fmla="*/ 42 h 145"/>
                  <a:gd name="T22" fmla="*/ 12 w 68"/>
                  <a:gd name="T23" fmla="*/ 46 h 145"/>
                  <a:gd name="T24" fmla="*/ 11 w 68"/>
                  <a:gd name="T25" fmla="*/ 49 h 145"/>
                  <a:gd name="T26" fmla="*/ 10 w 68"/>
                  <a:gd name="T27" fmla="*/ 65 h 145"/>
                  <a:gd name="T28" fmla="*/ 12 w 68"/>
                  <a:gd name="T29" fmla="*/ 74 h 145"/>
                  <a:gd name="T30" fmla="*/ 11 w 68"/>
                  <a:gd name="T31" fmla="*/ 82 h 145"/>
                  <a:gd name="T32" fmla="*/ 6 w 68"/>
                  <a:gd name="T33" fmla="*/ 88 h 145"/>
                  <a:gd name="T34" fmla="*/ 6 w 68"/>
                  <a:gd name="T35" fmla="*/ 94 h 145"/>
                  <a:gd name="T36" fmla="*/ 2 w 68"/>
                  <a:gd name="T37" fmla="*/ 101 h 145"/>
                  <a:gd name="T38" fmla="*/ 3 w 68"/>
                  <a:gd name="T39" fmla="*/ 119 h 145"/>
                  <a:gd name="T40" fmla="*/ 5 w 68"/>
                  <a:gd name="T41" fmla="*/ 123 h 145"/>
                  <a:gd name="T42" fmla="*/ 11 w 68"/>
                  <a:gd name="T43" fmla="*/ 138 h 145"/>
                  <a:gd name="T44" fmla="*/ 20 w 68"/>
                  <a:gd name="T45" fmla="*/ 144 h 145"/>
                  <a:gd name="T46" fmla="*/ 35 w 68"/>
                  <a:gd name="T47" fmla="*/ 137 h 145"/>
                  <a:gd name="T48" fmla="*/ 36 w 68"/>
                  <a:gd name="T49" fmla="*/ 134 h 145"/>
                  <a:gd name="T50" fmla="*/ 40 w 68"/>
                  <a:gd name="T51" fmla="*/ 119 h 145"/>
                  <a:gd name="T52" fmla="*/ 44 w 68"/>
                  <a:gd name="T53" fmla="*/ 105 h 145"/>
                  <a:gd name="T54" fmla="*/ 46 w 68"/>
                  <a:gd name="T55" fmla="*/ 101 h 145"/>
                  <a:gd name="T56" fmla="*/ 48 w 68"/>
                  <a:gd name="T57" fmla="*/ 96 h 145"/>
                  <a:gd name="T58" fmla="*/ 50 w 68"/>
                  <a:gd name="T59" fmla="*/ 86 h 145"/>
                  <a:gd name="T60" fmla="*/ 52 w 68"/>
                  <a:gd name="T61" fmla="*/ 76 h 145"/>
                  <a:gd name="T62" fmla="*/ 55 w 68"/>
                  <a:gd name="T63" fmla="*/ 70 h 145"/>
                  <a:gd name="T64" fmla="*/ 58 w 68"/>
                  <a:gd name="T65" fmla="*/ 64 h 145"/>
                  <a:gd name="T66" fmla="*/ 61 w 68"/>
                  <a:gd name="T67" fmla="*/ 52 h 145"/>
                  <a:gd name="T68" fmla="*/ 62 w 68"/>
                  <a:gd name="T69" fmla="*/ 48 h 145"/>
                  <a:gd name="T70" fmla="*/ 60 w 68"/>
                  <a:gd name="T71" fmla="*/ 42 h 145"/>
                  <a:gd name="T72" fmla="*/ 60 w 68"/>
                  <a:gd name="T73" fmla="*/ 34 h 145"/>
                  <a:gd name="T74" fmla="*/ 64 w 68"/>
                  <a:gd name="T75" fmla="*/ 39 h 145"/>
                  <a:gd name="T76" fmla="*/ 64 w 68"/>
                  <a:gd name="T77" fmla="*/ 22 h 145"/>
                  <a:gd name="T78" fmla="*/ 64 w 68"/>
                  <a:gd name="T79" fmla="*/ 17 h 145"/>
                  <a:gd name="T80" fmla="*/ 58 w 68"/>
                  <a:gd name="T81" fmla="*/ 6 h 145"/>
                  <a:gd name="T82" fmla="*/ 55 w 68"/>
                  <a:gd name="T83" fmla="*/ 2 h 145"/>
                  <a:gd name="T84" fmla="*/ 54 w 68"/>
                  <a:gd name="T85"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145">
                    <a:moveTo>
                      <a:pt x="54" y="0"/>
                    </a:moveTo>
                    <a:cubicBezTo>
                      <a:pt x="54" y="1"/>
                      <a:pt x="52" y="3"/>
                      <a:pt x="52" y="4"/>
                    </a:cubicBezTo>
                    <a:cubicBezTo>
                      <a:pt x="50" y="8"/>
                      <a:pt x="51" y="13"/>
                      <a:pt x="51" y="16"/>
                    </a:cubicBezTo>
                    <a:cubicBezTo>
                      <a:pt x="50" y="16"/>
                      <a:pt x="49" y="16"/>
                      <a:pt x="48" y="16"/>
                    </a:cubicBezTo>
                    <a:cubicBezTo>
                      <a:pt x="47" y="18"/>
                      <a:pt x="47" y="18"/>
                      <a:pt x="47" y="18"/>
                    </a:cubicBezTo>
                    <a:cubicBezTo>
                      <a:pt x="45" y="18"/>
                      <a:pt x="46" y="18"/>
                      <a:pt x="44" y="17"/>
                    </a:cubicBezTo>
                    <a:cubicBezTo>
                      <a:pt x="45" y="19"/>
                      <a:pt x="44" y="20"/>
                      <a:pt x="45" y="23"/>
                    </a:cubicBezTo>
                    <a:cubicBezTo>
                      <a:pt x="44" y="23"/>
                      <a:pt x="43" y="23"/>
                      <a:pt x="43" y="24"/>
                    </a:cubicBezTo>
                    <a:cubicBezTo>
                      <a:pt x="42" y="25"/>
                      <a:pt x="44" y="26"/>
                      <a:pt x="44" y="26"/>
                    </a:cubicBezTo>
                    <a:cubicBezTo>
                      <a:pt x="44" y="26"/>
                      <a:pt x="42" y="26"/>
                      <a:pt x="42" y="26"/>
                    </a:cubicBezTo>
                    <a:cubicBezTo>
                      <a:pt x="41" y="28"/>
                      <a:pt x="41" y="29"/>
                      <a:pt x="41" y="30"/>
                    </a:cubicBezTo>
                    <a:cubicBezTo>
                      <a:pt x="40" y="29"/>
                      <a:pt x="40" y="28"/>
                      <a:pt x="39" y="28"/>
                    </a:cubicBezTo>
                    <a:cubicBezTo>
                      <a:pt x="39" y="28"/>
                      <a:pt x="37" y="29"/>
                      <a:pt x="37" y="29"/>
                    </a:cubicBezTo>
                    <a:cubicBezTo>
                      <a:pt x="36" y="31"/>
                      <a:pt x="37" y="34"/>
                      <a:pt x="37" y="36"/>
                    </a:cubicBezTo>
                    <a:cubicBezTo>
                      <a:pt x="35" y="35"/>
                      <a:pt x="36" y="35"/>
                      <a:pt x="36" y="34"/>
                    </a:cubicBezTo>
                    <a:cubicBezTo>
                      <a:pt x="34" y="34"/>
                      <a:pt x="31" y="36"/>
                      <a:pt x="30" y="36"/>
                    </a:cubicBezTo>
                    <a:cubicBezTo>
                      <a:pt x="30" y="38"/>
                      <a:pt x="30" y="38"/>
                      <a:pt x="30" y="38"/>
                    </a:cubicBezTo>
                    <a:cubicBezTo>
                      <a:pt x="29" y="39"/>
                      <a:pt x="25" y="37"/>
                      <a:pt x="24" y="37"/>
                    </a:cubicBezTo>
                    <a:cubicBezTo>
                      <a:pt x="24" y="37"/>
                      <a:pt x="24" y="39"/>
                      <a:pt x="24" y="40"/>
                    </a:cubicBezTo>
                    <a:cubicBezTo>
                      <a:pt x="23" y="40"/>
                      <a:pt x="22" y="39"/>
                      <a:pt x="21" y="39"/>
                    </a:cubicBezTo>
                    <a:cubicBezTo>
                      <a:pt x="20" y="40"/>
                      <a:pt x="20" y="40"/>
                      <a:pt x="20" y="40"/>
                    </a:cubicBezTo>
                    <a:cubicBezTo>
                      <a:pt x="19" y="41"/>
                      <a:pt x="18" y="41"/>
                      <a:pt x="16" y="42"/>
                    </a:cubicBezTo>
                    <a:cubicBezTo>
                      <a:pt x="16" y="42"/>
                      <a:pt x="16" y="43"/>
                      <a:pt x="16" y="44"/>
                    </a:cubicBezTo>
                    <a:cubicBezTo>
                      <a:pt x="15" y="45"/>
                      <a:pt x="12" y="46"/>
                      <a:pt x="12" y="46"/>
                    </a:cubicBezTo>
                    <a:cubicBezTo>
                      <a:pt x="11" y="46"/>
                      <a:pt x="11" y="46"/>
                      <a:pt x="11" y="46"/>
                    </a:cubicBezTo>
                    <a:cubicBezTo>
                      <a:pt x="11" y="47"/>
                      <a:pt x="11" y="48"/>
                      <a:pt x="11" y="49"/>
                    </a:cubicBezTo>
                    <a:cubicBezTo>
                      <a:pt x="11" y="50"/>
                      <a:pt x="8" y="52"/>
                      <a:pt x="8" y="53"/>
                    </a:cubicBezTo>
                    <a:cubicBezTo>
                      <a:pt x="6" y="59"/>
                      <a:pt x="10" y="62"/>
                      <a:pt x="10" y="65"/>
                    </a:cubicBezTo>
                    <a:cubicBezTo>
                      <a:pt x="11" y="68"/>
                      <a:pt x="10" y="70"/>
                      <a:pt x="11" y="73"/>
                    </a:cubicBezTo>
                    <a:cubicBezTo>
                      <a:pt x="11" y="73"/>
                      <a:pt x="12" y="73"/>
                      <a:pt x="12" y="74"/>
                    </a:cubicBezTo>
                    <a:cubicBezTo>
                      <a:pt x="13" y="77"/>
                      <a:pt x="14" y="78"/>
                      <a:pt x="13" y="81"/>
                    </a:cubicBezTo>
                    <a:cubicBezTo>
                      <a:pt x="13" y="81"/>
                      <a:pt x="11" y="82"/>
                      <a:pt x="11" y="82"/>
                    </a:cubicBezTo>
                    <a:cubicBezTo>
                      <a:pt x="10" y="83"/>
                      <a:pt x="11" y="84"/>
                      <a:pt x="10" y="86"/>
                    </a:cubicBezTo>
                    <a:cubicBezTo>
                      <a:pt x="10" y="87"/>
                      <a:pt x="7" y="87"/>
                      <a:pt x="6" y="88"/>
                    </a:cubicBezTo>
                    <a:cubicBezTo>
                      <a:pt x="6" y="89"/>
                      <a:pt x="6" y="92"/>
                      <a:pt x="6" y="92"/>
                    </a:cubicBezTo>
                    <a:cubicBezTo>
                      <a:pt x="6" y="94"/>
                      <a:pt x="6" y="94"/>
                      <a:pt x="6" y="94"/>
                    </a:cubicBezTo>
                    <a:cubicBezTo>
                      <a:pt x="2" y="97"/>
                      <a:pt x="2" y="97"/>
                      <a:pt x="2" y="97"/>
                    </a:cubicBezTo>
                    <a:cubicBezTo>
                      <a:pt x="1" y="99"/>
                      <a:pt x="3" y="99"/>
                      <a:pt x="2" y="101"/>
                    </a:cubicBezTo>
                    <a:cubicBezTo>
                      <a:pt x="2" y="102"/>
                      <a:pt x="1" y="104"/>
                      <a:pt x="0" y="104"/>
                    </a:cubicBezTo>
                    <a:cubicBezTo>
                      <a:pt x="0" y="108"/>
                      <a:pt x="1" y="116"/>
                      <a:pt x="3" y="119"/>
                    </a:cubicBezTo>
                    <a:cubicBezTo>
                      <a:pt x="3" y="119"/>
                      <a:pt x="6" y="120"/>
                      <a:pt x="6" y="121"/>
                    </a:cubicBezTo>
                    <a:cubicBezTo>
                      <a:pt x="6" y="122"/>
                      <a:pt x="5" y="122"/>
                      <a:pt x="5" y="123"/>
                    </a:cubicBezTo>
                    <a:cubicBezTo>
                      <a:pt x="6" y="125"/>
                      <a:pt x="6" y="125"/>
                      <a:pt x="6" y="125"/>
                    </a:cubicBezTo>
                    <a:cubicBezTo>
                      <a:pt x="8" y="129"/>
                      <a:pt x="8" y="135"/>
                      <a:pt x="11" y="138"/>
                    </a:cubicBezTo>
                    <a:cubicBezTo>
                      <a:pt x="13" y="140"/>
                      <a:pt x="16" y="140"/>
                      <a:pt x="18" y="141"/>
                    </a:cubicBezTo>
                    <a:cubicBezTo>
                      <a:pt x="18" y="142"/>
                      <a:pt x="20" y="144"/>
                      <a:pt x="20" y="144"/>
                    </a:cubicBezTo>
                    <a:cubicBezTo>
                      <a:pt x="23" y="145"/>
                      <a:pt x="25" y="142"/>
                      <a:pt x="26" y="141"/>
                    </a:cubicBezTo>
                    <a:cubicBezTo>
                      <a:pt x="29" y="140"/>
                      <a:pt x="33" y="139"/>
                      <a:pt x="35" y="137"/>
                    </a:cubicBezTo>
                    <a:cubicBezTo>
                      <a:pt x="35" y="136"/>
                      <a:pt x="35" y="135"/>
                      <a:pt x="35" y="135"/>
                    </a:cubicBezTo>
                    <a:cubicBezTo>
                      <a:pt x="35" y="134"/>
                      <a:pt x="36" y="134"/>
                      <a:pt x="36" y="134"/>
                    </a:cubicBezTo>
                    <a:cubicBezTo>
                      <a:pt x="37" y="131"/>
                      <a:pt x="38" y="128"/>
                      <a:pt x="39" y="126"/>
                    </a:cubicBezTo>
                    <a:cubicBezTo>
                      <a:pt x="40" y="123"/>
                      <a:pt x="39" y="122"/>
                      <a:pt x="40" y="119"/>
                    </a:cubicBezTo>
                    <a:cubicBezTo>
                      <a:pt x="40" y="118"/>
                      <a:pt x="42" y="115"/>
                      <a:pt x="43" y="113"/>
                    </a:cubicBezTo>
                    <a:cubicBezTo>
                      <a:pt x="44" y="110"/>
                      <a:pt x="43" y="109"/>
                      <a:pt x="44" y="105"/>
                    </a:cubicBezTo>
                    <a:cubicBezTo>
                      <a:pt x="46" y="104"/>
                      <a:pt x="46" y="104"/>
                      <a:pt x="46" y="104"/>
                    </a:cubicBezTo>
                    <a:cubicBezTo>
                      <a:pt x="46" y="103"/>
                      <a:pt x="46" y="101"/>
                      <a:pt x="46" y="101"/>
                    </a:cubicBezTo>
                    <a:cubicBezTo>
                      <a:pt x="46" y="101"/>
                      <a:pt x="46" y="99"/>
                      <a:pt x="46" y="99"/>
                    </a:cubicBezTo>
                    <a:cubicBezTo>
                      <a:pt x="46" y="98"/>
                      <a:pt x="48" y="97"/>
                      <a:pt x="48" y="96"/>
                    </a:cubicBezTo>
                    <a:cubicBezTo>
                      <a:pt x="49" y="95"/>
                      <a:pt x="48" y="93"/>
                      <a:pt x="48" y="92"/>
                    </a:cubicBezTo>
                    <a:cubicBezTo>
                      <a:pt x="48" y="90"/>
                      <a:pt x="50" y="87"/>
                      <a:pt x="50" y="86"/>
                    </a:cubicBezTo>
                    <a:cubicBezTo>
                      <a:pt x="50" y="83"/>
                      <a:pt x="49" y="82"/>
                      <a:pt x="50" y="80"/>
                    </a:cubicBezTo>
                    <a:cubicBezTo>
                      <a:pt x="50" y="79"/>
                      <a:pt x="52" y="77"/>
                      <a:pt x="52" y="76"/>
                    </a:cubicBezTo>
                    <a:cubicBezTo>
                      <a:pt x="53" y="75"/>
                      <a:pt x="52" y="74"/>
                      <a:pt x="52" y="73"/>
                    </a:cubicBezTo>
                    <a:cubicBezTo>
                      <a:pt x="53" y="72"/>
                      <a:pt x="55" y="70"/>
                      <a:pt x="55" y="70"/>
                    </a:cubicBezTo>
                    <a:cubicBezTo>
                      <a:pt x="56" y="69"/>
                      <a:pt x="55" y="68"/>
                      <a:pt x="56" y="66"/>
                    </a:cubicBezTo>
                    <a:cubicBezTo>
                      <a:pt x="56" y="66"/>
                      <a:pt x="57" y="64"/>
                      <a:pt x="58" y="64"/>
                    </a:cubicBezTo>
                    <a:cubicBezTo>
                      <a:pt x="59" y="60"/>
                      <a:pt x="56" y="57"/>
                      <a:pt x="58" y="54"/>
                    </a:cubicBezTo>
                    <a:cubicBezTo>
                      <a:pt x="59" y="53"/>
                      <a:pt x="61" y="52"/>
                      <a:pt x="61" y="52"/>
                    </a:cubicBezTo>
                    <a:cubicBezTo>
                      <a:pt x="61" y="50"/>
                      <a:pt x="61" y="50"/>
                      <a:pt x="61" y="50"/>
                    </a:cubicBezTo>
                    <a:cubicBezTo>
                      <a:pt x="60" y="51"/>
                      <a:pt x="59" y="49"/>
                      <a:pt x="62" y="48"/>
                    </a:cubicBezTo>
                    <a:cubicBezTo>
                      <a:pt x="61" y="46"/>
                      <a:pt x="62" y="45"/>
                      <a:pt x="62" y="44"/>
                    </a:cubicBezTo>
                    <a:cubicBezTo>
                      <a:pt x="61" y="43"/>
                      <a:pt x="60" y="43"/>
                      <a:pt x="60" y="42"/>
                    </a:cubicBezTo>
                    <a:cubicBezTo>
                      <a:pt x="59" y="40"/>
                      <a:pt x="59" y="37"/>
                      <a:pt x="58" y="34"/>
                    </a:cubicBezTo>
                    <a:cubicBezTo>
                      <a:pt x="60" y="35"/>
                      <a:pt x="59" y="34"/>
                      <a:pt x="60" y="34"/>
                    </a:cubicBezTo>
                    <a:cubicBezTo>
                      <a:pt x="61" y="36"/>
                      <a:pt x="62" y="36"/>
                      <a:pt x="63" y="39"/>
                    </a:cubicBezTo>
                    <a:cubicBezTo>
                      <a:pt x="64" y="39"/>
                      <a:pt x="64" y="39"/>
                      <a:pt x="64" y="39"/>
                    </a:cubicBezTo>
                    <a:cubicBezTo>
                      <a:pt x="65" y="35"/>
                      <a:pt x="68" y="31"/>
                      <a:pt x="66" y="26"/>
                    </a:cubicBezTo>
                    <a:cubicBezTo>
                      <a:pt x="66" y="25"/>
                      <a:pt x="64" y="23"/>
                      <a:pt x="64" y="22"/>
                    </a:cubicBezTo>
                    <a:cubicBezTo>
                      <a:pt x="63" y="21"/>
                      <a:pt x="64" y="20"/>
                      <a:pt x="64" y="19"/>
                    </a:cubicBezTo>
                    <a:cubicBezTo>
                      <a:pt x="64" y="20"/>
                      <a:pt x="64" y="18"/>
                      <a:pt x="64" y="17"/>
                    </a:cubicBezTo>
                    <a:cubicBezTo>
                      <a:pt x="64" y="15"/>
                      <a:pt x="63" y="8"/>
                      <a:pt x="62" y="6"/>
                    </a:cubicBezTo>
                    <a:cubicBezTo>
                      <a:pt x="60" y="4"/>
                      <a:pt x="60" y="7"/>
                      <a:pt x="58" y="6"/>
                    </a:cubicBezTo>
                    <a:cubicBezTo>
                      <a:pt x="58" y="5"/>
                      <a:pt x="58" y="4"/>
                      <a:pt x="57" y="3"/>
                    </a:cubicBezTo>
                    <a:cubicBezTo>
                      <a:pt x="56" y="3"/>
                      <a:pt x="55" y="3"/>
                      <a:pt x="55" y="2"/>
                    </a:cubicBezTo>
                    <a:cubicBezTo>
                      <a:pt x="56" y="2"/>
                      <a:pt x="55" y="0"/>
                      <a:pt x="55" y="0"/>
                    </a:cubicBezTo>
                    <a:lnTo>
                      <a:pt x="54" y="0"/>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80" name="Freeform 159">
                <a:extLst>
                  <a:ext uri="{FF2B5EF4-FFF2-40B4-BE49-F238E27FC236}">
                    <a16:creationId xmlns:a16="http://schemas.microsoft.com/office/drawing/2014/main" id="{74D17BB1-B219-23C0-B31B-93C1A28DB6F1}"/>
                  </a:ext>
                </a:extLst>
              </p:cNvPr>
              <p:cNvSpPr>
                <a:spLocks/>
              </p:cNvSpPr>
              <p:nvPr/>
            </p:nvSpPr>
            <p:spPr bwMode="auto">
              <a:xfrm>
                <a:off x="3466" y="1326"/>
                <a:ext cx="51" cy="43"/>
              </a:xfrm>
              <a:custGeom>
                <a:avLst/>
                <a:gdLst>
                  <a:gd name="T0" fmla="*/ 3 w 26"/>
                  <a:gd name="T1" fmla="*/ 7 h 22"/>
                  <a:gd name="T2" fmla="*/ 5 w 26"/>
                  <a:gd name="T3" fmla="*/ 5 h 22"/>
                  <a:gd name="T4" fmla="*/ 7 w 26"/>
                  <a:gd name="T5" fmla="*/ 3 h 22"/>
                  <a:gd name="T6" fmla="*/ 9 w 26"/>
                  <a:gd name="T7" fmla="*/ 6 h 22"/>
                  <a:gd name="T8" fmla="*/ 11 w 26"/>
                  <a:gd name="T9" fmla="*/ 2 h 22"/>
                  <a:gd name="T10" fmla="*/ 14 w 26"/>
                  <a:gd name="T11" fmla="*/ 2 h 22"/>
                  <a:gd name="T12" fmla="*/ 16 w 26"/>
                  <a:gd name="T13" fmla="*/ 1 h 22"/>
                  <a:gd name="T14" fmla="*/ 19 w 26"/>
                  <a:gd name="T15" fmla="*/ 0 h 22"/>
                  <a:gd name="T16" fmla="*/ 20 w 26"/>
                  <a:gd name="T17" fmla="*/ 0 h 22"/>
                  <a:gd name="T18" fmla="*/ 24 w 26"/>
                  <a:gd name="T19" fmla="*/ 2 h 22"/>
                  <a:gd name="T20" fmla="*/ 24 w 26"/>
                  <a:gd name="T21" fmla="*/ 6 h 22"/>
                  <a:gd name="T22" fmla="*/ 25 w 26"/>
                  <a:gd name="T23" fmla="*/ 9 h 22"/>
                  <a:gd name="T24" fmla="*/ 25 w 26"/>
                  <a:gd name="T25" fmla="*/ 12 h 22"/>
                  <a:gd name="T26" fmla="*/ 24 w 26"/>
                  <a:gd name="T27" fmla="*/ 14 h 22"/>
                  <a:gd name="T28" fmla="*/ 22 w 26"/>
                  <a:gd name="T29" fmla="*/ 16 h 22"/>
                  <a:gd name="T30" fmla="*/ 17 w 26"/>
                  <a:gd name="T31" fmla="*/ 18 h 22"/>
                  <a:gd name="T32" fmla="*/ 14 w 26"/>
                  <a:gd name="T33" fmla="*/ 19 h 22"/>
                  <a:gd name="T34" fmla="*/ 11 w 26"/>
                  <a:gd name="T35" fmla="*/ 22 h 22"/>
                  <a:gd name="T36" fmla="*/ 4 w 26"/>
                  <a:gd name="T37" fmla="*/ 21 h 22"/>
                  <a:gd name="T38" fmla="*/ 2 w 26"/>
                  <a:gd name="T39" fmla="*/ 17 h 22"/>
                  <a:gd name="T40" fmla="*/ 1 w 26"/>
                  <a:gd name="T41" fmla="*/ 13 h 22"/>
                  <a:gd name="T42" fmla="*/ 2 w 26"/>
                  <a:gd name="T43" fmla="*/ 8 h 22"/>
                  <a:gd name="T44" fmla="*/ 3 w 26"/>
                  <a:gd name="T45"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22">
                    <a:moveTo>
                      <a:pt x="3" y="7"/>
                    </a:moveTo>
                    <a:cubicBezTo>
                      <a:pt x="5" y="5"/>
                      <a:pt x="5" y="5"/>
                      <a:pt x="5" y="5"/>
                    </a:cubicBezTo>
                    <a:cubicBezTo>
                      <a:pt x="7" y="3"/>
                      <a:pt x="7" y="3"/>
                      <a:pt x="7" y="3"/>
                    </a:cubicBezTo>
                    <a:cubicBezTo>
                      <a:pt x="9" y="6"/>
                      <a:pt x="9" y="6"/>
                      <a:pt x="9" y="6"/>
                    </a:cubicBezTo>
                    <a:cubicBezTo>
                      <a:pt x="11" y="2"/>
                      <a:pt x="11" y="2"/>
                      <a:pt x="11" y="2"/>
                    </a:cubicBezTo>
                    <a:cubicBezTo>
                      <a:pt x="14" y="2"/>
                      <a:pt x="14" y="2"/>
                      <a:pt x="14" y="2"/>
                    </a:cubicBezTo>
                    <a:cubicBezTo>
                      <a:pt x="16" y="1"/>
                      <a:pt x="16" y="1"/>
                      <a:pt x="16" y="1"/>
                    </a:cubicBezTo>
                    <a:cubicBezTo>
                      <a:pt x="19" y="0"/>
                      <a:pt x="19" y="0"/>
                      <a:pt x="19" y="0"/>
                    </a:cubicBezTo>
                    <a:cubicBezTo>
                      <a:pt x="20" y="0"/>
                      <a:pt x="20" y="0"/>
                      <a:pt x="20" y="0"/>
                    </a:cubicBezTo>
                    <a:cubicBezTo>
                      <a:pt x="20" y="0"/>
                      <a:pt x="22" y="0"/>
                      <a:pt x="24" y="2"/>
                    </a:cubicBezTo>
                    <a:cubicBezTo>
                      <a:pt x="25" y="4"/>
                      <a:pt x="22" y="4"/>
                      <a:pt x="24" y="6"/>
                    </a:cubicBezTo>
                    <a:cubicBezTo>
                      <a:pt x="26" y="8"/>
                      <a:pt x="25" y="9"/>
                      <a:pt x="25" y="9"/>
                    </a:cubicBezTo>
                    <a:cubicBezTo>
                      <a:pt x="25" y="12"/>
                      <a:pt x="25" y="12"/>
                      <a:pt x="25" y="12"/>
                    </a:cubicBezTo>
                    <a:cubicBezTo>
                      <a:pt x="25" y="12"/>
                      <a:pt x="23" y="13"/>
                      <a:pt x="24" y="14"/>
                    </a:cubicBezTo>
                    <a:cubicBezTo>
                      <a:pt x="25" y="16"/>
                      <a:pt x="22" y="16"/>
                      <a:pt x="22" y="16"/>
                    </a:cubicBezTo>
                    <a:cubicBezTo>
                      <a:pt x="22" y="16"/>
                      <a:pt x="18" y="16"/>
                      <a:pt x="17" y="18"/>
                    </a:cubicBezTo>
                    <a:cubicBezTo>
                      <a:pt x="17" y="19"/>
                      <a:pt x="16" y="18"/>
                      <a:pt x="14" y="19"/>
                    </a:cubicBezTo>
                    <a:cubicBezTo>
                      <a:pt x="13" y="21"/>
                      <a:pt x="13" y="22"/>
                      <a:pt x="11" y="22"/>
                    </a:cubicBezTo>
                    <a:cubicBezTo>
                      <a:pt x="9" y="22"/>
                      <a:pt x="4" y="21"/>
                      <a:pt x="4" y="21"/>
                    </a:cubicBezTo>
                    <a:cubicBezTo>
                      <a:pt x="4" y="21"/>
                      <a:pt x="3" y="19"/>
                      <a:pt x="2" y="17"/>
                    </a:cubicBezTo>
                    <a:cubicBezTo>
                      <a:pt x="0" y="15"/>
                      <a:pt x="0" y="15"/>
                      <a:pt x="1" y="13"/>
                    </a:cubicBezTo>
                    <a:cubicBezTo>
                      <a:pt x="2" y="11"/>
                      <a:pt x="2" y="8"/>
                      <a:pt x="2" y="8"/>
                    </a:cubicBezTo>
                    <a:lnTo>
                      <a:pt x="3" y="7"/>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81" name="Freeform 160">
                <a:extLst>
                  <a:ext uri="{FF2B5EF4-FFF2-40B4-BE49-F238E27FC236}">
                    <a16:creationId xmlns:a16="http://schemas.microsoft.com/office/drawing/2014/main" id="{E7857984-6370-D630-16BB-3877C1CAD7A7}"/>
                  </a:ext>
                </a:extLst>
              </p:cNvPr>
              <p:cNvSpPr>
                <a:spLocks/>
              </p:cNvSpPr>
              <p:nvPr/>
            </p:nvSpPr>
            <p:spPr bwMode="auto">
              <a:xfrm>
                <a:off x="3466" y="1326"/>
                <a:ext cx="51" cy="43"/>
              </a:xfrm>
              <a:custGeom>
                <a:avLst/>
                <a:gdLst>
                  <a:gd name="T0" fmla="*/ 3 w 26"/>
                  <a:gd name="T1" fmla="*/ 7 h 22"/>
                  <a:gd name="T2" fmla="*/ 5 w 26"/>
                  <a:gd name="T3" fmla="*/ 5 h 22"/>
                  <a:gd name="T4" fmla="*/ 7 w 26"/>
                  <a:gd name="T5" fmla="*/ 3 h 22"/>
                  <a:gd name="T6" fmla="*/ 9 w 26"/>
                  <a:gd name="T7" fmla="*/ 6 h 22"/>
                  <a:gd name="T8" fmla="*/ 11 w 26"/>
                  <a:gd name="T9" fmla="*/ 2 h 22"/>
                  <a:gd name="T10" fmla="*/ 14 w 26"/>
                  <a:gd name="T11" fmla="*/ 2 h 22"/>
                  <a:gd name="T12" fmla="*/ 16 w 26"/>
                  <a:gd name="T13" fmla="*/ 1 h 22"/>
                  <a:gd name="T14" fmla="*/ 19 w 26"/>
                  <a:gd name="T15" fmla="*/ 0 h 22"/>
                  <a:gd name="T16" fmla="*/ 20 w 26"/>
                  <a:gd name="T17" fmla="*/ 0 h 22"/>
                  <a:gd name="T18" fmla="*/ 24 w 26"/>
                  <a:gd name="T19" fmla="*/ 2 h 22"/>
                  <a:gd name="T20" fmla="*/ 24 w 26"/>
                  <a:gd name="T21" fmla="*/ 6 h 22"/>
                  <a:gd name="T22" fmla="*/ 25 w 26"/>
                  <a:gd name="T23" fmla="*/ 9 h 22"/>
                  <a:gd name="T24" fmla="*/ 25 w 26"/>
                  <a:gd name="T25" fmla="*/ 12 h 22"/>
                  <a:gd name="T26" fmla="*/ 24 w 26"/>
                  <a:gd name="T27" fmla="*/ 14 h 22"/>
                  <a:gd name="T28" fmla="*/ 22 w 26"/>
                  <a:gd name="T29" fmla="*/ 16 h 22"/>
                  <a:gd name="T30" fmla="*/ 17 w 26"/>
                  <a:gd name="T31" fmla="*/ 18 h 22"/>
                  <a:gd name="T32" fmla="*/ 14 w 26"/>
                  <a:gd name="T33" fmla="*/ 19 h 22"/>
                  <a:gd name="T34" fmla="*/ 11 w 26"/>
                  <a:gd name="T35" fmla="*/ 22 h 22"/>
                  <a:gd name="T36" fmla="*/ 4 w 26"/>
                  <a:gd name="T37" fmla="*/ 21 h 22"/>
                  <a:gd name="T38" fmla="*/ 2 w 26"/>
                  <a:gd name="T39" fmla="*/ 17 h 22"/>
                  <a:gd name="T40" fmla="*/ 1 w 26"/>
                  <a:gd name="T41" fmla="*/ 13 h 22"/>
                  <a:gd name="T42" fmla="*/ 2 w 26"/>
                  <a:gd name="T43" fmla="*/ 8 h 22"/>
                  <a:gd name="T44" fmla="*/ 3 w 26"/>
                  <a:gd name="T45"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22">
                    <a:moveTo>
                      <a:pt x="3" y="7"/>
                    </a:moveTo>
                    <a:cubicBezTo>
                      <a:pt x="5" y="5"/>
                      <a:pt x="5" y="5"/>
                      <a:pt x="5" y="5"/>
                    </a:cubicBezTo>
                    <a:cubicBezTo>
                      <a:pt x="7" y="3"/>
                      <a:pt x="7" y="3"/>
                      <a:pt x="7" y="3"/>
                    </a:cubicBezTo>
                    <a:cubicBezTo>
                      <a:pt x="9" y="6"/>
                      <a:pt x="9" y="6"/>
                      <a:pt x="9" y="6"/>
                    </a:cubicBezTo>
                    <a:cubicBezTo>
                      <a:pt x="11" y="2"/>
                      <a:pt x="11" y="2"/>
                      <a:pt x="11" y="2"/>
                    </a:cubicBezTo>
                    <a:cubicBezTo>
                      <a:pt x="14" y="2"/>
                      <a:pt x="14" y="2"/>
                      <a:pt x="14" y="2"/>
                    </a:cubicBezTo>
                    <a:cubicBezTo>
                      <a:pt x="16" y="1"/>
                      <a:pt x="16" y="1"/>
                      <a:pt x="16" y="1"/>
                    </a:cubicBezTo>
                    <a:cubicBezTo>
                      <a:pt x="19" y="0"/>
                      <a:pt x="19" y="0"/>
                      <a:pt x="19" y="0"/>
                    </a:cubicBezTo>
                    <a:cubicBezTo>
                      <a:pt x="20" y="0"/>
                      <a:pt x="20" y="0"/>
                      <a:pt x="20" y="0"/>
                    </a:cubicBezTo>
                    <a:cubicBezTo>
                      <a:pt x="20" y="0"/>
                      <a:pt x="22" y="0"/>
                      <a:pt x="24" y="2"/>
                    </a:cubicBezTo>
                    <a:cubicBezTo>
                      <a:pt x="25" y="4"/>
                      <a:pt x="22" y="4"/>
                      <a:pt x="24" y="6"/>
                    </a:cubicBezTo>
                    <a:cubicBezTo>
                      <a:pt x="26" y="8"/>
                      <a:pt x="25" y="9"/>
                      <a:pt x="25" y="9"/>
                    </a:cubicBezTo>
                    <a:cubicBezTo>
                      <a:pt x="25" y="12"/>
                      <a:pt x="25" y="12"/>
                      <a:pt x="25" y="12"/>
                    </a:cubicBezTo>
                    <a:cubicBezTo>
                      <a:pt x="25" y="12"/>
                      <a:pt x="23" y="13"/>
                      <a:pt x="24" y="14"/>
                    </a:cubicBezTo>
                    <a:cubicBezTo>
                      <a:pt x="25" y="16"/>
                      <a:pt x="22" y="16"/>
                      <a:pt x="22" y="16"/>
                    </a:cubicBezTo>
                    <a:cubicBezTo>
                      <a:pt x="22" y="16"/>
                      <a:pt x="18" y="16"/>
                      <a:pt x="17" y="18"/>
                    </a:cubicBezTo>
                    <a:cubicBezTo>
                      <a:pt x="17" y="19"/>
                      <a:pt x="16" y="18"/>
                      <a:pt x="14" y="19"/>
                    </a:cubicBezTo>
                    <a:cubicBezTo>
                      <a:pt x="13" y="21"/>
                      <a:pt x="13" y="22"/>
                      <a:pt x="11" y="22"/>
                    </a:cubicBezTo>
                    <a:cubicBezTo>
                      <a:pt x="9" y="22"/>
                      <a:pt x="4" y="21"/>
                      <a:pt x="4" y="21"/>
                    </a:cubicBezTo>
                    <a:cubicBezTo>
                      <a:pt x="4" y="21"/>
                      <a:pt x="3" y="19"/>
                      <a:pt x="2" y="17"/>
                    </a:cubicBezTo>
                    <a:cubicBezTo>
                      <a:pt x="0" y="15"/>
                      <a:pt x="0" y="15"/>
                      <a:pt x="1" y="13"/>
                    </a:cubicBezTo>
                    <a:cubicBezTo>
                      <a:pt x="2" y="11"/>
                      <a:pt x="2" y="8"/>
                      <a:pt x="2" y="8"/>
                    </a:cubicBezTo>
                    <a:lnTo>
                      <a:pt x="3" y="7"/>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82" name="Freeform 161">
                <a:extLst>
                  <a:ext uri="{FF2B5EF4-FFF2-40B4-BE49-F238E27FC236}">
                    <a16:creationId xmlns:a16="http://schemas.microsoft.com/office/drawing/2014/main" id="{D21E331D-5E96-FD6F-ECFA-0991E89CAC37}"/>
                  </a:ext>
                </a:extLst>
              </p:cNvPr>
              <p:cNvSpPr>
                <a:spLocks/>
              </p:cNvSpPr>
              <p:nvPr/>
            </p:nvSpPr>
            <p:spPr bwMode="auto">
              <a:xfrm>
                <a:off x="3211" y="1132"/>
                <a:ext cx="16" cy="22"/>
              </a:xfrm>
              <a:custGeom>
                <a:avLst/>
                <a:gdLst>
                  <a:gd name="T0" fmla="*/ 2 w 8"/>
                  <a:gd name="T1" fmla="*/ 7 h 11"/>
                  <a:gd name="T2" fmla="*/ 2 w 8"/>
                  <a:gd name="T3" fmla="*/ 4 h 11"/>
                  <a:gd name="T4" fmla="*/ 4 w 8"/>
                  <a:gd name="T5" fmla="*/ 1 h 11"/>
                  <a:gd name="T6" fmla="*/ 5 w 8"/>
                  <a:gd name="T7" fmla="*/ 3 h 11"/>
                  <a:gd name="T8" fmla="*/ 6 w 8"/>
                  <a:gd name="T9" fmla="*/ 6 h 11"/>
                  <a:gd name="T10" fmla="*/ 6 w 8"/>
                  <a:gd name="T11" fmla="*/ 11 h 11"/>
                  <a:gd name="T12" fmla="*/ 3 w 8"/>
                  <a:gd name="T13" fmla="*/ 10 h 11"/>
                  <a:gd name="T14" fmla="*/ 2 w 8"/>
                  <a:gd name="T15" fmla="*/ 7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1">
                    <a:moveTo>
                      <a:pt x="2" y="7"/>
                    </a:moveTo>
                    <a:cubicBezTo>
                      <a:pt x="2" y="7"/>
                      <a:pt x="0" y="6"/>
                      <a:pt x="2" y="4"/>
                    </a:cubicBezTo>
                    <a:cubicBezTo>
                      <a:pt x="2" y="3"/>
                      <a:pt x="0" y="1"/>
                      <a:pt x="4" y="1"/>
                    </a:cubicBezTo>
                    <a:cubicBezTo>
                      <a:pt x="4" y="1"/>
                      <a:pt x="4" y="0"/>
                      <a:pt x="5" y="3"/>
                    </a:cubicBezTo>
                    <a:cubicBezTo>
                      <a:pt x="7" y="6"/>
                      <a:pt x="8" y="3"/>
                      <a:pt x="6" y="6"/>
                    </a:cubicBezTo>
                    <a:cubicBezTo>
                      <a:pt x="4" y="10"/>
                      <a:pt x="6" y="11"/>
                      <a:pt x="6" y="11"/>
                    </a:cubicBezTo>
                    <a:cubicBezTo>
                      <a:pt x="6" y="11"/>
                      <a:pt x="4" y="10"/>
                      <a:pt x="3" y="10"/>
                    </a:cubicBezTo>
                    <a:cubicBezTo>
                      <a:pt x="1" y="10"/>
                      <a:pt x="2" y="7"/>
                      <a:pt x="2" y="7"/>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83" name="Freeform 162">
                <a:extLst>
                  <a:ext uri="{FF2B5EF4-FFF2-40B4-BE49-F238E27FC236}">
                    <a16:creationId xmlns:a16="http://schemas.microsoft.com/office/drawing/2014/main" id="{EAE41702-00A6-7E1E-BDEE-ADF897F28D7C}"/>
                  </a:ext>
                </a:extLst>
              </p:cNvPr>
              <p:cNvSpPr>
                <a:spLocks noEditPoints="1"/>
              </p:cNvSpPr>
              <p:nvPr/>
            </p:nvSpPr>
            <p:spPr bwMode="auto">
              <a:xfrm>
                <a:off x="3466" y="967"/>
                <a:ext cx="104" cy="75"/>
              </a:xfrm>
              <a:custGeom>
                <a:avLst/>
                <a:gdLst>
                  <a:gd name="T0" fmla="*/ 3 w 53"/>
                  <a:gd name="T1" fmla="*/ 2 h 38"/>
                  <a:gd name="T2" fmla="*/ 4 w 53"/>
                  <a:gd name="T3" fmla="*/ 15 h 38"/>
                  <a:gd name="T4" fmla="*/ 2 w 53"/>
                  <a:gd name="T5" fmla="*/ 17 h 38"/>
                  <a:gd name="T6" fmla="*/ 9 w 53"/>
                  <a:gd name="T7" fmla="*/ 24 h 38"/>
                  <a:gd name="T8" fmla="*/ 19 w 53"/>
                  <a:gd name="T9" fmla="*/ 26 h 38"/>
                  <a:gd name="T10" fmla="*/ 21 w 53"/>
                  <a:gd name="T11" fmla="*/ 34 h 38"/>
                  <a:gd name="T12" fmla="*/ 32 w 53"/>
                  <a:gd name="T13" fmla="*/ 35 h 38"/>
                  <a:gd name="T14" fmla="*/ 34 w 53"/>
                  <a:gd name="T15" fmla="*/ 38 h 38"/>
                  <a:gd name="T16" fmla="*/ 38 w 53"/>
                  <a:gd name="T17" fmla="*/ 36 h 38"/>
                  <a:gd name="T18" fmla="*/ 43 w 53"/>
                  <a:gd name="T19" fmla="*/ 36 h 38"/>
                  <a:gd name="T20" fmla="*/ 44 w 53"/>
                  <a:gd name="T21" fmla="*/ 33 h 38"/>
                  <a:gd name="T22" fmla="*/ 48 w 53"/>
                  <a:gd name="T23" fmla="*/ 33 h 38"/>
                  <a:gd name="T24" fmla="*/ 48 w 53"/>
                  <a:gd name="T25" fmla="*/ 28 h 38"/>
                  <a:gd name="T26" fmla="*/ 51 w 53"/>
                  <a:gd name="T27" fmla="*/ 20 h 38"/>
                  <a:gd name="T28" fmla="*/ 52 w 53"/>
                  <a:gd name="T29" fmla="*/ 15 h 38"/>
                  <a:gd name="T30" fmla="*/ 48 w 53"/>
                  <a:gd name="T31" fmla="*/ 13 h 38"/>
                  <a:gd name="T32" fmla="*/ 44 w 53"/>
                  <a:gd name="T33" fmla="*/ 11 h 38"/>
                  <a:gd name="T34" fmla="*/ 39 w 53"/>
                  <a:gd name="T35" fmla="*/ 9 h 38"/>
                  <a:gd name="T36" fmla="*/ 37 w 53"/>
                  <a:gd name="T37" fmla="*/ 5 h 38"/>
                  <a:gd name="T38" fmla="*/ 32 w 53"/>
                  <a:gd name="T39" fmla="*/ 6 h 38"/>
                  <a:gd name="T40" fmla="*/ 27 w 53"/>
                  <a:gd name="T41" fmla="*/ 4 h 38"/>
                  <a:gd name="T42" fmla="*/ 20 w 53"/>
                  <a:gd name="T43" fmla="*/ 2 h 38"/>
                  <a:gd name="T44" fmla="*/ 11 w 53"/>
                  <a:gd name="T45" fmla="*/ 0 h 38"/>
                  <a:gd name="T46" fmla="*/ 3 w 53"/>
                  <a:gd name="T47" fmla="*/ 2 h 38"/>
                  <a:gd name="T48" fmla="*/ 0 w 53"/>
                  <a:gd name="T49" fmla="*/ 12 h 38"/>
                  <a:gd name="T50" fmla="*/ 0 w 53"/>
                  <a:gd name="T51" fmla="*/ 13 h 38"/>
                  <a:gd name="T52" fmla="*/ 1 w 53"/>
                  <a:gd name="T53" fmla="*/ 13 h 38"/>
                  <a:gd name="T54" fmla="*/ 0 w 53"/>
                  <a:gd name="T55"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 h="38">
                    <a:moveTo>
                      <a:pt x="3" y="2"/>
                    </a:moveTo>
                    <a:cubicBezTo>
                      <a:pt x="3" y="6"/>
                      <a:pt x="3" y="10"/>
                      <a:pt x="4" y="15"/>
                    </a:cubicBezTo>
                    <a:cubicBezTo>
                      <a:pt x="3" y="16"/>
                      <a:pt x="3" y="16"/>
                      <a:pt x="2" y="17"/>
                    </a:cubicBezTo>
                    <a:cubicBezTo>
                      <a:pt x="2" y="17"/>
                      <a:pt x="7" y="22"/>
                      <a:pt x="9" y="24"/>
                    </a:cubicBezTo>
                    <a:cubicBezTo>
                      <a:pt x="11" y="26"/>
                      <a:pt x="19" y="26"/>
                      <a:pt x="19" y="26"/>
                    </a:cubicBezTo>
                    <a:cubicBezTo>
                      <a:pt x="21" y="34"/>
                      <a:pt x="21" y="34"/>
                      <a:pt x="21" y="34"/>
                    </a:cubicBezTo>
                    <a:cubicBezTo>
                      <a:pt x="21" y="34"/>
                      <a:pt x="30" y="34"/>
                      <a:pt x="32" y="35"/>
                    </a:cubicBezTo>
                    <a:cubicBezTo>
                      <a:pt x="35" y="36"/>
                      <a:pt x="34" y="38"/>
                      <a:pt x="34" y="38"/>
                    </a:cubicBezTo>
                    <a:cubicBezTo>
                      <a:pt x="38" y="36"/>
                      <a:pt x="38" y="36"/>
                      <a:pt x="38" y="36"/>
                    </a:cubicBezTo>
                    <a:cubicBezTo>
                      <a:pt x="43" y="36"/>
                      <a:pt x="43" y="36"/>
                      <a:pt x="43" y="36"/>
                    </a:cubicBezTo>
                    <a:cubicBezTo>
                      <a:pt x="44" y="36"/>
                      <a:pt x="44" y="33"/>
                      <a:pt x="44" y="33"/>
                    </a:cubicBezTo>
                    <a:cubicBezTo>
                      <a:pt x="48" y="33"/>
                      <a:pt x="48" y="33"/>
                      <a:pt x="48" y="33"/>
                    </a:cubicBezTo>
                    <a:cubicBezTo>
                      <a:pt x="48" y="33"/>
                      <a:pt x="48" y="31"/>
                      <a:pt x="48" y="28"/>
                    </a:cubicBezTo>
                    <a:cubicBezTo>
                      <a:pt x="47" y="25"/>
                      <a:pt x="49" y="22"/>
                      <a:pt x="51" y="20"/>
                    </a:cubicBezTo>
                    <a:cubicBezTo>
                      <a:pt x="53" y="18"/>
                      <a:pt x="52" y="15"/>
                      <a:pt x="52" y="15"/>
                    </a:cubicBezTo>
                    <a:cubicBezTo>
                      <a:pt x="52" y="15"/>
                      <a:pt x="51" y="14"/>
                      <a:pt x="48" y="13"/>
                    </a:cubicBezTo>
                    <a:cubicBezTo>
                      <a:pt x="46" y="12"/>
                      <a:pt x="46" y="12"/>
                      <a:pt x="44" y="11"/>
                    </a:cubicBezTo>
                    <a:cubicBezTo>
                      <a:pt x="43" y="9"/>
                      <a:pt x="41" y="10"/>
                      <a:pt x="39" y="9"/>
                    </a:cubicBezTo>
                    <a:cubicBezTo>
                      <a:pt x="37" y="8"/>
                      <a:pt x="37" y="5"/>
                      <a:pt x="37" y="5"/>
                    </a:cubicBezTo>
                    <a:cubicBezTo>
                      <a:pt x="37" y="5"/>
                      <a:pt x="34" y="6"/>
                      <a:pt x="32" y="6"/>
                    </a:cubicBezTo>
                    <a:cubicBezTo>
                      <a:pt x="31" y="6"/>
                      <a:pt x="29" y="4"/>
                      <a:pt x="27" y="4"/>
                    </a:cubicBezTo>
                    <a:cubicBezTo>
                      <a:pt x="25" y="4"/>
                      <a:pt x="24" y="3"/>
                      <a:pt x="20" y="2"/>
                    </a:cubicBezTo>
                    <a:cubicBezTo>
                      <a:pt x="15" y="1"/>
                      <a:pt x="13" y="0"/>
                      <a:pt x="11" y="0"/>
                    </a:cubicBezTo>
                    <a:cubicBezTo>
                      <a:pt x="9" y="0"/>
                      <a:pt x="3" y="2"/>
                      <a:pt x="3" y="2"/>
                    </a:cubicBezTo>
                    <a:close/>
                    <a:moveTo>
                      <a:pt x="0" y="12"/>
                    </a:moveTo>
                    <a:cubicBezTo>
                      <a:pt x="0" y="13"/>
                      <a:pt x="0" y="13"/>
                      <a:pt x="0" y="13"/>
                    </a:cubicBezTo>
                    <a:cubicBezTo>
                      <a:pt x="1" y="13"/>
                      <a:pt x="1" y="13"/>
                      <a:pt x="1" y="13"/>
                    </a:cubicBezTo>
                    <a:cubicBezTo>
                      <a:pt x="0" y="12"/>
                      <a:pt x="2" y="12"/>
                      <a:pt x="0" y="1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84" name="Freeform 163">
                <a:extLst>
                  <a:ext uri="{FF2B5EF4-FFF2-40B4-BE49-F238E27FC236}">
                    <a16:creationId xmlns:a16="http://schemas.microsoft.com/office/drawing/2014/main" id="{3E737C62-DF08-9D89-65E4-F76647A3576E}"/>
                  </a:ext>
                </a:extLst>
              </p:cNvPr>
              <p:cNvSpPr>
                <a:spLocks noEditPoints="1"/>
              </p:cNvSpPr>
              <p:nvPr/>
            </p:nvSpPr>
            <p:spPr bwMode="auto">
              <a:xfrm>
                <a:off x="3466" y="967"/>
                <a:ext cx="104" cy="75"/>
              </a:xfrm>
              <a:custGeom>
                <a:avLst/>
                <a:gdLst>
                  <a:gd name="T0" fmla="*/ 3 w 53"/>
                  <a:gd name="T1" fmla="*/ 2 h 38"/>
                  <a:gd name="T2" fmla="*/ 4 w 53"/>
                  <a:gd name="T3" fmla="*/ 15 h 38"/>
                  <a:gd name="T4" fmla="*/ 2 w 53"/>
                  <a:gd name="T5" fmla="*/ 17 h 38"/>
                  <a:gd name="T6" fmla="*/ 9 w 53"/>
                  <a:gd name="T7" fmla="*/ 24 h 38"/>
                  <a:gd name="T8" fmla="*/ 19 w 53"/>
                  <a:gd name="T9" fmla="*/ 26 h 38"/>
                  <a:gd name="T10" fmla="*/ 21 w 53"/>
                  <a:gd name="T11" fmla="*/ 34 h 38"/>
                  <a:gd name="T12" fmla="*/ 32 w 53"/>
                  <a:gd name="T13" fmla="*/ 35 h 38"/>
                  <a:gd name="T14" fmla="*/ 34 w 53"/>
                  <a:gd name="T15" fmla="*/ 38 h 38"/>
                  <a:gd name="T16" fmla="*/ 38 w 53"/>
                  <a:gd name="T17" fmla="*/ 36 h 38"/>
                  <a:gd name="T18" fmla="*/ 43 w 53"/>
                  <a:gd name="T19" fmla="*/ 36 h 38"/>
                  <a:gd name="T20" fmla="*/ 44 w 53"/>
                  <a:gd name="T21" fmla="*/ 33 h 38"/>
                  <a:gd name="T22" fmla="*/ 48 w 53"/>
                  <a:gd name="T23" fmla="*/ 33 h 38"/>
                  <a:gd name="T24" fmla="*/ 48 w 53"/>
                  <a:gd name="T25" fmla="*/ 28 h 38"/>
                  <a:gd name="T26" fmla="*/ 51 w 53"/>
                  <a:gd name="T27" fmla="*/ 20 h 38"/>
                  <a:gd name="T28" fmla="*/ 52 w 53"/>
                  <a:gd name="T29" fmla="*/ 15 h 38"/>
                  <a:gd name="T30" fmla="*/ 48 w 53"/>
                  <a:gd name="T31" fmla="*/ 13 h 38"/>
                  <a:gd name="T32" fmla="*/ 44 w 53"/>
                  <a:gd name="T33" fmla="*/ 11 h 38"/>
                  <a:gd name="T34" fmla="*/ 39 w 53"/>
                  <a:gd name="T35" fmla="*/ 9 h 38"/>
                  <a:gd name="T36" fmla="*/ 37 w 53"/>
                  <a:gd name="T37" fmla="*/ 5 h 38"/>
                  <a:gd name="T38" fmla="*/ 32 w 53"/>
                  <a:gd name="T39" fmla="*/ 6 h 38"/>
                  <a:gd name="T40" fmla="*/ 27 w 53"/>
                  <a:gd name="T41" fmla="*/ 4 h 38"/>
                  <a:gd name="T42" fmla="*/ 20 w 53"/>
                  <a:gd name="T43" fmla="*/ 2 h 38"/>
                  <a:gd name="T44" fmla="*/ 11 w 53"/>
                  <a:gd name="T45" fmla="*/ 0 h 38"/>
                  <a:gd name="T46" fmla="*/ 3 w 53"/>
                  <a:gd name="T47" fmla="*/ 2 h 38"/>
                  <a:gd name="T48" fmla="*/ 0 w 53"/>
                  <a:gd name="T49" fmla="*/ 12 h 38"/>
                  <a:gd name="T50" fmla="*/ 0 w 53"/>
                  <a:gd name="T51" fmla="*/ 13 h 38"/>
                  <a:gd name="T52" fmla="*/ 1 w 53"/>
                  <a:gd name="T53" fmla="*/ 13 h 38"/>
                  <a:gd name="T54" fmla="*/ 0 w 53"/>
                  <a:gd name="T55"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 h="38">
                    <a:moveTo>
                      <a:pt x="3" y="2"/>
                    </a:moveTo>
                    <a:cubicBezTo>
                      <a:pt x="3" y="6"/>
                      <a:pt x="3" y="10"/>
                      <a:pt x="4" y="15"/>
                    </a:cubicBezTo>
                    <a:cubicBezTo>
                      <a:pt x="3" y="16"/>
                      <a:pt x="3" y="16"/>
                      <a:pt x="2" y="17"/>
                    </a:cubicBezTo>
                    <a:cubicBezTo>
                      <a:pt x="2" y="17"/>
                      <a:pt x="7" y="22"/>
                      <a:pt x="9" y="24"/>
                    </a:cubicBezTo>
                    <a:cubicBezTo>
                      <a:pt x="11" y="26"/>
                      <a:pt x="19" y="26"/>
                      <a:pt x="19" y="26"/>
                    </a:cubicBezTo>
                    <a:cubicBezTo>
                      <a:pt x="21" y="34"/>
                      <a:pt x="21" y="34"/>
                      <a:pt x="21" y="34"/>
                    </a:cubicBezTo>
                    <a:cubicBezTo>
                      <a:pt x="21" y="34"/>
                      <a:pt x="30" y="34"/>
                      <a:pt x="32" y="35"/>
                    </a:cubicBezTo>
                    <a:cubicBezTo>
                      <a:pt x="35" y="36"/>
                      <a:pt x="34" y="38"/>
                      <a:pt x="34" y="38"/>
                    </a:cubicBezTo>
                    <a:cubicBezTo>
                      <a:pt x="38" y="36"/>
                      <a:pt x="38" y="36"/>
                      <a:pt x="38" y="36"/>
                    </a:cubicBezTo>
                    <a:cubicBezTo>
                      <a:pt x="43" y="36"/>
                      <a:pt x="43" y="36"/>
                      <a:pt x="43" y="36"/>
                    </a:cubicBezTo>
                    <a:cubicBezTo>
                      <a:pt x="44" y="36"/>
                      <a:pt x="44" y="33"/>
                      <a:pt x="44" y="33"/>
                    </a:cubicBezTo>
                    <a:cubicBezTo>
                      <a:pt x="48" y="33"/>
                      <a:pt x="48" y="33"/>
                      <a:pt x="48" y="33"/>
                    </a:cubicBezTo>
                    <a:cubicBezTo>
                      <a:pt x="48" y="33"/>
                      <a:pt x="48" y="31"/>
                      <a:pt x="48" y="28"/>
                    </a:cubicBezTo>
                    <a:cubicBezTo>
                      <a:pt x="47" y="25"/>
                      <a:pt x="49" y="22"/>
                      <a:pt x="51" y="20"/>
                    </a:cubicBezTo>
                    <a:cubicBezTo>
                      <a:pt x="53" y="18"/>
                      <a:pt x="52" y="15"/>
                      <a:pt x="52" y="15"/>
                    </a:cubicBezTo>
                    <a:cubicBezTo>
                      <a:pt x="52" y="15"/>
                      <a:pt x="51" y="14"/>
                      <a:pt x="48" y="13"/>
                    </a:cubicBezTo>
                    <a:cubicBezTo>
                      <a:pt x="46" y="12"/>
                      <a:pt x="46" y="12"/>
                      <a:pt x="44" y="11"/>
                    </a:cubicBezTo>
                    <a:cubicBezTo>
                      <a:pt x="43" y="9"/>
                      <a:pt x="41" y="10"/>
                      <a:pt x="39" y="9"/>
                    </a:cubicBezTo>
                    <a:cubicBezTo>
                      <a:pt x="37" y="8"/>
                      <a:pt x="37" y="5"/>
                      <a:pt x="37" y="5"/>
                    </a:cubicBezTo>
                    <a:cubicBezTo>
                      <a:pt x="37" y="5"/>
                      <a:pt x="34" y="6"/>
                      <a:pt x="32" y="6"/>
                    </a:cubicBezTo>
                    <a:cubicBezTo>
                      <a:pt x="31" y="6"/>
                      <a:pt x="29" y="4"/>
                      <a:pt x="27" y="4"/>
                    </a:cubicBezTo>
                    <a:cubicBezTo>
                      <a:pt x="25" y="4"/>
                      <a:pt x="24" y="3"/>
                      <a:pt x="20" y="2"/>
                    </a:cubicBezTo>
                    <a:cubicBezTo>
                      <a:pt x="15" y="1"/>
                      <a:pt x="13" y="0"/>
                      <a:pt x="11" y="0"/>
                    </a:cubicBezTo>
                    <a:cubicBezTo>
                      <a:pt x="9" y="0"/>
                      <a:pt x="3" y="2"/>
                      <a:pt x="3" y="2"/>
                    </a:cubicBezTo>
                    <a:close/>
                    <a:moveTo>
                      <a:pt x="0" y="12"/>
                    </a:moveTo>
                    <a:cubicBezTo>
                      <a:pt x="0" y="13"/>
                      <a:pt x="0" y="13"/>
                      <a:pt x="0" y="13"/>
                    </a:cubicBezTo>
                    <a:cubicBezTo>
                      <a:pt x="1" y="13"/>
                      <a:pt x="1" y="13"/>
                      <a:pt x="1" y="13"/>
                    </a:cubicBezTo>
                    <a:cubicBezTo>
                      <a:pt x="0" y="12"/>
                      <a:pt x="2" y="12"/>
                      <a:pt x="0" y="1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85" name="Freeform 164">
                <a:extLst>
                  <a:ext uri="{FF2B5EF4-FFF2-40B4-BE49-F238E27FC236}">
                    <a16:creationId xmlns:a16="http://schemas.microsoft.com/office/drawing/2014/main" id="{F0D7FFB4-B4F2-BCE1-7C8C-7DF5AEE916C3}"/>
                  </a:ext>
                </a:extLst>
              </p:cNvPr>
              <p:cNvSpPr>
                <a:spLocks/>
              </p:cNvSpPr>
              <p:nvPr/>
            </p:nvSpPr>
            <p:spPr bwMode="auto">
              <a:xfrm>
                <a:off x="3286" y="1203"/>
                <a:ext cx="8" cy="9"/>
              </a:xfrm>
              <a:custGeom>
                <a:avLst/>
                <a:gdLst>
                  <a:gd name="T0" fmla="*/ 3 w 4"/>
                  <a:gd name="T1" fmla="*/ 5 h 5"/>
                  <a:gd name="T2" fmla="*/ 1 w 4"/>
                  <a:gd name="T3" fmla="*/ 1 h 5"/>
                  <a:gd name="T4" fmla="*/ 3 w 4"/>
                  <a:gd name="T5" fmla="*/ 5 h 5"/>
                </a:gdLst>
                <a:ahLst/>
                <a:cxnLst>
                  <a:cxn ang="0">
                    <a:pos x="T0" y="T1"/>
                  </a:cxn>
                  <a:cxn ang="0">
                    <a:pos x="T2" y="T3"/>
                  </a:cxn>
                  <a:cxn ang="0">
                    <a:pos x="T4" y="T5"/>
                  </a:cxn>
                </a:cxnLst>
                <a:rect l="0" t="0" r="r" b="b"/>
                <a:pathLst>
                  <a:path w="4" h="5">
                    <a:moveTo>
                      <a:pt x="3" y="5"/>
                    </a:moveTo>
                    <a:cubicBezTo>
                      <a:pt x="0" y="4"/>
                      <a:pt x="1" y="1"/>
                      <a:pt x="1" y="1"/>
                    </a:cubicBezTo>
                    <a:cubicBezTo>
                      <a:pt x="4" y="0"/>
                      <a:pt x="4" y="2"/>
                      <a:pt x="3" y="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86" name="Freeform 165">
                <a:extLst>
                  <a:ext uri="{FF2B5EF4-FFF2-40B4-BE49-F238E27FC236}">
                    <a16:creationId xmlns:a16="http://schemas.microsoft.com/office/drawing/2014/main" id="{04CCA0D8-88F9-FC21-56EB-85C521388409}"/>
                  </a:ext>
                </a:extLst>
              </p:cNvPr>
              <p:cNvSpPr>
                <a:spLocks/>
              </p:cNvSpPr>
              <p:nvPr/>
            </p:nvSpPr>
            <p:spPr bwMode="auto">
              <a:xfrm>
                <a:off x="3286" y="1203"/>
                <a:ext cx="8" cy="9"/>
              </a:xfrm>
              <a:custGeom>
                <a:avLst/>
                <a:gdLst>
                  <a:gd name="T0" fmla="*/ 3 w 4"/>
                  <a:gd name="T1" fmla="*/ 5 h 5"/>
                  <a:gd name="T2" fmla="*/ 1 w 4"/>
                  <a:gd name="T3" fmla="*/ 1 h 5"/>
                  <a:gd name="T4" fmla="*/ 3 w 4"/>
                  <a:gd name="T5" fmla="*/ 5 h 5"/>
                </a:gdLst>
                <a:ahLst/>
                <a:cxnLst>
                  <a:cxn ang="0">
                    <a:pos x="T0" y="T1"/>
                  </a:cxn>
                  <a:cxn ang="0">
                    <a:pos x="T2" y="T3"/>
                  </a:cxn>
                  <a:cxn ang="0">
                    <a:pos x="T4" y="T5"/>
                  </a:cxn>
                </a:cxnLst>
                <a:rect l="0" t="0" r="r" b="b"/>
                <a:pathLst>
                  <a:path w="4" h="5">
                    <a:moveTo>
                      <a:pt x="3" y="5"/>
                    </a:moveTo>
                    <a:cubicBezTo>
                      <a:pt x="0" y="4"/>
                      <a:pt x="1" y="1"/>
                      <a:pt x="1" y="1"/>
                    </a:cubicBezTo>
                    <a:cubicBezTo>
                      <a:pt x="4" y="0"/>
                      <a:pt x="4" y="2"/>
                      <a:pt x="3" y="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87" name="Freeform 166">
                <a:extLst>
                  <a:ext uri="{FF2B5EF4-FFF2-40B4-BE49-F238E27FC236}">
                    <a16:creationId xmlns:a16="http://schemas.microsoft.com/office/drawing/2014/main" id="{5EF9B84B-6CA3-EF54-1A84-BDBB0E1F8196}"/>
                  </a:ext>
                </a:extLst>
              </p:cNvPr>
              <p:cNvSpPr>
                <a:spLocks/>
              </p:cNvSpPr>
              <p:nvPr/>
            </p:nvSpPr>
            <p:spPr bwMode="auto">
              <a:xfrm>
                <a:off x="3257" y="1536"/>
                <a:ext cx="286" cy="300"/>
              </a:xfrm>
              <a:custGeom>
                <a:avLst/>
                <a:gdLst>
                  <a:gd name="T0" fmla="*/ 23 w 146"/>
                  <a:gd name="T1" fmla="*/ 4 h 153"/>
                  <a:gd name="T2" fmla="*/ 16 w 146"/>
                  <a:gd name="T3" fmla="*/ 13 h 153"/>
                  <a:gd name="T4" fmla="*/ 13 w 146"/>
                  <a:gd name="T5" fmla="*/ 23 h 153"/>
                  <a:gd name="T6" fmla="*/ 7 w 146"/>
                  <a:gd name="T7" fmla="*/ 31 h 153"/>
                  <a:gd name="T8" fmla="*/ 6 w 146"/>
                  <a:gd name="T9" fmla="*/ 36 h 153"/>
                  <a:gd name="T10" fmla="*/ 8 w 146"/>
                  <a:gd name="T11" fmla="*/ 57 h 153"/>
                  <a:gd name="T12" fmla="*/ 6 w 146"/>
                  <a:gd name="T13" fmla="*/ 63 h 153"/>
                  <a:gd name="T14" fmla="*/ 0 w 146"/>
                  <a:gd name="T15" fmla="*/ 79 h 153"/>
                  <a:gd name="T16" fmla="*/ 6 w 146"/>
                  <a:gd name="T17" fmla="*/ 89 h 153"/>
                  <a:gd name="T18" fmla="*/ 12 w 146"/>
                  <a:gd name="T19" fmla="*/ 100 h 153"/>
                  <a:gd name="T20" fmla="*/ 22 w 146"/>
                  <a:gd name="T21" fmla="*/ 105 h 153"/>
                  <a:gd name="T22" fmla="*/ 47 w 146"/>
                  <a:gd name="T23" fmla="*/ 121 h 153"/>
                  <a:gd name="T24" fmla="*/ 55 w 146"/>
                  <a:gd name="T25" fmla="*/ 114 h 153"/>
                  <a:gd name="T26" fmla="*/ 138 w 146"/>
                  <a:gd name="T27" fmla="*/ 153 h 153"/>
                  <a:gd name="T28" fmla="*/ 146 w 146"/>
                  <a:gd name="T29" fmla="*/ 145 h 153"/>
                  <a:gd name="T30" fmla="*/ 145 w 146"/>
                  <a:gd name="T31" fmla="*/ 46 h 153"/>
                  <a:gd name="T32" fmla="*/ 142 w 146"/>
                  <a:gd name="T33" fmla="*/ 38 h 153"/>
                  <a:gd name="T34" fmla="*/ 142 w 146"/>
                  <a:gd name="T35" fmla="*/ 24 h 153"/>
                  <a:gd name="T36" fmla="*/ 138 w 146"/>
                  <a:gd name="T37" fmla="*/ 16 h 153"/>
                  <a:gd name="T38" fmla="*/ 129 w 146"/>
                  <a:gd name="T39" fmla="*/ 14 h 153"/>
                  <a:gd name="T40" fmla="*/ 127 w 146"/>
                  <a:gd name="T41" fmla="*/ 11 h 153"/>
                  <a:gd name="T42" fmla="*/ 122 w 146"/>
                  <a:gd name="T43" fmla="*/ 9 h 153"/>
                  <a:gd name="T44" fmla="*/ 114 w 146"/>
                  <a:gd name="T45" fmla="*/ 5 h 153"/>
                  <a:gd name="T46" fmla="*/ 110 w 146"/>
                  <a:gd name="T47" fmla="*/ 7 h 153"/>
                  <a:gd name="T48" fmla="*/ 104 w 146"/>
                  <a:gd name="T49" fmla="*/ 10 h 153"/>
                  <a:gd name="T50" fmla="*/ 99 w 146"/>
                  <a:gd name="T51" fmla="*/ 16 h 153"/>
                  <a:gd name="T52" fmla="*/ 96 w 146"/>
                  <a:gd name="T53" fmla="*/ 33 h 153"/>
                  <a:gd name="T54" fmla="*/ 75 w 146"/>
                  <a:gd name="T55" fmla="*/ 28 h 153"/>
                  <a:gd name="T56" fmla="*/ 66 w 146"/>
                  <a:gd name="T57" fmla="*/ 25 h 153"/>
                  <a:gd name="T58" fmla="*/ 58 w 146"/>
                  <a:gd name="T59" fmla="*/ 17 h 153"/>
                  <a:gd name="T60" fmla="*/ 54 w 146"/>
                  <a:gd name="T61" fmla="*/ 13 h 153"/>
                  <a:gd name="T62" fmla="*/ 49 w 146"/>
                  <a:gd name="T63" fmla="*/ 11 h 153"/>
                  <a:gd name="T64" fmla="*/ 43 w 146"/>
                  <a:gd name="T65" fmla="*/ 8 h 153"/>
                  <a:gd name="T66" fmla="*/ 33 w 146"/>
                  <a:gd name="T67" fmla="*/ 7 h 153"/>
                  <a:gd name="T68" fmla="*/ 27 w 146"/>
                  <a:gd name="T69" fmla="*/ 3 h 153"/>
                  <a:gd name="T70" fmla="*/ 25 w 146"/>
                  <a:gd name="T7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53">
                    <a:moveTo>
                      <a:pt x="25" y="0"/>
                    </a:moveTo>
                    <a:cubicBezTo>
                      <a:pt x="23" y="4"/>
                      <a:pt x="23" y="4"/>
                      <a:pt x="23" y="4"/>
                    </a:cubicBezTo>
                    <a:cubicBezTo>
                      <a:pt x="23" y="4"/>
                      <a:pt x="25" y="8"/>
                      <a:pt x="22" y="9"/>
                    </a:cubicBezTo>
                    <a:cubicBezTo>
                      <a:pt x="19" y="10"/>
                      <a:pt x="18" y="13"/>
                      <a:pt x="16" y="13"/>
                    </a:cubicBezTo>
                    <a:cubicBezTo>
                      <a:pt x="14" y="13"/>
                      <a:pt x="12" y="15"/>
                      <a:pt x="12" y="15"/>
                    </a:cubicBezTo>
                    <a:cubicBezTo>
                      <a:pt x="12" y="15"/>
                      <a:pt x="12" y="20"/>
                      <a:pt x="13" y="23"/>
                    </a:cubicBezTo>
                    <a:cubicBezTo>
                      <a:pt x="13" y="25"/>
                      <a:pt x="11" y="25"/>
                      <a:pt x="11" y="27"/>
                    </a:cubicBezTo>
                    <a:cubicBezTo>
                      <a:pt x="11" y="29"/>
                      <a:pt x="7" y="31"/>
                      <a:pt x="7" y="31"/>
                    </a:cubicBezTo>
                    <a:cubicBezTo>
                      <a:pt x="7" y="31"/>
                      <a:pt x="5" y="31"/>
                      <a:pt x="4" y="32"/>
                    </a:cubicBezTo>
                    <a:cubicBezTo>
                      <a:pt x="3" y="33"/>
                      <a:pt x="6" y="36"/>
                      <a:pt x="6" y="36"/>
                    </a:cubicBezTo>
                    <a:cubicBezTo>
                      <a:pt x="5" y="53"/>
                      <a:pt x="5" y="53"/>
                      <a:pt x="5" y="53"/>
                    </a:cubicBezTo>
                    <a:cubicBezTo>
                      <a:pt x="8" y="57"/>
                      <a:pt x="8" y="57"/>
                      <a:pt x="8" y="57"/>
                    </a:cubicBezTo>
                    <a:cubicBezTo>
                      <a:pt x="8" y="57"/>
                      <a:pt x="4" y="60"/>
                      <a:pt x="5" y="60"/>
                    </a:cubicBezTo>
                    <a:cubicBezTo>
                      <a:pt x="7" y="60"/>
                      <a:pt x="6" y="63"/>
                      <a:pt x="6" y="63"/>
                    </a:cubicBezTo>
                    <a:cubicBezTo>
                      <a:pt x="6" y="63"/>
                      <a:pt x="6" y="71"/>
                      <a:pt x="5" y="75"/>
                    </a:cubicBezTo>
                    <a:cubicBezTo>
                      <a:pt x="5" y="78"/>
                      <a:pt x="0" y="79"/>
                      <a:pt x="0" y="79"/>
                    </a:cubicBezTo>
                    <a:cubicBezTo>
                      <a:pt x="0" y="79"/>
                      <a:pt x="1" y="81"/>
                      <a:pt x="3" y="83"/>
                    </a:cubicBezTo>
                    <a:cubicBezTo>
                      <a:pt x="4" y="85"/>
                      <a:pt x="4" y="88"/>
                      <a:pt x="6" y="89"/>
                    </a:cubicBezTo>
                    <a:cubicBezTo>
                      <a:pt x="8" y="91"/>
                      <a:pt x="8" y="92"/>
                      <a:pt x="8" y="95"/>
                    </a:cubicBezTo>
                    <a:cubicBezTo>
                      <a:pt x="8" y="97"/>
                      <a:pt x="10" y="100"/>
                      <a:pt x="12" y="100"/>
                    </a:cubicBezTo>
                    <a:cubicBezTo>
                      <a:pt x="14" y="100"/>
                      <a:pt x="16" y="101"/>
                      <a:pt x="18" y="102"/>
                    </a:cubicBezTo>
                    <a:cubicBezTo>
                      <a:pt x="20" y="102"/>
                      <a:pt x="20" y="105"/>
                      <a:pt x="22" y="105"/>
                    </a:cubicBezTo>
                    <a:cubicBezTo>
                      <a:pt x="24" y="105"/>
                      <a:pt x="27" y="109"/>
                      <a:pt x="27" y="109"/>
                    </a:cubicBezTo>
                    <a:cubicBezTo>
                      <a:pt x="47" y="121"/>
                      <a:pt x="47" y="121"/>
                      <a:pt x="47" y="121"/>
                    </a:cubicBezTo>
                    <a:cubicBezTo>
                      <a:pt x="48" y="119"/>
                      <a:pt x="48" y="119"/>
                      <a:pt x="48" y="119"/>
                    </a:cubicBezTo>
                    <a:cubicBezTo>
                      <a:pt x="55" y="114"/>
                      <a:pt x="55" y="114"/>
                      <a:pt x="55" y="114"/>
                    </a:cubicBezTo>
                    <a:cubicBezTo>
                      <a:pt x="63" y="108"/>
                      <a:pt x="63" y="108"/>
                      <a:pt x="63" y="108"/>
                    </a:cubicBezTo>
                    <a:cubicBezTo>
                      <a:pt x="138" y="153"/>
                      <a:pt x="138" y="153"/>
                      <a:pt x="138" y="153"/>
                    </a:cubicBezTo>
                    <a:cubicBezTo>
                      <a:pt x="138" y="145"/>
                      <a:pt x="138" y="145"/>
                      <a:pt x="138" y="145"/>
                    </a:cubicBezTo>
                    <a:cubicBezTo>
                      <a:pt x="146" y="145"/>
                      <a:pt x="146" y="145"/>
                      <a:pt x="146" y="145"/>
                    </a:cubicBezTo>
                    <a:cubicBezTo>
                      <a:pt x="146" y="124"/>
                      <a:pt x="146" y="124"/>
                      <a:pt x="146" y="124"/>
                    </a:cubicBezTo>
                    <a:cubicBezTo>
                      <a:pt x="145" y="46"/>
                      <a:pt x="145" y="46"/>
                      <a:pt x="145" y="46"/>
                    </a:cubicBezTo>
                    <a:cubicBezTo>
                      <a:pt x="145" y="46"/>
                      <a:pt x="145" y="45"/>
                      <a:pt x="144" y="44"/>
                    </a:cubicBezTo>
                    <a:cubicBezTo>
                      <a:pt x="142" y="42"/>
                      <a:pt x="143" y="42"/>
                      <a:pt x="142" y="38"/>
                    </a:cubicBezTo>
                    <a:cubicBezTo>
                      <a:pt x="142" y="35"/>
                      <a:pt x="142" y="34"/>
                      <a:pt x="144" y="32"/>
                    </a:cubicBezTo>
                    <a:cubicBezTo>
                      <a:pt x="146" y="30"/>
                      <a:pt x="143" y="26"/>
                      <a:pt x="142" y="24"/>
                    </a:cubicBezTo>
                    <a:cubicBezTo>
                      <a:pt x="141" y="22"/>
                      <a:pt x="142" y="17"/>
                      <a:pt x="142" y="17"/>
                    </a:cubicBezTo>
                    <a:cubicBezTo>
                      <a:pt x="141" y="17"/>
                      <a:pt x="139" y="16"/>
                      <a:pt x="138" y="16"/>
                    </a:cubicBezTo>
                    <a:cubicBezTo>
                      <a:pt x="138" y="16"/>
                      <a:pt x="138" y="14"/>
                      <a:pt x="138" y="14"/>
                    </a:cubicBezTo>
                    <a:cubicBezTo>
                      <a:pt x="135" y="13"/>
                      <a:pt x="132" y="14"/>
                      <a:pt x="129" y="14"/>
                    </a:cubicBezTo>
                    <a:cubicBezTo>
                      <a:pt x="129" y="14"/>
                      <a:pt x="128" y="12"/>
                      <a:pt x="129" y="12"/>
                    </a:cubicBezTo>
                    <a:cubicBezTo>
                      <a:pt x="128" y="11"/>
                      <a:pt x="127" y="11"/>
                      <a:pt x="127" y="11"/>
                    </a:cubicBezTo>
                    <a:cubicBezTo>
                      <a:pt x="127" y="10"/>
                      <a:pt x="127" y="9"/>
                      <a:pt x="126" y="9"/>
                    </a:cubicBezTo>
                    <a:cubicBezTo>
                      <a:pt x="125" y="8"/>
                      <a:pt x="124" y="9"/>
                      <a:pt x="122" y="9"/>
                    </a:cubicBezTo>
                    <a:cubicBezTo>
                      <a:pt x="120" y="8"/>
                      <a:pt x="117" y="6"/>
                      <a:pt x="116" y="6"/>
                    </a:cubicBezTo>
                    <a:cubicBezTo>
                      <a:pt x="115" y="5"/>
                      <a:pt x="114" y="5"/>
                      <a:pt x="114" y="5"/>
                    </a:cubicBezTo>
                    <a:cubicBezTo>
                      <a:pt x="113" y="6"/>
                      <a:pt x="113" y="6"/>
                      <a:pt x="113" y="6"/>
                    </a:cubicBezTo>
                    <a:cubicBezTo>
                      <a:pt x="111" y="7"/>
                      <a:pt x="111" y="6"/>
                      <a:pt x="110" y="7"/>
                    </a:cubicBezTo>
                    <a:cubicBezTo>
                      <a:pt x="109" y="7"/>
                      <a:pt x="108" y="9"/>
                      <a:pt x="107" y="10"/>
                    </a:cubicBezTo>
                    <a:cubicBezTo>
                      <a:pt x="106" y="10"/>
                      <a:pt x="105" y="9"/>
                      <a:pt x="104" y="10"/>
                    </a:cubicBezTo>
                    <a:cubicBezTo>
                      <a:pt x="103" y="10"/>
                      <a:pt x="102" y="13"/>
                      <a:pt x="102" y="14"/>
                    </a:cubicBezTo>
                    <a:cubicBezTo>
                      <a:pt x="101" y="15"/>
                      <a:pt x="100" y="15"/>
                      <a:pt x="99" y="16"/>
                    </a:cubicBezTo>
                    <a:cubicBezTo>
                      <a:pt x="103" y="23"/>
                      <a:pt x="105" y="25"/>
                      <a:pt x="98" y="31"/>
                    </a:cubicBezTo>
                    <a:cubicBezTo>
                      <a:pt x="98" y="31"/>
                      <a:pt x="97" y="33"/>
                      <a:pt x="96" y="33"/>
                    </a:cubicBezTo>
                    <a:cubicBezTo>
                      <a:pt x="92" y="35"/>
                      <a:pt x="81" y="29"/>
                      <a:pt x="78" y="28"/>
                    </a:cubicBezTo>
                    <a:cubicBezTo>
                      <a:pt x="77" y="28"/>
                      <a:pt x="76" y="28"/>
                      <a:pt x="75" y="28"/>
                    </a:cubicBezTo>
                    <a:cubicBezTo>
                      <a:pt x="75" y="28"/>
                      <a:pt x="74" y="26"/>
                      <a:pt x="73" y="26"/>
                    </a:cubicBezTo>
                    <a:cubicBezTo>
                      <a:pt x="70" y="25"/>
                      <a:pt x="70" y="27"/>
                      <a:pt x="66" y="25"/>
                    </a:cubicBezTo>
                    <a:cubicBezTo>
                      <a:pt x="64" y="23"/>
                      <a:pt x="62" y="19"/>
                      <a:pt x="58" y="17"/>
                    </a:cubicBezTo>
                    <a:cubicBezTo>
                      <a:pt x="58" y="17"/>
                      <a:pt x="58" y="17"/>
                      <a:pt x="58" y="17"/>
                    </a:cubicBezTo>
                    <a:cubicBezTo>
                      <a:pt x="57" y="16"/>
                      <a:pt x="58" y="14"/>
                      <a:pt x="57" y="14"/>
                    </a:cubicBezTo>
                    <a:cubicBezTo>
                      <a:pt x="56" y="13"/>
                      <a:pt x="55" y="13"/>
                      <a:pt x="54" y="13"/>
                    </a:cubicBezTo>
                    <a:cubicBezTo>
                      <a:pt x="53" y="13"/>
                      <a:pt x="52" y="11"/>
                      <a:pt x="52" y="11"/>
                    </a:cubicBezTo>
                    <a:cubicBezTo>
                      <a:pt x="51" y="11"/>
                      <a:pt x="50" y="11"/>
                      <a:pt x="49" y="11"/>
                    </a:cubicBezTo>
                    <a:cubicBezTo>
                      <a:pt x="49" y="10"/>
                      <a:pt x="49" y="10"/>
                      <a:pt x="49" y="10"/>
                    </a:cubicBezTo>
                    <a:cubicBezTo>
                      <a:pt x="47" y="8"/>
                      <a:pt x="45" y="8"/>
                      <a:pt x="43" y="8"/>
                    </a:cubicBezTo>
                    <a:cubicBezTo>
                      <a:pt x="43" y="7"/>
                      <a:pt x="43" y="7"/>
                      <a:pt x="43" y="7"/>
                    </a:cubicBezTo>
                    <a:cubicBezTo>
                      <a:pt x="38" y="6"/>
                      <a:pt x="37" y="8"/>
                      <a:pt x="33" y="7"/>
                    </a:cubicBezTo>
                    <a:cubicBezTo>
                      <a:pt x="32" y="7"/>
                      <a:pt x="32" y="5"/>
                      <a:pt x="31" y="4"/>
                    </a:cubicBezTo>
                    <a:cubicBezTo>
                      <a:pt x="30" y="3"/>
                      <a:pt x="28" y="4"/>
                      <a:pt x="27" y="3"/>
                    </a:cubicBezTo>
                    <a:cubicBezTo>
                      <a:pt x="25" y="2"/>
                      <a:pt x="26" y="1"/>
                      <a:pt x="26" y="0"/>
                    </a:cubicBezTo>
                    <a:lnTo>
                      <a:pt x="25" y="0"/>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88" name="Freeform 167">
                <a:extLst>
                  <a:ext uri="{FF2B5EF4-FFF2-40B4-BE49-F238E27FC236}">
                    <a16:creationId xmlns:a16="http://schemas.microsoft.com/office/drawing/2014/main" id="{37AAA110-D64A-2056-355A-A111C5F8EB6E}"/>
                  </a:ext>
                </a:extLst>
              </p:cNvPr>
              <p:cNvSpPr>
                <a:spLocks/>
              </p:cNvSpPr>
              <p:nvPr/>
            </p:nvSpPr>
            <p:spPr bwMode="auto">
              <a:xfrm>
                <a:off x="3257" y="1536"/>
                <a:ext cx="286" cy="300"/>
              </a:xfrm>
              <a:custGeom>
                <a:avLst/>
                <a:gdLst>
                  <a:gd name="T0" fmla="*/ 23 w 146"/>
                  <a:gd name="T1" fmla="*/ 4 h 153"/>
                  <a:gd name="T2" fmla="*/ 16 w 146"/>
                  <a:gd name="T3" fmla="*/ 13 h 153"/>
                  <a:gd name="T4" fmla="*/ 13 w 146"/>
                  <a:gd name="T5" fmla="*/ 23 h 153"/>
                  <a:gd name="T6" fmla="*/ 7 w 146"/>
                  <a:gd name="T7" fmla="*/ 31 h 153"/>
                  <a:gd name="T8" fmla="*/ 6 w 146"/>
                  <a:gd name="T9" fmla="*/ 36 h 153"/>
                  <a:gd name="T10" fmla="*/ 8 w 146"/>
                  <a:gd name="T11" fmla="*/ 57 h 153"/>
                  <a:gd name="T12" fmla="*/ 6 w 146"/>
                  <a:gd name="T13" fmla="*/ 63 h 153"/>
                  <a:gd name="T14" fmla="*/ 0 w 146"/>
                  <a:gd name="T15" fmla="*/ 79 h 153"/>
                  <a:gd name="T16" fmla="*/ 6 w 146"/>
                  <a:gd name="T17" fmla="*/ 89 h 153"/>
                  <a:gd name="T18" fmla="*/ 12 w 146"/>
                  <a:gd name="T19" fmla="*/ 100 h 153"/>
                  <a:gd name="T20" fmla="*/ 22 w 146"/>
                  <a:gd name="T21" fmla="*/ 105 h 153"/>
                  <a:gd name="T22" fmla="*/ 47 w 146"/>
                  <a:gd name="T23" fmla="*/ 121 h 153"/>
                  <a:gd name="T24" fmla="*/ 55 w 146"/>
                  <a:gd name="T25" fmla="*/ 114 h 153"/>
                  <a:gd name="T26" fmla="*/ 138 w 146"/>
                  <a:gd name="T27" fmla="*/ 153 h 153"/>
                  <a:gd name="T28" fmla="*/ 146 w 146"/>
                  <a:gd name="T29" fmla="*/ 145 h 153"/>
                  <a:gd name="T30" fmla="*/ 145 w 146"/>
                  <a:gd name="T31" fmla="*/ 46 h 153"/>
                  <a:gd name="T32" fmla="*/ 142 w 146"/>
                  <a:gd name="T33" fmla="*/ 38 h 153"/>
                  <a:gd name="T34" fmla="*/ 142 w 146"/>
                  <a:gd name="T35" fmla="*/ 24 h 153"/>
                  <a:gd name="T36" fmla="*/ 138 w 146"/>
                  <a:gd name="T37" fmla="*/ 16 h 153"/>
                  <a:gd name="T38" fmla="*/ 129 w 146"/>
                  <a:gd name="T39" fmla="*/ 14 h 153"/>
                  <a:gd name="T40" fmla="*/ 127 w 146"/>
                  <a:gd name="T41" fmla="*/ 11 h 153"/>
                  <a:gd name="T42" fmla="*/ 122 w 146"/>
                  <a:gd name="T43" fmla="*/ 9 h 153"/>
                  <a:gd name="T44" fmla="*/ 114 w 146"/>
                  <a:gd name="T45" fmla="*/ 5 h 153"/>
                  <a:gd name="T46" fmla="*/ 110 w 146"/>
                  <a:gd name="T47" fmla="*/ 7 h 153"/>
                  <a:gd name="T48" fmla="*/ 104 w 146"/>
                  <a:gd name="T49" fmla="*/ 10 h 153"/>
                  <a:gd name="T50" fmla="*/ 99 w 146"/>
                  <a:gd name="T51" fmla="*/ 16 h 153"/>
                  <a:gd name="T52" fmla="*/ 96 w 146"/>
                  <a:gd name="T53" fmla="*/ 33 h 153"/>
                  <a:gd name="T54" fmla="*/ 75 w 146"/>
                  <a:gd name="T55" fmla="*/ 28 h 153"/>
                  <a:gd name="T56" fmla="*/ 66 w 146"/>
                  <a:gd name="T57" fmla="*/ 25 h 153"/>
                  <a:gd name="T58" fmla="*/ 58 w 146"/>
                  <a:gd name="T59" fmla="*/ 17 h 153"/>
                  <a:gd name="T60" fmla="*/ 54 w 146"/>
                  <a:gd name="T61" fmla="*/ 13 h 153"/>
                  <a:gd name="T62" fmla="*/ 49 w 146"/>
                  <a:gd name="T63" fmla="*/ 11 h 153"/>
                  <a:gd name="T64" fmla="*/ 43 w 146"/>
                  <a:gd name="T65" fmla="*/ 8 h 153"/>
                  <a:gd name="T66" fmla="*/ 33 w 146"/>
                  <a:gd name="T67" fmla="*/ 7 h 153"/>
                  <a:gd name="T68" fmla="*/ 27 w 146"/>
                  <a:gd name="T69" fmla="*/ 3 h 153"/>
                  <a:gd name="T70" fmla="*/ 25 w 146"/>
                  <a:gd name="T7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 h="153">
                    <a:moveTo>
                      <a:pt x="25" y="0"/>
                    </a:moveTo>
                    <a:cubicBezTo>
                      <a:pt x="23" y="4"/>
                      <a:pt x="23" y="4"/>
                      <a:pt x="23" y="4"/>
                    </a:cubicBezTo>
                    <a:cubicBezTo>
                      <a:pt x="23" y="4"/>
                      <a:pt x="25" y="8"/>
                      <a:pt x="22" y="9"/>
                    </a:cubicBezTo>
                    <a:cubicBezTo>
                      <a:pt x="19" y="10"/>
                      <a:pt x="18" y="13"/>
                      <a:pt x="16" y="13"/>
                    </a:cubicBezTo>
                    <a:cubicBezTo>
                      <a:pt x="14" y="13"/>
                      <a:pt x="12" y="15"/>
                      <a:pt x="12" y="15"/>
                    </a:cubicBezTo>
                    <a:cubicBezTo>
                      <a:pt x="12" y="15"/>
                      <a:pt x="12" y="20"/>
                      <a:pt x="13" y="23"/>
                    </a:cubicBezTo>
                    <a:cubicBezTo>
                      <a:pt x="13" y="25"/>
                      <a:pt x="11" y="25"/>
                      <a:pt x="11" y="27"/>
                    </a:cubicBezTo>
                    <a:cubicBezTo>
                      <a:pt x="11" y="29"/>
                      <a:pt x="7" y="31"/>
                      <a:pt x="7" y="31"/>
                    </a:cubicBezTo>
                    <a:cubicBezTo>
                      <a:pt x="7" y="31"/>
                      <a:pt x="5" y="31"/>
                      <a:pt x="4" y="32"/>
                    </a:cubicBezTo>
                    <a:cubicBezTo>
                      <a:pt x="3" y="33"/>
                      <a:pt x="6" y="36"/>
                      <a:pt x="6" y="36"/>
                    </a:cubicBezTo>
                    <a:cubicBezTo>
                      <a:pt x="5" y="53"/>
                      <a:pt x="5" y="53"/>
                      <a:pt x="5" y="53"/>
                    </a:cubicBezTo>
                    <a:cubicBezTo>
                      <a:pt x="8" y="57"/>
                      <a:pt x="8" y="57"/>
                      <a:pt x="8" y="57"/>
                    </a:cubicBezTo>
                    <a:cubicBezTo>
                      <a:pt x="8" y="57"/>
                      <a:pt x="4" y="60"/>
                      <a:pt x="5" y="60"/>
                    </a:cubicBezTo>
                    <a:cubicBezTo>
                      <a:pt x="7" y="60"/>
                      <a:pt x="6" y="63"/>
                      <a:pt x="6" y="63"/>
                    </a:cubicBezTo>
                    <a:cubicBezTo>
                      <a:pt x="6" y="63"/>
                      <a:pt x="6" y="71"/>
                      <a:pt x="5" y="75"/>
                    </a:cubicBezTo>
                    <a:cubicBezTo>
                      <a:pt x="5" y="78"/>
                      <a:pt x="0" y="79"/>
                      <a:pt x="0" y="79"/>
                    </a:cubicBezTo>
                    <a:cubicBezTo>
                      <a:pt x="0" y="79"/>
                      <a:pt x="1" y="81"/>
                      <a:pt x="3" y="83"/>
                    </a:cubicBezTo>
                    <a:cubicBezTo>
                      <a:pt x="4" y="85"/>
                      <a:pt x="4" y="88"/>
                      <a:pt x="6" y="89"/>
                    </a:cubicBezTo>
                    <a:cubicBezTo>
                      <a:pt x="8" y="91"/>
                      <a:pt x="8" y="92"/>
                      <a:pt x="8" y="95"/>
                    </a:cubicBezTo>
                    <a:cubicBezTo>
                      <a:pt x="8" y="97"/>
                      <a:pt x="10" y="100"/>
                      <a:pt x="12" y="100"/>
                    </a:cubicBezTo>
                    <a:cubicBezTo>
                      <a:pt x="14" y="100"/>
                      <a:pt x="16" y="101"/>
                      <a:pt x="18" y="102"/>
                    </a:cubicBezTo>
                    <a:cubicBezTo>
                      <a:pt x="20" y="102"/>
                      <a:pt x="20" y="105"/>
                      <a:pt x="22" y="105"/>
                    </a:cubicBezTo>
                    <a:cubicBezTo>
                      <a:pt x="24" y="105"/>
                      <a:pt x="27" y="109"/>
                      <a:pt x="27" y="109"/>
                    </a:cubicBezTo>
                    <a:cubicBezTo>
                      <a:pt x="47" y="121"/>
                      <a:pt x="47" y="121"/>
                      <a:pt x="47" y="121"/>
                    </a:cubicBezTo>
                    <a:cubicBezTo>
                      <a:pt x="48" y="119"/>
                      <a:pt x="48" y="119"/>
                      <a:pt x="48" y="119"/>
                    </a:cubicBezTo>
                    <a:cubicBezTo>
                      <a:pt x="55" y="114"/>
                      <a:pt x="55" y="114"/>
                      <a:pt x="55" y="114"/>
                    </a:cubicBezTo>
                    <a:cubicBezTo>
                      <a:pt x="63" y="108"/>
                      <a:pt x="63" y="108"/>
                      <a:pt x="63" y="108"/>
                    </a:cubicBezTo>
                    <a:cubicBezTo>
                      <a:pt x="138" y="153"/>
                      <a:pt x="138" y="153"/>
                      <a:pt x="138" y="153"/>
                    </a:cubicBezTo>
                    <a:cubicBezTo>
                      <a:pt x="138" y="145"/>
                      <a:pt x="138" y="145"/>
                      <a:pt x="138" y="145"/>
                    </a:cubicBezTo>
                    <a:cubicBezTo>
                      <a:pt x="146" y="145"/>
                      <a:pt x="146" y="145"/>
                      <a:pt x="146" y="145"/>
                    </a:cubicBezTo>
                    <a:cubicBezTo>
                      <a:pt x="146" y="124"/>
                      <a:pt x="146" y="124"/>
                      <a:pt x="146" y="124"/>
                    </a:cubicBezTo>
                    <a:cubicBezTo>
                      <a:pt x="145" y="46"/>
                      <a:pt x="145" y="46"/>
                      <a:pt x="145" y="46"/>
                    </a:cubicBezTo>
                    <a:cubicBezTo>
                      <a:pt x="145" y="46"/>
                      <a:pt x="145" y="45"/>
                      <a:pt x="144" y="44"/>
                    </a:cubicBezTo>
                    <a:cubicBezTo>
                      <a:pt x="142" y="42"/>
                      <a:pt x="143" y="42"/>
                      <a:pt x="142" y="38"/>
                    </a:cubicBezTo>
                    <a:cubicBezTo>
                      <a:pt x="142" y="35"/>
                      <a:pt x="142" y="34"/>
                      <a:pt x="144" y="32"/>
                    </a:cubicBezTo>
                    <a:cubicBezTo>
                      <a:pt x="146" y="30"/>
                      <a:pt x="143" y="26"/>
                      <a:pt x="142" y="24"/>
                    </a:cubicBezTo>
                    <a:cubicBezTo>
                      <a:pt x="141" y="22"/>
                      <a:pt x="142" y="17"/>
                      <a:pt x="142" y="17"/>
                    </a:cubicBezTo>
                    <a:cubicBezTo>
                      <a:pt x="141" y="17"/>
                      <a:pt x="139" y="16"/>
                      <a:pt x="138" y="16"/>
                    </a:cubicBezTo>
                    <a:cubicBezTo>
                      <a:pt x="138" y="16"/>
                      <a:pt x="138" y="14"/>
                      <a:pt x="138" y="14"/>
                    </a:cubicBezTo>
                    <a:cubicBezTo>
                      <a:pt x="135" y="13"/>
                      <a:pt x="132" y="14"/>
                      <a:pt x="129" y="14"/>
                    </a:cubicBezTo>
                    <a:cubicBezTo>
                      <a:pt x="129" y="14"/>
                      <a:pt x="128" y="12"/>
                      <a:pt x="129" y="12"/>
                    </a:cubicBezTo>
                    <a:cubicBezTo>
                      <a:pt x="128" y="11"/>
                      <a:pt x="127" y="11"/>
                      <a:pt x="127" y="11"/>
                    </a:cubicBezTo>
                    <a:cubicBezTo>
                      <a:pt x="127" y="10"/>
                      <a:pt x="127" y="9"/>
                      <a:pt x="126" y="9"/>
                    </a:cubicBezTo>
                    <a:cubicBezTo>
                      <a:pt x="125" y="8"/>
                      <a:pt x="124" y="9"/>
                      <a:pt x="122" y="9"/>
                    </a:cubicBezTo>
                    <a:cubicBezTo>
                      <a:pt x="120" y="8"/>
                      <a:pt x="117" y="6"/>
                      <a:pt x="116" y="6"/>
                    </a:cubicBezTo>
                    <a:cubicBezTo>
                      <a:pt x="115" y="5"/>
                      <a:pt x="114" y="5"/>
                      <a:pt x="114" y="5"/>
                    </a:cubicBezTo>
                    <a:cubicBezTo>
                      <a:pt x="113" y="6"/>
                      <a:pt x="113" y="6"/>
                      <a:pt x="113" y="6"/>
                    </a:cubicBezTo>
                    <a:cubicBezTo>
                      <a:pt x="111" y="7"/>
                      <a:pt x="111" y="6"/>
                      <a:pt x="110" y="7"/>
                    </a:cubicBezTo>
                    <a:cubicBezTo>
                      <a:pt x="109" y="7"/>
                      <a:pt x="108" y="9"/>
                      <a:pt x="107" y="10"/>
                    </a:cubicBezTo>
                    <a:cubicBezTo>
                      <a:pt x="106" y="10"/>
                      <a:pt x="105" y="9"/>
                      <a:pt x="104" y="10"/>
                    </a:cubicBezTo>
                    <a:cubicBezTo>
                      <a:pt x="103" y="10"/>
                      <a:pt x="102" y="13"/>
                      <a:pt x="102" y="14"/>
                    </a:cubicBezTo>
                    <a:cubicBezTo>
                      <a:pt x="101" y="15"/>
                      <a:pt x="100" y="15"/>
                      <a:pt x="99" y="16"/>
                    </a:cubicBezTo>
                    <a:cubicBezTo>
                      <a:pt x="103" y="23"/>
                      <a:pt x="105" y="25"/>
                      <a:pt x="98" y="31"/>
                    </a:cubicBezTo>
                    <a:cubicBezTo>
                      <a:pt x="98" y="31"/>
                      <a:pt x="97" y="33"/>
                      <a:pt x="96" y="33"/>
                    </a:cubicBezTo>
                    <a:cubicBezTo>
                      <a:pt x="92" y="35"/>
                      <a:pt x="81" y="29"/>
                      <a:pt x="78" y="28"/>
                    </a:cubicBezTo>
                    <a:cubicBezTo>
                      <a:pt x="77" y="28"/>
                      <a:pt x="76" y="28"/>
                      <a:pt x="75" y="28"/>
                    </a:cubicBezTo>
                    <a:cubicBezTo>
                      <a:pt x="75" y="28"/>
                      <a:pt x="74" y="26"/>
                      <a:pt x="73" y="26"/>
                    </a:cubicBezTo>
                    <a:cubicBezTo>
                      <a:pt x="70" y="25"/>
                      <a:pt x="70" y="27"/>
                      <a:pt x="66" y="25"/>
                    </a:cubicBezTo>
                    <a:cubicBezTo>
                      <a:pt x="64" y="23"/>
                      <a:pt x="62" y="19"/>
                      <a:pt x="58" y="17"/>
                    </a:cubicBezTo>
                    <a:cubicBezTo>
                      <a:pt x="58" y="17"/>
                      <a:pt x="58" y="17"/>
                      <a:pt x="58" y="17"/>
                    </a:cubicBezTo>
                    <a:cubicBezTo>
                      <a:pt x="57" y="16"/>
                      <a:pt x="58" y="14"/>
                      <a:pt x="57" y="14"/>
                    </a:cubicBezTo>
                    <a:cubicBezTo>
                      <a:pt x="56" y="13"/>
                      <a:pt x="55" y="13"/>
                      <a:pt x="54" y="13"/>
                    </a:cubicBezTo>
                    <a:cubicBezTo>
                      <a:pt x="53" y="13"/>
                      <a:pt x="52" y="11"/>
                      <a:pt x="52" y="11"/>
                    </a:cubicBezTo>
                    <a:cubicBezTo>
                      <a:pt x="51" y="11"/>
                      <a:pt x="50" y="11"/>
                      <a:pt x="49" y="11"/>
                    </a:cubicBezTo>
                    <a:cubicBezTo>
                      <a:pt x="49" y="10"/>
                      <a:pt x="49" y="10"/>
                      <a:pt x="49" y="10"/>
                    </a:cubicBezTo>
                    <a:cubicBezTo>
                      <a:pt x="47" y="8"/>
                      <a:pt x="45" y="8"/>
                      <a:pt x="43" y="8"/>
                    </a:cubicBezTo>
                    <a:cubicBezTo>
                      <a:pt x="43" y="7"/>
                      <a:pt x="43" y="7"/>
                      <a:pt x="43" y="7"/>
                    </a:cubicBezTo>
                    <a:cubicBezTo>
                      <a:pt x="38" y="6"/>
                      <a:pt x="37" y="8"/>
                      <a:pt x="33" y="7"/>
                    </a:cubicBezTo>
                    <a:cubicBezTo>
                      <a:pt x="32" y="7"/>
                      <a:pt x="32" y="5"/>
                      <a:pt x="31" y="4"/>
                    </a:cubicBezTo>
                    <a:cubicBezTo>
                      <a:pt x="30" y="3"/>
                      <a:pt x="28" y="4"/>
                      <a:pt x="27" y="3"/>
                    </a:cubicBezTo>
                    <a:cubicBezTo>
                      <a:pt x="25" y="2"/>
                      <a:pt x="26" y="1"/>
                      <a:pt x="26" y="0"/>
                    </a:cubicBezTo>
                    <a:lnTo>
                      <a:pt x="25" y="0"/>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89" name="Freeform 168">
                <a:extLst>
                  <a:ext uri="{FF2B5EF4-FFF2-40B4-BE49-F238E27FC236}">
                    <a16:creationId xmlns:a16="http://schemas.microsoft.com/office/drawing/2014/main" id="{E895EF06-FAF9-6847-3206-10ECDF1B938E}"/>
                  </a:ext>
                </a:extLst>
              </p:cNvPr>
              <p:cNvSpPr>
                <a:spLocks/>
              </p:cNvSpPr>
              <p:nvPr/>
            </p:nvSpPr>
            <p:spPr bwMode="auto">
              <a:xfrm>
                <a:off x="2919" y="2068"/>
                <a:ext cx="73" cy="96"/>
              </a:xfrm>
              <a:custGeom>
                <a:avLst/>
                <a:gdLst>
                  <a:gd name="T0" fmla="*/ 0 w 37"/>
                  <a:gd name="T1" fmla="*/ 22 h 49"/>
                  <a:gd name="T2" fmla="*/ 5 w 37"/>
                  <a:gd name="T3" fmla="*/ 30 h 49"/>
                  <a:gd name="T4" fmla="*/ 7 w 37"/>
                  <a:gd name="T5" fmla="*/ 30 h 49"/>
                  <a:gd name="T6" fmla="*/ 7 w 37"/>
                  <a:gd name="T7" fmla="*/ 30 h 49"/>
                  <a:gd name="T8" fmla="*/ 14 w 37"/>
                  <a:gd name="T9" fmla="*/ 36 h 49"/>
                  <a:gd name="T10" fmla="*/ 15 w 37"/>
                  <a:gd name="T11" fmla="*/ 36 h 49"/>
                  <a:gd name="T12" fmla="*/ 16 w 37"/>
                  <a:gd name="T13" fmla="*/ 40 h 49"/>
                  <a:gd name="T14" fmla="*/ 24 w 37"/>
                  <a:gd name="T15" fmla="*/ 46 h 49"/>
                  <a:gd name="T16" fmla="*/ 27 w 37"/>
                  <a:gd name="T17" fmla="*/ 46 h 49"/>
                  <a:gd name="T18" fmla="*/ 30 w 37"/>
                  <a:gd name="T19" fmla="*/ 49 h 49"/>
                  <a:gd name="T20" fmla="*/ 33 w 37"/>
                  <a:gd name="T21" fmla="*/ 49 h 49"/>
                  <a:gd name="T22" fmla="*/ 33 w 37"/>
                  <a:gd name="T23" fmla="*/ 46 h 49"/>
                  <a:gd name="T24" fmla="*/ 33 w 37"/>
                  <a:gd name="T25" fmla="*/ 42 h 49"/>
                  <a:gd name="T26" fmla="*/ 35 w 37"/>
                  <a:gd name="T27" fmla="*/ 37 h 49"/>
                  <a:gd name="T28" fmla="*/ 35 w 37"/>
                  <a:gd name="T29" fmla="*/ 34 h 49"/>
                  <a:gd name="T30" fmla="*/ 32 w 37"/>
                  <a:gd name="T31" fmla="*/ 29 h 49"/>
                  <a:gd name="T32" fmla="*/ 29 w 37"/>
                  <a:gd name="T33" fmla="*/ 24 h 49"/>
                  <a:gd name="T34" fmla="*/ 23 w 37"/>
                  <a:gd name="T35" fmla="*/ 22 h 49"/>
                  <a:gd name="T36" fmla="*/ 27 w 37"/>
                  <a:gd name="T37" fmla="*/ 16 h 49"/>
                  <a:gd name="T38" fmla="*/ 26 w 37"/>
                  <a:gd name="T39" fmla="*/ 9 h 49"/>
                  <a:gd name="T40" fmla="*/ 23 w 37"/>
                  <a:gd name="T41" fmla="*/ 9 h 49"/>
                  <a:gd name="T42" fmla="*/ 20 w 37"/>
                  <a:gd name="T43" fmla="*/ 14 h 49"/>
                  <a:gd name="T44" fmla="*/ 18 w 37"/>
                  <a:gd name="T45" fmla="*/ 12 h 49"/>
                  <a:gd name="T46" fmla="*/ 20 w 37"/>
                  <a:gd name="T47" fmla="*/ 5 h 49"/>
                  <a:gd name="T48" fmla="*/ 17 w 37"/>
                  <a:gd name="T49" fmla="*/ 0 h 49"/>
                  <a:gd name="T50" fmla="*/ 16 w 37"/>
                  <a:gd name="T51" fmla="*/ 3 h 49"/>
                  <a:gd name="T52" fmla="*/ 12 w 37"/>
                  <a:gd name="T53" fmla="*/ 3 h 49"/>
                  <a:gd name="T54" fmla="*/ 10 w 37"/>
                  <a:gd name="T55" fmla="*/ 6 h 49"/>
                  <a:gd name="T56" fmla="*/ 6 w 37"/>
                  <a:gd name="T57" fmla="*/ 9 h 49"/>
                  <a:gd name="T58" fmla="*/ 2 w 37"/>
                  <a:gd name="T59" fmla="*/ 15 h 49"/>
                  <a:gd name="T60" fmla="*/ 0 w 37"/>
                  <a:gd name="T61" fmla="*/ 21 h 49"/>
                  <a:gd name="T62" fmla="*/ 0 w 37"/>
                  <a:gd name="T6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49">
                    <a:moveTo>
                      <a:pt x="0" y="22"/>
                    </a:moveTo>
                    <a:cubicBezTo>
                      <a:pt x="2" y="23"/>
                      <a:pt x="3" y="28"/>
                      <a:pt x="5" y="30"/>
                    </a:cubicBezTo>
                    <a:cubicBezTo>
                      <a:pt x="6" y="30"/>
                      <a:pt x="7" y="29"/>
                      <a:pt x="7" y="30"/>
                    </a:cubicBezTo>
                    <a:cubicBezTo>
                      <a:pt x="7" y="30"/>
                      <a:pt x="7" y="30"/>
                      <a:pt x="7" y="30"/>
                    </a:cubicBezTo>
                    <a:cubicBezTo>
                      <a:pt x="9" y="31"/>
                      <a:pt x="14" y="36"/>
                      <a:pt x="14" y="36"/>
                    </a:cubicBezTo>
                    <a:cubicBezTo>
                      <a:pt x="15" y="36"/>
                      <a:pt x="15" y="36"/>
                      <a:pt x="15" y="36"/>
                    </a:cubicBezTo>
                    <a:cubicBezTo>
                      <a:pt x="16" y="37"/>
                      <a:pt x="16" y="39"/>
                      <a:pt x="16" y="40"/>
                    </a:cubicBezTo>
                    <a:cubicBezTo>
                      <a:pt x="24" y="46"/>
                      <a:pt x="24" y="46"/>
                      <a:pt x="24" y="46"/>
                    </a:cubicBezTo>
                    <a:cubicBezTo>
                      <a:pt x="25" y="46"/>
                      <a:pt x="26" y="45"/>
                      <a:pt x="27" y="46"/>
                    </a:cubicBezTo>
                    <a:cubicBezTo>
                      <a:pt x="28" y="46"/>
                      <a:pt x="29" y="49"/>
                      <a:pt x="30" y="49"/>
                    </a:cubicBezTo>
                    <a:cubicBezTo>
                      <a:pt x="31" y="49"/>
                      <a:pt x="32" y="49"/>
                      <a:pt x="33" y="49"/>
                    </a:cubicBezTo>
                    <a:cubicBezTo>
                      <a:pt x="33" y="49"/>
                      <a:pt x="33" y="48"/>
                      <a:pt x="33" y="46"/>
                    </a:cubicBezTo>
                    <a:cubicBezTo>
                      <a:pt x="33" y="44"/>
                      <a:pt x="31" y="43"/>
                      <a:pt x="33" y="42"/>
                    </a:cubicBezTo>
                    <a:cubicBezTo>
                      <a:pt x="35" y="40"/>
                      <a:pt x="35" y="39"/>
                      <a:pt x="35" y="37"/>
                    </a:cubicBezTo>
                    <a:cubicBezTo>
                      <a:pt x="36" y="35"/>
                      <a:pt x="37" y="34"/>
                      <a:pt x="35" y="34"/>
                    </a:cubicBezTo>
                    <a:cubicBezTo>
                      <a:pt x="33" y="34"/>
                      <a:pt x="33" y="31"/>
                      <a:pt x="32" y="29"/>
                    </a:cubicBezTo>
                    <a:cubicBezTo>
                      <a:pt x="31" y="27"/>
                      <a:pt x="30" y="24"/>
                      <a:pt x="29" y="24"/>
                    </a:cubicBezTo>
                    <a:cubicBezTo>
                      <a:pt x="27" y="24"/>
                      <a:pt x="23" y="22"/>
                      <a:pt x="23" y="22"/>
                    </a:cubicBezTo>
                    <a:cubicBezTo>
                      <a:pt x="23" y="22"/>
                      <a:pt x="25" y="17"/>
                      <a:pt x="27" y="16"/>
                    </a:cubicBezTo>
                    <a:cubicBezTo>
                      <a:pt x="29" y="14"/>
                      <a:pt x="26" y="9"/>
                      <a:pt x="26" y="9"/>
                    </a:cubicBezTo>
                    <a:cubicBezTo>
                      <a:pt x="26" y="9"/>
                      <a:pt x="25" y="6"/>
                      <a:pt x="23" y="9"/>
                    </a:cubicBezTo>
                    <a:cubicBezTo>
                      <a:pt x="21" y="12"/>
                      <a:pt x="20" y="14"/>
                      <a:pt x="20" y="14"/>
                    </a:cubicBezTo>
                    <a:cubicBezTo>
                      <a:pt x="18" y="12"/>
                      <a:pt x="18" y="12"/>
                      <a:pt x="18" y="12"/>
                    </a:cubicBezTo>
                    <a:cubicBezTo>
                      <a:pt x="18" y="12"/>
                      <a:pt x="21" y="8"/>
                      <a:pt x="20" y="5"/>
                    </a:cubicBezTo>
                    <a:cubicBezTo>
                      <a:pt x="19" y="3"/>
                      <a:pt x="17" y="0"/>
                      <a:pt x="17" y="0"/>
                    </a:cubicBezTo>
                    <a:cubicBezTo>
                      <a:pt x="17" y="0"/>
                      <a:pt x="17" y="2"/>
                      <a:pt x="16" y="3"/>
                    </a:cubicBezTo>
                    <a:cubicBezTo>
                      <a:pt x="14" y="3"/>
                      <a:pt x="12" y="3"/>
                      <a:pt x="12" y="3"/>
                    </a:cubicBezTo>
                    <a:cubicBezTo>
                      <a:pt x="12" y="3"/>
                      <a:pt x="12" y="6"/>
                      <a:pt x="10" y="6"/>
                    </a:cubicBezTo>
                    <a:cubicBezTo>
                      <a:pt x="8" y="6"/>
                      <a:pt x="6" y="9"/>
                      <a:pt x="6" y="9"/>
                    </a:cubicBezTo>
                    <a:cubicBezTo>
                      <a:pt x="6" y="9"/>
                      <a:pt x="4" y="12"/>
                      <a:pt x="2" y="15"/>
                    </a:cubicBezTo>
                    <a:cubicBezTo>
                      <a:pt x="0" y="18"/>
                      <a:pt x="0" y="21"/>
                      <a:pt x="0" y="21"/>
                    </a:cubicBezTo>
                    <a:lnTo>
                      <a:pt x="0" y="22"/>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90" name="Freeform 169">
                <a:extLst>
                  <a:ext uri="{FF2B5EF4-FFF2-40B4-BE49-F238E27FC236}">
                    <a16:creationId xmlns:a16="http://schemas.microsoft.com/office/drawing/2014/main" id="{209677B2-828F-5A09-04BB-075C1A52E8F3}"/>
                  </a:ext>
                </a:extLst>
              </p:cNvPr>
              <p:cNvSpPr>
                <a:spLocks/>
              </p:cNvSpPr>
              <p:nvPr/>
            </p:nvSpPr>
            <p:spPr bwMode="auto">
              <a:xfrm>
                <a:off x="2919" y="2068"/>
                <a:ext cx="73" cy="96"/>
              </a:xfrm>
              <a:custGeom>
                <a:avLst/>
                <a:gdLst>
                  <a:gd name="T0" fmla="*/ 0 w 37"/>
                  <a:gd name="T1" fmla="*/ 22 h 49"/>
                  <a:gd name="T2" fmla="*/ 5 w 37"/>
                  <a:gd name="T3" fmla="*/ 30 h 49"/>
                  <a:gd name="T4" fmla="*/ 7 w 37"/>
                  <a:gd name="T5" fmla="*/ 30 h 49"/>
                  <a:gd name="T6" fmla="*/ 7 w 37"/>
                  <a:gd name="T7" fmla="*/ 30 h 49"/>
                  <a:gd name="T8" fmla="*/ 14 w 37"/>
                  <a:gd name="T9" fmla="*/ 36 h 49"/>
                  <a:gd name="T10" fmla="*/ 15 w 37"/>
                  <a:gd name="T11" fmla="*/ 36 h 49"/>
                  <a:gd name="T12" fmla="*/ 16 w 37"/>
                  <a:gd name="T13" fmla="*/ 40 h 49"/>
                  <a:gd name="T14" fmla="*/ 24 w 37"/>
                  <a:gd name="T15" fmla="*/ 46 h 49"/>
                  <a:gd name="T16" fmla="*/ 27 w 37"/>
                  <a:gd name="T17" fmla="*/ 46 h 49"/>
                  <a:gd name="T18" fmla="*/ 30 w 37"/>
                  <a:gd name="T19" fmla="*/ 49 h 49"/>
                  <a:gd name="T20" fmla="*/ 33 w 37"/>
                  <a:gd name="T21" fmla="*/ 49 h 49"/>
                  <a:gd name="T22" fmla="*/ 33 w 37"/>
                  <a:gd name="T23" fmla="*/ 46 h 49"/>
                  <a:gd name="T24" fmla="*/ 33 w 37"/>
                  <a:gd name="T25" fmla="*/ 42 h 49"/>
                  <a:gd name="T26" fmla="*/ 35 w 37"/>
                  <a:gd name="T27" fmla="*/ 37 h 49"/>
                  <a:gd name="T28" fmla="*/ 35 w 37"/>
                  <a:gd name="T29" fmla="*/ 34 h 49"/>
                  <a:gd name="T30" fmla="*/ 32 w 37"/>
                  <a:gd name="T31" fmla="*/ 29 h 49"/>
                  <a:gd name="T32" fmla="*/ 29 w 37"/>
                  <a:gd name="T33" fmla="*/ 24 h 49"/>
                  <a:gd name="T34" fmla="*/ 23 w 37"/>
                  <a:gd name="T35" fmla="*/ 22 h 49"/>
                  <a:gd name="T36" fmla="*/ 27 w 37"/>
                  <a:gd name="T37" fmla="*/ 16 h 49"/>
                  <a:gd name="T38" fmla="*/ 26 w 37"/>
                  <a:gd name="T39" fmla="*/ 9 h 49"/>
                  <a:gd name="T40" fmla="*/ 23 w 37"/>
                  <a:gd name="T41" fmla="*/ 9 h 49"/>
                  <a:gd name="T42" fmla="*/ 20 w 37"/>
                  <a:gd name="T43" fmla="*/ 14 h 49"/>
                  <a:gd name="T44" fmla="*/ 18 w 37"/>
                  <a:gd name="T45" fmla="*/ 12 h 49"/>
                  <a:gd name="T46" fmla="*/ 20 w 37"/>
                  <a:gd name="T47" fmla="*/ 5 h 49"/>
                  <a:gd name="T48" fmla="*/ 17 w 37"/>
                  <a:gd name="T49" fmla="*/ 0 h 49"/>
                  <a:gd name="T50" fmla="*/ 16 w 37"/>
                  <a:gd name="T51" fmla="*/ 3 h 49"/>
                  <a:gd name="T52" fmla="*/ 12 w 37"/>
                  <a:gd name="T53" fmla="*/ 3 h 49"/>
                  <a:gd name="T54" fmla="*/ 10 w 37"/>
                  <a:gd name="T55" fmla="*/ 6 h 49"/>
                  <a:gd name="T56" fmla="*/ 6 w 37"/>
                  <a:gd name="T57" fmla="*/ 9 h 49"/>
                  <a:gd name="T58" fmla="*/ 2 w 37"/>
                  <a:gd name="T59" fmla="*/ 15 h 49"/>
                  <a:gd name="T60" fmla="*/ 0 w 37"/>
                  <a:gd name="T61" fmla="*/ 21 h 49"/>
                  <a:gd name="T62" fmla="*/ 0 w 37"/>
                  <a:gd name="T63"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49">
                    <a:moveTo>
                      <a:pt x="0" y="22"/>
                    </a:moveTo>
                    <a:cubicBezTo>
                      <a:pt x="2" y="23"/>
                      <a:pt x="3" y="28"/>
                      <a:pt x="5" y="30"/>
                    </a:cubicBezTo>
                    <a:cubicBezTo>
                      <a:pt x="6" y="30"/>
                      <a:pt x="7" y="29"/>
                      <a:pt x="7" y="30"/>
                    </a:cubicBezTo>
                    <a:cubicBezTo>
                      <a:pt x="7" y="30"/>
                      <a:pt x="7" y="30"/>
                      <a:pt x="7" y="30"/>
                    </a:cubicBezTo>
                    <a:cubicBezTo>
                      <a:pt x="9" y="31"/>
                      <a:pt x="14" y="36"/>
                      <a:pt x="14" y="36"/>
                    </a:cubicBezTo>
                    <a:cubicBezTo>
                      <a:pt x="15" y="36"/>
                      <a:pt x="15" y="36"/>
                      <a:pt x="15" y="36"/>
                    </a:cubicBezTo>
                    <a:cubicBezTo>
                      <a:pt x="16" y="37"/>
                      <a:pt x="16" y="39"/>
                      <a:pt x="16" y="40"/>
                    </a:cubicBezTo>
                    <a:cubicBezTo>
                      <a:pt x="24" y="46"/>
                      <a:pt x="24" y="46"/>
                      <a:pt x="24" y="46"/>
                    </a:cubicBezTo>
                    <a:cubicBezTo>
                      <a:pt x="25" y="46"/>
                      <a:pt x="26" y="45"/>
                      <a:pt x="27" y="46"/>
                    </a:cubicBezTo>
                    <a:cubicBezTo>
                      <a:pt x="28" y="46"/>
                      <a:pt x="29" y="49"/>
                      <a:pt x="30" y="49"/>
                    </a:cubicBezTo>
                    <a:cubicBezTo>
                      <a:pt x="31" y="49"/>
                      <a:pt x="32" y="49"/>
                      <a:pt x="33" y="49"/>
                    </a:cubicBezTo>
                    <a:cubicBezTo>
                      <a:pt x="33" y="49"/>
                      <a:pt x="33" y="48"/>
                      <a:pt x="33" y="46"/>
                    </a:cubicBezTo>
                    <a:cubicBezTo>
                      <a:pt x="33" y="44"/>
                      <a:pt x="31" y="43"/>
                      <a:pt x="33" y="42"/>
                    </a:cubicBezTo>
                    <a:cubicBezTo>
                      <a:pt x="35" y="40"/>
                      <a:pt x="35" y="39"/>
                      <a:pt x="35" y="37"/>
                    </a:cubicBezTo>
                    <a:cubicBezTo>
                      <a:pt x="36" y="35"/>
                      <a:pt x="37" y="34"/>
                      <a:pt x="35" y="34"/>
                    </a:cubicBezTo>
                    <a:cubicBezTo>
                      <a:pt x="33" y="34"/>
                      <a:pt x="33" y="31"/>
                      <a:pt x="32" y="29"/>
                    </a:cubicBezTo>
                    <a:cubicBezTo>
                      <a:pt x="31" y="27"/>
                      <a:pt x="30" y="24"/>
                      <a:pt x="29" y="24"/>
                    </a:cubicBezTo>
                    <a:cubicBezTo>
                      <a:pt x="27" y="24"/>
                      <a:pt x="23" y="22"/>
                      <a:pt x="23" y="22"/>
                    </a:cubicBezTo>
                    <a:cubicBezTo>
                      <a:pt x="23" y="22"/>
                      <a:pt x="25" y="17"/>
                      <a:pt x="27" y="16"/>
                    </a:cubicBezTo>
                    <a:cubicBezTo>
                      <a:pt x="29" y="14"/>
                      <a:pt x="26" y="9"/>
                      <a:pt x="26" y="9"/>
                    </a:cubicBezTo>
                    <a:cubicBezTo>
                      <a:pt x="26" y="9"/>
                      <a:pt x="25" y="6"/>
                      <a:pt x="23" y="9"/>
                    </a:cubicBezTo>
                    <a:cubicBezTo>
                      <a:pt x="21" y="12"/>
                      <a:pt x="20" y="14"/>
                      <a:pt x="20" y="14"/>
                    </a:cubicBezTo>
                    <a:cubicBezTo>
                      <a:pt x="18" y="12"/>
                      <a:pt x="18" y="12"/>
                      <a:pt x="18" y="12"/>
                    </a:cubicBezTo>
                    <a:cubicBezTo>
                      <a:pt x="18" y="12"/>
                      <a:pt x="21" y="8"/>
                      <a:pt x="20" y="5"/>
                    </a:cubicBezTo>
                    <a:cubicBezTo>
                      <a:pt x="19" y="3"/>
                      <a:pt x="17" y="0"/>
                      <a:pt x="17" y="0"/>
                    </a:cubicBezTo>
                    <a:cubicBezTo>
                      <a:pt x="17" y="0"/>
                      <a:pt x="17" y="2"/>
                      <a:pt x="16" y="3"/>
                    </a:cubicBezTo>
                    <a:cubicBezTo>
                      <a:pt x="14" y="3"/>
                      <a:pt x="12" y="3"/>
                      <a:pt x="12" y="3"/>
                    </a:cubicBezTo>
                    <a:cubicBezTo>
                      <a:pt x="12" y="3"/>
                      <a:pt x="12" y="6"/>
                      <a:pt x="10" y="6"/>
                    </a:cubicBezTo>
                    <a:cubicBezTo>
                      <a:pt x="8" y="6"/>
                      <a:pt x="6" y="9"/>
                      <a:pt x="6" y="9"/>
                    </a:cubicBezTo>
                    <a:cubicBezTo>
                      <a:pt x="6" y="9"/>
                      <a:pt x="4" y="12"/>
                      <a:pt x="2" y="15"/>
                    </a:cubicBezTo>
                    <a:cubicBezTo>
                      <a:pt x="0" y="18"/>
                      <a:pt x="0" y="21"/>
                      <a:pt x="0" y="21"/>
                    </a:cubicBezTo>
                    <a:lnTo>
                      <a:pt x="0" y="22"/>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91" name="Freeform 170">
                <a:extLst>
                  <a:ext uri="{FF2B5EF4-FFF2-40B4-BE49-F238E27FC236}">
                    <a16:creationId xmlns:a16="http://schemas.microsoft.com/office/drawing/2014/main" id="{A4B373AE-1D03-5BF2-9083-4E0E5F9EF54E}"/>
                  </a:ext>
                </a:extLst>
              </p:cNvPr>
              <p:cNvSpPr>
                <a:spLocks/>
              </p:cNvSpPr>
              <p:nvPr/>
            </p:nvSpPr>
            <p:spPr bwMode="auto">
              <a:xfrm>
                <a:off x="3568" y="2875"/>
                <a:ext cx="34" cy="31"/>
              </a:xfrm>
              <a:custGeom>
                <a:avLst/>
                <a:gdLst>
                  <a:gd name="T0" fmla="*/ 8 w 17"/>
                  <a:gd name="T1" fmla="*/ 14 h 16"/>
                  <a:gd name="T2" fmla="*/ 10 w 17"/>
                  <a:gd name="T3" fmla="*/ 13 h 16"/>
                  <a:gd name="T4" fmla="*/ 13 w 17"/>
                  <a:gd name="T5" fmla="*/ 11 h 16"/>
                  <a:gd name="T6" fmla="*/ 16 w 17"/>
                  <a:gd name="T7" fmla="*/ 10 h 16"/>
                  <a:gd name="T8" fmla="*/ 16 w 17"/>
                  <a:gd name="T9" fmla="*/ 6 h 16"/>
                  <a:gd name="T10" fmla="*/ 13 w 17"/>
                  <a:gd name="T11" fmla="*/ 2 h 16"/>
                  <a:gd name="T12" fmla="*/ 11 w 17"/>
                  <a:gd name="T13" fmla="*/ 0 h 16"/>
                  <a:gd name="T14" fmla="*/ 6 w 17"/>
                  <a:gd name="T15" fmla="*/ 4 h 16"/>
                  <a:gd name="T16" fmla="*/ 2 w 17"/>
                  <a:gd name="T17" fmla="*/ 6 h 16"/>
                  <a:gd name="T18" fmla="*/ 1 w 17"/>
                  <a:gd name="T19" fmla="*/ 9 h 16"/>
                  <a:gd name="T20" fmla="*/ 2 w 17"/>
                  <a:gd name="T21" fmla="*/ 12 h 16"/>
                  <a:gd name="T22" fmla="*/ 5 w 17"/>
                  <a:gd name="T23" fmla="*/ 16 h 16"/>
                  <a:gd name="T24" fmla="*/ 8 w 17"/>
                  <a:gd name="T25"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8" y="14"/>
                    </a:moveTo>
                    <a:cubicBezTo>
                      <a:pt x="9" y="14"/>
                      <a:pt x="9" y="13"/>
                      <a:pt x="10" y="13"/>
                    </a:cubicBezTo>
                    <a:cubicBezTo>
                      <a:pt x="11" y="12"/>
                      <a:pt x="12" y="11"/>
                      <a:pt x="13" y="11"/>
                    </a:cubicBezTo>
                    <a:cubicBezTo>
                      <a:pt x="14" y="10"/>
                      <a:pt x="15" y="11"/>
                      <a:pt x="16" y="10"/>
                    </a:cubicBezTo>
                    <a:cubicBezTo>
                      <a:pt x="17" y="8"/>
                      <a:pt x="16" y="7"/>
                      <a:pt x="16" y="6"/>
                    </a:cubicBezTo>
                    <a:cubicBezTo>
                      <a:pt x="15" y="4"/>
                      <a:pt x="14" y="4"/>
                      <a:pt x="13" y="2"/>
                    </a:cubicBezTo>
                    <a:cubicBezTo>
                      <a:pt x="12" y="2"/>
                      <a:pt x="11" y="0"/>
                      <a:pt x="11" y="0"/>
                    </a:cubicBezTo>
                    <a:cubicBezTo>
                      <a:pt x="11" y="0"/>
                      <a:pt x="7" y="2"/>
                      <a:pt x="6" y="4"/>
                    </a:cubicBezTo>
                    <a:cubicBezTo>
                      <a:pt x="4" y="6"/>
                      <a:pt x="3" y="6"/>
                      <a:pt x="2" y="6"/>
                    </a:cubicBezTo>
                    <a:cubicBezTo>
                      <a:pt x="1" y="6"/>
                      <a:pt x="0" y="9"/>
                      <a:pt x="1" y="9"/>
                    </a:cubicBezTo>
                    <a:cubicBezTo>
                      <a:pt x="2" y="9"/>
                      <a:pt x="1" y="10"/>
                      <a:pt x="2" y="12"/>
                    </a:cubicBezTo>
                    <a:cubicBezTo>
                      <a:pt x="3" y="14"/>
                      <a:pt x="2" y="16"/>
                      <a:pt x="5" y="16"/>
                    </a:cubicBezTo>
                    <a:cubicBezTo>
                      <a:pt x="8" y="16"/>
                      <a:pt x="7" y="15"/>
                      <a:pt x="8" y="1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92" name="Freeform 171">
                <a:extLst>
                  <a:ext uri="{FF2B5EF4-FFF2-40B4-BE49-F238E27FC236}">
                    <a16:creationId xmlns:a16="http://schemas.microsoft.com/office/drawing/2014/main" id="{90D6DAA8-EF2D-8011-6003-734B15116258}"/>
                  </a:ext>
                </a:extLst>
              </p:cNvPr>
              <p:cNvSpPr>
                <a:spLocks/>
              </p:cNvSpPr>
              <p:nvPr/>
            </p:nvSpPr>
            <p:spPr bwMode="auto">
              <a:xfrm>
                <a:off x="3568" y="2875"/>
                <a:ext cx="34" cy="31"/>
              </a:xfrm>
              <a:custGeom>
                <a:avLst/>
                <a:gdLst>
                  <a:gd name="T0" fmla="*/ 8 w 17"/>
                  <a:gd name="T1" fmla="*/ 14 h 16"/>
                  <a:gd name="T2" fmla="*/ 10 w 17"/>
                  <a:gd name="T3" fmla="*/ 13 h 16"/>
                  <a:gd name="T4" fmla="*/ 13 w 17"/>
                  <a:gd name="T5" fmla="*/ 11 h 16"/>
                  <a:gd name="T6" fmla="*/ 16 w 17"/>
                  <a:gd name="T7" fmla="*/ 10 h 16"/>
                  <a:gd name="T8" fmla="*/ 16 w 17"/>
                  <a:gd name="T9" fmla="*/ 6 h 16"/>
                  <a:gd name="T10" fmla="*/ 13 w 17"/>
                  <a:gd name="T11" fmla="*/ 2 h 16"/>
                  <a:gd name="T12" fmla="*/ 11 w 17"/>
                  <a:gd name="T13" fmla="*/ 0 h 16"/>
                  <a:gd name="T14" fmla="*/ 6 w 17"/>
                  <a:gd name="T15" fmla="*/ 4 h 16"/>
                  <a:gd name="T16" fmla="*/ 2 w 17"/>
                  <a:gd name="T17" fmla="*/ 6 h 16"/>
                  <a:gd name="T18" fmla="*/ 1 w 17"/>
                  <a:gd name="T19" fmla="*/ 9 h 16"/>
                  <a:gd name="T20" fmla="*/ 2 w 17"/>
                  <a:gd name="T21" fmla="*/ 12 h 16"/>
                  <a:gd name="T22" fmla="*/ 5 w 17"/>
                  <a:gd name="T23" fmla="*/ 16 h 16"/>
                  <a:gd name="T24" fmla="*/ 8 w 17"/>
                  <a:gd name="T25"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6">
                    <a:moveTo>
                      <a:pt x="8" y="14"/>
                    </a:moveTo>
                    <a:cubicBezTo>
                      <a:pt x="9" y="14"/>
                      <a:pt x="9" y="13"/>
                      <a:pt x="10" y="13"/>
                    </a:cubicBezTo>
                    <a:cubicBezTo>
                      <a:pt x="11" y="12"/>
                      <a:pt x="12" y="11"/>
                      <a:pt x="13" y="11"/>
                    </a:cubicBezTo>
                    <a:cubicBezTo>
                      <a:pt x="14" y="10"/>
                      <a:pt x="15" y="11"/>
                      <a:pt x="16" y="10"/>
                    </a:cubicBezTo>
                    <a:cubicBezTo>
                      <a:pt x="17" y="8"/>
                      <a:pt x="16" y="7"/>
                      <a:pt x="16" y="6"/>
                    </a:cubicBezTo>
                    <a:cubicBezTo>
                      <a:pt x="15" y="4"/>
                      <a:pt x="14" y="4"/>
                      <a:pt x="13" y="2"/>
                    </a:cubicBezTo>
                    <a:cubicBezTo>
                      <a:pt x="12" y="2"/>
                      <a:pt x="11" y="0"/>
                      <a:pt x="11" y="0"/>
                    </a:cubicBezTo>
                    <a:cubicBezTo>
                      <a:pt x="11" y="0"/>
                      <a:pt x="7" y="2"/>
                      <a:pt x="6" y="4"/>
                    </a:cubicBezTo>
                    <a:cubicBezTo>
                      <a:pt x="4" y="6"/>
                      <a:pt x="3" y="6"/>
                      <a:pt x="2" y="6"/>
                    </a:cubicBezTo>
                    <a:cubicBezTo>
                      <a:pt x="1" y="6"/>
                      <a:pt x="0" y="9"/>
                      <a:pt x="1" y="9"/>
                    </a:cubicBezTo>
                    <a:cubicBezTo>
                      <a:pt x="2" y="9"/>
                      <a:pt x="1" y="10"/>
                      <a:pt x="2" y="12"/>
                    </a:cubicBezTo>
                    <a:cubicBezTo>
                      <a:pt x="3" y="14"/>
                      <a:pt x="2" y="16"/>
                      <a:pt x="5" y="16"/>
                    </a:cubicBezTo>
                    <a:cubicBezTo>
                      <a:pt x="8" y="16"/>
                      <a:pt x="7" y="15"/>
                      <a:pt x="8" y="1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93" name="Freeform 172">
                <a:extLst>
                  <a:ext uri="{FF2B5EF4-FFF2-40B4-BE49-F238E27FC236}">
                    <a16:creationId xmlns:a16="http://schemas.microsoft.com/office/drawing/2014/main" id="{1977C647-A5CC-B284-2914-1DD7BC7EC13D}"/>
                  </a:ext>
                </a:extLst>
              </p:cNvPr>
              <p:cNvSpPr>
                <a:spLocks/>
              </p:cNvSpPr>
              <p:nvPr/>
            </p:nvSpPr>
            <p:spPr bwMode="auto">
              <a:xfrm>
                <a:off x="3712" y="1505"/>
                <a:ext cx="33" cy="53"/>
              </a:xfrm>
              <a:custGeom>
                <a:avLst/>
                <a:gdLst>
                  <a:gd name="T0" fmla="*/ 9 w 17"/>
                  <a:gd name="T1" fmla="*/ 4 h 27"/>
                  <a:gd name="T2" fmla="*/ 7 w 17"/>
                  <a:gd name="T3" fmla="*/ 8 h 27"/>
                  <a:gd name="T4" fmla="*/ 5 w 17"/>
                  <a:gd name="T5" fmla="*/ 10 h 27"/>
                  <a:gd name="T6" fmla="*/ 4 w 17"/>
                  <a:gd name="T7" fmla="*/ 19 h 27"/>
                  <a:gd name="T8" fmla="*/ 1 w 17"/>
                  <a:gd name="T9" fmla="*/ 23 h 27"/>
                  <a:gd name="T10" fmla="*/ 1 w 17"/>
                  <a:gd name="T11" fmla="*/ 26 h 27"/>
                  <a:gd name="T12" fmla="*/ 5 w 17"/>
                  <a:gd name="T13" fmla="*/ 25 h 27"/>
                  <a:gd name="T14" fmla="*/ 7 w 17"/>
                  <a:gd name="T15" fmla="*/ 24 h 27"/>
                  <a:gd name="T16" fmla="*/ 9 w 17"/>
                  <a:gd name="T17" fmla="*/ 21 h 27"/>
                  <a:gd name="T18" fmla="*/ 12 w 17"/>
                  <a:gd name="T19" fmla="*/ 19 h 27"/>
                  <a:gd name="T20" fmla="*/ 13 w 17"/>
                  <a:gd name="T21" fmla="*/ 13 h 27"/>
                  <a:gd name="T22" fmla="*/ 17 w 17"/>
                  <a:gd name="T23" fmla="*/ 4 h 27"/>
                  <a:gd name="T24" fmla="*/ 13 w 17"/>
                  <a:gd name="T25" fmla="*/ 1 h 27"/>
                  <a:gd name="T26" fmla="*/ 9 w 17"/>
                  <a:gd name="T27" fmla="*/ 3 h 27"/>
                  <a:gd name="T28" fmla="*/ 9 w 17"/>
                  <a:gd name="T2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27">
                    <a:moveTo>
                      <a:pt x="9" y="4"/>
                    </a:moveTo>
                    <a:cubicBezTo>
                      <a:pt x="7" y="5"/>
                      <a:pt x="8" y="6"/>
                      <a:pt x="7" y="8"/>
                    </a:cubicBezTo>
                    <a:cubicBezTo>
                      <a:pt x="7" y="9"/>
                      <a:pt x="5" y="9"/>
                      <a:pt x="5" y="10"/>
                    </a:cubicBezTo>
                    <a:cubicBezTo>
                      <a:pt x="3" y="13"/>
                      <a:pt x="5" y="16"/>
                      <a:pt x="4" y="19"/>
                    </a:cubicBezTo>
                    <a:cubicBezTo>
                      <a:pt x="4" y="20"/>
                      <a:pt x="1" y="21"/>
                      <a:pt x="1" y="23"/>
                    </a:cubicBezTo>
                    <a:cubicBezTo>
                      <a:pt x="0" y="24"/>
                      <a:pt x="1" y="25"/>
                      <a:pt x="1" y="26"/>
                    </a:cubicBezTo>
                    <a:cubicBezTo>
                      <a:pt x="1" y="26"/>
                      <a:pt x="4" y="27"/>
                      <a:pt x="5" y="25"/>
                    </a:cubicBezTo>
                    <a:cubicBezTo>
                      <a:pt x="5" y="23"/>
                      <a:pt x="6" y="25"/>
                      <a:pt x="7" y="24"/>
                    </a:cubicBezTo>
                    <a:cubicBezTo>
                      <a:pt x="7" y="24"/>
                      <a:pt x="8" y="22"/>
                      <a:pt x="9" y="21"/>
                    </a:cubicBezTo>
                    <a:cubicBezTo>
                      <a:pt x="10" y="19"/>
                      <a:pt x="11" y="20"/>
                      <a:pt x="12" y="19"/>
                    </a:cubicBezTo>
                    <a:cubicBezTo>
                      <a:pt x="13" y="17"/>
                      <a:pt x="12" y="13"/>
                      <a:pt x="13" y="13"/>
                    </a:cubicBezTo>
                    <a:cubicBezTo>
                      <a:pt x="15" y="10"/>
                      <a:pt x="17" y="7"/>
                      <a:pt x="17" y="4"/>
                    </a:cubicBezTo>
                    <a:cubicBezTo>
                      <a:pt x="17" y="2"/>
                      <a:pt x="15" y="2"/>
                      <a:pt x="13" y="1"/>
                    </a:cubicBezTo>
                    <a:cubicBezTo>
                      <a:pt x="12" y="0"/>
                      <a:pt x="9" y="3"/>
                      <a:pt x="9" y="3"/>
                    </a:cubicBezTo>
                    <a:lnTo>
                      <a:pt x="9" y="4"/>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94" name="Freeform 173">
                <a:extLst>
                  <a:ext uri="{FF2B5EF4-FFF2-40B4-BE49-F238E27FC236}">
                    <a16:creationId xmlns:a16="http://schemas.microsoft.com/office/drawing/2014/main" id="{C8F9A765-2D68-1BB9-DBBA-2B3954500E0C}"/>
                  </a:ext>
                </a:extLst>
              </p:cNvPr>
              <p:cNvSpPr>
                <a:spLocks/>
              </p:cNvSpPr>
              <p:nvPr/>
            </p:nvSpPr>
            <p:spPr bwMode="auto">
              <a:xfrm>
                <a:off x="3712" y="1505"/>
                <a:ext cx="33" cy="53"/>
              </a:xfrm>
              <a:custGeom>
                <a:avLst/>
                <a:gdLst>
                  <a:gd name="T0" fmla="*/ 9 w 17"/>
                  <a:gd name="T1" fmla="*/ 4 h 27"/>
                  <a:gd name="T2" fmla="*/ 7 w 17"/>
                  <a:gd name="T3" fmla="*/ 8 h 27"/>
                  <a:gd name="T4" fmla="*/ 5 w 17"/>
                  <a:gd name="T5" fmla="*/ 10 h 27"/>
                  <a:gd name="T6" fmla="*/ 4 w 17"/>
                  <a:gd name="T7" fmla="*/ 19 h 27"/>
                  <a:gd name="T8" fmla="*/ 1 w 17"/>
                  <a:gd name="T9" fmla="*/ 23 h 27"/>
                  <a:gd name="T10" fmla="*/ 1 w 17"/>
                  <a:gd name="T11" fmla="*/ 26 h 27"/>
                  <a:gd name="T12" fmla="*/ 5 w 17"/>
                  <a:gd name="T13" fmla="*/ 25 h 27"/>
                  <a:gd name="T14" fmla="*/ 7 w 17"/>
                  <a:gd name="T15" fmla="*/ 24 h 27"/>
                  <a:gd name="T16" fmla="*/ 9 w 17"/>
                  <a:gd name="T17" fmla="*/ 21 h 27"/>
                  <a:gd name="T18" fmla="*/ 12 w 17"/>
                  <a:gd name="T19" fmla="*/ 19 h 27"/>
                  <a:gd name="T20" fmla="*/ 13 w 17"/>
                  <a:gd name="T21" fmla="*/ 13 h 27"/>
                  <a:gd name="T22" fmla="*/ 17 w 17"/>
                  <a:gd name="T23" fmla="*/ 4 h 27"/>
                  <a:gd name="T24" fmla="*/ 13 w 17"/>
                  <a:gd name="T25" fmla="*/ 1 h 27"/>
                  <a:gd name="T26" fmla="*/ 9 w 17"/>
                  <a:gd name="T27" fmla="*/ 3 h 27"/>
                  <a:gd name="T28" fmla="*/ 9 w 17"/>
                  <a:gd name="T29"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27">
                    <a:moveTo>
                      <a:pt x="9" y="4"/>
                    </a:moveTo>
                    <a:cubicBezTo>
                      <a:pt x="7" y="5"/>
                      <a:pt x="8" y="6"/>
                      <a:pt x="7" y="8"/>
                    </a:cubicBezTo>
                    <a:cubicBezTo>
                      <a:pt x="7" y="9"/>
                      <a:pt x="5" y="9"/>
                      <a:pt x="5" y="10"/>
                    </a:cubicBezTo>
                    <a:cubicBezTo>
                      <a:pt x="3" y="13"/>
                      <a:pt x="5" y="16"/>
                      <a:pt x="4" y="19"/>
                    </a:cubicBezTo>
                    <a:cubicBezTo>
                      <a:pt x="4" y="20"/>
                      <a:pt x="1" y="21"/>
                      <a:pt x="1" y="23"/>
                    </a:cubicBezTo>
                    <a:cubicBezTo>
                      <a:pt x="0" y="24"/>
                      <a:pt x="1" y="25"/>
                      <a:pt x="1" y="26"/>
                    </a:cubicBezTo>
                    <a:cubicBezTo>
                      <a:pt x="1" y="26"/>
                      <a:pt x="4" y="27"/>
                      <a:pt x="5" y="25"/>
                    </a:cubicBezTo>
                    <a:cubicBezTo>
                      <a:pt x="5" y="23"/>
                      <a:pt x="6" y="25"/>
                      <a:pt x="7" y="24"/>
                    </a:cubicBezTo>
                    <a:cubicBezTo>
                      <a:pt x="7" y="24"/>
                      <a:pt x="8" y="22"/>
                      <a:pt x="9" y="21"/>
                    </a:cubicBezTo>
                    <a:cubicBezTo>
                      <a:pt x="10" y="19"/>
                      <a:pt x="11" y="20"/>
                      <a:pt x="12" y="19"/>
                    </a:cubicBezTo>
                    <a:cubicBezTo>
                      <a:pt x="13" y="17"/>
                      <a:pt x="12" y="13"/>
                      <a:pt x="13" y="13"/>
                    </a:cubicBezTo>
                    <a:cubicBezTo>
                      <a:pt x="15" y="10"/>
                      <a:pt x="17" y="7"/>
                      <a:pt x="17" y="4"/>
                    </a:cubicBezTo>
                    <a:cubicBezTo>
                      <a:pt x="17" y="2"/>
                      <a:pt x="15" y="2"/>
                      <a:pt x="13" y="1"/>
                    </a:cubicBezTo>
                    <a:cubicBezTo>
                      <a:pt x="12" y="0"/>
                      <a:pt x="9" y="3"/>
                      <a:pt x="9" y="3"/>
                    </a:cubicBezTo>
                    <a:lnTo>
                      <a:pt x="9" y="4"/>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95" name="Freeform 174">
                <a:extLst>
                  <a:ext uri="{FF2B5EF4-FFF2-40B4-BE49-F238E27FC236}">
                    <a16:creationId xmlns:a16="http://schemas.microsoft.com/office/drawing/2014/main" id="{B934EBC5-1167-911F-9A0C-C0C1D5E1ED4E}"/>
                  </a:ext>
                </a:extLst>
              </p:cNvPr>
              <p:cNvSpPr>
                <a:spLocks/>
              </p:cNvSpPr>
              <p:nvPr/>
            </p:nvSpPr>
            <p:spPr bwMode="auto">
              <a:xfrm>
                <a:off x="3472" y="920"/>
                <a:ext cx="132" cy="77"/>
              </a:xfrm>
              <a:custGeom>
                <a:avLst/>
                <a:gdLst>
                  <a:gd name="T0" fmla="*/ 0 w 67"/>
                  <a:gd name="T1" fmla="*/ 26 h 39"/>
                  <a:gd name="T2" fmla="*/ 8 w 67"/>
                  <a:gd name="T3" fmla="*/ 24 h 39"/>
                  <a:gd name="T4" fmla="*/ 17 w 67"/>
                  <a:gd name="T5" fmla="*/ 26 h 39"/>
                  <a:gd name="T6" fmla="*/ 24 w 67"/>
                  <a:gd name="T7" fmla="*/ 28 h 39"/>
                  <a:gd name="T8" fmla="*/ 29 w 67"/>
                  <a:gd name="T9" fmla="*/ 30 h 39"/>
                  <a:gd name="T10" fmla="*/ 34 w 67"/>
                  <a:gd name="T11" fmla="*/ 29 h 39"/>
                  <a:gd name="T12" fmla="*/ 36 w 67"/>
                  <a:gd name="T13" fmla="*/ 33 h 39"/>
                  <a:gd name="T14" fmla="*/ 41 w 67"/>
                  <a:gd name="T15" fmla="*/ 35 h 39"/>
                  <a:gd name="T16" fmla="*/ 45 w 67"/>
                  <a:gd name="T17" fmla="*/ 37 h 39"/>
                  <a:gd name="T18" fmla="*/ 49 w 67"/>
                  <a:gd name="T19" fmla="*/ 39 h 39"/>
                  <a:gd name="T20" fmla="*/ 55 w 67"/>
                  <a:gd name="T21" fmla="*/ 35 h 39"/>
                  <a:gd name="T22" fmla="*/ 59 w 67"/>
                  <a:gd name="T23" fmla="*/ 32 h 39"/>
                  <a:gd name="T24" fmla="*/ 61 w 67"/>
                  <a:gd name="T25" fmla="*/ 27 h 39"/>
                  <a:gd name="T26" fmla="*/ 67 w 67"/>
                  <a:gd name="T27" fmla="*/ 27 h 39"/>
                  <a:gd name="T28" fmla="*/ 66 w 67"/>
                  <a:gd name="T29" fmla="*/ 23 h 39"/>
                  <a:gd name="T30" fmla="*/ 63 w 67"/>
                  <a:gd name="T31" fmla="*/ 19 h 39"/>
                  <a:gd name="T32" fmla="*/ 60 w 67"/>
                  <a:gd name="T33" fmla="*/ 17 h 39"/>
                  <a:gd name="T34" fmla="*/ 59 w 67"/>
                  <a:gd name="T35" fmla="*/ 10 h 39"/>
                  <a:gd name="T36" fmla="*/ 54 w 67"/>
                  <a:gd name="T37" fmla="*/ 10 h 39"/>
                  <a:gd name="T38" fmla="*/ 53 w 67"/>
                  <a:gd name="T39" fmla="*/ 7 h 39"/>
                  <a:gd name="T40" fmla="*/ 49 w 67"/>
                  <a:gd name="T41" fmla="*/ 8 h 39"/>
                  <a:gd name="T42" fmla="*/ 46 w 67"/>
                  <a:gd name="T43" fmla="*/ 4 h 39"/>
                  <a:gd name="T44" fmla="*/ 44 w 67"/>
                  <a:gd name="T45" fmla="*/ 4 h 39"/>
                  <a:gd name="T46" fmla="*/ 41 w 67"/>
                  <a:gd name="T47" fmla="*/ 1 h 39"/>
                  <a:gd name="T48" fmla="*/ 35 w 67"/>
                  <a:gd name="T49" fmla="*/ 0 h 39"/>
                  <a:gd name="T50" fmla="*/ 33 w 67"/>
                  <a:gd name="T51" fmla="*/ 1 h 39"/>
                  <a:gd name="T52" fmla="*/ 27 w 67"/>
                  <a:gd name="T53" fmla="*/ 1 h 39"/>
                  <a:gd name="T54" fmla="*/ 28 w 67"/>
                  <a:gd name="T55" fmla="*/ 13 h 39"/>
                  <a:gd name="T56" fmla="*/ 18 w 67"/>
                  <a:gd name="T57" fmla="*/ 14 h 39"/>
                  <a:gd name="T58" fmla="*/ 18 w 67"/>
                  <a:gd name="T59" fmla="*/ 14 h 39"/>
                  <a:gd name="T60" fmla="*/ 13 w 67"/>
                  <a:gd name="T61" fmla="*/ 8 h 39"/>
                  <a:gd name="T62" fmla="*/ 14 w 67"/>
                  <a:gd name="T63" fmla="*/ 7 h 39"/>
                  <a:gd name="T64" fmla="*/ 14 w 67"/>
                  <a:gd name="T65" fmla="*/ 4 h 39"/>
                  <a:gd name="T66" fmla="*/ 12 w 67"/>
                  <a:gd name="T67" fmla="*/ 4 h 39"/>
                  <a:gd name="T68" fmla="*/ 11 w 67"/>
                  <a:gd name="T69" fmla="*/ 6 h 39"/>
                  <a:gd name="T70" fmla="*/ 6 w 67"/>
                  <a:gd name="T71" fmla="*/ 11 h 39"/>
                  <a:gd name="T72" fmla="*/ 0 w 67"/>
                  <a:gd name="T73"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39">
                    <a:moveTo>
                      <a:pt x="0" y="26"/>
                    </a:moveTo>
                    <a:cubicBezTo>
                      <a:pt x="0" y="26"/>
                      <a:pt x="6" y="24"/>
                      <a:pt x="8" y="24"/>
                    </a:cubicBezTo>
                    <a:cubicBezTo>
                      <a:pt x="10" y="24"/>
                      <a:pt x="12" y="25"/>
                      <a:pt x="17" y="26"/>
                    </a:cubicBezTo>
                    <a:cubicBezTo>
                      <a:pt x="21" y="27"/>
                      <a:pt x="22" y="28"/>
                      <a:pt x="24" y="28"/>
                    </a:cubicBezTo>
                    <a:cubicBezTo>
                      <a:pt x="26" y="28"/>
                      <a:pt x="28" y="30"/>
                      <a:pt x="29" y="30"/>
                    </a:cubicBezTo>
                    <a:cubicBezTo>
                      <a:pt x="31" y="30"/>
                      <a:pt x="34" y="29"/>
                      <a:pt x="34" y="29"/>
                    </a:cubicBezTo>
                    <a:cubicBezTo>
                      <a:pt x="34" y="29"/>
                      <a:pt x="34" y="32"/>
                      <a:pt x="36" y="33"/>
                    </a:cubicBezTo>
                    <a:cubicBezTo>
                      <a:pt x="38" y="34"/>
                      <a:pt x="40" y="33"/>
                      <a:pt x="41" y="35"/>
                    </a:cubicBezTo>
                    <a:cubicBezTo>
                      <a:pt x="43" y="36"/>
                      <a:pt x="43" y="36"/>
                      <a:pt x="45" y="37"/>
                    </a:cubicBezTo>
                    <a:cubicBezTo>
                      <a:pt x="48" y="38"/>
                      <a:pt x="49" y="39"/>
                      <a:pt x="49" y="39"/>
                    </a:cubicBezTo>
                    <a:cubicBezTo>
                      <a:pt x="49" y="39"/>
                      <a:pt x="52" y="33"/>
                      <a:pt x="55" y="35"/>
                    </a:cubicBezTo>
                    <a:cubicBezTo>
                      <a:pt x="59" y="37"/>
                      <a:pt x="59" y="36"/>
                      <a:pt x="59" y="32"/>
                    </a:cubicBezTo>
                    <a:cubicBezTo>
                      <a:pt x="59" y="28"/>
                      <a:pt x="61" y="27"/>
                      <a:pt x="61" y="27"/>
                    </a:cubicBezTo>
                    <a:cubicBezTo>
                      <a:pt x="61" y="27"/>
                      <a:pt x="65" y="29"/>
                      <a:pt x="67" y="27"/>
                    </a:cubicBezTo>
                    <a:cubicBezTo>
                      <a:pt x="66" y="23"/>
                      <a:pt x="66" y="23"/>
                      <a:pt x="66" y="23"/>
                    </a:cubicBezTo>
                    <a:cubicBezTo>
                      <a:pt x="66" y="23"/>
                      <a:pt x="64" y="21"/>
                      <a:pt x="63" y="19"/>
                    </a:cubicBezTo>
                    <a:cubicBezTo>
                      <a:pt x="62" y="17"/>
                      <a:pt x="60" y="19"/>
                      <a:pt x="60" y="17"/>
                    </a:cubicBezTo>
                    <a:cubicBezTo>
                      <a:pt x="60" y="15"/>
                      <a:pt x="59" y="10"/>
                      <a:pt x="59" y="10"/>
                    </a:cubicBezTo>
                    <a:cubicBezTo>
                      <a:pt x="59" y="10"/>
                      <a:pt x="55" y="12"/>
                      <a:pt x="54" y="10"/>
                    </a:cubicBezTo>
                    <a:cubicBezTo>
                      <a:pt x="54" y="8"/>
                      <a:pt x="53" y="7"/>
                      <a:pt x="53" y="7"/>
                    </a:cubicBezTo>
                    <a:cubicBezTo>
                      <a:pt x="49" y="8"/>
                      <a:pt x="49" y="8"/>
                      <a:pt x="49" y="8"/>
                    </a:cubicBezTo>
                    <a:cubicBezTo>
                      <a:pt x="46" y="4"/>
                      <a:pt x="46" y="4"/>
                      <a:pt x="46" y="4"/>
                    </a:cubicBezTo>
                    <a:cubicBezTo>
                      <a:pt x="44" y="4"/>
                      <a:pt x="44" y="4"/>
                      <a:pt x="44" y="4"/>
                    </a:cubicBezTo>
                    <a:cubicBezTo>
                      <a:pt x="44" y="4"/>
                      <a:pt x="44" y="2"/>
                      <a:pt x="41" y="1"/>
                    </a:cubicBezTo>
                    <a:cubicBezTo>
                      <a:pt x="38" y="0"/>
                      <a:pt x="35" y="0"/>
                      <a:pt x="35" y="0"/>
                    </a:cubicBezTo>
                    <a:cubicBezTo>
                      <a:pt x="35" y="0"/>
                      <a:pt x="34" y="1"/>
                      <a:pt x="33" y="1"/>
                    </a:cubicBezTo>
                    <a:cubicBezTo>
                      <a:pt x="31" y="1"/>
                      <a:pt x="27" y="1"/>
                      <a:pt x="27" y="1"/>
                    </a:cubicBezTo>
                    <a:cubicBezTo>
                      <a:pt x="27" y="5"/>
                      <a:pt x="27" y="8"/>
                      <a:pt x="28" y="13"/>
                    </a:cubicBezTo>
                    <a:cubicBezTo>
                      <a:pt x="25" y="14"/>
                      <a:pt x="21" y="16"/>
                      <a:pt x="18" y="14"/>
                    </a:cubicBezTo>
                    <a:cubicBezTo>
                      <a:pt x="18" y="14"/>
                      <a:pt x="18" y="14"/>
                      <a:pt x="18" y="14"/>
                    </a:cubicBezTo>
                    <a:cubicBezTo>
                      <a:pt x="17" y="13"/>
                      <a:pt x="14" y="9"/>
                      <a:pt x="13" y="8"/>
                    </a:cubicBezTo>
                    <a:cubicBezTo>
                      <a:pt x="13" y="8"/>
                      <a:pt x="13" y="6"/>
                      <a:pt x="14" y="7"/>
                    </a:cubicBezTo>
                    <a:cubicBezTo>
                      <a:pt x="14" y="7"/>
                      <a:pt x="14" y="5"/>
                      <a:pt x="14" y="4"/>
                    </a:cubicBezTo>
                    <a:cubicBezTo>
                      <a:pt x="12" y="4"/>
                      <a:pt x="12" y="4"/>
                      <a:pt x="12" y="4"/>
                    </a:cubicBezTo>
                    <a:cubicBezTo>
                      <a:pt x="11" y="6"/>
                      <a:pt x="11" y="6"/>
                      <a:pt x="11" y="6"/>
                    </a:cubicBezTo>
                    <a:cubicBezTo>
                      <a:pt x="6" y="8"/>
                      <a:pt x="8" y="7"/>
                      <a:pt x="6" y="11"/>
                    </a:cubicBezTo>
                    <a:cubicBezTo>
                      <a:pt x="2" y="17"/>
                      <a:pt x="1" y="21"/>
                      <a:pt x="0" y="26"/>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96" name="Freeform 175">
                <a:extLst>
                  <a:ext uri="{FF2B5EF4-FFF2-40B4-BE49-F238E27FC236}">
                    <a16:creationId xmlns:a16="http://schemas.microsoft.com/office/drawing/2014/main" id="{ED891B6D-B207-55AF-2C2B-D131E7759B8A}"/>
                  </a:ext>
                </a:extLst>
              </p:cNvPr>
              <p:cNvSpPr>
                <a:spLocks/>
              </p:cNvSpPr>
              <p:nvPr/>
            </p:nvSpPr>
            <p:spPr bwMode="auto">
              <a:xfrm>
                <a:off x="3472" y="920"/>
                <a:ext cx="132" cy="77"/>
              </a:xfrm>
              <a:custGeom>
                <a:avLst/>
                <a:gdLst>
                  <a:gd name="T0" fmla="*/ 0 w 67"/>
                  <a:gd name="T1" fmla="*/ 26 h 39"/>
                  <a:gd name="T2" fmla="*/ 8 w 67"/>
                  <a:gd name="T3" fmla="*/ 24 h 39"/>
                  <a:gd name="T4" fmla="*/ 17 w 67"/>
                  <a:gd name="T5" fmla="*/ 26 h 39"/>
                  <a:gd name="T6" fmla="*/ 24 w 67"/>
                  <a:gd name="T7" fmla="*/ 28 h 39"/>
                  <a:gd name="T8" fmla="*/ 29 w 67"/>
                  <a:gd name="T9" fmla="*/ 30 h 39"/>
                  <a:gd name="T10" fmla="*/ 34 w 67"/>
                  <a:gd name="T11" fmla="*/ 29 h 39"/>
                  <a:gd name="T12" fmla="*/ 36 w 67"/>
                  <a:gd name="T13" fmla="*/ 33 h 39"/>
                  <a:gd name="T14" fmla="*/ 41 w 67"/>
                  <a:gd name="T15" fmla="*/ 35 h 39"/>
                  <a:gd name="T16" fmla="*/ 45 w 67"/>
                  <a:gd name="T17" fmla="*/ 37 h 39"/>
                  <a:gd name="T18" fmla="*/ 49 w 67"/>
                  <a:gd name="T19" fmla="*/ 39 h 39"/>
                  <a:gd name="T20" fmla="*/ 55 w 67"/>
                  <a:gd name="T21" fmla="*/ 35 h 39"/>
                  <a:gd name="T22" fmla="*/ 59 w 67"/>
                  <a:gd name="T23" fmla="*/ 32 h 39"/>
                  <a:gd name="T24" fmla="*/ 61 w 67"/>
                  <a:gd name="T25" fmla="*/ 27 h 39"/>
                  <a:gd name="T26" fmla="*/ 67 w 67"/>
                  <a:gd name="T27" fmla="*/ 27 h 39"/>
                  <a:gd name="T28" fmla="*/ 66 w 67"/>
                  <a:gd name="T29" fmla="*/ 23 h 39"/>
                  <a:gd name="T30" fmla="*/ 63 w 67"/>
                  <a:gd name="T31" fmla="*/ 19 h 39"/>
                  <a:gd name="T32" fmla="*/ 60 w 67"/>
                  <a:gd name="T33" fmla="*/ 17 h 39"/>
                  <a:gd name="T34" fmla="*/ 59 w 67"/>
                  <a:gd name="T35" fmla="*/ 10 h 39"/>
                  <a:gd name="T36" fmla="*/ 54 w 67"/>
                  <a:gd name="T37" fmla="*/ 10 h 39"/>
                  <a:gd name="T38" fmla="*/ 53 w 67"/>
                  <a:gd name="T39" fmla="*/ 7 h 39"/>
                  <a:gd name="T40" fmla="*/ 49 w 67"/>
                  <a:gd name="T41" fmla="*/ 8 h 39"/>
                  <a:gd name="T42" fmla="*/ 46 w 67"/>
                  <a:gd name="T43" fmla="*/ 4 h 39"/>
                  <a:gd name="T44" fmla="*/ 44 w 67"/>
                  <a:gd name="T45" fmla="*/ 4 h 39"/>
                  <a:gd name="T46" fmla="*/ 41 w 67"/>
                  <a:gd name="T47" fmla="*/ 1 h 39"/>
                  <a:gd name="T48" fmla="*/ 35 w 67"/>
                  <a:gd name="T49" fmla="*/ 0 h 39"/>
                  <a:gd name="T50" fmla="*/ 33 w 67"/>
                  <a:gd name="T51" fmla="*/ 1 h 39"/>
                  <a:gd name="T52" fmla="*/ 27 w 67"/>
                  <a:gd name="T53" fmla="*/ 1 h 39"/>
                  <a:gd name="T54" fmla="*/ 28 w 67"/>
                  <a:gd name="T55" fmla="*/ 13 h 39"/>
                  <a:gd name="T56" fmla="*/ 18 w 67"/>
                  <a:gd name="T57" fmla="*/ 14 h 39"/>
                  <a:gd name="T58" fmla="*/ 18 w 67"/>
                  <a:gd name="T59" fmla="*/ 14 h 39"/>
                  <a:gd name="T60" fmla="*/ 13 w 67"/>
                  <a:gd name="T61" fmla="*/ 8 h 39"/>
                  <a:gd name="T62" fmla="*/ 14 w 67"/>
                  <a:gd name="T63" fmla="*/ 7 h 39"/>
                  <a:gd name="T64" fmla="*/ 14 w 67"/>
                  <a:gd name="T65" fmla="*/ 4 h 39"/>
                  <a:gd name="T66" fmla="*/ 12 w 67"/>
                  <a:gd name="T67" fmla="*/ 4 h 39"/>
                  <a:gd name="T68" fmla="*/ 11 w 67"/>
                  <a:gd name="T69" fmla="*/ 6 h 39"/>
                  <a:gd name="T70" fmla="*/ 6 w 67"/>
                  <a:gd name="T71" fmla="*/ 11 h 39"/>
                  <a:gd name="T72" fmla="*/ 0 w 67"/>
                  <a:gd name="T73"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 h="39">
                    <a:moveTo>
                      <a:pt x="0" y="26"/>
                    </a:moveTo>
                    <a:cubicBezTo>
                      <a:pt x="0" y="26"/>
                      <a:pt x="6" y="24"/>
                      <a:pt x="8" y="24"/>
                    </a:cubicBezTo>
                    <a:cubicBezTo>
                      <a:pt x="10" y="24"/>
                      <a:pt x="12" y="25"/>
                      <a:pt x="17" y="26"/>
                    </a:cubicBezTo>
                    <a:cubicBezTo>
                      <a:pt x="21" y="27"/>
                      <a:pt x="22" y="28"/>
                      <a:pt x="24" y="28"/>
                    </a:cubicBezTo>
                    <a:cubicBezTo>
                      <a:pt x="26" y="28"/>
                      <a:pt x="28" y="30"/>
                      <a:pt x="29" y="30"/>
                    </a:cubicBezTo>
                    <a:cubicBezTo>
                      <a:pt x="31" y="30"/>
                      <a:pt x="34" y="29"/>
                      <a:pt x="34" y="29"/>
                    </a:cubicBezTo>
                    <a:cubicBezTo>
                      <a:pt x="34" y="29"/>
                      <a:pt x="34" y="32"/>
                      <a:pt x="36" y="33"/>
                    </a:cubicBezTo>
                    <a:cubicBezTo>
                      <a:pt x="38" y="34"/>
                      <a:pt x="40" y="33"/>
                      <a:pt x="41" y="35"/>
                    </a:cubicBezTo>
                    <a:cubicBezTo>
                      <a:pt x="43" y="36"/>
                      <a:pt x="43" y="36"/>
                      <a:pt x="45" y="37"/>
                    </a:cubicBezTo>
                    <a:cubicBezTo>
                      <a:pt x="48" y="38"/>
                      <a:pt x="49" y="39"/>
                      <a:pt x="49" y="39"/>
                    </a:cubicBezTo>
                    <a:cubicBezTo>
                      <a:pt x="49" y="39"/>
                      <a:pt x="52" y="33"/>
                      <a:pt x="55" y="35"/>
                    </a:cubicBezTo>
                    <a:cubicBezTo>
                      <a:pt x="59" y="37"/>
                      <a:pt x="59" y="36"/>
                      <a:pt x="59" y="32"/>
                    </a:cubicBezTo>
                    <a:cubicBezTo>
                      <a:pt x="59" y="28"/>
                      <a:pt x="61" y="27"/>
                      <a:pt x="61" y="27"/>
                    </a:cubicBezTo>
                    <a:cubicBezTo>
                      <a:pt x="61" y="27"/>
                      <a:pt x="65" y="29"/>
                      <a:pt x="67" y="27"/>
                    </a:cubicBezTo>
                    <a:cubicBezTo>
                      <a:pt x="66" y="23"/>
                      <a:pt x="66" y="23"/>
                      <a:pt x="66" y="23"/>
                    </a:cubicBezTo>
                    <a:cubicBezTo>
                      <a:pt x="66" y="23"/>
                      <a:pt x="64" y="21"/>
                      <a:pt x="63" y="19"/>
                    </a:cubicBezTo>
                    <a:cubicBezTo>
                      <a:pt x="62" y="17"/>
                      <a:pt x="60" y="19"/>
                      <a:pt x="60" y="17"/>
                    </a:cubicBezTo>
                    <a:cubicBezTo>
                      <a:pt x="60" y="15"/>
                      <a:pt x="59" y="10"/>
                      <a:pt x="59" y="10"/>
                    </a:cubicBezTo>
                    <a:cubicBezTo>
                      <a:pt x="59" y="10"/>
                      <a:pt x="55" y="12"/>
                      <a:pt x="54" y="10"/>
                    </a:cubicBezTo>
                    <a:cubicBezTo>
                      <a:pt x="54" y="8"/>
                      <a:pt x="53" y="7"/>
                      <a:pt x="53" y="7"/>
                    </a:cubicBezTo>
                    <a:cubicBezTo>
                      <a:pt x="49" y="8"/>
                      <a:pt x="49" y="8"/>
                      <a:pt x="49" y="8"/>
                    </a:cubicBezTo>
                    <a:cubicBezTo>
                      <a:pt x="46" y="4"/>
                      <a:pt x="46" y="4"/>
                      <a:pt x="46" y="4"/>
                    </a:cubicBezTo>
                    <a:cubicBezTo>
                      <a:pt x="44" y="4"/>
                      <a:pt x="44" y="4"/>
                      <a:pt x="44" y="4"/>
                    </a:cubicBezTo>
                    <a:cubicBezTo>
                      <a:pt x="44" y="4"/>
                      <a:pt x="44" y="2"/>
                      <a:pt x="41" y="1"/>
                    </a:cubicBezTo>
                    <a:cubicBezTo>
                      <a:pt x="38" y="0"/>
                      <a:pt x="35" y="0"/>
                      <a:pt x="35" y="0"/>
                    </a:cubicBezTo>
                    <a:cubicBezTo>
                      <a:pt x="35" y="0"/>
                      <a:pt x="34" y="1"/>
                      <a:pt x="33" y="1"/>
                    </a:cubicBezTo>
                    <a:cubicBezTo>
                      <a:pt x="31" y="1"/>
                      <a:pt x="27" y="1"/>
                      <a:pt x="27" y="1"/>
                    </a:cubicBezTo>
                    <a:cubicBezTo>
                      <a:pt x="27" y="5"/>
                      <a:pt x="27" y="8"/>
                      <a:pt x="28" y="13"/>
                    </a:cubicBezTo>
                    <a:cubicBezTo>
                      <a:pt x="25" y="14"/>
                      <a:pt x="21" y="16"/>
                      <a:pt x="18" y="14"/>
                    </a:cubicBezTo>
                    <a:cubicBezTo>
                      <a:pt x="18" y="14"/>
                      <a:pt x="18" y="14"/>
                      <a:pt x="18" y="14"/>
                    </a:cubicBezTo>
                    <a:cubicBezTo>
                      <a:pt x="17" y="13"/>
                      <a:pt x="14" y="9"/>
                      <a:pt x="13" y="8"/>
                    </a:cubicBezTo>
                    <a:cubicBezTo>
                      <a:pt x="13" y="8"/>
                      <a:pt x="13" y="6"/>
                      <a:pt x="14" y="7"/>
                    </a:cubicBezTo>
                    <a:cubicBezTo>
                      <a:pt x="14" y="7"/>
                      <a:pt x="14" y="5"/>
                      <a:pt x="14" y="4"/>
                    </a:cubicBezTo>
                    <a:cubicBezTo>
                      <a:pt x="12" y="4"/>
                      <a:pt x="12" y="4"/>
                      <a:pt x="12" y="4"/>
                    </a:cubicBezTo>
                    <a:cubicBezTo>
                      <a:pt x="11" y="6"/>
                      <a:pt x="11" y="6"/>
                      <a:pt x="11" y="6"/>
                    </a:cubicBezTo>
                    <a:cubicBezTo>
                      <a:pt x="6" y="8"/>
                      <a:pt x="8" y="7"/>
                      <a:pt x="6" y="11"/>
                    </a:cubicBezTo>
                    <a:cubicBezTo>
                      <a:pt x="2" y="17"/>
                      <a:pt x="1" y="21"/>
                      <a:pt x="0" y="26"/>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97" name="Freeform 176">
                <a:extLst>
                  <a:ext uri="{FF2B5EF4-FFF2-40B4-BE49-F238E27FC236}">
                    <a16:creationId xmlns:a16="http://schemas.microsoft.com/office/drawing/2014/main" id="{618E540B-2ED7-9594-31C4-AEDF8285C6C2}"/>
                  </a:ext>
                </a:extLst>
              </p:cNvPr>
              <p:cNvSpPr>
                <a:spLocks/>
              </p:cNvSpPr>
              <p:nvPr/>
            </p:nvSpPr>
            <p:spPr bwMode="auto">
              <a:xfrm>
                <a:off x="4816" y="1778"/>
                <a:ext cx="117" cy="180"/>
              </a:xfrm>
              <a:custGeom>
                <a:avLst/>
                <a:gdLst>
                  <a:gd name="T0" fmla="*/ 2 w 60"/>
                  <a:gd name="T1" fmla="*/ 24 h 92"/>
                  <a:gd name="T2" fmla="*/ 0 w 60"/>
                  <a:gd name="T3" fmla="*/ 28 h 92"/>
                  <a:gd name="T4" fmla="*/ 2 w 60"/>
                  <a:gd name="T5" fmla="*/ 32 h 92"/>
                  <a:gd name="T6" fmla="*/ 6 w 60"/>
                  <a:gd name="T7" fmla="*/ 34 h 92"/>
                  <a:gd name="T8" fmla="*/ 5 w 60"/>
                  <a:gd name="T9" fmla="*/ 41 h 92"/>
                  <a:gd name="T10" fmla="*/ 7 w 60"/>
                  <a:gd name="T11" fmla="*/ 45 h 92"/>
                  <a:gd name="T12" fmla="*/ 7 w 60"/>
                  <a:gd name="T13" fmla="*/ 50 h 92"/>
                  <a:gd name="T14" fmla="*/ 11 w 60"/>
                  <a:gd name="T15" fmla="*/ 50 h 92"/>
                  <a:gd name="T16" fmla="*/ 19 w 60"/>
                  <a:gd name="T17" fmla="*/ 44 h 92"/>
                  <a:gd name="T18" fmla="*/ 21 w 60"/>
                  <a:gd name="T19" fmla="*/ 46 h 92"/>
                  <a:gd name="T20" fmla="*/ 26 w 60"/>
                  <a:gd name="T21" fmla="*/ 50 h 92"/>
                  <a:gd name="T22" fmla="*/ 34 w 60"/>
                  <a:gd name="T23" fmla="*/ 56 h 92"/>
                  <a:gd name="T24" fmla="*/ 34 w 60"/>
                  <a:gd name="T25" fmla="*/ 65 h 92"/>
                  <a:gd name="T26" fmla="*/ 39 w 60"/>
                  <a:gd name="T27" fmla="*/ 70 h 92"/>
                  <a:gd name="T28" fmla="*/ 40 w 60"/>
                  <a:gd name="T29" fmla="*/ 76 h 92"/>
                  <a:gd name="T30" fmla="*/ 40 w 60"/>
                  <a:gd name="T31" fmla="*/ 81 h 92"/>
                  <a:gd name="T32" fmla="*/ 36 w 60"/>
                  <a:gd name="T33" fmla="*/ 87 h 92"/>
                  <a:gd name="T34" fmla="*/ 42 w 60"/>
                  <a:gd name="T35" fmla="*/ 90 h 92"/>
                  <a:gd name="T36" fmla="*/ 48 w 60"/>
                  <a:gd name="T37" fmla="*/ 91 h 92"/>
                  <a:gd name="T38" fmla="*/ 50 w 60"/>
                  <a:gd name="T39" fmla="*/ 83 h 92"/>
                  <a:gd name="T40" fmla="*/ 55 w 60"/>
                  <a:gd name="T41" fmla="*/ 87 h 92"/>
                  <a:gd name="T42" fmla="*/ 60 w 60"/>
                  <a:gd name="T43" fmla="*/ 83 h 92"/>
                  <a:gd name="T44" fmla="*/ 58 w 60"/>
                  <a:gd name="T45" fmla="*/ 73 h 92"/>
                  <a:gd name="T46" fmla="*/ 53 w 60"/>
                  <a:gd name="T47" fmla="*/ 66 h 92"/>
                  <a:gd name="T48" fmla="*/ 48 w 60"/>
                  <a:gd name="T49" fmla="*/ 60 h 92"/>
                  <a:gd name="T50" fmla="*/ 44 w 60"/>
                  <a:gd name="T51" fmla="*/ 53 h 92"/>
                  <a:gd name="T52" fmla="*/ 38 w 60"/>
                  <a:gd name="T53" fmla="*/ 46 h 92"/>
                  <a:gd name="T54" fmla="*/ 31 w 60"/>
                  <a:gd name="T55" fmla="*/ 36 h 92"/>
                  <a:gd name="T56" fmla="*/ 34 w 60"/>
                  <a:gd name="T57" fmla="*/ 30 h 92"/>
                  <a:gd name="T58" fmla="*/ 40 w 60"/>
                  <a:gd name="T59" fmla="*/ 26 h 92"/>
                  <a:gd name="T60" fmla="*/ 36 w 60"/>
                  <a:gd name="T61" fmla="*/ 19 h 92"/>
                  <a:gd name="T62" fmla="*/ 30 w 60"/>
                  <a:gd name="T63" fmla="*/ 19 h 92"/>
                  <a:gd name="T64" fmla="*/ 25 w 60"/>
                  <a:gd name="T65" fmla="*/ 16 h 92"/>
                  <a:gd name="T66" fmla="*/ 19 w 60"/>
                  <a:gd name="T67" fmla="*/ 11 h 92"/>
                  <a:gd name="T68" fmla="*/ 16 w 60"/>
                  <a:gd name="T69" fmla="*/ 1 h 92"/>
                  <a:gd name="T70" fmla="*/ 10 w 60"/>
                  <a:gd name="T71" fmla="*/ 4 h 92"/>
                  <a:gd name="T72" fmla="*/ 12 w 60"/>
                  <a:gd name="T73" fmla="*/ 15 h 92"/>
                  <a:gd name="T74" fmla="*/ 5 w 60"/>
                  <a:gd name="T75" fmla="*/ 1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92">
                    <a:moveTo>
                      <a:pt x="5" y="19"/>
                    </a:moveTo>
                    <a:cubicBezTo>
                      <a:pt x="2" y="24"/>
                      <a:pt x="2" y="24"/>
                      <a:pt x="2" y="24"/>
                    </a:cubicBezTo>
                    <a:cubicBezTo>
                      <a:pt x="1" y="27"/>
                      <a:pt x="1" y="27"/>
                      <a:pt x="1" y="27"/>
                    </a:cubicBezTo>
                    <a:cubicBezTo>
                      <a:pt x="0" y="28"/>
                      <a:pt x="0" y="28"/>
                      <a:pt x="0" y="28"/>
                    </a:cubicBezTo>
                    <a:cubicBezTo>
                      <a:pt x="0" y="31"/>
                      <a:pt x="0" y="31"/>
                      <a:pt x="0" y="31"/>
                    </a:cubicBezTo>
                    <a:cubicBezTo>
                      <a:pt x="2" y="32"/>
                      <a:pt x="2" y="32"/>
                      <a:pt x="2" y="32"/>
                    </a:cubicBezTo>
                    <a:cubicBezTo>
                      <a:pt x="6" y="31"/>
                      <a:pt x="6" y="31"/>
                      <a:pt x="6" y="31"/>
                    </a:cubicBezTo>
                    <a:cubicBezTo>
                      <a:pt x="6" y="34"/>
                      <a:pt x="6" y="34"/>
                      <a:pt x="6" y="34"/>
                    </a:cubicBezTo>
                    <a:cubicBezTo>
                      <a:pt x="4" y="38"/>
                      <a:pt x="4" y="38"/>
                      <a:pt x="4" y="38"/>
                    </a:cubicBezTo>
                    <a:cubicBezTo>
                      <a:pt x="5" y="41"/>
                      <a:pt x="5" y="41"/>
                      <a:pt x="5" y="41"/>
                    </a:cubicBezTo>
                    <a:cubicBezTo>
                      <a:pt x="5" y="43"/>
                      <a:pt x="5" y="43"/>
                      <a:pt x="5" y="43"/>
                    </a:cubicBezTo>
                    <a:cubicBezTo>
                      <a:pt x="7" y="45"/>
                      <a:pt x="7" y="45"/>
                      <a:pt x="7" y="45"/>
                    </a:cubicBezTo>
                    <a:cubicBezTo>
                      <a:pt x="8" y="48"/>
                      <a:pt x="8" y="48"/>
                      <a:pt x="8" y="48"/>
                    </a:cubicBezTo>
                    <a:cubicBezTo>
                      <a:pt x="7" y="50"/>
                      <a:pt x="7" y="50"/>
                      <a:pt x="7" y="50"/>
                    </a:cubicBezTo>
                    <a:cubicBezTo>
                      <a:pt x="9" y="52"/>
                      <a:pt x="9" y="52"/>
                      <a:pt x="9" y="52"/>
                    </a:cubicBezTo>
                    <a:cubicBezTo>
                      <a:pt x="11" y="50"/>
                      <a:pt x="11" y="50"/>
                      <a:pt x="11" y="50"/>
                    </a:cubicBezTo>
                    <a:cubicBezTo>
                      <a:pt x="13" y="48"/>
                      <a:pt x="13" y="48"/>
                      <a:pt x="13" y="48"/>
                    </a:cubicBezTo>
                    <a:cubicBezTo>
                      <a:pt x="19" y="44"/>
                      <a:pt x="19" y="44"/>
                      <a:pt x="19" y="44"/>
                    </a:cubicBezTo>
                    <a:cubicBezTo>
                      <a:pt x="21" y="45"/>
                      <a:pt x="21" y="45"/>
                      <a:pt x="21" y="45"/>
                    </a:cubicBezTo>
                    <a:cubicBezTo>
                      <a:pt x="21" y="46"/>
                      <a:pt x="21" y="46"/>
                      <a:pt x="21" y="46"/>
                    </a:cubicBezTo>
                    <a:cubicBezTo>
                      <a:pt x="23" y="48"/>
                      <a:pt x="23" y="48"/>
                      <a:pt x="23" y="48"/>
                    </a:cubicBezTo>
                    <a:cubicBezTo>
                      <a:pt x="26" y="50"/>
                      <a:pt x="26" y="50"/>
                      <a:pt x="26" y="50"/>
                    </a:cubicBezTo>
                    <a:cubicBezTo>
                      <a:pt x="29" y="50"/>
                      <a:pt x="29" y="50"/>
                      <a:pt x="29" y="50"/>
                    </a:cubicBezTo>
                    <a:cubicBezTo>
                      <a:pt x="34" y="56"/>
                      <a:pt x="34" y="56"/>
                      <a:pt x="34" y="56"/>
                    </a:cubicBezTo>
                    <a:cubicBezTo>
                      <a:pt x="34" y="60"/>
                      <a:pt x="34" y="60"/>
                      <a:pt x="34" y="60"/>
                    </a:cubicBezTo>
                    <a:cubicBezTo>
                      <a:pt x="34" y="65"/>
                      <a:pt x="34" y="65"/>
                      <a:pt x="34" y="65"/>
                    </a:cubicBezTo>
                    <a:cubicBezTo>
                      <a:pt x="36" y="68"/>
                      <a:pt x="36" y="68"/>
                      <a:pt x="36" y="68"/>
                    </a:cubicBezTo>
                    <a:cubicBezTo>
                      <a:pt x="39" y="70"/>
                      <a:pt x="39" y="70"/>
                      <a:pt x="39" y="70"/>
                    </a:cubicBezTo>
                    <a:cubicBezTo>
                      <a:pt x="40" y="72"/>
                      <a:pt x="40" y="72"/>
                      <a:pt x="40" y="72"/>
                    </a:cubicBezTo>
                    <a:cubicBezTo>
                      <a:pt x="40" y="76"/>
                      <a:pt x="40" y="76"/>
                      <a:pt x="40" y="76"/>
                    </a:cubicBezTo>
                    <a:cubicBezTo>
                      <a:pt x="41" y="78"/>
                      <a:pt x="41" y="78"/>
                      <a:pt x="41" y="78"/>
                    </a:cubicBezTo>
                    <a:cubicBezTo>
                      <a:pt x="40" y="81"/>
                      <a:pt x="40" y="81"/>
                      <a:pt x="40" y="81"/>
                    </a:cubicBezTo>
                    <a:cubicBezTo>
                      <a:pt x="39" y="84"/>
                      <a:pt x="39" y="84"/>
                      <a:pt x="39" y="84"/>
                    </a:cubicBezTo>
                    <a:cubicBezTo>
                      <a:pt x="36" y="87"/>
                      <a:pt x="36" y="87"/>
                      <a:pt x="36" y="87"/>
                    </a:cubicBezTo>
                    <a:cubicBezTo>
                      <a:pt x="41" y="88"/>
                      <a:pt x="41" y="88"/>
                      <a:pt x="41" y="88"/>
                    </a:cubicBezTo>
                    <a:cubicBezTo>
                      <a:pt x="42" y="90"/>
                      <a:pt x="42" y="90"/>
                      <a:pt x="42" y="90"/>
                    </a:cubicBezTo>
                    <a:cubicBezTo>
                      <a:pt x="45" y="92"/>
                      <a:pt x="45" y="92"/>
                      <a:pt x="45" y="92"/>
                    </a:cubicBezTo>
                    <a:cubicBezTo>
                      <a:pt x="48" y="91"/>
                      <a:pt x="48" y="91"/>
                      <a:pt x="48" y="91"/>
                    </a:cubicBezTo>
                    <a:cubicBezTo>
                      <a:pt x="48" y="87"/>
                      <a:pt x="48" y="87"/>
                      <a:pt x="48" y="87"/>
                    </a:cubicBezTo>
                    <a:cubicBezTo>
                      <a:pt x="50" y="83"/>
                      <a:pt x="50" y="83"/>
                      <a:pt x="50" y="83"/>
                    </a:cubicBezTo>
                    <a:cubicBezTo>
                      <a:pt x="53" y="84"/>
                      <a:pt x="53" y="84"/>
                      <a:pt x="53" y="84"/>
                    </a:cubicBezTo>
                    <a:cubicBezTo>
                      <a:pt x="55" y="87"/>
                      <a:pt x="55" y="87"/>
                      <a:pt x="55" y="87"/>
                    </a:cubicBezTo>
                    <a:cubicBezTo>
                      <a:pt x="59" y="86"/>
                      <a:pt x="59" y="86"/>
                      <a:pt x="59" y="86"/>
                    </a:cubicBezTo>
                    <a:cubicBezTo>
                      <a:pt x="60" y="83"/>
                      <a:pt x="60" y="83"/>
                      <a:pt x="60" y="83"/>
                    </a:cubicBezTo>
                    <a:cubicBezTo>
                      <a:pt x="59" y="77"/>
                      <a:pt x="59" y="77"/>
                      <a:pt x="59" y="77"/>
                    </a:cubicBezTo>
                    <a:cubicBezTo>
                      <a:pt x="58" y="73"/>
                      <a:pt x="58" y="73"/>
                      <a:pt x="58" y="73"/>
                    </a:cubicBezTo>
                    <a:cubicBezTo>
                      <a:pt x="55" y="71"/>
                      <a:pt x="55" y="71"/>
                      <a:pt x="55" y="71"/>
                    </a:cubicBezTo>
                    <a:cubicBezTo>
                      <a:pt x="53" y="66"/>
                      <a:pt x="53" y="66"/>
                      <a:pt x="53" y="66"/>
                    </a:cubicBezTo>
                    <a:cubicBezTo>
                      <a:pt x="52" y="63"/>
                      <a:pt x="52" y="63"/>
                      <a:pt x="52" y="63"/>
                    </a:cubicBezTo>
                    <a:cubicBezTo>
                      <a:pt x="48" y="60"/>
                      <a:pt x="48" y="60"/>
                      <a:pt x="48" y="60"/>
                    </a:cubicBezTo>
                    <a:cubicBezTo>
                      <a:pt x="45" y="56"/>
                      <a:pt x="45" y="56"/>
                      <a:pt x="45" y="56"/>
                    </a:cubicBezTo>
                    <a:cubicBezTo>
                      <a:pt x="44" y="53"/>
                      <a:pt x="44" y="53"/>
                      <a:pt x="44" y="53"/>
                    </a:cubicBezTo>
                    <a:cubicBezTo>
                      <a:pt x="42" y="51"/>
                      <a:pt x="42" y="51"/>
                      <a:pt x="42" y="51"/>
                    </a:cubicBezTo>
                    <a:cubicBezTo>
                      <a:pt x="38" y="46"/>
                      <a:pt x="38" y="46"/>
                      <a:pt x="38" y="46"/>
                    </a:cubicBezTo>
                    <a:cubicBezTo>
                      <a:pt x="36" y="39"/>
                      <a:pt x="36" y="39"/>
                      <a:pt x="36" y="39"/>
                    </a:cubicBezTo>
                    <a:cubicBezTo>
                      <a:pt x="31" y="36"/>
                      <a:pt x="31" y="36"/>
                      <a:pt x="31" y="36"/>
                    </a:cubicBezTo>
                    <a:cubicBezTo>
                      <a:pt x="32" y="32"/>
                      <a:pt x="32" y="32"/>
                      <a:pt x="32" y="32"/>
                    </a:cubicBezTo>
                    <a:cubicBezTo>
                      <a:pt x="34" y="30"/>
                      <a:pt x="34" y="30"/>
                      <a:pt x="34" y="30"/>
                    </a:cubicBezTo>
                    <a:cubicBezTo>
                      <a:pt x="37" y="28"/>
                      <a:pt x="37" y="28"/>
                      <a:pt x="37" y="28"/>
                    </a:cubicBezTo>
                    <a:cubicBezTo>
                      <a:pt x="40" y="26"/>
                      <a:pt x="40" y="26"/>
                      <a:pt x="40" y="26"/>
                    </a:cubicBezTo>
                    <a:cubicBezTo>
                      <a:pt x="40" y="21"/>
                      <a:pt x="40" y="21"/>
                      <a:pt x="40" y="21"/>
                    </a:cubicBezTo>
                    <a:cubicBezTo>
                      <a:pt x="36" y="19"/>
                      <a:pt x="36" y="19"/>
                      <a:pt x="36" y="19"/>
                    </a:cubicBezTo>
                    <a:cubicBezTo>
                      <a:pt x="33" y="17"/>
                      <a:pt x="33" y="17"/>
                      <a:pt x="33" y="17"/>
                    </a:cubicBezTo>
                    <a:cubicBezTo>
                      <a:pt x="30" y="19"/>
                      <a:pt x="30" y="19"/>
                      <a:pt x="30" y="19"/>
                    </a:cubicBezTo>
                    <a:cubicBezTo>
                      <a:pt x="26" y="18"/>
                      <a:pt x="26" y="18"/>
                      <a:pt x="26" y="18"/>
                    </a:cubicBezTo>
                    <a:cubicBezTo>
                      <a:pt x="25" y="16"/>
                      <a:pt x="25" y="16"/>
                      <a:pt x="25" y="16"/>
                    </a:cubicBezTo>
                    <a:cubicBezTo>
                      <a:pt x="22" y="14"/>
                      <a:pt x="22" y="14"/>
                      <a:pt x="22" y="14"/>
                    </a:cubicBezTo>
                    <a:cubicBezTo>
                      <a:pt x="19" y="11"/>
                      <a:pt x="19" y="11"/>
                      <a:pt x="19" y="11"/>
                    </a:cubicBezTo>
                    <a:cubicBezTo>
                      <a:pt x="20" y="8"/>
                      <a:pt x="20" y="8"/>
                      <a:pt x="20" y="8"/>
                    </a:cubicBezTo>
                    <a:cubicBezTo>
                      <a:pt x="16" y="1"/>
                      <a:pt x="16" y="1"/>
                      <a:pt x="16" y="1"/>
                    </a:cubicBezTo>
                    <a:cubicBezTo>
                      <a:pt x="12" y="0"/>
                      <a:pt x="12" y="0"/>
                      <a:pt x="12" y="0"/>
                    </a:cubicBezTo>
                    <a:cubicBezTo>
                      <a:pt x="10" y="4"/>
                      <a:pt x="10" y="4"/>
                      <a:pt x="10" y="4"/>
                    </a:cubicBezTo>
                    <a:cubicBezTo>
                      <a:pt x="13" y="9"/>
                      <a:pt x="13" y="9"/>
                      <a:pt x="13" y="9"/>
                    </a:cubicBezTo>
                    <a:cubicBezTo>
                      <a:pt x="12" y="15"/>
                      <a:pt x="12" y="15"/>
                      <a:pt x="12" y="15"/>
                    </a:cubicBezTo>
                    <a:cubicBezTo>
                      <a:pt x="11" y="19"/>
                      <a:pt x="11" y="19"/>
                      <a:pt x="11" y="19"/>
                    </a:cubicBezTo>
                    <a:cubicBezTo>
                      <a:pt x="11" y="19"/>
                      <a:pt x="7" y="19"/>
                      <a:pt x="5" y="19"/>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98" name="Freeform 177">
                <a:extLst>
                  <a:ext uri="{FF2B5EF4-FFF2-40B4-BE49-F238E27FC236}">
                    <a16:creationId xmlns:a16="http://schemas.microsoft.com/office/drawing/2014/main" id="{EA2E5468-3859-1F6E-3A3F-8BBA8EA0C34A}"/>
                  </a:ext>
                </a:extLst>
              </p:cNvPr>
              <p:cNvSpPr>
                <a:spLocks/>
              </p:cNvSpPr>
              <p:nvPr/>
            </p:nvSpPr>
            <p:spPr bwMode="auto">
              <a:xfrm>
                <a:off x="4816" y="1778"/>
                <a:ext cx="117" cy="180"/>
              </a:xfrm>
              <a:custGeom>
                <a:avLst/>
                <a:gdLst>
                  <a:gd name="T0" fmla="*/ 2 w 60"/>
                  <a:gd name="T1" fmla="*/ 24 h 92"/>
                  <a:gd name="T2" fmla="*/ 0 w 60"/>
                  <a:gd name="T3" fmla="*/ 28 h 92"/>
                  <a:gd name="T4" fmla="*/ 2 w 60"/>
                  <a:gd name="T5" fmla="*/ 32 h 92"/>
                  <a:gd name="T6" fmla="*/ 6 w 60"/>
                  <a:gd name="T7" fmla="*/ 34 h 92"/>
                  <a:gd name="T8" fmla="*/ 5 w 60"/>
                  <a:gd name="T9" fmla="*/ 41 h 92"/>
                  <a:gd name="T10" fmla="*/ 7 w 60"/>
                  <a:gd name="T11" fmla="*/ 45 h 92"/>
                  <a:gd name="T12" fmla="*/ 7 w 60"/>
                  <a:gd name="T13" fmla="*/ 50 h 92"/>
                  <a:gd name="T14" fmla="*/ 11 w 60"/>
                  <a:gd name="T15" fmla="*/ 50 h 92"/>
                  <a:gd name="T16" fmla="*/ 19 w 60"/>
                  <a:gd name="T17" fmla="*/ 44 h 92"/>
                  <a:gd name="T18" fmla="*/ 21 w 60"/>
                  <a:gd name="T19" fmla="*/ 46 h 92"/>
                  <a:gd name="T20" fmla="*/ 26 w 60"/>
                  <a:gd name="T21" fmla="*/ 50 h 92"/>
                  <a:gd name="T22" fmla="*/ 34 w 60"/>
                  <a:gd name="T23" fmla="*/ 56 h 92"/>
                  <a:gd name="T24" fmla="*/ 34 w 60"/>
                  <a:gd name="T25" fmla="*/ 65 h 92"/>
                  <a:gd name="T26" fmla="*/ 39 w 60"/>
                  <a:gd name="T27" fmla="*/ 70 h 92"/>
                  <a:gd name="T28" fmla="*/ 40 w 60"/>
                  <a:gd name="T29" fmla="*/ 76 h 92"/>
                  <a:gd name="T30" fmla="*/ 40 w 60"/>
                  <a:gd name="T31" fmla="*/ 81 h 92"/>
                  <a:gd name="T32" fmla="*/ 36 w 60"/>
                  <a:gd name="T33" fmla="*/ 87 h 92"/>
                  <a:gd name="T34" fmla="*/ 42 w 60"/>
                  <a:gd name="T35" fmla="*/ 90 h 92"/>
                  <a:gd name="T36" fmla="*/ 48 w 60"/>
                  <a:gd name="T37" fmla="*/ 91 h 92"/>
                  <a:gd name="T38" fmla="*/ 50 w 60"/>
                  <a:gd name="T39" fmla="*/ 83 h 92"/>
                  <a:gd name="T40" fmla="*/ 55 w 60"/>
                  <a:gd name="T41" fmla="*/ 87 h 92"/>
                  <a:gd name="T42" fmla="*/ 60 w 60"/>
                  <a:gd name="T43" fmla="*/ 83 h 92"/>
                  <a:gd name="T44" fmla="*/ 58 w 60"/>
                  <a:gd name="T45" fmla="*/ 73 h 92"/>
                  <a:gd name="T46" fmla="*/ 53 w 60"/>
                  <a:gd name="T47" fmla="*/ 66 h 92"/>
                  <a:gd name="T48" fmla="*/ 48 w 60"/>
                  <a:gd name="T49" fmla="*/ 60 h 92"/>
                  <a:gd name="T50" fmla="*/ 44 w 60"/>
                  <a:gd name="T51" fmla="*/ 53 h 92"/>
                  <a:gd name="T52" fmla="*/ 38 w 60"/>
                  <a:gd name="T53" fmla="*/ 46 h 92"/>
                  <a:gd name="T54" fmla="*/ 31 w 60"/>
                  <a:gd name="T55" fmla="*/ 36 h 92"/>
                  <a:gd name="T56" fmla="*/ 34 w 60"/>
                  <a:gd name="T57" fmla="*/ 30 h 92"/>
                  <a:gd name="T58" fmla="*/ 40 w 60"/>
                  <a:gd name="T59" fmla="*/ 26 h 92"/>
                  <a:gd name="T60" fmla="*/ 36 w 60"/>
                  <a:gd name="T61" fmla="*/ 19 h 92"/>
                  <a:gd name="T62" fmla="*/ 30 w 60"/>
                  <a:gd name="T63" fmla="*/ 19 h 92"/>
                  <a:gd name="T64" fmla="*/ 25 w 60"/>
                  <a:gd name="T65" fmla="*/ 16 h 92"/>
                  <a:gd name="T66" fmla="*/ 19 w 60"/>
                  <a:gd name="T67" fmla="*/ 11 h 92"/>
                  <a:gd name="T68" fmla="*/ 16 w 60"/>
                  <a:gd name="T69" fmla="*/ 1 h 92"/>
                  <a:gd name="T70" fmla="*/ 10 w 60"/>
                  <a:gd name="T71" fmla="*/ 4 h 92"/>
                  <a:gd name="T72" fmla="*/ 12 w 60"/>
                  <a:gd name="T73" fmla="*/ 15 h 92"/>
                  <a:gd name="T74" fmla="*/ 5 w 60"/>
                  <a:gd name="T75" fmla="*/ 1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92">
                    <a:moveTo>
                      <a:pt x="5" y="19"/>
                    </a:moveTo>
                    <a:cubicBezTo>
                      <a:pt x="2" y="24"/>
                      <a:pt x="2" y="24"/>
                      <a:pt x="2" y="24"/>
                    </a:cubicBezTo>
                    <a:cubicBezTo>
                      <a:pt x="1" y="27"/>
                      <a:pt x="1" y="27"/>
                      <a:pt x="1" y="27"/>
                    </a:cubicBezTo>
                    <a:cubicBezTo>
                      <a:pt x="0" y="28"/>
                      <a:pt x="0" y="28"/>
                      <a:pt x="0" y="28"/>
                    </a:cubicBezTo>
                    <a:cubicBezTo>
                      <a:pt x="0" y="31"/>
                      <a:pt x="0" y="31"/>
                      <a:pt x="0" y="31"/>
                    </a:cubicBezTo>
                    <a:cubicBezTo>
                      <a:pt x="2" y="32"/>
                      <a:pt x="2" y="32"/>
                      <a:pt x="2" y="32"/>
                    </a:cubicBezTo>
                    <a:cubicBezTo>
                      <a:pt x="6" y="31"/>
                      <a:pt x="6" y="31"/>
                      <a:pt x="6" y="31"/>
                    </a:cubicBezTo>
                    <a:cubicBezTo>
                      <a:pt x="6" y="34"/>
                      <a:pt x="6" y="34"/>
                      <a:pt x="6" y="34"/>
                    </a:cubicBezTo>
                    <a:cubicBezTo>
                      <a:pt x="4" y="38"/>
                      <a:pt x="4" y="38"/>
                      <a:pt x="4" y="38"/>
                    </a:cubicBezTo>
                    <a:cubicBezTo>
                      <a:pt x="5" y="41"/>
                      <a:pt x="5" y="41"/>
                      <a:pt x="5" y="41"/>
                    </a:cubicBezTo>
                    <a:cubicBezTo>
                      <a:pt x="5" y="43"/>
                      <a:pt x="5" y="43"/>
                      <a:pt x="5" y="43"/>
                    </a:cubicBezTo>
                    <a:cubicBezTo>
                      <a:pt x="7" y="45"/>
                      <a:pt x="7" y="45"/>
                      <a:pt x="7" y="45"/>
                    </a:cubicBezTo>
                    <a:cubicBezTo>
                      <a:pt x="8" y="48"/>
                      <a:pt x="8" y="48"/>
                      <a:pt x="8" y="48"/>
                    </a:cubicBezTo>
                    <a:cubicBezTo>
                      <a:pt x="7" y="50"/>
                      <a:pt x="7" y="50"/>
                      <a:pt x="7" y="50"/>
                    </a:cubicBezTo>
                    <a:cubicBezTo>
                      <a:pt x="9" y="52"/>
                      <a:pt x="9" y="52"/>
                      <a:pt x="9" y="52"/>
                    </a:cubicBezTo>
                    <a:cubicBezTo>
                      <a:pt x="11" y="50"/>
                      <a:pt x="11" y="50"/>
                      <a:pt x="11" y="50"/>
                    </a:cubicBezTo>
                    <a:cubicBezTo>
                      <a:pt x="13" y="48"/>
                      <a:pt x="13" y="48"/>
                      <a:pt x="13" y="48"/>
                    </a:cubicBezTo>
                    <a:cubicBezTo>
                      <a:pt x="19" y="44"/>
                      <a:pt x="19" y="44"/>
                      <a:pt x="19" y="44"/>
                    </a:cubicBezTo>
                    <a:cubicBezTo>
                      <a:pt x="21" y="45"/>
                      <a:pt x="21" y="45"/>
                      <a:pt x="21" y="45"/>
                    </a:cubicBezTo>
                    <a:cubicBezTo>
                      <a:pt x="21" y="46"/>
                      <a:pt x="21" y="46"/>
                      <a:pt x="21" y="46"/>
                    </a:cubicBezTo>
                    <a:cubicBezTo>
                      <a:pt x="23" y="48"/>
                      <a:pt x="23" y="48"/>
                      <a:pt x="23" y="48"/>
                    </a:cubicBezTo>
                    <a:cubicBezTo>
                      <a:pt x="26" y="50"/>
                      <a:pt x="26" y="50"/>
                      <a:pt x="26" y="50"/>
                    </a:cubicBezTo>
                    <a:cubicBezTo>
                      <a:pt x="29" y="50"/>
                      <a:pt x="29" y="50"/>
                      <a:pt x="29" y="50"/>
                    </a:cubicBezTo>
                    <a:cubicBezTo>
                      <a:pt x="34" y="56"/>
                      <a:pt x="34" y="56"/>
                      <a:pt x="34" y="56"/>
                    </a:cubicBezTo>
                    <a:cubicBezTo>
                      <a:pt x="34" y="60"/>
                      <a:pt x="34" y="60"/>
                      <a:pt x="34" y="60"/>
                    </a:cubicBezTo>
                    <a:cubicBezTo>
                      <a:pt x="34" y="65"/>
                      <a:pt x="34" y="65"/>
                      <a:pt x="34" y="65"/>
                    </a:cubicBezTo>
                    <a:cubicBezTo>
                      <a:pt x="36" y="68"/>
                      <a:pt x="36" y="68"/>
                      <a:pt x="36" y="68"/>
                    </a:cubicBezTo>
                    <a:cubicBezTo>
                      <a:pt x="39" y="70"/>
                      <a:pt x="39" y="70"/>
                      <a:pt x="39" y="70"/>
                    </a:cubicBezTo>
                    <a:cubicBezTo>
                      <a:pt x="40" y="72"/>
                      <a:pt x="40" y="72"/>
                      <a:pt x="40" y="72"/>
                    </a:cubicBezTo>
                    <a:cubicBezTo>
                      <a:pt x="40" y="76"/>
                      <a:pt x="40" y="76"/>
                      <a:pt x="40" y="76"/>
                    </a:cubicBezTo>
                    <a:cubicBezTo>
                      <a:pt x="41" y="78"/>
                      <a:pt x="41" y="78"/>
                      <a:pt x="41" y="78"/>
                    </a:cubicBezTo>
                    <a:cubicBezTo>
                      <a:pt x="40" y="81"/>
                      <a:pt x="40" y="81"/>
                      <a:pt x="40" y="81"/>
                    </a:cubicBezTo>
                    <a:cubicBezTo>
                      <a:pt x="39" y="84"/>
                      <a:pt x="39" y="84"/>
                      <a:pt x="39" y="84"/>
                    </a:cubicBezTo>
                    <a:cubicBezTo>
                      <a:pt x="36" y="87"/>
                      <a:pt x="36" y="87"/>
                      <a:pt x="36" y="87"/>
                    </a:cubicBezTo>
                    <a:cubicBezTo>
                      <a:pt x="41" y="88"/>
                      <a:pt x="41" y="88"/>
                      <a:pt x="41" y="88"/>
                    </a:cubicBezTo>
                    <a:cubicBezTo>
                      <a:pt x="42" y="90"/>
                      <a:pt x="42" y="90"/>
                      <a:pt x="42" y="90"/>
                    </a:cubicBezTo>
                    <a:cubicBezTo>
                      <a:pt x="45" y="92"/>
                      <a:pt x="45" y="92"/>
                      <a:pt x="45" y="92"/>
                    </a:cubicBezTo>
                    <a:cubicBezTo>
                      <a:pt x="48" y="91"/>
                      <a:pt x="48" y="91"/>
                      <a:pt x="48" y="91"/>
                    </a:cubicBezTo>
                    <a:cubicBezTo>
                      <a:pt x="48" y="87"/>
                      <a:pt x="48" y="87"/>
                      <a:pt x="48" y="87"/>
                    </a:cubicBezTo>
                    <a:cubicBezTo>
                      <a:pt x="50" y="83"/>
                      <a:pt x="50" y="83"/>
                      <a:pt x="50" y="83"/>
                    </a:cubicBezTo>
                    <a:cubicBezTo>
                      <a:pt x="53" y="84"/>
                      <a:pt x="53" y="84"/>
                      <a:pt x="53" y="84"/>
                    </a:cubicBezTo>
                    <a:cubicBezTo>
                      <a:pt x="55" y="87"/>
                      <a:pt x="55" y="87"/>
                      <a:pt x="55" y="87"/>
                    </a:cubicBezTo>
                    <a:cubicBezTo>
                      <a:pt x="59" y="86"/>
                      <a:pt x="59" y="86"/>
                      <a:pt x="59" y="86"/>
                    </a:cubicBezTo>
                    <a:cubicBezTo>
                      <a:pt x="60" y="83"/>
                      <a:pt x="60" y="83"/>
                      <a:pt x="60" y="83"/>
                    </a:cubicBezTo>
                    <a:cubicBezTo>
                      <a:pt x="59" y="77"/>
                      <a:pt x="59" y="77"/>
                      <a:pt x="59" y="77"/>
                    </a:cubicBezTo>
                    <a:cubicBezTo>
                      <a:pt x="58" y="73"/>
                      <a:pt x="58" y="73"/>
                      <a:pt x="58" y="73"/>
                    </a:cubicBezTo>
                    <a:cubicBezTo>
                      <a:pt x="55" y="71"/>
                      <a:pt x="55" y="71"/>
                      <a:pt x="55" y="71"/>
                    </a:cubicBezTo>
                    <a:cubicBezTo>
                      <a:pt x="53" y="66"/>
                      <a:pt x="53" y="66"/>
                      <a:pt x="53" y="66"/>
                    </a:cubicBezTo>
                    <a:cubicBezTo>
                      <a:pt x="52" y="63"/>
                      <a:pt x="52" y="63"/>
                      <a:pt x="52" y="63"/>
                    </a:cubicBezTo>
                    <a:cubicBezTo>
                      <a:pt x="48" y="60"/>
                      <a:pt x="48" y="60"/>
                      <a:pt x="48" y="60"/>
                    </a:cubicBezTo>
                    <a:cubicBezTo>
                      <a:pt x="45" y="56"/>
                      <a:pt x="45" y="56"/>
                      <a:pt x="45" y="56"/>
                    </a:cubicBezTo>
                    <a:cubicBezTo>
                      <a:pt x="44" y="53"/>
                      <a:pt x="44" y="53"/>
                      <a:pt x="44" y="53"/>
                    </a:cubicBezTo>
                    <a:cubicBezTo>
                      <a:pt x="42" y="51"/>
                      <a:pt x="42" y="51"/>
                      <a:pt x="42" y="51"/>
                    </a:cubicBezTo>
                    <a:cubicBezTo>
                      <a:pt x="38" y="46"/>
                      <a:pt x="38" y="46"/>
                      <a:pt x="38" y="46"/>
                    </a:cubicBezTo>
                    <a:cubicBezTo>
                      <a:pt x="36" y="39"/>
                      <a:pt x="36" y="39"/>
                      <a:pt x="36" y="39"/>
                    </a:cubicBezTo>
                    <a:cubicBezTo>
                      <a:pt x="31" y="36"/>
                      <a:pt x="31" y="36"/>
                      <a:pt x="31" y="36"/>
                    </a:cubicBezTo>
                    <a:cubicBezTo>
                      <a:pt x="32" y="32"/>
                      <a:pt x="32" y="32"/>
                      <a:pt x="32" y="32"/>
                    </a:cubicBezTo>
                    <a:cubicBezTo>
                      <a:pt x="34" y="30"/>
                      <a:pt x="34" y="30"/>
                      <a:pt x="34" y="30"/>
                    </a:cubicBezTo>
                    <a:cubicBezTo>
                      <a:pt x="37" y="28"/>
                      <a:pt x="37" y="28"/>
                      <a:pt x="37" y="28"/>
                    </a:cubicBezTo>
                    <a:cubicBezTo>
                      <a:pt x="40" y="26"/>
                      <a:pt x="40" y="26"/>
                      <a:pt x="40" y="26"/>
                    </a:cubicBezTo>
                    <a:cubicBezTo>
                      <a:pt x="40" y="21"/>
                      <a:pt x="40" y="21"/>
                      <a:pt x="40" y="21"/>
                    </a:cubicBezTo>
                    <a:cubicBezTo>
                      <a:pt x="36" y="19"/>
                      <a:pt x="36" y="19"/>
                      <a:pt x="36" y="19"/>
                    </a:cubicBezTo>
                    <a:cubicBezTo>
                      <a:pt x="33" y="17"/>
                      <a:pt x="33" y="17"/>
                      <a:pt x="33" y="17"/>
                    </a:cubicBezTo>
                    <a:cubicBezTo>
                      <a:pt x="30" y="19"/>
                      <a:pt x="30" y="19"/>
                      <a:pt x="30" y="19"/>
                    </a:cubicBezTo>
                    <a:cubicBezTo>
                      <a:pt x="26" y="18"/>
                      <a:pt x="26" y="18"/>
                      <a:pt x="26" y="18"/>
                    </a:cubicBezTo>
                    <a:cubicBezTo>
                      <a:pt x="25" y="16"/>
                      <a:pt x="25" y="16"/>
                      <a:pt x="25" y="16"/>
                    </a:cubicBezTo>
                    <a:cubicBezTo>
                      <a:pt x="22" y="14"/>
                      <a:pt x="22" y="14"/>
                      <a:pt x="22" y="14"/>
                    </a:cubicBezTo>
                    <a:cubicBezTo>
                      <a:pt x="19" y="11"/>
                      <a:pt x="19" y="11"/>
                      <a:pt x="19" y="11"/>
                    </a:cubicBezTo>
                    <a:cubicBezTo>
                      <a:pt x="20" y="8"/>
                      <a:pt x="20" y="8"/>
                      <a:pt x="20" y="8"/>
                    </a:cubicBezTo>
                    <a:cubicBezTo>
                      <a:pt x="16" y="1"/>
                      <a:pt x="16" y="1"/>
                      <a:pt x="16" y="1"/>
                    </a:cubicBezTo>
                    <a:cubicBezTo>
                      <a:pt x="12" y="0"/>
                      <a:pt x="12" y="0"/>
                      <a:pt x="12" y="0"/>
                    </a:cubicBezTo>
                    <a:cubicBezTo>
                      <a:pt x="10" y="4"/>
                      <a:pt x="10" y="4"/>
                      <a:pt x="10" y="4"/>
                    </a:cubicBezTo>
                    <a:cubicBezTo>
                      <a:pt x="13" y="9"/>
                      <a:pt x="13" y="9"/>
                      <a:pt x="13" y="9"/>
                    </a:cubicBezTo>
                    <a:cubicBezTo>
                      <a:pt x="12" y="15"/>
                      <a:pt x="12" y="15"/>
                      <a:pt x="12" y="15"/>
                    </a:cubicBezTo>
                    <a:cubicBezTo>
                      <a:pt x="11" y="19"/>
                      <a:pt x="11" y="19"/>
                      <a:pt x="11" y="19"/>
                    </a:cubicBezTo>
                    <a:cubicBezTo>
                      <a:pt x="11" y="19"/>
                      <a:pt x="7" y="19"/>
                      <a:pt x="5" y="19"/>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699" name="Freeform 178">
                <a:extLst>
                  <a:ext uri="{FF2B5EF4-FFF2-40B4-BE49-F238E27FC236}">
                    <a16:creationId xmlns:a16="http://schemas.microsoft.com/office/drawing/2014/main" id="{CCFC7627-F72C-0C0E-DD7B-2F1B382469FD}"/>
                  </a:ext>
                </a:extLst>
              </p:cNvPr>
              <p:cNvSpPr>
                <a:spLocks noEditPoints="1"/>
              </p:cNvSpPr>
              <p:nvPr/>
            </p:nvSpPr>
            <p:spPr bwMode="auto">
              <a:xfrm>
                <a:off x="4288" y="1305"/>
                <a:ext cx="186" cy="92"/>
              </a:xfrm>
              <a:custGeom>
                <a:avLst/>
                <a:gdLst>
                  <a:gd name="T0" fmla="*/ 32 w 95"/>
                  <a:gd name="T1" fmla="*/ 45 h 47"/>
                  <a:gd name="T2" fmla="*/ 35 w 95"/>
                  <a:gd name="T3" fmla="*/ 43 h 47"/>
                  <a:gd name="T4" fmla="*/ 38 w 95"/>
                  <a:gd name="T5" fmla="*/ 41 h 47"/>
                  <a:gd name="T6" fmla="*/ 41 w 95"/>
                  <a:gd name="T7" fmla="*/ 37 h 47"/>
                  <a:gd name="T8" fmla="*/ 46 w 95"/>
                  <a:gd name="T9" fmla="*/ 35 h 47"/>
                  <a:gd name="T10" fmla="*/ 49 w 95"/>
                  <a:gd name="T11" fmla="*/ 39 h 47"/>
                  <a:gd name="T12" fmla="*/ 54 w 95"/>
                  <a:gd name="T13" fmla="*/ 37 h 47"/>
                  <a:gd name="T14" fmla="*/ 61 w 95"/>
                  <a:gd name="T15" fmla="*/ 35 h 47"/>
                  <a:gd name="T16" fmla="*/ 63 w 95"/>
                  <a:gd name="T17" fmla="*/ 27 h 47"/>
                  <a:gd name="T18" fmla="*/ 77 w 95"/>
                  <a:gd name="T19" fmla="*/ 22 h 47"/>
                  <a:gd name="T20" fmla="*/ 78 w 95"/>
                  <a:gd name="T21" fmla="*/ 18 h 47"/>
                  <a:gd name="T22" fmla="*/ 83 w 95"/>
                  <a:gd name="T23" fmla="*/ 16 h 47"/>
                  <a:gd name="T24" fmla="*/ 87 w 95"/>
                  <a:gd name="T25" fmla="*/ 12 h 47"/>
                  <a:gd name="T26" fmla="*/ 95 w 95"/>
                  <a:gd name="T27" fmla="*/ 9 h 47"/>
                  <a:gd name="T28" fmla="*/ 90 w 95"/>
                  <a:gd name="T29" fmla="*/ 7 h 47"/>
                  <a:gd name="T30" fmla="*/ 85 w 95"/>
                  <a:gd name="T31" fmla="*/ 5 h 47"/>
                  <a:gd name="T32" fmla="*/ 79 w 95"/>
                  <a:gd name="T33" fmla="*/ 1 h 47"/>
                  <a:gd name="T34" fmla="*/ 72 w 95"/>
                  <a:gd name="T35" fmla="*/ 1 h 47"/>
                  <a:gd name="T36" fmla="*/ 61 w 95"/>
                  <a:gd name="T37" fmla="*/ 1 h 47"/>
                  <a:gd name="T38" fmla="*/ 52 w 95"/>
                  <a:gd name="T39" fmla="*/ 6 h 47"/>
                  <a:gd name="T40" fmla="*/ 48 w 95"/>
                  <a:gd name="T41" fmla="*/ 4 h 47"/>
                  <a:gd name="T42" fmla="*/ 44 w 95"/>
                  <a:gd name="T43" fmla="*/ 1 h 47"/>
                  <a:gd name="T44" fmla="*/ 39 w 95"/>
                  <a:gd name="T45" fmla="*/ 3 h 47"/>
                  <a:gd name="T46" fmla="*/ 36 w 95"/>
                  <a:gd name="T47" fmla="*/ 7 h 47"/>
                  <a:gd name="T48" fmla="*/ 33 w 95"/>
                  <a:gd name="T49" fmla="*/ 10 h 47"/>
                  <a:gd name="T50" fmla="*/ 24 w 95"/>
                  <a:gd name="T51" fmla="*/ 5 h 47"/>
                  <a:gd name="T52" fmla="*/ 18 w 95"/>
                  <a:gd name="T53" fmla="*/ 5 h 47"/>
                  <a:gd name="T54" fmla="*/ 10 w 95"/>
                  <a:gd name="T55" fmla="*/ 11 h 47"/>
                  <a:gd name="T56" fmla="*/ 14 w 95"/>
                  <a:gd name="T57" fmla="*/ 9 h 47"/>
                  <a:gd name="T58" fmla="*/ 15 w 95"/>
                  <a:gd name="T59" fmla="*/ 13 h 47"/>
                  <a:gd name="T60" fmla="*/ 11 w 95"/>
                  <a:gd name="T61" fmla="*/ 16 h 47"/>
                  <a:gd name="T62" fmla="*/ 9 w 95"/>
                  <a:gd name="T63" fmla="*/ 18 h 47"/>
                  <a:gd name="T64" fmla="*/ 13 w 95"/>
                  <a:gd name="T65" fmla="*/ 21 h 47"/>
                  <a:gd name="T66" fmla="*/ 17 w 95"/>
                  <a:gd name="T67" fmla="*/ 21 h 47"/>
                  <a:gd name="T68" fmla="*/ 19 w 95"/>
                  <a:gd name="T69" fmla="*/ 24 h 47"/>
                  <a:gd name="T70" fmla="*/ 25 w 95"/>
                  <a:gd name="T71" fmla="*/ 26 h 47"/>
                  <a:gd name="T72" fmla="*/ 29 w 95"/>
                  <a:gd name="T73" fmla="*/ 27 h 47"/>
                  <a:gd name="T74" fmla="*/ 28 w 95"/>
                  <a:gd name="T75" fmla="*/ 28 h 47"/>
                  <a:gd name="T76" fmla="*/ 20 w 95"/>
                  <a:gd name="T77" fmla="*/ 36 h 47"/>
                  <a:gd name="T78" fmla="*/ 16 w 95"/>
                  <a:gd name="T79" fmla="*/ 36 h 47"/>
                  <a:gd name="T80" fmla="*/ 11 w 95"/>
                  <a:gd name="T81" fmla="*/ 39 h 47"/>
                  <a:gd name="T82" fmla="*/ 9 w 95"/>
                  <a:gd name="T83" fmla="*/ 38 h 47"/>
                  <a:gd name="T84" fmla="*/ 8 w 95"/>
                  <a:gd name="T85" fmla="*/ 39 h 47"/>
                  <a:gd name="T86" fmla="*/ 5 w 95"/>
                  <a:gd name="T87" fmla="*/ 38 h 47"/>
                  <a:gd name="T88" fmla="*/ 0 w 95"/>
                  <a:gd name="T89" fmla="*/ 39 h 47"/>
                  <a:gd name="T90" fmla="*/ 2 w 95"/>
                  <a:gd name="T91" fmla="*/ 43 h 47"/>
                  <a:gd name="T92" fmla="*/ 8 w 95"/>
                  <a:gd name="T93" fmla="*/ 43 h 47"/>
                  <a:gd name="T94" fmla="*/ 11 w 95"/>
                  <a:gd name="T95" fmla="*/ 45 h 47"/>
                  <a:gd name="T96" fmla="*/ 16 w 95"/>
                  <a:gd name="T97" fmla="*/ 45 h 47"/>
                  <a:gd name="T98" fmla="*/ 20 w 95"/>
                  <a:gd name="T99" fmla="*/ 46 h 47"/>
                  <a:gd name="T100" fmla="*/ 25 w 95"/>
                  <a:gd name="T101" fmla="*/ 46 h 47"/>
                  <a:gd name="T102" fmla="*/ 32 w 95"/>
                  <a:gd name="T103" fmla="*/ 45 h 47"/>
                  <a:gd name="T104" fmla="*/ 79 w 95"/>
                  <a:gd name="T105" fmla="*/ 3 h 47"/>
                  <a:gd name="T106" fmla="*/ 78 w 95"/>
                  <a:gd name="T107" fmla="*/ 5 h 47"/>
                  <a:gd name="T108" fmla="*/ 76 w 95"/>
                  <a:gd name="T109" fmla="*/ 5 h 47"/>
                  <a:gd name="T110" fmla="*/ 75 w 95"/>
                  <a:gd name="T111" fmla="*/ 7 h 47"/>
                  <a:gd name="T112" fmla="*/ 70 w 95"/>
                  <a:gd name="T113" fmla="*/ 9 h 47"/>
                  <a:gd name="T114" fmla="*/ 65 w 95"/>
                  <a:gd name="T115" fmla="*/ 4 h 47"/>
                  <a:gd name="T116" fmla="*/ 68 w 95"/>
                  <a:gd name="T117" fmla="*/ 3 h 47"/>
                  <a:gd name="T118" fmla="*/ 75 w 95"/>
                  <a:gd name="T119" fmla="*/ 2 h 47"/>
                  <a:gd name="T120" fmla="*/ 79 w 95"/>
                  <a:gd name="T121" fmla="*/ 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47">
                    <a:moveTo>
                      <a:pt x="32" y="45"/>
                    </a:moveTo>
                    <a:cubicBezTo>
                      <a:pt x="33" y="45"/>
                      <a:pt x="34" y="43"/>
                      <a:pt x="35" y="43"/>
                    </a:cubicBezTo>
                    <a:cubicBezTo>
                      <a:pt x="36" y="42"/>
                      <a:pt x="37" y="42"/>
                      <a:pt x="38" y="41"/>
                    </a:cubicBezTo>
                    <a:cubicBezTo>
                      <a:pt x="39" y="40"/>
                      <a:pt x="40" y="39"/>
                      <a:pt x="41" y="37"/>
                    </a:cubicBezTo>
                    <a:cubicBezTo>
                      <a:pt x="43" y="36"/>
                      <a:pt x="44" y="34"/>
                      <a:pt x="46" y="35"/>
                    </a:cubicBezTo>
                    <a:cubicBezTo>
                      <a:pt x="48" y="35"/>
                      <a:pt x="47" y="39"/>
                      <a:pt x="49" y="39"/>
                    </a:cubicBezTo>
                    <a:cubicBezTo>
                      <a:pt x="51" y="39"/>
                      <a:pt x="52" y="37"/>
                      <a:pt x="54" y="37"/>
                    </a:cubicBezTo>
                    <a:cubicBezTo>
                      <a:pt x="56" y="36"/>
                      <a:pt x="59" y="37"/>
                      <a:pt x="61" y="35"/>
                    </a:cubicBezTo>
                    <a:cubicBezTo>
                      <a:pt x="63" y="32"/>
                      <a:pt x="61" y="30"/>
                      <a:pt x="63" y="27"/>
                    </a:cubicBezTo>
                    <a:cubicBezTo>
                      <a:pt x="66" y="22"/>
                      <a:pt x="77" y="25"/>
                      <a:pt x="77" y="22"/>
                    </a:cubicBezTo>
                    <a:cubicBezTo>
                      <a:pt x="77" y="21"/>
                      <a:pt x="77" y="19"/>
                      <a:pt x="78" y="18"/>
                    </a:cubicBezTo>
                    <a:cubicBezTo>
                      <a:pt x="80" y="17"/>
                      <a:pt x="81" y="17"/>
                      <a:pt x="83" y="16"/>
                    </a:cubicBezTo>
                    <a:cubicBezTo>
                      <a:pt x="85" y="15"/>
                      <a:pt x="85" y="14"/>
                      <a:pt x="87" y="12"/>
                    </a:cubicBezTo>
                    <a:cubicBezTo>
                      <a:pt x="90" y="11"/>
                      <a:pt x="92" y="10"/>
                      <a:pt x="95" y="9"/>
                    </a:cubicBezTo>
                    <a:cubicBezTo>
                      <a:pt x="90" y="7"/>
                      <a:pt x="90" y="7"/>
                      <a:pt x="90" y="7"/>
                    </a:cubicBezTo>
                    <a:cubicBezTo>
                      <a:pt x="90" y="7"/>
                      <a:pt x="85" y="6"/>
                      <a:pt x="85" y="5"/>
                    </a:cubicBezTo>
                    <a:cubicBezTo>
                      <a:pt x="84" y="3"/>
                      <a:pt x="81" y="1"/>
                      <a:pt x="79" y="1"/>
                    </a:cubicBezTo>
                    <a:cubicBezTo>
                      <a:pt x="77" y="1"/>
                      <a:pt x="75" y="0"/>
                      <a:pt x="72" y="1"/>
                    </a:cubicBezTo>
                    <a:cubicBezTo>
                      <a:pt x="68" y="1"/>
                      <a:pt x="63" y="1"/>
                      <a:pt x="61" y="1"/>
                    </a:cubicBezTo>
                    <a:cubicBezTo>
                      <a:pt x="59" y="1"/>
                      <a:pt x="55" y="6"/>
                      <a:pt x="52" y="6"/>
                    </a:cubicBezTo>
                    <a:cubicBezTo>
                      <a:pt x="49" y="6"/>
                      <a:pt x="51" y="5"/>
                      <a:pt x="48" y="4"/>
                    </a:cubicBezTo>
                    <a:cubicBezTo>
                      <a:pt x="45" y="3"/>
                      <a:pt x="45" y="1"/>
                      <a:pt x="44" y="1"/>
                    </a:cubicBezTo>
                    <a:cubicBezTo>
                      <a:pt x="40" y="4"/>
                      <a:pt x="41" y="3"/>
                      <a:pt x="39" y="3"/>
                    </a:cubicBezTo>
                    <a:cubicBezTo>
                      <a:pt x="38" y="3"/>
                      <a:pt x="36" y="7"/>
                      <a:pt x="36" y="7"/>
                    </a:cubicBezTo>
                    <a:cubicBezTo>
                      <a:pt x="36" y="7"/>
                      <a:pt x="33" y="8"/>
                      <a:pt x="33" y="10"/>
                    </a:cubicBezTo>
                    <a:cubicBezTo>
                      <a:pt x="33" y="11"/>
                      <a:pt x="27" y="5"/>
                      <a:pt x="24" y="5"/>
                    </a:cubicBezTo>
                    <a:cubicBezTo>
                      <a:pt x="18" y="5"/>
                      <a:pt x="18" y="5"/>
                      <a:pt x="18" y="5"/>
                    </a:cubicBezTo>
                    <a:cubicBezTo>
                      <a:pt x="15" y="5"/>
                      <a:pt x="10" y="11"/>
                      <a:pt x="10" y="11"/>
                    </a:cubicBezTo>
                    <a:cubicBezTo>
                      <a:pt x="12" y="9"/>
                      <a:pt x="14" y="9"/>
                      <a:pt x="14" y="9"/>
                    </a:cubicBezTo>
                    <a:cubicBezTo>
                      <a:pt x="14" y="9"/>
                      <a:pt x="17" y="11"/>
                      <a:pt x="15" y="13"/>
                    </a:cubicBezTo>
                    <a:cubicBezTo>
                      <a:pt x="12" y="15"/>
                      <a:pt x="13" y="15"/>
                      <a:pt x="11" y="16"/>
                    </a:cubicBezTo>
                    <a:cubicBezTo>
                      <a:pt x="10" y="17"/>
                      <a:pt x="5" y="18"/>
                      <a:pt x="9" y="18"/>
                    </a:cubicBezTo>
                    <a:cubicBezTo>
                      <a:pt x="12" y="19"/>
                      <a:pt x="11" y="23"/>
                      <a:pt x="13" y="21"/>
                    </a:cubicBezTo>
                    <a:cubicBezTo>
                      <a:pt x="16" y="20"/>
                      <a:pt x="17" y="19"/>
                      <a:pt x="17" y="21"/>
                    </a:cubicBezTo>
                    <a:cubicBezTo>
                      <a:pt x="17" y="24"/>
                      <a:pt x="16" y="24"/>
                      <a:pt x="19" y="24"/>
                    </a:cubicBezTo>
                    <a:cubicBezTo>
                      <a:pt x="22" y="24"/>
                      <a:pt x="21" y="24"/>
                      <a:pt x="25" y="26"/>
                    </a:cubicBezTo>
                    <a:cubicBezTo>
                      <a:pt x="27" y="27"/>
                      <a:pt x="28" y="27"/>
                      <a:pt x="29" y="27"/>
                    </a:cubicBezTo>
                    <a:cubicBezTo>
                      <a:pt x="29" y="27"/>
                      <a:pt x="28" y="27"/>
                      <a:pt x="28" y="28"/>
                    </a:cubicBezTo>
                    <a:cubicBezTo>
                      <a:pt x="26" y="30"/>
                      <a:pt x="23" y="36"/>
                      <a:pt x="20" y="36"/>
                    </a:cubicBezTo>
                    <a:cubicBezTo>
                      <a:pt x="17" y="36"/>
                      <a:pt x="16" y="36"/>
                      <a:pt x="16" y="36"/>
                    </a:cubicBezTo>
                    <a:cubicBezTo>
                      <a:pt x="16" y="36"/>
                      <a:pt x="12" y="41"/>
                      <a:pt x="11" y="39"/>
                    </a:cubicBezTo>
                    <a:cubicBezTo>
                      <a:pt x="11" y="37"/>
                      <a:pt x="9" y="38"/>
                      <a:pt x="9" y="38"/>
                    </a:cubicBezTo>
                    <a:cubicBezTo>
                      <a:pt x="8" y="39"/>
                      <a:pt x="8" y="39"/>
                      <a:pt x="8" y="39"/>
                    </a:cubicBezTo>
                    <a:cubicBezTo>
                      <a:pt x="5" y="38"/>
                      <a:pt x="5" y="38"/>
                      <a:pt x="5" y="38"/>
                    </a:cubicBezTo>
                    <a:cubicBezTo>
                      <a:pt x="0" y="39"/>
                      <a:pt x="0" y="39"/>
                      <a:pt x="0" y="39"/>
                    </a:cubicBezTo>
                    <a:cubicBezTo>
                      <a:pt x="2" y="43"/>
                      <a:pt x="2" y="43"/>
                      <a:pt x="2" y="43"/>
                    </a:cubicBezTo>
                    <a:cubicBezTo>
                      <a:pt x="8" y="43"/>
                      <a:pt x="8" y="43"/>
                      <a:pt x="8" y="43"/>
                    </a:cubicBezTo>
                    <a:cubicBezTo>
                      <a:pt x="8" y="43"/>
                      <a:pt x="9" y="46"/>
                      <a:pt x="11" y="45"/>
                    </a:cubicBezTo>
                    <a:cubicBezTo>
                      <a:pt x="13" y="45"/>
                      <a:pt x="15" y="43"/>
                      <a:pt x="16" y="45"/>
                    </a:cubicBezTo>
                    <a:cubicBezTo>
                      <a:pt x="18" y="47"/>
                      <a:pt x="20" y="46"/>
                      <a:pt x="20" y="46"/>
                    </a:cubicBezTo>
                    <a:cubicBezTo>
                      <a:pt x="20" y="46"/>
                      <a:pt x="23" y="47"/>
                      <a:pt x="25" y="46"/>
                    </a:cubicBezTo>
                    <a:cubicBezTo>
                      <a:pt x="27" y="45"/>
                      <a:pt x="30" y="45"/>
                      <a:pt x="32" y="45"/>
                    </a:cubicBezTo>
                    <a:close/>
                    <a:moveTo>
                      <a:pt x="79" y="3"/>
                    </a:moveTo>
                    <a:cubicBezTo>
                      <a:pt x="79" y="4"/>
                      <a:pt x="78" y="5"/>
                      <a:pt x="78" y="5"/>
                    </a:cubicBezTo>
                    <a:cubicBezTo>
                      <a:pt x="78" y="6"/>
                      <a:pt x="76" y="5"/>
                      <a:pt x="76" y="5"/>
                    </a:cubicBezTo>
                    <a:cubicBezTo>
                      <a:pt x="75" y="6"/>
                      <a:pt x="75" y="7"/>
                      <a:pt x="75" y="7"/>
                    </a:cubicBezTo>
                    <a:cubicBezTo>
                      <a:pt x="74" y="8"/>
                      <a:pt x="71" y="9"/>
                      <a:pt x="70" y="9"/>
                    </a:cubicBezTo>
                    <a:cubicBezTo>
                      <a:pt x="65" y="9"/>
                      <a:pt x="61" y="6"/>
                      <a:pt x="65" y="4"/>
                    </a:cubicBezTo>
                    <a:cubicBezTo>
                      <a:pt x="66" y="4"/>
                      <a:pt x="67" y="4"/>
                      <a:pt x="68" y="3"/>
                    </a:cubicBezTo>
                    <a:cubicBezTo>
                      <a:pt x="70" y="3"/>
                      <a:pt x="74" y="2"/>
                      <a:pt x="75" y="2"/>
                    </a:cubicBezTo>
                    <a:cubicBezTo>
                      <a:pt x="78" y="2"/>
                      <a:pt x="79" y="2"/>
                      <a:pt x="79" y="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00" name="Freeform 179">
                <a:extLst>
                  <a:ext uri="{FF2B5EF4-FFF2-40B4-BE49-F238E27FC236}">
                    <a16:creationId xmlns:a16="http://schemas.microsoft.com/office/drawing/2014/main" id="{F42AFDCD-BC52-6227-1E94-4892FD4C643D}"/>
                  </a:ext>
                </a:extLst>
              </p:cNvPr>
              <p:cNvSpPr>
                <a:spLocks noEditPoints="1"/>
              </p:cNvSpPr>
              <p:nvPr/>
            </p:nvSpPr>
            <p:spPr bwMode="auto">
              <a:xfrm>
                <a:off x="4288" y="1305"/>
                <a:ext cx="186" cy="92"/>
              </a:xfrm>
              <a:custGeom>
                <a:avLst/>
                <a:gdLst>
                  <a:gd name="T0" fmla="*/ 32 w 95"/>
                  <a:gd name="T1" fmla="*/ 45 h 47"/>
                  <a:gd name="T2" fmla="*/ 35 w 95"/>
                  <a:gd name="T3" fmla="*/ 43 h 47"/>
                  <a:gd name="T4" fmla="*/ 38 w 95"/>
                  <a:gd name="T5" fmla="*/ 41 h 47"/>
                  <a:gd name="T6" fmla="*/ 41 w 95"/>
                  <a:gd name="T7" fmla="*/ 37 h 47"/>
                  <a:gd name="T8" fmla="*/ 46 w 95"/>
                  <a:gd name="T9" fmla="*/ 35 h 47"/>
                  <a:gd name="T10" fmla="*/ 49 w 95"/>
                  <a:gd name="T11" fmla="*/ 39 h 47"/>
                  <a:gd name="T12" fmla="*/ 54 w 95"/>
                  <a:gd name="T13" fmla="*/ 37 h 47"/>
                  <a:gd name="T14" fmla="*/ 61 w 95"/>
                  <a:gd name="T15" fmla="*/ 35 h 47"/>
                  <a:gd name="T16" fmla="*/ 63 w 95"/>
                  <a:gd name="T17" fmla="*/ 27 h 47"/>
                  <a:gd name="T18" fmla="*/ 77 w 95"/>
                  <a:gd name="T19" fmla="*/ 22 h 47"/>
                  <a:gd name="T20" fmla="*/ 78 w 95"/>
                  <a:gd name="T21" fmla="*/ 18 h 47"/>
                  <a:gd name="T22" fmla="*/ 83 w 95"/>
                  <a:gd name="T23" fmla="*/ 16 h 47"/>
                  <a:gd name="T24" fmla="*/ 87 w 95"/>
                  <a:gd name="T25" fmla="*/ 12 h 47"/>
                  <a:gd name="T26" fmla="*/ 95 w 95"/>
                  <a:gd name="T27" fmla="*/ 9 h 47"/>
                  <a:gd name="T28" fmla="*/ 90 w 95"/>
                  <a:gd name="T29" fmla="*/ 7 h 47"/>
                  <a:gd name="T30" fmla="*/ 85 w 95"/>
                  <a:gd name="T31" fmla="*/ 5 h 47"/>
                  <a:gd name="T32" fmla="*/ 79 w 95"/>
                  <a:gd name="T33" fmla="*/ 1 h 47"/>
                  <a:gd name="T34" fmla="*/ 72 w 95"/>
                  <a:gd name="T35" fmla="*/ 1 h 47"/>
                  <a:gd name="T36" fmla="*/ 61 w 95"/>
                  <a:gd name="T37" fmla="*/ 1 h 47"/>
                  <a:gd name="T38" fmla="*/ 52 w 95"/>
                  <a:gd name="T39" fmla="*/ 6 h 47"/>
                  <a:gd name="T40" fmla="*/ 48 w 95"/>
                  <a:gd name="T41" fmla="*/ 4 h 47"/>
                  <a:gd name="T42" fmla="*/ 44 w 95"/>
                  <a:gd name="T43" fmla="*/ 1 h 47"/>
                  <a:gd name="T44" fmla="*/ 39 w 95"/>
                  <a:gd name="T45" fmla="*/ 3 h 47"/>
                  <a:gd name="T46" fmla="*/ 36 w 95"/>
                  <a:gd name="T47" fmla="*/ 7 h 47"/>
                  <a:gd name="T48" fmla="*/ 33 w 95"/>
                  <a:gd name="T49" fmla="*/ 10 h 47"/>
                  <a:gd name="T50" fmla="*/ 24 w 95"/>
                  <a:gd name="T51" fmla="*/ 5 h 47"/>
                  <a:gd name="T52" fmla="*/ 18 w 95"/>
                  <a:gd name="T53" fmla="*/ 5 h 47"/>
                  <a:gd name="T54" fmla="*/ 10 w 95"/>
                  <a:gd name="T55" fmla="*/ 11 h 47"/>
                  <a:gd name="T56" fmla="*/ 14 w 95"/>
                  <a:gd name="T57" fmla="*/ 9 h 47"/>
                  <a:gd name="T58" fmla="*/ 15 w 95"/>
                  <a:gd name="T59" fmla="*/ 13 h 47"/>
                  <a:gd name="T60" fmla="*/ 11 w 95"/>
                  <a:gd name="T61" fmla="*/ 16 h 47"/>
                  <a:gd name="T62" fmla="*/ 9 w 95"/>
                  <a:gd name="T63" fmla="*/ 18 h 47"/>
                  <a:gd name="T64" fmla="*/ 13 w 95"/>
                  <a:gd name="T65" fmla="*/ 21 h 47"/>
                  <a:gd name="T66" fmla="*/ 17 w 95"/>
                  <a:gd name="T67" fmla="*/ 21 h 47"/>
                  <a:gd name="T68" fmla="*/ 19 w 95"/>
                  <a:gd name="T69" fmla="*/ 24 h 47"/>
                  <a:gd name="T70" fmla="*/ 25 w 95"/>
                  <a:gd name="T71" fmla="*/ 26 h 47"/>
                  <a:gd name="T72" fmla="*/ 29 w 95"/>
                  <a:gd name="T73" fmla="*/ 27 h 47"/>
                  <a:gd name="T74" fmla="*/ 28 w 95"/>
                  <a:gd name="T75" fmla="*/ 28 h 47"/>
                  <a:gd name="T76" fmla="*/ 20 w 95"/>
                  <a:gd name="T77" fmla="*/ 36 h 47"/>
                  <a:gd name="T78" fmla="*/ 16 w 95"/>
                  <a:gd name="T79" fmla="*/ 36 h 47"/>
                  <a:gd name="T80" fmla="*/ 11 w 95"/>
                  <a:gd name="T81" fmla="*/ 39 h 47"/>
                  <a:gd name="T82" fmla="*/ 9 w 95"/>
                  <a:gd name="T83" fmla="*/ 38 h 47"/>
                  <a:gd name="T84" fmla="*/ 8 w 95"/>
                  <a:gd name="T85" fmla="*/ 39 h 47"/>
                  <a:gd name="T86" fmla="*/ 5 w 95"/>
                  <a:gd name="T87" fmla="*/ 38 h 47"/>
                  <a:gd name="T88" fmla="*/ 0 w 95"/>
                  <a:gd name="T89" fmla="*/ 39 h 47"/>
                  <a:gd name="T90" fmla="*/ 2 w 95"/>
                  <a:gd name="T91" fmla="*/ 43 h 47"/>
                  <a:gd name="T92" fmla="*/ 8 w 95"/>
                  <a:gd name="T93" fmla="*/ 43 h 47"/>
                  <a:gd name="T94" fmla="*/ 11 w 95"/>
                  <a:gd name="T95" fmla="*/ 45 h 47"/>
                  <a:gd name="T96" fmla="*/ 16 w 95"/>
                  <a:gd name="T97" fmla="*/ 45 h 47"/>
                  <a:gd name="T98" fmla="*/ 20 w 95"/>
                  <a:gd name="T99" fmla="*/ 46 h 47"/>
                  <a:gd name="T100" fmla="*/ 25 w 95"/>
                  <a:gd name="T101" fmla="*/ 46 h 47"/>
                  <a:gd name="T102" fmla="*/ 32 w 95"/>
                  <a:gd name="T103" fmla="*/ 45 h 47"/>
                  <a:gd name="T104" fmla="*/ 79 w 95"/>
                  <a:gd name="T105" fmla="*/ 3 h 47"/>
                  <a:gd name="T106" fmla="*/ 78 w 95"/>
                  <a:gd name="T107" fmla="*/ 5 h 47"/>
                  <a:gd name="T108" fmla="*/ 76 w 95"/>
                  <a:gd name="T109" fmla="*/ 5 h 47"/>
                  <a:gd name="T110" fmla="*/ 75 w 95"/>
                  <a:gd name="T111" fmla="*/ 7 h 47"/>
                  <a:gd name="T112" fmla="*/ 70 w 95"/>
                  <a:gd name="T113" fmla="*/ 9 h 47"/>
                  <a:gd name="T114" fmla="*/ 65 w 95"/>
                  <a:gd name="T115" fmla="*/ 4 h 47"/>
                  <a:gd name="T116" fmla="*/ 68 w 95"/>
                  <a:gd name="T117" fmla="*/ 3 h 47"/>
                  <a:gd name="T118" fmla="*/ 75 w 95"/>
                  <a:gd name="T119" fmla="*/ 2 h 47"/>
                  <a:gd name="T120" fmla="*/ 79 w 95"/>
                  <a:gd name="T121" fmla="*/ 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 h="47">
                    <a:moveTo>
                      <a:pt x="32" y="45"/>
                    </a:moveTo>
                    <a:cubicBezTo>
                      <a:pt x="33" y="45"/>
                      <a:pt x="34" y="43"/>
                      <a:pt x="35" y="43"/>
                    </a:cubicBezTo>
                    <a:cubicBezTo>
                      <a:pt x="36" y="42"/>
                      <a:pt x="37" y="42"/>
                      <a:pt x="38" y="41"/>
                    </a:cubicBezTo>
                    <a:cubicBezTo>
                      <a:pt x="39" y="40"/>
                      <a:pt x="40" y="39"/>
                      <a:pt x="41" y="37"/>
                    </a:cubicBezTo>
                    <a:cubicBezTo>
                      <a:pt x="43" y="36"/>
                      <a:pt x="44" y="34"/>
                      <a:pt x="46" y="35"/>
                    </a:cubicBezTo>
                    <a:cubicBezTo>
                      <a:pt x="48" y="35"/>
                      <a:pt x="47" y="39"/>
                      <a:pt x="49" y="39"/>
                    </a:cubicBezTo>
                    <a:cubicBezTo>
                      <a:pt x="51" y="39"/>
                      <a:pt x="52" y="37"/>
                      <a:pt x="54" y="37"/>
                    </a:cubicBezTo>
                    <a:cubicBezTo>
                      <a:pt x="56" y="36"/>
                      <a:pt x="59" y="37"/>
                      <a:pt x="61" y="35"/>
                    </a:cubicBezTo>
                    <a:cubicBezTo>
                      <a:pt x="63" y="32"/>
                      <a:pt x="61" y="30"/>
                      <a:pt x="63" y="27"/>
                    </a:cubicBezTo>
                    <a:cubicBezTo>
                      <a:pt x="66" y="22"/>
                      <a:pt x="77" y="25"/>
                      <a:pt x="77" y="22"/>
                    </a:cubicBezTo>
                    <a:cubicBezTo>
                      <a:pt x="77" y="21"/>
                      <a:pt x="77" y="19"/>
                      <a:pt x="78" y="18"/>
                    </a:cubicBezTo>
                    <a:cubicBezTo>
                      <a:pt x="80" y="17"/>
                      <a:pt x="81" y="17"/>
                      <a:pt x="83" y="16"/>
                    </a:cubicBezTo>
                    <a:cubicBezTo>
                      <a:pt x="85" y="15"/>
                      <a:pt x="85" y="14"/>
                      <a:pt x="87" y="12"/>
                    </a:cubicBezTo>
                    <a:cubicBezTo>
                      <a:pt x="90" y="11"/>
                      <a:pt x="92" y="10"/>
                      <a:pt x="95" y="9"/>
                    </a:cubicBezTo>
                    <a:cubicBezTo>
                      <a:pt x="90" y="7"/>
                      <a:pt x="90" y="7"/>
                      <a:pt x="90" y="7"/>
                    </a:cubicBezTo>
                    <a:cubicBezTo>
                      <a:pt x="90" y="7"/>
                      <a:pt x="85" y="6"/>
                      <a:pt x="85" y="5"/>
                    </a:cubicBezTo>
                    <a:cubicBezTo>
                      <a:pt x="84" y="3"/>
                      <a:pt x="81" y="1"/>
                      <a:pt x="79" y="1"/>
                    </a:cubicBezTo>
                    <a:cubicBezTo>
                      <a:pt x="77" y="1"/>
                      <a:pt x="75" y="0"/>
                      <a:pt x="72" y="1"/>
                    </a:cubicBezTo>
                    <a:cubicBezTo>
                      <a:pt x="68" y="1"/>
                      <a:pt x="63" y="1"/>
                      <a:pt x="61" y="1"/>
                    </a:cubicBezTo>
                    <a:cubicBezTo>
                      <a:pt x="59" y="1"/>
                      <a:pt x="55" y="6"/>
                      <a:pt x="52" y="6"/>
                    </a:cubicBezTo>
                    <a:cubicBezTo>
                      <a:pt x="49" y="6"/>
                      <a:pt x="51" y="5"/>
                      <a:pt x="48" y="4"/>
                    </a:cubicBezTo>
                    <a:cubicBezTo>
                      <a:pt x="45" y="3"/>
                      <a:pt x="45" y="1"/>
                      <a:pt x="44" y="1"/>
                    </a:cubicBezTo>
                    <a:cubicBezTo>
                      <a:pt x="40" y="4"/>
                      <a:pt x="41" y="3"/>
                      <a:pt x="39" y="3"/>
                    </a:cubicBezTo>
                    <a:cubicBezTo>
                      <a:pt x="38" y="3"/>
                      <a:pt x="36" y="7"/>
                      <a:pt x="36" y="7"/>
                    </a:cubicBezTo>
                    <a:cubicBezTo>
                      <a:pt x="36" y="7"/>
                      <a:pt x="33" y="8"/>
                      <a:pt x="33" y="10"/>
                    </a:cubicBezTo>
                    <a:cubicBezTo>
                      <a:pt x="33" y="11"/>
                      <a:pt x="27" y="5"/>
                      <a:pt x="24" y="5"/>
                    </a:cubicBezTo>
                    <a:cubicBezTo>
                      <a:pt x="18" y="5"/>
                      <a:pt x="18" y="5"/>
                      <a:pt x="18" y="5"/>
                    </a:cubicBezTo>
                    <a:cubicBezTo>
                      <a:pt x="15" y="5"/>
                      <a:pt x="10" y="11"/>
                      <a:pt x="10" y="11"/>
                    </a:cubicBezTo>
                    <a:cubicBezTo>
                      <a:pt x="12" y="9"/>
                      <a:pt x="14" y="9"/>
                      <a:pt x="14" y="9"/>
                    </a:cubicBezTo>
                    <a:cubicBezTo>
                      <a:pt x="14" y="9"/>
                      <a:pt x="17" y="11"/>
                      <a:pt x="15" y="13"/>
                    </a:cubicBezTo>
                    <a:cubicBezTo>
                      <a:pt x="12" y="15"/>
                      <a:pt x="13" y="15"/>
                      <a:pt x="11" y="16"/>
                    </a:cubicBezTo>
                    <a:cubicBezTo>
                      <a:pt x="10" y="17"/>
                      <a:pt x="5" y="18"/>
                      <a:pt x="9" y="18"/>
                    </a:cubicBezTo>
                    <a:cubicBezTo>
                      <a:pt x="12" y="19"/>
                      <a:pt x="11" y="23"/>
                      <a:pt x="13" y="21"/>
                    </a:cubicBezTo>
                    <a:cubicBezTo>
                      <a:pt x="16" y="20"/>
                      <a:pt x="17" y="19"/>
                      <a:pt x="17" y="21"/>
                    </a:cubicBezTo>
                    <a:cubicBezTo>
                      <a:pt x="17" y="24"/>
                      <a:pt x="16" y="24"/>
                      <a:pt x="19" y="24"/>
                    </a:cubicBezTo>
                    <a:cubicBezTo>
                      <a:pt x="22" y="24"/>
                      <a:pt x="21" y="24"/>
                      <a:pt x="25" y="26"/>
                    </a:cubicBezTo>
                    <a:cubicBezTo>
                      <a:pt x="27" y="27"/>
                      <a:pt x="28" y="27"/>
                      <a:pt x="29" y="27"/>
                    </a:cubicBezTo>
                    <a:cubicBezTo>
                      <a:pt x="29" y="27"/>
                      <a:pt x="28" y="27"/>
                      <a:pt x="28" y="28"/>
                    </a:cubicBezTo>
                    <a:cubicBezTo>
                      <a:pt x="26" y="30"/>
                      <a:pt x="23" y="36"/>
                      <a:pt x="20" y="36"/>
                    </a:cubicBezTo>
                    <a:cubicBezTo>
                      <a:pt x="17" y="36"/>
                      <a:pt x="16" y="36"/>
                      <a:pt x="16" y="36"/>
                    </a:cubicBezTo>
                    <a:cubicBezTo>
                      <a:pt x="16" y="36"/>
                      <a:pt x="12" y="41"/>
                      <a:pt x="11" y="39"/>
                    </a:cubicBezTo>
                    <a:cubicBezTo>
                      <a:pt x="11" y="37"/>
                      <a:pt x="9" y="38"/>
                      <a:pt x="9" y="38"/>
                    </a:cubicBezTo>
                    <a:cubicBezTo>
                      <a:pt x="8" y="39"/>
                      <a:pt x="8" y="39"/>
                      <a:pt x="8" y="39"/>
                    </a:cubicBezTo>
                    <a:cubicBezTo>
                      <a:pt x="5" y="38"/>
                      <a:pt x="5" y="38"/>
                      <a:pt x="5" y="38"/>
                    </a:cubicBezTo>
                    <a:cubicBezTo>
                      <a:pt x="0" y="39"/>
                      <a:pt x="0" y="39"/>
                      <a:pt x="0" y="39"/>
                    </a:cubicBezTo>
                    <a:cubicBezTo>
                      <a:pt x="2" y="43"/>
                      <a:pt x="2" y="43"/>
                      <a:pt x="2" y="43"/>
                    </a:cubicBezTo>
                    <a:cubicBezTo>
                      <a:pt x="8" y="43"/>
                      <a:pt x="8" y="43"/>
                      <a:pt x="8" y="43"/>
                    </a:cubicBezTo>
                    <a:cubicBezTo>
                      <a:pt x="8" y="43"/>
                      <a:pt x="9" y="46"/>
                      <a:pt x="11" y="45"/>
                    </a:cubicBezTo>
                    <a:cubicBezTo>
                      <a:pt x="13" y="45"/>
                      <a:pt x="15" y="43"/>
                      <a:pt x="16" y="45"/>
                    </a:cubicBezTo>
                    <a:cubicBezTo>
                      <a:pt x="18" y="47"/>
                      <a:pt x="20" y="46"/>
                      <a:pt x="20" y="46"/>
                    </a:cubicBezTo>
                    <a:cubicBezTo>
                      <a:pt x="20" y="46"/>
                      <a:pt x="23" y="47"/>
                      <a:pt x="25" y="46"/>
                    </a:cubicBezTo>
                    <a:cubicBezTo>
                      <a:pt x="27" y="45"/>
                      <a:pt x="30" y="45"/>
                      <a:pt x="32" y="45"/>
                    </a:cubicBezTo>
                    <a:close/>
                    <a:moveTo>
                      <a:pt x="79" y="3"/>
                    </a:moveTo>
                    <a:cubicBezTo>
                      <a:pt x="79" y="4"/>
                      <a:pt x="78" y="5"/>
                      <a:pt x="78" y="5"/>
                    </a:cubicBezTo>
                    <a:cubicBezTo>
                      <a:pt x="78" y="6"/>
                      <a:pt x="76" y="5"/>
                      <a:pt x="76" y="5"/>
                    </a:cubicBezTo>
                    <a:cubicBezTo>
                      <a:pt x="75" y="6"/>
                      <a:pt x="75" y="7"/>
                      <a:pt x="75" y="7"/>
                    </a:cubicBezTo>
                    <a:cubicBezTo>
                      <a:pt x="74" y="8"/>
                      <a:pt x="71" y="9"/>
                      <a:pt x="70" y="9"/>
                    </a:cubicBezTo>
                    <a:cubicBezTo>
                      <a:pt x="65" y="9"/>
                      <a:pt x="61" y="6"/>
                      <a:pt x="65" y="4"/>
                    </a:cubicBezTo>
                    <a:cubicBezTo>
                      <a:pt x="66" y="4"/>
                      <a:pt x="67" y="4"/>
                      <a:pt x="68" y="3"/>
                    </a:cubicBezTo>
                    <a:cubicBezTo>
                      <a:pt x="70" y="3"/>
                      <a:pt x="74" y="2"/>
                      <a:pt x="75" y="2"/>
                    </a:cubicBezTo>
                    <a:cubicBezTo>
                      <a:pt x="78" y="2"/>
                      <a:pt x="79" y="2"/>
                      <a:pt x="79" y="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01" name="Freeform 180">
                <a:extLst>
                  <a:ext uri="{FF2B5EF4-FFF2-40B4-BE49-F238E27FC236}">
                    <a16:creationId xmlns:a16="http://schemas.microsoft.com/office/drawing/2014/main" id="{E586239D-AF15-96CC-D0B7-32AC21DC89C1}"/>
                  </a:ext>
                </a:extLst>
              </p:cNvPr>
              <p:cNvSpPr>
                <a:spLocks/>
              </p:cNvSpPr>
              <p:nvPr/>
            </p:nvSpPr>
            <p:spPr bwMode="auto">
              <a:xfrm>
                <a:off x="3892" y="1597"/>
                <a:ext cx="45" cy="39"/>
              </a:xfrm>
              <a:custGeom>
                <a:avLst/>
                <a:gdLst>
                  <a:gd name="T0" fmla="*/ 19 w 23"/>
                  <a:gd name="T1" fmla="*/ 2 h 20"/>
                  <a:gd name="T2" fmla="*/ 14 w 23"/>
                  <a:gd name="T3" fmla="*/ 1 h 20"/>
                  <a:gd name="T4" fmla="*/ 8 w 23"/>
                  <a:gd name="T5" fmla="*/ 8 h 20"/>
                  <a:gd name="T6" fmla="*/ 0 w 23"/>
                  <a:gd name="T7" fmla="*/ 14 h 20"/>
                  <a:gd name="T8" fmla="*/ 12 w 23"/>
                  <a:gd name="T9" fmla="*/ 16 h 20"/>
                  <a:gd name="T10" fmla="*/ 13 w 23"/>
                  <a:gd name="T11" fmla="*/ 20 h 20"/>
                  <a:gd name="T12" fmla="*/ 20 w 23"/>
                  <a:gd name="T13" fmla="*/ 20 h 20"/>
                  <a:gd name="T14" fmla="*/ 18 w 23"/>
                  <a:gd name="T15" fmla="*/ 14 h 20"/>
                  <a:gd name="T16" fmla="*/ 17 w 23"/>
                  <a:gd name="T17" fmla="*/ 14 h 20"/>
                  <a:gd name="T18" fmla="*/ 18 w 23"/>
                  <a:gd name="T19" fmla="*/ 6 h 20"/>
                  <a:gd name="T20" fmla="*/ 22 w 23"/>
                  <a:gd name="T21" fmla="*/ 8 h 20"/>
                  <a:gd name="T22" fmla="*/ 22 w 23"/>
                  <a:gd name="T23" fmla="*/ 8 h 20"/>
                  <a:gd name="T24" fmla="*/ 23 w 23"/>
                  <a:gd name="T25" fmla="*/ 7 h 20"/>
                  <a:gd name="T26" fmla="*/ 21 w 23"/>
                  <a:gd name="T27" fmla="*/ 6 h 20"/>
                  <a:gd name="T28" fmla="*/ 19 w 23"/>
                  <a:gd name="T2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0">
                    <a:moveTo>
                      <a:pt x="19" y="2"/>
                    </a:moveTo>
                    <a:cubicBezTo>
                      <a:pt x="19" y="2"/>
                      <a:pt x="17" y="2"/>
                      <a:pt x="14" y="1"/>
                    </a:cubicBezTo>
                    <a:cubicBezTo>
                      <a:pt x="12" y="0"/>
                      <a:pt x="10" y="5"/>
                      <a:pt x="8" y="8"/>
                    </a:cubicBezTo>
                    <a:cubicBezTo>
                      <a:pt x="6" y="10"/>
                      <a:pt x="0" y="14"/>
                      <a:pt x="0" y="14"/>
                    </a:cubicBezTo>
                    <a:cubicBezTo>
                      <a:pt x="12" y="16"/>
                      <a:pt x="12" y="16"/>
                      <a:pt x="12" y="16"/>
                    </a:cubicBezTo>
                    <a:cubicBezTo>
                      <a:pt x="13" y="20"/>
                      <a:pt x="13" y="20"/>
                      <a:pt x="13" y="20"/>
                    </a:cubicBezTo>
                    <a:cubicBezTo>
                      <a:pt x="20" y="20"/>
                      <a:pt x="20" y="20"/>
                      <a:pt x="20" y="20"/>
                    </a:cubicBezTo>
                    <a:cubicBezTo>
                      <a:pt x="19" y="18"/>
                      <a:pt x="19" y="16"/>
                      <a:pt x="18" y="14"/>
                    </a:cubicBezTo>
                    <a:cubicBezTo>
                      <a:pt x="17" y="14"/>
                      <a:pt x="17" y="14"/>
                      <a:pt x="17" y="14"/>
                    </a:cubicBezTo>
                    <a:cubicBezTo>
                      <a:pt x="16" y="12"/>
                      <a:pt x="18" y="8"/>
                      <a:pt x="18" y="6"/>
                    </a:cubicBezTo>
                    <a:cubicBezTo>
                      <a:pt x="19" y="7"/>
                      <a:pt x="21" y="8"/>
                      <a:pt x="22" y="8"/>
                    </a:cubicBezTo>
                    <a:cubicBezTo>
                      <a:pt x="22" y="8"/>
                      <a:pt x="21" y="8"/>
                      <a:pt x="22" y="8"/>
                    </a:cubicBezTo>
                    <a:cubicBezTo>
                      <a:pt x="23" y="9"/>
                      <a:pt x="23" y="7"/>
                      <a:pt x="23" y="7"/>
                    </a:cubicBezTo>
                    <a:cubicBezTo>
                      <a:pt x="23" y="7"/>
                      <a:pt x="21" y="7"/>
                      <a:pt x="21" y="6"/>
                    </a:cubicBezTo>
                    <a:cubicBezTo>
                      <a:pt x="20" y="6"/>
                      <a:pt x="19" y="3"/>
                      <a:pt x="19" y="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02" name="Freeform 181">
                <a:extLst>
                  <a:ext uri="{FF2B5EF4-FFF2-40B4-BE49-F238E27FC236}">
                    <a16:creationId xmlns:a16="http://schemas.microsoft.com/office/drawing/2014/main" id="{2283542E-55F4-275B-B048-D57FFEA8B706}"/>
                  </a:ext>
                </a:extLst>
              </p:cNvPr>
              <p:cNvSpPr>
                <a:spLocks/>
              </p:cNvSpPr>
              <p:nvPr/>
            </p:nvSpPr>
            <p:spPr bwMode="auto">
              <a:xfrm>
                <a:off x="3892" y="1597"/>
                <a:ext cx="45" cy="39"/>
              </a:xfrm>
              <a:custGeom>
                <a:avLst/>
                <a:gdLst>
                  <a:gd name="T0" fmla="*/ 19 w 23"/>
                  <a:gd name="T1" fmla="*/ 2 h 20"/>
                  <a:gd name="T2" fmla="*/ 14 w 23"/>
                  <a:gd name="T3" fmla="*/ 1 h 20"/>
                  <a:gd name="T4" fmla="*/ 8 w 23"/>
                  <a:gd name="T5" fmla="*/ 8 h 20"/>
                  <a:gd name="T6" fmla="*/ 0 w 23"/>
                  <a:gd name="T7" fmla="*/ 14 h 20"/>
                  <a:gd name="T8" fmla="*/ 12 w 23"/>
                  <a:gd name="T9" fmla="*/ 16 h 20"/>
                  <a:gd name="T10" fmla="*/ 13 w 23"/>
                  <a:gd name="T11" fmla="*/ 20 h 20"/>
                  <a:gd name="T12" fmla="*/ 20 w 23"/>
                  <a:gd name="T13" fmla="*/ 20 h 20"/>
                  <a:gd name="T14" fmla="*/ 18 w 23"/>
                  <a:gd name="T15" fmla="*/ 14 h 20"/>
                  <a:gd name="T16" fmla="*/ 17 w 23"/>
                  <a:gd name="T17" fmla="*/ 14 h 20"/>
                  <a:gd name="T18" fmla="*/ 18 w 23"/>
                  <a:gd name="T19" fmla="*/ 6 h 20"/>
                  <a:gd name="T20" fmla="*/ 22 w 23"/>
                  <a:gd name="T21" fmla="*/ 8 h 20"/>
                  <a:gd name="T22" fmla="*/ 22 w 23"/>
                  <a:gd name="T23" fmla="*/ 8 h 20"/>
                  <a:gd name="T24" fmla="*/ 23 w 23"/>
                  <a:gd name="T25" fmla="*/ 7 h 20"/>
                  <a:gd name="T26" fmla="*/ 21 w 23"/>
                  <a:gd name="T27" fmla="*/ 6 h 20"/>
                  <a:gd name="T28" fmla="*/ 19 w 23"/>
                  <a:gd name="T29"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20">
                    <a:moveTo>
                      <a:pt x="19" y="2"/>
                    </a:moveTo>
                    <a:cubicBezTo>
                      <a:pt x="19" y="2"/>
                      <a:pt x="17" y="2"/>
                      <a:pt x="14" y="1"/>
                    </a:cubicBezTo>
                    <a:cubicBezTo>
                      <a:pt x="12" y="0"/>
                      <a:pt x="10" y="5"/>
                      <a:pt x="8" y="8"/>
                    </a:cubicBezTo>
                    <a:cubicBezTo>
                      <a:pt x="6" y="10"/>
                      <a:pt x="0" y="14"/>
                      <a:pt x="0" y="14"/>
                    </a:cubicBezTo>
                    <a:cubicBezTo>
                      <a:pt x="12" y="16"/>
                      <a:pt x="12" y="16"/>
                      <a:pt x="12" y="16"/>
                    </a:cubicBezTo>
                    <a:cubicBezTo>
                      <a:pt x="13" y="20"/>
                      <a:pt x="13" y="20"/>
                      <a:pt x="13" y="20"/>
                    </a:cubicBezTo>
                    <a:cubicBezTo>
                      <a:pt x="20" y="20"/>
                      <a:pt x="20" y="20"/>
                      <a:pt x="20" y="20"/>
                    </a:cubicBezTo>
                    <a:cubicBezTo>
                      <a:pt x="19" y="18"/>
                      <a:pt x="19" y="16"/>
                      <a:pt x="18" y="14"/>
                    </a:cubicBezTo>
                    <a:cubicBezTo>
                      <a:pt x="17" y="14"/>
                      <a:pt x="17" y="14"/>
                      <a:pt x="17" y="14"/>
                    </a:cubicBezTo>
                    <a:cubicBezTo>
                      <a:pt x="16" y="12"/>
                      <a:pt x="18" y="8"/>
                      <a:pt x="18" y="6"/>
                    </a:cubicBezTo>
                    <a:cubicBezTo>
                      <a:pt x="19" y="7"/>
                      <a:pt x="21" y="8"/>
                      <a:pt x="22" y="8"/>
                    </a:cubicBezTo>
                    <a:cubicBezTo>
                      <a:pt x="22" y="8"/>
                      <a:pt x="21" y="8"/>
                      <a:pt x="22" y="8"/>
                    </a:cubicBezTo>
                    <a:cubicBezTo>
                      <a:pt x="23" y="9"/>
                      <a:pt x="23" y="7"/>
                      <a:pt x="23" y="7"/>
                    </a:cubicBezTo>
                    <a:cubicBezTo>
                      <a:pt x="23" y="7"/>
                      <a:pt x="21" y="7"/>
                      <a:pt x="21" y="6"/>
                    </a:cubicBezTo>
                    <a:cubicBezTo>
                      <a:pt x="20" y="6"/>
                      <a:pt x="19" y="3"/>
                      <a:pt x="19" y="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03" name="Freeform 182">
                <a:extLst>
                  <a:ext uri="{FF2B5EF4-FFF2-40B4-BE49-F238E27FC236}">
                    <a16:creationId xmlns:a16="http://schemas.microsoft.com/office/drawing/2014/main" id="{517B3984-1EAE-9DA8-CDC5-5BEB738B21CE}"/>
                  </a:ext>
                </a:extLst>
              </p:cNvPr>
              <p:cNvSpPr>
                <a:spLocks noEditPoints="1"/>
              </p:cNvSpPr>
              <p:nvPr/>
            </p:nvSpPr>
            <p:spPr bwMode="auto">
              <a:xfrm>
                <a:off x="3688" y="2154"/>
                <a:ext cx="149" cy="197"/>
              </a:xfrm>
              <a:custGeom>
                <a:avLst/>
                <a:gdLst>
                  <a:gd name="T0" fmla="*/ 5 w 76"/>
                  <a:gd name="T1" fmla="*/ 59 h 100"/>
                  <a:gd name="T2" fmla="*/ 8 w 76"/>
                  <a:gd name="T3" fmla="*/ 57 h 100"/>
                  <a:gd name="T4" fmla="*/ 9 w 76"/>
                  <a:gd name="T5" fmla="*/ 59 h 100"/>
                  <a:gd name="T6" fmla="*/ 6 w 76"/>
                  <a:gd name="T7" fmla="*/ 65 h 100"/>
                  <a:gd name="T8" fmla="*/ 32 w 76"/>
                  <a:gd name="T9" fmla="*/ 83 h 100"/>
                  <a:gd name="T10" fmla="*/ 36 w 76"/>
                  <a:gd name="T11" fmla="*/ 92 h 100"/>
                  <a:gd name="T12" fmla="*/ 49 w 76"/>
                  <a:gd name="T13" fmla="*/ 100 h 100"/>
                  <a:gd name="T14" fmla="*/ 51 w 76"/>
                  <a:gd name="T15" fmla="*/ 89 h 100"/>
                  <a:gd name="T16" fmla="*/ 56 w 76"/>
                  <a:gd name="T17" fmla="*/ 82 h 100"/>
                  <a:gd name="T18" fmla="*/ 64 w 76"/>
                  <a:gd name="T19" fmla="*/ 74 h 100"/>
                  <a:gd name="T20" fmla="*/ 69 w 76"/>
                  <a:gd name="T21" fmla="*/ 66 h 100"/>
                  <a:gd name="T22" fmla="*/ 72 w 76"/>
                  <a:gd name="T23" fmla="*/ 61 h 100"/>
                  <a:gd name="T24" fmla="*/ 67 w 76"/>
                  <a:gd name="T25" fmla="*/ 53 h 100"/>
                  <a:gd name="T26" fmla="*/ 71 w 76"/>
                  <a:gd name="T27" fmla="*/ 14 h 100"/>
                  <a:gd name="T28" fmla="*/ 66 w 76"/>
                  <a:gd name="T29" fmla="*/ 4 h 100"/>
                  <a:gd name="T30" fmla="*/ 58 w 76"/>
                  <a:gd name="T31" fmla="*/ 3 h 100"/>
                  <a:gd name="T32" fmla="*/ 50 w 76"/>
                  <a:gd name="T33" fmla="*/ 6 h 100"/>
                  <a:gd name="T34" fmla="*/ 38 w 76"/>
                  <a:gd name="T35" fmla="*/ 4 h 100"/>
                  <a:gd name="T36" fmla="*/ 26 w 76"/>
                  <a:gd name="T37" fmla="*/ 5 h 100"/>
                  <a:gd name="T38" fmla="*/ 15 w 76"/>
                  <a:gd name="T39" fmla="*/ 1 h 100"/>
                  <a:gd name="T40" fmla="*/ 7 w 76"/>
                  <a:gd name="T41" fmla="*/ 1 h 100"/>
                  <a:gd name="T42" fmla="*/ 1 w 76"/>
                  <a:gd name="T43" fmla="*/ 4 h 100"/>
                  <a:gd name="T44" fmla="*/ 3 w 76"/>
                  <a:gd name="T45" fmla="*/ 9 h 100"/>
                  <a:gd name="T46" fmla="*/ 4 w 76"/>
                  <a:gd name="T47" fmla="*/ 17 h 100"/>
                  <a:gd name="T48" fmla="*/ 8 w 76"/>
                  <a:gd name="T49" fmla="*/ 28 h 100"/>
                  <a:gd name="T50" fmla="*/ 3 w 76"/>
                  <a:gd name="T51" fmla="*/ 37 h 100"/>
                  <a:gd name="T52" fmla="*/ 3 w 76"/>
                  <a:gd name="T53" fmla="*/ 52 h 100"/>
                  <a:gd name="T54" fmla="*/ 4 w 76"/>
                  <a:gd name="T55" fmla="*/ 55 h 100"/>
                  <a:gd name="T56" fmla="*/ 23 w 76"/>
                  <a:gd name="T57" fmla="*/ 6 h 100"/>
                  <a:gd name="T58" fmla="*/ 27 w 76"/>
                  <a:gd name="T59" fmla="*/ 22 h 100"/>
                  <a:gd name="T60" fmla="*/ 26 w 76"/>
                  <a:gd name="T61" fmla="*/ 26 h 100"/>
                  <a:gd name="T62" fmla="*/ 20 w 76"/>
                  <a:gd name="T63" fmla="*/ 18 h 100"/>
                  <a:gd name="T64" fmla="*/ 19 w 76"/>
                  <a:gd name="T65"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00">
                    <a:moveTo>
                      <a:pt x="4" y="55"/>
                    </a:moveTo>
                    <a:cubicBezTo>
                      <a:pt x="5" y="56"/>
                      <a:pt x="4" y="59"/>
                      <a:pt x="5" y="59"/>
                    </a:cubicBezTo>
                    <a:cubicBezTo>
                      <a:pt x="7" y="59"/>
                      <a:pt x="7" y="59"/>
                      <a:pt x="7" y="59"/>
                    </a:cubicBezTo>
                    <a:cubicBezTo>
                      <a:pt x="7" y="59"/>
                      <a:pt x="8" y="57"/>
                      <a:pt x="8" y="57"/>
                    </a:cubicBezTo>
                    <a:cubicBezTo>
                      <a:pt x="10" y="56"/>
                      <a:pt x="10" y="58"/>
                      <a:pt x="11" y="57"/>
                    </a:cubicBezTo>
                    <a:cubicBezTo>
                      <a:pt x="10" y="58"/>
                      <a:pt x="9" y="58"/>
                      <a:pt x="9" y="59"/>
                    </a:cubicBezTo>
                    <a:cubicBezTo>
                      <a:pt x="8" y="60"/>
                      <a:pt x="9" y="62"/>
                      <a:pt x="8" y="63"/>
                    </a:cubicBezTo>
                    <a:cubicBezTo>
                      <a:pt x="8" y="64"/>
                      <a:pt x="6" y="64"/>
                      <a:pt x="6" y="65"/>
                    </a:cubicBezTo>
                    <a:cubicBezTo>
                      <a:pt x="5" y="68"/>
                      <a:pt x="6" y="69"/>
                      <a:pt x="5" y="71"/>
                    </a:cubicBezTo>
                    <a:cubicBezTo>
                      <a:pt x="32" y="83"/>
                      <a:pt x="32" y="83"/>
                      <a:pt x="32" y="83"/>
                    </a:cubicBezTo>
                    <a:cubicBezTo>
                      <a:pt x="32" y="83"/>
                      <a:pt x="34" y="85"/>
                      <a:pt x="34" y="87"/>
                    </a:cubicBezTo>
                    <a:cubicBezTo>
                      <a:pt x="33" y="90"/>
                      <a:pt x="33" y="92"/>
                      <a:pt x="36" y="92"/>
                    </a:cubicBezTo>
                    <a:cubicBezTo>
                      <a:pt x="38" y="92"/>
                      <a:pt x="38" y="94"/>
                      <a:pt x="38" y="94"/>
                    </a:cubicBezTo>
                    <a:cubicBezTo>
                      <a:pt x="49" y="100"/>
                      <a:pt x="49" y="100"/>
                      <a:pt x="49" y="100"/>
                    </a:cubicBezTo>
                    <a:cubicBezTo>
                      <a:pt x="49" y="100"/>
                      <a:pt x="50" y="98"/>
                      <a:pt x="51" y="98"/>
                    </a:cubicBezTo>
                    <a:cubicBezTo>
                      <a:pt x="51" y="95"/>
                      <a:pt x="49" y="93"/>
                      <a:pt x="51" y="89"/>
                    </a:cubicBezTo>
                    <a:cubicBezTo>
                      <a:pt x="52" y="89"/>
                      <a:pt x="52" y="89"/>
                      <a:pt x="52" y="89"/>
                    </a:cubicBezTo>
                    <a:cubicBezTo>
                      <a:pt x="53" y="87"/>
                      <a:pt x="54" y="83"/>
                      <a:pt x="56" y="82"/>
                    </a:cubicBezTo>
                    <a:cubicBezTo>
                      <a:pt x="57" y="81"/>
                      <a:pt x="59" y="82"/>
                      <a:pt x="60" y="81"/>
                    </a:cubicBezTo>
                    <a:cubicBezTo>
                      <a:pt x="61" y="80"/>
                      <a:pt x="63" y="75"/>
                      <a:pt x="64" y="74"/>
                    </a:cubicBezTo>
                    <a:cubicBezTo>
                      <a:pt x="64" y="74"/>
                      <a:pt x="67" y="75"/>
                      <a:pt x="68" y="73"/>
                    </a:cubicBezTo>
                    <a:cubicBezTo>
                      <a:pt x="69" y="72"/>
                      <a:pt x="68" y="68"/>
                      <a:pt x="69" y="66"/>
                    </a:cubicBezTo>
                    <a:cubicBezTo>
                      <a:pt x="70" y="65"/>
                      <a:pt x="72" y="64"/>
                      <a:pt x="72" y="63"/>
                    </a:cubicBezTo>
                    <a:cubicBezTo>
                      <a:pt x="73" y="62"/>
                      <a:pt x="71" y="62"/>
                      <a:pt x="72" y="61"/>
                    </a:cubicBezTo>
                    <a:cubicBezTo>
                      <a:pt x="72" y="61"/>
                      <a:pt x="73" y="60"/>
                      <a:pt x="73" y="60"/>
                    </a:cubicBezTo>
                    <a:cubicBezTo>
                      <a:pt x="67" y="53"/>
                      <a:pt x="67" y="53"/>
                      <a:pt x="67" y="53"/>
                    </a:cubicBezTo>
                    <a:cubicBezTo>
                      <a:pt x="66" y="17"/>
                      <a:pt x="66" y="17"/>
                      <a:pt x="66" y="17"/>
                    </a:cubicBezTo>
                    <a:cubicBezTo>
                      <a:pt x="71" y="14"/>
                      <a:pt x="71" y="14"/>
                      <a:pt x="71" y="14"/>
                    </a:cubicBezTo>
                    <a:cubicBezTo>
                      <a:pt x="76" y="3"/>
                      <a:pt x="76" y="3"/>
                      <a:pt x="76" y="3"/>
                    </a:cubicBezTo>
                    <a:cubicBezTo>
                      <a:pt x="76" y="3"/>
                      <a:pt x="68" y="5"/>
                      <a:pt x="66" y="4"/>
                    </a:cubicBezTo>
                    <a:cubicBezTo>
                      <a:pt x="64" y="3"/>
                      <a:pt x="64" y="0"/>
                      <a:pt x="64" y="0"/>
                    </a:cubicBezTo>
                    <a:cubicBezTo>
                      <a:pt x="64" y="0"/>
                      <a:pt x="61" y="4"/>
                      <a:pt x="58" y="3"/>
                    </a:cubicBezTo>
                    <a:cubicBezTo>
                      <a:pt x="56" y="1"/>
                      <a:pt x="55" y="6"/>
                      <a:pt x="55" y="6"/>
                    </a:cubicBezTo>
                    <a:cubicBezTo>
                      <a:pt x="55" y="6"/>
                      <a:pt x="52" y="6"/>
                      <a:pt x="50" y="6"/>
                    </a:cubicBezTo>
                    <a:cubicBezTo>
                      <a:pt x="48" y="6"/>
                      <a:pt x="46" y="7"/>
                      <a:pt x="45" y="5"/>
                    </a:cubicBezTo>
                    <a:cubicBezTo>
                      <a:pt x="44" y="4"/>
                      <a:pt x="38" y="4"/>
                      <a:pt x="38" y="4"/>
                    </a:cubicBezTo>
                    <a:cubicBezTo>
                      <a:pt x="38" y="4"/>
                      <a:pt x="34" y="6"/>
                      <a:pt x="32" y="4"/>
                    </a:cubicBezTo>
                    <a:cubicBezTo>
                      <a:pt x="30" y="3"/>
                      <a:pt x="27" y="5"/>
                      <a:pt x="26" y="5"/>
                    </a:cubicBezTo>
                    <a:cubicBezTo>
                      <a:pt x="25" y="5"/>
                      <a:pt x="19" y="4"/>
                      <a:pt x="19" y="4"/>
                    </a:cubicBezTo>
                    <a:cubicBezTo>
                      <a:pt x="15" y="1"/>
                      <a:pt x="15" y="1"/>
                      <a:pt x="15" y="1"/>
                    </a:cubicBezTo>
                    <a:cubicBezTo>
                      <a:pt x="11" y="1"/>
                      <a:pt x="11" y="1"/>
                      <a:pt x="11" y="1"/>
                    </a:cubicBezTo>
                    <a:cubicBezTo>
                      <a:pt x="11" y="1"/>
                      <a:pt x="9" y="1"/>
                      <a:pt x="7" y="1"/>
                    </a:cubicBezTo>
                    <a:cubicBezTo>
                      <a:pt x="5" y="3"/>
                      <a:pt x="5" y="3"/>
                      <a:pt x="5" y="3"/>
                    </a:cubicBezTo>
                    <a:cubicBezTo>
                      <a:pt x="1" y="4"/>
                      <a:pt x="1" y="4"/>
                      <a:pt x="1" y="4"/>
                    </a:cubicBezTo>
                    <a:cubicBezTo>
                      <a:pt x="1" y="7"/>
                      <a:pt x="1" y="7"/>
                      <a:pt x="1" y="7"/>
                    </a:cubicBezTo>
                    <a:cubicBezTo>
                      <a:pt x="1" y="7"/>
                      <a:pt x="2" y="8"/>
                      <a:pt x="3" y="9"/>
                    </a:cubicBezTo>
                    <a:cubicBezTo>
                      <a:pt x="6" y="11"/>
                      <a:pt x="3" y="9"/>
                      <a:pt x="5" y="11"/>
                    </a:cubicBezTo>
                    <a:cubicBezTo>
                      <a:pt x="7" y="13"/>
                      <a:pt x="5" y="13"/>
                      <a:pt x="4" y="17"/>
                    </a:cubicBezTo>
                    <a:cubicBezTo>
                      <a:pt x="4" y="20"/>
                      <a:pt x="3" y="21"/>
                      <a:pt x="6" y="23"/>
                    </a:cubicBezTo>
                    <a:cubicBezTo>
                      <a:pt x="8" y="25"/>
                      <a:pt x="8" y="26"/>
                      <a:pt x="8" y="28"/>
                    </a:cubicBezTo>
                    <a:cubicBezTo>
                      <a:pt x="7" y="30"/>
                      <a:pt x="7" y="32"/>
                      <a:pt x="6" y="33"/>
                    </a:cubicBezTo>
                    <a:cubicBezTo>
                      <a:pt x="6" y="35"/>
                      <a:pt x="4" y="33"/>
                      <a:pt x="3" y="37"/>
                    </a:cubicBezTo>
                    <a:cubicBezTo>
                      <a:pt x="3" y="41"/>
                      <a:pt x="4" y="42"/>
                      <a:pt x="2" y="44"/>
                    </a:cubicBezTo>
                    <a:cubicBezTo>
                      <a:pt x="0" y="46"/>
                      <a:pt x="4" y="51"/>
                      <a:pt x="3" y="52"/>
                    </a:cubicBezTo>
                    <a:cubicBezTo>
                      <a:pt x="2" y="53"/>
                      <a:pt x="3" y="55"/>
                      <a:pt x="3" y="55"/>
                    </a:cubicBezTo>
                    <a:cubicBezTo>
                      <a:pt x="4" y="55"/>
                      <a:pt x="4" y="55"/>
                      <a:pt x="4" y="55"/>
                    </a:cubicBezTo>
                    <a:close/>
                    <a:moveTo>
                      <a:pt x="21" y="5"/>
                    </a:moveTo>
                    <a:cubicBezTo>
                      <a:pt x="21" y="5"/>
                      <a:pt x="23" y="6"/>
                      <a:pt x="23" y="6"/>
                    </a:cubicBezTo>
                    <a:cubicBezTo>
                      <a:pt x="24" y="10"/>
                      <a:pt x="23" y="13"/>
                      <a:pt x="23" y="16"/>
                    </a:cubicBezTo>
                    <a:cubicBezTo>
                      <a:pt x="24" y="18"/>
                      <a:pt x="26" y="20"/>
                      <a:pt x="27" y="22"/>
                    </a:cubicBezTo>
                    <a:cubicBezTo>
                      <a:pt x="27" y="22"/>
                      <a:pt x="27" y="25"/>
                      <a:pt x="27" y="26"/>
                    </a:cubicBezTo>
                    <a:cubicBezTo>
                      <a:pt x="26" y="26"/>
                      <a:pt x="26" y="26"/>
                      <a:pt x="26" y="26"/>
                    </a:cubicBezTo>
                    <a:cubicBezTo>
                      <a:pt x="26" y="25"/>
                      <a:pt x="25" y="22"/>
                      <a:pt x="24" y="21"/>
                    </a:cubicBezTo>
                    <a:cubicBezTo>
                      <a:pt x="23" y="20"/>
                      <a:pt x="20" y="19"/>
                      <a:pt x="20" y="18"/>
                    </a:cubicBezTo>
                    <a:cubicBezTo>
                      <a:pt x="20" y="17"/>
                      <a:pt x="20" y="16"/>
                      <a:pt x="20" y="16"/>
                    </a:cubicBezTo>
                    <a:cubicBezTo>
                      <a:pt x="19" y="16"/>
                      <a:pt x="19" y="16"/>
                      <a:pt x="19" y="16"/>
                    </a:cubicBezTo>
                    <a:cubicBezTo>
                      <a:pt x="18" y="13"/>
                      <a:pt x="20" y="7"/>
                      <a:pt x="21" y="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04" name="Freeform 183">
                <a:extLst>
                  <a:ext uri="{FF2B5EF4-FFF2-40B4-BE49-F238E27FC236}">
                    <a16:creationId xmlns:a16="http://schemas.microsoft.com/office/drawing/2014/main" id="{864AA7C4-294F-B9F9-B112-0CCF2BCE9741}"/>
                  </a:ext>
                </a:extLst>
              </p:cNvPr>
              <p:cNvSpPr>
                <a:spLocks noEditPoints="1"/>
              </p:cNvSpPr>
              <p:nvPr/>
            </p:nvSpPr>
            <p:spPr bwMode="auto">
              <a:xfrm>
                <a:off x="3688" y="2154"/>
                <a:ext cx="149" cy="197"/>
              </a:xfrm>
              <a:custGeom>
                <a:avLst/>
                <a:gdLst>
                  <a:gd name="T0" fmla="*/ 5 w 76"/>
                  <a:gd name="T1" fmla="*/ 59 h 100"/>
                  <a:gd name="T2" fmla="*/ 8 w 76"/>
                  <a:gd name="T3" fmla="*/ 57 h 100"/>
                  <a:gd name="T4" fmla="*/ 9 w 76"/>
                  <a:gd name="T5" fmla="*/ 59 h 100"/>
                  <a:gd name="T6" fmla="*/ 6 w 76"/>
                  <a:gd name="T7" fmla="*/ 65 h 100"/>
                  <a:gd name="T8" fmla="*/ 32 w 76"/>
                  <a:gd name="T9" fmla="*/ 83 h 100"/>
                  <a:gd name="T10" fmla="*/ 36 w 76"/>
                  <a:gd name="T11" fmla="*/ 92 h 100"/>
                  <a:gd name="T12" fmla="*/ 49 w 76"/>
                  <a:gd name="T13" fmla="*/ 100 h 100"/>
                  <a:gd name="T14" fmla="*/ 51 w 76"/>
                  <a:gd name="T15" fmla="*/ 89 h 100"/>
                  <a:gd name="T16" fmla="*/ 56 w 76"/>
                  <a:gd name="T17" fmla="*/ 82 h 100"/>
                  <a:gd name="T18" fmla="*/ 64 w 76"/>
                  <a:gd name="T19" fmla="*/ 74 h 100"/>
                  <a:gd name="T20" fmla="*/ 69 w 76"/>
                  <a:gd name="T21" fmla="*/ 66 h 100"/>
                  <a:gd name="T22" fmla="*/ 72 w 76"/>
                  <a:gd name="T23" fmla="*/ 61 h 100"/>
                  <a:gd name="T24" fmla="*/ 67 w 76"/>
                  <a:gd name="T25" fmla="*/ 53 h 100"/>
                  <a:gd name="T26" fmla="*/ 71 w 76"/>
                  <a:gd name="T27" fmla="*/ 14 h 100"/>
                  <a:gd name="T28" fmla="*/ 66 w 76"/>
                  <a:gd name="T29" fmla="*/ 4 h 100"/>
                  <a:gd name="T30" fmla="*/ 58 w 76"/>
                  <a:gd name="T31" fmla="*/ 3 h 100"/>
                  <a:gd name="T32" fmla="*/ 50 w 76"/>
                  <a:gd name="T33" fmla="*/ 6 h 100"/>
                  <a:gd name="T34" fmla="*/ 38 w 76"/>
                  <a:gd name="T35" fmla="*/ 4 h 100"/>
                  <a:gd name="T36" fmla="*/ 26 w 76"/>
                  <a:gd name="T37" fmla="*/ 5 h 100"/>
                  <a:gd name="T38" fmla="*/ 15 w 76"/>
                  <a:gd name="T39" fmla="*/ 1 h 100"/>
                  <a:gd name="T40" fmla="*/ 7 w 76"/>
                  <a:gd name="T41" fmla="*/ 1 h 100"/>
                  <a:gd name="T42" fmla="*/ 1 w 76"/>
                  <a:gd name="T43" fmla="*/ 4 h 100"/>
                  <a:gd name="T44" fmla="*/ 3 w 76"/>
                  <a:gd name="T45" fmla="*/ 9 h 100"/>
                  <a:gd name="T46" fmla="*/ 4 w 76"/>
                  <a:gd name="T47" fmla="*/ 17 h 100"/>
                  <a:gd name="T48" fmla="*/ 8 w 76"/>
                  <a:gd name="T49" fmla="*/ 28 h 100"/>
                  <a:gd name="T50" fmla="*/ 3 w 76"/>
                  <a:gd name="T51" fmla="*/ 37 h 100"/>
                  <a:gd name="T52" fmla="*/ 3 w 76"/>
                  <a:gd name="T53" fmla="*/ 52 h 100"/>
                  <a:gd name="T54" fmla="*/ 4 w 76"/>
                  <a:gd name="T55" fmla="*/ 55 h 100"/>
                  <a:gd name="T56" fmla="*/ 23 w 76"/>
                  <a:gd name="T57" fmla="*/ 6 h 100"/>
                  <a:gd name="T58" fmla="*/ 27 w 76"/>
                  <a:gd name="T59" fmla="*/ 22 h 100"/>
                  <a:gd name="T60" fmla="*/ 26 w 76"/>
                  <a:gd name="T61" fmla="*/ 26 h 100"/>
                  <a:gd name="T62" fmla="*/ 20 w 76"/>
                  <a:gd name="T63" fmla="*/ 18 h 100"/>
                  <a:gd name="T64" fmla="*/ 19 w 76"/>
                  <a:gd name="T65"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100">
                    <a:moveTo>
                      <a:pt x="4" y="55"/>
                    </a:moveTo>
                    <a:cubicBezTo>
                      <a:pt x="5" y="56"/>
                      <a:pt x="4" y="59"/>
                      <a:pt x="5" y="59"/>
                    </a:cubicBezTo>
                    <a:cubicBezTo>
                      <a:pt x="7" y="59"/>
                      <a:pt x="7" y="59"/>
                      <a:pt x="7" y="59"/>
                    </a:cubicBezTo>
                    <a:cubicBezTo>
                      <a:pt x="7" y="59"/>
                      <a:pt x="8" y="57"/>
                      <a:pt x="8" y="57"/>
                    </a:cubicBezTo>
                    <a:cubicBezTo>
                      <a:pt x="10" y="56"/>
                      <a:pt x="10" y="58"/>
                      <a:pt x="11" y="57"/>
                    </a:cubicBezTo>
                    <a:cubicBezTo>
                      <a:pt x="10" y="58"/>
                      <a:pt x="9" y="58"/>
                      <a:pt x="9" y="59"/>
                    </a:cubicBezTo>
                    <a:cubicBezTo>
                      <a:pt x="8" y="60"/>
                      <a:pt x="9" y="62"/>
                      <a:pt x="8" y="63"/>
                    </a:cubicBezTo>
                    <a:cubicBezTo>
                      <a:pt x="8" y="64"/>
                      <a:pt x="6" y="64"/>
                      <a:pt x="6" y="65"/>
                    </a:cubicBezTo>
                    <a:cubicBezTo>
                      <a:pt x="5" y="68"/>
                      <a:pt x="6" y="69"/>
                      <a:pt x="5" y="71"/>
                    </a:cubicBezTo>
                    <a:cubicBezTo>
                      <a:pt x="32" y="83"/>
                      <a:pt x="32" y="83"/>
                      <a:pt x="32" y="83"/>
                    </a:cubicBezTo>
                    <a:cubicBezTo>
                      <a:pt x="32" y="83"/>
                      <a:pt x="34" y="85"/>
                      <a:pt x="34" y="87"/>
                    </a:cubicBezTo>
                    <a:cubicBezTo>
                      <a:pt x="33" y="90"/>
                      <a:pt x="33" y="92"/>
                      <a:pt x="36" y="92"/>
                    </a:cubicBezTo>
                    <a:cubicBezTo>
                      <a:pt x="38" y="92"/>
                      <a:pt x="38" y="94"/>
                      <a:pt x="38" y="94"/>
                    </a:cubicBezTo>
                    <a:cubicBezTo>
                      <a:pt x="49" y="100"/>
                      <a:pt x="49" y="100"/>
                      <a:pt x="49" y="100"/>
                    </a:cubicBezTo>
                    <a:cubicBezTo>
                      <a:pt x="49" y="100"/>
                      <a:pt x="50" y="98"/>
                      <a:pt x="51" y="98"/>
                    </a:cubicBezTo>
                    <a:cubicBezTo>
                      <a:pt x="51" y="95"/>
                      <a:pt x="49" y="93"/>
                      <a:pt x="51" y="89"/>
                    </a:cubicBezTo>
                    <a:cubicBezTo>
                      <a:pt x="52" y="89"/>
                      <a:pt x="52" y="89"/>
                      <a:pt x="52" y="89"/>
                    </a:cubicBezTo>
                    <a:cubicBezTo>
                      <a:pt x="53" y="87"/>
                      <a:pt x="54" y="83"/>
                      <a:pt x="56" y="82"/>
                    </a:cubicBezTo>
                    <a:cubicBezTo>
                      <a:pt x="57" y="81"/>
                      <a:pt x="59" y="82"/>
                      <a:pt x="60" y="81"/>
                    </a:cubicBezTo>
                    <a:cubicBezTo>
                      <a:pt x="61" y="80"/>
                      <a:pt x="63" y="75"/>
                      <a:pt x="64" y="74"/>
                    </a:cubicBezTo>
                    <a:cubicBezTo>
                      <a:pt x="64" y="74"/>
                      <a:pt x="67" y="75"/>
                      <a:pt x="68" y="73"/>
                    </a:cubicBezTo>
                    <a:cubicBezTo>
                      <a:pt x="69" y="72"/>
                      <a:pt x="68" y="68"/>
                      <a:pt x="69" y="66"/>
                    </a:cubicBezTo>
                    <a:cubicBezTo>
                      <a:pt x="70" y="65"/>
                      <a:pt x="72" y="64"/>
                      <a:pt x="72" y="63"/>
                    </a:cubicBezTo>
                    <a:cubicBezTo>
                      <a:pt x="73" y="62"/>
                      <a:pt x="71" y="62"/>
                      <a:pt x="72" y="61"/>
                    </a:cubicBezTo>
                    <a:cubicBezTo>
                      <a:pt x="72" y="61"/>
                      <a:pt x="73" y="60"/>
                      <a:pt x="73" y="60"/>
                    </a:cubicBezTo>
                    <a:cubicBezTo>
                      <a:pt x="67" y="53"/>
                      <a:pt x="67" y="53"/>
                      <a:pt x="67" y="53"/>
                    </a:cubicBezTo>
                    <a:cubicBezTo>
                      <a:pt x="66" y="17"/>
                      <a:pt x="66" y="17"/>
                      <a:pt x="66" y="17"/>
                    </a:cubicBezTo>
                    <a:cubicBezTo>
                      <a:pt x="71" y="14"/>
                      <a:pt x="71" y="14"/>
                      <a:pt x="71" y="14"/>
                    </a:cubicBezTo>
                    <a:cubicBezTo>
                      <a:pt x="76" y="3"/>
                      <a:pt x="76" y="3"/>
                      <a:pt x="76" y="3"/>
                    </a:cubicBezTo>
                    <a:cubicBezTo>
                      <a:pt x="76" y="3"/>
                      <a:pt x="68" y="5"/>
                      <a:pt x="66" y="4"/>
                    </a:cubicBezTo>
                    <a:cubicBezTo>
                      <a:pt x="64" y="3"/>
                      <a:pt x="64" y="0"/>
                      <a:pt x="64" y="0"/>
                    </a:cubicBezTo>
                    <a:cubicBezTo>
                      <a:pt x="64" y="0"/>
                      <a:pt x="61" y="4"/>
                      <a:pt x="58" y="3"/>
                    </a:cubicBezTo>
                    <a:cubicBezTo>
                      <a:pt x="56" y="1"/>
                      <a:pt x="55" y="6"/>
                      <a:pt x="55" y="6"/>
                    </a:cubicBezTo>
                    <a:cubicBezTo>
                      <a:pt x="55" y="6"/>
                      <a:pt x="52" y="6"/>
                      <a:pt x="50" y="6"/>
                    </a:cubicBezTo>
                    <a:cubicBezTo>
                      <a:pt x="48" y="6"/>
                      <a:pt x="46" y="7"/>
                      <a:pt x="45" y="5"/>
                    </a:cubicBezTo>
                    <a:cubicBezTo>
                      <a:pt x="44" y="4"/>
                      <a:pt x="38" y="4"/>
                      <a:pt x="38" y="4"/>
                    </a:cubicBezTo>
                    <a:cubicBezTo>
                      <a:pt x="38" y="4"/>
                      <a:pt x="34" y="6"/>
                      <a:pt x="32" y="4"/>
                    </a:cubicBezTo>
                    <a:cubicBezTo>
                      <a:pt x="30" y="3"/>
                      <a:pt x="27" y="5"/>
                      <a:pt x="26" y="5"/>
                    </a:cubicBezTo>
                    <a:cubicBezTo>
                      <a:pt x="25" y="5"/>
                      <a:pt x="19" y="4"/>
                      <a:pt x="19" y="4"/>
                    </a:cubicBezTo>
                    <a:cubicBezTo>
                      <a:pt x="15" y="1"/>
                      <a:pt x="15" y="1"/>
                      <a:pt x="15" y="1"/>
                    </a:cubicBezTo>
                    <a:cubicBezTo>
                      <a:pt x="11" y="1"/>
                      <a:pt x="11" y="1"/>
                      <a:pt x="11" y="1"/>
                    </a:cubicBezTo>
                    <a:cubicBezTo>
                      <a:pt x="11" y="1"/>
                      <a:pt x="9" y="1"/>
                      <a:pt x="7" y="1"/>
                    </a:cubicBezTo>
                    <a:cubicBezTo>
                      <a:pt x="5" y="3"/>
                      <a:pt x="5" y="3"/>
                      <a:pt x="5" y="3"/>
                    </a:cubicBezTo>
                    <a:cubicBezTo>
                      <a:pt x="1" y="4"/>
                      <a:pt x="1" y="4"/>
                      <a:pt x="1" y="4"/>
                    </a:cubicBezTo>
                    <a:cubicBezTo>
                      <a:pt x="1" y="7"/>
                      <a:pt x="1" y="7"/>
                      <a:pt x="1" y="7"/>
                    </a:cubicBezTo>
                    <a:cubicBezTo>
                      <a:pt x="1" y="7"/>
                      <a:pt x="2" y="8"/>
                      <a:pt x="3" y="9"/>
                    </a:cubicBezTo>
                    <a:cubicBezTo>
                      <a:pt x="6" y="11"/>
                      <a:pt x="3" y="9"/>
                      <a:pt x="5" y="11"/>
                    </a:cubicBezTo>
                    <a:cubicBezTo>
                      <a:pt x="7" y="13"/>
                      <a:pt x="5" y="13"/>
                      <a:pt x="4" y="17"/>
                    </a:cubicBezTo>
                    <a:cubicBezTo>
                      <a:pt x="4" y="20"/>
                      <a:pt x="3" y="21"/>
                      <a:pt x="6" y="23"/>
                    </a:cubicBezTo>
                    <a:cubicBezTo>
                      <a:pt x="8" y="25"/>
                      <a:pt x="8" y="26"/>
                      <a:pt x="8" y="28"/>
                    </a:cubicBezTo>
                    <a:cubicBezTo>
                      <a:pt x="7" y="30"/>
                      <a:pt x="7" y="32"/>
                      <a:pt x="6" y="33"/>
                    </a:cubicBezTo>
                    <a:cubicBezTo>
                      <a:pt x="6" y="35"/>
                      <a:pt x="4" y="33"/>
                      <a:pt x="3" y="37"/>
                    </a:cubicBezTo>
                    <a:cubicBezTo>
                      <a:pt x="3" y="41"/>
                      <a:pt x="4" y="42"/>
                      <a:pt x="2" y="44"/>
                    </a:cubicBezTo>
                    <a:cubicBezTo>
                      <a:pt x="0" y="46"/>
                      <a:pt x="4" y="51"/>
                      <a:pt x="3" y="52"/>
                    </a:cubicBezTo>
                    <a:cubicBezTo>
                      <a:pt x="2" y="53"/>
                      <a:pt x="3" y="55"/>
                      <a:pt x="3" y="55"/>
                    </a:cubicBezTo>
                    <a:cubicBezTo>
                      <a:pt x="4" y="55"/>
                      <a:pt x="4" y="55"/>
                      <a:pt x="4" y="55"/>
                    </a:cubicBezTo>
                    <a:close/>
                    <a:moveTo>
                      <a:pt x="21" y="5"/>
                    </a:moveTo>
                    <a:cubicBezTo>
                      <a:pt x="21" y="5"/>
                      <a:pt x="23" y="6"/>
                      <a:pt x="23" y="6"/>
                    </a:cubicBezTo>
                    <a:cubicBezTo>
                      <a:pt x="24" y="10"/>
                      <a:pt x="23" y="13"/>
                      <a:pt x="23" y="16"/>
                    </a:cubicBezTo>
                    <a:cubicBezTo>
                      <a:pt x="24" y="18"/>
                      <a:pt x="26" y="20"/>
                      <a:pt x="27" y="22"/>
                    </a:cubicBezTo>
                    <a:cubicBezTo>
                      <a:pt x="27" y="22"/>
                      <a:pt x="27" y="25"/>
                      <a:pt x="27" y="26"/>
                    </a:cubicBezTo>
                    <a:cubicBezTo>
                      <a:pt x="26" y="26"/>
                      <a:pt x="26" y="26"/>
                      <a:pt x="26" y="26"/>
                    </a:cubicBezTo>
                    <a:cubicBezTo>
                      <a:pt x="26" y="25"/>
                      <a:pt x="25" y="22"/>
                      <a:pt x="24" y="21"/>
                    </a:cubicBezTo>
                    <a:cubicBezTo>
                      <a:pt x="23" y="20"/>
                      <a:pt x="20" y="19"/>
                      <a:pt x="20" y="18"/>
                    </a:cubicBezTo>
                    <a:cubicBezTo>
                      <a:pt x="20" y="17"/>
                      <a:pt x="20" y="16"/>
                      <a:pt x="20" y="16"/>
                    </a:cubicBezTo>
                    <a:cubicBezTo>
                      <a:pt x="19" y="16"/>
                      <a:pt x="19" y="16"/>
                      <a:pt x="19" y="16"/>
                    </a:cubicBezTo>
                    <a:cubicBezTo>
                      <a:pt x="18" y="13"/>
                      <a:pt x="20" y="7"/>
                      <a:pt x="21" y="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05" name="Freeform 184">
                <a:extLst>
                  <a:ext uri="{FF2B5EF4-FFF2-40B4-BE49-F238E27FC236}">
                    <a16:creationId xmlns:a16="http://schemas.microsoft.com/office/drawing/2014/main" id="{573B1406-3B13-F817-ED26-847EB86DD173}"/>
                  </a:ext>
                </a:extLst>
              </p:cNvPr>
              <p:cNvSpPr>
                <a:spLocks noEditPoints="1"/>
              </p:cNvSpPr>
              <p:nvPr/>
            </p:nvSpPr>
            <p:spPr bwMode="auto">
              <a:xfrm>
                <a:off x="3912" y="1004"/>
                <a:ext cx="694" cy="354"/>
              </a:xfrm>
              <a:custGeom>
                <a:avLst/>
                <a:gdLst>
                  <a:gd name="T0" fmla="*/ 329 w 354"/>
                  <a:gd name="T1" fmla="*/ 91 h 180"/>
                  <a:gd name="T2" fmla="*/ 312 w 354"/>
                  <a:gd name="T3" fmla="*/ 104 h 180"/>
                  <a:gd name="T4" fmla="*/ 308 w 354"/>
                  <a:gd name="T5" fmla="*/ 127 h 180"/>
                  <a:gd name="T6" fmla="*/ 282 w 354"/>
                  <a:gd name="T7" fmla="*/ 136 h 180"/>
                  <a:gd name="T8" fmla="*/ 286 w 354"/>
                  <a:gd name="T9" fmla="*/ 162 h 180"/>
                  <a:gd name="T10" fmla="*/ 253 w 354"/>
                  <a:gd name="T11" fmla="*/ 154 h 180"/>
                  <a:gd name="T12" fmla="*/ 228 w 354"/>
                  <a:gd name="T13" fmla="*/ 160 h 180"/>
                  <a:gd name="T14" fmla="*/ 197 w 354"/>
                  <a:gd name="T15" fmla="*/ 165 h 180"/>
                  <a:gd name="T16" fmla="*/ 179 w 354"/>
                  <a:gd name="T17" fmla="*/ 179 h 180"/>
                  <a:gd name="T18" fmla="*/ 161 w 354"/>
                  <a:gd name="T19" fmla="*/ 169 h 180"/>
                  <a:gd name="T20" fmla="*/ 147 w 354"/>
                  <a:gd name="T21" fmla="*/ 160 h 180"/>
                  <a:gd name="T22" fmla="*/ 124 w 354"/>
                  <a:gd name="T23" fmla="*/ 142 h 180"/>
                  <a:gd name="T24" fmla="*/ 122 w 354"/>
                  <a:gd name="T25" fmla="*/ 123 h 180"/>
                  <a:gd name="T26" fmla="*/ 122 w 354"/>
                  <a:gd name="T27" fmla="*/ 112 h 180"/>
                  <a:gd name="T28" fmla="*/ 111 w 354"/>
                  <a:gd name="T29" fmla="*/ 118 h 180"/>
                  <a:gd name="T30" fmla="*/ 103 w 354"/>
                  <a:gd name="T31" fmla="*/ 121 h 180"/>
                  <a:gd name="T32" fmla="*/ 88 w 354"/>
                  <a:gd name="T33" fmla="*/ 126 h 180"/>
                  <a:gd name="T34" fmla="*/ 49 w 354"/>
                  <a:gd name="T35" fmla="*/ 167 h 180"/>
                  <a:gd name="T36" fmla="*/ 38 w 354"/>
                  <a:gd name="T37" fmla="*/ 154 h 180"/>
                  <a:gd name="T38" fmla="*/ 40 w 354"/>
                  <a:gd name="T39" fmla="*/ 140 h 180"/>
                  <a:gd name="T40" fmla="*/ 37 w 354"/>
                  <a:gd name="T41" fmla="*/ 133 h 180"/>
                  <a:gd name="T42" fmla="*/ 50 w 354"/>
                  <a:gd name="T43" fmla="*/ 130 h 180"/>
                  <a:gd name="T44" fmla="*/ 63 w 354"/>
                  <a:gd name="T45" fmla="*/ 132 h 180"/>
                  <a:gd name="T46" fmla="*/ 58 w 354"/>
                  <a:gd name="T47" fmla="*/ 114 h 180"/>
                  <a:gd name="T48" fmla="*/ 46 w 354"/>
                  <a:gd name="T49" fmla="*/ 107 h 180"/>
                  <a:gd name="T50" fmla="*/ 34 w 354"/>
                  <a:gd name="T51" fmla="*/ 101 h 180"/>
                  <a:gd name="T52" fmla="*/ 21 w 354"/>
                  <a:gd name="T53" fmla="*/ 109 h 180"/>
                  <a:gd name="T54" fmla="*/ 10 w 354"/>
                  <a:gd name="T55" fmla="*/ 95 h 180"/>
                  <a:gd name="T56" fmla="*/ 7 w 354"/>
                  <a:gd name="T57" fmla="*/ 75 h 180"/>
                  <a:gd name="T58" fmla="*/ 18 w 354"/>
                  <a:gd name="T59" fmla="*/ 65 h 180"/>
                  <a:gd name="T60" fmla="*/ 32 w 354"/>
                  <a:gd name="T61" fmla="*/ 48 h 180"/>
                  <a:gd name="T62" fmla="*/ 50 w 354"/>
                  <a:gd name="T63" fmla="*/ 39 h 180"/>
                  <a:gd name="T64" fmla="*/ 65 w 354"/>
                  <a:gd name="T65" fmla="*/ 48 h 180"/>
                  <a:gd name="T66" fmla="*/ 77 w 354"/>
                  <a:gd name="T67" fmla="*/ 53 h 180"/>
                  <a:gd name="T68" fmla="*/ 104 w 354"/>
                  <a:gd name="T69" fmla="*/ 52 h 180"/>
                  <a:gd name="T70" fmla="*/ 116 w 354"/>
                  <a:gd name="T71" fmla="*/ 51 h 180"/>
                  <a:gd name="T72" fmla="*/ 112 w 354"/>
                  <a:gd name="T73" fmla="*/ 30 h 180"/>
                  <a:gd name="T74" fmla="*/ 117 w 354"/>
                  <a:gd name="T75" fmla="*/ 10 h 180"/>
                  <a:gd name="T76" fmla="*/ 142 w 354"/>
                  <a:gd name="T77" fmla="*/ 11 h 180"/>
                  <a:gd name="T78" fmla="*/ 176 w 354"/>
                  <a:gd name="T79" fmla="*/ 2 h 180"/>
                  <a:gd name="T80" fmla="*/ 191 w 354"/>
                  <a:gd name="T81" fmla="*/ 6 h 180"/>
                  <a:gd name="T82" fmla="*/ 204 w 354"/>
                  <a:gd name="T83" fmla="*/ 9 h 180"/>
                  <a:gd name="T84" fmla="*/ 217 w 354"/>
                  <a:gd name="T85" fmla="*/ 17 h 180"/>
                  <a:gd name="T86" fmla="*/ 254 w 354"/>
                  <a:gd name="T87" fmla="*/ 7 h 180"/>
                  <a:gd name="T88" fmla="*/ 272 w 354"/>
                  <a:gd name="T89" fmla="*/ 47 h 180"/>
                  <a:gd name="T90" fmla="*/ 305 w 354"/>
                  <a:gd name="T91" fmla="*/ 64 h 180"/>
                  <a:gd name="T92" fmla="*/ 330 w 354"/>
                  <a:gd name="T93" fmla="*/ 69 h 180"/>
                  <a:gd name="T94" fmla="*/ 348 w 354"/>
                  <a:gd name="T95" fmla="*/ 78 h 180"/>
                  <a:gd name="T96" fmla="*/ 45 w 354"/>
                  <a:gd name="T97" fmla="*/ 139 h 180"/>
                  <a:gd name="T98" fmla="*/ 283 w 354"/>
                  <a:gd name="T99" fmla="*/ 98 h 180"/>
                  <a:gd name="T100" fmla="*/ 276 w 354"/>
                  <a:gd name="T101" fmla="*/ 108 h 180"/>
                  <a:gd name="T102" fmla="*/ 254 w 354"/>
                  <a:gd name="T103" fmla="*/ 106 h 180"/>
                  <a:gd name="T104" fmla="*/ 240 w 354"/>
                  <a:gd name="T105" fmla="*/ 116 h 180"/>
                  <a:gd name="T106" fmla="*/ 229 w 354"/>
                  <a:gd name="T107" fmla="*/ 126 h 180"/>
                  <a:gd name="T108" fmla="*/ 226 w 354"/>
                  <a:gd name="T109" fmla="*/ 124 h 180"/>
                  <a:gd name="T110" fmla="*/ 228 w 354"/>
                  <a:gd name="T111" fmla="*/ 115 h 180"/>
                  <a:gd name="T112" fmla="*/ 240 w 354"/>
                  <a:gd name="T113" fmla="*/ 104 h 180"/>
                  <a:gd name="T114" fmla="*/ 262 w 354"/>
                  <a:gd name="T115" fmla="*/ 10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4" h="180">
                    <a:moveTo>
                      <a:pt x="354" y="80"/>
                    </a:moveTo>
                    <a:cubicBezTo>
                      <a:pt x="341" y="82"/>
                      <a:pt x="341" y="82"/>
                      <a:pt x="341" y="82"/>
                    </a:cubicBezTo>
                    <a:cubicBezTo>
                      <a:pt x="337" y="85"/>
                      <a:pt x="337" y="85"/>
                      <a:pt x="337" y="85"/>
                    </a:cubicBezTo>
                    <a:cubicBezTo>
                      <a:pt x="335" y="89"/>
                      <a:pt x="335" y="89"/>
                      <a:pt x="335" y="89"/>
                    </a:cubicBezTo>
                    <a:cubicBezTo>
                      <a:pt x="329" y="91"/>
                      <a:pt x="329" y="91"/>
                      <a:pt x="329" y="91"/>
                    </a:cubicBezTo>
                    <a:cubicBezTo>
                      <a:pt x="328" y="94"/>
                      <a:pt x="328" y="94"/>
                      <a:pt x="328" y="94"/>
                    </a:cubicBezTo>
                    <a:cubicBezTo>
                      <a:pt x="327" y="98"/>
                      <a:pt x="327" y="98"/>
                      <a:pt x="327" y="98"/>
                    </a:cubicBezTo>
                    <a:cubicBezTo>
                      <a:pt x="320" y="101"/>
                      <a:pt x="320" y="101"/>
                      <a:pt x="320" y="101"/>
                    </a:cubicBezTo>
                    <a:cubicBezTo>
                      <a:pt x="315" y="101"/>
                      <a:pt x="315" y="101"/>
                      <a:pt x="315" y="101"/>
                    </a:cubicBezTo>
                    <a:cubicBezTo>
                      <a:pt x="312" y="104"/>
                      <a:pt x="312" y="104"/>
                      <a:pt x="312" y="104"/>
                    </a:cubicBezTo>
                    <a:cubicBezTo>
                      <a:pt x="309" y="109"/>
                      <a:pt x="309" y="109"/>
                      <a:pt x="309" y="109"/>
                    </a:cubicBezTo>
                    <a:cubicBezTo>
                      <a:pt x="306" y="112"/>
                      <a:pt x="306" y="112"/>
                      <a:pt x="306" y="112"/>
                    </a:cubicBezTo>
                    <a:cubicBezTo>
                      <a:pt x="304" y="118"/>
                      <a:pt x="304" y="118"/>
                      <a:pt x="304" y="118"/>
                    </a:cubicBezTo>
                    <a:cubicBezTo>
                      <a:pt x="305" y="124"/>
                      <a:pt x="305" y="124"/>
                      <a:pt x="305" y="124"/>
                    </a:cubicBezTo>
                    <a:cubicBezTo>
                      <a:pt x="308" y="127"/>
                      <a:pt x="308" y="127"/>
                      <a:pt x="308" y="127"/>
                    </a:cubicBezTo>
                    <a:cubicBezTo>
                      <a:pt x="306" y="130"/>
                      <a:pt x="306" y="130"/>
                      <a:pt x="306" y="130"/>
                    </a:cubicBezTo>
                    <a:cubicBezTo>
                      <a:pt x="298" y="130"/>
                      <a:pt x="298" y="130"/>
                      <a:pt x="298" y="130"/>
                    </a:cubicBezTo>
                    <a:cubicBezTo>
                      <a:pt x="291" y="133"/>
                      <a:pt x="291" y="133"/>
                      <a:pt x="291" y="133"/>
                    </a:cubicBezTo>
                    <a:cubicBezTo>
                      <a:pt x="284" y="134"/>
                      <a:pt x="284" y="134"/>
                      <a:pt x="284" y="134"/>
                    </a:cubicBezTo>
                    <a:cubicBezTo>
                      <a:pt x="282" y="136"/>
                      <a:pt x="282" y="136"/>
                      <a:pt x="282" y="136"/>
                    </a:cubicBezTo>
                    <a:cubicBezTo>
                      <a:pt x="283" y="140"/>
                      <a:pt x="283" y="140"/>
                      <a:pt x="283" y="140"/>
                    </a:cubicBezTo>
                    <a:cubicBezTo>
                      <a:pt x="288" y="144"/>
                      <a:pt x="288" y="144"/>
                      <a:pt x="288" y="144"/>
                    </a:cubicBezTo>
                    <a:cubicBezTo>
                      <a:pt x="290" y="147"/>
                      <a:pt x="290" y="147"/>
                      <a:pt x="290" y="147"/>
                    </a:cubicBezTo>
                    <a:cubicBezTo>
                      <a:pt x="286" y="155"/>
                      <a:pt x="286" y="155"/>
                      <a:pt x="286" y="155"/>
                    </a:cubicBezTo>
                    <a:cubicBezTo>
                      <a:pt x="286" y="162"/>
                      <a:pt x="286" y="162"/>
                      <a:pt x="286" y="162"/>
                    </a:cubicBezTo>
                    <a:cubicBezTo>
                      <a:pt x="282" y="160"/>
                      <a:pt x="282" y="160"/>
                      <a:pt x="282" y="160"/>
                    </a:cubicBezTo>
                    <a:cubicBezTo>
                      <a:pt x="282" y="160"/>
                      <a:pt x="277" y="159"/>
                      <a:pt x="277" y="158"/>
                    </a:cubicBezTo>
                    <a:cubicBezTo>
                      <a:pt x="276" y="156"/>
                      <a:pt x="273" y="154"/>
                      <a:pt x="271" y="154"/>
                    </a:cubicBezTo>
                    <a:cubicBezTo>
                      <a:pt x="269" y="154"/>
                      <a:pt x="267" y="153"/>
                      <a:pt x="264" y="154"/>
                    </a:cubicBezTo>
                    <a:cubicBezTo>
                      <a:pt x="260" y="154"/>
                      <a:pt x="255" y="154"/>
                      <a:pt x="253" y="154"/>
                    </a:cubicBezTo>
                    <a:cubicBezTo>
                      <a:pt x="251" y="154"/>
                      <a:pt x="247" y="159"/>
                      <a:pt x="244" y="159"/>
                    </a:cubicBezTo>
                    <a:cubicBezTo>
                      <a:pt x="241" y="159"/>
                      <a:pt x="243" y="158"/>
                      <a:pt x="240" y="157"/>
                    </a:cubicBezTo>
                    <a:cubicBezTo>
                      <a:pt x="237" y="156"/>
                      <a:pt x="237" y="154"/>
                      <a:pt x="236" y="154"/>
                    </a:cubicBezTo>
                    <a:cubicBezTo>
                      <a:pt x="232" y="157"/>
                      <a:pt x="233" y="156"/>
                      <a:pt x="231" y="156"/>
                    </a:cubicBezTo>
                    <a:cubicBezTo>
                      <a:pt x="230" y="156"/>
                      <a:pt x="228" y="160"/>
                      <a:pt x="228" y="160"/>
                    </a:cubicBezTo>
                    <a:cubicBezTo>
                      <a:pt x="228" y="160"/>
                      <a:pt x="225" y="161"/>
                      <a:pt x="225" y="163"/>
                    </a:cubicBezTo>
                    <a:cubicBezTo>
                      <a:pt x="225" y="164"/>
                      <a:pt x="219" y="158"/>
                      <a:pt x="216" y="158"/>
                    </a:cubicBezTo>
                    <a:cubicBezTo>
                      <a:pt x="210" y="158"/>
                      <a:pt x="210" y="158"/>
                      <a:pt x="210" y="158"/>
                    </a:cubicBezTo>
                    <a:cubicBezTo>
                      <a:pt x="207" y="158"/>
                      <a:pt x="202" y="164"/>
                      <a:pt x="202" y="164"/>
                    </a:cubicBezTo>
                    <a:cubicBezTo>
                      <a:pt x="200" y="165"/>
                      <a:pt x="200" y="165"/>
                      <a:pt x="197" y="165"/>
                    </a:cubicBezTo>
                    <a:cubicBezTo>
                      <a:pt x="195" y="166"/>
                      <a:pt x="193" y="165"/>
                      <a:pt x="192" y="167"/>
                    </a:cubicBezTo>
                    <a:cubicBezTo>
                      <a:pt x="192" y="169"/>
                      <a:pt x="189" y="169"/>
                      <a:pt x="187" y="169"/>
                    </a:cubicBezTo>
                    <a:cubicBezTo>
                      <a:pt x="186" y="170"/>
                      <a:pt x="185" y="175"/>
                      <a:pt x="185" y="175"/>
                    </a:cubicBezTo>
                    <a:cubicBezTo>
                      <a:pt x="185" y="175"/>
                      <a:pt x="182" y="176"/>
                      <a:pt x="179" y="176"/>
                    </a:cubicBezTo>
                    <a:cubicBezTo>
                      <a:pt x="179" y="179"/>
                      <a:pt x="179" y="179"/>
                      <a:pt x="179" y="179"/>
                    </a:cubicBezTo>
                    <a:cubicBezTo>
                      <a:pt x="179" y="179"/>
                      <a:pt x="177" y="180"/>
                      <a:pt x="176" y="180"/>
                    </a:cubicBezTo>
                    <a:cubicBezTo>
                      <a:pt x="175" y="180"/>
                      <a:pt x="177" y="178"/>
                      <a:pt x="176" y="176"/>
                    </a:cubicBezTo>
                    <a:cubicBezTo>
                      <a:pt x="175" y="174"/>
                      <a:pt x="170" y="173"/>
                      <a:pt x="169" y="174"/>
                    </a:cubicBezTo>
                    <a:cubicBezTo>
                      <a:pt x="168" y="175"/>
                      <a:pt x="163" y="173"/>
                      <a:pt x="161" y="172"/>
                    </a:cubicBezTo>
                    <a:cubicBezTo>
                      <a:pt x="159" y="171"/>
                      <a:pt x="161" y="170"/>
                      <a:pt x="161" y="169"/>
                    </a:cubicBezTo>
                    <a:cubicBezTo>
                      <a:pt x="161" y="167"/>
                      <a:pt x="159" y="169"/>
                      <a:pt x="159" y="167"/>
                    </a:cubicBezTo>
                    <a:cubicBezTo>
                      <a:pt x="159" y="164"/>
                      <a:pt x="158" y="164"/>
                      <a:pt x="156" y="165"/>
                    </a:cubicBezTo>
                    <a:cubicBezTo>
                      <a:pt x="154" y="165"/>
                      <a:pt x="153" y="164"/>
                      <a:pt x="152" y="163"/>
                    </a:cubicBezTo>
                    <a:cubicBezTo>
                      <a:pt x="151" y="162"/>
                      <a:pt x="149" y="158"/>
                      <a:pt x="149" y="158"/>
                    </a:cubicBezTo>
                    <a:cubicBezTo>
                      <a:pt x="147" y="160"/>
                      <a:pt x="147" y="160"/>
                      <a:pt x="147" y="160"/>
                    </a:cubicBezTo>
                    <a:cubicBezTo>
                      <a:pt x="147" y="160"/>
                      <a:pt x="140" y="159"/>
                      <a:pt x="137" y="158"/>
                    </a:cubicBezTo>
                    <a:cubicBezTo>
                      <a:pt x="134" y="157"/>
                      <a:pt x="128" y="158"/>
                      <a:pt x="128" y="158"/>
                    </a:cubicBezTo>
                    <a:cubicBezTo>
                      <a:pt x="128" y="158"/>
                      <a:pt x="127" y="150"/>
                      <a:pt x="127" y="148"/>
                    </a:cubicBezTo>
                    <a:cubicBezTo>
                      <a:pt x="127" y="146"/>
                      <a:pt x="125" y="143"/>
                      <a:pt x="125" y="143"/>
                    </a:cubicBezTo>
                    <a:cubicBezTo>
                      <a:pt x="124" y="142"/>
                      <a:pt x="124" y="142"/>
                      <a:pt x="124" y="142"/>
                    </a:cubicBezTo>
                    <a:cubicBezTo>
                      <a:pt x="125" y="141"/>
                      <a:pt x="126" y="141"/>
                      <a:pt x="127" y="140"/>
                    </a:cubicBezTo>
                    <a:cubicBezTo>
                      <a:pt x="127" y="136"/>
                      <a:pt x="126" y="138"/>
                      <a:pt x="129" y="136"/>
                    </a:cubicBezTo>
                    <a:cubicBezTo>
                      <a:pt x="129" y="134"/>
                      <a:pt x="129" y="134"/>
                      <a:pt x="129" y="134"/>
                    </a:cubicBezTo>
                    <a:cubicBezTo>
                      <a:pt x="127" y="133"/>
                      <a:pt x="122" y="131"/>
                      <a:pt x="121" y="129"/>
                    </a:cubicBezTo>
                    <a:cubicBezTo>
                      <a:pt x="121" y="127"/>
                      <a:pt x="122" y="124"/>
                      <a:pt x="122" y="123"/>
                    </a:cubicBezTo>
                    <a:cubicBezTo>
                      <a:pt x="122" y="123"/>
                      <a:pt x="121" y="120"/>
                      <a:pt x="121" y="119"/>
                    </a:cubicBezTo>
                    <a:cubicBezTo>
                      <a:pt x="121" y="118"/>
                      <a:pt x="126" y="112"/>
                      <a:pt x="127" y="110"/>
                    </a:cubicBezTo>
                    <a:cubicBezTo>
                      <a:pt x="125" y="110"/>
                      <a:pt x="125" y="111"/>
                      <a:pt x="124" y="111"/>
                    </a:cubicBezTo>
                    <a:cubicBezTo>
                      <a:pt x="124" y="111"/>
                      <a:pt x="122" y="110"/>
                      <a:pt x="122" y="110"/>
                    </a:cubicBezTo>
                    <a:cubicBezTo>
                      <a:pt x="121" y="110"/>
                      <a:pt x="122" y="111"/>
                      <a:pt x="122" y="112"/>
                    </a:cubicBezTo>
                    <a:cubicBezTo>
                      <a:pt x="119" y="112"/>
                      <a:pt x="118" y="111"/>
                      <a:pt x="115" y="111"/>
                    </a:cubicBezTo>
                    <a:cubicBezTo>
                      <a:pt x="115" y="111"/>
                      <a:pt x="114" y="114"/>
                      <a:pt x="116" y="114"/>
                    </a:cubicBezTo>
                    <a:cubicBezTo>
                      <a:pt x="116" y="114"/>
                      <a:pt x="115" y="116"/>
                      <a:pt x="115" y="116"/>
                    </a:cubicBezTo>
                    <a:cubicBezTo>
                      <a:pt x="113" y="116"/>
                      <a:pt x="113" y="116"/>
                      <a:pt x="111" y="116"/>
                    </a:cubicBezTo>
                    <a:cubicBezTo>
                      <a:pt x="111" y="118"/>
                      <a:pt x="111" y="118"/>
                      <a:pt x="111" y="118"/>
                    </a:cubicBezTo>
                    <a:cubicBezTo>
                      <a:pt x="110" y="118"/>
                      <a:pt x="109" y="118"/>
                      <a:pt x="108" y="118"/>
                    </a:cubicBezTo>
                    <a:cubicBezTo>
                      <a:pt x="107" y="120"/>
                      <a:pt x="107" y="120"/>
                      <a:pt x="107" y="122"/>
                    </a:cubicBezTo>
                    <a:cubicBezTo>
                      <a:pt x="106" y="123"/>
                      <a:pt x="107" y="124"/>
                      <a:pt x="106" y="124"/>
                    </a:cubicBezTo>
                    <a:cubicBezTo>
                      <a:pt x="103" y="126"/>
                      <a:pt x="105" y="121"/>
                      <a:pt x="105" y="120"/>
                    </a:cubicBezTo>
                    <a:cubicBezTo>
                      <a:pt x="105" y="120"/>
                      <a:pt x="102" y="121"/>
                      <a:pt x="103" y="121"/>
                    </a:cubicBezTo>
                    <a:cubicBezTo>
                      <a:pt x="102" y="121"/>
                      <a:pt x="101" y="121"/>
                      <a:pt x="101" y="122"/>
                    </a:cubicBezTo>
                    <a:cubicBezTo>
                      <a:pt x="100" y="122"/>
                      <a:pt x="101" y="124"/>
                      <a:pt x="100" y="125"/>
                    </a:cubicBezTo>
                    <a:cubicBezTo>
                      <a:pt x="100" y="126"/>
                      <a:pt x="100" y="126"/>
                      <a:pt x="100" y="126"/>
                    </a:cubicBezTo>
                    <a:cubicBezTo>
                      <a:pt x="98" y="125"/>
                      <a:pt x="97" y="125"/>
                      <a:pt x="95" y="125"/>
                    </a:cubicBezTo>
                    <a:cubicBezTo>
                      <a:pt x="93" y="125"/>
                      <a:pt x="90" y="126"/>
                      <a:pt x="88" y="126"/>
                    </a:cubicBezTo>
                    <a:cubicBezTo>
                      <a:pt x="86" y="126"/>
                      <a:pt x="79" y="130"/>
                      <a:pt x="79" y="130"/>
                    </a:cubicBezTo>
                    <a:cubicBezTo>
                      <a:pt x="78" y="171"/>
                      <a:pt x="78" y="171"/>
                      <a:pt x="78" y="171"/>
                    </a:cubicBezTo>
                    <a:cubicBezTo>
                      <a:pt x="78" y="171"/>
                      <a:pt x="72" y="172"/>
                      <a:pt x="70" y="171"/>
                    </a:cubicBezTo>
                    <a:cubicBezTo>
                      <a:pt x="69" y="170"/>
                      <a:pt x="67" y="161"/>
                      <a:pt x="58" y="162"/>
                    </a:cubicBezTo>
                    <a:cubicBezTo>
                      <a:pt x="55" y="162"/>
                      <a:pt x="49" y="161"/>
                      <a:pt x="49" y="167"/>
                    </a:cubicBezTo>
                    <a:cubicBezTo>
                      <a:pt x="49" y="170"/>
                      <a:pt x="47" y="170"/>
                      <a:pt x="47" y="170"/>
                    </a:cubicBezTo>
                    <a:cubicBezTo>
                      <a:pt x="46" y="170"/>
                      <a:pt x="46" y="170"/>
                      <a:pt x="46" y="170"/>
                    </a:cubicBezTo>
                    <a:cubicBezTo>
                      <a:pt x="47" y="165"/>
                      <a:pt x="48" y="162"/>
                      <a:pt x="50" y="158"/>
                    </a:cubicBezTo>
                    <a:cubicBezTo>
                      <a:pt x="49" y="158"/>
                      <a:pt x="44" y="157"/>
                      <a:pt x="43" y="157"/>
                    </a:cubicBezTo>
                    <a:cubicBezTo>
                      <a:pt x="40" y="155"/>
                      <a:pt x="44" y="153"/>
                      <a:pt x="38" y="154"/>
                    </a:cubicBezTo>
                    <a:cubicBezTo>
                      <a:pt x="37" y="152"/>
                      <a:pt x="38" y="152"/>
                      <a:pt x="38" y="151"/>
                    </a:cubicBezTo>
                    <a:cubicBezTo>
                      <a:pt x="37" y="150"/>
                      <a:pt x="37" y="150"/>
                      <a:pt x="37" y="150"/>
                    </a:cubicBezTo>
                    <a:cubicBezTo>
                      <a:pt x="35" y="146"/>
                      <a:pt x="33" y="143"/>
                      <a:pt x="28" y="142"/>
                    </a:cubicBezTo>
                    <a:cubicBezTo>
                      <a:pt x="28" y="142"/>
                      <a:pt x="29" y="139"/>
                      <a:pt x="30" y="139"/>
                    </a:cubicBezTo>
                    <a:cubicBezTo>
                      <a:pt x="33" y="140"/>
                      <a:pt x="36" y="140"/>
                      <a:pt x="40" y="140"/>
                    </a:cubicBezTo>
                    <a:cubicBezTo>
                      <a:pt x="40" y="138"/>
                      <a:pt x="40" y="138"/>
                      <a:pt x="40" y="138"/>
                    </a:cubicBezTo>
                    <a:cubicBezTo>
                      <a:pt x="39" y="137"/>
                      <a:pt x="37" y="138"/>
                      <a:pt x="36" y="138"/>
                    </a:cubicBezTo>
                    <a:cubicBezTo>
                      <a:pt x="36" y="137"/>
                      <a:pt x="34" y="134"/>
                      <a:pt x="34" y="134"/>
                    </a:cubicBezTo>
                    <a:cubicBezTo>
                      <a:pt x="34" y="132"/>
                      <a:pt x="35" y="133"/>
                      <a:pt x="35" y="132"/>
                    </a:cubicBezTo>
                    <a:cubicBezTo>
                      <a:pt x="35" y="132"/>
                      <a:pt x="37" y="133"/>
                      <a:pt x="37" y="133"/>
                    </a:cubicBezTo>
                    <a:cubicBezTo>
                      <a:pt x="39" y="133"/>
                      <a:pt x="40" y="132"/>
                      <a:pt x="41" y="132"/>
                    </a:cubicBezTo>
                    <a:cubicBezTo>
                      <a:pt x="42" y="131"/>
                      <a:pt x="42" y="132"/>
                      <a:pt x="44" y="132"/>
                    </a:cubicBezTo>
                    <a:cubicBezTo>
                      <a:pt x="43" y="130"/>
                      <a:pt x="44" y="128"/>
                      <a:pt x="44" y="127"/>
                    </a:cubicBezTo>
                    <a:cubicBezTo>
                      <a:pt x="45" y="127"/>
                      <a:pt x="46" y="127"/>
                      <a:pt x="47" y="127"/>
                    </a:cubicBezTo>
                    <a:cubicBezTo>
                      <a:pt x="48" y="127"/>
                      <a:pt x="49" y="129"/>
                      <a:pt x="50" y="130"/>
                    </a:cubicBezTo>
                    <a:cubicBezTo>
                      <a:pt x="51" y="130"/>
                      <a:pt x="55" y="131"/>
                      <a:pt x="57" y="131"/>
                    </a:cubicBezTo>
                    <a:cubicBezTo>
                      <a:pt x="56" y="132"/>
                      <a:pt x="55" y="133"/>
                      <a:pt x="55" y="134"/>
                    </a:cubicBezTo>
                    <a:cubicBezTo>
                      <a:pt x="56" y="134"/>
                      <a:pt x="58" y="132"/>
                      <a:pt x="59" y="132"/>
                    </a:cubicBezTo>
                    <a:cubicBezTo>
                      <a:pt x="60" y="132"/>
                      <a:pt x="60" y="133"/>
                      <a:pt x="61" y="133"/>
                    </a:cubicBezTo>
                    <a:cubicBezTo>
                      <a:pt x="62" y="133"/>
                      <a:pt x="62" y="132"/>
                      <a:pt x="63" y="132"/>
                    </a:cubicBezTo>
                    <a:cubicBezTo>
                      <a:pt x="64" y="129"/>
                      <a:pt x="63" y="128"/>
                      <a:pt x="64" y="125"/>
                    </a:cubicBezTo>
                    <a:cubicBezTo>
                      <a:pt x="64" y="125"/>
                      <a:pt x="62" y="125"/>
                      <a:pt x="62" y="124"/>
                    </a:cubicBezTo>
                    <a:cubicBezTo>
                      <a:pt x="62" y="124"/>
                      <a:pt x="62" y="123"/>
                      <a:pt x="61" y="122"/>
                    </a:cubicBezTo>
                    <a:cubicBezTo>
                      <a:pt x="61" y="122"/>
                      <a:pt x="60" y="122"/>
                      <a:pt x="59" y="122"/>
                    </a:cubicBezTo>
                    <a:cubicBezTo>
                      <a:pt x="59" y="120"/>
                      <a:pt x="59" y="116"/>
                      <a:pt x="58" y="114"/>
                    </a:cubicBezTo>
                    <a:cubicBezTo>
                      <a:pt x="57" y="113"/>
                      <a:pt x="56" y="114"/>
                      <a:pt x="54" y="114"/>
                    </a:cubicBezTo>
                    <a:cubicBezTo>
                      <a:pt x="54" y="113"/>
                      <a:pt x="53" y="111"/>
                      <a:pt x="53" y="110"/>
                    </a:cubicBezTo>
                    <a:cubicBezTo>
                      <a:pt x="52" y="110"/>
                      <a:pt x="52" y="110"/>
                      <a:pt x="51" y="110"/>
                    </a:cubicBezTo>
                    <a:cubicBezTo>
                      <a:pt x="51" y="110"/>
                      <a:pt x="48" y="106"/>
                      <a:pt x="48" y="106"/>
                    </a:cubicBezTo>
                    <a:cubicBezTo>
                      <a:pt x="47" y="106"/>
                      <a:pt x="47" y="107"/>
                      <a:pt x="46" y="107"/>
                    </a:cubicBezTo>
                    <a:cubicBezTo>
                      <a:pt x="45" y="106"/>
                      <a:pt x="45" y="106"/>
                      <a:pt x="45" y="106"/>
                    </a:cubicBezTo>
                    <a:cubicBezTo>
                      <a:pt x="43" y="106"/>
                      <a:pt x="42" y="105"/>
                      <a:pt x="39" y="106"/>
                    </a:cubicBezTo>
                    <a:cubicBezTo>
                      <a:pt x="39" y="105"/>
                      <a:pt x="39" y="104"/>
                      <a:pt x="39" y="103"/>
                    </a:cubicBezTo>
                    <a:cubicBezTo>
                      <a:pt x="38" y="103"/>
                      <a:pt x="37" y="101"/>
                      <a:pt x="36" y="101"/>
                    </a:cubicBezTo>
                    <a:cubicBezTo>
                      <a:pt x="35" y="101"/>
                      <a:pt x="34" y="101"/>
                      <a:pt x="34" y="101"/>
                    </a:cubicBezTo>
                    <a:cubicBezTo>
                      <a:pt x="34" y="101"/>
                      <a:pt x="32" y="102"/>
                      <a:pt x="32" y="102"/>
                    </a:cubicBezTo>
                    <a:cubicBezTo>
                      <a:pt x="32" y="102"/>
                      <a:pt x="33" y="104"/>
                      <a:pt x="32" y="104"/>
                    </a:cubicBezTo>
                    <a:cubicBezTo>
                      <a:pt x="31" y="106"/>
                      <a:pt x="29" y="106"/>
                      <a:pt x="28" y="107"/>
                    </a:cubicBezTo>
                    <a:cubicBezTo>
                      <a:pt x="27" y="107"/>
                      <a:pt x="27" y="109"/>
                      <a:pt x="26" y="109"/>
                    </a:cubicBezTo>
                    <a:cubicBezTo>
                      <a:pt x="25" y="109"/>
                      <a:pt x="23" y="108"/>
                      <a:pt x="21" y="109"/>
                    </a:cubicBezTo>
                    <a:cubicBezTo>
                      <a:pt x="20" y="109"/>
                      <a:pt x="20" y="111"/>
                      <a:pt x="19" y="112"/>
                    </a:cubicBezTo>
                    <a:cubicBezTo>
                      <a:pt x="17" y="113"/>
                      <a:pt x="16" y="111"/>
                      <a:pt x="15" y="112"/>
                    </a:cubicBezTo>
                    <a:cubicBezTo>
                      <a:pt x="15" y="112"/>
                      <a:pt x="13" y="108"/>
                      <a:pt x="14" y="107"/>
                    </a:cubicBezTo>
                    <a:cubicBezTo>
                      <a:pt x="15" y="106"/>
                      <a:pt x="14" y="103"/>
                      <a:pt x="14" y="103"/>
                    </a:cubicBezTo>
                    <a:cubicBezTo>
                      <a:pt x="10" y="95"/>
                      <a:pt x="10" y="95"/>
                      <a:pt x="10" y="95"/>
                    </a:cubicBezTo>
                    <a:cubicBezTo>
                      <a:pt x="10" y="95"/>
                      <a:pt x="6" y="97"/>
                      <a:pt x="6" y="95"/>
                    </a:cubicBezTo>
                    <a:cubicBezTo>
                      <a:pt x="5" y="93"/>
                      <a:pt x="7" y="89"/>
                      <a:pt x="4" y="88"/>
                    </a:cubicBezTo>
                    <a:cubicBezTo>
                      <a:pt x="2" y="87"/>
                      <a:pt x="0" y="85"/>
                      <a:pt x="1" y="84"/>
                    </a:cubicBezTo>
                    <a:cubicBezTo>
                      <a:pt x="3" y="82"/>
                      <a:pt x="5" y="78"/>
                      <a:pt x="5" y="78"/>
                    </a:cubicBezTo>
                    <a:cubicBezTo>
                      <a:pt x="5" y="78"/>
                      <a:pt x="7" y="77"/>
                      <a:pt x="7" y="75"/>
                    </a:cubicBezTo>
                    <a:cubicBezTo>
                      <a:pt x="6" y="73"/>
                      <a:pt x="4" y="72"/>
                      <a:pt x="4" y="72"/>
                    </a:cubicBezTo>
                    <a:cubicBezTo>
                      <a:pt x="4" y="72"/>
                      <a:pt x="8" y="68"/>
                      <a:pt x="7" y="64"/>
                    </a:cubicBezTo>
                    <a:cubicBezTo>
                      <a:pt x="6" y="63"/>
                      <a:pt x="10" y="64"/>
                      <a:pt x="11" y="62"/>
                    </a:cubicBezTo>
                    <a:cubicBezTo>
                      <a:pt x="11" y="60"/>
                      <a:pt x="14" y="57"/>
                      <a:pt x="15" y="59"/>
                    </a:cubicBezTo>
                    <a:cubicBezTo>
                      <a:pt x="16" y="61"/>
                      <a:pt x="18" y="65"/>
                      <a:pt x="18" y="65"/>
                    </a:cubicBezTo>
                    <a:cubicBezTo>
                      <a:pt x="24" y="62"/>
                      <a:pt x="24" y="62"/>
                      <a:pt x="24" y="62"/>
                    </a:cubicBezTo>
                    <a:cubicBezTo>
                      <a:pt x="24" y="62"/>
                      <a:pt x="19" y="59"/>
                      <a:pt x="20" y="57"/>
                    </a:cubicBezTo>
                    <a:cubicBezTo>
                      <a:pt x="20" y="55"/>
                      <a:pt x="20" y="51"/>
                      <a:pt x="22" y="51"/>
                    </a:cubicBezTo>
                    <a:cubicBezTo>
                      <a:pt x="24" y="51"/>
                      <a:pt x="24" y="47"/>
                      <a:pt x="26" y="48"/>
                    </a:cubicBezTo>
                    <a:cubicBezTo>
                      <a:pt x="28" y="49"/>
                      <a:pt x="32" y="48"/>
                      <a:pt x="32" y="48"/>
                    </a:cubicBezTo>
                    <a:cubicBezTo>
                      <a:pt x="32" y="48"/>
                      <a:pt x="38" y="43"/>
                      <a:pt x="39" y="41"/>
                    </a:cubicBezTo>
                    <a:cubicBezTo>
                      <a:pt x="40" y="39"/>
                      <a:pt x="38" y="38"/>
                      <a:pt x="38" y="38"/>
                    </a:cubicBezTo>
                    <a:cubicBezTo>
                      <a:pt x="45" y="37"/>
                      <a:pt x="45" y="37"/>
                      <a:pt x="45" y="37"/>
                    </a:cubicBezTo>
                    <a:cubicBezTo>
                      <a:pt x="45" y="39"/>
                      <a:pt x="45" y="39"/>
                      <a:pt x="45" y="39"/>
                    </a:cubicBezTo>
                    <a:cubicBezTo>
                      <a:pt x="50" y="39"/>
                      <a:pt x="50" y="39"/>
                      <a:pt x="50" y="39"/>
                    </a:cubicBezTo>
                    <a:cubicBezTo>
                      <a:pt x="50" y="39"/>
                      <a:pt x="48" y="37"/>
                      <a:pt x="50" y="37"/>
                    </a:cubicBezTo>
                    <a:cubicBezTo>
                      <a:pt x="51" y="37"/>
                      <a:pt x="53" y="37"/>
                      <a:pt x="54" y="39"/>
                    </a:cubicBezTo>
                    <a:cubicBezTo>
                      <a:pt x="55" y="41"/>
                      <a:pt x="55" y="43"/>
                      <a:pt x="55" y="43"/>
                    </a:cubicBezTo>
                    <a:cubicBezTo>
                      <a:pt x="55" y="43"/>
                      <a:pt x="58" y="43"/>
                      <a:pt x="60" y="44"/>
                    </a:cubicBezTo>
                    <a:cubicBezTo>
                      <a:pt x="62" y="45"/>
                      <a:pt x="63" y="46"/>
                      <a:pt x="65" y="48"/>
                    </a:cubicBezTo>
                    <a:cubicBezTo>
                      <a:pt x="66" y="50"/>
                      <a:pt x="66" y="52"/>
                      <a:pt x="68" y="52"/>
                    </a:cubicBezTo>
                    <a:cubicBezTo>
                      <a:pt x="70" y="52"/>
                      <a:pt x="72" y="51"/>
                      <a:pt x="73" y="53"/>
                    </a:cubicBezTo>
                    <a:cubicBezTo>
                      <a:pt x="74" y="55"/>
                      <a:pt x="71" y="58"/>
                      <a:pt x="71" y="58"/>
                    </a:cubicBezTo>
                    <a:cubicBezTo>
                      <a:pt x="76" y="59"/>
                      <a:pt x="76" y="59"/>
                      <a:pt x="76" y="59"/>
                    </a:cubicBezTo>
                    <a:cubicBezTo>
                      <a:pt x="76" y="59"/>
                      <a:pt x="76" y="53"/>
                      <a:pt x="77" y="53"/>
                    </a:cubicBezTo>
                    <a:cubicBezTo>
                      <a:pt x="78" y="53"/>
                      <a:pt x="78" y="51"/>
                      <a:pt x="81" y="52"/>
                    </a:cubicBezTo>
                    <a:cubicBezTo>
                      <a:pt x="85" y="54"/>
                      <a:pt x="87" y="56"/>
                      <a:pt x="89" y="54"/>
                    </a:cubicBezTo>
                    <a:cubicBezTo>
                      <a:pt x="91" y="53"/>
                      <a:pt x="93" y="51"/>
                      <a:pt x="96" y="50"/>
                    </a:cubicBezTo>
                    <a:cubicBezTo>
                      <a:pt x="99" y="49"/>
                      <a:pt x="99" y="53"/>
                      <a:pt x="101" y="53"/>
                    </a:cubicBezTo>
                    <a:cubicBezTo>
                      <a:pt x="103" y="52"/>
                      <a:pt x="102" y="50"/>
                      <a:pt x="104" y="52"/>
                    </a:cubicBezTo>
                    <a:cubicBezTo>
                      <a:pt x="106" y="53"/>
                      <a:pt x="109" y="58"/>
                      <a:pt x="109" y="58"/>
                    </a:cubicBezTo>
                    <a:cubicBezTo>
                      <a:pt x="114" y="60"/>
                      <a:pt x="114" y="60"/>
                      <a:pt x="114" y="60"/>
                    </a:cubicBezTo>
                    <a:cubicBezTo>
                      <a:pt x="118" y="60"/>
                      <a:pt x="118" y="60"/>
                      <a:pt x="118" y="60"/>
                    </a:cubicBezTo>
                    <a:cubicBezTo>
                      <a:pt x="118" y="60"/>
                      <a:pt x="122" y="58"/>
                      <a:pt x="122" y="54"/>
                    </a:cubicBezTo>
                    <a:cubicBezTo>
                      <a:pt x="119" y="52"/>
                      <a:pt x="116" y="51"/>
                      <a:pt x="116" y="51"/>
                    </a:cubicBezTo>
                    <a:cubicBezTo>
                      <a:pt x="113" y="48"/>
                      <a:pt x="113" y="48"/>
                      <a:pt x="113" y="48"/>
                    </a:cubicBezTo>
                    <a:cubicBezTo>
                      <a:pt x="116" y="42"/>
                      <a:pt x="116" y="42"/>
                      <a:pt x="116" y="42"/>
                    </a:cubicBezTo>
                    <a:cubicBezTo>
                      <a:pt x="116" y="39"/>
                      <a:pt x="116" y="39"/>
                      <a:pt x="116" y="39"/>
                    </a:cubicBezTo>
                    <a:cubicBezTo>
                      <a:pt x="112" y="34"/>
                      <a:pt x="112" y="34"/>
                      <a:pt x="112" y="34"/>
                    </a:cubicBezTo>
                    <a:cubicBezTo>
                      <a:pt x="112" y="30"/>
                      <a:pt x="112" y="30"/>
                      <a:pt x="112" y="30"/>
                    </a:cubicBezTo>
                    <a:cubicBezTo>
                      <a:pt x="113" y="26"/>
                      <a:pt x="113" y="26"/>
                      <a:pt x="113" y="26"/>
                    </a:cubicBezTo>
                    <a:cubicBezTo>
                      <a:pt x="113" y="21"/>
                      <a:pt x="113" y="21"/>
                      <a:pt x="113" y="21"/>
                    </a:cubicBezTo>
                    <a:cubicBezTo>
                      <a:pt x="118" y="17"/>
                      <a:pt x="118" y="17"/>
                      <a:pt x="118" y="17"/>
                    </a:cubicBezTo>
                    <a:cubicBezTo>
                      <a:pt x="118" y="13"/>
                      <a:pt x="118" y="13"/>
                      <a:pt x="118" y="13"/>
                    </a:cubicBezTo>
                    <a:cubicBezTo>
                      <a:pt x="117" y="10"/>
                      <a:pt x="117" y="10"/>
                      <a:pt x="117" y="10"/>
                    </a:cubicBezTo>
                    <a:cubicBezTo>
                      <a:pt x="121" y="8"/>
                      <a:pt x="121" y="8"/>
                      <a:pt x="121" y="8"/>
                    </a:cubicBezTo>
                    <a:cubicBezTo>
                      <a:pt x="125" y="10"/>
                      <a:pt x="125" y="10"/>
                      <a:pt x="125" y="10"/>
                    </a:cubicBezTo>
                    <a:cubicBezTo>
                      <a:pt x="131" y="10"/>
                      <a:pt x="131" y="10"/>
                      <a:pt x="131" y="10"/>
                    </a:cubicBezTo>
                    <a:cubicBezTo>
                      <a:pt x="134" y="12"/>
                      <a:pt x="134" y="12"/>
                      <a:pt x="134" y="12"/>
                    </a:cubicBezTo>
                    <a:cubicBezTo>
                      <a:pt x="142" y="11"/>
                      <a:pt x="142" y="11"/>
                      <a:pt x="142" y="11"/>
                    </a:cubicBezTo>
                    <a:cubicBezTo>
                      <a:pt x="148" y="9"/>
                      <a:pt x="148" y="9"/>
                      <a:pt x="148" y="9"/>
                    </a:cubicBezTo>
                    <a:cubicBezTo>
                      <a:pt x="157" y="9"/>
                      <a:pt x="157" y="9"/>
                      <a:pt x="157" y="9"/>
                    </a:cubicBezTo>
                    <a:cubicBezTo>
                      <a:pt x="165" y="7"/>
                      <a:pt x="165" y="7"/>
                      <a:pt x="165" y="7"/>
                    </a:cubicBezTo>
                    <a:cubicBezTo>
                      <a:pt x="168" y="7"/>
                      <a:pt x="168" y="7"/>
                      <a:pt x="168" y="7"/>
                    </a:cubicBezTo>
                    <a:cubicBezTo>
                      <a:pt x="176" y="2"/>
                      <a:pt x="176" y="2"/>
                      <a:pt x="176" y="2"/>
                    </a:cubicBezTo>
                    <a:cubicBezTo>
                      <a:pt x="182" y="0"/>
                      <a:pt x="182" y="0"/>
                      <a:pt x="182" y="0"/>
                    </a:cubicBezTo>
                    <a:cubicBezTo>
                      <a:pt x="186" y="0"/>
                      <a:pt x="186" y="0"/>
                      <a:pt x="186" y="0"/>
                    </a:cubicBezTo>
                    <a:cubicBezTo>
                      <a:pt x="188" y="2"/>
                      <a:pt x="188" y="2"/>
                      <a:pt x="188" y="2"/>
                    </a:cubicBezTo>
                    <a:cubicBezTo>
                      <a:pt x="191" y="3"/>
                      <a:pt x="191" y="3"/>
                      <a:pt x="191" y="3"/>
                    </a:cubicBezTo>
                    <a:cubicBezTo>
                      <a:pt x="191" y="6"/>
                      <a:pt x="191" y="6"/>
                      <a:pt x="191" y="6"/>
                    </a:cubicBezTo>
                    <a:cubicBezTo>
                      <a:pt x="190" y="10"/>
                      <a:pt x="190" y="10"/>
                      <a:pt x="190" y="10"/>
                    </a:cubicBezTo>
                    <a:cubicBezTo>
                      <a:pt x="193" y="10"/>
                      <a:pt x="193" y="10"/>
                      <a:pt x="193" y="10"/>
                    </a:cubicBezTo>
                    <a:cubicBezTo>
                      <a:pt x="197" y="15"/>
                      <a:pt x="197" y="15"/>
                      <a:pt x="197" y="15"/>
                    </a:cubicBezTo>
                    <a:cubicBezTo>
                      <a:pt x="200" y="13"/>
                      <a:pt x="200" y="13"/>
                      <a:pt x="200" y="13"/>
                    </a:cubicBezTo>
                    <a:cubicBezTo>
                      <a:pt x="204" y="9"/>
                      <a:pt x="204" y="9"/>
                      <a:pt x="204" y="9"/>
                    </a:cubicBezTo>
                    <a:cubicBezTo>
                      <a:pt x="210" y="12"/>
                      <a:pt x="210" y="12"/>
                      <a:pt x="210" y="12"/>
                    </a:cubicBezTo>
                    <a:cubicBezTo>
                      <a:pt x="211" y="14"/>
                      <a:pt x="211" y="14"/>
                      <a:pt x="211" y="14"/>
                    </a:cubicBezTo>
                    <a:cubicBezTo>
                      <a:pt x="214" y="12"/>
                      <a:pt x="214" y="12"/>
                      <a:pt x="214" y="12"/>
                    </a:cubicBezTo>
                    <a:cubicBezTo>
                      <a:pt x="214" y="12"/>
                      <a:pt x="216" y="11"/>
                      <a:pt x="217" y="14"/>
                    </a:cubicBezTo>
                    <a:cubicBezTo>
                      <a:pt x="218" y="17"/>
                      <a:pt x="217" y="17"/>
                      <a:pt x="217" y="17"/>
                    </a:cubicBezTo>
                    <a:cubicBezTo>
                      <a:pt x="225" y="18"/>
                      <a:pt x="225" y="18"/>
                      <a:pt x="225" y="18"/>
                    </a:cubicBezTo>
                    <a:cubicBezTo>
                      <a:pt x="232" y="15"/>
                      <a:pt x="232" y="15"/>
                      <a:pt x="232" y="15"/>
                    </a:cubicBezTo>
                    <a:cubicBezTo>
                      <a:pt x="240" y="11"/>
                      <a:pt x="240" y="11"/>
                      <a:pt x="240" y="11"/>
                    </a:cubicBezTo>
                    <a:cubicBezTo>
                      <a:pt x="247" y="8"/>
                      <a:pt x="247" y="8"/>
                      <a:pt x="247" y="8"/>
                    </a:cubicBezTo>
                    <a:cubicBezTo>
                      <a:pt x="254" y="7"/>
                      <a:pt x="254" y="7"/>
                      <a:pt x="254" y="7"/>
                    </a:cubicBezTo>
                    <a:cubicBezTo>
                      <a:pt x="255" y="8"/>
                      <a:pt x="255" y="8"/>
                      <a:pt x="255" y="8"/>
                    </a:cubicBezTo>
                    <a:cubicBezTo>
                      <a:pt x="255" y="13"/>
                      <a:pt x="255" y="13"/>
                      <a:pt x="255" y="13"/>
                    </a:cubicBezTo>
                    <a:cubicBezTo>
                      <a:pt x="261" y="22"/>
                      <a:pt x="261" y="22"/>
                      <a:pt x="261" y="22"/>
                    </a:cubicBezTo>
                    <a:cubicBezTo>
                      <a:pt x="267" y="37"/>
                      <a:pt x="267" y="37"/>
                      <a:pt x="267" y="37"/>
                    </a:cubicBezTo>
                    <a:cubicBezTo>
                      <a:pt x="272" y="47"/>
                      <a:pt x="272" y="47"/>
                      <a:pt x="272" y="47"/>
                    </a:cubicBezTo>
                    <a:cubicBezTo>
                      <a:pt x="272" y="47"/>
                      <a:pt x="275" y="53"/>
                      <a:pt x="278" y="53"/>
                    </a:cubicBezTo>
                    <a:cubicBezTo>
                      <a:pt x="280" y="53"/>
                      <a:pt x="286" y="51"/>
                      <a:pt x="286" y="51"/>
                    </a:cubicBezTo>
                    <a:cubicBezTo>
                      <a:pt x="295" y="51"/>
                      <a:pt x="295" y="51"/>
                      <a:pt x="295" y="51"/>
                    </a:cubicBezTo>
                    <a:cubicBezTo>
                      <a:pt x="298" y="51"/>
                      <a:pt x="303" y="58"/>
                      <a:pt x="303" y="58"/>
                    </a:cubicBezTo>
                    <a:cubicBezTo>
                      <a:pt x="305" y="64"/>
                      <a:pt x="305" y="64"/>
                      <a:pt x="305" y="64"/>
                    </a:cubicBezTo>
                    <a:cubicBezTo>
                      <a:pt x="307" y="70"/>
                      <a:pt x="307" y="70"/>
                      <a:pt x="307" y="70"/>
                    </a:cubicBezTo>
                    <a:cubicBezTo>
                      <a:pt x="308" y="73"/>
                      <a:pt x="308" y="73"/>
                      <a:pt x="308" y="73"/>
                    </a:cubicBezTo>
                    <a:cubicBezTo>
                      <a:pt x="313" y="75"/>
                      <a:pt x="313" y="75"/>
                      <a:pt x="313" y="75"/>
                    </a:cubicBezTo>
                    <a:cubicBezTo>
                      <a:pt x="319" y="74"/>
                      <a:pt x="319" y="74"/>
                      <a:pt x="319" y="74"/>
                    </a:cubicBezTo>
                    <a:cubicBezTo>
                      <a:pt x="330" y="69"/>
                      <a:pt x="330" y="69"/>
                      <a:pt x="330" y="69"/>
                    </a:cubicBezTo>
                    <a:cubicBezTo>
                      <a:pt x="336" y="68"/>
                      <a:pt x="336" y="68"/>
                      <a:pt x="336" y="68"/>
                    </a:cubicBezTo>
                    <a:cubicBezTo>
                      <a:pt x="341" y="68"/>
                      <a:pt x="341" y="68"/>
                      <a:pt x="341" y="68"/>
                    </a:cubicBezTo>
                    <a:cubicBezTo>
                      <a:pt x="343" y="72"/>
                      <a:pt x="343" y="72"/>
                      <a:pt x="343" y="72"/>
                    </a:cubicBezTo>
                    <a:cubicBezTo>
                      <a:pt x="346" y="76"/>
                      <a:pt x="346" y="76"/>
                      <a:pt x="346" y="76"/>
                    </a:cubicBezTo>
                    <a:cubicBezTo>
                      <a:pt x="348" y="78"/>
                      <a:pt x="348" y="78"/>
                      <a:pt x="348" y="78"/>
                    </a:cubicBezTo>
                    <a:cubicBezTo>
                      <a:pt x="354" y="79"/>
                      <a:pt x="354" y="79"/>
                      <a:pt x="354" y="79"/>
                    </a:cubicBezTo>
                    <a:lnTo>
                      <a:pt x="354" y="80"/>
                    </a:lnTo>
                    <a:close/>
                    <a:moveTo>
                      <a:pt x="54" y="134"/>
                    </a:moveTo>
                    <a:cubicBezTo>
                      <a:pt x="55" y="134"/>
                      <a:pt x="52" y="138"/>
                      <a:pt x="52" y="139"/>
                    </a:cubicBezTo>
                    <a:cubicBezTo>
                      <a:pt x="48" y="143"/>
                      <a:pt x="49" y="141"/>
                      <a:pt x="45" y="139"/>
                    </a:cubicBezTo>
                    <a:cubicBezTo>
                      <a:pt x="51" y="139"/>
                      <a:pt x="50" y="137"/>
                      <a:pt x="54" y="134"/>
                    </a:cubicBezTo>
                    <a:close/>
                    <a:moveTo>
                      <a:pt x="118" y="116"/>
                    </a:moveTo>
                    <a:cubicBezTo>
                      <a:pt x="118" y="117"/>
                      <a:pt x="118" y="117"/>
                      <a:pt x="118" y="117"/>
                    </a:cubicBezTo>
                    <a:cubicBezTo>
                      <a:pt x="121" y="117"/>
                      <a:pt x="120" y="116"/>
                      <a:pt x="118" y="116"/>
                    </a:cubicBezTo>
                    <a:close/>
                    <a:moveTo>
                      <a:pt x="283" y="98"/>
                    </a:moveTo>
                    <a:cubicBezTo>
                      <a:pt x="283" y="98"/>
                      <a:pt x="284" y="101"/>
                      <a:pt x="284" y="101"/>
                    </a:cubicBezTo>
                    <a:cubicBezTo>
                      <a:pt x="284" y="102"/>
                      <a:pt x="282" y="102"/>
                      <a:pt x="281" y="102"/>
                    </a:cubicBezTo>
                    <a:cubicBezTo>
                      <a:pt x="281" y="103"/>
                      <a:pt x="281" y="104"/>
                      <a:pt x="281" y="105"/>
                    </a:cubicBezTo>
                    <a:cubicBezTo>
                      <a:pt x="279" y="105"/>
                      <a:pt x="278" y="106"/>
                      <a:pt x="276" y="106"/>
                    </a:cubicBezTo>
                    <a:cubicBezTo>
                      <a:pt x="276" y="106"/>
                      <a:pt x="276" y="108"/>
                      <a:pt x="276" y="108"/>
                    </a:cubicBezTo>
                    <a:cubicBezTo>
                      <a:pt x="274" y="109"/>
                      <a:pt x="272" y="107"/>
                      <a:pt x="272" y="107"/>
                    </a:cubicBezTo>
                    <a:cubicBezTo>
                      <a:pt x="269" y="107"/>
                      <a:pt x="264" y="109"/>
                      <a:pt x="262" y="108"/>
                    </a:cubicBezTo>
                    <a:cubicBezTo>
                      <a:pt x="261" y="108"/>
                      <a:pt x="257" y="105"/>
                      <a:pt x="255" y="107"/>
                    </a:cubicBezTo>
                    <a:cubicBezTo>
                      <a:pt x="254" y="108"/>
                      <a:pt x="256" y="108"/>
                      <a:pt x="254" y="108"/>
                    </a:cubicBezTo>
                    <a:cubicBezTo>
                      <a:pt x="254" y="108"/>
                      <a:pt x="254" y="106"/>
                      <a:pt x="254" y="106"/>
                    </a:cubicBezTo>
                    <a:cubicBezTo>
                      <a:pt x="254" y="106"/>
                      <a:pt x="252" y="106"/>
                      <a:pt x="252" y="106"/>
                    </a:cubicBezTo>
                    <a:cubicBezTo>
                      <a:pt x="251" y="107"/>
                      <a:pt x="252" y="108"/>
                      <a:pt x="252" y="109"/>
                    </a:cubicBezTo>
                    <a:cubicBezTo>
                      <a:pt x="251" y="109"/>
                      <a:pt x="249" y="111"/>
                      <a:pt x="249" y="111"/>
                    </a:cubicBezTo>
                    <a:cubicBezTo>
                      <a:pt x="248" y="111"/>
                      <a:pt x="246" y="110"/>
                      <a:pt x="244" y="111"/>
                    </a:cubicBezTo>
                    <a:cubicBezTo>
                      <a:pt x="244" y="111"/>
                      <a:pt x="240" y="116"/>
                      <a:pt x="240" y="116"/>
                    </a:cubicBezTo>
                    <a:cubicBezTo>
                      <a:pt x="239" y="117"/>
                      <a:pt x="238" y="116"/>
                      <a:pt x="236" y="117"/>
                    </a:cubicBezTo>
                    <a:cubicBezTo>
                      <a:pt x="236" y="117"/>
                      <a:pt x="233" y="121"/>
                      <a:pt x="232" y="122"/>
                    </a:cubicBezTo>
                    <a:cubicBezTo>
                      <a:pt x="231" y="122"/>
                      <a:pt x="231" y="122"/>
                      <a:pt x="231" y="122"/>
                    </a:cubicBezTo>
                    <a:cubicBezTo>
                      <a:pt x="230" y="124"/>
                      <a:pt x="230" y="125"/>
                      <a:pt x="230" y="126"/>
                    </a:cubicBezTo>
                    <a:cubicBezTo>
                      <a:pt x="229" y="126"/>
                      <a:pt x="229" y="126"/>
                      <a:pt x="229" y="126"/>
                    </a:cubicBezTo>
                    <a:cubicBezTo>
                      <a:pt x="229" y="128"/>
                      <a:pt x="230" y="129"/>
                      <a:pt x="230" y="130"/>
                    </a:cubicBezTo>
                    <a:cubicBezTo>
                      <a:pt x="230" y="130"/>
                      <a:pt x="231" y="129"/>
                      <a:pt x="232" y="130"/>
                    </a:cubicBezTo>
                    <a:cubicBezTo>
                      <a:pt x="232" y="130"/>
                      <a:pt x="231" y="131"/>
                      <a:pt x="232" y="132"/>
                    </a:cubicBezTo>
                    <a:cubicBezTo>
                      <a:pt x="230" y="131"/>
                      <a:pt x="228" y="130"/>
                      <a:pt x="226" y="129"/>
                    </a:cubicBezTo>
                    <a:cubicBezTo>
                      <a:pt x="226" y="129"/>
                      <a:pt x="228" y="123"/>
                      <a:pt x="226" y="124"/>
                    </a:cubicBezTo>
                    <a:cubicBezTo>
                      <a:pt x="226" y="123"/>
                      <a:pt x="226" y="123"/>
                      <a:pt x="226" y="123"/>
                    </a:cubicBezTo>
                    <a:cubicBezTo>
                      <a:pt x="226" y="123"/>
                      <a:pt x="224" y="123"/>
                      <a:pt x="224" y="123"/>
                    </a:cubicBezTo>
                    <a:cubicBezTo>
                      <a:pt x="224" y="122"/>
                      <a:pt x="223" y="122"/>
                      <a:pt x="223" y="120"/>
                    </a:cubicBezTo>
                    <a:cubicBezTo>
                      <a:pt x="224" y="117"/>
                      <a:pt x="226" y="118"/>
                      <a:pt x="228" y="117"/>
                    </a:cubicBezTo>
                    <a:cubicBezTo>
                      <a:pt x="228" y="115"/>
                      <a:pt x="228" y="115"/>
                      <a:pt x="228" y="115"/>
                    </a:cubicBezTo>
                    <a:cubicBezTo>
                      <a:pt x="229" y="114"/>
                      <a:pt x="231" y="112"/>
                      <a:pt x="232" y="111"/>
                    </a:cubicBezTo>
                    <a:cubicBezTo>
                      <a:pt x="232" y="111"/>
                      <a:pt x="233" y="112"/>
                      <a:pt x="234" y="112"/>
                    </a:cubicBezTo>
                    <a:cubicBezTo>
                      <a:pt x="234" y="111"/>
                      <a:pt x="234" y="109"/>
                      <a:pt x="235" y="108"/>
                    </a:cubicBezTo>
                    <a:cubicBezTo>
                      <a:pt x="236" y="107"/>
                      <a:pt x="238" y="108"/>
                      <a:pt x="239" y="107"/>
                    </a:cubicBezTo>
                    <a:cubicBezTo>
                      <a:pt x="239" y="107"/>
                      <a:pt x="240" y="105"/>
                      <a:pt x="240" y="104"/>
                    </a:cubicBezTo>
                    <a:cubicBezTo>
                      <a:pt x="244" y="103"/>
                      <a:pt x="247" y="105"/>
                      <a:pt x="250" y="104"/>
                    </a:cubicBezTo>
                    <a:cubicBezTo>
                      <a:pt x="252" y="103"/>
                      <a:pt x="252" y="103"/>
                      <a:pt x="252" y="103"/>
                    </a:cubicBezTo>
                    <a:cubicBezTo>
                      <a:pt x="252" y="103"/>
                      <a:pt x="258" y="103"/>
                      <a:pt x="258" y="103"/>
                    </a:cubicBezTo>
                    <a:cubicBezTo>
                      <a:pt x="258" y="104"/>
                      <a:pt x="258" y="104"/>
                      <a:pt x="258" y="104"/>
                    </a:cubicBezTo>
                    <a:cubicBezTo>
                      <a:pt x="260" y="104"/>
                      <a:pt x="260" y="103"/>
                      <a:pt x="262" y="104"/>
                    </a:cubicBezTo>
                    <a:cubicBezTo>
                      <a:pt x="262" y="104"/>
                      <a:pt x="264" y="106"/>
                      <a:pt x="264" y="106"/>
                    </a:cubicBezTo>
                    <a:cubicBezTo>
                      <a:pt x="267" y="106"/>
                      <a:pt x="269" y="104"/>
                      <a:pt x="270" y="104"/>
                    </a:cubicBezTo>
                    <a:cubicBezTo>
                      <a:pt x="275" y="106"/>
                      <a:pt x="275" y="106"/>
                      <a:pt x="275" y="106"/>
                    </a:cubicBezTo>
                    <a:cubicBezTo>
                      <a:pt x="278" y="100"/>
                      <a:pt x="278" y="101"/>
                      <a:pt x="283" y="9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06" name="Freeform 185">
                <a:extLst>
                  <a:ext uri="{FF2B5EF4-FFF2-40B4-BE49-F238E27FC236}">
                    <a16:creationId xmlns:a16="http://schemas.microsoft.com/office/drawing/2014/main" id="{C32F39F6-3584-EED1-E4E2-F19E7C0AF27E}"/>
                  </a:ext>
                </a:extLst>
              </p:cNvPr>
              <p:cNvSpPr>
                <a:spLocks noEditPoints="1"/>
              </p:cNvSpPr>
              <p:nvPr/>
            </p:nvSpPr>
            <p:spPr bwMode="auto">
              <a:xfrm>
                <a:off x="3912" y="1004"/>
                <a:ext cx="694" cy="354"/>
              </a:xfrm>
              <a:custGeom>
                <a:avLst/>
                <a:gdLst>
                  <a:gd name="T0" fmla="*/ 329 w 354"/>
                  <a:gd name="T1" fmla="*/ 91 h 180"/>
                  <a:gd name="T2" fmla="*/ 312 w 354"/>
                  <a:gd name="T3" fmla="*/ 104 h 180"/>
                  <a:gd name="T4" fmla="*/ 308 w 354"/>
                  <a:gd name="T5" fmla="*/ 127 h 180"/>
                  <a:gd name="T6" fmla="*/ 282 w 354"/>
                  <a:gd name="T7" fmla="*/ 136 h 180"/>
                  <a:gd name="T8" fmla="*/ 286 w 354"/>
                  <a:gd name="T9" fmla="*/ 162 h 180"/>
                  <a:gd name="T10" fmla="*/ 253 w 354"/>
                  <a:gd name="T11" fmla="*/ 154 h 180"/>
                  <a:gd name="T12" fmla="*/ 228 w 354"/>
                  <a:gd name="T13" fmla="*/ 160 h 180"/>
                  <a:gd name="T14" fmla="*/ 197 w 354"/>
                  <a:gd name="T15" fmla="*/ 165 h 180"/>
                  <a:gd name="T16" fmla="*/ 179 w 354"/>
                  <a:gd name="T17" fmla="*/ 179 h 180"/>
                  <a:gd name="T18" fmla="*/ 161 w 354"/>
                  <a:gd name="T19" fmla="*/ 169 h 180"/>
                  <a:gd name="T20" fmla="*/ 147 w 354"/>
                  <a:gd name="T21" fmla="*/ 160 h 180"/>
                  <a:gd name="T22" fmla="*/ 124 w 354"/>
                  <a:gd name="T23" fmla="*/ 142 h 180"/>
                  <a:gd name="T24" fmla="*/ 122 w 354"/>
                  <a:gd name="T25" fmla="*/ 123 h 180"/>
                  <a:gd name="T26" fmla="*/ 122 w 354"/>
                  <a:gd name="T27" fmla="*/ 112 h 180"/>
                  <a:gd name="T28" fmla="*/ 111 w 354"/>
                  <a:gd name="T29" fmla="*/ 118 h 180"/>
                  <a:gd name="T30" fmla="*/ 103 w 354"/>
                  <a:gd name="T31" fmla="*/ 121 h 180"/>
                  <a:gd name="T32" fmla="*/ 88 w 354"/>
                  <a:gd name="T33" fmla="*/ 126 h 180"/>
                  <a:gd name="T34" fmla="*/ 49 w 354"/>
                  <a:gd name="T35" fmla="*/ 167 h 180"/>
                  <a:gd name="T36" fmla="*/ 38 w 354"/>
                  <a:gd name="T37" fmla="*/ 154 h 180"/>
                  <a:gd name="T38" fmla="*/ 40 w 354"/>
                  <a:gd name="T39" fmla="*/ 140 h 180"/>
                  <a:gd name="T40" fmla="*/ 37 w 354"/>
                  <a:gd name="T41" fmla="*/ 133 h 180"/>
                  <a:gd name="T42" fmla="*/ 50 w 354"/>
                  <a:gd name="T43" fmla="*/ 130 h 180"/>
                  <a:gd name="T44" fmla="*/ 63 w 354"/>
                  <a:gd name="T45" fmla="*/ 132 h 180"/>
                  <a:gd name="T46" fmla="*/ 58 w 354"/>
                  <a:gd name="T47" fmla="*/ 114 h 180"/>
                  <a:gd name="T48" fmla="*/ 46 w 354"/>
                  <a:gd name="T49" fmla="*/ 107 h 180"/>
                  <a:gd name="T50" fmla="*/ 34 w 354"/>
                  <a:gd name="T51" fmla="*/ 101 h 180"/>
                  <a:gd name="T52" fmla="*/ 21 w 354"/>
                  <a:gd name="T53" fmla="*/ 109 h 180"/>
                  <a:gd name="T54" fmla="*/ 10 w 354"/>
                  <a:gd name="T55" fmla="*/ 95 h 180"/>
                  <a:gd name="T56" fmla="*/ 7 w 354"/>
                  <a:gd name="T57" fmla="*/ 75 h 180"/>
                  <a:gd name="T58" fmla="*/ 18 w 354"/>
                  <a:gd name="T59" fmla="*/ 65 h 180"/>
                  <a:gd name="T60" fmla="*/ 32 w 354"/>
                  <a:gd name="T61" fmla="*/ 48 h 180"/>
                  <a:gd name="T62" fmla="*/ 50 w 354"/>
                  <a:gd name="T63" fmla="*/ 39 h 180"/>
                  <a:gd name="T64" fmla="*/ 65 w 354"/>
                  <a:gd name="T65" fmla="*/ 48 h 180"/>
                  <a:gd name="T66" fmla="*/ 77 w 354"/>
                  <a:gd name="T67" fmla="*/ 53 h 180"/>
                  <a:gd name="T68" fmla="*/ 104 w 354"/>
                  <a:gd name="T69" fmla="*/ 52 h 180"/>
                  <a:gd name="T70" fmla="*/ 116 w 354"/>
                  <a:gd name="T71" fmla="*/ 51 h 180"/>
                  <a:gd name="T72" fmla="*/ 112 w 354"/>
                  <a:gd name="T73" fmla="*/ 30 h 180"/>
                  <a:gd name="T74" fmla="*/ 117 w 354"/>
                  <a:gd name="T75" fmla="*/ 10 h 180"/>
                  <a:gd name="T76" fmla="*/ 142 w 354"/>
                  <a:gd name="T77" fmla="*/ 11 h 180"/>
                  <a:gd name="T78" fmla="*/ 176 w 354"/>
                  <a:gd name="T79" fmla="*/ 2 h 180"/>
                  <a:gd name="T80" fmla="*/ 191 w 354"/>
                  <a:gd name="T81" fmla="*/ 6 h 180"/>
                  <a:gd name="T82" fmla="*/ 204 w 354"/>
                  <a:gd name="T83" fmla="*/ 9 h 180"/>
                  <a:gd name="T84" fmla="*/ 217 w 354"/>
                  <a:gd name="T85" fmla="*/ 17 h 180"/>
                  <a:gd name="T86" fmla="*/ 254 w 354"/>
                  <a:gd name="T87" fmla="*/ 7 h 180"/>
                  <a:gd name="T88" fmla="*/ 272 w 354"/>
                  <a:gd name="T89" fmla="*/ 47 h 180"/>
                  <a:gd name="T90" fmla="*/ 305 w 354"/>
                  <a:gd name="T91" fmla="*/ 64 h 180"/>
                  <a:gd name="T92" fmla="*/ 330 w 354"/>
                  <a:gd name="T93" fmla="*/ 69 h 180"/>
                  <a:gd name="T94" fmla="*/ 348 w 354"/>
                  <a:gd name="T95" fmla="*/ 78 h 180"/>
                  <a:gd name="T96" fmla="*/ 45 w 354"/>
                  <a:gd name="T97" fmla="*/ 139 h 180"/>
                  <a:gd name="T98" fmla="*/ 283 w 354"/>
                  <a:gd name="T99" fmla="*/ 98 h 180"/>
                  <a:gd name="T100" fmla="*/ 276 w 354"/>
                  <a:gd name="T101" fmla="*/ 108 h 180"/>
                  <a:gd name="T102" fmla="*/ 254 w 354"/>
                  <a:gd name="T103" fmla="*/ 106 h 180"/>
                  <a:gd name="T104" fmla="*/ 240 w 354"/>
                  <a:gd name="T105" fmla="*/ 116 h 180"/>
                  <a:gd name="T106" fmla="*/ 229 w 354"/>
                  <a:gd name="T107" fmla="*/ 126 h 180"/>
                  <a:gd name="T108" fmla="*/ 226 w 354"/>
                  <a:gd name="T109" fmla="*/ 124 h 180"/>
                  <a:gd name="T110" fmla="*/ 228 w 354"/>
                  <a:gd name="T111" fmla="*/ 115 h 180"/>
                  <a:gd name="T112" fmla="*/ 240 w 354"/>
                  <a:gd name="T113" fmla="*/ 104 h 180"/>
                  <a:gd name="T114" fmla="*/ 262 w 354"/>
                  <a:gd name="T115" fmla="*/ 10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4" h="180">
                    <a:moveTo>
                      <a:pt x="354" y="80"/>
                    </a:moveTo>
                    <a:cubicBezTo>
                      <a:pt x="341" y="82"/>
                      <a:pt x="341" y="82"/>
                      <a:pt x="341" y="82"/>
                    </a:cubicBezTo>
                    <a:cubicBezTo>
                      <a:pt x="337" y="85"/>
                      <a:pt x="337" y="85"/>
                      <a:pt x="337" y="85"/>
                    </a:cubicBezTo>
                    <a:cubicBezTo>
                      <a:pt x="335" y="89"/>
                      <a:pt x="335" y="89"/>
                      <a:pt x="335" y="89"/>
                    </a:cubicBezTo>
                    <a:cubicBezTo>
                      <a:pt x="329" y="91"/>
                      <a:pt x="329" y="91"/>
                      <a:pt x="329" y="91"/>
                    </a:cubicBezTo>
                    <a:cubicBezTo>
                      <a:pt x="328" y="94"/>
                      <a:pt x="328" y="94"/>
                      <a:pt x="328" y="94"/>
                    </a:cubicBezTo>
                    <a:cubicBezTo>
                      <a:pt x="327" y="98"/>
                      <a:pt x="327" y="98"/>
                      <a:pt x="327" y="98"/>
                    </a:cubicBezTo>
                    <a:cubicBezTo>
                      <a:pt x="320" y="101"/>
                      <a:pt x="320" y="101"/>
                      <a:pt x="320" y="101"/>
                    </a:cubicBezTo>
                    <a:cubicBezTo>
                      <a:pt x="315" y="101"/>
                      <a:pt x="315" y="101"/>
                      <a:pt x="315" y="101"/>
                    </a:cubicBezTo>
                    <a:cubicBezTo>
                      <a:pt x="312" y="104"/>
                      <a:pt x="312" y="104"/>
                      <a:pt x="312" y="104"/>
                    </a:cubicBezTo>
                    <a:cubicBezTo>
                      <a:pt x="309" y="109"/>
                      <a:pt x="309" y="109"/>
                      <a:pt x="309" y="109"/>
                    </a:cubicBezTo>
                    <a:cubicBezTo>
                      <a:pt x="306" y="112"/>
                      <a:pt x="306" y="112"/>
                      <a:pt x="306" y="112"/>
                    </a:cubicBezTo>
                    <a:cubicBezTo>
                      <a:pt x="304" y="118"/>
                      <a:pt x="304" y="118"/>
                      <a:pt x="304" y="118"/>
                    </a:cubicBezTo>
                    <a:cubicBezTo>
                      <a:pt x="305" y="124"/>
                      <a:pt x="305" y="124"/>
                      <a:pt x="305" y="124"/>
                    </a:cubicBezTo>
                    <a:cubicBezTo>
                      <a:pt x="308" y="127"/>
                      <a:pt x="308" y="127"/>
                      <a:pt x="308" y="127"/>
                    </a:cubicBezTo>
                    <a:cubicBezTo>
                      <a:pt x="306" y="130"/>
                      <a:pt x="306" y="130"/>
                      <a:pt x="306" y="130"/>
                    </a:cubicBezTo>
                    <a:cubicBezTo>
                      <a:pt x="298" y="130"/>
                      <a:pt x="298" y="130"/>
                      <a:pt x="298" y="130"/>
                    </a:cubicBezTo>
                    <a:cubicBezTo>
                      <a:pt x="291" y="133"/>
                      <a:pt x="291" y="133"/>
                      <a:pt x="291" y="133"/>
                    </a:cubicBezTo>
                    <a:cubicBezTo>
                      <a:pt x="284" y="134"/>
                      <a:pt x="284" y="134"/>
                      <a:pt x="284" y="134"/>
                    </a:cubicBezTo>
                    <a:cubicBezTo>
                      <a:pt x="282" y="136"/>
                      <a:pt x="282" y="136"/>
                      <a:pt x="282" y="136"/>
                    </a:cubicBezTo>
                    <a:cubicBezTo>
                      <a:pt x="283" y="140"/>
                      <a:pt x="283" y="140"/>
                      <a:pt x="283" y="140"/>
                    </a:cubicBezTo>
                    <a:cubicBezTo>
                      <a:pt x="288" y="144"/>
                      <a:pt x="288" y="144"/>
                      <a:pt x="288" y="144"/>
                    </a:cubicBezTo>
                    <a:cubicBezTo>
                      <a:pt x="290" y="147"/>
                      <a:pt x="290" y="147"/>
                      <a:pt x="290" y="147"/>
                    </a:cubicBezTo>
                    <a:cubicBezTo>
                      <a:pt x="286" y="155"/>
                      <a:pt x="286" y="155"/>
                      <a:pt x="286" y="155"/>
                    </a:cubicBezTo>
                    <a:cubicBezTo>
                      <a:pt x="286" y="162"/>
                      <a:pt x="286" y="162"/>
                      <a:pt x="286" y="162"/>
                    </a:cubicBezTo>
                    <a:cubicBezTo>
                      <a:pt x="282" y="160"/>
                      <a:pt x="282" y="160"/>
                      <a:pt x="282" y="160"/>
                    </a:cubicBezTo>
                    <a:cubicBezTo>
                      <a:pt x="282" y="160"/>
                      <a:pt x="277" y="159"/>
                      <a:pt x="277" y="158"/>
                    </a:cubicBezTo>
                    <a:cubicBezTo>
                      <a:pt x="276" y="156"/>
                      <a:pt x="273" y="154"/>
                      <a:pt x="271" y="154"/>
                    </a:cubicBezTo>
                    <a:cubicBezTo>
                      <a:pt x="269" y="154"/>
                      <a:pt x="267" y="153"/>
                      <a:pt x="264" y="154"/>
                    </a:cubicBezTo>
                    <a:cubicBezTo>
                      <a:pt x="260" y="154"/>
                      <a:pt x="255" y="154"/>
                      <a:pt x="253" y="154"/>
                    </a:cubicBezTo>
                    <a:cubicBezTo>
                      <a:pt x="251" y="154"/>
                      <a:pt x="247" y="159"/>
                      <a:pt x="244" y="159"/>
                    </a:cubicBezTo>
                    <a:cubicBezTo>
                      <a:pt x="241" y="159"/>
                      <a:pt x="243" y="158"/>
                      <a:pt x="240" y="157"/>
                    </a:cubicBezTo>
                    <a:cubicBezTo>
                      <a:pt x="237" y="156"/>
                      <a:pt x="237" y="154"/>
                      <a:pt x="236" y="154"/>
                    </a:cubicBezTo>
                    <a:cubicBezTo>
                      <a:pt x="232" y="157"/>
                      <a:pt x="233" y="156"/>
                      <a:pt x="231" y="156"/>
                    </a:cubicBezTo>
                    <a:cubicBezTo>
                      <a:pt x="230" y="156"/>
                      <a:pt x="228" y="160"/>
                      <a:pt x="228" y="160"/>
                    </a:cubicBezTo>
                    <a:cubicBezTo>
                      <a:pt x="228" y="160"/>
                      <a:pt x="225" y="161"/>
                      <a:pt x="225" y="163"/>
                    </a:cubicBezTo>
                    <a:cubicBezTo>
                      <a:pt x="225" y="164"/>
                      <a:pt x="219" y="158"/>
                      <a:pt x="216" y="158"/>
                    </a:cubicBezTo>
                    <a:cubicBezTo>
                      <a:pt x="210" y="158"/>
                      <a:pt x="210" y="158"/>
                      <a:pt x="210" y="158"/>
                    </a:cubicBezTo>
                    <a:cubicBezTo>
                      <a:pt x="207" y="158"/>
                      <a:pt x="202" y="164"/>
                      <a:pt x="202" y="164"/>
                    </a:cubicBezTo>
                    <a:cubicBezTo>
                      <a:pt x="200" y="165"/>
                      <a:pt x="200" y="165"/>
                      <a:pt x="197" y="165"/>
                    </a:cubicBezTo>
                    <a:cubicBezTo>
                      <a:pt x="195" y="166"/>
                      <a:pt x="193" y="165"/>
                      <a:pt x="192" y="167"/>
                    </a:cubicBezTo>
                    <a:cubicBezTo>
                      <a:pt x="192" y="169"/>
                      <a:pt x="189" y="169"/>
                      <a:pt x="187" y="169"/>
                    </a:cubicBezTo>
                    <a:cubicBezTo>
                      <a:pt x="186" y="170"/>
                      <a:pt x="185" y="175"/>
                      <a:pt x="185" y="175"/>
                    </a:cubicBezTo>
                    <a:cubicBezTo>
                      <a:pt x="185" y="175"/>
                      <a:pt x="182" y="176"/>
                      <a:pt x="179" y="176"/>
                    </a:cubicBezTo>
                    <a:cubicBezTo>
                      <a:pt x="179" y="179"/>
                      <a:pt x="179" y="179"/>
                      <a:pt x="179" y="179"/>
                    </a:cubicBezTo>
                    <a:cubicBezTo>
                      <a:pt x="179" y="179"/>
                      <a:pt x="177" y="180"/>
                      <a:pt x="176" y="180"/>
                    </a:cubicBezTo>
                    <a:cubicBezTo>
                      <a:pt x="175" y="180"/>
                      <a:pt x="177" y="178"/>
                      <a:pt x="176" y="176"/>
                    </a:cubicBezTo>
                    <a:cubicBezTo>
                      <a:pt x="175" y="174"/>
                      <a:pt x="170" y="173"/>
                      <a:pt x="169" y="174"/>
                    </a:cubicBezTo>
                    <a:cubicBezTo>
                      <a:pt x="168" y="175"/>
                      <a:pt x="163" y="173"/>
                      <a:pt x="161" y="172"/>
                    </a:cubicBezTo>
                    <a:cubicBezTo>
                      <a:pt x="159" y="171"/>
                      <a:pt x="161" y="170"/>
                      <a:pt x="161" y="169"/>
                    </a:cubicBezTo>
                    <a:cubicBezTo>
                      <a:pt x="161" y="167"/>
                      <a:pt x="159" y="169"/>
                      <a:pt x="159" y="167"/>
                    </a:cubicBezTo>
                    <a:cubicBezTo>
                      <a:pt x="159" y="164"/>
                      <a:pt x="158" y="164"/>
                      <a:pt x="156" y="165"/>
                    </a:cubicBezTo>
                    <a:cubicBezTo>
                      <a:pt x="154" y="165"/>
                      <a:pt x="153" y="164"/>
                      <a:pt x="152" y="163"/>
                    </a:cubicBezTo>
                    <a:cubicBezTo>
                      <a:pt x="151" y="162"/>
                      <a:pt x="149" y="158"/>
                      <a:pt x="149" y="158"/>
                    </a:cubicBezTo>
                    <a:cubicBezTo>
                      <a:pt x="147" y="160"/>
                      <a:pt x="147" y="160"/>
                      <a:pt x="147" y="160"/>
                    </a:cubicBezTo>
                    <a:cubicBezTo>
                      <a:pt x="147" y="160"/>
                      <a:pt x="140" y="159"/>
                      <a:pt x="137" y="158"/>
                    </a:cubicBezTo>
                    <a:cubicBezTo>
                      <a:pt x="134" y="157"/>
                      <a:pt x="128" y="158"/>
                      <a:pt x="128" y="158"/>
                    </a:cubicBezTo>
                    <a:cubicBezTo>
                      <a:pt x="128" y="158"/>
                      <a:pt x="127" y="150"/>
                      <a:pt x="127" y="148"/>
                    </a:cubicBezTo>
                    <a:cubicBezTo>
                      <a:pt x="127" y="146"/>
                      <a:pt x="125" y="143"/>
                      <a:pt x="125" y="143"/>
                    </a:cubicBezTo>
                    <a:cubicBezTo>
                      <a:pt x="124" y="142"/>
                      <a:pt x="124" y="142"/>
                      <a:pt x="124" y="142"/>
                    </a:cubicBezTo>
                    <a:cubicBezTo>
                      <a:pt x="125" y="141"/>
                      <a:pt x="126" y="141"/>
                      <a:pt x="127" y="140"/>
                    </a:cubicBezTo>
                    <a:cubicBezTo>
                      <a:pt x="127" y="136"/>
                      <a:pt x="126" y="138"/>
                      <a:pt x="129" y="136"/>
                    </a:cubicBezTo>
                    <a:cubicBezTo>
                      <a:pt x="129" y="134"/>
                      <a:pt x="129" y="134"/>
                      <a:pt x="129" y="134"/>
                    </a:cubicBezTo>
                    <a:cubicBezTo>
                      <a:pt x="127" y="133"/>
                      <a:pt x="122" y="131"/>
                      <a:pt x="121" y="129"/>
                    </a:cubicBezTo>
                    <a:cubicBezTo>
                      <a:pt x="121" y="127"/>
                      <a:pt x="122" y="124"/>
                      <a:pt x="122" y="123"/>
                    </a:cubicBezTo>
                    <a:cubicBezTo>
                      <a:pt x="122" y="123"/>
                      <a:pt x="121" y="120"/>
                      <a:pt x="121" y="119"/>
                    </a:cubicBezTo>
                    <a:cubicBezTo>
                      <a:pt x="121" y="118"/>
                      <a:pt x="126" y="112"/>
                      <a:pt x="127" y="110"/>
                    </a:cubicBezTo>
                    <a:cubicBezTo>
                      <a:pt x="125" y="110"/>
                      <a:pt x="125" y="111"/>
                      <a:pt x="124" y="111"/>
                    </a:cubicBezTo>
                    <a:cubicBezTo>
                      <a:pt x="124" y="111"/>
                      <a:pt x="122" y="110"/>
                      <a:pt x="122" y="110"/>
                    </a:cubicBezTo>
                    <a:cubicBezTo>
                      <a:pt x="121" y="110"/>
                      <a:pt x="122" y="111"/>
                      <a:pt x="122" y="112"/>
                    </a:cubicBezTo>
                    <a:cubicBezTo>
                      <a:pt x="119" y="112"/>
                      <a:pt x="118" y="111"/>
                      <a:pt x="115" y="111"/>
                    </a:cubicBezTo>
                    <a:cubicBezTo>
                      <a:pt x="115" y="111"/>
                      <a:pt x="114" y="114"/>
                      <a:pt x="116" y="114"/>
                    </a:cubicBezTo>
                    <a:cubicBezTo>
                      <a:pt x="116" y="114"/>
                      <a:pt x="115" y="116"/>
                      <a:pt x="115" y="116"/>
                    </a:cubicBezTo>
                    <a:cubicBezTo>
                      <a:pt x="113" y="116"/>
                      <a:pt x="113" y="116"/>
                      <a:pt x="111" y="116"/>
                    </a:cubicBezTo>
                    <a:cubicBezTo>
                      <a:pt x="111" y="118"/>
                      <a:pt x="111" y="118"/>
                      <a:pt x="111" y="118"/>
                    </a:cubicBezTo>
                    <a:cubicBezTo>
                      <a:pt x="110" y="118"/>
                      <a:pt x="109" y="118"/>
                      <a:pt x="108" y="118"/>
                    </a:cubicBezTo>
                    <a:cubicBezTo>
                      <a:pt x="107" y="120"/>
                      <a:pt x="107" y="120"/>
                      <a:pt x="107" y="122"/>
                    </a:cubicBezTo>
                    <a:cubicBezTo>
                      <a:pt x="106" y="123"/>
                      <a:pt x="107" y="124"/>
                      <a:pt x="106" y="124"/>
                    </a:cubicBezTo>
                    <a:cubicBezTo>
                      <a:pt x="103" y="126"/>
                      <a:pt x="105" y="121"/>
                      <a:pt x="105" y="120"/>
                    </a:cubicBezTo>
                    <a:cubicBezTo>
                      <a:pt x="105" y="120"/>
                      <a:pt x="102" y="121"/>
                      <a:pt x="103" y="121"/>
                    </a:cubicBezTo>
                    <a:cubicBezTo>
                      <a:pt x="102" y="121"/>
                      <a:pt x="101" y="121"/>
                      <a:pt x="101" y="122"/>
                    </a:cubicBezTo>
                    <a:cubicBezTo>
                      <a:pt x="100" y="122"/>
                      <a:pt x="101" y="124"/>
                      <a:pt x="100" y="125"/>
                    </a:cubicBezTo>
                    <a:cubicBezTo>
                      <a:pt x="100" y="126"/>
                      <a:pt x="100" y="126"/>
                      <a:pt x="100" y="126"/>
                    </a:cubicBezTo>
                    <a:cubicBezTo>
                      <a:pt x="98" y="125"/>
                      <a:pt x="97" y="125"/>
                      <a:pt x="95" y="125"/>
                    </a:cubicBezTo>
                    <a:cubicBezTo>
                      <a:pt x="93" y="125"/>
                      <a:pt x="90" y="126"/>
                      <a:pt x="88" y="126"/>
                    </a:cubicBezTo>
                    <a:cubicBezTo>
                      <a:pt x="86" y="126"/>
                      <a:pt x="79" y="130"/>
                      <a:pt x="79" y="130"/>
                    </a:cubicBezTo>
                    <a:cubicBezTo>
                      <a:pt x="78" y="171"/>
                      <a:pt x="78" y="171"/>
                      <a:pt x="78" y="171"/>
                    </a:cubicBezTo>
                    <a:cubicBezTo>
                      <a:pt x="78" y="171"/>
                      <a:pt x="72" y="172"/>
                      <a:pt x="70" y="171"/>
                    </a:cubicBezTo>
                    <a:cubicBezTo>
                      <a:pt x="69" y="170"/>
                      <a:pt x="67" y="161"/>
                      <a:pt x="58" y="162"/>
                    </a:cubicBezTo>
                    <a:cubicBezTo>
                      <a:pt x="55" y="162"/>
                      <a:pt x="49" y="161"/>
                      <a:pt x="49" y="167"/>
                    </a:cubicBezTo>
                    <a:cubicBezTo>
                      <a:pt x="49" y="170"/>
                      <a:pt x="47" y="170"/>
                      <a:pt x="47" y="170"/>
                    </a:cubicBezTo>
                    <a:cubicBezTo>
                      <a:pt x="46" y="170"/>
                      <a:pt x="46" y="170"/>
                      <a:pt x="46" y="170"/>
                    </a:cubicBezTo>
                    <a:cubicBezTo>
                      <a:pt x="47" y="165"/>
                      <a:pt x="48" y="162"/>
                      <a:pt x="50" y="158"/>
                    </a:cubicBezTo>
                    <a:cubicBezTo>
                      <a:pt x="49" y="158"/>
                      <a:pt x="44" y="157"/>
                      <a:pt x="43" y="157"/>
                    </a:cubicBezTo>
                    <a:cubicBezTo>
                      <a:pt x="40" y="155"/>
                      <a:pt x="44" y="153"/>
                      <a:pt x="38" y="154"/>
                    </a:cubicBezTo>
                    <a:cubicBezTo>
                      <a:pt x="37" y="152"/>
                      <a:pt x="38" y="152"/>
                      <a:pt x="38" y="151"/>
                    </a:cubicBezTo>
                    <a:cubicBezTo>
                      <a:pt x="37" y="150"/>
                      <a:pt x="37" y="150"/>
                      <a:pt x="37" y="150"/>
                    </a:cubicBezTo>
                    <a:cubicBezTo>
                      <a:pt x="35" y="146"/>
                      <a:pt x="33" y="143"/>
                      <a:pt x="28" y="142"/>
                    </a:cubicBezTo>
                    <a:cubicBezTo>
                      <a:pt x="28" y="142"/>
                      <a:pt x="29" y="139"/>
                      <a:pt x="30" y="139"/>
                    </a:cubicBezTo>
                    <a:cubicBezTo>
                      <a:pt x="33" y="140"/>
                      <a:pt x="36" y="140"/>
                      <a:pt x="40" y="140"/>
                    </a:cubicBezTo>
                    <a:cubicBezTo>
                      <a:pt x="40" y="138"/>
                      <a:pt x="40" y="138"/>
                      <a:pt x="40" y="138"/>
                    </a:cubicBezTo>
                    <a:cubicBezTo>
                      <a:pt x="39" y="137"/>
                      <a:pt x="37" y="138"/>
                      <a:pt x="36" y="138"/>
                    </a:cubicBezTo>
                    <a:cubicBezTo>
                      <a:pt x="36" y="137"/>
                      <a:pt x="34" y="134"/>
                      <a:pt x="34" y="134"/>
                    </a:cubicBezTo>
                    <a:cubicBezTo>
                      <a:pt x="34" y="132"/>
                      <a:pt x="35" y="133"/>
                      <a:pt x="35" y="132"/>
                    </a:cubicBezTo>
                    <a:cubicBezTo>
                      <a:pt x="35" y="132"/>
                      <a:pt x="37" y="133"/>
                      <a:pt x="37" y="133"/>
                    </a:cubicBezTo>
                    <a:cubicBezTo>
                      <a:pt x="39" y="133"/>
                      <a:pt x="40" y="132"/>
                      <a:pt x="41" y="132"/>
                    </a:cubicBezTo>
                    <a:cubicBezTo>
                      <a:pt x="42" y="131"/>
                      <a:pt x="42" y="132"/>
                      <a:pt x="44" y="132"/>
                    </a:cubicBezTo>
                    <a:cubicBezTo>
                      <a:pt x="43" y="130"/>
                      <a:pt x="44" y="128"/>
                      <a:pt x="44" y="127"/>
                    </a:cubicBezTo>
                    <a:cubicBezTo>
                      <a:pt x="45" y="127"/>
                      <a:pt x="46" y="127"/>
                      <a:pt x="47" y="127"/>
                    </a:cubicBezTo>
                    <a:cubicBezTo>
                      <a:pt x="48" y="127"/>
                      <a:pt x="49" y="129"/>
                      <a:pt x="50" y="130"/>
                    </a:cubicBezTo>
                    <a:cubicBezTo>
                      <a:pt x="51" y="130"/>
                      <a:pt x="55" y="131"/>
                      <a:pt x="57" y="131"/>
                    </a:cubicBezTo>
                    <a:cubicBezTo>
                      <a:pt x="56" y="132"/>
                      <a:pt x="55" y="133"/>
                      <a:pt x="55" y="134"/>
                    </a:cubicBezTo>
                    <a:cubicBezTo>
                      <a:pt x="56" y="134"/>
                      <a:pt x="58" y="132"/>
                      <a:pt x="59" y="132"/>
                    </a:cubicBezTo>
                    <a:cubicBezTo>
                      <a:pt x="60" y="132"/>
                      <a:pt x="60" y="133"/>
                      <a:pt x="61" y="133"/>
                    </a:cubicBezTo>
                    <a:cubicBezTo>
                      <a:pt x="62" y="133"/>
                      <a:pt x="62" y="132"/>
                      <a:pt x="63" y="132"/>
                    </a:cubicBezTo>
                    <a:cubicBezTo>
                      <a:pt x="64" y="129"/>
                      <a:pt x="63" y="128"/>
                      <a:pt x="64" y="125"/>
                    </a:cubicBezTo>
                    <a:cubicBezTo>
                      <a:pt x="64" y="125"/>
                      <a:pt x="62" y="125"/>
                      <a:pt x="62" y="124"/>
                    </a:cubicBezTo>
                    <a:cubicBezTo>
                      <a:pt x="62" y="124"/>
                      <a:pt x="62" y="123"/>
                      <a:pt x="61" y="122"/>
                    </a:cubicBezTo>
                    <a:cubicBezTo>
                      <a:pt x="61" y="122"/>
                      <a:pt x="60" y="122"/>
                      <a:pt x="59" y="122"/>
                    </a:cubicBezTo>
                    <a:cubicBezTo>
                      <a:pt x="59" y="120"/>
                      <a:pt x="59" y="116"/>
                      <a:pt x="58" y="114"/>
                    </a:cubicBezTo>
                    <a:cubicBezTo>
                      <a:pt x="57" y="113"/>
                      <a:pt x="56" y="114"/>
                      <a:pt x="54" y="114"/>
                    </a:cubicBezTo>
                    <a:cubicBezTo>
                      <a:pt x="54" y="113"/>
                      <a:pt x="53" y="111"/>
                      <a:pt x="53" y="110"/>
                    </a:cubicBezTo>
                    <a:cubicBezTo>
                      <a:pt x="52" y="110"/>
                      <a:pt x="52" y="110"/>
                      <a:pt x="51" y="110"/>
                    </a:cubicBezTo>
                    <a:cubicBezTo>
                      <a:pt x="51" y="110"/>
                      <a:pt x="48" y="106"/>
                      <a:pt x="48" y="106"/>
                    </a:cubicBezTo>
                    <a:cubicBezTo>
                      <a:pt x="47" y="106"/>
                      <a:pt x="47" y="107"/>
                      <a:pt x="46" y="107"/>
                    </a:cubicBezTo>
                    <a:cubicBezTo>
                      <a:pt x="45" y="106"/>
                      <a:pt x="45" y="106"/>
                      <a:pt x="45" y="106"/>
                    </a:cubicBezTo>
                    <a:cubicBezTo>
                      <a:pt x="43" y="106"/>
                      <a:pt x="42" y="105"/>
                      <a:pt x="39" y="106"/>
                    </a:cubicBezTo>
                    <a:cubicBezTo>
                      <a:pt x="39" y="105"/>
                      <a:pt x="39" y="104"/>
                      <a:pt x="39" y="103"/>
                    </a:cubicBezTo>
                    <a:cubicBezTo>
                      <a:pt x="38" y="103"/>
                      <a:pt x="37" y="101"/>
                      <a:pt x="36" y="101"/>
                    </a:cubicBezTo>
                    <a:cubicBezTo>
                      <a:pt x="35" y="101"/>
                      <a:pt x="34" y="101"/>
                      <a:pt x="34" y="101"/>
                    </a:cubicBezTo>
                    <a:cubicBezTo>
                      <a:pt x="34" y="101"/>
                      <a:pt x="32" y="102"/>
                      <a:pt x="32" y="102"/>
                    </a:cubicBezTo>
                    <a:cubicBezTo>
                      <a:pt x="32" y="102"/>
                      <a:pt x="33" y="104"/>
                      <a:pt x="32" y="104"/>
                    </a:cubicBezTo>
                    <a:cubicBezTo>
                      <a:pt x="31" y="106"/>
                      <a:pt x="29" y="106"/>
                      <a:pt x="28" y="107"/>
                    </a:cubicBezTo>
                    <a:cubicBezTo>
                      <a:pt x="27" y="107"/>
                      <a:pt x="27" y="109"/>
                      <a:pt x="26" y="109"/>
                    </a:cubicBezTo>
                    <a:cubicBezTo>
                      <a:pt x="25" y="109"/>
                      <a:pt x="23" y="108"/>
                      <a:pt x="21" y="109"/>
                    </a:cubicBezTo>
                    <a:cubicBezTo>
                      <a:pt x="20" y="109"/>
                      <a:pt x="20" y="111"/>
                      <a:pt x="19" y="112"/>
                    </a:cubicBezTo>
                    <a:cubicBezTo>
                      <a:pt x="17" y="113"/>
                      <a:pt x="16" y="111"/>
                      <a:pt x="15" y="112"/>
                    </a:cubicBezTo>
                    <a:cubicBezTo>
                      <a:pt x="15" y="112"/>
                      <a:pt x="13" y="108"/>
                      <a:pt x="14" y="107"/>
                    </a:cubicBezTo>
                    <a:cubicBezTo>
                      <a:pt x="15" y="106"/>
                      <a:pt x="14" y="103"/>
                      <a:pt x="14" y="103"/>
                    </a:cubicBezTo>
                    <a:cubicBezTo>
                      <a:pt x="10" y="95"/>
                      <a:pt x="10" y="95"/>
                      <a:pt x="10" y="95"/>
                    </a:cubicBezTo>
                    <a:cubicBezTo>
                      <a:pt x="10" y="95"/>
                      <a:pt x="6" y="97"/>
                      <a:pt x="6" y="95"/>
                    </a:cubicBezTo>
                    <a:cubicBezTo>
                      <a:pt x="5" y="93"/>
                      <a:pt x="7" y="89"/>
                      <a:pt x="4" y="88"/>
                    </a:cubicBezTo>
                    <a:cubicBezTo>
                      <a:pt x="2" y="87"/>
                      <a:pt x="0" y="85"/>
                      <a:pt x="1" y="84"/>
                    </a:cubicBezTo>
                    <a:cubicBezTo>
                      <a:pt x="3" y="82"/>
                      <a:pt x="5" y="78"/>
                      <a:pt x="5" y="78"/>
                    </a:cubicBezTo>
                    <a:cubicBezTo>
                      <a:pt x="5" y="78"/>
                      <a:pt x="7" y="77"/>
                      <a:pt x="7" y="75"/>
                    </a:cubicBezTo>
                    <a:cubicBezTo>
                      <a:pt x="6" y="73"/>
                      <a:pt x="4" y="72"/>
                      <a:pt x="4" y="72"/>
                    </a:cubicBezTo>
                    <a:cubicBezTo>
                      <a:pt x="4" y="72"/>
                      <a:pt x="8" y="68"/>
                      <a:pt x="7" y="64"/>
                    </a:cubicBezTo>
                    <a:cubicBezTo>
                      <a:pt x="6" y="63"/>
                      <a:pt x="10" y="64"/>
                      <a:pt x="11" y="62"/>
                    </a:cubicBezTo>
                    <a:cubicBezTo>
                      <a:pt x="11" y="60"/>
                      <a:pt x="14" y="57"/>
                      <a:pt x="15" y="59"/>
                    </a:cubicBezTo>
                    <a:cubicBezTo>
                      <a:pt x="16" y="61"/>
                      <a:pt x="18" y="65"/>
                      <a:pt x="18" y="65"/>
                    </a:cubicBezTo>
                    <a:cubicBezTo>
                      <a:pt x="24" y="62"/>
                      <a:pt x="24" y="62"/>
                      <a:pt x="24" y="62"/>
                    </a:cubicBezTo>
                    <a:cubicBezTo>
                      <a:pt x="24" y="62"/>
                      <a:pt x="19" y="59"/>
                      <a:pt x="20" y="57"/>
                    </a:cubicBezTo>
                    <a:cubicBezTo>
                      <a:pt x="20" y="55"/>
                      <a:pt x="20" y="51"/>
                      <a:pt x="22" y="51"/>
                    </a:cubicBezTo>
                    <a:cubicBezTo>
                      <a:pt x="24" y="51"/>
                      <a:pt x="24" y="47"/>
                      <a:pt x="26" y="48"/>
                    </a:cubicBezTo>
                    <a:cubicBezTo>
                      <a:pt x="28" y="49"/>
                      <a:pt x="32" y="48"/>
                      <a:pt x="32" y="48"/>
                    </a:cubicBezTo>
                    <a:cubicBezTo>
                      <a:pt x="32" y="48"/>
                      <a:pt x="38" y="43"/>
                      <a:pt x="39" y="41"/>
                    </a:cubicBezTo>
                    <a:cubicBezTo>
                      <a:pt x="40" y="39"/>
                      <a:pt x="38" y="38"/>
                      <a:pt x="38" y="38"/>
                    </a:cubicBezTo>
                    <a:cubicBezTo>
                      <a:pt x="45" y="37"/>
                      <a:pt x="45" y="37"/>
                      <a:pt x="45" y="37"/>
                    </a:cubicBezTo>
                    <a:cubicBezTo>
                      <a:pt x="45" y="39"/>
                      <a:pt x="45" y="39"/>
                      <a:pt x="45" y="39"/>
                    </a:cubicBezTo>
                    <a:cubicBezTo>
                      <a:pt x="50" y="39"/>
                      <a:pt x="50" y="39"/>
                      <a:pt x="50" y="39"/>
                    </a:cubicBezTo>
                    <a:cubicBezTo>
                      <a:pt x="50" y="39"/>
                      <a:pt x="48" y="37"/>
                      <a:pt x="50" y="37"/>
                    </a:cubicBezTo>
                    <a:cubicBezTo>
                      <a:pt x="51" y="37"/>
                      <a:pt x="53" y="37"/>
                      <a:pt x="54" y="39"/>
                    </a:cubicBezTo>
                    <a:cubicBezTo>
                      <a:pt x="55" y="41"/>
                      <a:pt x="55" y="43"/>
                      <a:pt x="55" y="43"/>
                    </a:cubicBezTo>
                    <a:cubicBezTo>
                      <a:pt x="55" y="43"/>
                      <a:pt x="58" y="43"/>
                      <a:pt x="60" y="44"/>
                    </a:cubicBezTo>
                    <a:cubicBezTo>
                      <a:pt x="62" y="45"/>
                      <a:pt x="63" y="46"/>
                      <a:pt x="65" y="48"/>
                    </a:cubicBezTo>
                    <a:cubicBezTo>
                      <a:pt x="66" y="50"/>
                      <a:pt x="66" y="52"/>
                      <a:pt x="68" y="52"/>
                    </a:cubicBezTo>
                    <a:cubicBezTo>
                      <a:pt x="70" y="52"/>
                      <a:pt x="72" y="51"/>
                      <a:pt x="73" y="53"/>
                    </a:cubicBezTo>
                    <a:cubicBezTo>
                      <a:pt x="74" y="55"/>
                      <a:pt x="71" y="58"/>
                      <a:pt x="71" y="58"/>
                    </a:cubicBezTo>
                    <a:cubicBezTo>
                      <a:pt x="76" y="59"/>
                      <a:pt x="76" y="59"/>
                      <a:pt x="76" y="59"/>
                    </a:cubicBezTo>
                    <a:cubicBezTo>
                      <a:pt x="76" y="59"/>
                      <a:pt x="76" y="53"/>
                      <a:pt x="77" y="53"/>
                    </a:cubicBezTo>
                    <a:cubicBezTo>
                      <a:pt x="78" y="53"/>
                      <a:pt x="78" y="51"/>
                      <a:pt x="81" y="52"/>
                    </a:cubicBezTo>
                    <a:cubicBezTo>
                      <a:pt x="85" y="54"/>
                      <a:pt x="87" y="56"/>
                      <a:pt x="89" y="54"/>
                    </a:cubicBezTo>
                    <a:cubicBezTo>
                      <a:pt x="91" y="53"/>
                      <a:pt x="93" y="51"/>
                      <a:pt x="96" y="50"/>
                    </a:cubicBezTo>
                    <a:cubicBezTo>
                      <a:pt x="99" y="49"/>
                      <a:pt x="99" y="53"/>
                      <a:pt x="101" y="53"/>
                    </a:cubicBezTo>
                    <a:cubicBezTo>
                      <a:pt x="103" y="52"/>
                      <a:pt x="102" y="50"/>
                      <a:pt x="104" y="52"/>
                    </a:cubicBezTo>
                    <a:cubicBezTo>
                      <a:pt x="106" y="53"/>
                      <a:pt x="109" y="58"/>
                      <a:pt x="109" y="58"/>
                    </a:cubicBezTo>
                    <a:cubicBezTo>
                      <a:pt x="114" y="60"/>
                      <a:pt x="114" y="60"/>
                      <a:pt x="114" y="60"/>
                    </a:cubicBezTo>
                    <a:cubicBezTo>
                      <a:pt x="118" y="60"/>
                      <a:pt x="118" y="60"/>
                      <a:pt x="118" y="60"/>
                    </a:cubicBezTo>
                    <a:cubicBezTo>
                      <a:pt x="118" y="60"/>
                      <a:pt x="122" y="58"/>
                      <a:pt x="122" y="54"/>
                    </a:cubicBezTo>
                    <a:cubicBezTo>
                      <a:pt x="119" y="52"/>
                      <a:pt x="116" y="51"/>
                      <a:pt x="116" y="51"/>
                    </a:cubicBezTo>
                    <a:cubicBezTo>
                      <a:pt x="113" y="48"/>
                      <a:pt x="113" y="48"/>
                      <a:pt x="113" y="48"/>
                    </a:cubicBezTo>
                    <a:cubicBezTo>
                      <a:pt x="116" y="42"/>
                      <a:pt x="116" y="42"/>
                      <a:pt x="116" y="42"/>
                    </a:cubicBezTo>
                    <a:cubicBezTo>
                      <a:pt x="116" y="39"/>
                      <a:pt x="116" y="39"/>
                      <a:pt x="116" y="39"/>
                    </a:cubicBezTo>
                    <a:cubicBezTo>
                      <a:pt x="112" y="34"/>
                      <a:pt x="112" y="34"/>
                      <a:pt x="112" y="34"/>
                    </a:cubicBezTo>
                    <a:cubicBezTo>
                      <a:pt x="112" y="30"/>
                      <a:pt x="112" y="30"/>
                      <a:pt x="112" y="30"/>
                    </a:cubicBezTo>
                    <a:cubicBezTo>
                      <a:pt x="113" y="26"/>
                      <a:pt x="113" y="26"/>
                      <a:pt x="113" y="26"/>
                    </a:cubicBezTo>
                    <a:cubicBezTo>
                      <a:pt x="113" y="21"/>
                      <a:pt x="113" y="21"/>
                      <a:pt x="113" y="21"/>
                    </a:cubicBezTo>
                    <a:cubicBezTo>
                      <a:pt x="118" y="17"/>
                      <a:pt x="118" y="17"/>
                      <a:pt x="118" y="17"/>
                    </a:cubicBezTo>
                    <a:cubicBezTo>
                      <a:pt x="118" y="13"/>
                      <a:pt x="118" y="13"/>
                      <a:pt x="118" y="13"/>
                    </a:cubicBezTo>
                    <a:cubicBezTo>
                      <a:pt x="117" y="10"/>
                      <a:pt x="117" y="10"/>
                      <a:pt x="117" y="10"/>
                    </a:cubicBezTo>
                    <a:cubicBezTo>
                      <a:pt x="121" y="8"/>
                      <a:pt x="121" y="8"/>
                      <a:pt x="121" y="8"/>
                    </a:cubicBezTo>
                    <a:cubicBezTo>
                      <a:pt x="125" y="10"/>
                      <a:pt x="125" y="10"/>
                      <a:pt x="125" y="10"/>
                    </a:cubicBezTo>
                    <a:cubicBezTo>
                      <a:pt x="131" y="10"/>
                      <a:pt x="131" y="10"/>
                      <a:pt x="131" y="10"/>
                    </a:cubicBezTo>
                    <a:cubicBezTo>
                      <a:pt x="134" y="12"/>
                      <a:pt x="134" y="12"/>
                      <a:pt x="134" y="12"/>
                    </a:cubicBezTo>
                    <a:cubicBezTo>
                      <a:pt x="142" y="11"/>
                      <a:pt x="142" y="11"/>
                      <a:pt x="142" y="11"/>
                    </a:cubicBezTo>
                    <a:cubicBezTo>
                      <a:pt x="148" y="9"/>
                      <a:pt x="148" y="9"/>
                      <a:pt x="148" y="9"/>
                    </a:cubicBezTo>
                    <a:cubicBezTo>
                      <a:pt x="157" y="9"/>
                      <a:pt x="157" y="9"/>
                      <a:pt x="157" y="9"/>
                    </a:cubicBezTo>
                    <a:cubicBezTo>
                      <a:pt x="165" y="7"/>
                      <a:pt x="165" y="7"/>
                      <a:pt x="165" y="7"/>
                    </a:cubicBezTo>
                    <a:cubicBezTo>
                      <a:pt x="168" y="7"/>
                      <a:pt x="168" y="7"/>
                      <a:pt x="168" y="7"/>
                    </a:cubicBezTo>
                    <a:cubicBezTo>
                      <a:pt x="176" y="2"/>
                      <a:pt x="176" y="2"/>
                      <a:pt x="176" y="2"/>
                    </a:cubicBezTo>
                    <a:cubicBezTo>
                      <a:pt x="182" y="0"/>
                      <a:pt x="182" y="0"/>
                      <a:pt x="182" y="0"/>
                    </a:cubicBezTo>
                    <a:cubicBezTo>
                      <a:pt x="186" y="0"/>
                      <a:pt x="186" y="0"/>
                      <a:pt x="186" y="0"/>
                    </a:cubicBezTo>
                    <a:cubicBezTo>
                      <a:pt x="188" y="2"/>
                      <a:pt x="188" y="2"/>
                      <a:pt x="188" y="2"/>
                    </a:cubicBezTo>
                    <a:cubicBezTo>
                      <a:pt x="191" y="3"/>
                      <a:pt x="191" y="3"/>
                      <a:pt x="191" y="3"/>
                    </a:cubicBezTo>
                    <a:cubicBezTo>
                      <a:pt x="191" y="6"/>
                      <a:pt x="191" y="6"/>
                      <a:pt x="191" y="6"/>
                    </a:cubicBezTo>
                    <a:cubicBezTo>
                      <a:pt x="190" y="10"/>
                      <a:pt x="190" y="10"/>
                      <a:pt x="190" y="10"/>
                    </a:cubicBezTo>
                    <a:cubicBezTo>
                      <a:pt x="193" y="10"/>
                      <a:pt x="193" y="10"/>
                      <a:pt x="193" y="10"/>
                    </a:cubicBezTo>
                    <a:cubicBezTo>
                      <a:pt x="197" y="15"/>
                      <a:pt x="197" y="15"/>
                      <a:pt x="197" y="15"/>
                    </a:cubicBezTo>
                    <a:cubicBezTo>
                      <a:pt x="200" y="13"/>
                      <a:pt x="200" y="13"/>
                      <a:pt x="200" y="13"/>
                    </a:cubicBezTo>
                    <a:cubicBezTo>
                      <a:pt x="204" y="9"/>
                      <a:pt x="204" y="9"/>
                      <a:pt x="204" y="9"/>
                    </a:cubicBezTo>
                    <a:cubicBezTo>
                      <a:pt x="210" y="12"/>
                      <a:pt x="210" y="12"/>
                      <a:pt x="210" y="12"/>
                    </a:cubicBezTo>
                    <a:cubicBezTo>
                      <a:pt x="211" y="14"/>
                      <a:pt x="211" y="14"/>
                      <a:pt x="211" y="14"/>
                    </a:cubicBezTo>
                    <a:cubicBezTo>
                      <a:pt x="214" y="12"/>
                      <a:pt x="214" y="12"/>
                      <a:pt x="214" y="12"/>
                    </a:cubicBezTo>
                    <a:cubicBezTo>
                      <a:pt x="214" y="12"/>
                      <a:pt x="216" y="11"/>
                      <a:pt x="217" y="14"/>
                    </a:cubicBezTo>
                    <a:cubicBezTo>
                      <a:pt x="218" y="17"/>
                      <a:pt x="217" y="17"/>
                      <a:pt x="217" y="17"/>
                    </a:cubicBezTo>
                    <a:cubicBezTo>
                      <a:pt x="225" y="18"/>
                      <a:pt x="225" y="18"/>
                      <a:pt x="225" y="18"/>
                    </a:cubicBezTo>
                    <a:cubicBezTo>
                      <a:pt x="232" y="15"/>
                      <a:pt x="232" y="15"/>
                      <a:pt x="232" y="15"/>
                    </a:cubicBezTo>
                    <a:cubicBezTo>
                      <a:pt x="240" y="11"/>
                      <a:pt x="240" y="11"/>
                      <a:pt x="240" y="11"/>
                    </a:cubicBezTo>
                    <a:cubicBezTo>
                      <a:pt x="247" y="8"/>
                      <a:pt x="247" y="8"/>
                      <a:pt x="247" y="8"/>
                    </a:cubicBezTo>
                    <a:cubicBezTo>
                      <a:pt x="254" y="7"/>
                      <a:pt x="254" y="7"/>
                      <a:pt x="254" y="7"/>
                    </a:cubicBezTo>
                    <a:cubicBezTo>
                      <a:pt x="255" y="8"/>
                      <a:pt x="255" y="8"/>
                      <a:pt x="255" y="8"/>
                    </a:cubicBezTo>
                    <a:cubicBezTo>
                      <a:pt x="255" y="13"/>
                      <a:pt x="255" y="13"/>
                      <a:pt x="255" y="13"/>
                    </a:cubicBezTo>
                    <a:cubicBezTo>
                      <a:pt x="261" y="22"/>
                      <a:pt x="261" y="22"/>
                      <a:pt x="261" y="22"/>
                    </a:cubicBezTo>
                    <a:cubicBezTo>
                      <a:pt x="267" y="37"/>
                      <a:pt x="267" y="37"/>
                      <a:pt x="267" y="37"/>
                    </a:cubicBezTo>
                    <a:cubicBezTo>
                      <a:pt x="272" y="47"/>
                      <a:pt x="272" y="47"/>
                      <a:pt x="272" y="47"/>
                    </a:cubicBezTo>
                    <a:cubicBezTo>
                      <a:pt x="272" y="47"/>
                      <a:pt x="275" y="53"/>
                      <a:pt x="278" y="53"/>
                    </a:cubicBezTo>
                    <a:cubicBezTo>
                      <a:pt x="280" y="53"/>
                      <a:pt x="286" y="51"/>
                      <a:pt x="286" y="51"/>
                    </a:cubicBezTo>
                    <a:cubicBezTo>
                      <a:pt x="295" y="51"/>
                      <a:pt x="295" y="51"/>
                      <a:pt x="295" y="51"/>
                    </a:cubicBezTo>
                    <a:cubicBezTo>
                      <a:pt x="298" y="51"/>
                      <a:pt x="303" y="58"/>
                      <a:pt x="303" y="58"/>
                    </a:cubicBezTo>
                    <a:cubicBezTo>
                      <a:pt x="305" y="64"/>
                      <a:pt x="305" y="64"/>
                      <a:pt x="305" y="64"/>
                    </a:cubicBezTo>
                    <a:cubicBezTo>
                      <a:pt x="307" y="70"/>
                      <a:pt x="307" y="70"/>
                      <a:pt x="307" y="70"/>
                    </a:cubicBezTo>
                    <a:cubicBezTo>
                      <a:pt x="308" y="73"/>
                      <a:pt x="308" y="73"/>
                      <a:pt x="308" y="73"/>
                    </a:cubicBezTo>
                    <a:cubicBezTo>
                      <a:pt x="313" y="75"/>
                      <a:pt x="313" y="75"/>
                      <a:pt x="313" y="75"/>
                    </a:cubicBezTo>
                    <a:cubicBezTo>
                      <a:pt x="319" y="74"/>
                      <a:pt x="319" y="74"/>
                      <a:pt x="319" y="74"/>
                    </a:cubicBezTo>
                    <a:cubicBezTo>
                      <a:pt x="330" y="69"/>
                      <a:pt x="330" y="69"/>
                      <a:pt x="330" y="69"/>
                    </a:cubicBezTo>
                    <a:cubicBezTo>
                      <a:pt x="336" y="68"/>
                      <a:pt x="336" y="68"/>
                      <a:pt x="336" y="68"/>
                    </a:cubicBezTo>
                    <a:cubicBezTo>
                      <a:pt x="341" y="68"/>
                      <a:pt x="341" y="68"/>
                      <a:pt x="341" y="68"/>
                    </a:cubicBezTo>
                    <a:cubicBezTo>
                      <a:pt x="343" y="72"/>
                      <a:pt x="343" y="72"/>
                      <a:pt x="343" y="72"/>
                    </a:cubicBezTo>
                    <a:cubicBezTo>
                      <a:pt x="346" y="76"/>
                      <a:pt x="346" y="76"/>
                      <a:pt x="346" y="76"/>
                    </a:cubicBezTo>
                    <a:cubicBezTo>
                      <a:pt x="348" y="78"/>
                      <a:pt x="348" y="78"/>
                      <a:pt x="348" y="78"/>
                    </a:cubicBezTo>
                    <a:cubicBezTo>
                      <a:pt x="354" y="79"/>
                      <a:pt x="354" y="79"/>
                      <a:pt x="354" y="79"/>
                    </a:cubicBezTo>
                    <a:lnTo>
                      <a:pt x="354" y="80"/>
                    </a:lnTo>
                    <a:close/>
                    <a:moveTo>
                      <a:pt x="54" y="134"/>
                    </a:moveTo>
                    <a:cubicBezTo>
                      <a:pt x="55" y="134"/>
                      <a:pt x="52" y="138"/>
                      <a:pt x="52" y="139"/>
                    </a:cubicBezTo>
                    <a:cubicBezTo>
                      <a:pt x="48" y="143"/>
                      <a:pt x="49" y="141"/>
                      <a:pt x="45" y="139"/>
                    </a:cubicBezTo>
                    <a:cubicBezTo>
                      <a:pt x="51" y="139"/>
                      <a:pt x="50" y="137"/>
                      <a:pt x="54" y="134"/>
                    </a:cubicBezTo>
                    <a:close/>
                    <a:moveTo>
                      <a:pt x="118" y="116"/>
                    </a:moveTo>
                    <a:cubicBezTo>
                      <a:pt x="118" y="117"/>
                      <a:pt x="118" y="117"/>
                      <a:pt x="118" y="117"/>
                    </a:cubicBezTo>
                    <a:cubicBezTo>
                      <a:pt x="121" y="117"/>
                      <a:pt x="120" y="116"/>
                      <a:pt x="118" y="116"/>
                    </a:cubicBezTo>
                    <a:close/>
                    <a:moveTo>
                      <a:pt x="283" y="98"/>
                    </a:moveTo>
                    <a:cubicBezTo>
                      <a:pt x="283" y="98"/>
                      <a:pt x="284" y="101"/>
                      <a:pt x="284" y="101"/>
                    </a:cubicBezTo>
                    <a:cubicBezTo>
                      <a:pt x="284" y="102"/>
                      <a:pt x="282" y="102"/>
                      <a:pt x="281" y="102"/>
                    </a:cubicBezTo>
                    <a:cubicBezTo>
                      <a:pt x="281" y="103"/>
                      <a:pt x="281" y="104"/>
                      <a:pt x="281" y="105"/>
                    </a:cubicBezTo>
                    <a:cubicBezTo>
                      <a:pt x="279" y="105"/>
                      <a:pt x="278" y="106"/>
                      <a:pt x="276" y="106"/>
                    </a:cubicBezTo>
                    <a:cubicBezTo>
                      <a:pt x="276" y="106"/>
                      <a:pt x="276" y="108"/>
                      <a:pt x="276" y="108"/>
                    </a:cubicBezTo>
                    <a:cubicBezTo>
                      <a:pt x="274" y="109"/>
                      <a:pt x="272" y="107"/>
                      <a:pt x="272" y="107"/>
                    </a:cubicBezTo>
                    <a:cubicBezTo>
                      <a:pt x="269" y="107"/>
                      <a:pt x="264" y="109"/>
                      <a:pt x="262" y="108"/>
                    </a:cubicBezTo>
                    <a:cubicBezTo>
                      <a:pt x="261" y="108"/>
                      <a:pt x="257" y="105"/>
                      <a:pt x="255" y="107"/>
                    </a:cubicBezTo>
                    <a:cubicBezTo>
                      <a:pt x="254" y="108"/>
                      <a:pt x="256" y="108"/>
                      <a:pt x="254" y="108"/>
                    </a:cubicBezTo>
                    <a:cubicBezTo>
                      <a:pt x="254" y="108"/>
                      <a:pt x="254" y="106"/>
                      <a:pt x="254" y="106"/>
                    </a:cubicBezTo>
                    <a:cubicBezTo>
                      <a:pt x="254" y="106"/>
                      <a:pt x="252" y="106"/>
                      <a:pt x="252" y="106"/>
                    </a:cubicBezTo>
                    <a:cubicBezTo>
                      <a:pt x="251" y="107"/>
                      <a:pt x="252" y="108"/>
                      <a:pt x="252" y="109"/>
                    </a:cubicBezTo>
                    <a:cubicBezTo>
                      <a:pt x="251" y="109"/>
                      <a:pt x="249" y="111"/>
                      <a:pt x="249" y="111"/>
                    </a:cubicBezTo>
                    <a:cubicBezTo>
                      <a:pt x="248" y="111"/>
                      <a:pt x="246" y="110"/>
                      <a:pt x="244" y="111"/>
                    </a:cubicBezTo>
                    <a:cubicBezTo>
                      <a:pt x="244" y="111"/>
                      <a:pt x="240" y="116"/>
                      <a:pt x="240" y="116"/>
                    </a:cubicBezTo>
                    <a:cubicBezTo>
                      <a:pt x="239" y="117"/>
                      <a:pt x="238" y="116"/>
                      <a:pt x="236" y="117"/>
                    </a:cubicBezTo>
                    <a:cubicBezTo>
                      <a:pt x="236" y="117"/>
                      <a:pt x="233" y="121"/>
                      <a:pt x="232" y="122"/>
                    </a:cubicBezTo>
                    <a:cubicBezTo>
                      <a:pt x="231" y="122"/>
                      <a:pt x="231" y="122"/>
                      <a:pt x="231" y="122"/>
                    </a:cubicBezTo>
                    <a:cubicBezTo>
                      <a:pt x="230" y="124"/>
                      <a:pt x="230" y="125"/>
                      <a:pt x="230" y="126"/>
                    </a:cubicBezTo>
                    <a:cubicBezTo>
                      <a:pt x="229" y="126"/>
                      <a:pt x="229" y="126"/>
                      <a:pt x="229" y="126"/>
                    </a:cubicBezTo>
                    <a:cubicBezTo>
                      <a:pt x="229" y="128"/>
                      <a:pt x="230" y="129"/>
                      <a:pt x="230" y="130"/>
                    </a:cubicBezTo>
                    <a:cubicBezTo>
                      <a:pt x="230" y="130"/>
                      <a:pt x="231" y="129"/>
                      <a:pt x="232" y="130"/>
                    </a:cubicBezTo>
                    <a:cubicBezTo>
                      <a:pt x="232" y="130"/>
                      <a:pt x="231" y="131"/>
                      <a:pt x="232" y="132"/>
                    </a:cubicBezTo>
                    <a:cubicBezTo>
                      <a:pt x="230" y="131"/>
                      <a:pt x="228" y="130"/>
                      <a:pt x="226" y="129"/>
                    </a:cubicBezTo>
                    <a:cubicBezTo>
                      <a:pt x="226" y="129"/>
                      <a:pt x="228" y="123"/>
                      <a:pt x="226" y="124"/>
                    </a:cubicBezTo>
                    <a:cubicBezTo>
                      <a:pt x="226" y="123"/>
                      <a:pt x="226" y="123"/>
                      <a:pt x="226" y="123"/>
                    </a:cubicBezTo>
                    <a:cubicBezTo>
                      <a:pt x="226" y="123"/>
                      <a:pt x="224" y="123"/>
                      <a:pt x="224" y="123"/>
                    </a:cubicBezTo>
                    <a:cubicBezTo>
                      <a:pt x="224" y="122"/>
                      <a:pt x="223" y="122"/>
                      <a:pt x="223" y="120"/>
                    </a:cubicBezTo>
                    <a:cubicBezTo>
                      <a:pt x="224" y="117"/>
                      <a:pt x="226" y="118"/>
                      <a:pt x="228" y="117"/>
                    </a:cubicBezTo>
                    <a:cubicBezTo>
                      <a:pt x="228" y="115"/>
                      <a:pt x="228" y="115"/>
                      <a:pt x="228" y="115"/>
                    </a:cubicBezTo>
                    <a:cubicBezTo>
                      <a:pt x="229" y="114"/>
                      <a:pt x="231" y="112"/>
                      <a:pt x="232" y="111"/>
                    </a:cubicBezTo>
                    <a:cubicBezTo>
                      <a:pt x="232" y="111"/>
                      <a:pt x="233" y="112"/>
                      <a:pt x="234" y="112"/>
                    </a:cubicBezTo>
                    <a:cubicBezTo>
                      <a:pt x="234" y="111"/>
                      <a:pt x="234" y="109"/>
                      <a:pt x="235" y="108"/>
                    </a:cubicBezTo>
                    <a:cubicBezTo>
                      <a:pt x="236" y="107"/>
                      <a:pt x="238" y="108"/>
                      <a:pt x="239" y="107"/>
                    </a:cubicBezTo>
                    <a:cubicBezTo>
                      <a:pt x="239" y="107"/>
                      <a:pt x="240" y="105"/>
                      <a:pt x="240" y="104"/>
                    </a:cubicBezTo>
                    <a:cubicBezTo>
                      <a:pt x="244" y="103"/>
                      <a:pt x="247" y="105"/>
                      <a:pt x="250" y="104"/>
                    </a:cubicBezTo>
                    <a:cubicBezTo>
                      <a:pt x="252" y="103"/>
                      <a:pt x="252" y="103"/>
                      <a:pt x="252" y="103"/>
                    </a:cubicBezTo>
                    <a:cubicBezTo>
                      <a:pt x="252" y="103"/>
                      <a:pt x="258" y="103"/>
                      <a:pt x="258" y="103"/>
                    </a:cubicBezTo>
                    <a:cubicBezTo>
                      <a:pt x="258" y="104"/>
                      <a:pt x="258" y="104"/>
                      <a:pt x="258" y="104"/>
                    </a:cubicBezTo>
                    <a:cubicBezTo>
                      <a:pt x="260" y="104"/>
                      <a:pt x="260" y="103"/>
                      <a:pt x="262" y="104"/>
                    </a:cubicBezTo>
                    <a:cubicBezTo>
                      <a:pt x="262" y="104"/>
                      <a:pt x="264" y="106"/>
                      <a:pt x="264" y="106"/>
                    </a:cubicBezTo>
                    <a:cubicBezTo>
                      <a:pt x="267" y="106"/>
                      <a:pt x="269" y="104"/>
                      <a:pt x="270" y="104"/>
                    </a:cubicBezTo>
                    <a:cubicBezTo>
                      <a:pt x="275" y="106"/>
                      <a:pt x="275" y="106"/>
                      <a:pt x="275" y="106"/>
                    </a:cubicBezTo>
                    <a:cubicBezTo>
                      <a:pt x="278" y="100"/>
                      <a:pt x="278" y="101"/>
                      <a:pt x="283" y="9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07" name="Freeform 186">
                <a:extLst>
                  <a:ext uri="{FF2B5EF4-FFF2-40B4-BE49-F238E27FC236}">
                    <a16:creationId xmlns:a16="http://schemas.microsoft.com/office/drawing/2014/main" id="{E1D82DB8-5242-7DDD-54EF-FDD64A3FF2CC}"/>
                  </a:ext>
                </a:extLst>
              </p:cNvPr>
              <p:cNvSpPr>
                <a:spLocks/>
              </p:cNvSpPr>
              <p:nvPr/>
            </p:nvSpPr>
            <p:spPr bwMode="auto">
              <a:xfrm>
                <a:off x="3708" y="1540"/>
                <a:ext cx="78" cy="92"/>
              </a:xfrm>
              <a:custGeom>
                <a:avLst/>
                <a:gdLst>
                  <a:gd name="T0" fmla="*/ 8 w 40"/>
                  <a:gd name="T1" fmla="*/ 16 h 47"/>
                  <a:gd name="T2" fmla="*/ 8 w 40"/>
                  <a:gd name="T3" fmla="*/ 14 h 47"/>
                  <a:gd name="T4" fmla="*/ 10 w 40"/>
                  <a:gd name="T5" fmla="*/ 10 h 47"/>
                  <a:gd name="T6" fmla="*/ 15 w 40"/>
                  <a:gd name="T7" fmla="*/ 8 h 47"/>
                  <a:gd name="T8" fmla="*/ 22 w 40"/>
                  <a:gd name="T9" fmla="*/ 10 h 47"/>
                  <a:gd name="T10" fmla="*/ 35 w 40"/>
                  <a:gd name="T11" fmla="*/ 0 h 47"/>
                  <a:gd name="T12" fmla="*/ 40 w 40"/>
                  <a:gd name="T13" fmla="*/ 15 h 47"/>
                  <a:gd name="T14" fmla="*/ 40 w 40"/>
                  <a:gd name="T15" fmla="*/ 17 h 47"/>
                  <a:gd name="T16" fmla="*/ 22 w 40"/>
                  <a:gd name="T17" fmla="*/ 22 h 47"/>
                  <a:gd name="T18" fmla="*/ 28 w 40"/>
                  <a:gd name="T19" fmla="*/ 30 h 47"/>
                  <a:gd name="T20" fmla="*/ 23 w 40"/>
                  <a:gd name="T21" fmla="*/ 34 h 47"/>
                  <a:gd name="T22" fmla="*/ 20 w 40"/>
                  <a:gd name="T23" fmla="*/ 38 h 47"/>
                  <a:gd name="T24" fmla="*/ 17 w 40"/>
                  <a:gd name="T25" fmla="*/ 42 h 47"/>
                  <a:gd name="T26" fmla="*/ 11 w 40"/>
                  <a:gd name="T27" fmla="*/ 46 h 47"/>
                  <a:gd name="T28" fmla="*/ 1 w 40"/>
                  <a:gd name="T29" fmla="*/ 46 h 47"/>
                  <a:gd name="T30" fmla="*/ 0 w 40"/>
                  <a:gd name="T31" fmla="*/ 45 h 47"/>
                  <a:gd name="T32" fmla="*/ 7 w 40"/>
                  <a:gd name="T33" fmla="*/ 35 h 47"/>
                  <a:gd name="T34" fmla="*/ 9 w 40"/>
                  <a:gd name="T35" fmla="*/ 24 h 47"/>
                  <a:gd name="T36" fmla="*/ 8 w 40"/>
                  <a:gd name="T37" fmla="*/ 20 h 47"/>
                  <a:gd name="T38" fmla="*/ 8 w 40"/>
                  <a:gd name="T39" fmla="*/ 20 h 47"/>
                  <a:gd name="T40" fmla="*/ 9 w 40"/>
                  <a:gd name="T41" fmla="*/ 19 h 47"/>
                  <a:gd name="T42" fmla="*/ 8 w 40"/>
                  <a:gd name="T43" fmla="*/ 1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47">
                    <a:moveTo>
                      <a:pt x="8" y="16"/>
                    </a:moveTo>
                    <a:cubicBezTo>
                      <a:pt x="8" y="15"/>
                      <a:pt x="8" y="15"/>
                      <a:pt x="8" y="14"/>
                    </a:cubicBezTo>
                    <a:cubicBezTo>
                      <a:pt x="9" y="16"/>
                      <a:pt x="10" y="10"/>
                      <a:pt x="10" y="10"/>
                    </a:cubicBezTo>
                    <a:cubicBezTo>
                      <a:pt x="11" y="9"/>
                      <a:pt x="14" y="7"/>
                      <a:pt x="15" y="8"/>
                    </a:cubicBezTo>
                    <a:cubicBezTo>
                      <a:pt x="16" y="10"/>
                      <a:pt x="22" y="10"/>
                      <a:pt x="22" y="10"/>
                    </a:cubicBezTo>
                    <a:cubicBezTo>
                      <a:pt x="35" y="0"/>
                      <a:pt x="35" y="0"/>
                      <a:pt x="35" y="0"/>
                    </a:cubicBezTo>
                    <a:cubicBezTo>
                      <a:pt x="40" y="15"/>
                      <a:pt x="40" y="15"/>
                      <a:pt x="40" y="15"/>
                    </a:cubicBezTo>
                    <a:cubicBezTo>
                      <a:pt x="40" y="17"/>
                      <a:pt x="40" y="17"/>
                      <a:pt x="40" y="17"/>
                    </a:cubicBezTo>
                    <a:cubicBezTo>
                      <a:pt x="22" y="22"/>
                      <a:pt x="22" y="22"/>
                      <a:pt x="22" y="22"/>
                    </a:cubicBezTo>
                    <a:cubicBezTo>
                      <a:pt x="28" y="30"/>
                      <a:pt x="28" y="30"/>
                      <a:pt x="28" y="30"/>
                    </a:cubicBezTo>
                    <a:cubicBezTo>
                      <a:pt x="28" y="30"/>
                      <a:pt x="24" y="32"/>
                      <a:pt x="23" y="34"/>
                    </a:cubicBezTo>
                    <a:cubicBezTo>
                      <a:pt x="23" y="37"/>
                      <a:pt x="21" y="36"/>
                      <a:pt x="20" y="38"/>
                    </a:cubicBezTo>
                    <a:cubicBezTo>
                      <a:pt x="19" y="40"/>
                      <a:pt x="17" y="42"/>
                      <a:pt x="17" y="42"/>
                    </a:cubicBezTo>
                    <a:cubicBezTo>
                      <a:pt x="11" y="46"/>
                      <a:pt x="11" y="46"/>
                      <a:pt x="11" y="46"/>
                    </a:cubicBezTo>
                    <a:cubicBezTo>
                      <a:pt x="1" y="46"/>
                      <a:pt x="1" y="46"/>
                      <a:pt x="1" y="46"/>
                    </a:cubicBezTo>
                    <a:cubicBezTo>
                      <a:pt x="1" y="47"/>
                      <a:pt x="0" y="45"/>
                      <a:pt x="0" y="45"/>
                    </a:cubicBezTo>
                    <a:cubicBezTo>
                      <a:pt x="0" y="45"/>
                      <a:pt x="7" y="37"/>
                      <a:pt x="7" y="35"/>
                    </a:cubicBezTo>
                    <a:cubicBezTo>
                      <a:pt x="6" y="30"/>
                      <a:pt x="9" y="24"/>
                      <a:pt x="9" y="24"/>
                    </a:cubicBezTo>
                    <a:cubicBezTo>
                      <a:pt x="9" y="24"/>
                      <a:pt x="8" y="22"/>
                      <a:pt x="8" y="20"/>
                    </a:cubicBezTo>
                    <a:cubicBezTo>
                      <a:pt x="8" y="20"/>
                      <a:pt x="8" y="20"/>
                      <a:pt x="8" y="20"/>
                    </a:cubicBezTo>
                    <a:cubicBezTo>
                      <a:pt x="9" y="20"/>
                      <a:pt x="9" y="19"/>
                      <a:pt x="9" y="19"/>
                    </a:cubicBezTo>
                    <a:cubicBezTo>
                      <a:pt x="9" y="19"/>
                      <a:pt x="8" y="17"/>
                      <a:pt x="8" y="16"/>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08" name="Freeform 187">
                <a:extLst>
                  <a:ext uri="{FF2B5EF4-FFF2-40B4-BE49-F238E27FC236}">
                    <a16:creationId xmlns:a16="http://schemas.microsoft.com/office/drawing/2014/main" id="{6E0F9EA0-1444-47FD-9081-59ABE58996CA}"/>
                  </a:ext>
                </a:extLst>
              </p:cNvPr>
              <p:cNvSpPr>
                <a:spLocks/>
              </p:cNvSpPr>
              <p:nvPr/>
            </p:nvSpPr>
            <p:spPr bwMode="auto">
              <a:xfrm>
                <a:off x="3708" y="1540"/>
                <a:ext cx="78" cy="92"/>
              </a:xfrm>
              <a:custGeom>
                <a:avLst/>
                <a:gdLst>
                  <a:gd name="T0" fmla="*/ 8 w 40"/>
                  <a:gd name="T1" fmla="*/ 16 h 47"/>
                  <a:gd name="T2" fmla="*/ 8 w 40"/>
                  <a:gd name="T3" fmla="*/ 14 h 47"/>
                  <a:gd name="T4" fmla="*/ 10 w 40"/>
                  <a:gd name="T5" fmla="*/ 10 h 47"/>
                  <a:gd name="T6" fmla="*/ 15 w 40"/>
                  <a:gd name="T7" fmla="*/ 8 h 47"/>
                  <a:gd name="T8" fmla="*/ 22 w 40"/>
                  <a:gd name="T9" fmla="*/ 10 h 47"/>
                  <a:gd name="T10" fmla="*/ 35 w 40"/>
                  <a:gd name="T11" fmla="*/ 0 h 47"/>
                  <a:gd name="T12" fmla="*/ 40 w 40"/>
                  <a:gd name="T13" fmla="*/ 15 h 47"/>
                  <a:gd name="T14" fmla="*/ 40 w 40"/>
                  <a:gd name="T15" fmla="*/ 17 h 47"/>
                  <a:gd name="T16" fmla="*/ 22 w 40"/>
                  <a:gd name="T17" fmla="*/ 22 h 47"/>
                  <a:gd name="T18" fmla="*/ 28 w 40"/>
                  <a:gd name="T19" fmla="*/ 30 h 47"/>
                  <a:gd name="T20" fmla="*/ 23 w 40"/>
                  <a:gd name="T21" fmla="*/ 34 h 47"/>
                  <a:gd name="T22" fmla="*/ 20 w 40"/>
                  <a:gd name="T23" fmla="*/ 38 h 47"/>
                  <a:gd name="T24" fmla="*/ 17 w 40"/>
                  <a:gd name="T25" fmla="*/ 42 h 47"/>
                  <a:gd name="T26" fmla="*/ 11 w 40"/>
                  <a:gd name="T27" fmla="*/ 46 h 47"/>
                  <a:gd name="T28" fmla="*/ 1 w 40"/>
                  <a:gd name="T29" fmla="*/ 46 h 47"/>
                  <a:gd name="T30" fmla="*/ 0 w 40"/>
                  <a:gd name="T31" fmla="*/ 45 h 47"/>
                  <a:gd name="T32" fmla="*/ 7 w 40"/>
                  <a:gd name="T33" fmla="*/ 35 h 47"/>
                  <a:gd name="T34" fmla="*/ 9 w 40"/>
                  <a:gd name="T35" fmla="*/ 24 h 47"/>
                  <a:gd name="T36" fmla="*/ 8 w 40"/>
                  <a:gd name="T37" fmla="*/ 20 h 47"/>
                  <a:gd name="T38" fmla="*/ 8 w 40"/>
                  <a:gd name="T39" fmla="*/ 20 h 47"/>
                  <a:gd name="T40" fmla="*/ 9 w 40"/>
                  <a:gd name="T41" fmla="*/ 19 h 47"/>
                  <a:gd name="T42" fmla="*/ 8 w 40"/>
                  <a:gd name="T43" fmla="*/ 1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47">
                    <a:moveTo>
                      <a:pt x="8" y="16"/>
                    </a:moveTo>
                    <a:cubicBezTo>
                      <a:pt x="8" y="15"/>
                      <a:pt x="8" y="15"/>
                      <a:pt x="8" y="14"/>
                    </a:cubicBezTo>
                    <a:cubicBezTo>
                      <a:pt x="9" y="16"/>
                      <a:pt x="10" y="10"/>
                      <a:pt x="10" y="10"/>
                    </a:cubicBezTo>
                    <a:cubicBezTo>
                      <a:pt x="11" y="9"/>
                      <a:pt x="14" y="7"/>
                      <a:pt x="15" y="8"/>
                    </a:cubicBezTo>
                    <a:cubicBezTo>
                      <a:pt x="16" y="10"/>
                      <a:pt x="22" y="10"/>
                      <a:pt x="22" y="10"/>
                    </a:cubicBezTo>
                    <a:cubicBezTo>
                      <a:pt x="35" y="0"/>
                      <a:pt x="35" y="0"/>
                      <a:pt x="35" y="0"/>
                    </a:cubicBezTo>
                    <a:cubicBezTo>
                      <a:pt x="40" y="15"/>
                      <a:pt x="40" y="15"/>
                      <a:pt x="40" y="15"/>
                    </a:cubicBezTo>
                    <a:cubicBezTo>
                      <a:pt x="40" y="17"/>
                      <a:pt x="40" y="17"/>
                      <a:pt x="40" y="17"/>
                    </a:cubicBezTo>
                    <a:cubicBezTo>
                      <a:pt x="22" y="22"/>
                      <a:pt x="22" y="22"/>
                      <a:pt x="22" y="22"/>
                    </a:cubicBezTo>
                    <a:cubicBezTo>
                      <a:pt x="28" y="30"/>
                      <a:pt x="28" y="30"/>
                      <a:pt x="28" y="30"/>
                    </a:cubicBezTo>
                    <a:cubicBezTo>
                      <a:pt x="28" y="30"/>
                      <a:pt x="24" y="32"/>
                      <a:pt x="23" y="34"/>
                    </a:cubicBezTo>
                    <a:cubicBezTo>
                      <a:pt x="23" y="37"/>
                      <a:pt x="21" y="36"/>
                      <a:pt x="20" y="38"/>
                    </a:cubicBezTo>
                    <a:cubicBezTo>
                      <a:pt x="19" y="40"/>
                      <a:pt x="17" y="42"/>
                      <a:pt x="17" y="42"/>
                    </a:cubicBezTo>
                    <a:cubicBezTo>
                      <a:pt x="11" y="46"/>
                      <a:pt x="11" y="46"/>
                      <a:pt x="11" y="46"/>
                    </a:cubicBezTo>
                    <a:cubicBezTo>
                      <a:pt x="1" y="46"/>
                      <a:pt x="1" y="46"/>
                      <a:pt x="1" y="46"/>
                    </a:cubicBezTo>
                    <a:cubicBezTo>
                      <a:pt x="1" y="47"/>
                      <a:pt x="0" y="45"/>
                      <a:pt x="0" y="45"/>
                    </a:cubicBezTo>
                    <a:cubicBezTo>
                      <a:pt x="0" y="45"/>
                      <a:pt x="7" y="37"/>
                      <a:pt x="7" y="35"/>
                    </a:cubicBezTo>
                    <a:cubicBezTo>
                      <a:pt x="6" y="30"/>
                      <a:pt x="9" y="24"/>
                      <a:pt x="9" y="24"/>
                    </a:cubicBezTo>
                    <a:cubicBezTo>
                      <a:pt x="9" y="24"/>
                      <a:pt x="8" y="22"/>
                      <a:pt x="8" y="20"/>
                    </a:cubicBezTo>
                    <a:cubicBezTo>
                      <a:pt x="8" y="20"/>
                      <a:pt x="8" y="20"/>
                      <a:pt x="8" y="20"/>
                    </a:cubicBezTo>
                    <a:cubicBezTo>
                      <a:pt x="9" y="20"/>
                      <a:pt x="9" y="19"/>
                      <a:pt x="9" y="19"/>
                    </a:cubicBezTo>
                    <a:cubicBezTo>
                      <a:pt x="9" y="19"/>
                      <a:pt x="8" y="17"/>
                      <a:pt x="8" y="16"/>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09" name="Freeform 188">
                <a:extLst>
                  <a:ext uri="{FF2B5EF4-FFF2-40B4-BE49-F238E27FC236}">
                    <a16:creationId xmlns:a16="http://schemas.microsoft.com/office/drawing/2014/main" id="{85099490-C0D1-EDFD-73C7-266DED6433CC}"/>
                  </a:ext>
                </a:extLst>
              </p:cNvPr>
              <p:cNvSpPr>
                <a:spLocks noEditPoints="1"/>
              </p:cNvSpPr>
              <p:nvPr/>
            </p:nvSpPr>
            <p:spPr bwMode="auto">
              <a:xfrm>
                <a:off x="5263" y="1248"/>
                <a:ext cx="317" cy="441"/>
              </a:xfrm>
              <a:custGeom>
                <a:avLst/>
                <a:gdLst>
                  <a:gd name="T0" fmla="*/ 10 w 162"/>
                  <a:gd name="T1" fmla="*/ 220 h 225"/>
                  <a:gd name="T2" fmla="*/ 1 w 162"/>
                  <a:gd name="T3" fmla="*/ 221 h 225"/>
                  <a:gd name="T4" fmla="*/ 33 w 162"/>
                  <a:gd name="T5" fmla="*/ 179 h 225"/>
                  <a:gd name="T6" fmla="*/ 26 w 162"/>
                  <a:gd name="T7" fmla="*/ 145 h 225"/>
                  <a:gd name="T8" fmla="*/ 25 w 162"/>
                  <a:gd name="T9" fmla="*/ 153 h 225"/>
                  <a:gd name="T10" fmla="*/ 24 w 162"/>
                  <a:gd name="T11" fmla="*/ 157 h 225"/>
                  <a:gd name="T12" fmla="*/ 30 w 162"/>
                  <a:gd name="T13" fmla="*/ 157 h 225"/>
                  <a:gd name="T14" fmla="*/ 31 w 162"/>
                  <a:gd name="T15" fmla="*/ 157 h 225"/>
                  <a:gd name="T16" fmla="*/ 25 w 162"/>
                  <a:gd name="T17" fmla="*/ 168 h 225"/>
                  <a:gd name="T18" fmla="*/ 31 w 162"/>
                  <a:gd name="T19" fmla="*/ 168 h 225"/>
                  <a:gd name="T20" fmla="*/ 34 w 162"/>
                  <a:gd name="T21" fmla="*/ 170 h 225"/>
                  <a:gd name="T22" fmla="*/ 40 w 162"/>
                  <a:gd name="T23" fmla="*/ 152 h 225"/>
                  <a:gd name="T24" fmla="*/ 35 w 162"/>
                  <a:gd name="T25" fmla="*/ 141 h 225"/>
                  <a:gd name="T26" fmla="*/ 64 w 162"/>
                  <a:gd name="T27" fmla="*/ 138 h 225"/>
                  <a:gd name="T28" fmla="*/ 55 w 162"/>
                  <a:gd name="T29" fmla="*/ 139 h 225"/>
                  <a:gd name="T30" fmla="*/ 44 w 162"/>
                  <a:gd name="T31" fmla="*/ 147 h 225"/>
                  <a:gd name="T32" fmla="*/ 50 w 162"/>
                  <a:gd name="T33" fmla="*/ 155 h 225"/>
                  <a:gd name="T34" fmla="*/ 56 w 162"/>
                  <a:gd name="T35" fmla="*/ 149 h 225"/>
                  <a:gd name="T36" fmla="*/ 62 w 162"/>
                  <a:gd name="T37" fmla="*/ 146 h 225"/>
                  <a:gd name="T38" fmla="*/ 59 w 162"/>
                  <a:gd name="T39" fmla="*/ 136 h 225"/>
                  <a:gd name="T40" fmla="*/ 52 w 162"/>
                  <a:gd name="T41" fmla="*/ 129 h 225"/>
                  <a:gd name="T42" fmla="*/ 109 w 162"/>
                  <a:gd name="T43" fmla="*/ 61 h 225"/>
                  <a:gd name="T44" fmla="*/ 111 w 162"/>
                  <a:gd name="T45" fmla="*/ 71 h 225"/>
                  <a:gd name="T46" fmla="*/ 106 w 162"/>
                  <a:gd name="T47" fmla="*/ 85 h 225"/>
                  <a:gd name="T48" fmla="*/ 93 w 162"/>
                  <a:gd name="T49" fmla="*/ 104 h 225"/>
                  <a:gd name="T50" fmla="*/ 82 w 162"/>
                  <a:gd name="T51" fmla="*/ 108 h 225"/>
                  <a:gd name="T52" fmla="*/ 85 w 162"/>
                  <a:gd name="T53" fmla="*/ 100 h 225"/>
                  <a:gd name="T54" fmla="*/ 75 w 162"/>
                  <a:gd name="T55" fmla="*/ 116 h 225"/>
                  <a:gd name="T56" fmla="*/ 68 w 162"/>
                  <a:gd name="T57" fmla="*/ 122 h 225"/>
                  <a:gd name="T58" fmla="*/ 52 w 162"/>
                  <a:gd name="T59" fmla="*/ 127 h 225"/>
                  <a:gd name="T60" fmla="*/ 48 w 162"/>
                  <a:gd name="T61" fmla="*/ 129 h 225"/>
                  <a:gd name="T62" fmla="*/ 34 w 162"/>
                  <a:gd name="T63" fmla="*/ 135 h 225"/>
                  <a:gd name="T64" fmla="*/ 54 w 162"/>
                  <a:gd name="T65" fmla="*/ 136 h 225"/>
                  <a:gd name="T66" fmla="*/ 70 w 162"/>
                  <a:gd name="T67" fmla="*/ 134 h 225"/>
                  <a:gd name="T68" fmla="*/ 72 w 162"/>
                  <a:gd name="T69" fmla="*/ 147 h 225"/>
                  <a:gd name="T70" fmla="*/ 81 w 162"/>
                  <a:gd name="T71" fmla="*/ 133 h 225"/>
                  <a:gd name="T72" fmla="*/ 86 w 162"/>
                  <a:gd name="T73" fmla="*/ 137 h 225"/>
                  <a:gd name="T74" fmla="*/ 96 w 162"/>
                  <a:gd name="T75" fmla="*/ 133 h 225"/>
                  <a:gd name="T76" fmla="*/ 103 w 162"/>
                  <a:gd name="T77" fmla="*/ 137 h 225"/>
                  <a:gd name="T78" fmla="*/ 108 w 162"/>
                  <a:gd name="T79" fmla="*/ 128 h 225"/>
                  <a:gd name="T80" fmla="*/ 111 w 162"/>
                  <a:gd name="T81" fmla="*/ 125 h 225"/>
                  <a:gd name="T82" fmla="*/ 118 w 162"/>
                  <a:gd name="T83" fmla="*/ 120 h 225"/>
                  <a:gd name="T84" fmla="*/ 118 w 162"/>
                  <a:gd name="T85" fmla="*/ 101 h 225"/>
                  <a:gd name="T86" fmla="*/ 122 w 162"/>
                  <a:gd name="T87" fmla="*/ 83 h 225"/>
                  <a:gd name="T88" fmla="*/ 126 w 162"/>
                  <a:gd name="T89" fmla="*/ 66 h 225"/>
                  <a:gd name="T90" fmla="*/ 117 w 162"/>
                  <a:gd name="T91" fmla="*/ 54 h 225"/>
                  <a:gd name="T92" fmla="*/ 123 w 162"/>
                  <a:gd name="T93" fmla="*/ 53 h 225"/>
                  <a:gd name="T94" fmla="*/ 125 w 162"/>
                  <a:gd name="T95" fmla="*/ 8 h 225"/>
                  <a:gd name="T96" fmla="*/ 122 w 162"/>
                  <a:gd name="T97" fmla="*/ 22 h 225"/>
                  <a:gd name="T98" fmla="*/ 109 w 162"/>
                  <a:gd name="T99" fmla="*/ 36 h 225"/>
                  <a:gd name="T100" fmla="*/ 114 w 162"/>
                  <a:gd name="T101" fmla="*/ 49 h 225"/>
                  <a:gd name="T102" fmla="*/ 115 w 162"/>
                  <a:gd name="T103" fmla="*/ 38 h 225"/>
                  <a:gd name="T104" fmla="*/ 126 w 162"/>
                  <a:gd name="T105" fmla="*/ 37 h 225"/>
                  <a:gd name="T106" fmla="*/ 139 w 162"/>
                  <a:gd name="T107" fmla="*/ 42 h 225"/>
                  <a:gd name="T108" fmla="*/ 156 w 162"/>
                  <a:gd name="T109" fmla="*/ 32 h 225"/>
                  <a:gd name="T110" fmla="*/ 148 w 162"/>
                  <a:gd name="T111" fmla="*/ 18 h 225"/>
                  <a:gd name="T112" fmla="*/ 130 w 162"/>
                  <a:gd name="T113" fmla="*/ 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225">
                    <a:moveTo>
                      <a:pt x="9" y="220"/>
                    </a:moveTo>
                    <a:cubicBezTo>
                      <a:pt x="6" y="222"/>
                      <a:pt x="7" y="223"/>
                      <a:pt x="6" y="224"/>
                    </a:cubicBezTo>
                    <a:cubicBezTo>
                      <a:pt x="6" y="224"/>
                      <a:pt x="5" y="225"/>
                      <a:pt x="7" y="224"/>
                    </a:cubicBezTo>
                    <a:cubicBezTo>
                      <a:pt x="8" y="224"/>
                      <a:pt x="9" y="221"/>
                      <a:pt x="10" y="220"/>
                    </a:cubicBezTo>
                    <a:lnTo>
                      <a:pt x="9" y="220"/>
                    </a:lnTo>
                    <a:close/>
                    <a:moveTo>
                      <a:pt x="0" y="218"/>
                    </a:moveTo>
                    <a:cubicBezTo>
                      <a:pt x="0" y="218"/>
                      <a:pt x="0" y="220"/>
                      <a:pt x="0" y="220"/>
                    </a:cubicBezTo>
                    <a:cubicBezTo>
                      <a:pt x="0" y="220"/>
                      <a:pt x="1" y="221"/>
                      <a:pt x="1" y="221"/>
                    </a:cubicBezTo>
                    <a:cubicBezTo>
                      <a:pt x="1" y="219"/>
                      <a:pt x="2" y="219"/>
                      <a:pt x="0" y="218"/>
                    </a:cubicBezTo>
                    <a:close/>
                    <a:moveTo>
                      <a:pt x="33" y="179"/>
                    </a:moveTo>
                    <a:cubicBezTo>
                      <a:pt x="33" y="179"/>
                      <a:pt x="31" y="183"/>
                      <a:pt x="33" y="182"/>
                    </a:cubicBezTo>
                    <a:cubicBezTo>
                      <a:pt x="34" y="182"/>
                      <a:pt x="35" y="178"/>
                      <a:pt x="33" y="179"/>
                    </a:cubicBezTo>
                    <a:close/>
                    <a:moveTo>
                      <a:pt x="30" y="140"/>
                    </a:moveTo>
                    <a:cubicBezTo>
                      <a:pt x="29" y="140"/>
                      <a:pt x="30" y="143"/>
                      <a:pt x="29" y="143"/>
                    </a:cubicBezTo>
                    <a:cubicBezTo>
                      <a:pt x="28" y="144"/>
                      <a:pt x="28" y="142"/>
                      <a:pt x="27" y="143"/>
                    </a:cubicBezTo>
                    <a:cubicBezTo>
                      <a:pt x="26" y="143"/>
                      <a:pt x="26" y="145"/>
                      <a:pt x="26" y="145"/>
                    </a:cubicBezTo>
                    <a:cubicBezTo>
                      <a:pt x="24" y="145"/>
                      <a:pt x="25" y="146"/>
                      <a:pt x="24" y="146"/>
                    </a:cubicBezTo>
                    <a:cubicBezTo>
                      <a:pt x="23" y="146"/>
                      <a:pt x="23" y="144"/>
                      <a:pt x="22" y="145"/>
                    </a:cubicBezTo>
                    <a:cubicBezTo>
                      <a:pt x="22" y="145"/>
                      <a:pt x="21" y="148"/>
                      <a:pt x="22" y="150"/>
                    </a:cubicBezTo>
                    <a:cubicBezTo>
                      <a:pt x="23" y="151"/>
                      <a:pt x="25" y="151"/>
                      <a:pt x="25" y="153"/>
                    </a:cubicBezTo>
                    <a:cubicBezTo>
                      <a:pt x="26" y="154"/>
                      <a:pt x="24" y="157"/>
                      <a:pt x="24" y="155"/>
                    </a:cubicBezTo>
                    <a:cubicBezTo>
                      <a:pt x="24" y="153"/>
                      <a:pt x="24" y="153"/>
                      <a:pt x="24" y="153"/>
                    </a:cubicBezTo>
                    <a:cubicBezTo>
                      <a:pt x="22" y="154"/>
                      <a:pt x="21" y="153"/>
                      <a:pt x="23" y="155"/>
                    </a:cubicBezTo>
                    <a:cubicBezTo>
                      <a:pt x="24" y="157"/>
                      <a:pt x="24" y="157"/>
                      <a:pt x="24" y="157"/>
                    </a:cubicBezTo>
                    <a:cubicBezTo>
                      <a:pt x="24" y="157"/>
                      <a:pt x="24" y="158"/>
                      <a:pt x="25" y="159"/>
                    </a:cubicBezTo>
                    <a:cubicBezTo>
                      <a:pt x="26" y="158"/>
                      <a:pt x="26" y="158"/>
                      <a:pt x="27" y="157"/>
                    </a:cubicBezTo>
                    <a:cubicBezTo>
                      <a:pt x="27" y="158"/>
                      <a:pt x="27" y="159"/>
                      <a:pt x="29" y="159"/>
                    </a:cubicBezTo>
                    <a:cubicBezTo>
                      <a:pt x="29" y="158"/>
                      <a:pt x="29" y="157"/>
                      <a:pt x="30" y="157"/>
                    </a:cubicBezTo>
                    <a:cubicBezTo>
                      <a:pt x="29" y="155"/>
                      <a:pt x="29" y="153"/>
                      <a:pt x="28" y="151"/>
                    </a:cubicBezTo>
                    <a:cubicBezTo>
                      <a:pt x="28" y="151"/>
                      <a:pt x="29" y="151"/>
                      <a:pt x="30" y="151"/>
                    </a:cubicBezTo>
                    <a:cubicBezTo>
                      <a:pt x="30" y="152"/>
                      <a:pt x="30" y="154"/>
                      <a:pt x="31" y="155"/>
                    </a:cubicBezTo>
                    <a:cubicBezTo>
                      <a:pt x="32" y="156"/>
                      <a:pt x="31" y="157"/>
                      <a:pt x="31" y="157"/>
                    </a:cubicBezTo>
                    <a:cubicBezTo>
                      <a:pt x="29" y="160"/>
                      <a:pt x="29" y="160"/>
                      <a:pt x="26" y="161"/>
                    </a:cubicBezTo>
                    <a:cubicBezTo>
                      <a:pt x="26" y="163"/>
                      <a:pt x="25" y="165"/>
                      <a:pt x="25" y="166"/>
                    </a:cubicBezTo>
                    <a:cubicBezTo>
                      <a:pt x="25" y="167"/>
                      <a:pt x="26" y="168"/>
                      <a:pt x="26" y="167"/>
                    </a:cubicBezTo>
                    <a:cubicBezTo>
                      <a:pt x="26" y="167"/>
                      <a:pt x="25" y="168"/>
                      <a:pt x="25" y="168"/>
                    </a:cubicBezTo>
                    <a:cubicBezTo>
                      <a:pt x="25" y="170"/>
                      <a:pt x="25" y="170"/>
                      <a:pt x="25" y="170"/>
                    </a:cubicBezTo>
                    <a:cubicBezTo>
                      <a:pt x="27" y="170"/>
                      <a:pt x="28" y="171"/>
                      <a:pt x="28" y="171"/>
                    </a:cubicBezTo>
                    <a:cubicBezTo>
                      <a:pt x="28" y="171"/>
                      <a:pt x="28" y="170"/>
                      <a:pt x="29" y="167"/>
                    </a:cubicBezTo>
                    <a:cubicBezTo>
                      <a:pt x="29" y="165"/>
                      <a:pt x="31" y="168"/>
                      <a:pt x="31" y="168"/>
                    </a:cubicBezTo>
                    <a:cubicBezTo>
                      <a:pt x="29" y="167"/>
                      <a:pt x="30" y="173"/>
                      <a:pt x="30" y="174"/>
                    </a:cubicBezTo>
                    <a:cubicBezTo>
                      <a:pt x="30" y="174"/>
                      <a:pt x="32" y="174"/>
                      <a:pt x="32" y="174"/>
                    </a:cubicBezTo>
                    <a:cubicBezTo>
                      <a:pt x="33" y="173"/>
                      <a:pt x="34" y="171"/>
                      <a:pt x="35" y="170"/>
                    </a:cubicBezTo>
                    <a:cubicBezTo>
                      <a:pt x="34" y="170"/>
                      <a:pt x="33" y="171"/>
                      <a:pt x="34" y="170"/>
                    </a:cubicBezTo>
                    <a:cubicBezTo>
                      <a:pt x="34" y="169"/>
                      <a:pt x="36" y="168"/>
                      <a:pt x="36" y="168"/>
                    </a:cubicBezTo>
                    <a:cubicBezTo>
                      <a:pt x="37" y="165"/>
                      <a:pt x="36" y="163"/>
                      <a:pt x="37" y="161"/>
                    </a:cubicBezTo>
                    <a:cubicBezTo>
                      <a:pt x="38" y="158"/>
                      <a:pt x="40" y="155"/>
                      <a:pt x="42" y="153"/>
                    </a:cubicBezTo>
                    <a:cubicBezTo>
                      <a:pt x="42" y="152"/>
                      <a:pt x="40" y="152"/>
                      <a:pt x="40" y="152"/>
                    </a:cubicBezTo>
                    <a:cubicBezTo>
                      <a:pt x="39" y="151"/>
                      <a:pt x="39" y="150"/>
                      <a:pt x="39" y="149"/>
                    </a:cubicBezTo>
                    <a:cubicBezTo>
                      <a:pt x="37" y="150"/>
                      <a:pt x="38" y="146"/>
                      <a:pt x="38" y="144"/>
                    </a:cubicBezTo>
                    <a:cubicBezTo>
                      <a:pt x="38" y="144"/>
                      <a:pt x="35" y="144"/>
                      <a:pt x="34" y="144"/>
                    </a:cubicBezTo>
                    <a:cubicBezTo>
                      <a:pt x="33" y="143"/>
                      <a:pt x="34" y="141"/>
                      <a:pt x="35" y="141"/>
                    </a:cubicBezTo>
                    <a:cubicBezTo>
                      <a:pt x="33" y="140"/>
                      <a:pt x="31" y="140"/>
                      <a:pt x="30" y="140"/>
                    </a:cubicBezTo>
                    <a:close/>
                    <a:moveTo>
                      <a:pt x="63" y="137"/>
                    </a:moveTo>
                    <a:cubicBezTo>
                      <a:pt x="63" y="138"/>
                      <a:pt x="63" y="138"/>
                      <a:pt x="63" y="138"/>
                    </a:cubicBezTo>
                    <a:cubicBezTo>
                      <a:pt x="64" y="138"/>
                      <a:pt x="64" y="138"/>
                      <a:pt x="64" y="138"/>
                    </a:cubicBezTo>
                    <a:cubicBezTo>
                      <a:pt x="63" y="137"/>
                      <a:pt x="65" y="137"/>
                      <a:pt x="63" y="137"/>
                    </a:cubicBezTo>
                    <a:close/>
                    <a:moveTo>
                      <a:pt x="59" y="136"/>
                    </a:moveTo>
                    <a:cubicBezTo>
                      <a:pt x="58" y="136"/>
                      <a:pt x="57" y="136"/>
                      <a:pt x="56" y="137"/>
                    </a:cubicBezTo>
                    <a:cubicBezTo>
                      <a:pt x="55" y="138"/>
                      <a:pt x="56" y="139"/>
                      <a:pt x="55" y="139"/>
                    </a:cubicBezTo>
                    <a:cubicBezTo>
                      <a:pt x="54" y="140"/>
                      <a:pt x="50" y="139"/>
                      <a:pt x="50" y="139"/>
                    </a:cubicBezTo>
                    <a:cubicBezTo>
                      <a:pt x="49" y="140"/>
                      <a:pt x="48" y="142"/>
                      <a:pt x="48" y="143"/>
                    </a:cubicBezTo>
                    <a:cubicBezTo>
                      <a:pt x="47" y="144"/>
                      <a:pt x="46" y="145"/>
                      <a:pt x="45" y="146"/>
                    </a:cubicBezTo>
                    <a:cubicBezTo>
                      <a:pt x="44" y="145"/>
                      <a:pt x="45" y="146"/>
                      <a:pt x="44" y="147"/>
                    </a:cubicBezTo>
                    <a:cubicBezTo>
                      <a:pt x="42" y="144"/>
                      <a:pt x="46" y="150"/>
                      <a:pt x="46" y="150"/>
                    </a:cubicBezTo>
                    <a:cubicBezTo>
                      <a:pt x="47" y="150"/>
                      <a:pt x="47" y="150"/>
                      <a:pt x="47" y="150"/>
                    </a:cubicBezTo>
                    <a:cubicBezTo>
                      <a:pt x="47" y="150"/>
                      <a:pt x="47" y="152"/>
                      <a:pt x="48" y="154"/>
                    </a:cubicBezTo>
                    <a:cubicBezTo>
                      <a:pt x="48" y="154"/>
                      <a:pt x="49" y="155"/>
                      <a:pt x="50" y="155"/>
                    </a:cubicBezTo>
                    <a:cubicBezTo>
                      <a:pt x="50" y="155"/>
                      <a:pt x="49" y="158"/>
                      <a:pt x="51" y="157"/>
                    </a:cubicBezTo>
                    <a:cubicBezTo>
                      <a:pt x="51" y="156"/>
                      <a:pt x="52" y="154"/>
                      <a:pt x="52" y="154"/>
                    </a:cubicBezTo>
                    <a:cubicBezTo>
                      <a:pt x="53" y="153"/>
                      <a:pt x="52" y="150"/>
                      <a:pt x="53" y="149"/>
                    </a:cubicBezTo>
                    <a:cubicBezTo>
                      <a:pt x="53" y="148"/>
                      <a:pt x="56" y="149"/>
                      <a:pt x="56" y="149"/>
                    </a:cubicBezTo>
                    <a:cubicBezTo>
                      <a:pt x="56" y="149"/>
                      <a:pt x="57" y="147"/>
                      <a:pt x="58" y="147"/>
                    </a:cubicBezTo>
                    <a:cubicBezTo>
                      <a:pt x="59" y="147"/>
                      <a:pt x="59" y="148"/>
                      <a:pt x="59" y="149"/>
                    </a:cubicBezTo>
                    <a:cubicBezTo>
                      <a:pt x="60" y="148"/>
                      <a:pt x="62" y="148"/>
                      <a:pt x="62" y="148"/>
                    </a:cubicBezTo>
                    <a:cubicBezTo>
                      <a:pt x="62" y="147"/>
                      <a:pt x="62" y="146"/>
                      <a:pt x="62" y="146"/>
                    </a:cubicBezTo>
                    <a:cubicBezTo>
                      <a:pt x="62" y="145"/>
                      <a:pt x="64" y="144"/>
                      <a:pt x="64" y="144"/>
                    </a:cubicBezTo>
                    <a:cubicBezTo>
                      <a:pt x="65" y="139"/>
                      <a:pt x="63" y="141"/>
                      <a:pt x="62" y="139"/>
                    </a:cubicBezTo>
                    <a:cubicBezTo>
                      <a:pt x="61" y="138"/>
                      <a:pt x="62" y="137"/>
                      <a:pt x="61" y="136"/>
                    </a:cubicBezTo>
                    <a:cubicBezTo>
                      <a:pt x="61" y="136"/>
                      <a:pt x="59" y="136"/>
                      <a:pt x="59" y="136"/>
                    </a:cubicBezTo>
                    <a:close/>
                    <a:moveTo>
                      <a:pt x="53" y="128"/>
                    </a:moveTo>
                    <a:cubicBezTo>
                      <a:pt x="53" y="128"/>
                      <a:pt x="57" y="129"/>
                      <a:pt x="54" y="131"/>
                    </a:cubicBezTo>
                    <a:cubicBezTo>
                      <a:pt x="54" y="131"/>
                      <a:pt x="52" y="131"/>
                      <a:pt x="52" y="131"/>
                    </a:cubicBezTo>
                    <a:cubicBezTo>
                      <a:pt x="52" y="130"/>
                      <a:pt x="51" y="128"/>
                      <a:pt x="52" y="129"/>
                    </a:cubicBezTo>
                    <a:lnTo>
                      <a:pt x="53" y="128"/>
                    </a:lnTo>
                    <a:close/>
                    <a:moveTo>
                      <a:pt x="115" y="53"/>
                    </a:moveTo>
                    <a:cubicBezTo>
                      <a:pt x="114" y="53"/>
                      <a:pt x="114" y="53"/>
                      <a:pt x="113" y="53"/>
                    </a:cubicBezTo>
                    <a:cubicBezTo>
                      <a:pt x="113" y="59"/>
                      <a:pt x="113" y="58"/>
                      <a:pt x="109" y="61"/>
                    </a:cubicBezTo>
                    <a:cubicBezTo>
                      <a:pt x="109" y="63"/>
                      <a:pt x="109" y="62"/>
                      <a:pt x="110" y="63"/>
                    </a:cubicBezTo>
                    <a:cubicBezTo>
                      <a:pt x="110" y="68"/>
                      <a:pt x="110" y="69"/>
                      <a:pt x="107" y="71"/>
                    </a:cubicBezTo>
                    <a:cubicBezTo>
                      <a:pt x="108" y="71"/>
                      <a:pt x="108" y="72"/>
                      <a:pt x="108" y="72"/>
                    </a:cubicBezTo>
                    <a:cubicBezTo>
                      <a:pt x="108" y="72"/>
                      <a:pt x="111" y="71"/>
                      <a:pt x="111" y="71"/>
                    </a:cubicBezTo>
                    <a:cubicBezTo>
                      <a:pt x="111" y="73"/>
                      <a:pt x="111" y="75"/>
                      <a:pt x="110" y="77"/>
                    </a:cubicBezTo>
                    <a:cubicBezTo>
                      <a:pt x="110" y="77"/>
                      <a:pt x="108" y="78"/>
                      <a:pt x="108" y="79"/>
                    </a:cubicBezTo>
                    <a:cubicBezTo>
                      <a:pt x="108" y="81"/>
                      <a:pt x="108" y="82"/>
                      <a:pt x="108" y="84"/>
                    </a:cubicBezTo>
                    <a:cubicBezTo>
                      <a:pt x="107" y="85"/>
                      <a:pt x="106" y="85"/>
                      <a:pt x="106" y="85"/>
                    </a:cubicBezTo>
                    <a:cubicBezTo>
                      <a:pt x="105" y="87"/>
                      <a:pt x="105" y="89"/>
                      <a:pt x="104" y="90"/>
                    </a:cubicBezTo>
                    <a:cubicBezTo>
                      <a:pt x="104" y="91"/>
                      <a:pt x="100" y="95"/>
                      <a:pt x="99" y="96"/>
                    </a:cubicBezTo>
                    <a:cubicBezTo>
                      <a:pt x="98" y="97"/>
                      <a:pt x="96" y="97"/>
                      <a:pt x="96" y="98"/>
                    </a:cubicBezTo>
                    <a:cubicBezTo>
                      <a:pt x="94" y="100"/>
                      <a:pt x="96" y="103"/>
                      <a:pt x="93" y="104"/>
                    </a:cubicBezTo>
                    <a:cubicBezTo>
                      <a:pt x="93" y="105"/>
                      <a:pt x="93" y="105"/>
                      <a:pt x="93" y="105"/>
                    </a:cubicBezTo>
                    <a:cubicBezTo>
                      <a:pt x="92" y="105"/>
                      <a:pt x="91" y="104"/>
                      <a:pt x="90" y="105"/>
                    </a:cubicBezTo>
                    <a:cubicBezTo>
                      <a:pt x="88" y="105"/>
                      <a:pt x="86" y="108"/>
                      <a:pt x="85" y="109"/>
                    </a:cubicBezTo>
                    <a:cubicBezTo>
                      <a:pt x="84" y="109"/>
                      <a:pt x="83" y="108"/>
                      <a:pt x="82" y="108"/>
                    </a:cubicBezTo>
                    <a:cubicBezTo>
                      <a:pt x="82" y="108"/>
                      <a:pt x="82" y="106"/>
                      <a:pt x="82" y="106"/>
                    </a:cubicBezTo>
                    <a:cubicBezTo>
                      <a:pt x="81" y="107"/>
                      <a:pt x="81" y="104"/>
                      <a:pt x="81" y="104"/>
                    </a:cubicBezTo>
                    <a:cubicBezTo>
                      <a:pt x="83" y="103"/>
                      <a:pt x="83" y="103"/>
                      <a:pt x="84" y="101"/>
                    </a:cubicBezTo>
                    <a:cubicBezTo>
                      <a:pt x="84" y="101"/>
                      <a:pt x="85" y="100"/>
                      <a:pt x="85" y="100"/>
                    </a:cubicBezTo>
                    <a:cubicBezTo>
                      <a:pt x="86" y="98"/>
                      <a:pt x="85" y="99"/>
                      <a:pt x="84" y="100"/>
                    </a:cubicBezTo>
                    <a:cubicBezTo>
                      <a:pt x="82" y="101"/>
                      <a:pt x="80" y="102"/>
                      <a:pt x="79" y="103"/>
                    </a:cubicBezTo>
                    <a:cubicBezTo>
                      <a:pt x="78" y="105"/>
                      <a:pt x="79" y="107"/>
                      <a:pt x="79" y="109"/>
                    </a:cubicBezTo>
                    <a:cubicBezTo>
                      <a:pt x="79" y="110"/>
                      <a:pt x="75" y="115"/>
                      <a:pt x="75" y="116"/>
                    </a:cubicBezTo>
                    <a:cubicBezTo>
                      <a:pt x="75" y="117"/>
                      <a:pt x="75" y="119"/>
                      <a:pt x="75" y="120"/>
                    </a:cubicBezTo>
                    <a:cubicBezTo>
                      <a:pt x="76" y="119"/>
                      <a:pt x="75" y="121"/>
                      <a:pt x="75" y="121"/>
                    </a:cubicBezTo>
                    <a:cubicBezTo>
                      <a:pt x="73" y="125"/>
                      <a:pt x="72" y="124"/>
                      <a:pt x="68" y="123"/>
                    </a:cubicBezTo>
                    <a:cubicBezTo>
                      <a:pt x="68" y="122"/>
                      <a:pt x="68" y="122"/>
                      <a:pt x="68" y="122"/>
                    </a:cubicBezTo>
                    <a:cubicBezTo>
                      <a:pt x="63" y="120"/>
                      <a:pt x="62" y="124"/>
                      <a:pt x="60" y="125"/>
                    </a:cubicBezTo>
                    <a:cubicBezTo>
                      <a:pt x="57" y="125"/>
                      <a:pt x="56" y="124"/>
                      <a:pt x="54" y="123"/>
                    </a:cubicBezTo>
                    <a:cubicBezTo>
                      <a:pt x="54" y="123"/>
                      <a:pt x="52" y="126"/>
                      <a:pt x="55" y="125"/>
                    </a:cubicBezTo>
                    <a:cubicBezTo>
                      <a:pt x="54" y="126"/>
                      <a:pt x="54" y="128"/>
                      <a:pt x="52" y="127"/>
                    </a:cubicBezTo>
                    <a:cubicBezTo>
                      <a:pt x="52" y="127"/>
                      <a:pt x="52" y="124"/>
                      <a:pt x="52" y="124"/>
                    </a:cubicBezTo>
                    <a:cubicBezTo>
                      <a:pt x="51" y="124"/>
                      <a:pt x="51" y="124"/>
                      <a:pt x="51" y="124"/>
                    </a:cubicBezTo>
                    <a:cubicBezTo>
                      <a:pt x="51" y="125"/>
                      <a:pt x="50" y="125"/>
                      <a:pt x="49" y="125"/>
                    </a:cubicBezTo>
                    <a:cubicBezTo>
                      <a:pt x="48" y="127"/>
                      <a:pt x="49" y="128"/>
                      <a:pt x="48" y="129"/>
                    </a:cubicBezTo>
                    <a:cubicBezTo>
                      <a:pt x="47" y="129"/>
                      <a:pt x="45" y="129"/>
                      <a:pt x="44" y="130"/>
                    </a:cubicBezTo>
                    <a:cubicBezTo>
                      <a:pt x="44" y="131"/>
                      <a:pt x="44" y="133"/>
                      <a:pt x="43" y="134"/>
                    </a:cubicBezTo>
                    <a:cubicBezTo>
                      <a:pt x="41" y="135"/>
                      <a:pt x="37" y="136"/>
                      <a:pt x="35" y="137"/>
                    </a:cubicBezTo>
                    <a:cubicBezTo>
                      <a:pt x="35" y="136"/>
                      <a:pt x="35" y="135"/>
                      <a:pt x="34" y="135"/>
                    </a:cubicBezTo>
                    <a:cubicBezTo>
                      <a:pt x="33" y="136"/>
                      <a:pt x="33" y="137"/>
                      <a:pt x="32" y="139"/>
                    </a:cubicBezTo>
                    <a:cubicBezTo>
                      <a:pt x="34" y="139"/>
                      <a:pt x="41" y="141"/>
                      <a:pt x="44" y="140"/>
                    </a:cubicBezTo>
                    <a:cubicBezTo>
                      <a:pt x="45" y="140"/>
                      <a:pt x="45" y="137"/>
                      <a:pt x="46" y="137"/>
                    </a:cubicBezTo>
                    <a:cubicBezTo>
                      <a:pt x="49" y="137"/>
                      <a:pt x="51" y="137"/>
                      <a:pt x="54" y="136"/>
                    </a:cubicBezTo>
                    <a:cubicBezTo>
                      <a:pt x="55" y="136"/>
                      <a:pt x="57" y="134"/>
                      <a:pt x="57" y="134"/>
                    </a:cubicBezTo>
                    <a:cubicBezTo>
                      <a:pt x="58" y="134"/>
                      <a:pt x="58" y="135"/>
                      <a:pt x="60" y="135"/>
                    </a:cubicBezTo>
                    <a:cubicBezTo>
                      <a:pt x="60" y="135"/>
                      <a:pt x="62" y="133"/>
                      <a:pt x="62" y="133"/>
                    </a:cubicBezTo>
                    <a:cubicBezTo>
                      <a:pt x="64" y="132"/>
                      <a:pt x="67" y="134"/>
                      <a:pt x="70" y="134"/>
                    </a:cubicBezTo>
                    <a:cubicBezTo>
                      <a:pt x="69" y="134"/>
                      <a:pt x="69" y="136"/>
                      <a:pt x="69" y="136"/>
                    </a:cubicBezTo>
                    <a:cubicBezTo>
                      <a:pt x="66" y="138"/>
                      <a:pt x="67" y="136"/>
                      <a:pt x="67" y="141"/>
                    </a:cubicBezTo>
                    <a:cubicBezTo>
                      <a:pt x="67" y="140"/>
                      <a:pt x="66" y="141"/>
                      <a:pt x="66" y="141"/>
                    </a:cubicBezTo>
                    <a:cubicBezTo>
                      <a:pt x="68" y="143"/>
                      <a:pt x="68" y="147"/>
                      <a:pt x="72" y="147"/>
                    </a:cubicBezTo>
                    <a:cubicBezTo>
                      <a:pt x="75" y="146"/>
                      <a:pt x="76" y="143"/>
                      <a:pt x="78" y="141"/>
                    </a:cubicBezTo>
                    <a:cubicBezTo>
                      <a:pt x="79" y="140"/>
                      <a:pt x="81" y="140"/>
                      <a:pt x="82" y="139"/>
                    </a:cubicBezTo>
                    <a:cubicBezTo>
                      <a:pt x="82" y="138"/>
                      <a:pt x="80" y="135"/>
                      <a:pt x="80" y="135"/>
                    </a:cubicBezTo>
                    <a:cubicBezTo>
                      <a:pt x="80" y="134"/>
                      <a:pt x="82" y="135"/>
                      <a:pt x="81" y="133"/>
                    </a:cubicBezTo>
                    <a:cubicBezTo>
                      <a:pt x="82" y="133"/>
                      <a:pt x="83" y="133"/>
                      <a:pt x="84" y="133"/>
                    </a:cubicBezTo>
                    <a:cubicBezTo>
                      <a:pt x="84" y="133"/>
                      <a:pt x="86" y="133"/>
                      <a:pt x="88" y="133"/>
                    </a:cubicBezTo>
                    <a:cubicBezTo>
                      <a:pt x="88" y="135"/>
                      <a:pt x="88" y="135"/>
                      <a:pt x="88" y="135"/>
                    </a:cubicBezTo>
                    <a:cubicBezTo>
                      <a:pt x="86" y="134"/>
                      <a:pt x="86" y="137"/>
                      <a:pt x="86" y="137"/>
                    </a:cubicBezTo>
                    <a:cubicBezTo>
                      <a:pt x="87" y="136"/>
                      <a:pt x="88" y="137"/>
                      <a:pt x="89" y="137"/>
                    </a:cubicBezTo>
                    <a:cubicBezTo>
                      <a:pt x="89" y="136"/>
                      <a:pt x="90" y="134"/>
                      <a:pt x="90" y="134"/>
                    </a:cubicBezTo>
                    <a:cubicBezTo>
                      <a:pt x="92" y="134"/>
                      <a:pt x="93" y="136"/>
                      <a:pt x="96" y="135"/>
                    </a:cubicBezTo>
                    <a:cubicBezTo>
                      <a:pt x="96" y="135"/>
                      <a:pt x="96" y="134"/>
                      <a:pt x="96" y="133"/>
                    </a:cubicBezTo>
                    <a:cubicBezTo>
                      <a:pt x="97" y="133"/>
                      <a:pt x="98" y="134"/>
                      <a:pt x="98" y="133"/>
                    </a:cubicBezTo>
                    <a:cubicBezTo>
                      <a:pt x="99" y="133"/>
                      <a:pt x="100" y="132"/>
                      <a:pt x="101" y="131"/>
                    </a:cubicBezTo>
                    <a:cubicBezTo>
                      <a:pt x="101" y="133"/>
                      <a:pt x="101" y="134"/>
                      <a:pt x="101" y="136"/>
                    </a:cubicBezTo>
                    <a:cubicBezTo>
                      <a:pt x="103" y="137"/>
                      <a:pt x="103" y="137"/>
                      <a:pt x="103" y="137"/>
                    </a:cubicBezTo>
                    <a:cubicBezTo>
                      <a:pt x="104" y="134"/>
                      <a:pt x="104" y="133"/>
                      <a:pt x="104" y="129"/>
                    </a:cubicBezTo>
                    <a:cubicBezTo>
                      <a:pt x="107" y="129"/>
                      <a:pt x="107" y="129"/>
                      <a:pt x="107" y="129"/>
                    </a:cubicBezTo>
                    <a:cubicBezTo>
                      <a:pt x="108" y="129"/>
                      <a:pt x="107" y="130"/>
                      <a:pt x="108" y="130"/>
                    </a:cubicBezTo>
                    <a:cubicBezTo>
                      <a:pt x="108" y="129"/>
                      <a:pt x="109" y="128"/>
                      <a:pt x="108" y="128"/>
                    </a:cubicBezTo>
                    <a:cubicBezTo>
                      <a:pt x="109" y="127"/>
                      <a:pt x="109" y="122"/>
                      <a:pt x="110" y="121"/>
                    </a:cubicBezTo>
                    <a:cubicBezTo>
                      <a:pt x="110" y="121"/>
                      <a:pt x="112" y="121"/>
                      <a:pt x="112" y="121"/>
                    </a:cubicBezTo>
                    <a:cubicBezTo>
                      <a:pt x="112" y="121"/>
                      <a:pt x="113" y="122"/>
                      <a:pt x="113" y="123"/>
                    </a:cubicBezTo>
                    <a:cubicBezTo>
                      <a:pt x="113" y="124"/>
                      <a:pt x="111" y="124"/>
                      <a:pt x="111" y="125"/>
                    </a:cubicBezTo>
                    <a:cubicBezTo>
                      <a:pt x="110" y="126"/>
                      <a:pt x="111" y="128"/>
                      <a:pt x="110" y="130"/>
                    </a:cubicBezTo>
                    <a:cubicBezTo>
                      <a:pt x="112" y="131"/>
                      <a:pt x="112" y="131"/>
                      <a:pt x="112" y="131"/>
                    </a:cubicBezTo>
                    <a:cubicBezTo>
                      <a:pt x="114" y="128"/>
                      <a:pt x="116" y="125"/>
                      <a:pt x="118" y="122"/>
                    </a:cubicBezTo>
                    <a:cubicBezTo>
                      <a:pt x="118" y="122"/>
                      <a:pt x="118" y="120"/>
                      <a:pt x="118" y="120"/>
                    </a:cubicBezTo>
                    <a:cubicBezTo>
                      <a:pt x="116" y="119"/>
                      <a:pt x="115" y="119"/>
                      <a:pt x="114" y="119"/>
                    </a:cubicBezTo>
                    <a:cubicBezTo>
                      <a:pt x="115" y="118"/>
                      <a:pt x="115" y="118"/>
                      <a:pt x="116" y="117"/>
                    </a:cubicBezTo>
                    <a:cubicBezTo>
                      <a:pt x="116" y="115"/>
                      <a:pt x="115" y="112"/>
                      <a:pt x="115" y="110"/>
                    </a:cubicBezTo>
                    <a:cubicBezTo>
                      <a:pt x="115" y="109"/>
                      <a:pt x="118" y="103"/>
                      <a:pt x="118" y="101"/>
                    </a:cubicBezTo>
                    <a:cubicBezTo>
                      <a:pt x="118" y="98"/>
                      <a:pt x="118" y="91"/>
                      <a:pt x="118" y="87"/>
                    </a:cubicBezTo>
                    <a:cubicBezTo>
                      <a:pt x="119" y="87"/>
                      <a:pt x="121" y="87"/>
                      <a:pt x="122" y="87"/>
                    </a:cubicBezTo>
                    <a:cubicBezTo>
                      <a:pt x="122" y="86"/>
                      <a:pt x="122" y="85"/>
                      <a:pt x="122" y="85"/>
                    </a:cubicBezTo>
                    <a:cubicBezTo>
                      <a:pt x="122" y="83"/>
                      <a:pt x="122" y="83"/>
                      <a:pt x="122" y="83"/>
                    </a:cubicBezTo>
                    <a:cubicBezTo>
                      <a:pt x="122" y="83"/>
                      <a:pt x="124" y="83"/>
                      <a:pt x="124" y="83"/>
                    </a:cubicBezTo>
                    <a:cubicBezTo>
                      <a:pt x="125" y="82"/>
                      <a:pt x="124" y="81"/>
                      <a:pt x="124" y="80"/>
                    </a:cubicBezTo>
                    <a:cubicBezTo>
                      <a:pt x="124" y="79"/>
                      <a:pt x="127" y="78"/>
                      <a:pt x="127" y="77"/>
                    </a:cubicBezTo>
                    <a:cubicBezTo>
                      <a:pt x="127" y="75"/>
                      <a:pt x="127" y="68"/>
                      <a:pt x="126" y="66"/>
                    </a:cubicBezTo>
                    <a:cubicBezTo>
                      <a:pt x="125" y="65"/>
                      <a:pt x="125" y="65"/>
                      <a:pt x="125" y="65"/>
                    </a:cubicBezTo>
                    <a:cubicBezTo>
                      <a:pt x="124" y="63"/>
                      <a:pt x="124" y="59"/>
                      <a:pt x="122" y="57"/>
                    </a:cubicBezTo>
                    <a:cubicBezTo>
                      <a:pt x="120" y="57"/>
                      <a:pt x="117" y="56"/>
                      <a:pt x="116" y="56"/>
                    </a:cubicBezTo>
                    <a:cubicBezTo>
                      <a:pt x="117" y="55"/>
                      <a:pt x="117" y="55"/>
                      <a:pt x="117" y="54"/>
                    </a:cubicBezTo>
                    <a:cubicBezTo>
                      <a:pt x="117" y="54"/>
                      <a:pt x="115" y="53"/>
                      <a:pt x="115" y="53"/>
                    </a:cubicBezTo>
                    <a:close/>
                    <a:moveTo>
                      <a:pt x="120" y="50"/>
                    </a:moveTo>
                    <a:cubicBezTo>
                      <a:pt x="120" y="52"/>
                      <a:pt x="120" y="52"/>
                      <a:pt x="120" y="52"/>
                    </a:cubicBezTo>
                    <a:cubicBezTo>
                      <a:pt x="121" y="52"/>
                      <a:pt x="122" y="53"/>
                      <a:pt x="123" y="53"/>
                    </a:cubicBezTo>
                    <a:cubicBezTo>
                      <a:pt x="123" y="53"/>
                      <a:pt x="123" y="50"/>
                      <a:pt x="123" y="50"/>
                    </a:cubicBezTo>
                    <a:cubicBezTo>
                      <a:pt x="122" y="50"/>
                      <a:pt x="121" y="50"/>
                      <a:pt x="120" y="50"/>
                    </a:cubicBezTo>
                    <a:close/>
                    <a:moveTo>
                      <a:pt x="126" y="0"/>
                    </a:moveTo>
                    <a:cubicBezTo>
                      <a:pt x="122" y="3"/>
                      <a:pt x="122" y="4"/>
                      <a:pt x="125" y="8"/>
                    </a:cubicBezTo>
                    <a:cubicBezTo>
                      <a:pt x="125" y="9"/>
                      <a:pt x="127" y="9"/>
                      <a:pt x="127" y="10"/>
                    </a:cubicBezTo>
                    <a:cubicBezTo>
                      <a:pt x="127" y="12"/>
                      <a:pt x="125" y="13"/>
                      <a:pt x="125" y="15"/>
                    </a:cubicBezTo>
                    <a:cubicBezTo>
                      <a:pt x="125" y="17"/>
                      <a:pt x="125" y="19"/>
                      <a:pt x="125" y="20"/>
                    </a:cubicBezTo>
                    <a:cubicBezTo>
                      <a:pt x="125" y="21"/>
                      <a:pt x="123" y="21"/>
                      <a:pt x="122" y="22"/>
                    </a:cubicBezTo>
                    <a:cubicBezTo>
                      <a:pt x="121" y="27"/>
                      <a:pt x="127" y="33"/>
                      <a:pt x="118" y="30"/>
                    </a:cubicBezTo>
                    <a:cubicBezTo>
                      <a:pt x="117" y="30"/>
                      <a:pt x="116" y="29"/>
                      <a:pt x="114" y="28"/>
                    </a:cubicBezTo>
                    <a:cubicBezTo>
                      <a:pt x="112" y="28"/>
                      <a:pt x="112" y="29"/>
                      <a:pt x="114" y="30"/>
                    </a:cubicBezTo>
                    <a:cubicBezTo>
                      <a:pt x="112" y="33"/>
                      <a:pt x="113" y="33"/>
                      <a:pt x="109" y="36"/>
                    </a:cubicBezTo>
                    <a:cubicBezTo>
                      <a:pt x="109" y="37"/>
                      <a:pt x="109" y="38"/>
                      <a:pt x="109" y="39"/>
                    </a:cubicBezTo>
                    <a:cubicBezTo>
                      <a:pt x="109" y="40"/>
                      <a:pt x="111" y="41"/>
                      <a:pt x="112" y="42"/>
                    </a:cubicBezTo>
                    <a:cubicBezTo>
                      <a:pt x="112" y="44"/>
                      <a:pt x="112" y="46"/>
                      <a:pt x="112" y="48"/>
                    </a:cubicBezTo>
                    <a:cubicBezTo>
                      <a:pt x="113" y="48"/>
                      <a:pt x="113" y="49"/>
                      <a:pt x="114" y="49"/>
                    </a:cubicBezTo>
                    <a:cubicBezTo>
                      <a:pt x="114" y="49"/>
                      <a:pt x="116" y="46"/>
                      <a:pt x="117" y="46"/>
                    </a:cubicBezTo>
                    <a:cubicBezTo>
                      <a:pt x="118" y="46"/>
                      <a:pt x="121" y="46"/>
                      <a:pt x="122" y="46"/>
                    </a:cubicBezTo>
                    <a:cubicBezTo>
                      <a:pt x="119" y="44"/>
                      <a:pt x="118" y="43"/>
                      <a:pt x="115" y="42"/>
                    </a:cubicBezTo>
                    <a:cubicBezTo>
                      <a:pt x="115" y="41"/>
                      <a:pt x="115" y="39"/>
                      <a:pt x="115" y="38"/>
                    </a:cubicBezTo>
                    <a:cubicBezTo>
                      <a:pt x="117" y="38"/>
                      <a:pt x="118" y="36"/>
                      <a:pt x="120" y="37"/>
                    </a:cubicBezTo>
                    <a:cubicBezTo>
                      <a:pt x="120" y="37"/>
                      <a:pt x="120" y="38"/>
                      <a:pt x="122" y="38"/>
                    </a:cubicBezTo>
                    <a:cubicBezTo>
                      <a:pt x="122" y="38"/>
                      <a:pt x="123" y="36"/>
                      <a:pt x="124" y="36"/>
                    </a:cubicBezTo>
                    <a:cubicBezTo>
                      <a:pt x="124" y="36"/>
                      <a:pt x="127" y="37"/>
                      <a:pt x="126" y="37"/>
                    </a:cubicBezTo>
                    <a:cubicBezTo>
                      <a:pt x="127" y="37"/>
                      <a:pt x="127" y="37"/>
                      <a:pt x="127" y="37"/>
                    </a:cubicBezTo>
                    <a:cubicBezTo>
                      <a:pt x="127" y="38"/>
                      <a:pt x="127" y="39"/>
                      <a:pt x="128" y="40"/>
                    </a:cubicBezTo>
                    <a:cubicBezTo>
                      <a:pt x="129" y="40"/>
                      <a:pt x="129" y="41"/>
                      <a:pt x="129" y="42"/>
                    </a:cubicBezTo>
                    <a:cubicBezTo>
                      <a:pt x="132" y="42"/>
                      <a:pt x="136" y="42"/>
                      <a:pt x="139" y="42"/>
                    </a:cubicBezTo>
                    <a:cubicBezTo>
                      <a:pt x="141" y="37"/>
                      <a:pt x="142" y="31"/>
                      <a:pt x="149" y="32"/>
                    </a:cubicBezTo>
                    <a:cubicBezTo>
                      <a:pt x="149" y="32"/>
                      <a:pt x="151" y="34"/>
                      <a:pt x="151" y="34"/>
                    </a:cubicBezTo>
                    <a:cubicBezTo>
                      <a:pt x="152" y="34"/>
                      <a:pt x="152" y="32"/>
                      <a:pt x="152" y="32"/>
                    </a:cubicBezTo>
                    <a:cubicBezTo>
                      <a:pt x="153" y="32"/>
                      <a:pt x="155" y="32"/>
                      <a:pt x="156" y="32"/>
                    </a:cubicBezTo>
                    <a:cubicBezTo>
                      <a:pt x="157" y="31"/>
                      <a:pt x="162" y="28"/>
                      <a:pt x="157" y="28"/>
                    </a:cubicBezTo>
                    <a:cubicBezTo>
                      <a:pt x="157" y="28"/>
                      <a:pt x="158" y="27"/>
                      <a:pt x="157" y="26"/>
                    </a:cubicBezTo>
                    <a:cubicBezTo>
                      <a:pt x="154" y="26"/>
                      <a:pt x="156" y="24"/>
                      <a:pt x="157" y="22"/>
                    </a:cubicBezTo>
                    <a:cubicBezTo>
                      <a:pt x="151" y="22"/>
                      <a:pt x="151" y="22"/>
                      <a:pt x="148" y="18"/>
                    </a:cubicBezTo>
                    <a:cubicBezTo>
                      <a:pt x="145" y="19"/>
                      <a:pt x="143" y="20"/>
                      <a:pt x="140" y="19"/>
                    </a:cubicBezTo>
                    <a:cubicBezTo>
                      <a:pt x="138" y="18"/>
                      <a:pt x="138" y="18"/>
                      <a:pt x="138" y="18"/>
                    </a:cubicBezTo>
                    <a:cubicBezTo>
                      <a:pt x="137" y="17"/>
                      <a:pt x="134" y="9"/>
                      <a:pt x="133" y="7"/>
                    </a:cubicBezTo>
                    <a:cubicBezTo>
                      <a:pt x="132" y="6"/>
                      <a:pt x="131" y="6"/>
                      <a:pt x="130" y="6"/>
                    </a:cubicBezTo>
                    <a:cubicBezTo>
                      <a:pt x="129" y="5"/>
                      <a:pt x="130" y="3"/>
                      <a:pt x="129" y="2"/>
                    </a:cubicBezTo>
                    <a:cubicBezTo>
                      <a:pt x="128" y="1"/>
                      <a:pt x="126" y="0"/>
                      <a:pt x="126"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10" name="Freeform 189">
                <a:extLst>
                  <a:ext uri="{FF2B5EF4-FFF2-40B4-BE49-F238E27FC236}">
                    <a16:creationId xmlns:a16="http://schemas.microsoft.com/office/drawing/2014/main" id="{17330776-A7E8-5C2C-C931-8DACE278387E}"/>
                  </a:ext>
                </a:extLst>
              </p:cNvPr>
              <p:cNvSpPr>
                <a:spLocks noEditPoints="1"/>
              </p:cNvSpPr>
              <p:nvPr/>
            </p:nvSpPr>
            <p:spPr bwMode="auto">
              <a:xfrm>
                <a:off x="5263" y="1248"/>
                <a:ext cx="317" cy="441"/>
              </a:xfrm>
              <a:custGeom>
                <a:avLst/>
                <a:gdLst>
                  <a:gd name="T0" fmla="*/ 10 w 162"/>
                  <a:gd name="T1" fmla="*/ 220 h 225"/>
                  <a:gd name="T2" fmla="*/ 1 w 162"/>
                  <a:gd name="T3" fmla="*/ 221 h 225"/>
                  <a:gd name="T4" fmla="*/ 33 w 162"/>
                  <a:gd name="T5" fmla="*/ 179 h 225"/>
                  <a:gd name="T6" fmla="*/ 26 w 162"/>
                  <a:gd name="T7" fmla="*/ 145 h 225"/>
                  <a:gd name="T8" fmla="*/ 25 w 162"/>
                  <a:gd name="T9" fmla="*/ 153 h 225"/>
                  <a:gd name="T10" fmla="*/ 24 w 162"/>
                  <a:gd name="T11" fmla="*/ 157 h 225"/>
                  <a:gd name="T12" fmla="*/ 30 w 162"/>
                  <a:gd name="T13" fmla="*/ 157 h 225"/>
                  <a:gd name="T14" fmla="*/ 31 w 162"/>
                  <a:gd name="T15" fmla="*/ 157 h 225"/>
                  <a:gd name="T16" fmla="*/ 25 w 162"/>
                  <a:gd name="T17" fmla="*/ 168 h 225"/>
                  <a:gd name="T18" fmla="*/ 31 w 162"/>
                  <a:gd name="T19" fmla="*/ 168 h 225"/>
                  <a:gd name="T20" fmla="*/ 34 w 162"/>
                  <a:gd name="T21" fmla="*/ 170 h 225"/>
                  <a:gd name="T22" fmla="*/ 40 w 162"/>
                  <a:gd name="T23" fmla="*/ 152 h 225"/>
                  <a:gd name="T24" fmla="*/ 35 w 162"/>
                  <a:gd name="T25" fmla="*/ 141 h 225"/>
                  <a:gd name="T26" fmla="*/ 64 w 162"/>
                  <a:gd name="T27" fmla="*/ 138 h 225"/>
                  <a:gd name="T28" fmla="*/ 55 w 162"/>
                  <a:gd name="T29" fmla="*/ 139 h 225"/>
                  <a:gd name="T30" fmla="*/ 44 w 162"/>
                  <a:gd name="T31" fmla="*/ 147 h 225"/>
                  <a:gd name="T32" fmla="*/ 50 w 162"/>
                  <a:gd name="T33" fmla="*/ 155 h 225"/>
                  <a:gd name="T34" fmla="*/ 56 w 162"/>
                  <a:gd name="T35" fmla="*/ 149 h 225"/>
                  <a:gd name="T36" fmla="*/ 62 w 162"/>
                  <a:gd name="T37" fmla="*/ 146 h 225"/>
                  <a:gd name="T38" fmla="*/ 59 w 162"/>
                  <a:gd name="T39" fmla="*/ 136 h 225"/>
                  <a:gd name="T40" fmla="*/ 52 w 162"/>
                  <a:gd name="T41" fmla="*/ 129 h 225"/>
                  <a:gd name="T42" fmla="*/ 109 w 162"/>
                  <a:gd name="T43" fmla="*/ 61 h 225"/>
                  <a:gd name="T44" fmla="*/ 111 w 162"/>
                  <a:gd name="T45" fmla="*/ 71 h 225"/>
                  <a:gd name="T46" fmla="*/ 106 w 162"/>
                  <a:gd name="T47" fmla="*/ 85 h 225"/>
                  <a:gd name="T48" fmla="*/ 93 w 162"/>
                  <a:gd name="T49" fmla="*/ 104 h 225"/>
                  <a:gd name="T50" fmla="*/ 82 w 162"/>
                  <a:gd name="T51" fmla="*/ 108 h 225"/>
                  <a:gd name="T52" fmla="*/ 85 w 162"/>
                  <a:gd name="T53" fmla="*/ 100 h 225"/>
                  <a:gd name="T54" fmla="*/ 75 w 162"/>
                  <a:gd name="T55" fmla="*/ 116 h 225"/>
                  <a:gd name="T56" fmla="*/ 68 w 162"/>
                  <a:gd name="T57" fmla="*/ 122 h 225"/>
                  <a:gd name="T58" fmla="*/ 52 w 162"/>
                  <a:gd name="T59" fmla="*/ 127 h 225"/>
                  <a:gd name="T60" fmla="*/ 48 w 162"/>
                  <a:gd name="T61" fmla="*/ 129 h 225"/>
                  <a:gd name="T62" fmla="*/ 34 w 162"/>
                  <a:gd name="T63" fmla="*/ 135 h 225"/>
                  <a:gd name="T64" fmla="*/ 54 w 162"/>
                  <a:gd name="T65" fmla="*/ 136 h 225"/>
                  <a:gd name="T66" fmla="*/ 70 w 162"/>
                  <a:gd name="T67" fmla="*/ 134 h 225"/>
                  <a:gd name="T68" fmla="*/ 72 w 162"/>
                  <a:gd name="T69" fmla="*/ 147 h 225"/>
                  <a:gd name="T70" fmla="*/ 81 w 162"/>
                  <a:gd name="T71" fmla="*/ 133 h 225"/>
                  <a:gd name="T72" fmla="*/ 86 w 162"/>
                  <a:gd name="T73" fmla="*/ 137 h 225"/>
                  <a:gd name="T74" fmla="*/ 96 w 162"/>
                  <a:gd name="T75" fmla="*/ 133 h 225"/>
                  <a:gd name="T76" fmla="*/ 103 w 162"/>
                  <a:gd name="T77" fmla="*/ 137 h 225"/>
                  <a:gd name="T78" fmla="*/ 108 w 162"/>
                  <a:gd name="T79" fmla="*/ 128 h 225"/>
                  <a:gd name="T80" fmla="*/ 111 w 162"/>
                  <a:gd name="T81" fmla="*/ 125 h 225"/>
                  <a:gd name="T82" fmla="*/ 118 w 162"/>
                  <a:gd name="T83" fmla="*/ 120 h 225"/>
                  <a:gd name="T84" fmla="*/ 118 w 162"/>
                  <a:gd name="T85" fmla="*/ 101 h 225"/>
                  <a:gd name="T86" fmla="*/ 122 w 162"/>
                  <a:gd name="T87" fmla="*/ 83 h 225"/>
                  <a:gd name="T88" fmla="*/ 126 w 162"/>
                  <a:gd name="T89" fmla="*/ 66 h 225"/>
                  <a:gd name="T90" fmla="*/ 117 w 162"/>
                  <a:gd name="T91" fmla="*/ 54 h 225"/>
                  <a:gd name="T92" fmla="*/ 123 w 162"/>
                  <a:gd name="T93" fmla="*/ 53 h 225"/>
                  <a:gd name="T94" fmla="*/ 125 w 162"/>
                  <a:gd name="T95" fmla="*/ 8 h 225"/>
                  <a:gd name="T96" fmla="*/ 122 w 162"/>
                  <a:gd name="T97" fmla="*/ 22 h 225"/>
                  <a:gd name="T98" fmla="*/ 109 w 162"/>
                  <a:gd name="T99" fmla="*/ 36 h 225"/>
                  <a:gd name="T100" fmla="*/ 114 w 162"/>
                  <a:gd name="T101" fmla="*/ 49 h 225"/>
                  <a:gd name="T102" fmla="*/ 115 w 162"/>
                  <a:gd name="T103" fmla="*/ 38 h 225"/>
                  <a:gd name="T104" fmla="*/ 126 w 162"/>
                  <a:gd name="T105" fmla="*/ 37 h 225"/>
                  <a:gd name="T106" fmla="*/ 139 w 162"/>
                  <a:gd name="T107" fmla="*/ 42 h 225"/>
                  <a:gd name="T108" fmla="*/ 156 w 162"/>
                  <a:gd name="T109" fmla="*/ 32 h 225"/>
                  <a:gd name="T110" fmla="*/ 148 w 162"/>
                  <a:gd name="T111" fmla="*/ 18 h 225"/>
                  <a:gd name="T112" fmla="*/ 130 w 162"/>
                  <a:gd name="T113" fmla="*/ 6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225">
                    <a:moveTo>
                      <a:pt x="9" y="220"/>
                    </a:moveTo>
                    <a:cubicBezTo>
                      <a:pt x="6" y="222"/>
                      <a:pt x="7" y="223"/>
                      <a:pt x="6" y="224"/>
                    </a:cubicBezTo>
                    <a:cubicBezTo>
                      <a:pt x="6" y="224"/>
                      <a:pt x="5" y="225"/>
                      <a:pt x="7" y="224"/>
                    </a:cubicBezTo>
                    <a:cubicBezTo>
                      <a:pt x="8" y="224"/>
                      <a:pt x="9" y="221"/>
                      <a:pt x="10" y="220"/>
                    </a:cubicBezTo>
                    <a:lnTo>
                      <a:pt x="9" y="220"/>
                    </a:lnTo>
                    <a:close/>
                    <a:moveTo>
                      <a:pt x="0" y="218"/>
                    </a:moveTo>
                    <a:cubicBezTo>
                      <a:pt x="0" y="218"/>
                      <a:pt x="0" y="220"/>
                      <a:pt x="0" y="220"/>
                    </a:cubicBezTo>
                    <a:cubicBezTo>
                      <a:pt x="0" y="220"/>
                      <a:pt x="1" y="221"/>
                      <a:pt x="1" y="221"/>
                    </a:cubicBezTo>
                    <a:cubicBezTo>
                      <a:pt x="1" y="219"/>
                      <a:pt x="2" y="219"/>
                      <a:pt x="0" y="218"/>
                    </a:cubicBezTo>
                    <a:close/>
                    <a:moveTo>
                      <a:pt x="33" y="179"/>
                    </a:moveTo>
                    <a:cubicBezTo>
                      <a:pt x="33" y="179"/>
                      <a:pt x="31" y="183"/>
                      <a:pt x="33" y="182"/>
                    </a:cubicBezTo>
                    <a:cubicBezTo>
                      <a:pt x="34" y="182"/>
                      <a:pt x="35" y="178"/>
                      <a:pt x="33" y="179"/>
                    </a:cubicBezTo>
                    <a:close/>
                    <a:moveTo>
                      <a:pt x="30" y="140"/>
                    </a:moveTo>
                    <a:cubicBezTo>
                      <a:pt x="29" y="140"/>
                      <a:pt x="30" y="143"/>
                      <a:pt x="29" y="143"/>
                    </a:cubicBezTo>
                    <a:cubicBezTo>
                      <a:pt x="28" y="144"/>
                      <a:pt x="28" y="142"/>
                      <a:pt x="27" y="143"/>
                    </a:cubicBezTo>
                    <a:cubicBezTo>
                      <a:pt x="26" y="143"/>
                      <a:pt x="26" y="145"/>
                      <a:pt x="26" y="145"/>
                    </a:cubicBezTo>
                    <a:cubicBezTo>
                      <a:pt x="24" y="145"/>
                      <a:pt x="25" y="146"/>
                      <a:pt x="24" y="146"/>
                    </a:cubicBezTo>
                    <a:cubicBezTo>
                      <a:pt x="23" y="146"/>
                      <a:pt x="23" y="144"/>
                      <a:pt x="22" y="145"/>
                    </a:cubicBezTo>
                    <a:cubicBezTo>
                      <a:pt x="22" y="145"/>
                      <a:pt x="21" y="148"/>
                      <a:pt x="22" y="150"/>
                    </a:cubicBezTo>
                    <a:cubicBezTo>
                      <a:pt x="23" y="151"/>
                      <a:pt x="25" y="151"/>
                      <a:pt x="25" y="153"/>
                    </a:cubicBezTo>
                    <a:cubicBezTo>
                      <a:pt x="26" y="154"/>
                      <a:pt x="24" y="157"/>
                      <a:pt x="24" y="155"/>
                    </a:cubicBezTo>
                    <a:cubicBezTo>
                      <a:pt x="24" y="153"/>
                      <a:pt x="24" y="153"/>
                      <a:pt x="24" y="153"/>
                    </a:cubicBezTo>
                    <a:cubicBezTo>
                      <a:pt x="22" y="154"/>
                      <a:pt x="21" y="153"/>
                      <a:pt x="23" y="155"/>
                    </a:cubicBezTo>
                    <a:cubicBezTo>
                      <a:pt x="24" y="157"/>
                      <a:pt x="24" y="157"/>
                      <a:pt x="24" y="157"/>
                    </a:cubicBezTo>
                    <a:cubicBezTo>
                      <a:pt x="24" y="157"/>
                      <a:pt x="24" y="158"/>
                      <a:pt x="25" y="159"/>
                    </a:cubicBezTo>
                    <a:cubicBezTo>
                      <a:pt x="26" y="158"/>
                      <a:pt x="26" y="158"/>
                      <a:pt x="27" y="157"/>
                    </a:cubicBezTo>
                    <a:cubicBezTo>
                      <a:pt x="27" y="158"/>
                      <a:pt x="27" y="159"/>
                      <a:pt x="29" y="159"/>
                    </a:cubicBezTo>
                    <a:cubicBezTo>
                      <a:pt x="29" y="158"/>
                      <a:pt x="29" y="157"/>
                      <a:pt x="30" y="157"/>
                    </a:cubicBezTo>
                    <a:cubicBezTo>
                      <a:pt x="29" y="155"/>
                      <a:pt x="29" y="153"/>
                      <a:pt x="28" y="151"/>
                    </a:cubicBezTo>
                    <a:cubicBezTo>
                      <a:pt x="28" y="151"/>
                      <a:pt x="29" y="151"/>
                      <a:pt x="30" y="151"/>
                    </a:cubicBezTo>
                    <a:cubicBezTo>
                      <a:pt x="30" y="152"/>
                      <a:pt x="30" y="154"/>
                      <a:pt x="31" y="155"/>
                    </a:cubicBezTo>
                    <a:cubicBezTo>
                      <a:pt x="32" y="156"/>
                      <a:pt x="31" y="157"/>
                      <a:pt x="31" y="157"/>
                    </a:cubicBezTo>
                    <a:cubicBezTo>
                      <a:pt x="29" y="160"/>
                      <a:pt x="29" y="160"/>
                      <a:pt x="26" y="161"/>
                    </a:cubicBezTo>
                    <a:cubicBezTo>
                      <a:pt x="26" y="163"/>
                      <a:pt x="25" y="165"/>
                      <a:pt x="25" y="166"/>
                    </a:cubicBezTo>
                    <a:cubicBezTo>
                      <a:pt x="25" y="167"/>
                      <a:pt x="26" y="168"/>
                      <a:pt x="26" y="167"/>
                    </a:cubicBezTo>
                    <a:cubicBezTo>
                      <a:pt x="26" y="167"/>
                      <a:pt x="25" y="168"/>
                      <a:pt x="25" y="168"/>
                    </a:cubicBezTo>
                    <a:cubicBezTo>
                      <a:pt x="25" y="170"/>
                      <a:pt x="25" y="170"/>
                      <a:pt x="25" y="170"/>
                    </a:cubicBezTo>
                    <a:cubicBezTo>
                      <a:pt x="27" y="170"/>
                      <a:pt x="28" y="171"/>
                      <a:pt x="28" y="171"/>
                    </a:cubicBezTo>
                    <a:cubicBezTo>
                      <a:pt x="28" y="171"/>
                      <a:pt x="28" y="170"/>
                      <a:pt x="29" y="167"/>
                    </a:cubicBezTo>
                    <a:cubicBezTo>
                      <a:pt x="29" y="165"/>
                      <a:pt x="31" y="168"/>
                      <a:pt x="31" y="168"/>
                    </a:cubicBezTo>
                    <a:cubicBezTo>
                      <a:pt x="29" y="167"/>
                      <a:pt x="30" y="173"/>
                      <a:pt x="30" y="174"/>
                    </a:cubicBezTo>
                    <a:cubicBezTo>
                      <a:pt x="30" y="174"/>
                      <a:pt x="32" y="174"/>
                      <a:pt x="32" y="174"/>
                    </a:cubicBezTo>
                    <a:cubicBezTo>
                      <a:pt x="33" y="173"/>
                      <a:pt x="34" y="171"/>
                      <a:pt x="35" y="170"/>
                    </a:cubicBezTo>
                    <a:cubicBezTo>
                      <a:pt x="34" y="170"/>
                      <a:pt x="33" y="171"/>
                      <a:pt x="34" y="170"/>
                    </a:cubicBezTo>
                    <a:cubicBezTo>
                      <a:pt x="34" y="169"/>
                      <a:pt x="36" y="168"/>
                      <a:pt x="36" y="168"/>
                    </a:cubicBezTo>
                    <a:cubicBezTo>
                      <a:pt x="37" y="165"/>
                      <a:pt x="36" y="163"/>
                      <a:pt x="37" y="161"/>
                    </a:cubicBezTo>
                    <a:cubicBezTo>
                      <a:pt x="38" y="158"/>
                      <a:pt x="40" y="155"/>
                      <a:pt x="42" y="153"/>
                    </a:cubicBezTo>
                    <a:cubicBezTo>
                      <a:pt x="42" y="152"/>
                      <a:pt x="40" y="152"/>
                      <a:pt x="40" y="152"/>
                    </a:cubicBezTo>
                    <a:cubicBezTo>
                      <a:pt x="39" y="151"/>
                      <a:pt x="39" y="150"/>
                      <a:pt x="39" y="149"/>
                    </a:cubicBezTo>
                    <a:cubicBezTo>
                      <a:pt x="37" y="150"/>
                      <a:pt x="38" y="146"/>
                      <a:pt x="38" y="144"/>
                    </a:cubicBezTo>
                    <a:cubicBezTo>
                      <a:pt x="38" y="144"/>
                      <a:pt x="35" y="144"/>
                      <a:pt x="34" y="144"/>
                    </a:cubicBezTo>
                    <a:cubicBezTo>
                      <a:pt x="33" y="143"/>
                      <a:pt x="34" y="141"/>
                      <a:pt x="35" y="141"/>
                    </a:cubicBezTo>
                    <a:cubicBezTo>
                      <a:pt x="33" y="140"/>
                      <a:pt x="31" y="140"/>
                      <a:pt x="30" y="140"/>
                    </a:cubicBezTo>
                    <a:close/>
                    <a:moveTo>
                      <a:pt x="63" y="137"/>
                    </a:moveTo>
                    <a:cubicBezTo>
                      <a:pt x="63" y="138"/>
                      <a:pt x="63" y="138"/>
                      <a:pt x="63" y="138"/>
                    </a:cubicBezTo>
                    <a:cubicBezTo>
                      <a:pt x="64" y="138"/>
                      <a:pt x="64" y="138"/>
                      <a:pt x="64" y="138"/>
                    </a:cubicBezTo>
                    <a:cubicBezTo>
                      <a:pt x="63" y="137"/>
                      <a:pt x="65" y="137"/>
                      <a:pt x="63" y="137"/>
                    </a:cubicBezTo>
                    <a:close/>
                    <a:moveTo>
                      <a:pt x="59" y="136"/>
                    </a:moveTo>
                    <a:cubicBezTo>
                      <a:pt x="58" y="136"/>
                      <a:pt x="57" y="136"/>
                      <a:pt x="56" y="137"/>
                    </a:cubicBezTo>
                    <a:cubicBezTo>
                      <a:pt x="55" y="138"/>
                      <a:pt x="56" y="139"/>
                      <a:pt x="55" y="139"/>
                    </a:cubicBezTo>
                    <a:cubicBezTo>
                      <a:pt x="54" y="140"/>
                      <a:pt x="50" y="139"/>
                      <a:pt x="50" y="139"/>
                    </a:cubicBezTo>
                    <a:cubicBezTo>
                      <a:pt x="49" y="140"/>
                      <a:pt x="48" y="142"/>
                      <a:pt x="48" y="143"/>
                    </a:cubicBezTo>
                    <a:cubicBezTo>
                      <a:pt x="47" y="144"/>
                      <a:pt x="46" y="145"/>
                      <a:pt x="45" y="146"/>
                    </a:cubicBezTo>
                    <a:cubicBezTo>
                      <a:pt x="44" y="145"/>
                      <a:pt x="45" y="146"/>
                      <a:pt x="44" y="147"/>
                    </a:cubicBezTo>
                    <a:cubicBezTo>
                      <a:pt x="42" y="144"/>
                      <a:pt x="46" y="150"/>
                      <a:pt x="46" y="150"/>
                    </a:cubicBezTo>
                    <a:cubicBezTo>
                      <a:pt x="47" y="150"/>
                      <a:pt x="47" y="150"/>
                      <a:pt x="47" y="150"/>
                    </a:cubicBezTo>
                    <a:cubicBezTo>
                      <a:pt x="47" y="150"/>
                      <a:pt x="47" y="152"/>
                      <a:pt x="48" y="154"/>
                    </a:cubicBezTo>
                    <a:cubicBezTo>
                      <a:pt x="48" y="154"/>
                      <a:pt x="49" y="155"/>
                      <a:pt x="50" y="155"/>
                    </a:cubicBezTo>
                    <a:cubicBezTo>
                      <a:pt x="50" y="155"/>
                      <a:pt x="49" y="158"/>
                      <a:pt x="51" y="157"/>
                    </a:cubicBezTo>
                    <a:cubicBezTo>
                      <a:pt x="51" y="156"/>
                      <a:pt x="52" y="154"/>
                      <a:pt x="52" y="154"/>
                    </a:cubicBezTo>
                    <a:cubicBezTo>
                      <a:pt x="53" y="153"/>
                      <a:pt x="52" y="150"/>
                      <a:pt x="53" y="149"/>
                    </a:cubicBezTo>
                    <a:cubicBezTo>
                      <a:pt x="53" y="148"/>
                      <a:pt x="56" y="149"/>
                      <a:pt x="56" y="149"/>
                    </a:cubicBezTo>
                    <a:cubicBezTo>
                      <a:pt x="56" y="149"/>
                      <a:pt x="57" y="147"/>
                      <a:pt x="58" y="147"/>
                    </a:cubicBezTo>
                    <a:cubicBezTo>
                      <a:pt x="59" y="147"/>
                      <a:pt x="59" y="148"/>
                      <a:pt x="59" y="149"/>
                    </a:cubicBezTo>
                    <a:cubicBezTo>
                      <a:pt x="60" y="148"/>
                      <a:pt x="62" y="148"/>
                      <a:pt x="62" y="148"/>
                    </a:cubicBezTo>
                    <a:cubicBezTo>
                      <a:pt x="62" y="147"/>
                      <a:pt x="62" y="146"/>
                      <a:pt x="62" y="146"/>
                    </a:cubicBezTo>
                    <a:cubicBezTo>
                      <a:pt x="62" y="145"/>
                      <a:pt x="64" y="144"/>
                      <a:pt x="64" y="144"/>
                    </a:cubicBezTo>
                    <a:cubicBezTo>
                      <a:pt x="65" y="139"/>
                      <a:pt x="63" y="141"/>
                      <a:pt x="62" y="139"/>
                    </a:cubicBezTo>
                    <a:cubicBezTo>
                      <a:pt x="61" y="138"/>
                      <a:pt x="62" y="137"/>
                      <a:pt x="61" y="136"/>
                    </a:cubicBezTo>
                    <a:cubicBezTo>
                      <a:pt x="61" y="136"/>
                      <a:pt x="59" y="136"/>
                      <a:pt x="59" y="136"/>
                    </a:cubicBezTo>
                    <a:close/>
                    <a:moveTo>
                      <a:pt x="53" y="128"/>
                    </a:moveTo>
                    <a:cubicBezTo>
                      <a:pt x="53" y="128"/>
                      <a:pt x="57" y="129"/>
                      <a:pt x="54" y="131"/>
                    </a:cubicBezTo>
                    <a:cubicBezTo>
                      <a:pt x="54" y="131"/>
                      <a:pt x="52" y="131"/>
                      <a:pt x="52" y="131"/>
                    </a:cubicBezTo>
                    <a:cubicBezTo>
                      <a:pt x="52" y="130"/>
                      <a:pt x="51" y="128"/>
                      <a:pt x="52" y="129"/>
                    </a:cubicBezTo>
                    <a:lnTo>
                      <a:pt x="53" y="128"/>
                    </a:lnTo>
                    <a:close/>
                    <a:moveTo>
                      <a:pt x="115" y="53"/>
                    </a:moveTo>
                    <a:cubicBezTo>
                      <a:pt x="114" y="53"/>
                      <a:pt x="114" y="53"/>
                      <a:pt x="113" y="53"/>
                    </a:cubicBezTo>
                    <a:cubicBezTo>
                      <a:pt x="113" y="59"/>
                      <a:pt x="113" y="58"/>
                      <a:pt x="109" y="61"/>
                    </a:cubicBezTo>
                    <a:cubicBezTo>
                      <a:pt x="109" y="63"/>
                      <a:pt x="109" y="62"/>
                      <a:pt x="110" y="63"/>
                    </a:cubicBezTo>
                    <a:cubicBezTo>
                      <a:pt x="110" y="68"/>
                      <a:pt x="110" y="69"/>
                      <a:pt x="107" y="71"/>
                    </a:cubicBezTo>
                    <a:cubicBezTo>
                      <a:pt x="108" y="71"/>
                      <a:pt x="108" y="72"/>
                      <a:pt x="108" y="72"/>
                    </a:cubicBezTo>
                    <a:cubicBezTo>
                      <a:pt x="108" y="72"/>
                      <a:pt x="111" y="71"/>
                      <a:pt x="111" y="71"/>
                    </a:cubicBezTo>
                    <a:cubicBezTo>
                      <a:pt x="111" y="73"/>
                      <a:pt x="111" y="75"/>
                      <a:pt x="110" y="77"/>
                    </a:cubicBezTo>
                    <a:cubicBezTo>
                      <a:pt x="110" y="77"/>
                      <a:pt x="108" y="78"/>
                      <a:pt x="108" y="79"/>
                    </a:cubicBezTo>
                    <a:cubicBezTo>
                      <a:pt x="108" y="81"/>
                      <a:pt x="108" y="82"/>
                      <a:pt x="108" y="84"/>
                    </a:cubicBezTo>
                    <a:cubicBezTo>
                      <a:pt x="107" y="85"/>
                      <a:pt x="106" y="85"/>
                      <a:pt x="106" y="85"/>
                    </a:cubicBezTo>
                    <a:cubicBezTo>
                      <a:pt x="105" y="87"/>
                      <a:pt x="105" y="89"/>
                      <a:pt x="104" y="90"/>
                    </a:cubicBezTo>
                    <a:cubicBezTo>
                      <a:pt x="104" y="91"/>
                      <a:pt x="100" y="95"/>
                      <a:pt x="99" y="96"/>
                    </a:cubicBezTo>
                    <a:cubicBezTo>
                      <a:pt x="98" y="97"/>
                      <a:pt x="96" y="97"/>
                      <a:pt x="96" y="98"/>
                    </a:cubicBezTo>
                    <a:cubicBezTo>
                      <a:pt x="94" y="100"/>
                      <a:pt x="96" y="103"/>
                      <a:pt x="93" y="104"/>
                    </a:cubicBezTo>
                    <a:cubicBezTo>
                      <a:pt x="93" y="105"/>
                      <a:pt x="93" y="105"/>
                      <a:pt x="93" y="105"/>
                    </a:cubicBezTo>
                    <a:cubicBezTo>
                      <a:pt x="92" y="105"/>
                      <a:pt x="91" y="104"/>
                      <a:pt x="90" y="105"/>
                    </a:cubicBezTo>
                    <a:cubicBezTo>
                      <a:pt x="88" y="105"/>
                      <a:pt x="86" y="108"/>
                      <a:pt x="85" y="109"/>
                    </a:cubicBezTo>
                    <a:cubicBezTo>
                      <a:pt x="84" y="109"/>
                      <a:pt x="83" y="108"/>
                      <a:pt x="82" y="108"/>
                    </a:cubicBezTo>
                    <a:cubicBezTo>
                      <a:pt x="82" y="108"/>
                      <a:pt x="82" y="106"/>
                      <a:pt x="82" y="106"/>
                    </a:cubicBezTo>
                    <a:cubicBezTo>
                      <a:pt x="81" y="107"/>
                      <a:pt x="81" y="104"/>
                      <a:pt x="81" y="104"/>
                    </a:cubicBezTo>
                    <a:cubicBezTo>
                      <a:pt x="83" y="103"/>
                      <a:pt x="83" y="103"/>
                      <a:pt x="84" y="101"/>
                    </a:cubicBezTo>
                    <a:cubicBezTo>
                      <a:pt x="84" y="101"/>
                      <a:pt x="85" y="100"/>
                      <a:pt x="85" y="100"/>
                    </a:cubicBezTo>
                    <a:cubicBezTo>
                      <a:pt x="86" y="98"/>
                      <a:pt x="85" y="99"/>
                      <a:pt x="84" y="100"/>
                    </a:cubicBezTo>
                    <a:cubicBezTo>
                      <a:pt x="82" y="101"/>
                      <a:pt x="80" y="102"/>
                      <a:pt x="79" y="103"/>
                    </a:cubicBezTo>
                    <a:cubicBezTo>
                      <a:pt x="78" y="105"/>
                      <a:pt x="79" y="107"/>
                      <a:pt x="79" y="109"/>
                    </a:cubicBezTo>
                    <a:cubicBezTo>
                      <a:pt x="79" y="110"/>
                      <a:pt x="75" y="115"/>
                      <a:pt x="75" y="116"/>
                    </a:cubicBezTo>
                    <a:cubicBezTo>
                      <a:pt x="75" y="117"/>
                      <a:pt x="75" y="119"/>
                      <a:pt x="75" y="120"/>
                    </a:cubicBezTo>
                    <a:cubicBezTo>
                      <a:pt x="76" y="119"/>
                      <a:pt x="75" y="121"/>
                      <a:pt x="75" y="121"/>
                    </a:cubicBezTo>
                    <a:cubicBezTo>
                      <a:pt x="73" y="125"/>
                      <a:pt x="72" y="124"/>
                      <a:pt x="68" y="123"/>
                    </a:cubicBezTo>
                    <a:cubicBezTo>
                      <a:pt x="68" y="122"/>
                      <a:pt x="68" y="122"/>
                      <a:pt x="68" y="122"/>
                    </a:cubicBezTo>
                    <a:cubicBezTo>
                      <a:pt x="63" y="120"/>
                      <a:pt x="62" y="124"/>
                      <a:pt x="60" y="125"/>
                    </a:cubicBezTo>
                    <a:cubicBezTo>
                      <a:pt x="57" y="125"/>
                      <a:pt x="56" y="124"/>
                      <a:pt x="54" y="123"/>
                    </a:cubicBezTo>
                    <a:cubicBezTo>
                      <a:pt x="54" y="123"/>
                      <a:pt x="52" y="126"/>
                      <a:pt x="55" y="125"/>
                    </a:cubicBezTo>
                    <a:cubicBezTo>
                      <a:pt x="54" y="126"/>
                      <a:pt x="54" y="128"/>
                      <a:pt x="52" y="127"/>
                    </a:cubicBezTo>
                    <a:cubicBezTo>
                      <a:pt x="52" y="127"/>
                      <a:pt x="52" y="124"/>
                      <a:pt x="52" y="124"/>
                    </a:cubicBezTo>
                    <a:cubicBezTo>
                      <a:pt x="51" y="124"/>
                      <a:pt x="51" y="124"/>
                      <a:pt x="51" y="124"/>
                    </a:cubicBezTo>
                    <a:cubicBezTo>
                      <a:pt x="51" y="125"/>
                      <a:pt x="50" y="125"/>
                      <a:pt x="49" y="125"/>
                    </a:cubicBezTo>
                    <a:cubicBezTo>
                      <a:pt x="48" y="127"/>
                      <a:pt x="49" y="128"/>
                      <a:pt x="48" y="129"/>
                    </a:cubicBezTo>
                    <a:cubicBezTo>
                      <a:pt x="47" y="129"/>
                      <a:pt x="45" y="129"/>
                      <a:pt x="44" y="130"/>
                    </a:cubicBezTo>
                    <a:cubicBezTo>
                      <a:pt x="44" y="131"/>
                      <a:pt x="44" y="133"/>
                      <a:pt x="43" y="134"/>
                    </a:cubicBezTo>
                    <a:cubicBezTo>
                      <a:pt x="41" y="135"/>
                      <a:pt x="37" y="136"/>
                      <a:pt x="35" y="137"/>
                    </a:cubicBezTo>
                    <a:cubicBezTo>
                      <a:pt x="35" y="136"/>
                      <a:pt x="35" y="135"/>
                      <a:pt x="34" y="135"/>
                    </a:cubicBezTo>
                    <a:cubicBezTo>
                      <a:pt x="33" y="136"/>
                      <a:pt x="33" y="137"/>
                      <a:pt x="32" y="139"/>
                    </a:cubicBezTo>
                    <a:cubicBezTo>
                      <a:pt x="34" y="139"/>
                      <a:pt x="41" y="141"/>
                      <a:pt x="44" y="140"/>
                    </a:cubicBezTo>
                    <a:cubicBezTo>
                      <a:pt x="45" y="140"/>
                      <a:pt x="45" y="137"/>
                      <a:pt x="46" y="137"/>
                    </a:cubicBezTo>
                    <a:cubicBezTo>
                      <a:pt x="49" y="137"/>
                      <a:pt x="51" y="137"/>
                      <a:pt x="54" y="136"/>
                    </a:cubicBezTo>
                    <a:cubicBezTo>
                      <a:pt x="55" y="136"/>
                      <a:pt x="57" y="134"/>
                      <a:pt x="57" y="134"/>
                    </a:cubicBezTo>
                    <a:cubicBezTo>
                      <a:pt x="58" y="134"/>
                      <a:pt x="58" y="135"/>
                      <a:pt x="60" y="135"/>
                    </a:cubicBezTo>
                    <a:cubicBezTo>
                      <a:pt x="60" y="135"/>
                      <a:pt x="62" y="133"/>
                      <a:pt x="62" y="133"/>
                    </a:cubicBezTo>
                    <a:cubicBezTo>
                      <a:pt x="64" y="132"/>
                      <a:pt x="67" y="134"/>
                      <a:pt x="70" y="134"/>
                    </a:cubicBezTo>
                    <a:cubicBezTo>
                      <a:pt x="69" y="134"/>
                      <a:pt x="69" y="136"/>
                      <a:pt x="69" y="136"/>
                    </a:cubicBezTo>
                    <a:cubicBezTo>
                      <a:pt x="66" y="138"/>
                      <a:pt x="67" y="136"/>
                      <a:pt x="67" y="141"/>
                    </a:cubicBezTo>
                    <a:cubicBezTo>
                      <a:pt x="67" y="140"/>
                      <a:pt x="66" y="141"/>
                      <a:pt x="66" y="141"/>
                    </a:cubicBezTo>
                    <a:cubicBezTo>
                      <a:pt x="68" y="143"/>
                      <a:pt x="68" y="147"/>
                      <a:pt x="72" y="147"/>
                    </a:cubicBezTo>
                    <a:cubicBezTo>
                      <a:pt x="75" y="146"/>
                      <a:pt x="76" y="143"/>
                      <a:pt x="78" y="141"/>
                    </a:cubicBezTo>
                    <a:cubicBezTo>
                      <a:pt x="79" y="140"/>
                      <a:pt x="81" y="140"/>
                      <a:pt x="82" y="139"/>
                    </a:cubicBezTo>
                    <a:cubicBezTo>
                      <a:pt x="82" y="138"/>
                      <a:pt x="80" y="135"/>
                      <a:pt x="80" y="135"/>
                    </a:cubicBezTo>
                    <a:cubicBezTo>
                      <a:pt x="80" y="134"/>
                      <a:pt x="82" y="135"/>
                      <a:pt x="81" y="133"/>
                    </a:cubicBezTo>
                    <a:cubicBezTo>
                      <a:pt x="82" y="133"/>
                      <a:pt x="83" y="133"/>
                      <a:pt x="84" y="133"/>
                    </a:cubicBezTo>
                    <a:cubicBezTo>
                      <a:pt x="84" y="133"/>
                      <a:pt x="86" y="133"/>
                      <a:pt x="88" y="133"/>
                    </a:cubicBezTo>
                    <a:cubicBezTo>
                      <a:pt x="88" y="135"/>
                      <a:pt x="88" y="135"/>
                      <a:pt x="88" y="135"/>
                    </a:cubicBezTo>
                    <a:cubicBezTo>
                      <a:pt x="86" y="134"/>
                      <a:pt x="86" y="137"/>
                      <a:pt x="86" y="137"/>
                    </a:cubicBezTo>
                    <a:cubicBezTo>
                      <a:pt x="87" y="136"/>
                      <a:pt x="88" y="137"/>
                      <a:pt x="89" y="137"/>
                    </a:cubicBezTo>
                    <a:cubicBezTo>
                      <a:pt x="89" y="136"/>
                      <a:pt x="90" y="134"/>
                      <a:pt x="90" y="134"/>
                    </a:cubicBezTo>
                    <a:cubicBezTo>
                      <a:pt x="92" y="134"/>
                      <a:pt x="93" y="136"/>
                      <a:pt x="96" y="135"/>
                    </a:cubicBezTo>
                    <a:cubicBezTo>
                      <a:pt x="96" y="135"/>
                      <a:pt x="96" y="134"/>
                      <a:pt x="96" y="133"/>
                    </a:cubicBezTo>
                    <a:cubicBezTo>
                      <a:pt x="97" y="133"/>
                      <a:pt x="98" y="134"/>
                      <a:pt x="98" y="133"/>
                    </a:cubicBezTo>
                    <a:cubicBezTo>
                      <a:pt x="99" y="133"/>
                      <a:pt x="100" y="132"/>
                      <a:pt x="101" y="131"/>
                    </a:cubicBezTo>
                    <a:cubicBezTo>
                      <a:pt x="101" y="133"/>
                      <a:pt x="101" y="134"/>
                      <a:pt x="101" y="136"/>
                    </a:cubicBezTo>
                    <a:cubicBezTo>
                      <a:pt x="103" y="137"/>
                      <a:pt x="103" y="137"/>
                      <a:pt x="103" y="137"/>
                    </a:cubicBezTo>
                    <a:cubicBezTo>
                      <a:pt x="104" y="134"/>
                      <a:pt x="104" y="133"/>
                      <a:pt x="104" y="129"/>
                    </a:cubicBezTo>
                    <a:cubicBezTo>
                      <a:pt x="107" y="129"/>
                      <a:pt x="107" y="129"/>
                      <a:pt x="107" y="129"/>
                    </a:cubicBezTo>
                    <a:cubicBezTo>
                      <a:pt x="108" y="129"/>
                      <a:pt x="107" y="130"/>
                      <a:pt x="108" y="130"/>
                    </a:cubicBezTo>
                    <a:cubicBezTo>
                      <a:pt x="108" y="129"/>
                      <a:pt x="109" y="128"/>
                      <a:pt x="108" y="128"/>
                    </a:cubicBezTo>
                    <a:cubicBezTo>
                      <a:pt x="109" y="127"/>
                      <a:pt x="109" y="122"/>
                      <a:pt x="110" y="121"/>
                    </a:cubicBezTo>
                    <a:cubicBezTo>
                      <a:pt x="110" y="121"/>
                      <a:pt x="112" y="121"/>
                      <a:pt x="112" y="121"/>
                    </a:cubicBezTo>
                    <a:cubicBezTo>
                      <a:pt x="112" y="121"/>
                      <a:pt x="113" y="122"/>
                      <a:pt x="113" y="123"/>
                    </a:cubicBezTo>
                    <a:cubicBezTo>
                      <a:pt x="113" y="124"/>
                      <a:pt x="111" y="124"/>
                      <a:pt x="111" y="125"/>
                    </a:cubicBezTo>
                    <a:cubicBezTo>
                      <a:pt x="110" y="126"/>
                      <a:pt x="111" y="128"/>
                      <a:pt x="110" y="130"/>
                    </a:cubicBezTo>
                    <a:cubicBezTo>
                      <a:pt x="112" y="131"/>
                      <a:pt x="112" y="131"/>
                      <a:pt x="112" y="131"/>
                    </a:cubicBezTo>
                    <a:cubicBezTo>
                      <a:pt x="114" y="128"/>
                      <a:pt x="116" y="125"/>
                      <a:pt x="118" y="122"/>
                    </a:cubicBezTo>
                    <a:cubicBezTo>
                      <a:pt x="118" y="122"/>
                      <a:pt x="118" y="120"/>
                      <a:pt x="118" y="120"/>
                    </a:cubicBezTo>
                    <a:cubicBezTo>
                      <a:pt x="116" y="119"/>
                      <a:pt x="115" y="119"/>
                      <a:pt x="114" y="119"/>
                    </a:cubicBezTo>
                    <a:cubicBezTo>
                      <a:pt x="115" y="118"/>
                      <a:pt x="115" y="118"/>
                      <a:pt x="116" y="117"/>
                    </a:cubicBezTo>
                    <a:cubicBezTo>
                      <a:pt x="116" y="115"/>
                      <a:pt x="115" y="112"/>
                      <a:pt x="115" y="110"/>
                    </a:cubicBezTo>
                    <a:cubicBezTo>
                      <a:pt x="115" y="109"/>
                      <a:pt x="118" y="103"/>
                      <a:pt x="118" y="101"/>
                    </a:cubicBezTo>
                    <a:cubicBezTo>
                      <a:pt x="118" y="98"/>
                      <a:pt x="118" y="91"/>
                      <a:pt x="118" y="87"/>
                    </a:cubicBezTo>
                    <a:cubicBezTo>
                      <a:pt x="119" y="87"/>
                      <a:pt x="121" y="87"/>
                      <a:pt x="122" y="87"/>
                    </a:cubicBezTo>
                    <a:cubicBezTo>
                      <a:pt x="122" y="86"/>
                      <a:pt x="122" y="85"/>
                      <a:pt x="122" y="85"/>
                    </a:cubicBezTo>
                    <a:cubicBezTo>
                      <a:pt x="122" y="83"/>
                      <a:pt x="122" y="83"/>
                      <a:pt x="122" y="83"/>
                    </a:cubicBezTo>
                    <a:cubicBezTo>
                      <a:pt x="122" y="83"/>
                      <a:pt x="124" y="83"/>
                      <a:pt x="124" y="83"/>
                    </a:cubicBezTo>
                    <a:cubicBezTo>
                      <a:pt x="125" y="82"/>
                      <a:pt x="124" y="81"/>
                      <a:pt x="124" y="80"/>
                    </a:cubicBezTo>
                    <a:cubicBezTo>
                      <a:pt x="124" y="79"/>
                      <a:pt x="127" y="78"/>
                      <a:pt x="127" y="77"/>
                    </a:cubicBezTo>
                    <a:cubicBezTo>
                      <a:pt x="127" y="75"/>
                      <a:pt x="127" y="68"/>
                      <a:pt x="126" y="66"/>
                    </a:cubicBezTo>
                    <a:cubicBezTo>
                      <a:pt x="125" y="65"/>
                      <a:pt x="125" y="65"/>
                      <a:pt x="125" y="65"/>
                    </a:cubicBezTo>
                    <a:cubicBezTo>
                      <a:pt x="124" y="63"/>
                      <a:pt x="124" y="59"/>
                      <a:pt x="122" y="57"/>
                    </a:cubicBezTo>
                    <a:cubicBezTo>
                      <a:pt x="120" y="57"/>
                      <a:pt x="117" y="56"/>
                      <a:pt x="116" y="56"/>
                    </a:cubicBezTo>
                    <a:cubicBezTo>
                      <a:pt x="117" y="55"/>
                      <a:pt x="117" y="55"/>
                      <a:pt x="117" y="54"/>
                    </a:cubicBezTo>
                    <a:cubicBezTo>
                      <a:pt x="117" y="54"/>
                      <a:pt x="115" y="53"/>
                      <a:pt x="115" y="53"/>
                    </a:cubicBezTo>
                    <a:close/>
                    <a:moveTo>
                      <a:pt x="120" y="50"/>
                    </a:moveTo>
                    <a:cubicBezTo>
                      <a:pt x="120" y="52"/>
                      <a:pt x="120" y="52"/>
                      <a:pt x="120" y="52"/>
                    </a:cubicBezTo>
                    <a:cubicBezTo>
                      <a:pt x="121" y="52"/>
                      <a:pt x="122" y="53"/>
                      <a:pt x="123" y="53"/>
                    </a:cubicBezTo>
                    <a:cubicBezTo>
                      <a:pt x="123" y="53"/>
                      <a:pt x="123" y="50"/>
                      <a:pt x="123" y="50"/>
                    </a:cubicBezTo>
                    <a:cubicBezTo>
                      <a:pt x="122" y="50"/>
                      <a:pt x="121" y="50"/>
                      <a:pt x="120" y="50"/>
                    </a:cubicBezTo>
                    <a:close/>
                    <a:moveTo>
                      <a:pt x="126" y="0"/>
                    </a:moveTo>
                    <a:cubicBezTo>
                      <a:pt x="122" y="3"/>
                      <a:pt x="122" y="4"/>
                      <a:pt x="125" y="8"/>
                    </a:cubicBezTo>
                    <a:cubicBezTo>
                      <a:pt x="125" y="9"/>
                      <a:pt x="127" y="9"/>
                      <a:pt x="127" y="10"/>
                    </a:cubicBezTo>
                    <a:cubicBezTo>
                      <a:pt x="127" y="12"/>
                      <a:pt x="125" y="13"/>
                      <a:pt x="125" y="15"/>
                    </a:cubicBezTo>
                    <a:cubicBezTo>
                      <a:pt x="125" y="17"/>
                      <a:pt x="125" y="19"/>
                      <a:pt x="125" y="20"/>
                    </a:cubicBezTo>
                    <a:cubicBezTo>
                      <a:pt x="125" y="21"/>
                      <a:pt x="123" y="21"/>
                      <a:pt x="122" y="22"/>
                    </a:cubicBezTo>
                    <a:cubicBezTo>
                      <a:pt x="121" y="27"/>
                      <a:pt x="127" y="33"/>
                      <a:pt x="118" y="30"/>
                    </a:cubicBezTo>
                    <a:cubicBezTo>
                      <a:pt x="117" y="30"/>
                      <a:pt x="116" y="29"/>
                      <a:pt x="114" y="28"/>
                    </a:cubicBezTo>
                    <a:cubicBezTo>
                      <a:pt x="112" y="28"/>
                      <a:pt x="112" y="29"/>
                      <a:pt x="114" y="30"/>
                    </a:cubicBezTo>
                    <a:cubicBezTo>
                      <a:pt x="112" y="33"/>
                      <a:pt x="113" y="33"/>
                      <a:pt x="109" y="36"/>
                    </a:cubicBezTo>
                    <a:cubicBezTo>
                      <a:pt x="109" y="37"/>
                      <a:pt x="109" y="38"/>
                      <a:pt x="109" y="39"/>
                    </a:cubicBezTo>
                    <a:cubicBezTo>
                      <a:pt x="109" y="40"/>
                      <a:pt x="111" y="41"/>
                      <a:pt x="112" y="42"/>
                    </a:cubicBezTo>
                    <a:cubicBezTo>
                      <a:pt x="112" y="44"/>
                      <a:pt x="112" y="46"/>
                      <a:pt x="112" y="48"/>
                    </a:cubicBezTo>
                    <a:cubicBezTo>
                      <a:pt x="113" y="48"/>
                      <a:pt x="113" y="49"/>
                      <a:pt x="114" y="49"/>
                    </a:cubicBezTo>
                    <a:cubicBezTo>
                      <a:pt x="114" y="49"/>
                      <a:pt x="116" y="46"/>
                      <a:pt x="117" y="46"/>
                    </a:cubicBezTo>
                    <a:cubicBezTo>
                      <a:pt x="118" y="46"/>
                      <a:pt x="121" y="46"/>
                      <a:pt x="122" y="46"/>
                    </a:cubicBezTo>
                    <a:cubicBezTo>
                      <a:pt x="119" y="44"/>
                      <a:pt x="118" y="43"/>
                      <a:pt x="115" y="42"/>
                    </a:cubicBezTo>
                    <a:cubicBezTo>
                      <a:pt x="115" y="41"/>
                      <a:pt x="115" y="39"/>
                      <a:pt x="115" y="38"/>
                    </a:cubicBezTo>
                    <a:cubicBezTo>
                      <a:pt x="117" y="38"/>
                      <a:pt x="118" y="36"/>
                      <a:pt x="120" y="37"/>
                    </a:cubicBezTo>
                    <a:cubicBezTo>
                      <a:pt x="120" y="37"/>
                      <a:pt x="120" y="38"/>
                      <a:pt x="122" y="38"/>
                    </a:cubicBezTo>
                    <a:cubicBezTo>
                      <a:pt x="122" y="38"/>
                      <a:pt x="123" y="36"/>
                      <a:pt x="124" y="36"/>
                    </a:cubicBezTo>
                    <a:cubicBezTo>
                      <a:pt x="124" y="36"/>
                      <a:pt x="127" y="37"/>
                      <a:pt x="126" y="37"/>
                    </a:cubicBezTo>
                    <a:cubicBezTo>
                      <a:pt x="127" y="37"/>
                      <a:pt x="127" y="37"/>
                      <a:pt x="127" y="37"/>
                    </a:cubicBezTo>
                    <a:cubicBezTo>
                      <a:pt x="127" y="38"/>
                      <a:pt x="127" y="39"/>
                      <a:pt x="128" y="40"/>
                    </a:cubicBezTo>
                    <a:cubicBezTo>
                      <a:pt x="129" y="40"/>
                      <a:pt x="129" y="41"/>
                      <a:pt x="129" y="42"/>
                    </a:cubicBezTo>
                    <a:cubicBezTo>
                      <a:pt x="132" y="42"/>
                      <a:pt x="136" y="42"/>
                      <a:pt x="139" y="42"/>
                    </a:cubicBezTo>
                    <a:cubicBezTo>
                      <a:pt x="141" y="37"/>
                      <a:pt x="142" y="31"/>
                      <a:pt x="149" y="32"/>
                    </a:cubicBezTo>
                    <a:cubicBezTo>
                      <a:pt x="149" y="32"/>
                      <a:pt x="151" y="34"/>
                      <a:pt x="151" y="34"/>
                    </a:cubicBezTo>
                    <a:cubicBezTo>
                      <a:pt x="152" y="34"/>
                      <a:pt x="152" y="32"/>
                      <a:pt x="152" y="32"/>
                    </a:cubicBezTo>
                    <a:cubicBezTo>
                      <a:pt x="153" y="32"/>
                      <a:pt x="155" y="32"/>
                      <a:pt x="156" y="32"/>
                    </a:cubicBezTo>
                    <a:cubicBezTo>
                      <a:pt x="157" y="31"/>
                      <a:pt x="162" y="28"/>
                      <a:pt x="157" y="28"/>
                    </a:cubicBezTo>
                    <a:cubicBezTo>
                      <a:pt x="157" y="28"/>
                      <a:pt x="158" y="27"/>
                      <a:pt x="157" y="26"/>
                    </a:cubicBezTo>
                    <a:cubicBezTo>
                      <a:pt x="154" y="26"/>
                      <a:pt x="156" y="24"/>
                      <a:pt x="157" y="22"/>
                    </a:cubicBezTo>
                    <a:cubicBezTo>
                      <a:pt x="151" y="22"/>
                      <a:pt x="151" y="22"/>
                      <a:pt x="148" y="18"/>
                    </a:cubicBezTo>
                    <a:cubicBezTo>
                      <a:pt x="145" y="19"/>
                      <a:pt x="143" y="20"/>
                      <a:pt x="140" y="19"/>
                    </a:cubicBezTo>
                    <a:cubicBezTo>
                      <a:pt x="138" y="18"/>
                      <a:pt x="138" y="18"/>
                      <a:pt x="138" y="18"/>
                    </a:cubicBezTo>
                    <a:cubicBezTo>
                      <a:pt x="137" y="17"/>
                      <a:pt x="134" y="9"/>
                      <a:pt x="133" y="7"/>
                    </a:cubicBezTo>
                    <a:cubicBezTo>
                      <a:pt x="132" y="6"/>
                      <a:pt x="131" y="6"/>
                      <a:pt x="130" y="6"/>
                    </a:cubicBezTo>
                    <a:cubicBezTo>
                      <a:pt x="129" y="5"/>
                      <a:pt x="130" y="3"/>
                      <a:pt x="129" y="2"/>
                    </a:cubicBezTo>
                    <a:cubicBezTo>
                      <a:pt x="128" y="1"/>
                      <a:pt x="126" y="0"/>
                      <a:pt x="126"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11" name="Freeform 190">
                <a:extLst>
                  <a:ext uri="{FF2B5EF4-FFF2-40B4-BE49-F238E27FC236}">
                    <a16:creationId xmlns:a16="http://schemas.microsoft.com/office/drawing/2014/main" id="{99C06C78-342E-5DF7-4299-F52FFD4451E7}"/>
                  </a:ext>
                </a:extLst>
              </p:cNvPr>
              <p:cNvSpPr>
                <a:spLocks/>
              </p:cNvSpPr>
              <p:nvPr/>
            </p:nvSpPr>
            <p:spPr bwMode="auto">
              <a:xfrm>
                <a:off x="1790" y="1850"/>
                <a:ext cx="39" cy="22"/>
              </a:xfrm>
              <a:custGeom>
                <a:avLst/>
                <a:gdLst>
                  <a:gd name="T0" fmla="*/ 5 w 20"/>
                  <a:gd name="T1" fmla="*/ 0 h 11"/>
                  <a:gd name="T2" fmla="*/ 0 w 20"/>
                  <a:gd name="T3" fmla="*/ 4 h 11"/>
                  <a:gd name="T4" fmla="*/ 0 w 20"/>
                  <a:gd name="T5" fmla="*/ 5 h 11"/>
                  <a:gd name="T6" fmla="*/ 4 w 20"/>
                  <a:gd name="T7" fmla="*/ 5 h 11"/>
                  <a:gd name="T8" fmla="*/ 4 w 20"/>
                  <a:gd name="T9" fmla="*/ 7 h 11"/>
                  <a:gd name="T10" fmla="*/ 14 w 20"/>
                  <a:gd name="T11" fmla="*/ 10 h 11"/>
                  <a:gd name="T12" fmla="*/ 14 w 20"/>
                  <a:gd name="T13" fmla="*/ 8 h 11"/>
                  <a:gd name="T14" fmla="*/ 19 w 20"/>
                  <a:gd name="T15" fmla="*/ 8 h 11"/>
                  <a:gd name="T16" fmla="*/ 20 w 20"/>
                  <a:gd name="T17" fmla="*/ 6 h 11"/>
                  <a:gd name="T18" fmla="*/ 15 w 20"/>
                  <a:gd name="T19" fmla="*/ 2 h 11"/>
                  <a:gd name="T20" fmla="*/ 9 w 20"/>
                  <a:gd name="T21" fmla="*/ 2 h 11"/>
                  <a:gd name="T22" fmla="*/ 5 w 20"/>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1">
                    <a:moveTo>
                      <a:pt x="5" y="0"/>
                    </a:moveTo>
                    <a:cubicBezTo>
                      <a:pt x="3" y="1"/>
                      <a:pt x="1" y="3"/>
                      <a:pt x="0" y="4"/>
                    </a:cubicBezTo>
                    <a:cubicBezTo>
                      <a:pt x="0" y="4"/>
                      <a:pt x="0" y="5"/>
                      <a:pt x="0" y="5"/>
                    </a:cubicBezTo>
                    <a:cubicBezTo>
                      <a:pt x="1" y="5"/>
                      <a:pt x="3" y="5"/>
                      <a:pt x="4" y="5"/>
                    </a:cubicBezTo>
                    <a:cubicBezTo>
                      <a:pt x="4" y="6"/>
                      <a:pt x="4" y="6"/>
                      <a:pt x="4" y="7"/>
                    </a:cubicBezTo>
                    <a:cubicBezTo>
                      <a:pt x="5" y="9"/>
                      <a:pt x="10" y="11"/>
                      <a:pt x="14" y="10"/>
                    </a:cubicBezTo>
                    <a:cubicBezTo>
                      <a:pt x="14" y="10"/>
                      <a:pt x="14" y="9"/>
                      <a:pt x="14" y="8"/>
                    </a:cubicBezTo>
                    <a:cubicBezTo>
                      <a:pt x="16" y="8"/>
                      <a:pt x="17" y="8"/>
                      <a:pt x="19" y="8"/>
                    </a:cubicBezTo>
                    <a:cubicBezTo>
                      <a:pt x="19" y="8"/>
                      <a:pt x="19" y="7"/>
                      <a:pt x="20" y="6"/>
                    </a:cubicBezTo>
                    <a:cubicBezTo>
                      <a:pt x="19" y="6"/>
                      <a:pt x="15" y="2"/>
                      <a:pt x="15" y="2"/>
                    </a:cubicBezTo>
                    <a:cubicBezTo>
                      <a:pt x="13" y="2"/>
                      <a:pt x="11" y="3"/>
                      <a:pt x="9" y="2"/>
                    </a:cubicBezTo>
                    <a:cubicBezTo>
                      <a:pt x="9" y="2"/>
                      <a:pt x="8" y="0"/>
                      <a:pt x="5"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12" name="Freeform 191">
                <a:extLst>
                  <a:ext uri="{FF2B5EF4-FFF2-40B4-BE49-F238E27FC236}">
                    <a16:creationId xmlns:a16="http://schemas.microsoft.com/office/drawing/2014/main" id="{390564E6-F7C1-EE0C-FB96-ECDE0C4D57A1}"/>
                  </a:ext>
                </a:extLst>
              </p:cNvPr>
              <p:cNvSpPr>
                <a:spLocks/>
              </p:cNvSpPr>
              <p:nvPr/>
            </p:nvSpPr>
            <p:spPr bwMode="auto">
              <a:xfrm>
                <a:off x="1790" y="1850"/>
                <a:ext cx="39" cy="22"/>
              </a:xfrm>
              <a:custGeom>
                <a:avLst/>
                <a:gdLst>
                  <a:gd name="T0" fmla="*/ 5 w 20"/>
                  <a:gd name="T1" fmla="*/ 0 h 11"/>
                  <a:gd name="T2" fmla="*/ 0 w 20"/>
                  <a:gd name="T3" fmla="*/ 4 h 11"/>
                  <a:gd name="T4" fmla="*/ 0 w 20"/>
                  <a:gd name="T5" fmla="*/ 5 h 11"/>
                  <a:gd name="T6" fmla="*/ 4 w 20"/>
                  <a:gd name="T7" fmla="*/ 5 h 11"/>
                  <a:gd name="T8" fmla="*/ 4 w 20"/>
                  <a:gd name="T9" fmla="*/ 7 h 11"/>
                  <a:gd name="T10" fmla="*/ 14 w 20"/>
                  <a:gd name="T11" fmla="*/ 10 h 11"/>
                  <a:gd name="T12" fmla="*/ 14 w 20"/>
                  <a:gd name="T13" fmla="*/ 8 h 11"/>
                  <a:gd name="T14" fmla="*/ 19 w 20"/>
                  <a:gd name="T15" fmla="*/ 8 h 11"/>
                  <a:gd name="T16" fmla="*/ 20 w 20"/>
                  <a:gd name="T17" fmla="*/ 6 h 11"/>
                  <a:gd name="T18" fmla="*/ 15 w 20"/>
                  <a:gd name="T19" fmla="*/ 2 h 11"/>
                  <a:gd name="T20" fmla="*/ 9 w 20"/>
                  <a:gd name="T21" fmla="*/ 2 h 11"/>
                  <a:gd name="T22" fmla="*/ 5 w 20"/>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1">
                    <a:moveTo>
                      <a:pt x="5" y="0"/>
                    </a:moveTo>
                    <a:cubicBezTo>
                      <a:pt x="3" y="1"/>
                      <a:pt x="1" y="3"/>
                      <a:pt x="0" y="4"/>
                    </a:cubicBezTo>
                    <a:cubicBezTo>
                      <a:pt x="0" y="4"/>
                      <a:pt x="0" y="5"/>
                      <a:pt x="0" y="5"/>
                    </a:cubicBezTo>
                    <a:cubicBezTo>
                      <a:pt x="1" y="5"/>
                      <a:pt x="3" y="5"/>
                      <a:pt x="4" y="5"/>
                    </a:cubicBezTo>
                    <a:cubicBezTo>
                      <a:pt x="4" y="6"/>
                      <a:pt x="4" y="6"/>
                      <a:pt x="4" y="7"/>
                    </a:cubicBezTo>
                    <a:cubicBezTo>
                      <a:pt x="5" y="9"/>
                      <a:pt x="10" y="11"/>
                      <a:pt x="14" y="10"/>
                    </a:cubicBezTo>
                    <a:cubicBezTo>
                      <a:pt x="14" y="10"/>
                      <a:pt x="14" y="9"/>
                      <a:pt x="14" y="8"/>
                    </a:cubicBezTo>
                    <a:cubicBezTo>
                      <a:pt x="16" y="8"/>
                      <a:pt x="17" y="8"/>
                      <a:pt x="19" y="8"/>
                    </a:cubicBezTo>
                    <a:cubicBezTo>
                      <a:pt x="19" y="8"/>
                      <a:pt x="19" y="7"/>
                      <a:pt x="20" y="6"/>
                    </a:cubicBezTo>
                    <a:cubicBezTo>
                      <a:pt x="19" y="6"/>
                      <a:pt x="15" y="2"/>
                      <a:pt x="15" y="2"/>
                    </a:cubicBezTo>
                    <a:cubicBezTo>
                      <a:pt x="13" y="2"/>
                      <a:pt x="11" y="3"/>
                      <a:pt x="9" y="2"/>
                    </a:cubicBezTo>
                    <a:cubicBezTo>
                      <a:pt x="9" y="2"/>
                      <a:pt x="8" y="0"/>
                      <a:pt x="5"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13" name="Freeform 192">
                <a:extLst>
                  <a:ext uri="{FF2B5EF4-FFF2-40B4-BE49-F238E27FC236}">
                    <a16:creationId xmlns:a16="http://schemas.microsoft.com/office/drawing/2014/main" id="{24E1A8B1-68F8-312D-49A2-C94B8125AFA1}"/>
                  </a:ext>
                </a:extLst>
              </p:cNvPr>
              <p:cNvSpPr>
                <a:spLocks/>
              </p:cNvSpPr>
              <p:nvPr/>
            </p:nvSpPr>
            <p:spPr bwMode="auto">
              <a:xfrm>
                <a:off x="2964" y="2025"/>
                <a:ext cx="110" cy="139"/>
              </a:xfrm>
              <a:custGeom>
                <a:avLst/>
                <a:gdLst>
                  <a:gd name="T0" fmla="*/ 10 w 56"/>
                  <a:gd name="T1" fmla="*/ 71 h 71"/>
                  <a:gd name="T2" fmla="*/ 22 w 56"/>
                  <a:gd name="T3" fmla="*/ 65 h 71"/>
                  <a:gd name="T4" fmla="*/ 25 w 56"/>
                  <a:gd name="T5" fmla="*/ 62 h 71"/>
                  <a:gd name="T6" fmla="*/ 39 w 56"/>
                  <a:gd name="T7" fmla="*/ 62 h 71"/>
                  <a:gd name="T8" fmla="*/ 45 w 56"/>
                  <a:gd name="T9" fmla="*/ 65 h 71"/>
                  <a:gd name="T10" fmla="*/ 47 w 56"/>
                  <a:gd name="T11" fmla="*/ 60 h 71"/>
                  <a:gd name="T12" fmla="*/ 46 w 56"/>
                  <a:gd name="T13" fmla="*/ 56 h 71"/>
                  <a:gd name="T14" fmla="*/ 46 w 56"/>
                  <a:gd name="T15" fmla="*/ 49 h 71"/>
                  <a:gd name="T16" fmla="*/ 47 w 56"/>
                  <a:gd name="T17" fmla="*/ 43 h 71"/>
                  <a:gd name="T18" fmla="*/ 50 w 56"/>
                  <a:gd name="T19" fmla="*/ 37 h 71"/>
                  <a:gd name="T20" fmla="*/ 53 w 56"/>
                  <a:gd name="T21" fmla="*/ 30 h 71"/>
                  <a:gd name="T22" fmla="*/ 55 w 56"/>
                  <a:gd name="T23" fmla="*/ 25 h 71"/>
                  <a:gd name="T24" fmla="*/ 56 w 56"/>
                  <a:gd name="T25" fmla="*/ 18 h 71"/>
                  <a:gd name="T26" fmla="*/ 54 w 56"/>
                  <a:gd name="T27" fmla="*/ 12 h 71"/>
                  <a:gd name="T28" fmla="*/ 53 w 56"/>
                  <a:gd name="T29" fmla="*/ 6 h 71"/>
                  <a:gd name="T30" fmla="*/ 47 w 56"/>
                  <a:gd name="T31" fmla="*/ 7 h 71"/>
                  <a:gd name="T32" fmla="*/ 46 w 56"/>
                  <a:gd name="T33" fmla="*/ 2 h 71"/>
                  <a:gd name="T34" fmla="*/ 42 w 56"/>
                  <a:gd name="T35" fmla="*/ 2 h 71"/>
                  <a:gd name="T36" fmla="*/ 40 w 56"/>
                  <a:gd name="T37" fmla="*/ 4 h 71"/>
                  <a:gd name="T38" fmla="*/ 36 w 56"/>
                  <a:gd name="T39" fmla="*/ 4 h 71"/>
                  <a:gd name="T40" fmla="*/ 35 w 56"/>
                  <a:gd name="T41" fmla="*/ 1 h 71"/>
                  <a:gd name="T42" fmla="*/ 28 w 56"/>
                  <a:gd name="T43" fmla="*/ 0 h 71"/>
                  <a:gd name="T44" fmla="*/ 26 w 56"/>
                  <a:gd name="T45" fmla="*/ 3 h 71"/>
                  <a:gd name="T46" fmla="*/ 24 w 56"/>
                  <a:gd name="T47" fmla="*/ 7 h 71"/>
                  <a:gd name="T48" fmla="*/ 20 w 56"/>
                  <a:gd name="T49" fmla="*/ 4 h 71"/>
                  <a:gd name="T50" fmla="*/ 18 w 56"/>
                  <a:gd name="T51" fmla="*/ 6 h 71"/>
                  <a:gd name="T52" fmla="*/ 17 w 56"/>
                  <a:gd name="T53" fmla="*/ 11 h 71"/>
                  <a:gd name="T54" fmla="*/ 15 w 56"/>
                  <a:gd name="T55" fmla="*/ 9 h 71"/>
                  <a:gd name="T56" fmla="*/ 11 w 56"/>
                  <a:gd name="T57" fmla="*/ 13 h 71"/>
                  <a:gd name="T58" fmla="*/ 9 w 56"/>
                  <a:gd name="T59" fmla="*/ 17 h 71"/>
                  <a:gd name="T60" fmla="*/ 11 w 56"/>
                  <a:gd name="T61" fmla="*/ 23 h 71"/>
                  <a:gd name="T62" fmla="*/ 5 w 56"/>
                  <a:gd name="T63" fmla="*/ 26 h 71"/>
                  <a:gd name="T64" fmla="*/ 6 w 56"/>
                  <a:gd name="T65" fmla="*/ 29 h 71"/>
                  <a:gd name="T66" fmla="*/ 3 w 56"/>
                  <a:gd name="T67" fmla="*/ 31 h 71"/>
                  <a:gd name="T68" fmla="*/ 4 w 56"/>
                  <a:gd name="T69" fmla="*/ 38 h 71"/>
                  <a:gd name="T70" fmla="*/ 0 w 56"/>
                  <a:gd name="T71" fmla="*/ 44 h 71"/>
                  <a:gd name="T72" fmla="*/ 6 w 56"/>
                  <a:gd name="T73" fmla="*/ 46 h 71"/>
                  <a:gd name="T74" fmla="*/ 9 w 56"/>
                  <a:gd name="T75" fmla="*/ 51 h 71"/>
                  <a:gd name="T76" fmla="*/ 12 w 56"/>
                  <a:gd name="T77" fmla="*/ 56 h 71"/>
                  <a:gd name="T78" fmla="*/ 12 w 56"/>
                  <a:gd name="T79" fmla="*/ 59 h 71"/>
                  <a:gd name="T80" fmla="*/ 10 w 56"/>
                  <a:gd name="T81" fmla="*/ 64 h 71"/>
                  <a:gd name="T82" fmla="*/ 10 w 56"/>
                  <a:gd name="T83" fmla="*/ 68 h 71"/>
                  <a:gd name="T84" fmla="*/ 10 w 56"/>
                  <a:gd name="T8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71">
                    <a:moveTo>
                      <a:pt x="10" y="71"/>
                    </a:moveTo>
                    <a:cubicBezTo>
                      <a:pt x="15" y="70"/>
                      <a:pt x="20" y="66"/>
                      <a:pt x="22" y="65"/>
                    </a:cubicBezTo>
                    <a:cubicBezTo>
                      <a:pt x="23" y="64"/>
                      <a:pt x="24" y="62"/>
                      <a:pt x="25" y="62"/>
                    </a:cubicBezTo>
                    <a:cubicBezTo>
                      <a:pt x="28" y="61"/>
                      <a:pt x="36" y="61"/>
                      <a:pt x="39" y="62"/>
                    </a:cubicBezTo>
                    <a:cubicBezTo>
                      <a:pt x="41" y="62"/>
                      <a:pt x="42" y="64"/>
                      <a:pt x="45" y="65"/>
                    </a:cubicBezTo>
                    <a:cubicBezTo>
                      <a:pt x="45" y="65"/>
                      <a:pt x="46" y="62"/>
                      <a:pt x="47" y="60"/>
                    </a:cubicBezTo>
                    <a:cubicBezTo>
                      <a:pt x="48" y="59"/>
                      <a:pt x="46" y="56"/>
                      <a:pt x="46" y="56"/>
                    </a:cubicBezTo>
                    <a:cubicBezTo>
                      <a:pt x="46" y="49"/>
                      <a:pt x="46" y="49"/>
                      <a:pt x="46" y="49"/>
                    </a:cubicBezTo>
                    <a:cubicBezTo>
                      <a:pt x="47" y="43"/>
                      <a:pt x="47" y="43"/>
                      <a:pt x="47" y="43"/>
                    </a:cubicBezTo>
                    <a:cubicBezTo>
                      <a:pt x="47" y="43"/>
                      <a:pt x="50" y="39"/>
                      <a:pt x="50" y="37"/>
                    </a:cubicBezTo>
                    <a:cubicBezTo>
                      <a:pt x="51" y="34"/>
                      <a:pt x="52" y="33"/>
                      <a:pt x="53" y="30"/>
                    </a:cubicBezTo>
                    <a:cubicBezTo>
                      <a:pt x="53" y="27"/>
                      <a:pt x="55" y="25"/>
                      <a:pt x="55" y="25"/>
                    </a:cubicBezTo>
                    <a:cubicBezTo>
                      <a:pt x="55" y="25"/>
                      <a:pt x="56" y="21"/>
                      <a:pt x="56" y="18"/>
                    </a:cubicBezTo>
                    <a:cubicBezTo>
                      <a:pt x="56" y="15"/>
                      <a:pt x="53" y="14"/>
                      <a:pt x="54" y="12"/>
                    </a:cubicBezTo>
                    <a:cubicBezTo>
                      <a:pt x="55" y="10"/>
                      <a:pt x="53" y="6"/>
                      <a:pt x="53" y="6"/>
                    </a:cubicBezTo>
                    <a:cubicBezTo>
                      <a:pt x="53" y="6"/>
                      <a:pt x="49" y="7"/>
                      <a:pt x="47" y="7"/>
                    </a:cubicBezTo>
                    <a:cubicBezTo>
                      <a:pt x="45" y="6"/>
                      <a:pt x="46" y="2"/>
                      <a:pt x="46" y="2"/>
                    </a:cubicBezTo>
                    <a:cubicBezTo>
                      <a:pt x="42" y="2"/>
                      <a:pt x="42" y="2"/>
                      <a:pt x="42" y="2"/>
                    </a:cubicBezTo>
                    <a:cubicBezTo>
                      <a:pt x="40" y="4"/>
                      <a:pt x="40" y="4"/>
                      <a:pt x="40" y="4"/>
                    </a:cubicBezTo>
                    <a:cubicBezTo>
                      <a:pt x="36" y="4"/>
                      <a:pt x="36" y="4"/>
                      <a:pt x="36" y="4"/>
                    </a:cubicBezTo>
                    <a:cubicBezTo>
                      <a:pt x="35" y="1"/>
                      <a:pt x="35" y="1"/>
                      <a:pt x="35" y="1"/>
                    </a:cubicBezTo>
                    <a:cubicBezTo>
                      <a:pt x="28" y="0"/>
                      <a:pt x="28" y="0"/>
                      <a:pt x="28" y="0"/>
                    </a:cubicBezTo>
                    <a:cubicBezTo>
                      <a:pt x="26" y="3"/>
                      <a:pt x="26" y="3"/>
                      <a:pt x="26" y="3"/>
                    </a:cubicBezTo>
                    <a:cubicBezTo>
                      <a:pt x="26" y="3"/>
                      <a:pt x="27" y="6"/>
                      <a:pt x="24" y="7"/>
                    </a:cubicBezTo>
                    <a:cubicBezTo>
                      <a:pt x="22" y="8"/>
                      <a:pt x="20" y="4"/>
                      <a:pt x="20" y="4"/>
                    </a:cubicBezTo>
                    <a:cubicBezTo>
                      <a:pt x="18" y="6"/>
                      <a:pt x="18" y="6"/>
                      <a:pt x="18" y="6"/>
                    </a:cubicBezTo>
                    <a:cubicBezTo>
                      <a:pt x="17" y="11"/>
                      <a:pt x="17" y="11"/>
                      <a:pt x="17" y="11"/>
                    </a:cubicBezTo>
                    <a:cubicBezTo>
                      <a:pt x="17" y="11"/>
                      <a:pt x="17" y="8"/>
                      <a:pt x="15" y="9"/>
                    </a:cubicBezTo>
                    <a:cubicBezTo>
                      <a:pt x="12" y="11"/>
                      <a:pt x="11" y="13"/>
                      <a:pt x="11" y="13"/>
                    </a:cubicBezTo>
                    <a:cubicBezTo>
                      <a:pt x="11" y="13"/>
                      <a:pt x="7" y="15"/>
                      <a:pt x="9" y="17"/>
                    </a:cubicBezTo>
                    <a:cubicBezTo>
                      <a:pt x="10" y="19"/>
                      <a:pt x="12" y="20"/>
                      <a:pt x="11" y="23"/>
                    </a:cubicBezTo>
                    <a:cubicBezTo>
                      <a:pt x="9" y="26"/>
                      <a:pt x="5" y="25"/>
                      <a:pt x="5" y="26"/>
                    </a:cubicBezTo>
                    <a:cubicBezTo>
                      <a:pt x="6" y="28"/>
                      <a:pt x="6" y="29"/>
                      <a:pt x="6" y="29"/>
                    </a:cubicBezTo>
                    <a:cubicBezTo>
                      <a:pt x="3" y="31"/>
                      <a:pt x="3" y="31"/>
                      <a:pt x="3" y="31"/>
                    </a:cubicBezTo>
                    <a:cubicBezTo>
                      <a:pt x="3" y="31"/>
                      <a:pt x="6" y="36"/>
                      <a:pt x="4" y="38"/>
                    </a:cubicBezTo>
                    <a:cubicBezTo>
                      <a:pt x="2" y="39"/>
                      <a:pt x="0" y="44"/>
                      <a:pt x="0" y="44"/>
                    </a:cubicBezTo>
                    <a:cubicBezTo>
                      <a:pt x="0" y="44"/>
                      <a:pt x="4" y="46"/>
                      <a:pt x="6" y="46"/>
                    </a:cubicBezTo>
                    <a:cubicBezTo>
                      <a:pt x="7" y="46"/>
                      <a:pt x="8" y="49"/>
                      <a:pt x="9" y="51"/>
                    </a:cubicBezTo>
                    <a:cubicBezTo>
                      <a:pt x="10" y="53"/>
                      <a:pt x="10" y="56"/>
                      <a:pt x="12" y="56"/>
                    </a:cubicBezTo>
                    <a:cubicBezTo>
                      <a:pt x="14" y="56"/>
                      <a:pt x="13" y="57"/>
                      <a:pt x="12" y="59"/>
                    </a:cubicBezTo>
                    <a:cubicBezTo>
                      <a:pt x="12" y="61"/>
                      <a:pt x="12" y="62"/>
                      <a:pt x="10" y="64"/>
                    </a:cubicBezTo>
                    <a:cubicBezTo>
                      <a:pt x="8" y="65"/>
                      <a:pt x="10" y="66"/>
                      <a:pt x="10" y="68"/>
                    </a:cubicBezTo>
                    <a:cubicBezTo>
                      <a:pt x="10" y="70"/>
                      <a:pt x="10" y="71"/>
                      <a:pt x="10" y="7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14" name="Freeform 193">
                <a:extLst>
                  <a:ext uri="{FF2B5EF4-FFF2-40B4-BE49-F238E27FC236}">
                    <a16:creationId xmlns:a16="http://schemas.microsoft.com/office/drawing/2014/main" id="{73442B5E-9A68-E3D8-2ECF-FDEDFCD0F090}"/>
                  </a:ext>
                </a:extLst>
              </p:cNvPr>
              <p:cNvSpPr>
                <a:spLocks/>
              </p:cNvSpPr>
              <p:nvPr/>
            </p:nvSpPr>
            <p:spPr bwMode="auto">
              <a:xfrm>
                <a:off x="2964" y="2025"/>
                <a:ext cx="110" cy="139"/>
              </a:xfrm>
              <a:custGeom>
                <a:avLst/>
                <a:gdLst>
                  <a:gd name="T0" fmla="*/ 10 w 56"/>
                  <a:gd name="T1" fmla="*/ 71 h 71"/>
                  <a:gd name="T2" fmla="*/ 22 w 56"/>
                  <a:gd name="T3" fmla="*/ 65 h 71"/>
                  <a:gd name="T4" fmla="*/ 25 w 56"/>
                  <a:gd name="T5" fmla="*/ 62 h 71"/>
                  <a:gd name="T6" fmla="*/ 39 w 56"/>
                  <a:gd name="T7" fmla="*/ 62 h 71"/>
                  <a:gd name="T8" fmla="*/ 45 w 56"/>
                  <a:gd name="T9" fmla="*/ 65 h 71"/>
                  <a:gd name="T10" fmla="*/ 47 w 56"/>
                  <a:gd name="T11" fmla="*/ 60 h 71"/>
                  <a:gd name="T12" fmla="*/ 46 w 56"/>
                  <a:gd name="T13" fmla="*/ 56 h 71"/>
                  <a:gd name="T14" fmla="*/ 46 w 56"/>
                  <a:gd name="T15" fmla="*/ 49 h 71"/>
                  <a:gd name="T16" fmla="*/ 47 w 56"/>
                  <a:gd name="T17" fmla="*/ 43 h 71"/>
                  <a:gd name="T18" fmla="*/ 50 w 56"/>
                  <a:gd name="T19" fmla="*/ 37 h 71"/>
                  <a:gd name="T20" fmla="*/ 53 w 56"/>
                  <a:gd name="T21" fmla="*/ 30 h 71"/>
                  <a:gd name="T22" fmla="*/ 55 w 56"/>
                  <a:gd name="T23" fmla="*/ 25 h 71"/>
                  <a:gd name="T24" fmla="*/ 56 w 56"/>
                  <a:gd name="T25" fmla="*/ 18 h 71"/>
                  <a:gd name="T26" fmla="*/ 54 w 56"/>
                  <a:gd name="T27" fmla="*/ 12 h 71"/>
                  <a:gd name="T28" fmla="*/ 53 w 56"/>
                  <a:gd name="T29" fmla="*/ 6 h 71"/>
                  <a:gd name="T30" fmla="*/ 47 w 56"/>
                  <a:gd name="T31" fmla="*/ 7 h 71"/>
                  <a:gd name="T32" fmla="*/ 46 w 56"/>
                  <a:gd name="T33" fmla="*/ 2 h 71"/>
                  <a:gd name="T34" fmla="*/ 42 w 56"/>
                  <a:gd name="T35" fmla="*/ 2 h 71"/>
                  <a:gd name="T36" fmla="*/ 40 w 56"/>
                  <a:gd name="T37" fmla="*/ 4 h 71"/>
                  <a:gd name="T38" fmla="*/ 36 w 56"/>
                  <a:gd name="T39" fmla="*/ 4 h 71"/>
                  <a:gd name="T40" fmla="*/ 35 w 56"/>
                  <a:gd name="T41" fmla="*/ 1 h 71"/>
                  <a:gd name="T42" fmla="*/ 28 w 56"/>
                  <a:gd name="T43" fmla="*/ 0 h 71"/>
                  <a:gd name="T44" fmla="*/ 26 w 56"/>
                  <a:gd name="T45" fmla="*/ 3 h 71"/>
                  <a:gd name="T46" fmla="*/ 24 w 56"/>
                  <a:gd name="T47" fmla="*/ 7 h 71"/>
                  <a:gd name="T48" fmla="*/ 20 w 56"/>
                  <a:gd name="T49" fmla="*/ 4 h 71"/>
                  <a:gd name="T50" fmla="*/ 18 w 56"/>
                  <a:gd name="T51" fmla="*/ 6 h 71"/>
                  <a:gd name="T52" fmla="*/ 17 w 56"/>
                  <a:gd name="T53" fmla="*/ 11 h 71"/>
                  <a:gd name="T54" fmla="*/ 15 w 56"/>
                  <a:gd name="T55" fmla="*/ 9 h 71"/>
                  <a:gd name="T56" fmla="*/ 11 w 56"/>
                  <a:gd name="T57" fmla="*/ 13 h 71"/>
                  <a:gd name="T58" fmla="*/ 9 w 56"/>
                  <a:gd name="T59" fmla="*/ 17 h 71"/>
                  <a:gd name="T60" fmla="*/ 11 w 56"/>
                  <a:gd name="T61" fmla="*/ 23 h 71"/>
                  <a:gd name="T62" fmla="*/ 5 w 56"/>
                  <a:gd name="T63" fmla="*/ 26 h 71"/>
                  <a:gd name="T64" fmla="*/ 6 w 56"/>
                  <a:gd name="T65" fmla="*/ 29 h 71"/>
                  <a:gd name="T66" fmla="*/ 3 w 56"/>
                  <a:gd name="T67" fmla="*/ 31 h 71"/>
                  <a:gd name="T68" fmla="*/ 4 w 56"/>
                  <a:gd name="T69" fmla="*/ 38 h 71"/>
                  <a:gd name="T70" fmla="*/ 0 w 56"/>
                  <a:gd name="T71" fmla="*/ 44 h 71"/>
                  <a:gd name="T72" fmla="*/ 6 w 56"/>
                  <a:gd name="T73" fmla="*/ 46 h 71"/>
                  <a:gd name="T74" fmla="*/ 9 w 56"/>
                  <a:gd name="T75" fmla="*/ 51 h 71"/>
                  <a:gd name="T76" fmla="*/ 12 w 56"/>
                  <a:gd name="T77" fmla="*/ 56 h 71"/>
                  <a:gd name="T78" fmla="*/ 12 w 56"/>
                  <a:gd name="T79" fmla="*/ 59 h 71"/>
                  <a:gd name="T80" fmla="*/ 10 w 56"/>
                  <a:gd name="T81" fmla="*/ 64 h 71"/>
                  <a:gd name="T82" fmla="*/ 10 w 56"/>
                  <a:gd name="T83" fmla="*/ 68 h 71"/>
                  <a:gd name="T84" fmla="*/ 10 w 56"/>
                  <a:gd name="T8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71">
                    <a:moveTo>
                      <a:pt x="10" y="71"/>
                    </a:moveTo>
                    <a:cubicBezTo>
                      <a:pt x="15" y="70"/>
                      <a:pt x="20" y="66"/>
                      <a:pt x="22" y="65"/>
                    </a:cubicBezTo>
                    <a:cubicBezTo>
                      <a:pt x="23" y="64"/>
                      <a:pt x="24" y="62"/>
                      <a:pt x="25" y="62"/>
                    </a:cubicBezTo>
                    <a:cubicBezTo>
                      <a:pt x="28" y="61"/>
                      <a:pt x="36" y="61"/>
                      <a:pt x="39" y="62"/>
                    </a:cubicBezTo>
                    <a:cubicBezTo>
                      <a:pt x="41" y="62"/>
                      <a:pt x="42" y="64"/>
                      <a:pt x="45" y="65"/>
                    </a:cubicBezTo>
                    <a:cubicBezTo>
                      <a:pt x="45" y="65"/>
                      <a:pt x="46" y="62"/>
                      <a:pt x="47" y="60"/>
                    </a:cubicBezTo>
                    <a:cubicBezTo>
                      <a:pt x="48" y="59"/>
                      <a:pt x="46" y="56"/>
                      <a:pt x="46" y="56"/>
                    </a:cubicBezTo>
                    <a:cubicBezTo>
                      <a:pt x="46" y="49"/>
                      <a:pt x="46" y="49"/>
                      <a:pt x="46" y="49"/>
                    </a:cubicBezTo>
                    <a:cubicBezTo>
                      <a:pt x="47" y="43"/>
                      <a:pt x="47" y="43"/>
                      <a:pt x="47" y="43"/>
                    </a:cubicBezTo>
                    <a:cubicBezTo>
                      <a:pt x="47" y="43"/>
                      <a:pt x="50" y="39"/>
                      <a:pt x="50" y="37"/>
                    </a:cubicBezTo>
                    <a:cubicBezTo>
                      <a:pt x="51" y="34"/>
                      <a:pt x="52" y="33"/>
                      <a:pt x="53" y="30"/>
                    </a:cubicBezTo>
                    <a:cubicBezTo>
                      <a:pt x="53" y="27"/>
                      <a:pt x="55" y="25"/>
                      <a:pt x="55" y="25"/>
                    </a:cubicBezTo>
                    <a:cubicBezTo>
                      <a:pt x="55" y="25"/>
                      <a:pt x="56" y="21"/>
                      <a:pt x="56" y="18"/>
                    </a:cubicBezTo>
                    <a:cubicBezTo>
                      <a:pt x="56" y="15"/>
                      <a:pt x="53" y="14"/>
                      <a:pt x="54" y="12"/>
                    </a:cubicBezTo>
                    <a:cubicBezTo>
                      <a:pt x="55" y="10"/>
                      <a:pt x="53" y="6"/>
                      <a:pt x="53" y="6"/>
                    </a:cubicBezTo>
                    <a:cubicBezTo>
                      <a:pt x="53" y="6"/>
                      <a:pt x="49" y="7"/>
                      <a:pt x="47" y="7"/>
                    </a:cubicBezTo>
                    <a:cubicBezTo>
                      <a:pt x="45" y="6"/>
                      <a:pt x="46" y="2"/>
                      <a:pt x="46" y="2"/>
                    </a:cubicBezTo>
                    <a:cubicBezTo>
                      <a:pt x="42" y="2"/>
                      <a:pt x="42" y="2"/>
                      <a:pt x="42" y="2"/>
                    </a:cubicBezTo>
                    <a:cubicBezTo>
                      <a:pt x="40" y="4"/>
                      <a:pt x="40" y="4"/>
                      <a:pt x="40" y="4"/>
                    </a:cubicBezTo>
                    <a:cubicBezTo>
                      <a:pt x="36" y="4"/>
                      <a:pt x="36" y="4"/>
                      <a:pt x="36" y="4"/>
                    </a:cubicBezTo>
                    <a:cubicBezTo>
                      <a:pt x="35" y="1"/>
                      <a:pt x="35" y="1"/>
                      <a:pt x="35" y="1"/>
                    </a:cubicBezTo>
                    <a:cubicBezTo>
                      <a:pt x="28" y="0"/>
                      <a:pt x="28" y="0"/>
                      <a:pt x="28" y="0"/>
                    </a:cubicBezTo>
                    <a:cubicBezTo>
                      <a:pt x="26" y="3"/>
                      <a:pt x="26" y="3"/>
                      <a:pt x="26" y="3"/>
                    </a:cubicBezTo>
                    <a:cubicBezTo>
                      <a:pt x="26" y="3"/>
                      <a:pt x="27" y="6"/>
                      <a:pt x="24" y="7"/>
                    </a:cubicBezTo>
                    <a:cubicBezTo>
                      <a:pt x="22" y="8"/>
                      <a:pt x="20" y="4"/>
                      <a:pt x="20" y="4"/>
                    </a:cubicBezTo>
                    <a:cubicBezTo>
                      <a:pt x="18" y="6"/>
                      <a:pt x="18" y="6"/>
                      <a:pt x="18" y="6"/>
                    </a:cubicBezTo>
                    <a:cubicBezTo>
                      <a:pt x="17" y="11"/>
                      <a:pt x="17" y="11"/>
                      <a:pt x="17" y="11"/>
                    </a:cubicBezTo>
                    <a:cubicBezTo>
                      <a:pt x="17" y="11"/>
                      <a:pt x="17" y="8"/>
                      <a:pt x="15" y="9"/>
                    </a:cubicBezTo>
                    <a:cubicBezTo>
                      <a:pt x="12" y="11"/>
                      <a:pt x="11" y="13"/>
                      <a:pt x="11" y="13"/>
                    </a:cubicBezTo>
                    <a:cubicBezTo>
                      <a:pt x="11" y="13"/>
                      <a:pt x="7" y="15"/>
                      <a:pt x="9" y="17"/>
                    </a:cubicBezTo>
                    <a:cubicBezTo>
                      <a:pt x="10" y="19"/>
                      <a:pt x="12" y="20"/>
                      <a:pt x="11" y="23"/>
                    </a:cubicBezTo>
                    <a:cubicBezTo>
                      <a:pt x="9" y="26"/>
                      <a:pt x="5" y="25"/>
                      <a:pt x="5" y="26"/>
                    </a:cubicBezTo>
                    <a:cubicBezTo>
                      <a:pt x="6" y="28"/>
                      <a:pt x="6" y="29"/>
                      <a:pt x="6" y="29"/>
                    </a:cubicBezTo>
                    <a:cubicBezTo>
                      <a:pt x="3" y="31"/>
                      <a:pt x="3" y="31"/>
                      <a:pt x="3" y="31"/>
                    </a:cubicBezTo>
                    <a:cubicBezTo>
                      <a:pt x="3" y="31"/>
                      <a:pt x="6" y="36"/>
                      <a:pt x="4" y="38"/>
                    </a:cubicBezTo>
                    <a:cubicBezTo>
                      <a:pt x="2" y="39"/>
                      <a:pt x="0" y="44"/>
                      <a:pt x="0" y="44"/>
                    </a:cubicBezTo>
                    <a:cubicBezTo>
                      <a:pt x="0" y="44"/>
                      <a:pt x="4" y="46"/>
                      <a:pt x="6" y="46"/>
                    </a:cubicBezTo>
                    <a:cubicBezTo>
                      <a:pt x="7" y="46"/>
                      <a:pt x="8" y="49"/>
                      <a:pt x="9" y="51"/>
                    </a:cubicBezTo>
                    <a:cubicBezTo>
                      <a:pt x="10" y="53"/>
                      <a:pt x="10" y="56"/>
                      <a:pt x="12" y="56"/>
                    </a:cubicBezTo>
                    <a:cubicBezTo>
                      <a:pt x="14" y="56"/>
                      <a:pt x="13" y="57"/>
                      <a:pt x="12" y="59"/>
                    </a:cubicBezTo>
                    <a:cubicBezTo>
                      <a:pt x="12" y="61"/>
                      <a:pt x="12" y="62"/>
                      <a:pt x="10" y="64"/>
                    </a:cubicBezTo>
                    <a:cubicBezTo>
                      <a:pt x="8" y="65"/>
                      <a:pt x="10" y="66"/>
                      <a:pt x="10" y="68"/>
                    </a:cubicBezTo>
                    <a:cubicBezTo>
                      <a:pt x="10" y="70"/>
                      <a:pt x="10" y="71"/>
                      <a:pt x="10" y="7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15" name="Freeform 194">
                <a:extLst>
                  <a:ext uri="{FF2B5EF4-FFF2-40B4-BE49-F238E27FC236}">
                    <a16:creationId xmlns:a16="http://schemas.microsoft.com/office/drawing/2014/main" id="{C26DE3BE-E91C-7942-B700-21EC91578DC2}"/>
                  </a:ext>
                </a:extLst>
              </p:cNvPr>
              <p:cNvSpPr>
                <a:spLocks noEditPoints="1"/>
              </p:cNvSpPr>
              <p:nvPr/>
            </p:nvSpPr>
            <p:spPr bwMode="auto">
              <a:xfrm>
                <a:off x="3227" y="1212"/>
                <a:ext cx="196" cy="248"/>
              </a:xfrm>
              <a:custGeom>
                <a:avLst/>
                <a:gdLst>
                  <a:gd name="T0" fmla="*/ 51 w 100"/>
                  <a:gd name="T1" fmla="*/ 110 h 126"/>
                  <a:gd name="T2" fmla="*/ 55 w 100"/>
                  <a:gd name="T3" fmla="*/ 117 h 126"/>
                  <a:gd name="T4" fmla="*/ 60 w 100"/>
                  <a:gd name="T5" fmla="*/ 121 h 126"/>
                  <a:gd name="T6" fmla="*/ 69 w 100"/>
                  <a:gd name="T7" fmla="*/ 124 h 126"/>
                  <a:gd name="T8" fmla="*/ 73 w 100"/>
                  <a:gd name="T9" fmla="*/ 125 h 126"/>
                  <a:gd name="T10" fmla="*/ 74 w 100"/>
                  <a:gd name="T11" fmla="*/ 121 h 126"/>
                  <a:gd name="T12" fmla="*/ 74 w 100"/>
                  <a:gd name="T13" fmla="*/ 114 h 126"/>
                  <a:gd name="T14" fmla="*/ 75 w 100"/>
                  <a:gd name="T15" fmla="*/ 109 h 126"/>
                  <a:gd name="T16" fmla="*/ 58 w 100"/>
                  <a:gd name="T17" fmla="*/ 110 h 126"/>
                  <a:gd name="T18" fmla="*/ 52 w 100"/>
                  <a:gd name="T19" fmla="*/ 109 h 126"/>
                  <a:gd name="T20" fmla="*/ 9 w 100"/>
                  <a:gd name="T21" fmla="*/ 40 h 126"/>
                  <a:gd name="T22" fmla="*/ 13 w 100"/>
                  <a:gd name="T23" fmla="*/ 38 h 126"/>
                  <a:gd name="T24" fmla="*/ 16 w 100"/>
                  <a:gd name="T25" fmla="*/ 34 h 126"/>
                  <a:gd name="T26" fmla="*/ 24 w 100"/>
                  <a:gd name="T27" fmla="*/ 35 h 126"/>
                  <a:gd name="T28" fmla="*/ 30 w 100"/>
                  <a:gd name="T29" fmla="*/ 38 h 126"/>
                  <a:gd name="T30" fmla="*/ 32 w 100"/>
                  <a:gd name="T31" fmla="*/ 39 h 126"/>
                  <a:gd name="T32" fmla="*/ 35 w 100"/>
                  <a:gd name="T33" fmla="*/ 46 h 126"/>
                  <a:gd name="T34" fmla="*/ 37 w 100"/>
                  <a:gd name="T35" fmla="*/ 51 h 126"/>
                  <a:gd name="T36" fmla="*/ 47 w 100"/>
                  <a:gd name="T37" fmla="*/ 65 h 126"/>
                  <a:gd name="T38" fmla="*/ 57 w 100"/>
                  <a:gd name="T39" fmla="*/ 73 h 126"/>
                  <a:gd name="T40" fmla="*/ 61 w 100"/>
                  <a:gd name="T41" fmla="*/ 73 h 126"/>
                  <a:gd name="T42" fmla="*/ 66 w 100"/>
                  <a:gd name="T43" fmla="*/ 77 h 126"/>
                  <a:gd name="T44" fmla="*/ 70 w 100"/>
                  <a:gd name="T45" fmla="*/ 81 h 126"/>
                  <a:gd name="T46" fmla="*/ 77 w 100"/>
                  <a:gd name="T47" fmla="*/ 88 h 126"/>
                  <a:gd name="T48" fmla="*/ 79 w 100"/>
                  <a:gd name="T49" fmla="*/ 103 h 126"/>
                  <a:gd name="T50" fmla="*/ 77 w 100"/>
                  <a:gd name="T51" fmla="*/ 110 h 126"/>
                  <a:gd name="T52" fmla="*/ 81 w 100"/>
                  <a:gd name="T53" fmla="*/ 113 h 126"/>
                  <a:gd name="T54" fmla="*/ 85 w 100"/>
                  <a:gd name="T55" fmla="*/ 108 h 126"/>
                  <a:gd name="T56" fmla="*/ 89 w 100"/>
                  <a:gd name="T57" fmla="*/ 101 h 126"/>
                  <a:gd name="T58" fmla="*/ 87 w 100"/>
                  <a:gd name="T59" fmla="*/ 94 h 126"/>
                  <a:gd name="T60" fmla="*/ 83 w 100"/>
                  <a:gd name="T61" fmla="*/ 89 h 126"/>
                  <a:gd name="T62" fmla="*/ 90 w 100"/>
                  <a:gd name="T63" fmla="*/ 83 h 126"/>
                  <a:gd name="T64" fmla="*/ 97 w 100"/>
                  <a:gd name="T65" fmla="*/ 88 h 126"/>
                  <a:gd name="T66" fmla="*/ 100 w 100"/>
                  <a:gd name="T67" fmla="*/ 86 h 126"/>
                  <a:gd name="T68" fmla="*/ 99 w 100"/>
                  <a:gd name="T69" fmla="*/ 82 h 126"/>
                  <a:gd name="T70" fmla="*/ 93 w 100"/>
                  <a:gd name="T71" fmla="*/ 76 h 126"/>
                  <a:gd name="T72" fmla="*/ 81 w 100"/>
                  <a:gd name="T73" fmla="*/ 65 h 126"/>
                  <a:gd name="T74" fmla="*/ 62 w 100"/>
                  <a:gd name="T75" fmla="*/ 52 h 126"/>
                  <a:gd name="T76" fmla="*/ 59 w 100"/>
                  <a:gd name="T77" fmla="*/ 46 h 126"/>
                  <a:gd name="T78" fmla="*/ 56 w 100"/>
                  <a:gd name="T79" fmla="*/ 42 h 126"/>
                  <a:gd name="T80" fmla="*/ 48 w 100"/>
                  <a:gd name="T81" fmla="*/ 37 h 126"/>
                  <a:gd name="T82" fmla="*/ 50 w 100"/>
                  <a:gd name="T83" fmla="*/ 27 h 126"/>
                  <a:gd name="T84" fmla="*/ 49 w 100"/>
                  <a:gd name="T85" fmla="*/ 20 h 126"/>
                  <a:gd name="T86" fmla="*/ 60 w 100"/>
                  <a:gd name="T87" fmla="*/ 17 h 126"/>
                  <a:gd name="T88" fmla="*/ 57 w 100"/>
                  <a:gd name="T89" fmla="*/ 9 h 126"/>
                  <a:gd name="T90" fmla="*/ 52 w 100"/>
                  <a:gd name="T91" fmla="*/ 3 h 126"/>
                  <a:gd name="T92" fmla="*/ 45 w 100"/>
                  <a:gd name="T93" fmla="*/ 2 h 126"/>
                  <a:gd name="T94" fmla="*/ 39 w 100"/>
                  <a:gd name="T95" fmla="*/ 1 h 126"/>
                  <a:gd name="T96" fmla="*/ 33 w 100"/>
                  <a:gd name="T97" fmla="*/ 3 h 126"/>
                  <a:gd name="T98" fmla="*/ 31 w 100"/>
                  <a:gd name="T99" fmla="*/ 7 h 126"/>
                  <a:gd name="T100" fmla="*/ 23 w 100"/>
                  <a:gd name="T101" fmla="*/ 12 h 126"/>
                  <a:gd name="T102" fmla="*/ 19 w 100"/>
                  <a:gd name="T103" fmla="*/ 14 h 126"/>
                  <a:gd name="T104" fmla="*/ 14 w 100"/>
                  <a:gd name="T105" fmla="*/ 13 h 126"/>
                  <a:gd name="T106" fmla="*/ 6 w 100"/>
                  <a:gd name="T107" fmla="*/ 21 h 126"/>
                  <a:gd name="T108" fmla="*/ 3 w 100"/>
                  <a:gd name="T109" fmla="*/ 29 h 126"/>
                  <a:gd name="T110" fmla="*/ 7 w 100"/>
                  <a:gd name="T111" fmla="*/ 37 h 126"/>
                  <a:gd name="T112" fmla="*/ 6 w 100"/>
                  <a:gd name="T113" fmla="*/ 42 h 126"/>
                  <a:gd name="T114" fmla="*/ 17 w 100"/>
                  <a:gd name="T115" fmla="*/ 77 h 126"/>
                  <a:gd name="T116" fmla="*/ 16 w 100"/>
                  <a:gd name="T117" fmla="*/ 82 h 126"/>
                  <a:gd name="T118" fmla="*/ 22 w 100"/>
                  <a:gd name="T119" fmla="*/ 98 h 126"/>
                  <a:gd name="T120" fmla="*/ 26 w 100"/>
                  <a:gd name="T121" fmla="*/ 96 h 126"/>
                  <a:gd name="T122" fmla="*/ 30 w 100"/>
                  <a:gd name="T123" fmla="*/ 79 h 126"/>
                  <a:gd name="T124" fmla="*/ 26 w 100"/>
                  <a:gd name="T125" fmla="*/ 7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 h="126">
                    <a:moveTo>
                      <a:pt x="52" y="109"/>
                    </a:moveTo>
                    <a:cubicBezTo>
                      <a:pt x="52" y="111"/>
                      <a:pt x="52" y="110"/>
                      <a:pt x="51" y="110"/>
                    </a:cubicBezTo>
                    <a:cubicBezTo>
                      <a:pt x="51" y="111"/>
                      <a:pt x="51" y="112"/>
                      <a:pt x="51" y="113"/>
                    </a:cubicBezTo>
                    <a:cubicBezTo>
                      <a:pt x="52" y="114"/>
                      <a:pt x="54" y="116"/>
                      <a:pt x="55" y="117"/>
                    </a:cubicBezTo>
                    <a:cubicBezTo>
                      <a:pt x="56" y="117"/>
                      <a:pt x="58" y="117"/>
                      <a:pt x="59" y="118"/>
                    </a:cubicBezTo>
                    <a:cubicBezTo>
                      <a:pt x="59" y="118"/>
                      <a:pt x="60" y="121"/>
                      <a:pt x="60" y="121"/>
                    </a:cubicBezTo>
                    <a:cubicBezTo>
                      <a:pt x="61" y="121"/>
                      <a:pt x="63" y="120"/>
                      <a:pt x="64" y="121"/>
                    </a:cubicBezTo>
                    <a:cubicBezTo>
                      <a:pt x="66" y="122"/>
                      <a:pt x="66" y="123"/>
                      <a:pt x="69" y="124"/>
                    </a:cubicBezTo>
                    <a:cubicBezTo>
                      <a:pt x="70" y="125"/>
                      <a:pt x="70" y="125"/>
                      <a:pt x="70" y="125"/>
                    </a:cubicBezTo>
                    <a:cubicBezTo>
                      <a:pt x="71" y="126"/>
                      <a:pt x="72" y="125"/>
                      <a:pt x="73" y="125"/>
                    </a:cubicBezTo>
                    <a:cubicBezTo>
                      <a:pt x="73" y="124"/>
                      <a:pt x="72" y="123"/>
                      <a:pt x="72" y="122"/>
                    </a:cubicBezTo>
                    <a:cubicBezTo>
                      <a:pt x="72" y="122"/>
                      <a:pt x="74" y="121"/>
                      <a:pt x="74" y="121"/>
                    </a:cubicBezTo>
                    <a:cubicBezTo>
                      <a:pt x="75" y="119"/>
                      <a:pt x="74" y="117"/>
                      <a:pt x="75" y="115"/>
                    </a:cubicBezTo>
                    <a:cubicBezTo>
                      <a:pt x="73" y="116"/>
                      <a:pt x="74" y="115"/>
                      <a:pt x="74" y="114"/>
                    </a:cubicBezTo>
                    <a:cubicBezTo>
                      <a:pt x="73" y="112"/>
                      <a:pt x="75" y="113"/>
                      <a:pt x="75" y="111"/>
                    </a:cubicBezTo>
                    <a:cubicBezTo>
                      <a:pt x="76" y="111"/>
                      <a:pt x="75" y="110"/>
                      <a:pt x="75" y="109"/>
                    </a:cubicBezTo>
                    <a:cubicBezTo>
                      <a:pt x="72" y="111"/>
                      <a:pt x="65" y="113"/>
                      <a:pt x="60" y="112"/>
                    </a:cubicBezTo>
                    <a:cubicBezTo>
                      <a:pt x="60" y="112"/>
                      <a:pt x="59" y="110"/>
                      <a:pt x="58" y="110"/>
                    </a:cubicBezTo>
                    <a:cubicBezTo>
                      <a:pt x="56" y="110"/>
                      <a:pt x="56" y="111"/>
                      <a:pt x="54" y="111"/>
                    </a:cubicBezTo>
                    <a:cubicBezTo>
                      <a:pt x="54" y="111"/>
                      <a:pt x="53" y="110"/>
                      <a:pt x="52" y="109"/>
                    </a:cubicBezTo>
                    <a:close/>
                    <a:moveTo>
                      <a:pt x="6" y="42"/>
                    </a:moveTo>
                    <a:cubicBezTo>
                      <a:pt x="7" y="41"/>
                      <a:pt x="8" y="40"/>
                      <a:pt x="9" y="40"/>
                    </a:cubicBezTo>
                    <a:cubicBezTo>
                      <a:pt x="10" y="40"/>
                      <a:pt x="11" y="41"/>
                      <a:pt x="12" y="40"/>
                    </a:cubicBezTo>
                    <a:cubicBezTo>
                      <a:pt x="13" y="40"/>
                      <a:pt x="13" y="39"/>
                      <a:pt x="13" y="38"/>
                    </a:cubicBezTo>
                    <a:cubicBezTo>
                      <a:pt x="14" y="37"/>
                      <a:pt x="15" y="37"/>
                      <a:pt x="16" y="36"/>
                    </a:cubicBezTo>
                    <a:cubicBezTo>
                      <a:pt x="16" y="36"/>
                      <a:pt x="16" y="34"/>
                      <a:pt x="16" y="34"/>
                    </a:cubicBezTo>
                    <a:cubicBezTo>
                      <a:pt x="17" y="33"/>
                      <a:pt x="18" y="32"/>
                      <a:pt x="21" y="32"/>
                    </a:cubicBezTo>
                    <a:cubicBezTo>
                      <a:pt x="22" y="32"/>
                      <a:pt x="23" y="34"/>
                      <a:pt x="24" y="35"/>
                    </a:cubicBezTo>
                    <a:cubicBezTo>
                      <a:pt x="25" y="35"/>
                      <a:pt x="26" y="35"/>
                      <a:pt x="26" y="35"/>
                    </a:cubicBezTo>
                    <a:cubicBezTo>
                      <a:pt x="28" y="35"/>
                      <a:pt x="29" y="38"/>
                      <a:pt x="30" y="38"/>
                    </a:cubicBezTo>
                    <a:cubicBezTo>
                      <a:pt x="30" y="39"/>
                      <a:pt x="30" y="39"/>
                      <a:pt x="30" y="39"/>
                    </a:cubicBezTo>
                    <a:cubicBezTo>
                      <a:pt x="32" y="39"/>
                      <a:pt x="32" y="39"/>
                      <a:pt x="32" y="39"/>
                    </a:cubicBezTo>
                    <a:cubicBezTo>
                      <a:pt x="32" y="40"/>
                      <a:pt x="32" y="42"/>
                      <a:pt x="32" y="44"/>
                    </a:cubicBezTo>
                    <a:cubicBezTo>
                      <a:pt x="33" y="44"/>
                      <a:pt x="35" y="45"/>
                      <a:pt x="35" y="46"/>
                    </a:cubicBezTo>
                    <a:cubicBezTo>
                      <a:pt x="35" y="47"/>
                      <a:pt x="35" y="48"/>
                      <a:pt x="35" y="50"/>
                    </a:cubicBezTo>
                    <a:cubicBezTo>
                      <a:pt x="35" y="50"/>
                      <a:pt x="37" y="51"/>
                      <a:pt x="37" y="51"/>
                    </a:cubicBezTo>
                    <a:cubicBezTo>
                      <a:pt x="38" y="53"/>
                      <a:pt x="37" y="55"/>
                      <a:pt x="38" y="57"/>
                    </a:cubicBezTo>
                    <a:cubicBezTo>
                      <a:pt x="40" y="60"/>
                      <a:pt x="45" y="62"/>
                      <a:pt x="47" y="65"/>
                    </a:cubicBezTo>
                    <a:cubicBezTo>
                      <a:pt x="48" y="67"/>
                      <a:pt x="48" y="69"/>
                      <a:pt x="50" y="70"/>
                    </a:cubicBezTo>
                    <a:cubicBezTo>
                      <a:pt x="52" y="72"/>
                      <a:pt x="55" y="72"/>
                      <a:pt x="57" y="73"/>
                    </a:cubicBezTo>
                    <a:cubicBezTo>
                      <a:pt x="57" y="73"/>
                      <a:pt x="57" y="73"/>
                      <a:pt x="57" y="73"/>
                    </a:cubicBezTo>
                    <a:cubicBezTo>
                      <a:pt x="59" y="74"/>
                      <a:pt x="59" y="72"/>
                      <a:pt x="61" y="73"/>
                    </a:cubicBezTo>
                    <a:cubicBezTo>
                      <a:pt x="62" y="73"/>
                      <a:pt x="64" y="77"/>
                      <a:pt x="65" y="77"/>
                    </a:cubicBezTo>
                    <a:cubicBezTo>
                      <a:pt x="66" y="77"/>
                      <a:pt x="66" y="77"/>
                      <a:pt x="66" y="77"/>
                    </a:cubicBezTo>
                    <a:cubicBezTo>
                      <a:pt x="67" y="78"/>
                      <a:pt x="66" y="80"/>
                      <a:pt x="67" y="80"/>
                    </a:cubicBezTo>
                    <a:cubicBezTo>
                      <a:pt x="68" y="81"/>
                      <a:pt x="69" y="80"/>
                      <a:pt x="70" y="81"/>
                    </a:cubicBezTo>
                    <a:cubicBezTo>
                      <a:pt x="71" y="82"/>
                      <a:pt x="71" y="84"/>
                      <a:pt x="72" y="85"/>
                    </a:cubicBezTo>
                    <a:cubicBezTo>
                      <a:pt x="73" y="87"/>
                      <a:pt x="76" y="87"/>
                      <a:pt x="77" y="88"/>
                    </a:cubicBezTo>
                    <a:cubicBezTo>
                      <a:pt x="78" y="89"/>
                      <a:pt x="81" y="100"/>
                      <a:pt x="81" y="102"/>
                    </a:cubicBezTo>
                    <a:cubicBezTo>
                      <a:pt x="79" y="103"/>
                      <a:pt x="79" y="103"/>
                      <a:pt x="79" y="103"/>
                    </a:cubicBezTo>
                    <a:cubicBezTo>
                      <a:pt x="79" y="104"/>
                      <a:pt x="79" y="106"/>
                      <a:pt x="79" y="107"/>
                    </a:cubicBezTo>
                    <a:cubicBezTo>
                      <a:pt x="79" y="108"/>
                      <a:pt x="77" y="109"/>
                      <a:pt x="77" y="110"/>
                    </a:cubicBezTo>
                    <a:cubicBezTo>
                      <a:pt x="76" y="113"/>
                      <a:pt x="78" y="113"/>
                      <a:pt x="78" y="114"/>
                    </a:cubicBezTo>
                    <a:cubicBezTo>
                      <a:pt x="79" y="113"/>
                      <a:pt x="81" y="114"/>
                      <a:pt x="81" y="113"/>
                    </a:cubicBezTo>
                    <a:cubicBezTo>
                      <a:pt x="82" y="113"/>
                      <a:pt x="82" y="111"/>
                      <a:pt x="82" y="110"/>
                    </a:cubicBezTo>
                    <a:cubicBezTo>
                      <a:pt x="82" y="110"/>
                      <a:pt x="85" y="108"/>
                      <a:pt x="85" y="108"/>
                    </a:cubicBezTo>
                    <a:cubicBezTo>
                      <a:pt x="86" y="106"/>
                      <a:pt x="85" y="104"/>
                      <a:pt x="86" y="103"/>
                    </a:cubicBezTo>
                    <a:cubicBezTo>
                      <a:pt x="87" y="102"/>
                      <a:pt x="89" y="102"/>
                      <a:pt x="89" y="101"/>
                    </a:cubicBezTo>
                    <a:cubicBezTo>
                      <a:pt x="90" y="99"/>
                      <a:pt x="89" y="96"/>
                      <a:pt x="89" y="95"/>
                    </a:cubicBezTo>
                    <a:cubicBezTo>
                      <a:pt x="88" y="95"/>
                      <a:pt x="88" y="95"/>
                      <a:pt x="87" y="94"/>
                    </a:cubicBezTo>
                    <a:cubicBezTo>
                      <a:pt x="87" y="93"/>
                      <a:pt x="87" y="92"/>
                      <a:pt x="86" y="91"/>
                    </a:cubicBezTo>
                    <a:cubicBezTo>
                      <a:pt x="86" y="90"/>
                      <a:pt x="84" y="90"/>
                      <a:pt x="83" y="89"/>
                    </a:cubicBezTo>
                    <a:cubicBezTo>
                      <a:pt x="85" y="86"/>
                      <a:pt x="86" y="80"/>
                      <a:pt x="90" y="81"/>
                    </a:cubicBezTo>
                    <a:cubicBezTo>
                      <a:pt x="90" y="83"/>
                      <a:pt x="90" y="83"/>
                      <a:pt x="90" y="83"/>
                    </a:cubicBezTo>
                    <a:cubicBezTo>
                      <a:pt x="92" y="83"/>
                      <a:pt x="93" y="83"/>
                      <a:pt x="96" y="84"/>
                    </a:cubicBezTo>
                    <a:cubicBezTo>
                      <a:pt x="96" y="85"/>
                      <a:pt x="96" y="87"/>
                      <a:pt x="97" y="88"/>
                    </a:cubicBezTo>
                    <a:cubicBezTo>
                      <a:pt x="97" y="88"/>
                      <a:pt x="98" y="88"/>
                      <a:pt x="99" y="88"/>
                    </a:cubicBezTo>
                    <a:cubicBezTo>
                      <a:pt x="99" y="87"/>
                      <a:pt x="99" y="87"/>
                      <a:pt x="100" y="86"/>
                    </a:cubicBezTo>
                    <a:cubicBezTo>
                      <a:pt x="100" y="86"/>
                      <a:pt x="99" y="85"/>
                      <a:pt x="99" y="85"/>
                    </a:cubicBezTo>
                    <a:cubicBezTo>
                      <a:pt x="99" y="84"/>
                      <a:pt x="100" y="83"/>
                      <a:pt x="99" y="82"/>
                    </a:cubicBezTo>
                    <a:cubicBezTo>
                      <a:pt x="99" y="81"/>
                      <a:pt x="97" y="81"/>
                      <a:pt x="97" y="81"/>
                    </a:cubicBezTo>
                    <a:cubicBezTo>
                      <a:pt x="95" y="80"/>
                      <a:pt x="94" y="77"/>
                      <a:pt x="93" y="76"/>
                    </a:cubicBezTo>
                    <a:cubicBezTo>
                      <a:pt x="89" y="73"/>
                      <a:pt x="84" y="72"/>
                      <a:pt x="81" y="69"/>
                    </a:cubicBezTo>
                    <a:cubicBezTo>
                      <a:pt x="81" y="68"/>
                      <a:pt x="81" y="65"/>
                      <a:pt x="81" y="65"/>
                    </a:cubicBezTo>
                    <a:cubicBezTo>
                      <a:pt x="77" y="65"/>
                      <a:pt x="74" y="65"/>
                      <a:pt x="70" y="63"/>
                    </a:cubicBezTo>
                    <a:cubicBezTo>
                      <a:pt x="68" y="62"/>
                      <a:pt x="63" y="55"/>
                      <a:pt x="62" y="52"/>
                    </a:cubicBezTo>
                    <a:cubicBezTo>
                      <a:pt x="61" y="50"/>
                      <a:pt x="62" y="49"/>
                      <a:pt x="61" y="47"/>
                    </a:cubicBezTo>
                    <a:cubicBezTo>
                      <a:pt x="60" y="46"/>
                      <a:pt x="60" y="47"/>
                      <a:pt x="59" y="46"/>
                    </a:cubicBezTo>
                    <a:cubicBezTo>
                      <a:pt x="58" y="46"/>
                      <a:pt x="57" y="43"/>
                      <a:pt x="57" y="42"/>
                    </a:cubicBezTo>
                    <a:cubicBezTo>
                      <a:pt x="56" y="42"/>
                      <a:pt x="56" y="42"/>
                      <a:pt x="56" y="42"/>
                    </a:cubicBezTo>
                    <a:cubicBezTo>
                      <a:pt x="56" y="42"/>
                      <a:pt x="56" y="42"/>
                      <a:pt x="56" y="42"/>
                    </a:cubicBezTo>
                    <a:cubicBezTo>
                      <a:pt x="53" y="39"/>
                      <a:pt x="51" y="41"/>
                      <a:pt x="48" y="37"/>
                    </a:cubicBezTo>
                    <a:cubicBezTo>
                      <a:pt x="48" y="37"/>
                      <a:pt x="47" y="36"/>
                      <a:pt x="47" y="36"/>
                    </a:cubicBezTo>
                    <a:cubicBezTo>
                      <a:pt x="46" y="33"/>
                      <a:pt x="50" y="28"/>
                      <a:pt x="50" y="27"/>
                    </a:cubicBezTo>
                    <a:cubicBezTo>
                      <a:pt x="51" y="24"/>
                      <a:pt x="49" y="24"/>
                      <a:pt x="48" y="22"/>
                    </a:cubicBezTo>
                    <a:cubicBezTo>
                      <a:pt x="48" y="21"/>
                      <a:pt x="49" y="20"/>
                      <a:pt x="49" y="20"/>
                    </a:cubicBezTo>
                    <a:cubicBezTo>
                      <a:pt x="50" y="20"/>
                      <a:pt x="50" y="21"/>
                      <a:pt x="50" y="21"/>
                    </a:cubicBezTo>
                    <a:cubicBezTo>
                      <a:pt x="53" y="19"/>
                      <a:pt x="56" y="18"/>
                      <a:pt x="60" y="17"/>
                    </a:cubicBezTo>
                    <a:cubicBezTo>
                      <a:pt x="58" y="15"/>
                      <a:pt x="60" y="14"/>
                      <a:pt x="60" y="12"/>
                    </a:cubicBezTo>
                    <a:cubicBezTo>
                      <a:pt x="60" y="10"/>
                      <a:pt x="60" y="9"/>
                      <a:pt x="57" y="9"/>
                    </a:cubicBezTo>
                    <a:cubicBezTo>
                      <a:pt x="54" y="9"/>
                      <a:pt x="58" y="3"/>
                      <a:pt x="58" y="3"/>
                    </a:cubicBezTo>
                    <a:cubicBezTo>
                      <a:pt x="58" y="3"/>
                      <a:pt x="54" y="3"/>
                      <a:pt x="52" y="3"/>
                    </a:cubicBezTo>
                    <a:cubicBezTo>
                      <a:pt x="50" y="4"/>
                      <a:pt x="50" y="4"/>
                      <a:pt x="48" y="4"/>
                    </a:cubicBezTo>
                    <a:cubicBezTo>
                      <a:pt x="46" y="4"/>
                      <a:pt x="48" y="2"/>
                      <a:pt x="45" y="2"/>
                    </a:cubicBezTo>
                    <a:cubicBezTo>
                      <a:pt x="41" y="2"/>
                      <a:pt x="44" y="2"/>
                      <a:pt x="41" y="1"/>
                    </a:cubicBezTo>
                    <a:cubicBezTo>
                      <a:pt x="38" y="0"/>
                      <a:pt x="39" y="0"/>
                      <a:pt x="39" y="1"/>
                    </a:cubicBezTo>
                    <a:cubicBezTo>
                      <a:pt x="39" y="3"/>
                      <a:pt x="34" y="0"/>
                      <a:pt x="34" y="0"/>
                    </a:cubicBezTo>
                    <a:cubicBezTo>
                      <a:pt x="34" y="0"/>
                      <a:pt x="35" y="2"/>
                      <a:pt x="33" y="3"/>
                    </a:cubicBezTo>
                    <a:cubicBezTo>
                      <a:pt x="31" y="5"/>
                      <a:pt x="35" y="4"/>
                      <a:pt x="34" y="6"/>
                    </a:cubicBezTo>
                    <a:cubicBezTo>
                      <a:pt x="32" y="8"/>
                      <a:pt x="33" y="8"/>
                      <a:pt x="31" y="7"/>
                    </a:cubicBezTo>
                    <a:cubicBezTo>
                      <a:pt x="29" y="5"/>
                      <a:pt x="27" y="7"/>
                      <a:pt x="27" y="9"/>
                    </a:cubicBezTo>
                    <a:cubicBezTo>
                      <a:pt x="26" y="11"/>
                      <a:pt x="23" y="9"/>
                      <a:pt x="23" y="12"/>
                    </a:cubicBezTo>
                    <a:cubicBezTo>
                      <a:pt x="23" y="15"/>
                      <a:pt x="24" y="14"/>
                      <a:pt x="23" y="15"/>
                    </a:cubicBezTo>
                    <a:cubicBezTo>
                      <a:pt x="22" y="16"/>
                      <a:pt x="22" y="14"/>
                      <a:pt x="19" y="14"/>
                    </a:cubicBezTo>
                    <a:cubicBezTo>
                      <a:pt x="16" y="13"/>
                      <a:pt x="17" y="13"/>
                      <a:pt x="15" y="11"/>
                    </a:cubicBezTo>
                    <a:cubicBezTo>
                      <a:pt x="14" y="9"/>
                      <a:pt x="14" y="11"/>
                      <a:pt x="14" y="13"/>
                    </a:cubicBezTo>
                    <a:cubicBezTo>
                      <a:pt x="14" y="16"/>
                      <a:pt x="9" y="15"/>
                      <a:pt x="8" y="17"/>
                    </a:cubicBezTo>
                    <a:cubicBezTo>
                      <a:pt x="6" y="21"/>
                      <a:pt x="6" y="21"/>
                      <a:pt x="6" y="21"/>
                    </a:cubicBezTo>
                    <a:cubicBezTo>
                      <a:pt x="6" y="21"/>
                      <a:pt x="5" y="24"/>
                      <a:pt x="3" y="24"/>
                    </a:cubicBezTo>
                    <a:cubicBezTo>
                      <a:pt x="0" y="24"/>
                      <a:pt x="0" y="29"/>
                      <a:pt x="3" y="29"/>
                    </a:cubicBezTo>
                    <a:cubicBezTo>
                      <a:pt x="5" y="29"/>
                      <a:pt x="2" y="35"/>
                      <a:pt x="3" y="36"/>
                    </a:cubicBezTo>
                    <a:cubicBezTo>
                      <a:pt x="4" y="37"/>
                      <a:pt x="8" y="35"/>
                      <a:pt x="7" y="37"/>
                    </a:cubicBezTo>
                    <a:cubicBezTo>
                      <a:pt x="6" y="39"/>
                      <a:pt x="7" y="37"/>
                      <a:pt x="5" y="39"/>
                    </a:cubicBezTo>
                    <a:cubicBezTo>
                      <a:pt x="4" y="41"/>
                      <a:pt x="6" y="42"/>
                      <a:pt x="6" y="42"/>
                    </a:cubicBezTo>
                    <a:close/>
                    <a:moveTo>
                      <a:pt x="23" y="71"/>
                    </a:moveTo>
                    <a:cubicBezTo>
                      <a:pt x="22" y="73"/>
                      <a:pt x="18" y="76"/>
                      <a:pt x="17" y="77"/>
                    </a:cubicBezTo>
                    <a:cubicBezTo>
                      <a:pt x="16" y="77"/>
                      <a:pt x="16" y="76"/>
                      <a:pt x="15" y="77"/>
                    </a:cubicBezTo>
                    <a:cubicBezTo>
                      <a:pt x="15" y="79"/>
                      <a:pt x="16" y="79"/>
                      <a:pt x="16" y="82"/>
                    </a:cubicBezTo>
                    <a:cubicBezTo>
                      <a:pt x="17" y="86"/>
                      <a:pt x="17" y="93"/>
                      <a:pt x="18" y="96"/>
                    </a:cubicBezTo>
                    <a:cubicBezTo>
                      <a:pt x="19" y="98"/>
                      <a:pt x="20" y="97"/>
                      <a:pt x="22" y="98"/>
                    </a:cubicBezTo>
                    <a:cubicBezTo>
                      <a:pt x="21" y="98"/>
                      <a:pt x="23" y="99"/>
                      <a:pt x="24" y="99"/>
                    </a:cubicBezTo>
                    <a:cubicBezTo>
                      <a:pt x="24" y="99"/>
                      <a:pt x="26" y="96"/>
                      <a:pt x="26" y="96"/>
                    </a:cubicBezTo>
                    <a:cubicBezTo>
                      <a:pt x="27" y="96"/>
                      <a:pt x="27" y="96"/>
                      <a:pt x="27" y="96"/>
                    </a:cubicBezTo>
                    <a:cubicBezTo>
                      <a:pt x="27" y="96"/>
                      <a:pt x="30" y="79"/>
                      <a:pt x="30" y="79"/>
                    </a:cubicBezTo>
                    <a:cubicBezTo>
                      <a:pt x="30" y="78"/>
                      <a:pt x="27" y="77"/>
                      <a:pt x="27" y="76"/>
                    </a:cubicBezTo>
                    <a:cubicBezTo>
                      <a:pt x="26" y="75"/>
                      <a:pt x="27" y="73"/>
                      <a:pt x="26" y="72"/>
                    </a:cubicBezTo>
                    <a:cubicBezTo>
                      <a:pt x="25" y="71"/>
                      <a:pt x="24" y="72"/>
                      <a:pt x="23" y="7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16" name="Freeform 195">
                <a:extLst>
                  <a:ext uri="{FF2B5EF4-FFF2-40B4-BE49-F238E27FC236}">
                    <a16:creationId xmlns:a16="http://schemas.microsoft.com/office/drawing/2014/main" id="{6C531854-BC81-EEEF-63BB-F2A1BCACEB4D}"/>
                  </a:ext>
                </a:extLst>
              </p:cNvPr>
              <p:cNvSpPr>
                <a:spLocks noEditPoints="1"/>
              </p:cNvSpPr>
              <p:nvPr/>
            </p:nvSpPr>
            <p:spPr bwMode="auto">
              <a:xfrm>
                <a:off x="3227" y="1212"/>
                <a:ext cx="196" cy="248"/>
              </a:xfrm>
              <a:custGeom>
                <a:avLst/>
                <a:gdLst>
                  <a:gd name="T0" fmla="*/ 51 w 100"/>
                  <a:gd name="T1" fmla="*/ 110 h 126"/>
                  <a:gd name="T2" fmla="*/ 55 w 100"/>
                  <a:gd name="T3" fmla="*/ 117 h 126"/>
                  <a:gd name="T4" fmla="*/ 60 w 100"/>
                  <a:gd name="T5" fmla="*/ 121 h 126"/>
                  <a:gd name="T6" fmla="*/ 69 w 100"/>
                  <a:gd name="T7" fmla="*/ 124 h 126"/>
                  <a:gd name="T8" fmla="*/ 73 w 100"/>
                  <a:gd name="T9" fmla="*/ 125 h 126"/>
                  <a:gd name="T10" fmla="*/ 74 w 100"/>
                  <a:gd name="T11" fmla="*/ 121 h 126"/>
                  <a:gd name="T12" fmla="*/ 74 w 100"/>
                  <a:gd name="T13" fmla="*/ 114 h 126"/>
                  <a:gd name="T14" fmla="*/ 75 w 100"/>
                  <a:gd name="T15" fmla="*/ 109 h 126"/>
                  <a:gd name="T16" fmla="*/ 58 w 100"/>
                  <a:gd name="T17" fmla="*/ 110 h 126"/>
                  <a:gd name="T18" fmla="*/ 52 w 100"/>
                  <a:gd name="T19" fmla="*/ 109 h 126"/>
                  <a:gd name="T20" fmla="*/ 9 w 100"/>
                  <a:gd name="T21" fmla="*/ 40 h 126"/>
                  <a:gd name="T22" fmla="*/ 13 w 100"/>
                  <a:gd name="T23" fmla="*/ 38 h 126"/>
                  <a:gd name="T24" fmla="*/ 16 w 100"/>
                  <a:gd name="T25" fmla="*/ 34 h 126"/>
                  <a:gd name="T26" fmla="*/ 24 w 100"/>
                  <a:gd name="T27" fmla="*/ 35 h 126"/>
                  <a:gd name="T28" fmla="*/ 30 w 100"/>
                  <a:gd name="T29" fmla="*/ 38 h 126"/>
                  <a:gd name="T30" fmla="*/ 32 w 100"/>
                  <a:gd name="T31" fmla="*/ 39 h 126"/>
                  <a:gd name="T32" fmla="*/ 35 w 100"/>
                  <a:gd name="T33" fmla="*/ 46 h 126"/>
                  <a:gd name="T34" fmla="*/ 37 w 100"/>
                  <a:gd name="T35" fmla="*/ 51 h 126"/>
                  <a:gd name="T36" fmla="*/ 47 w 100"/>
                  <a:gd name="T37" fmla="*/ 65 h 126"/>
                  <a:gd name="T38" fmla="*/ 57 w 100"/>
                  <a:gd name="T39" fmla="*/ 73 h 126"/>
                  <a:gd name="T40" fmla="*/ 61 w 100"/>
                  <a:gd name="T41" fmla="*/ 73 h 126"/>
                  <a:gd name="T42" fmla="*/ 66 w 100"/>
                  <a:gd name="T43" fmla="*/ 77 h 126"/>
                  <a:gd name="T44" fmla="*/ 70 w 100"/>
                  <a:gd name="T45" fmla="*/ 81 h 126"/>
                  <a:gd name="T46" fmla="*/ 77 w 100"/>
                  <a:gd name="T47" fmla="*/ 88 h 126"/>
                  <a:gd name="T48" fmla="*/ 79 w 100"/>
                  <a:gd name="T49" fmla="*/ 103 h 126"/>
                  <a:gd name="T50" fmla="*/ 77 w 100"/>
                  <a:gd name="T51" fmla="*/ 110 h 126"/>
                  <a:gd name="T52" fmla="*/ 81 w 100"/>
                  <a:gd name="T53" fmla="*/ 113 h 126"/>
                  <a:gd name="T54" fmla="*/ 85 w 100"/>
                  <a:gd name="T55" fmla="*/ 108 h 126"/>
                  <a:gd name="T56" fmla="*/ 89 w 100"/>
                  <a:gd name="T57" fmla="*/ 101 h 126"/>
                  <a:gd name="T58" fmla="*/ 87 w 100"/>
                  <a:gd name="T59" fmla="*/ 94 h 126"/>
                  <a:gd name="T60" fmla="*/ 83 w 100"/>
                  <a:gd name="T61" fmla="*/ 89 h 126"/>
                  <a:gd name="T62" fmla="*/ 90 w 100"/>
                  <a:gd name="T63" fmla="*/ 83 h 126"/>
                  <a:gd name="T64" fmla="*/ 97 w 100"/>
                  <a:gd name="T65" fmla="*/ 88 h 126"/>
                  <a:gd name="T66" fmla="*/ 100 w 100"/>
                  <a:gd name="T67" fmla="*/ 86 h 126"/>
                  <a:gd name="T68" fmla="*/ 99 w 100"/>
                  <a:gd name="T69" fmla="*/ 82 h 126"/>
                  <a:gd name="T70" fmla="*/ 93 w 100"/>
                  <a:gd name="T71" fmla="*/ 76 h 126"/>
                  <a:gd name="T72" fmla="*/ 81 w 100"/>
                  <a:gd name="T73" fmla="*/ 65 h 126"/>
                  <a:gd name="T74" fmla="*/ 62 w 100"/>
                  <a:gd name="T75" fmla="*/ 52 h 126"/>
                  <a:gd name="T76" fmla="*/ 59 w 100"/>
                  <a:gd name="T77" fmla="*/ 46 h 126"/>
                  <a:gd name="T78" fmla="*/ 56 w 100"/>
                  <a:gd name="T79" fmla="*/ 42 h 126"/>
                  <a:gd name="T80" fmla="*/ 48 w 100"/>
                  <a:gd name="T81" fmla="*/ 37 h 126"/>
                  <a:gd name="T82" fmla="*/ 50 w 100"/>
                  <a:gd name="T83" fmla="*/ 27 h 126"/>
                  <a:gd name="T84" fmla="*/ 49 w 100"/>
                  <a:gd name="T85" fmla="*/ 20 h 126"/>
                  <a:gd name="T86" fmla="*/ 60 w 100"/>
                  <a:gd name="T87" fmla="*/ 17 h 126"/>
                  <a:gd name="T88" fmla="*/ 57 w 100"/>
                  <a:gd name="T89" fmla="*/ 9 h 126"/>
                  <a:gd name="T90" fmla="*/ 52 w 100"/>
                  <a:gd name="T91" fmla="*/ 3 h 126"/>
                  <a:gd name="T92" fmla="*/ 45 w 100"/>
                  <a:gd name="T93" fmla="*/ 2 h 126"/>
                  <a:gd name="T94" fmla="*/ 39 w 100"/>
                  <a:gd name="T95" fmla="*/ 1 h 126"/>
                  <a:gd name="T96" fmla="*/ 33 w 100"/>
                  <a:gd name="T97" fmla="*/ 3 h 126"/>
                  <a:gd name="T98" fmla="*/ 31 w 100"/>
                  <a:gd name="T99" fmla="*/ 7 h 126"/>
                  <a:gd name="T100" fmla="*/ 23 w 100"/>
                  <a:gd name="T101" fmla="*/ 12 h 126"/>
                  <a:gd name="T102" fmla="*/ 19 w 100"/>
                  <a:gd name="T103" fmla="*/ 14 h 126"/>
                  <a:gd name="T104" fmla="*/ 14 w 100"/>
                  <a:gd name="T105" fmla="*/ 13 h 126"/>
                  <a:gd name="T106" fmla="*/ 6 w 100"/>
                  <a:gd name="T107" fmla="*/ 21 h 126"/>
                  <a:gd name="T108" fmla="*/ 3 w 100"/>
                  <a:gd name="T109" fmla="*/ 29 h 126"/>
                  <a:gd name="T110" fmla="*/ 7 w 100"/>
                  <a:gd name="T111" fmla="*/ 37 h 126"/>
                  <a:gd name="T112" fmla="*/ 6 w 100"/>
                  <a:gd name="T113" fmla="*/ 42 h 126"/>
                  <a:gd name="T114" fmla="*/ 17 w 100"/>
                  <a:gd name="T115" fmla="*/ 77 h 126"/>
                  <a:gd name="T116" fmla="*/ 16 w 100"/>
                  <a:gd name="T117" fmla="*/ 82 h 126"/>
                  <a:gd name="T118" fmla="*/ 22 w 100"/>
                  <a:gd name="T119" fmla="*/ 98 h 126"/>
                  <a:gd name="T120" fmla="*/ 26 w 100"/>
                  <a:gd name="T121" fmla="*/ 96 h 126"/>
                  <a:gd name="T122" fmla="*/ 30 w 100"/>
                  <a:gd name="T123" fmla="*/ 79 h 126"/>
                  <a:gd name="T124" fmla="*/ 26 w 100"/>
                  <a:gd name="T125" fmla="*/ 7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0" h="126">
                    <a:moveTo>
                      <a:pt x="52" y="109"/>
                    </a:moveTo>
                    <a:cubicBezTo>
                      <a:pt x="52" y="111"/>
                      <a:pt x="52" y="110"/>
                      <a:pt x="51" y="110"/>
                    </a:cubicBezTo>
                    <a:cubicBezTo>
                      <a:pt x="51" y="111"/>
                      <a:pt x="51" y="112"/>
                      <a:pt x="51" y="113"/>
                    </a:cubicBezTo>
                    <a:cubicBezTo>
                      <a:pt x="52" y="114"/>
                      <a:pt x="54" y="116"/>
                      <a:pt x="55" y="117"/>
                    </a:cubicBezTo>
                    <a:cubicBezTo>
                      <a:pt x="56" y="117"/>
                      <a:pt x="58" y="117"/>
                      <a:pt x="59" y="118"/>
                    </a:cubicBezTo>
                    <a:cubicBezTo>
                      <a:pt x="59" y="118"/>
                      <a:pt x="60" y="121"/>
                      <a:pt x="60" y="121"/>
                    </a:cubicBezTo>
                    <a:cubicBezTo>
                      <a:pt x="61" y="121"/>
                      <a:pt x="63" y="120"/>
                      <a:pt x="64" y="121"/>
                    </a:cubicBezTo>
                    <a:cubicBezTo>
                      <a:pt x="66" y="122"/>
                      <a:pt x="66" y="123"/>
                      <a:pt x="69" y="124"/>
                    </a:cubicBezTo>
                    <a:cubicBezTo>
                      <a:pt x="70" y="125"/>
                      <a:pt x="70" y="125"/>
                      <a:pt x="70" y="125"/>
                    </a:cubicBezTo>
                    <a:cubicBezTo>
                      <a:pt x="71" y="126"/>
                      <a:pt x="72" y="125"/>
                      <a:pt x="73" y="125"/>
                    </a:cubicBezTo>
                    <a:cubicBezTo>
                      <a:pt x="73" y="124"/>
                      <a:pt x="72" y="123"/>
                      <a:pt x="72" y="122"/>
                    </a:cubicBezTo>
                    <a:cubicBezTo>
                      <a:pt x="72" y="122"/>
                      <a:pt x="74" y="121"/>
                      <a:pt x="74" y="121"/>
                    </a:cubicBezTo>
                    <a:cubicBezTo>
                      <a:pt x="75" y="119"/>
                      <a:pt x="74" y="117"/>
                      <a:pt x="75" y="115"/>
                    </a:cubicBezTo>
                    <a:cubicBezTo>
                      <a:pt x="73" y="116"/>
                      <a:pt x="74" y="115"/>
                      <a:pt x="74" y="114"/>
                    </a:cubicBezTo>
                    <a:cubicBezTo>
                      <a:pt x="73" y="112"/>
                      <a:pt x="75" y="113"/>
                      <a:pt x="75" y="111"/>
                    </a:cubicBezTo>
                    <a:cubicBezTo>
                      <a:pt x="76" y="111"/>
                      <a:pt x="75" y="110"/>
                      <a:pt x="75" y="109"/>
                    </a:cubicBezTo>
                    <a:cubicBezTo>
                      <a:pt x="72" y="111"/>
                      <a:pt x="65" y="113"/>
                      <a:pt x="60" y="112"/>
                    </a:cubicBezTo>
                    <a:cubicBezTo>
                      <a:pt x="60" y="112"/>
                      <a:pt x="59" y="110"/>
                      <a:pt x="58" y="110"/>
                    </a:cubicBezTo>
                    <a:cubicBezTo>
                      <a:pt x="56" y="110"/>
                      <a:pt x="56" y="111"/>
                      <a:pt x="54" y="111"/>
                    </a:cubicBezTo>
                    <a:cubicBezTo>
                      <a:pt x="54" y="111"/>
                      <a:pt x="53" y="110"/>
                      <a:pt x="52" y="109"/>
                    </a:cubicBezTo>
                    <a:close/>
                    <a:moveTo>
                      <a:pt x="6" y="42"/>
                    </a:moveTo>
                    <a:cubicBezTo>
                      <a:pt x="7" y="41"/>
                      <a:pt x="8" y="40"/>
                      <a:pt x="9" y="40"/>
                    </a:cubicBezTo>
                    <a:cubicBezTo>
                      <a:pt x="10" y="40"/>
                      <a:pt x="11" y="41"/>
                      <a:pt x="12" y="40"/>
                    </a:cubicBezTo>
                    <a:cubicBezTo>
                      <a:pt x="13" y="40"/>
                      <a:pt x="13" y="39"/>
                      <a:pt x="13" y="38"/>
                    </a:cubicBezTo>
                    <a:cubicBezTo>
                      <a:pt x="14" y="37"/>
                      <a:pt x="15" y="37"/>
                      <a:pt x="16" y="36"/>
                    </a:cubicBezTo>
                    <a:cubicBezTo>
                      <a:pt x="16" y="36"/>
                      <a:pt x="16" y="34"/>
                      <a:pt x="16" y="34"/>
                    </a:cubicBezTo>
                    <a:cubicBezTo>
                      <a:pt x="17" y="33"/>
                      <a:pt x="18" y="32"/>
                      <a:pt x="21" y="32"/>
                    </a:cubicBezTo>
                    <a:cubicBezTo>
                      <a:pt x="22" y="32"/>
                      <a:pt x="23" y="34"/>
                      <a:pt x="24" y="35"/>
                    </a:cubicBezTo>
                    <a:cubicBezTo>
                      <a:pt x="25" y="35"/>
                      <a:pt x="26" y="35"/>
                      <a:pt x="26" y="35"/>
                    </a:cubicBezTo>
                    <a:cubicBezTo>
                      <a:pt x="28" y="35"/>
                      <a:pt x="29" y="38"/>
                      <a:pt x="30" y="38"/>
                    </a:cubicBezTo>
                    <a:cubicBezTo>
                      <a:pt x="30" y="39"/>
                      <a:pt x="30" y="39"/>
                      <a:pt x="30" y="39"/>
                    </a:cubicBezTo>
                    <a:cubicBezTo>
                      <a:pt x="32" y="39"/>
                      <a:pt x="32" y="39"/>
                      <a:pt x="32" y="39"/>
                    </a:cubicBezTo>
                    <a:cubicBezTo>
                      <a:pt x="32" y="40"/>
                      <a:pt x="32" y="42"/>
                      <a:pt x="32" y="44"/>
                    </a:cubicBezTo>
                    <a:cubicBezTo>
                      <a:pt x="33" y="44"/>
                      <a:pt x="35" y="45"/>
                      <a:pt x="35" y="46"/>
                    </a:cubicBezTo>
                    <a:cubicBezTo>
                      <a:pt x="35" y="47"/>
                      <a:pt x="35" y="48"/>
                      <a:pt x="35" y="50"/>
                    </a:cubicBezTo>
                    <a:cubicBezTo>
                      <a:pt x="35" y="50"/>
                      <a:pt x="37" y="51"/>
                      <a:pt x="37" y="51"/>
                    </a:cubicBezTo>
                    <a:cubicBezTo>
                      <a:pt x="38" y="53"/>
                      <a:pt x="37" y="55"/>
                      <a:pt x="38" y="57"/>
                    </a:cubicBezTo>
                    <a:cubicBezTo>
                      <a:pt x="40" y="60"/>
                      <a:pt x="45" y="62"/>
                      <a:pt x="47" y="65"/>
                    </a:cubicBezTo>
                    <a:cubicBezTo>
                      <a:pt x="48" y="67"/>
                      <a:pt x="48" y="69"/>
                      <a:pt x="50" y="70"/>
                    </a:cubicBezTo>
                    <a:cubicBezTo>
                      <a:pt x="52" y="72"/>
                      <a:pt x="55" y="72"/>
                      <a:pt x="57" y="73"/>
                    </a:cubicBezTo>
                    <a:cubicBezTo>
                      <a:pt x="57" y="73"/>
                      <a:pt x="57" y="73"/>
                      <a:pt x="57" y="73"/>
                    </a:cubicBezTo>
                    <a:cubicBezTo>
                      <a:pt x="59" y="74"/>
                      <a:pt x="59" y="72"/>
                      <a:pt x="61" y="73"/>
                    </a:cubicBezTo>
                    <a:cubicBezTo>
                      <a:pt x="62" y="73"/>
                      <a:pt x="64" y="77"/>
                      <a:pt x="65" y="77"/>
                    </a:cubicBezTo>
                    <a:cubicBezTo>
                      <a:pt x="66" y="77"/>
                      <a:pt x="66" y="77"/>
                      <a:pt x="66" y="77"/>
                    </a:cubicBezTo>
                    <a:cubicBezTo>
                      <a:pt x="67" y="78"/>
                      <a:pt x="66" y="80"/>
                      <a:pt x="67" y="80"/>
                    </a:cubicBezTo>
                    <a:cubicBezTo>
                      <a:pt x="68" y="81"/>
                      <a:pt x="69" y="80"/>
                      <a:pt x="70" y="81"/>
                    </a:cubicBezTo>
                    <a:cubicBezTo>
                      <a:pt x="71" y="82"/>
                      <a:pt x="71" y="84"/>
                      <a:pt x="72" y="85"/>
                    </a:cubicBezTo>
                    <a:cubicBezTo>
                      <a:pt x="73" y="87"/>
                      <a:pt x="76" y="87"/>
                      <a:pt x="77" y="88"/>
                    </a:cubicBezTo>
                    <a:cubicBezTo>
                      <a:pt x="78" y="89"/>
                      <a:pt x="81" y="100"/>
                      <a:pt x="81" y="102"/>
                    </a:cubicBezTo>
                    <a:cubicBezTo>
                      <a:pt x="79" y="103"/>
                      <a:pt x="79" y="103"/>
                      <a:pt x="79" y="103"/>
                    </a:cubicBezTo>
                    <a:cubicBezTo>
                      <a:pt x="79" y="104"/>
                      <a:pt x="79" y="106"/>
                      <a:pt x="79" y="107"/>
                    </a:cubicBezTo>
                    <a:cubicBezTo>
                      <a:pt x="79" y="108"/>
                      <a:pt x="77" y="109"/>
                      <a:pt x="77" y="110"/>
                    </a:cubicBezTo>
                    <a:cubicBezTo>
                      <a:pt x="76" y="113"/>
                      <a:pt x="78" y="113"/>
                      <a:pt x="78" y="114"/>
                    </a:cubicBezTo>
                    <a:cubicBezTo>
                      <a:pt x="79" y="113"/>
                      <a:pt x="81" y="114"/>
                      <a:pt x="81" y="113"/>
                    </a:cubicBezTo>
                    <a:cubicBezTo>
                      <a:pt x="82" y="113"/>
                      <a:pt x="82" y="111"/>
                      <a:pt x="82" y="110"/>
                    </a:cubicBezTo>
                    <a:cubicBezTo>
                      <a:pt x="82" y="110"/>
                      <a:pt x="85" y="108"/>
                      <a:pt x="85" y="108"/>
                    </a:cubicBezTo>
                    <a:cubicBezTo>
                      <a:pt x="86" y="106"/>
                      <a:pt x="85" y="104"/>
                      <a:pt x="86" y="103"/>
                    </a:cubicBezTo>
                    <a:cubicBezTo>
                      <a:pt x="87" y="102"/>
                      <a:pt x="89" y="102"/>
                      <a:pt x="89" y="101"/>
                    </a:cubicBezTo>
                    <a:cubicBezTo>
                      <a:pt x="90" y="99"/>
                      <a:pt x="89" y="96"/>
                      <a:pt x="89" y="95"/>
                    </a:cubicBezTo>
                    <a:cubicBezTo>
                      <a:pt x="88" y="95"/>
                      <a:pt x="88" y="95"/>
                      <a:pt x="87" y="94"/>
                    </a:cubicBezTo>
                    <a:cubicBezTo>
                      <a:pt x="87" y="93"/>
                      <a:pt x="87" y="92"/>
                      <a:pt x="86" y="91"/>
                    </a:cubicBezTo>
                    <a:cubicBezTo>
                      <a:pt x="86" y="90"/>
                      <a:pt x="84" y="90"/>
                      <a:pt x="83" y="89"/>
                    </a:cubicBezTo>
                    <a:cubicBezTo>
                      <a:pt x="85" y="86"/>
                      <a:pt x="86" y="80"/>
                      <a:pt x="90" y="81"/>
                    </a:cubicBezTo>
                    <a:cubicBezTo>
                      <a:pt x="90" y="83"/>
                      <a:pt x="90" y="83"/>
                      <a:pt x="90" y="83"/>
                    </a:cubicBezTo>
                    <a:cubicBezTo>
                      <a:pt x="92" y="83"/>
                      <a:pt x="93" y="83"/>
                      <a:pt x="96" y="84"/>
                    </a:cubicBezTo>
                    <a:cubicBezTo>
                      <a:pt x="96" y="85"/>
                      <a:pt x="96" y="87"/>
                      <a:pt x="97" y="88"/>
                    </a:cubicBezTo>
                    <a:cubicBezTo>
                      <a:pt x="97" y="88"/>
                      <a:pt x="98" y="88"/>
                      <a:pt x="99" y="88"/>
                    </a:cubicBezTo>
                    <a:cubicBezTo>
                      <a:pt x="99" y="87"/>
                      <a:pt x="99" y="87"/>
                      <a:pt x="100" y="86"/>
                    </a:cubicBezTo>
                    <a:cubicBezTo>
                      <a:pt x="100" y="86"/>
                      <a:pt x="99" y="85"/>
                      <a:pt x="99" y="85"/>
                    </a:cubicBezTo>
                    <a:cubicBezTo>
                      <a:pt x="99" y="84"/>
                      <a:pt x="100" y="83"/>
                      <a:pt x="99" y="82"/>
                    </a:cubicBezTo>
                    <a:cubicBezTo>
                      <a:pt x="99" y="81"/>
                      <a:pt x="97" y="81"/>
                      <a:pt x="97" y="81"/>
                    </a:cubicBezTo>
                    <a:cubicBezTo>
                      <a:pt x="95" y="80"/>
                      <a:pt x="94" y="77"/>
                      <a:pt x="93" y="76"/>
                    </a:cubicBezTo>
                    <a:cubicBezTo>
                      <a:pt x="89" y="73"/>
                      <a:pt x="84" y="72"/>
                      <a:pt x="81" y="69"/>
                    </a:cubicBezTo>
                    <a:cubicBezTo>
                      <a:pt x="81" y="68"/>
                      <a:pt x="81" y="65"/>
                      <a:pt x="81" y="65"/>
                    </a:cubicBezTo>
                    <a:cubicBezTo>
                      <a:pt x="77" y="65"/>
                      <a:pt x="74" y="65"/>
                      <a:pt x="70" y="63"/>
                    </a:cubicBezTo>
                    <a:cubicBezTo>
                      <a:pt x="68" y="62"/>
                      <a:pt x="63" y="55"/>
                      <a:pt x="62" y="52"/>
                    </a:cubicBezTo>
                    <a:cubicBezTo>
                      <a:pt x="61" y="50"/>
                      <a:pt x="62" y="49"/>
                      <a:pt x="61" y="47"/>
                    </a:cubicBezTo>
                    <a:cubicBezTo>
                      <a:pt x="60" y="46"/>
                      <a:pt x="60" y="47"/>
                      <a:pt x="59" y="46"/>
                    </a:cubicBezTo>
                    <a:cubicBezTo>
                      <a:pt x="58" y="46"/>
                      <a:pt x="57" y="43"/>
                      <a:pt x="57" y="42"/>
                    </a:cubicBezTo>
                    <a:cubicBezTo>
                      <a:pt x="56" y="42"/>
                      <a:pt x="56" y="42"/>
                      <a:pt x="56" y="42"/>
                    </a:cubicBezTo>
                    <a:cubicBezTo>
                      <a:pt x="56" y="42"/>
                      <a:pt x="56" y="42"/>
                      <a:pt x="56" y="42"/>
                    </a:cubicBezTo>
                    <a:cubicBezTo>
                      <a:pt x="53" y="39"/>
                      <a:pt x="51" y="41"/>
                      <a:pt x="48" y="37"/>
                    </a:cubicBezTo>
                    <a:cubicBezTo>
                      <a:pt x="48" y="37"/>
                      <a:pt x="47" y="36"/>
                      <a:pt x="47" y="36"/>
                    </a:cubicBezTo>
                    <a:cubicBezTo>
                      <a:pt x="46" y="33"/>
                      <a:pt x="50" y="28"/>
                      <a:pt x="50" y="27"/>
                    </a:cubicBezTo>
                    <a:cubicBezTo>
                      <a:pt x="51" y="24"/>
                      <a:pt x="49" y="24"/>
                      <a:pt x="48" y="22"/>
                    </a:cubicBezTo>
                    <a:cubicBezTo>
                      <a:pt x="48" y="21"/>
                      <a:pt x="49" y="20"/>
                      <a:pt x="49" y="20"/>
                    </a:cubicBezTo>
                    <a:cubicBezTo>
                      <a:pt x="50" y="20"/>
                      <a:pt x="50" y="21"/>
                      <a:pt x="50" y="21"/>
                    </a:cubicBezTo>
                    <a:cubicBezTo>
                      <a:pt x="53" y="19"/>
                      <a:pt x="56" y="18"/>
                      <a:pt x="60" y="17"/>
                    </a:cubicBezTo>
                    <a:cubicBezTo>
                      <a:pt x="58" y="15"/>
                      <a:pt x="60" y="14"/>
                      <a:pt x="60" y="12"/>
                    </a:cubicBezTo>
                    <a:cubicBezTo>
                      <a:pt x="60" y="10"/>
                      <a:pt x="60" y="9"/>
                      <a:pt x="57" y="9"/>
                    </a:cubicBezTo>
                    <a:cubicBezTo>
                      <a:pt x="54" y="9"/>
                      <a:pt x="58" y="3"/>
                      <a:pt x="58" y="3"/>
                    </a:cubicBezTo>
                    <a:cubicBezTo>
                      <a:pt x="58" y="3"/>
                      <a:pt x="54" y="3"/>
                      <a:pt x="52" y="3"/>
                    </a:cubicBezTo>
                    <a:cubicBezTo>
                      <a:pt x="50" y="4"/>
                      <a:pt x="50" y="4"/>
                      <a:pt x="48" y="4"/>
                    </a:cubicBezTo>
                    <a:cubicBezTo>
                      <a:pt x="46" y="4"/>
                      <a:pt x="48" y="2"/>
                      <a:pt x="45" y="2"/>
                    </a:cubicBezTo>
                    <a:cubicBezTo>
                      <a:pt x="41" y="2"/>
                      <a:pt x="44" y="2"/>
                      <a:pt x="41" y="1"/>
                    </a:cubicBezTo>
                    <a:cubicBezTo>
                      <a:pt x="38" y="0"/>
                      <a:pt x="39" y="0"/>
                      <a:pt x="39" y="1"/>
                    </a:cubicBezTo>
                    <a:cubicBezTo>
                      <a:pt x="39" y="3"/>
                      <a:pt x="34" y="0"/>
                      <a:pt x="34" y="0"/>
                    </a:cubicBezTo>
                    <a:cubicBezTo>
                      <a:pt x="34" y="0"/>
                      <a:pt x="35" y="2"/>
                      <a:pt x="33" y="3"/>
                    </a:cubicBezTo>
                    <a:cubicBezTo>
                      <a:pt x="31" y="5"/>
                      <a:pt x="35" y="4"/>
                      <a:pt x="34" y="6"/>
                    </a:cubicBezTo>
                    <a:cubicBezTo>
                      <a:pt x="32" y="8"/>
                      <a:pt x="33" y="8"/>
                      <a:pt x="31" y="7"/>
                    </a:cubicBezTo>
                    <a:cubicBezTo>
                      <a:pt x="29" y="5"/>
                      <a:pt x="27" y="7"/>
                      <a:pt x="27" y="9"/>
                    </a:cubicBezTo>
                    <a:cubicBezTo>
                      <a:pt x="26" y="11"/>
                      <a:pt x="23" y="9"/>
                      <a:pt x="23" y="12"/>
                    </a:cubicBezTo>
                    <a:cubicBezTo>
                      <a:pt x="23" y="15"/>
                      <a:pt x="24" y="14"/>
                      <a:pt x="23" y="15"/>
                    </a:cubicBezTo>
                    <a:cubicBezTo>
                      <a:pt x="22" y="16"/>
                      <a:pt x="22" y="14"/>
                      <a:pt x="19" y="14"/>
                    </a:cubicBezTo>
                    <a:cubicBezTo>
                      <a:pt x="16" y="13"/>
                      <a:pt x="17" y="13"/>
                      <a:pt x="15" y="11"/>
                    </a:cubicBezTo>
                    <a:cubicBezTo>
                      <a:pt x="14" y="9"/>
                      <a:pt x="14" y="11"/>
                      <a:pt x="14" y="13"/>
                    </a:cubicBezTo>
                    <a:cubicBezTo>
                      <a:pt x="14" y="16"/>
                      <a:pt x="9" y="15"/>
                      <a:pt x="8" y="17"/>
                    </a:cubicBezTo>
                    <a:cubicBezTo>
                      <a:pt x="6" y="21"/>
                      <a:pt x="6" y="21"/>
                      <a:pt x="6" y="21"/>
                    </a:cubicBezTo>
                    <a:cubicBezTo>
                      <a:pt x="6" y="21"/>
                      <a:pt x="5" y="24"/>
                      <a:pt x="3" y="24"/>
                    </a:cubicBezTo>
                    <a:cubicBezTo>
                      <a:pt x="0" y="24"/>
                      <a:pt x="0" y="29"/>
                      <a:pt x="3" y="29"/>
                    </a:cubicBezTo>
                    <a:cubicBezTo>
                      <a:pt x="5" y="29"/>
                      <a:pt x="2" y="35"/>
                      <a:pt x="3" y="36"/>
                    </a:cubicBezTo>
                    <a:cubicBezTo>
                      <a:pt x="4" y="37"/>
                      <a:pt x="8" y="35"/>
                      <a:pt x="7" y="37"/>
                    </a:cubicBezTo>
                    <a:cubicBezTo>
                      <a:pt x="6" y="39"/>
                      <a:pt x="7" y="37"/>
                      <a:pt x="5" y="39"/>
                    </a:cubicBezTo>
                    <a:cubicBezTo>
                      <a:pt x="4" y="41"/>
                      <a:pt x="6" y="42"/>
                      <a:pt x="6" y="42"/>
                    </a:cubicBezTo>
                    <a:close/>
                    <a:moveTo>
                      <a:pt x="23" y="71"/>
                    </a:moveTo>
                    <a:cubicBezTo>
                      <a:pt x="22" y="73"/>
                      <a:pt x="18" y="76"/>
                      <a:pt x="17" y="77"/>
                    </a:cubicBezTo>
                    <a:cubicBezTo>
                      <a:pt x="16" y="77"/>
                      <a:pt x="16" y="76"/>
                      <a:pt x="15" y="77"/>
                    </a:cubicBezTo>
                    <a:cubicBezTo>
                      <a:pt x="15" y="79"/>
                      <a:pt x="16" y="79"/>
                      <a:pt x="16" y="82"/>
                    </a:cubicBezTo>
                    <a:cubicBezTo>
                      <a:pt x="17" y="86"/>
                      <a:pt x="17" y="93"/>
                      <a:pt x="18" y="96"/>
                    </a:cubicBezTo>
                    <a:cubicBezTo>
                      <a:pt x="19" y="98"/>
                      <a:pt x="20" y="97"/>
                      <a:pt x="22" y="98"/>
                    </a:cubicBezTo>
                    <a:cubicBezTo>
                      <a:pt x="21" y="98"/>
                      <a:pt x="23" y="99"/>
                      <a:pt x="24" y="99"/>
                    </a:cubicBezTo>
                    <a:cubicBezTo>
                      <a:pt x="24" y="99"/>
                      <a:pt x="26" y="96"/>
                      <a:pt x="26" y="96"/>
                    </a:cubicBezTo>
                    <a:cubicBezTo>
                      <a:pt x="27" y="96"/>
                      <a:pt x="27" y="96"/>
                      <a:pt x="27" y="96"/>
                    </a:cubicBezTo>
                    <a:cubicBezTo>
                      <a:pt x="27" y="96"/>
                      <a:pt x="30" y="79"/>
                      <a:pt x="30" y="79"/>
                    </a:cubicBezTo>
                    <a:cubicBezTo>
                      <a:pt x="30" y="78"/>
                      <a:pt x="27" y="77"/>
                      <a:pt x="27" y="76"/>
                    </a:cubicBezTo>
                    <a:cubicBezTo>
                      <a:pt x="26" y="75"/>
                      <a:pt x="27" y="73"/>
                      <a:pt x="26" y="72"/>
                    </a:cubicBezTo>
                    <a:cubicBezTo>
                      <a:pt x="25" y="71"/>
                      <a:pt x="24" y="72"/>
                      <a:pt x="23" y="7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17" name="Freeform 196">
                <a:extLst>
                  <a:ext uri="{FF2B5EF4-FFF2-40B4-BE49-F238E27FC236}">
                    <a16:creationId xmlns:a16="http://schemas.microsoft.com/office/drawing/2014/main" id="{3B39A7DF-46D5-B283-27BD-0BD7960F485E}"/>
                  </a:ext>
                </a:extLst>
              </p:cNvPr>
              <p:cNvSpPr>
                <a:spLocks noEditPoints="1"/>
              </p:cNvSpPr>
              <p:nvPr/>
            </p:nvSpPr>
            <p:spPr bwMode="auto">
              <a:xfrm>
                <a:off x="3700" y="1550"/>
                <a:ext cx="27" cy="78"/>
              </a:xfrm>
              <a:custGeom>
                <a:avLst/>
                <a:gdLst>
                  <a:gd name="T0" fmla="*/ 12 w 14"/>
                  <a:gd name="T1" fmla="*/ 15 h 40"/>
                  <a:gd name="T2" fmla="*/ 12 w 14"/>
                  <a:gd name="T3" fmla="*/ 15 h 40"/>
                  <a:gd name="T4" fmla="*/ 13 w 14"/>
                  <a:gd name="T5" fmla="*/ 19 h 40"/>
                  <a:gd name="T6" fmla="*/ 9 w 14"/>
                  <a:gd name="T7" fmla="*/ 19 h 40"/>
                  <a:gd name="T8" fmla="*/ 9 w 14"/>
                  <a:gd name="T9" fmla="*/ 14 h 40"/>
                  <a:gd name="T10" fmla="*/ 10 w 14"/>
                  <a:gd name="T11" fmla="*/ 8 h 40"/>
                  <a:gd name="T12" fmla="*/ 12 w 14"/>
                  <a:gd name="T13" fmla="*/ 9 h 40"/>
                  <a:gd name="T14" fmla="*/ 12 w 14"/>
                  <a:gd name="T15" fmla="*/ 11 h 40"/>
                  <a:gd name="T16" fmla="*/ 11 w 14"/>
                  <a:gd name="T17" fmla="*/ 11 h 40"/>
                  <a:gd name="T18" fmla="*/ 11 w 14"/>
                  <a:gd name="T19" fmla="*/ 15 h 40"/>
                  <a:gd name="T20" fmla="*/ 12 w 14"/>
                  <a:gd name="T21" fmla="*/ 15 h 40"/>
                  <a:gd name="T22" fmla="*/ 2 w 14"/>
                  <a:gd name="T23" fmla="*/ 15 h 40"/>
                  <a:gd name="T24" fmla="*/ 0 w 14"/>
                  <a:gd name="T25" fmla="*/ 17 h 40"/>
                  <a:gd name="T26" fmla="*/ 1 w 14"/>
                  <a:gd name="T27" fmla="*/ 19 h 40"/>
                  <a:gd name="T28" fmla="*/ 4 w 14"/>
                  <a:gd name="T29" fmla="*/ 16 h 40"/>
                  <a:gd name="T30" fmla="*/ 2 w 14"/>
                  <a:gd name="T31" fmla="*/ 15 h 40"/>
                  <a:gd name="T32" fmla="*/ 4 w 14"/>
                  <a:gd name="T33" fmla="*/ 40 h 40"/>
                  <a:gd name="T34" fmla="*/ 11 w 14"/>
                  <a:gd name="T35" fmla="*/ 30 h 40"/>
                  <a:gd name="T36" fmla="*/ 13 w 14"/>
                  <a:gd name="T37" fmla="*/ 19 h 40"/>
                  <a:gd name="T38" fmla="*/ 9 w 14"/>
                  <a:gd name="T39" fmla="*/ 19 h 40"/>
                  <a:gd name="T40" fmla="*/ 9 w 14"/>
                  <a:gd name="T41" fmla="*/ 14 h 40"/>
                  <a:gd name="T42" fmla="*/ 10 w 14"/>
                  <a:gd name="T43" fmla="*/ 8 h 40"/>
                  <a:gd name="T44" fmla="*/ 12 w 14"/>
                  <a:gd name="T45" fmla="*/ 9 h 40"/>
                  <a:gd name="T46" fmla="*/ 14 w 14"/>
                  <a:gd name="T47" fmla="*/ 5 h 40"/>
                  <a:gd name="T48" fmla="*/ 13 w 14"/>
                  <a:gd name="T49" fmla="*/ 1 h 40"/>
                  <a:gd name="T50" fmla="*/ 11 w 14"/>
                  <a:gd name="T51" fmla="*/ 2 h 40"/>
                  <a:gd name="T52" fmla="*/ 7 w 14"/>
                  <a:gd name="T53" fmla="*/ 3 h 40"/>
                  <a:gd name="T54" fmla="*/ 7 w 14"/>
                  <a:gd name="T55" fmla="*/ 6 h 40"/>
                  <a:gd name="T56" fmla="*/ 4 w 14"/>
                  <a:gd name="T57" fmla="*/ 9 h 40"/>
                  <a:gd name="T58" fmla="*/ 3 w 14"/>
                  <a:gd name="T59" fmla="*/ 14 h 40"/>
                  <a:gd name="T60" fmla="*/ 2 w 14"/>
                  <a:gd name="T61" fmla="*/ 15 h 40"/>
                  <a:gd name="T62" fmla="*/ 4 w 14"/>
                  <a:gd name="T63" fmla="*/ 16 h 40"/>
                  <a:gd name="T64" fmla="*/ 1 w 14"/>
                  <a:gd name="T65" fmla="*/ 19 h 40"/>
                  <a:gd name="T66" fmla="*/ 2 w 14"/>
                  <a:gd name="T67" fmla="*/ 23 h 40"/>
                  <a:gd name="T68" fmla="*/ 4 w 14"/>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 h="40">
                    <a:moveTo>
                      <a:pt x="12" y="15"/>
                    </a:moveTo>
                    <a:cubicBezTo>
                      <a:pt x="12" y="15"/>
                      <a:pt x="12" y="15"/>
                      <a:pt x="12" y="15"/>
                    </a:cubicBezTo>
                    <a:cubicBezTo>
                      <a:pt x="12" y="17"/>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2" y="10"/>
                      <a:pt x="12" y="10"/>
                      <a:pt x="12" y="11"/>
                    </a:cubicBezTo>
                    <a:cubicBezTo>
                      <a:pt x="11" y="11"/>
                      <a:pt x="11" y="11"/>
                      <a:pt x="11" y="11"/>
                    </a:cubicBezTo>
                    <a:cubicBezTo>
                      <a:pt x="11" y="12"/>
                      <a:pt x="11" y="15"/>
                      <a:pt x="11" y="15"/>
                    </a:cubicBezTo>
                    <a:cubicBezTo>
                      <a:pt x="11" y="15"/>
                      <a:pt x="12" y="15"/>
                      <a:pt x="12" y="15"/>
                    </a:cubicBezTo>
                    <a:close/>
                    <a:moveTo>
                      <a:pt x="2" y="15"/>
                    </a:moveTo>
                    <a:cubicBezTo>
                      <a:pt x="2" y="16"/>
                      <a:pt x="0" y="17"/>
                      <a:pt x="0" y="17"/>
                    </a:cubicBezTo>
                    <a:cubicBezTo>
                      <a:pt x="1" y="19"/>
                      <a:pt x="1" y="19"/>
                      <a:pt x="1" y="19"/>
                    </a:cubicBezTo>
                    <a:cubicBezTo>
                      <a:pt x="4" y="16"/>
                      <a:pt x="4" y="16"/>
                      <a:pt x="4" y="16"/>
                    </a:cubicBezTo>
                    <a:lnTo>
                      <a:pt x="2" y="15"/>
                    </a:lnTo>
                    <a:close/>
                    <a:moveTo>
                      <a:pt x="4" y="40"/>
                    </a:moveTo>
                    <a:cubicBezTo>
                      <a:pt x="4" y="40"/>
                      <a:pt x="11" y="32"/>
                      <a:pt x="11" y="30"/>
                    </a:cubicBezTo>
                    <a:cubicBezTo>
                      <a:pt x="10" y="25"/>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3" y="11"/>
                      <a:pt x="14" y="5"/>
                      <a:pt x="14" y="5"/>
                    </a:cubicBezTo>
                    <a:cubicBezTo>
                      <a:pt x="13" y="1"/>
                      <a:pt x="13" y="1"/>
                      <a:pt x="13" y="1"/>
                    </a:cubicBezTo>
                    <a:cubicBezTo>
                      <a:pt x="12" y="1"/>
                      <a:pt x="11" y="0"/>
                      <a:pt x="11" y="2"/>
                    </a:cubicBezTo>
                    <a:cubicBezTo>
                      <a:pt x="10" y="4"/>
                      <a:pt x="7" y="3"/>
                      <a:pt x="7" y="3"/>
                    </a:cubicBezTo>
                    <a:cubicBezTo>
                      <a:pt x="7" y="4"/>
                      <a:pt x="7" y="5"/>
                      <a:pt x="7" y="6"/>
                    </a:cubicBezTo>
                    <a:cubicBezTo>
                      <a:pt x="6" y="6"/>
                      <a:pt x="4" y="8"/>
                      <a:pt x="4" y="9"/>
                    </a:cubicBezTo>
                    <a:cubicBezTo>
                      <a:pt x="3" y="10"/>
                      <a:pt x="4" y="12"/>
                      <a:pt x="3" y="14"/>
                    </a:cubicBezTo>
                    <a:cubicBezTo>
                      <a:pt x="3" y="14"/>
                      <a:pt x="3" y="14"/>
                      <a:pt x="2" y="15"/>
                    </a:cubicBezTo>
                    <a:cubicBezTo>
                      <a:pt x="4" y="16"/>
                      <a:pt x="4" y="16"/>
                      <a:pt x="4" y="16"/>
                    </a:cubicBezTo>
                    <a:cubicBezTo>
                      <a:pt x="1" y="19"/>
                      <a:pt x="1" y="19"/>
                      <a:pt x="1" y="19"/>
                    </a:cubicBezTo>
                    <a:cubicBezTo>
                      <a:pt x="2" y="23"/>
                      <a:pt x="2" y="23"/>
                      <a:pt x="2" y="23"/>
                    </a:cubicBezTo>
                    <a:lnTo>
                      <a:pt x="4" y="40"/>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18" name="Freeform 197">
                <a:extLst>
                  <a:ext uri="{FF2B5EF4-FFF2-40B4-BE49-F238E27FC236}">
                    <a16:creationId xmlns:a16="http://schemas.microsoft.com/office/drawing/2014/main" id="{DBFB6C3D-0FAA-B92D-865A-9C5BB49ACEB5}"/>
                  </a:ext>
                </a:extLst>
              </p:cNvPr>
              <p:cNvSpPr>
                <a:spLocks noEditPoints="1"/>
              </p:cNvSpPr>
              <p:nvPr/>
            </p:nvSpPr>
            <p:spPr bwMode="auto">
              <a:xfrm>
                <a:off x="3700" y="1550"/>
                <a:ext cx="27" cy="78"/>
              </a:xfrm>
              <a:custGeom>
                <a:avLst/>
                <a:gdLst>
                  <a:gd name="T0" fmla="*/ 12 w 14"/>
                  <a:gd name="T1" fmla="*/ 15 h 40"/>
                  <a:gd name="T2" fmla="*/ 12 w 14"/>
                  <a:gd name="T3" fmla="*/ 15 h 40"/>
                  <a:gd name="T4" fmla="*/ 13 w 14"/>
                  <a:gd name="T5" fmla="*/ 19 h 40"/>
                  <a:gd name="T6" fmla="*/ 9 w 14"/>
                  <a:gd name="T7" fmla="*/ 19 h 40"/>
                  <a:gd name="T8" fmla="*/ 9 w 14"/>
                  <a:gd name="T9" fmla="*/ 14 h 40"/>
                  <a:gd name="T10" fmla="*/ 10 w 14"/>
                  <a:gd name="T11" fmla="*/ 8 h 40"/>
                  <a:gd name="T12" fmla="*/ 12 w 14"/>
                  <a:gd name="T13" fmla="*/ 9 h 40"/>
                  <a:gd name="T14" fmla="*/ 12 w 14"/>
                  <a:gd name="T15" fmla="*/ 11 h 40"/>
                  <a:gd name="T16" fmla="*/ 11 w 14"/>
                  <a:gd name="T17" fmla="*/ 11 h 40"/>
                  <a:gd name="T18" fmla="*/ 11 w 14"/>
                  <a:gd name="T19" fmla="*/ 15 h 40"/>
                  <a:gd name="T20" fmla="*/ 12 w 14"/>
                  <a:gd name="T21" fmla="*/ 15 h 40"/>
                  <a:gd name="T22" fmla="*/ 2 w 14"/>
                  <a:gd name="T23" fmla="*/ 15 h 40"/>
                  <a:gd name="T24" fmla="*/ 0 w 14"/>
                  <a:gd name="T25" fmla="*/ 17 h 40"/>
                  <a:gd name="T26" fmla="*/ 1 w 14"/>
                  <a:gd name="T27" fmla="*/ 19 h 40"/>
                  <a:gd name="T28" fmla="*/ 4 w 14"/>
                  <a:gd name="T29" fmla="*/ 16 h 40"/>
                  <a:gd name="T30" fmla="*/ 2 w 14"/>
                  <a:gd name="T31" fmla="*/ 15 h 40"/>
                  <a:gd name="T32" fmla="*/ 4 w 14"/>
                  <a:gd name="T33" fmla="*/ 40 h 40"/>
                  <a:gd name="T34" fmla="*/ 11 w 14"/>
                  <a:gd name="T35" fmla="*/ 30 h 40"/>
                  <a:gd name="T36" fmla="*/ 13 w 14"/>
                  <a:gd name="T37" fmla="*/ 19 h 40"/>
                  <a:gd name="T38" fmla="*/ 9 w 14"/>
                  <a:gd name="T39" fmla="*/ 19 h 40"/>
                  <a:gd name="T40" fmla="*/ 9 w 14"/>
                  <a:gd name="T41" fmla="*/ 14 h 40"/>
                  <a:gd name="T42" fmla="*/ 10 w 14"/>
                  <a:gd name="T43" fmla="*/ 8 h 40"/>
                  <a:gd name="T44" fmla="*/ 12 w 14"/>
                  <a:gd name="T45" fmla="*/ 9 h 40"/>
                  <a:gd name="T46" fmla="*/ 14 w 14"/>
                  <a:gd name="T47" fmla="*/ 5 h 40"/>
                  <a:gd name="T48" fmla="*/ 13 w 14"/>
                  <a:gd name="T49" fmla="*/ 1 h 40"/>
                  <a:gd name="T50" fmla="*/ 11 w 14"/>
                  <a:gd name="T51" fmla="*/ 2 h 40"/>
                  <a:gd name="T52" fmla="*/ 7 w 14"/>
                  <a:gd name="T53" fmla="*/ 3 h 40"/>
                  <a:gd name="T54" fmla="*/ 7 w 14"/>
                  <a:gd name="T55" fmla="*/ 6 h 40"/>
                  <a:gd name="T56" fmla="*/ 4 w 14"/>
                  <a:gd name="T57" fmla="*/ 9 h 40"/>
                  <a:gd name="T58" fmla="*/ 3 w 14"/>
                  <a:gd name="T59" fmla="*/ 14 h 40"/>
                  <a:gd name="T60" fmla="*/ 2 w 14"/>
                  <a:gd name="T61" fmla="*/ 15 h 40"/>
                  <a:gd name="T62" fmla="*/ 4 w 14"/>
                  <a:gd name="T63" fmla="*/ 16 h 40"/>
                  <a:gd name="T64" fmla="*/ 1 w 14"/>
                  <a:gd name="T65" fmla="*/ 19 h 40"/>
                  <a:gd name="T66" fmla="*/ 2 w 14"/>
                  <a:gd name="T67" fmla="*/ 23 h 40"/>
                  <a:gd name="T68" fmla="*/ 4 w 14"/>
                  <a:gd name="T6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 h="40">
                    <a:moveTo>
                      <a:pt x="12" y="15"/>
                    </a:moveTo>
                    <a:cubicBezTo>
                      <a:pt x="12" y="15"/>
                      <a:pt x="12" y="15"/>
                      <a:pt x="12" y="15"/>
                    </a:cubicBezTo>
                    <a:cubicBezTo>
                      <a:pt x="12" y="17"/>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2" y="10"/>
                      <a:pt x="12" y="10"/>
                      <a:pt x="12" y="11"/>
                    </a:cubicBezTo>
                    <a:cubicBezTo>
                      <a:pt x="11" y="11"/>
                      <a:pt x="11" y="11"/>
                      <a:pt x="11" y="11"/>
                    </a:cubicBezTo>
                    <a:cubicBezTo>
                      <a:pt x="11" y="12"/>
                      <a:pt x="11" y="15"/>
                      <a:pt x="11" y="15"/>
                    </a:cubicBezTo>
                    <a:cubicBezTo>
                      <a:pt x="11" y="15"/>
                      <a:pt x="12" y="15"/>
                      <a:pt x="12" y="15"/>
                    </a:cubicBezTo>
                    <a:close/>
                    <a:moveTo>
                      <a:pt x="2" y="15"/>
                    </a:moveTo>
                    <a:cubicBezTo>
                      <a:pt x="2" y="16"/>
                      <a:pt x="0" y="17"/>
                      <a:pt x="0" y="17"/>
                    </a:cubicBezTo>
                    <a:cubicBezTo>
                      <a:pt x="1" y="19"/>
                      <a:pt x="1" y="19"/>
                      <a:pt x="1" y="19"/>
                    </a:cubicBezTo>
                    <a:cubicBezTo>
                      <a:pt x="4" y="16"/>
                      <a:pt x="4" y="16"/>
                      <a:pt x="4" y="16"/>
                    </a:cubicBezTo>
                    <a:lnTo>
                      <a:pt x="2" y="15"/>
                    </a:lnTo>
                    <a:close/>
                    <a:moveTo>
                      <a:pt x="4" y="40"/>
                    </a:moveTo>
                    <a:cubicBezTo>
                      <a:pt x="4" y="40"/>
                      <a:pt x="11" y="32"/>
                      <a:pt x="11" y="30"/>
                    </a:cubicBezTo>
                    <a:cubicBezTo>
                      <a:pt x="10" y="25"/>
                      <a:pt x="13" y="19"/>
                      <a:pt x="13" y="19"/>
                    </a:cubicBezTo>
                    <a:cubicBezTo>
                      <a:pt x="13" y="19"/>
                      <a:pt x="10" y="21"/>
                      <a:pt x="9" y="19"/>
                    </a:cubicBezTo>
                    <a:cubicBezTo>
                      <a:pt x="9" y="18"/>
                      <a:pt x="9" y="16"/>
                      <a:pt x="9" y="14"/>
                    </a:cubicBezTo>
                    <a:cubicBezTo>
                      <a:pt x="9" y="12"/>
                      <a:pt x="8" y="8"/>
                      <a:pt x="10" y="8"/>
                    </a:cubicBezTo>
                    <a:cubicBezTo>
                      <a:pt x="11" y="8"/>
                      <a:pt x="12" y="7"/>
                      <a:pt x="12" y="9"/>
                    </a:cubicBezTo>
                    <a:cubicBezTo>
                      <a:pt x="13" y="11"/>
                      <a:pt x="14" y="5"/>
                      <a:pt x="14" y="5"/>
                    </a:cubicBezTo>
                    <a:cubicBezTo>
                      <a:pt x="13" y="1"/>
                      <a:pt x="13" y="1"/>
                      <a:pt x="13" y="1"/>
                    </a:cubicBezTo>
                    <a:cubicBezTo>
                      <a:pt x="12" y="1"/>
                      <a:pt x="11" y="0"/>
                      <a:pt x="11" y="2"/>
                    </a:cubicBezTo>
                    <a:cubicBezTo>
                      <a:pt x="10" y="4"/>
                      <a:pt x="7" y="3"/>
                      <a:pt x="7" y="3"/>
                    </a:cubicBezTo>
                    <a:cubicBezTo>
                      <a:pt x="7" y="4"/>
                      <a:pt x="7" y="5"/>
                      <a:pt x="7" y="6"/>
                    </a:cubicBezTo>
                    <a:cubicBezTo>
                      <a:pt x="6" y="6"/>
                      <a:pt x="4" y="8"/>
                      <a:pt x="4" y="9"/>
                    </a:cubicBezTo>
                    <a:cubicBezTo>
                      <a:pt x="3" y="10"/>
                      <a:pt x="4" y="12"/>
                      <a:pt x="3" y="14"/>
                    </a:cubicBezTo>
                    <a:cubicBezTo>
                      <a:pt x="3" y="14"/>
                      <a:pt x="3" y="14"/>
                      <a:pt x="2" y="15"/>
                    </a:cubicBezTo>
                    <a:cubicBezTo>
                      <a:pt x="4" y="16"/>
                      <a:pt x="4" y="16"/>
                      <a:pt x="4" y="16"/>
                    </a:cubicBezTo>
                    <a:cubicBezTo>
                      <a:pt x="1" y="19"/>
                      <a:pt x="1" y="19"/>
                      <a:pt x="1" y="19"/>
                    </a:cubicBezTo>
                    <a:cubicBezTo>
                      <a:pt x="2" y="23"/>
                      <a:pt x="2" y="23"/>
                      <a:pt x="2" y="23"/>
                    </a:cubicBezTo>
                    <a:lnTo>
                      <a:pt x="4" y="40"/>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19" name="Freeform 198">
                <a:extLst>
                  <a:ext uri="{FF2B5EF4-FFF2-40B4-BE49-F238E27FC236}">
                    <a16:creationId xmlns:a16="http://schemas.microsoft.com/office/drawing/2014/main" id="{BB43156B-49E3-AB68-942F-C7DCD76C78AE}"/>
                  </a:ext>
                </a:extLst>
              </p:cNvPr>
              <p:cNvSpPr>
                <a:spLocks noEditPoints="1"/>
              </p:cNvSpPr>
              <p:nvPr/>
            </p:nvSpPr>
            <p:spPr bwMode="auto">
              <a:xfrm>
                <a:off x="2943" y="995"/>
                <a:ext cx="66" cy="106"/>
              </a:xfrm>
              <a:custGeom>
                <a:avLst/>
                <a:gdLst>
                  <a:gd name="T0" fmla="*/ 30 w 34"/>
                  <a:gd name="T1" fmla="*/ 2 h 54"/>
                  <a:gd name="T2" fmla="*/ 27 w 34"/>
                  <a:gd name="T3" fmla="*/ 0 h 54"/>
                  <a:gd name="T4" fmla="*/ 24 w 34"/>
                  <a:gd name="T5" fmla="*/ 3 h 54"/>
                  <a:gd name="T6" fmla="*/ 19 w 34"/>
                  <a:gd name="T7" fmla="*/ 2 h 54"/>
                  <a:gd name="T8" fmla="*/ 19 w 34"/>
                  <a:gd name="T9" fmla="*/ 7 h 54"/>
                  <a:gd name="T10" fmla="*/ 16 w 34"/>
                  <a:gd name="T11" fmla="*/ 11 h 54"/>
                  <a:gd name="T12" fmla="*/ 14 w 34"/>
                  <a:gd name="T13" fmla="*/ 14 h 54"/>
                  <a:gd name="T14" fmla="*/ 9 w 34"/>
                  <a:gd name="T15" fmla="*/ 15 h 54"/>
                  <a:gd name="T16" fmla="*/ 7 w 34"/>
                  <a:gd name="T17" fmla="*/ 12 h 54"/>
                  <a:gd name="T18" fmla="*/ 8 w 34"/>
                  <a:gd name="T19" fmla="*/ 19 h 54"/>
                  <a:gd name="T20" fmla="*/ 3 w 34"/>
                  <a:gd name="T21" fmla="*/ 22 h 54"/>
                  <a:gd name="T22" fmla="*/ 1 w 34"/>
                  <a:gd name="T23" fmla="*/ 24 h 54"/>
                  <a:gd name="T24" fmla="*/ 11 w 34"/>
                  <a:gd name="T25" fmla="*/ 28 h 54"/>
                  <a:gd name="T26" fmla="*/ 12 w 34"/>
                  <a:gd name="T27" fmla="*/ 29 h 54"/>
                  <a:gd name="T28" fmla="*/ 8 w 34"/>
                  <a:gd name="T29" fmla="*/ 34 h 54"/>
                  <a:gd name="T30" fmla="*/ 4 w 34"/>
                  <a:gd name="T31" fmla="*/ 41 h 54"/>
                  <a:gd name="T32" fmla="*/ 0 w 34"/>
                  <a:gd name="T33" fmla="*/ 43 h 54"/>
                  <a:gd name="T34" fmla="*/ 2 w 34"/>
                  <a:gd name="T35" fmla="*/ 46 h 54"/>
                  <a:gd name="T36" fmla="*/ 0 w 34"/>
                  <a:gd name="T37" fmla="*/ 50 h 54"/>
                  <a:gd name="T38" fmla="*/ 5 w 34"/>
                  <a:gd name="T39" fmla="*/ 50 h 54"/>
                  <a:gd name="T40" fmla="*/ 10 w 34"/>
                  <a:gd name="T41" fmla="*/ 50 h 54"/>
                  <a:gd name="T42" fmla="*/ 12 w 34"/>
                  <a:gd name="T43" fmla="*/ 53 h 54"/>
                  <a:gd name="T44" fmla="*/ 17 w 34"/>
                  <a:gd name="T45" fmla="*/ 50 h 54"/>
                  <a:gd name="T46" fmla="*/ 18 w 34"/>
                  <a:gd name="T47" fmla="*/ 47 h 54"/>
                  <a:gd name="T48" fmla="*/ 23 w 34"/>
                  <a:gd name="T49" fmla="*/ 46 h 54"/>
                  <a:gd name="T50" fmla="*/ 25 w 34"/>
                  <a:gd name="T51" fmla="*/ 43 h 54"/>
                  <a:gd name="T52" fmla="*/ 29 w 34"/>
                  <a:gd name="T53" fmla="*/ 40 h 54"/>
                  <a:gd name="T54" fmla="*/ 30 w 34"/>
                  <a:gd name="T55" fmla="*/ 39 h 54"/>
                  <a:gd name="T56" fmla="*/ 34 w 34"/>
                  <a:gd name="T57" fmla="*/ 38 h 54"/>
                  <a:gd name="T58" fmla="*/ 32 w 34"/>
                  <a:gd name="T59" fmla="*/ 30 h 54"/>
                  <a:gd name="T60" fmla="*/ 31 w 34"/>
                  <a:gd name="T61" fmla="*/ 27 h 54"/>
                  <a:gd name="T62" fmla="*/ 32 w 34"/>
                  <a:gd name="T63" fmla="*/ 21 h 54"/>
                  <a:gd name="T64" fmla="*/ 34 w 34"/>
                  <a:gd name="T65" fmla="*/ 18 h 54"/>
                  <a:gd name="T66" fmla="*/ 30 w 34"/>
                  <a:gd name="T67" fmla="*/ 18 h 54"/>
                  <a:gd name="T68" fmla="*/ 26 w 34"/>
                  <a:gd name="T69" fmla="*/ 17 h 54"/>
                  <a:gd name="T70" fmla="*/ 21 w 34"/>
                  <a:gd name="T71" fmla="*/ 12 h 54"/>
                  <a:gd name="T72" fmla="*/ 30 w 34"/>
                  <a:gd name="T73" fmla="*/ 4 h 54"/>
                  <a:gd name="T74" fmla="*/ 10 w 34"/>
                  <a:gd name="T7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 h="54">
                    <a:moveTo>
                      <a:pt x="30" y="4"/>
                    </a:moveTo>
                    <a:cubicBezTo>
                      <a:pt x="30" y="3"/>
                      <a:pt x="29" y="2"/>
                      <a:pt x="30" y="2"/>
                    </a:cubicBezTo>
                    <a:cubicBezTo>
                      <a:pt x="29" y="1"/>
                      <a:pt x="29" y="0"/>
                      <a:pt x="28" y="0"/>
                    </a:cubicBezTo>
                    <a:cubicBezTo>
                      <a:pt x="27" y="0"/>
                      <a:pt x="27" y="0"/>
                      <a:pt x="27" y="0"/>
                    </a:cubicBezTo>
                    <a:cubicBezTo>
                      <a:pt x="27" y="0"/>
                      <a:pt x="27" y="2"/>
                      <a:pt x="27" y="2"/>
                    </a:cubicBezTo>
                    <a:cubicBezTo>
                      <a:pt x="26" y="2"/>
                      <a:pt x="25" y="3"/>
                      <a:pt x="24" y="3"/>
                    </a:cubicBezTo>
                    <a:cubicBezTo>
                      <a:pt x="24" y="2"/>
                      <a:pt x="24" y="2"/>
                      <a:pt x="24" y="2"/>
                    </a:cubicBezTo>
                    <a:cubicBezTo>
                      <a:pt x="22" y="2"/>
                      <a:pt x="20" y="2"/>
                      <a:pt x="19" y="2"/>
                    </a:cubicBezTo>
                    <a:cubicBezTo>
                      <a:pt x="19" y="2"/>
                      <a:pt x="19" y="5"/>
                      <a:pt x="19" y="5"/>
                    </a:cubicBezTo>
                    <a:cubicBezTo>
                      <a:pt x="16" y="6"/>
                      <a:pt x="15" y="7"/>
                      <a:pt x="19" y="7"/>
                    </a:cubicBezTo>
                    <a:cubicBezTo>
                      <a:pt x="20" y="9"/>
                      <a:pt x="20" y="9"/>
                      <a:pt x="20" y="9"/>
                    </a:cubicBezTo>
                    <a:cubicBezTo>
                      <a:pt x="18" y="10"/>
                      <a:pt x="17" y="10"/>
                      <a:pt x="16" y="11"/>
                    </a:cubicBezTo>
                    <a:cubicBezTo>
                      <a:pt x="15" y="12"/>
                      <a:pt x="15" y="14"/>
                      <a:pt x="16" y="14"/>
                    </a:cubicBezTo>
                    <a:cubicBezTo>
                      <a:pt x="16" y="14"/>
                      <a:pt x="13" y="15"/>
                      <a:pt x="14" y="14"/>
                    </a:cubicBezTo>
                    <a:cubicBezTo>
                      <a:pt x="13" y="14"/>
                      <a:pt x="12" y="13"/>
                      <a:pt x="10" y="13"/>
                    </a:cubicBezTo>
                    <a:cubicBezTo>
                      <a:pt x="10" y="13"/>
                      <a:pt x="9" y="15"/>
                      <a:pt x="9" y="15"/>
                    </a:cubicBezTo>
                    <a:cubicBezTo>
                      <a:pt x="9" y="15"/>
                      <a:pt x="8" y="14"/>
                      <a:pt x="8" y="14"/>
                    </a:cubicBezTo>
                    <a:cubicBezTo>
                      <a:pt x="7" y="14"/>
                      <a:pt x="7" y="13"/>
                      <a:pt x="7" y="12"/>
                    </a:cubicBezTo>
                    <a:cubicBezTo>
                      <a:pt x="6" y="12"/>
                      <a:pt x="6" y="12"/>
                      <a:pt x="6" y="12"/>
                    </a:cubicBezTo>
                    <a:cubicBezTo>
                      <a:pt x="5" y="17"/>
                      <a:pt x="5" y="17"/>
                      <a:pt x="8" y="19"/>
                    </a:cubicBezTo>
                    <a:cubicBezTo>
                      <a:pt x="8" y="19"/>
                      <a:pt x="7" y="20"/>
                      <a:pt x="8" y="21"/>
                    </a:cubicBezTo>
                    <a:cubicBezTo>
                      <a:pt x="6" y="21"/>
                      <a:pt x="4" y="21"/>
                      <a:pt x="3" y="22"/>
                    </a:cubicBezTo>
                    <a:cubicBezTo>
                      <a:pt x="3" y="22"/>
                      <a:pt x="4" y="23"/>
                      <a:pt x="4" y="24"/>
                    </a:cubicBezTo>
                    <a:cubicBezTo>
                      <a:pt x="3" y="24"/>
                      <a:pt x="3" y="24"/>
                      <a:pt x="1" y="24"/>
                    </a:cubicBezTo>
                    <a:cubicBezTo>
                      <a:pt x="1" y="25"/>
                      <a:pt x="1" y="27"/>
                      <a:pt x="1" y="27"/>
                    </a:cubicBezTo>
                    <a:cubicBezTo>
                      <a:pt x="6" y="28"/>
                      <a:pt x="6" y="28"/>
                      <a:pt x="11" y="28"/>
                    </a:cubicBezTo>
                    <a:cubicBezTo>
                      <a:pt x="11" y="27"/>
                      <a:pt x="11" y="26"/>
                      <a:pt x="12" y="26"/>
                    </a:cubicBezTo>
                    <a:cubicBezTo>
                      <a:pt x="13" y="26"/>
                      <a:pt x="12" y="28"/>
                      <a:pt x="12" y="29"/>
                    </a:cubicBezTo>
                    <a:cubicBezTo>
                      <a:pt x="11" y="29"/>
                      <a:pt x="9" y="30"/>
                      <a:pt x="8" y="31"/>
                    </a:cubicBezTo>
                    <a:cubicBezTo>
                      <a:pt x="8" y="32"/>
                      <a:pt x="9" y="33"/>
                      <a:pt x="8" y="34"/>
                    </a:cubicBezTo>
                    <a:cubicBezTo>
                      <a:pt x="8" y="37"/>
                      <a:pt x="2" y="37"/>
                      <a:pt x="8" y="39"/>
                    </a:cubicBezTo>
                    <a:cubicBezTo>
                      <a:pt x="6" y="40"/>
                      <a:pt x="5" y="40"/>
                      <a:pt x="4" y="41"/>
                    </a:cubicBezTo>
                    <a:cubicBezTo>
                      <a:pt x="4" y="41"/>
                      <a:pt x="6" y="43"/>
                      <a:pt x="5" y="44"/>
                    </a:cubicBezTo>
                    <a:cubicBezTo>
                      <a:pt x="3" y="44"/>
                      <a:pt x="2" y="43"/>
                      <a:pt x="0" y="43"/>
                    </a:cubicBezTo>
                    <a:cubicBezTo>
                      <a:pt x="0" y="46"/>
                      <a:pt x="0" y="46"/>
                      <a:pt x="0" y="46"/>
                    </a:cubicBezTo>
                    <a:cubicBezTo>
                      <a:pt x="0" y="46"/>
                      <a:pt x="2" y="46"/>
                      <a:pt x="2" y="46"/>
                    </a:cubicBezTo>
                    <a:cubicBezTo>
                      <a:pt x="2" y="46"/>
                      <a:pt x="2" y="47"/>
                      <a:pt x="2" y="48"/>
                    </a:cubicBezTo>
                    <a:cubicBezTo>
                      <a:pt x="1" y="48"/>
                      <a:pt x="1" y="50"/>
                      <a:pt x="0" y="50"/>
                    </a:cubicBezTo>
                    <a:cubicBezTo>
                      <a:pt x="2" y="50"/>
                      <a:pt x="3" y="49"/>
                      <a:pt x="3" y="49"/>
                    </a:cubicBezTo>
                    <a:cubicBezTo>
                      <a:pt x="5" y="48"/>
                      <a:pt x="8" y="50"/>
                      <a:pt x="5" y="50"/>
                    </a:cubicBezTo>
                    <a:cubicBezTo>
                      <a:pt x="4" y="50"/>
                      <a:pt x="3" y="54"/>
                      <a:pt x="5" y="53"/>
                    </a:cubicBezTo>
                    <a:cubicBezTo>
                      <a:pt x="5" y="53"/>
                      <a:pt x="9" y="50"/>
                      <a:pt x="10" y="50"/>
                    </a:cubicBezTo>
                    <a:cubicBezTo>
                      <a:pt x="11" y="50"/>
                      <a:pt x="10" y="51"/>
                      <a:pt x="10" y="52"/>
                    </a:cubicBezTo>
                    <a:cubicBezTo>
                      <a:pt x="11" y="52"/>
                      <a:pt x="12" y="52"/>
                      <a:pt x="12" y="53"/>
                    </a:cubicBezTo>
                    <a:cubicBezTo>
                      <a:pt x="13" y="52"/>
                      <a:pt x="15" y="50"/>
                      <a:pt x="15" y="50"/>
                    </a:cubicBezTo>
                    <a:cubicBezTo>
                      <a:pt x="16" y="50"/>
                      <a:pt x="17" y="51"/>
                      <a:pt x="17" y="50"/>
                    </a:cubicBezTo>
                    <a:cubicBezTo>
                      <a:pt x="18" y="50"/>
                      <a:pt x="18" y="49"/>
                      <a:pt x="18" y="48"/>
                    </a:cubicBezTo>
                    <a:cubicBezTo>
                      <a:pt x="18" y="47"/>
                      <a:pt x="18" y="47"/>
                      <a:pt x="18" y="47"/>
                    </a:cubicBezTo>
                    <a:cubicBezTo>
                      <a:pt x="20" y="46"/>
                      <a:pt x="21" y="47"/>
                      <a:pt x="22" y="48"/>
                    </a:cubicBezTo>
                    <a:cubicBezTo>
                      <a:pt x="22" y="47"/>
                      <a:pt x="23" y="46"/>
                      <a:pt x="23" y="46"/>
                    </a:cubicBezTo>
                    <a:cubicBezTo>
                      <a:pt x="24" y="46"/>
                      <a:pt x="24" y="46"/>
                      <a:pt x="24" y="46"/>
                    </a:cubicBezTo>
                    <a:cubicBezTo>
                      <a:pt x="25" y="44"/>
                      <a:pt x="24" y="44"/>
                      <a:pt x="25" y="43"/>
                    </a:cubicBezTo>
                    <a:cubicBezTo>
                      <a:pt x="26" y="43"/>
                      <a:pt x="28" y="43"/>
                      <a:pt x="28" y="43"/>
                    </a:cubicBezTo>
                    <a:cubicBezTo>
                      <a:pt x="29" y="43"/>
                      <a:pt x="28" y="40"/>
                      <a:pt x="29" y="40"/>
                    </a:cubicBezTo>
                    <a:cubicBezTo>
                      <a:pt x="30" y="40"/>
                      <a:pt x="30" y="41"/>
                      <a:pt x="32" y="42"/>
                    </a:cubicBezTo>
                    <a:cubicBezTo>
                      <a:pt x="32" y="42"/>
                      <a:pt x="31" y="39"/>
                      <a:pt x="30" y="39"/>
                    </a:cubicBezTo>
                    <a:cubicBezTo>
                      <a:pt x="30" y="38"/>
                      <a:pt x="30" y="38"/>
                      <a:pt x="30" y="38"/>
                    </a:cubicBezTo>
                    <a:cubicBezTo>
                      <a:pt x="31" y="38"/>
                      <a:pt x="34" y="38"/>
                      <a:pt x="34" y="38"/>
                    </a:cubicBezTo>
                    <a:cubicBezTo>
                      <a:pt x="34" y="35"/>
                      <a:pt x="34" y="33"/>
                      <a:pt x="34" y="30"/>
                    </a:cubicBezTo>
                    <a:cubicBezTo>
                      <a:pt x="32" y="30"/>
                      <a:pt x="32" y="30"/>
                      <a:pt x="32" y="30"/>
                    </a:cubicBezTo>
                    <a:cubicBezTo>
                      <a:pt x="32" y="29"/>
                      <a:pt x="33" y="28"/>
                      <a:pt x="32" y="27"/>
                    </a:cubicBezTo>
                    <a:cubicBezTo>
                      <a:pt x="31" y="27"/>
                      <a:pt x="31" y="27"/>
                      <a:pt x="31" y="27"/>
                    </a:cubicBezTo>
                    <a:cubicBezTo>
                      <a:pt x="31" y="27"/>
                      <a:pt x="32" y="24"/>
                      <a:pt x="32" y="23"/>
                    </a:cubicBezTo>
                    <a:cubicBezTo>
                      <a:pt x="32" y="22"/>
                      <a:pt x="33" y="20"/>
                      <a:pt x="32" y="21"/>
                    </a:cubicBezTo>
                    <a:cubicBezTo>
                      <a:pt x="32" y="21"/>
                      <a:pt x="32" y="19"/>
                      <a:pt x="32" y="19"/>
                    </a:cubicBezTo>
                    <a:cubicBezTo>
                      <a:pt x="33" y="19"/>
                      <a:pt x="34" y="18"/>
                      <a:pt x="34" y="18"/>
                    </a:cubicBezTo>
                    <a:cubicBezTo>
                      <a:pt x="34" y="17"/>
                      <a:pt x="34" y="17"/>
                      <a:pt x="34" y="17"/>
                    </a:cubicBezTo>
                    <a:cubicBezTo>
                      <a:pt x="30" y="18"/>
                      <a:pt x="30" y="18"/>
                      <a:pt x="30" y="18"/>
                    </a:cubicBezTo>
                    <a:cubicBezTo>
                      <a:pt x="29" y="16"/>
                      <a:pt x="29" y="16"/>
                      <a:pt x="29" y="16"/>
                    </a:cubicBezTo>
                    <a:cubicBezTo>
                      <a:pt x="29" y="16"/>
                      <a:pt x="29" y="15"/>
                      <a:pt x="26" y="17"/>
                    </a:cubicBezTo>
                    <a:cubicBezTo>
                      <a:pt x="24" y="19"/>
                      <a:pt x="26" y="14"/>
                      <a:pt x="23" y="14"/>
                    </a:cubicBezTo>
                    <a:cubicBezTo>
                      <a:pt x="20" y="14"/>
                      <a:pt x="22" y="14"/>
                      <a:pt x="21" y="12"/>
                    </a:cubicBezTo>
                    <a:cubicBezTo>
                      <a:pt x="20" y="9"/>
                      <a:pt x="26" y="11"/>
                      <a:pt x="25" y="8"/>
                    </a:cubicBezTo>
                    <a:cubicBezTo>
                      <a:pt x="24" y="5"/>
                      <a:pt x="30" y="4"/>
                      <a:pt x="30" y="4"/>
                    </a:cubicBezTo>
                    <a:close/>
                    <a:moveTo>
                      <a:pt x="11" y="36"/>
                    </a:moveTo>
                    <a:cubicBezTo>
                      <a:pt x="14" y="35"/>
                      <a:pt x="11" y="38"/>
                      <a:pt x="10" y="38"/>
                    </a:cubicBezTo>
                    <a:cubicBezTo>
                      <a:pt x="8" y="39"/>
                      <a:pt x="10" y="36"/>
                      <a:pt x="11" y="36"/>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20" name="Freeform 199">
                <a:extLst>
                  <a:ext uri="{FF2B5EF4-FFF2-40B4-BE49-F238E27FC236}">
                    <a16:creationId xmlns:a16="http://schemas.microsoft.com/office/drawing/2014/main" id="{17C093AB-B15E-AB52-1932-BCE44467FAA6}"/>
                  </a:ext>
                </a:extLst>
              </p:cNvPr>
              <p:cNvSpPr>
                <a:spLocks noEditPoints="1"/>
              </p:cNvSpPr>
              <p:nvPr/>
            </p:nvSpPr>
            <p:spPr bwMode="auto">
              <a:xfrm>
                <a:off x="2943" y="995"/>
                <a:ext cx="66" cy="106"/>
              </a:xfrm>
              <a:custGeom>
                <a:avLst/>
                <a:gdLst>
                  <a:gd name="T0" fmla="*/ 30 w 34"/>
                  <a:gd name="T1" fmla="*/ 2 h 54"/>
                  <a:gd name="T2" fmla="*/ 27 w 34"/>
                  <a:gd name="T3" fmla="*/ 0 h 54"/>
                  <a:gd name="T4" fmla="*/ 24 w 34"/>
                  <a:gd name="T5" fmla="*/ 3 h 54"/>
                  <a:gd name="T6" fmla="*/ 19 w 34"/>
                  <a:gd name="T7" fmla="*/ 2 h 54"/>
                  <a:gd name="T8" fmla="*/ 19 w 34"/>
                  <a:gd name="T9" fmla="*/ 7 h 54"/>
                  <a:gd name="T10" fmla="*/ 16 w 34"/>
                  <a:gd name="T11" fmla="*/ 11 h 54"/>
                  <a:gd name="T12" fmla="*/ 14 w 34"/>
                  <a:gd name="T13" fmla="*/ 14 h 54"/>
                  <a:gd name="T14" fmla="*/ 9 w 34"/>
                  <a:gd name="T15" fmla="*/ 15 h 54"/>
                  <a:gd name="T16" fmla="*/ 7 w 34"/>
                  <a:gd name="T17" fmla="*/ 12 h 54"/>
                  <a:gd name="T18" fmla="*/ 8 w 34"/>
                  <a:gd name="T19" fmla="*/ 19 h 54"/>
                  <a:gd name="T20" fmla="*/ 3 w 34"/>
                  <a:gd name="T21" fmla="*/ 22 h 54"/>
                  <a:gd name="T22" fmla="*/ 1 w 34"/>
                  <a:gd name="T23" fmla="*/ 24 h 54"/>
                  <a:gd name="T24" fmla="*/ 11 w 34"/>
                  <a:gd name="T25" fmla="*/ 28 h 54"/>
                  <a:gd name="T26" fmla="*/ 12 w 34"/>
                  <a:gd name="T27" fmla="*/ 29 h 54"/>
                  <a:gd name="T28" fmla="*/ 8 w 34"/>
                  <a:gd name="T29" fmla="*/ 34 h 54"/>
                  <a:gd name="T30" fmla="*/ 4 w 34"/>
                  <a:gd name="T31" fmla="*/ 41 h 54"/>
                  <a:gd name="T32" fmla="*/ 0 w 34"/>
                  <a:gd name="T33" fmla="*/ 43 h 54"/>
                  <a:gd name="T34" fmla="*/ 2 w 34"/>
                  <a:gd name="T35" fmla="*/ 46 h 54"/>
                  <a:gd name="T36" fmla="*/ 0 w 34"/>
                  <a:gd name="T37" fmla="*/ 50 h 54"/>
                  <a:gd name="T38" fmla="*/ 5 w 34"/>
                  <a:gd name="T39" fmla="*/ 50 h 54"/>
                  <a:gd name="T40" fmla="*/ 10 w 34"/>
                  <a:gd name="T41" fmla="*/ 50 h 54"/>
                  <a:gd name="T42" fmla="*/ 12 w 34"/>
                  <a:gd name="T43" fmla="*/ 53 h 54"/>
                  <a:gd name="T44" fmla="*/ 17 w 34"/>
                  <a:gd name="T45" fmla="*/ 50 h 54"/>
                  <a:gd name="T46" fmla="*/ 18 w 34"/>
                  <a:gd name="T47" fmla="*/ 47 h 54"/>
                  <a:gd name="T48" fmla="*/ 23 w 34"/>
                  <a:gd name="T49" fmla="*/ 46 h 54"/>
                  <a:gd name="T50" fmla="*/ 25 w 34"/>
                  <a:gd name="T51" fmla="*/ 43 h 54"/>
                  <a:gd name="T52" fmla="*/ 29 w 34"/>
                  <a:gd name="T53" fmla="*/ 40 h 54"/>
                  <a:gd name="T54" fmla="*/ 30 w 34"/>
                  <a:gd name="T55" fmla="*/ 39 h 54"/>
                  <a:gd name="T56" fmla="*/ 34 w 34"/>
                  <a:gd name="T57" fmla="*/ 38 h 54"/>
                  <a:gd name="T58" fmla="*/ 32 w 34"/>
                  <a:gd name="T59" fmla="*/ 30 h 54"/>
                  <a:gd name="T60" fmla="*/ 31 w 34"/>
                  <a:gd name="T61" fmla="*/ 27 h 54"/>
                  <a:gd name="T62" fmla="*/ 32 w 34"/>
                  <a:gd name="T63" fmla="*/ 21 h 54"/>
                  <a:gd name="T64" fmla="*/ 34 w 34"/>
                  <a:gd name="T65" fmla="*/ 18 h 54"/>
                  <a:gd name="T66" fmla="*/ 30 w 34"/>
                  <a:gd name="T67" fmla="*/ 18 h 54"/>
                  <a:gd name="T68" fmla="*/ 26 w 34"/>
                  <a:gd name="T69" fmla="*/ 17 h 54"/>
                  <a:gd name="T70" fmla="*/ 21 w 34"/>
                  <a:gd name="T71" fmla="*/ 12 h 54"/>
                  <a:gd name="T72" fmla="*/ 30 w 34"/>
                  <a:gd name="T73" fmla="*/ 4 h 54"/>
                  <a:gd name="T74" fmla="*/ 10 w 34"/>
                  <a:gd name="T7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 h="54">
                    <a:moveTo>
                      <a:pt x="30" y="4"/>
                    </a:moveTo>
                    <a:cubicBezTo>
                      <a:pt x="30" y="3"/>
                      <a:pt x="29" y="2"/>
                      <a:pt x="30" y="2"/>
                    </a:cubicBezTo>
                    <a:cubicBezTo>
                      <a:pt x="29" y="1"/>
                      <a:pt x="29" y="0"/>
                      <a:pt x="28" y="0"/>
                    </a:cubicBezTo>
                    <a:cubicBezTo>
                      <a:pt x="27" y="0"/>
                      <a:pt x="27" y="0"/>
                      <a:pt x="27" y="0"/>
                    </a:cubicBezTo>
                    <a:cubicBezTo>
                      <a:pt x="27" y="0"/>
                      <a:pt x="27" y="2"/>
                      <a:pt x="27" y="2"/>
                    </a:cubicBezTo>
                    <a:cubicBezTo>
                      <a:pt x="26" y="2"/>
                      <a:pt x="25" y="3"/>
                      <a:pt x="24" y="3"/>
                    </a:cubicBezTo>
                    <a:cubicBezTo>
                      <a:pt x="24" y="2"/>
                      <a:pt x="24" y="2"/>
                      <a:pt x="24" y="2"/>
                    </a:cubicBezTo>
                    <a:cubicBezTo>
                      <a:pt x="22" y="2"/>
                      <a:pt x="20" y="2"/>
                      <a:pt x="19" y="2"/>
                    </a:cubicBezTo>
                    <a:cubicBezTo>
                      <a:pt x="19" y="2"/>
                      <a:pt x="19" y="5"/>
                      <a:pt x="19" y="5"/>
                    </a:cubicBezTo>
                    <a:cubicBezTo>
                      <a:pt x="16" y="6"/>
                      <a:pt x="15" y="7"/>
                      <a:pt x="19" y="7"/>
                    </a:cubicBezTo>
                    <a:cubicBezTo>
                      <a:pt x="20" y="9"/>
                      <a:pt x="20" y="9"/>
                      <a:pt x="20" y="9"/>
                    </a:cubicBezTo>
                    <a:cubicBezTo>
                      <a:pt x="18" y="10"/>
                      <a:pt x="17" y="10"/>
                      <a:pt x="16" y="11"/>
                    </a:cubicBezTo>
                    <a:cubicBezTo>
                      <a:pt x="15" y="12"/>
                      <a:pt x="15" y="14"/>
                      <a:pt x="16" y="14"/>
                    </a:cubicBezTo>
                    <a:cubicBezTo>
                      <a:pt x="16" y="14"/>
                      <a:pt x="13" y="15"/>
                      <a:pt x="14" y="14"/>
                    </a:cubicBezTo>
                    <a:cubicBezTo>
                      <a:pt x="13" y="14"/>
                      <a:pt x="12" y="13"/>
                      <a:pt x="10" y="13"/>
                    </a:cubicBezTo>
                    <a:cubicBezTo>
                      <a:pt x="10" y="13"/>
                      <a:pt x="9" y="15"/>
                      <a:pt x="9" y="15"/>
                    </a:cubicBezTo>
                    <a:cubicBezTo>
                      <a:pt x="9" y="15"/>
                      <a:pt x="8" y="14"/>
                      <a:pt x="8" y="14"/>
                    </a:cubicBezTo>
                    <a:cubicBezTo>
                      <a:pt x="7" y="14"/>
                      <a:pt x="7" y="13"/>
                      <a:pt x="7" y="12"/>
                    </a:cubicBezTo>
                    <a:cubicBezTo>
                      <a:pt x="6" y="12"/>
                      <a:pt x="6" y="12"/>
                      <a:pt x="6" y="12"/>
                    </a:cubicBezTo>
                    <a:cubicBezTo>
                      <a:pt x="5" y="17"/>
                      <a:pt x="5" y="17"/>
                      <a:pt x="8" y="19"/>
                    </a:cubicBezTo>
                    <a:cubicBezTo>
                      <a:pt x="8" y="19"/>
                      <a:pt x="7" y="20"/>
                      <a:pt x="8" y="21"/>
                    </a:cubicBezTo>
                    <a:cubicBezTo>
                      <a:pt x="6" y="21"/>
                      <a:pt x="4" y="21"/>
                      <a:pt x="3" y="22"/>
                    </a:cubicBezTo>
                    <a:cubicBezTo>
                      <a:pt x="3" y="22"/>
                      <a:pt x="4" y="23"/>
                      <a:pt x="4" y="24"/>
                    </a:cubicBezTo>
                    <a:cubicBezTo>
                      <a:pt x="3" y="24"/>
                      <a:pt x="3" y="24"/>
                      <a:pt x="1" y="24"/>
                    </a:cubicBezTo>
                    <a:cubicBezTo>
                      <a:pt x="1" y="25"/>
                      <a:pt x="1" y="27"/>
                      <a:pt x="1" y="27"/>
                    </a:cubicBezTo>
                    <a:cubicBezTo>
                      <a:pt x="6" y="28"/>
                      <a:pt x="6" y="28"/>
                      <a:pt x="11" y="28"/>
                    </a:cubicBezTo>
                    <a:cubicBezTo>
                      <a:pt x="11" y="27"/>
                      <a:pt x="11" y="26"/>
                      <a:pt x="12" y="26"/>
                    </a:cubicBezTo>
                    <a:cubicBezTo>
                      <a:pt x="13" y="26"/>
                      <a:pt x="12" y="28"/>
                      <a:pt x="12" y="29"/>
                    </a:cubicBezTo>
                    <a:cubicBezTo>
                      <a:pt x="11" y="29"/>
                      <a:pt x="9" y="30"/>
                      <a:pt x="8" y="31"/>
                    </a:cubicBezTo>
                    <a:cubicBezTo>
                      <a:pt x="8" y="32"/>
                      <a:pt x="9" y="33"/>
                      <a:pt x="8" y="34"/>
                    </a:cubicBezTo>
                    <a:cubicBezTo>
                      <a:pt x="8" y="37"/>
                      <a:pt x="2" y="37"/>
                      <a:pt x="8" y="39"/>
                    </a:cubicBezTo>
                    <a:cubicBezTo>
                      <a:pt x="6" y="40"/>
                      <a:pt x="5" y="40"/>
                      <a:pt x="4" y="41"/>
                    </a:cubicBezTo>
                    <a:cubicBezTo>
                      <a:pt x="4" y="41"/>
                      <a:pt x="6" y="43"/>
                      <a:pt x="5" y="44"/>
                    </a:cubicBezTo>
                    <a:cubicBezTo>
                      <a:pt x="3" y="44"/>
                      <a:pt x="2" y="43"/>
                      <a:pt x="0" y="43"/>
                    </a:cubicBezTo>
                    <a:cubicBezTo>
                      <a:pt x="0" y="46"/>
                      <a:pt x="0" y="46"/>
                      <a:pt x="0" y="46"/>
                    </a:cubicBezTo>
                    <a:cubicBezTo>
                      <a:pt x="0" y="46"/>
                      <a:pt x="2" y="46"/>
                      <a:pt x="2" y="46"/>
                    </a:cubicBezTo>
                    <a:cubicBezTo>
                      <a:pt x="2" y="46"/>
                      <a:pt x="2" y="47"/>
                      <a:pt x="2" y="48"/>
                    </a:cubicBezTo>
                    <a:cubicBezTo>
                      <a:pt x="1" y="48"/>
                      <a:pt x="1" y="50"/>
                      <a:pt x="0" y="50"/>
                    </a:cubicBezTo>
                    <a:cubicBezTo>
                      <a:pt x="2" y="50"/>
                      <a:pt x="3" y="49"/>
                      <a:pt x="3" y="49"/>
                    </a:cubicBezTo>
                    <a:cubicBezTo>
                      <a:pt x="5" y="48"/>
                      <a:pt x="8" y="50"/>
                      <a:pt x="5" y="50"/>
                    </a:cubicBezTo>
                    <a:cubicBezTo>
                      <a:pt x="4" y="50"/>
                      <a:pt x="3" y="54"/>
                      <a:pt x="5" y="53"/>
                    </a:cubicBezTo>
                    <a:cubicBezTo>
                      <a:pt x="5" y="53"/>
                      <a:pt x="9" y="50"/>
                      <a:pt x="10" y="50"/>
                    </a:cubicBezTo>
                    <a:cubicBezTo>
                      <a:pt x="11" y="50"/>
                      <a:pt x="10" y="51"/>
                      <a:pt x="10" y="52"/>
                    </a:cubicBezTo>
                    <a:cubicBezTo>
                      <a:pt x="11" y="52"/>
                      <a:pt x="12" y="52"/>
                      <a:pt x="12" y="53"/>
                    </a:cubicBezTo>
                    <a:cubicBezTo>
                      <a:pt x="13" y="52"/>
                      <a:pt x="15" y="50"/>
                      <a:pt x="15" y="50"/>
                    </a:cubicBezTo>
                    <a:cubicBezTo>
                      <a:pt x="16" y="50"/>
                      <a:pt x="17" y="51"/>
                      <a:pt x="17" y="50"/>
                    </a:cubicBezTo>
                    <a:cubicBezTo>
                      <a:pt x="18" y="50"/>
                      <a:pt x="18" y="49"/>
                      <a:pt x="18" y="48"/>
                    </a:cubicBezTo>
                    <a:cubicBezTo>
                      <a:pt x="18" y="47"/>
                      <a:pt x="18" y="47"/>
                      <a:pt x="18" y="47"/>
                    </a:cubicBezTo>
                    <a:cubicBezTo>
                      <a:pt x="20" y="46"/>
                      <a:pt x="21" y="47"/>
                      <a:pt x="22" y="48"/>
                    </a:cubicBezTo>
                    <a:cubicBezTo>
                      <a:pt x="22" y="47"/>
                      <a:pt x="23" y="46"/>
                      <a:pt x="23" y="46"/>
                    </a:cubicBezTo>
                    <a:cubicBezTo>
                      <a:pt x="24" y="46"/>
                      <a:pt x="24" y="46"/>
                      <a:pt x="24" y="46"/>
                    </a:cubicBezTo>
                    <a:cubicBezTo>
                      <a:pt x="25" y="44"/>
                      <a:pt x="24" y="44"/>
                      <a:pt x="25" y="43"/>
                    </a:cubicBezTo>
                    <a:cubicBezTo>
                      <a:pt x="26" y="43"/>
                      <a:pt x="28" y="43"/>
                      <a:pt x="28" y="43"/>
                    </a:cubicBezTo>
                    <a:cubicBezTo>
                      <a:pt x="29" y="43"/>
                      <a:pt x="28" y="40"/>
                      <a:pt x="29" y="40"/>
                    </a:cubicBezTo>
                    <a:cubicBezTo>
                      <a:pt x="30" y="40"/>
                      <a:pt x="30" y="41"/>
                      <a:pt x="32" y="42"/>
                    </a:cubicBezTo>
                    <a:cubicBezTo>
                      <a:pt x="32" y="42"/>
                      <a:pt x="31" y="39"/>
                      <a:pt x="30" y="39"/>
                    </a:cubicBezTo>
                    <a:cubicBezTo>
                      <a:pt x="30" y="38"/>
                      <a:pt x="30" y="38"/>
                      <a:pt x="30" y="38"/>
                    </a:cubicBezTo>
                    <a:cubicBezTo>
                      <a:pt x="31" y="38"/>
                      <a:pt x="34" y="38"/>
                      <a:pt x="34" y="38"/>
                    </a:cubicBezTo>
                    <a:cubicBezTo>
                      <a:pt x="34" y="35"/>
                      <a:pt x="34" y="33"/>
                      <a:pt x="34" y="30"/>
                    </a:cubicBezTo>
                    <a:cubicBezTo>
                      <a:pt x="32" y="30"/>
                      <a:pt x="32" y="30"/>
                      <a:pt x="32" y="30"/>
                    </a:cubicBezTo>
                    <a:cubicBezTo>
                      <a:pt x="32" y="29"/>
                      <a:pt x="33" y="28"/>
                      <a:pt x="32" y="27"/>
                    </a:cubicBezTo>
                    <a:cubicBezTo>
                      <a:pt x="31" y="27"/>
                      <a:pt x="31" y="27"/>
                      <a:pt x="31" y="27"/>
                    </a:cubicBezTo>
                    <a:cubicBezTo>
                      <a:pt x="31" y="27"/>
                      <a:pt x="32" y="24"/>
                      <a:pt x="32" y="23"/>
                    </a:cubicBezTo>
                    <a:cubicBezTo>
                      <a:pt x="32" y="22"/>
                      <a:pt x="33" y="20"/>
                      <a:pt x="32" y="21"/>
                    </a:cubicBezTo>
                    <a:cubicBezTo>
                      <a:pt x="32" y="21"/>
                      <a:pt x="32" y="19"/>
                      <a:pt x="32" y="19"/>
                    </a:cubicBezTo>
                    <a:cubicBezTo>
                      <a:pt x="33" y="19"/>
                      <a:pt x="34" y="18"/>
                      <a:pt x="34" y="18"/>
                    </a:cubicBezTo>
                    <a:cubicBezTo>
                      <a:pt x="34" y="17"/>
                      <a:pt x="34" y="17"/>
                      <a:pt x="34" y="17"/>
                    </a:cubicBezTo>
                    <a:cubicBezTo>
                      <a:pt x="30" y="18"/>
                      <a:pt x="30" y="18"/>
                      <a:pt x="30" y="18"/>
                    </a:cubicBezTo>
                    <a:cubicBezTo>
                      <a:pt x="29" y="16"/>
                      <a:pt x="29" y="16"/>
                      <a:pt x="29" y="16"/>
                    </a:cubicBezTo>
                    <a:cubicBezTo>
                      <a:pt x="29" y="16"/>
                      <a:pt x="29" y="15"/>
                      <a:pt x="26" y="17"/>
                    </a:cubicBezTo>
                    <a:cubicBezTo>
                      <a:pt x="24" y="19"/>
                      <a:pt x="26" y="14"/>
                      <a:pt x="23" y="14"/>
                    </a:cubicBezTo>
                    <a:cubicBezTo>
                      <a:pt x="20" y="14"/>
                      <a:pt x="22" y="14"/>
                      <a:pt x="21" y="12"/>
                    </a:cubicBezTo>
                    <a:cubicBezTo>
                      <a:pt x="20" y="9"/>
                      <a:pt x="26" y="11"/>
                      <a:pt x="25" y="8"/>
                    </a:cubicBezTo>
                    <a:cubicBezTo>
                      <a:pt x="24" y="5"/>
                      <a:pt x="30" y="4"/>
                      <a:pt x="30" y="4"/>
                    </a:cubicBezTo>
                    <a:close/>
                    <a:moveTo>
                      <a:pt x="11" y="36"/>
                    </a:moveTo>
                    <a:cubicBezTo>
                      <a:pt x="14" y="35"/>
                      <a:pt x="11" y="38"/>
                      <a:pt x="10" y="38"/>
                    </a:cubicBezTo>
                    <a:cubicBezTo>
                      <a:pt x="8" y="39"/>
                      <a:pt x="10" y="36"/>
                      <a:pt x="11" y="36"/>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21" name="Freeform 200">
                <a:extLst>
                  <a:ext uri="{FF2B5EF4-FFF2-40B4-BE49-F238E27FC236}">
                    <a16:creationId xmlns:a16="http://schemas.microsoft.com/office/drawing/2014/main" id="{36D9BF9C-5E89-5233-F90E-5917191127CA}"/>
                  </a:ext>
                </a:extLst>
              </p:cNvPr>
              <p:cNvSpPr>
                <a:spLocks/>
              </p:cNvSpPr>
              <p:nvPr/>
            </p:nvSpPr>
            <p:spPr bwMode="auto">
              <a:xfrm>
                <a:off x="3776" y="1444"/>
                <a:ext cx="175" cy="181"/>
              </a:xfrm>
              <a:custGeom>
                <a:avLst/>
                <a:gdLst>
                  <a:gd name="T0" fmla="*/ 89 w 89"/>
                  <a:gd name="T1" fmla="*/ 83 h 92"/>
                  <a:gd name="T2" fmla="*/ 88 w 89"/>
                  <a:gd name="T3" fmla="*/ 82 h 92"/>
                  <a:gd name="T4" fmla="*/ 86 w 89"/>
                  <a:gd name="T5" fmla="*/ 80 h 92"/>
                  <a:gd name="T6" fmla="*/ 83 w 89"/>
                  <a:gd name="T7" fmla="*/ 78 h 92"/>
                  <a:gd name="T8" fmla="*/ 83 w 89"/>
                  <a:gd name="T9" fmla="*/ 73 h 92"/>
                  <a:gd name="T10" fmla="*/ 81 w 89"/>
                  <a:gd name="T11" fmla="*/ 73 h 92"/>
                  <a:gd name="T12" fmla="*/ 80 w 89"/>
                  <a:gd name="T13" fmla="*/ 66 h 92"/>
                  <a:gd name="T14" fmla="*/ 78 w 89"/>
                  <a:gd name="T15" fmla="*/ 61 h 92"/>
                  <a:gd name="T16" fmla="*/ 75 w 89"/>
                  <a:gd name="T17" fmla="*/ 55 h 92"/>
                  <a:gd name="T18" fmla="*/ 70 w 89"/>
                  <a:gd name="T19" fmla="*/ 54 h 92"/>
                  <a:gd name="T20" fmla="*/ 71 w 89"/>
                  <a:gd name="T21" fmla="*/ 52 h 92"/>
                  <a:gd name="T22" fmla="*/ 64 w 89"/>
                  <a:gd name="T23" fmla="*/ 45 h 92"/>
                  <a:gd name="T24" fmla="*/ 59 w 89"/>
                  <a:gd name="T25" fmla="*/ 38 h 92"/>
                  <a:gd name="T26" fmla="*/ 57 w 89"/>
                  <a:gd name="T27" fmla="*/ 34 h 92"/>
                  <a:gd name="T28" fmla="*/ 58 w 89"/>
                  <a:gd name="T29" fmla="*/ 29 h 92"/>
                  <a:gd name="T30" fmla="*/ 61 w 89"/>
                  <a:gd name="T31" fmla="*/ 28 h 92"/>
                  <a:gd name="T32" fmla="*/ 61 w 89"/>
                  <a:gd name="T33" fmla="*/ 23 h 92"/>
                  <a:gd name="T34" fmla="*/ 65 w 89"/>
                  <a:gd name="T35" fmla="*/ 21 h 92"/>
                  <a:gd name="T36" fmla="*/ 64 w 89"/>
                  <a:gd name="T37" fmla="*/ 19 h 92"/>
                  <a:gd name="T38" fmla="*/ 60 w 89"/>
                  <a:gd name="T39" fmla="*/ 19 h 92"/>
                  <a:gd name="T40" fmla="*/ 56 w 89"/>
                  <a:gd name="T41" fmla="*/ 18 h 92"/>
                  <a:gd name="T42" fmla="*/ 53 w 89"/>
                  <a:gd name="T43" fmla="*/ 16 h 92"/>
                  <a:gd name="T44" fmla="*/ 51 w 89"/>
                  <a:gd name="T45" fmla="*/ 13 h 92"/>
                  <a:gd name="T46" fmla="*/ 50 w 89"/>
                  <a:gd name="T47" fmla="*/ 10 h 92"/>
                  <a:gd name="T48" fmla="*/ 50 w 89"/>
                  <a:gd name="T49" fmla="*/ 7 h 92"/>
                  <a:gd name="T50" fmla="*/ 48 w 89"/>
                  <a:gd name="T51" fmla="*/ 2 h 92"/>
                  <a:gd name="T52" fmla="*/ 45 w 89"/>
                  <a:gd name="T53" fmla="*/ 1 h 92"/>
                  <a:gd name="T54" fmla="*/ 42 w 89"/>
                  <a:gd name="T55" fmla="*/ 3 h 92"/>
                  <a:gd name="T56" fmla="*/ 41 w 89"/>
                  <a:gd name="T57" fmla="*/ 1 h 92"/>
                  <a:gd name="T58" fmla="*/ 39 w 89"/>
                  <a:gd name="T59" fmla="*/ 0 h 92"/>
                  <a:gd name="T60" fmla="*/ 37 w 89"/>
                  <a:gd name="T61" fmla="*/ 2 h 92"/>
                  <a:gd name="T62" fmla="*/ 31 w 89"/>
                  <a:gd name="T63" fmla="*/ 1 h 92"/>
                  <a:gd name="T64" fmla="*/ 29 w 89"/>
                  <a:gd name="T65" fmla="*/ 2 h 92"/>
                  <a:gd name="T66" fmla="*/ 27 w 89"/>
                  <a:gd name="T67" fmla="*/ 8 h 92"/>
                  <a:gd name="T68" fmla="*/ 23 w 89"/>
                  <a:gd name="T69" fmla="*/ 13 h 92"/>
                  <a:gd name="T70" fmla="*/ 24 w 89"/>
                  <a:gd name="T71" fmla="*/ 17 h 92"/>
                  <a:gd name="T72" fmla="*/ 22 w 89"/>
                  <a:gd name="T73" fmla="*/ 23 h 92"/>
                  <a:gd name="T74" fmla="*/ 22 w 89"/>
                  <a:gd name="T75" fmla="*/ 27 h 92"/>
                  <a:gd name="T76" fmla="*/ 20 w 89"/>
                  <a:gd name="T77" fmla="*/ 32 h 92"/>
                  <a:gd name="T78" fmla="*/ 18 w 89"/>
                  <a:gd name="T79" fmla="*/ 35 h 92"/>
                  <a:gd name="T80" fmla="*/ 0 w 89"/>
                  <a:gd name="T81" fmla="*/ 49 h 92"/>
                  <a:gd name="T82" fmla="*/ 5 w 89"/>
                  <a:gd name="T83" fmla="*/ 64 h 92"/>
                  <a:gd name="T84" fmla="*/ 29 w 89"/>
                  <a:gd name="T85" fmla="*/ 78 h 92"/>
                  <a:gd name="T86" fmla="*/ 30 w 89"/>
                  <a:gd name="T87" fmla="*/ 81 h 92"/>
                  <a:gd name="T88" fmla="*/ 36 w 89"/>
                  <a:gd name="T89" fmla="*/ 81 h 92"/>
                  <a:gd name="T90" fmla="*/ 37 w 89"/>
                  <a:gd name="T91" fmla="*/ 87 h 92"/>
                  <a:gd name="T92" fmla="*/ 43 w 89"/>
                  <a:gd name="T93" fmla="*/ 90 h 92"/>
                  <a:gd name="T94" fmla="*/ 59 w 89"/>
                  <a:gd name="T95" fmla="*/ 92 h 92"/>
                  <a:gd name="T96" fmla="*/ 67 w 89"/>
                  <a:gd name="T97" fmla="*/ 86 h 92"/>
                  <a:gd name="T98" fmla="*/ 73 w 89"/>
                  <a:gd name="T99" fmla="*/ 79 h 92"/>
                  <a:gd name="T100" fmla="*/ 78 w 89"/>
                  <a:gd name="T101" fmla="*/ 80 h 92"/>
                  <a:gd name="T102" fmla="*/ 80 w 89"/>
                  <a:gd name="T103" fmla="*/ 80 h 92"/>
                  <a:gd name="T104" fmla="*/ 81 w 89"/>
                  <a:gd name="T105" fmla="*/ 82 h 92"/>
                  <a:gd name="T106" fmla="*/ 85 w 89"/>
                  <a:gd name="T107" fmla="*/ 83 h 92"/>
                  <a:gd name="T108" fmla="*/ 86 w 89"/>
                  <a:gd name="T109" fmla="*/ 81 h 92"/>
                  <a:gd name="T110" fmla="*/ 88 w 89"/>
                  <a:gd name="T111" fmla="*/ 83 h 92"/>
                  <a:gd name="T112" fmla="*/ 89 w 89"/>
                  <a:gd name="T113" fmla="*/ 8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92">
                    <a:moveTo>
                      <a:pt x="89" y="83"/>
                    </a:moveTo>
                    <a:cubicBezTo>
                      <a:pt x="88" y="82"/>
                      <a:pt x="88" y="82"/>
                      <a:pt x="88" y="82"/>
                    </a:cubicBezTo>
                    <a:cubicBezTo>
                      <a:pt x="88" y="82"/>
                      <a:pt x="87" y="82"/>
                      <a:pt x="86" y="80"/>
                    </a:cubicBezTo>
                    <a:cubicBezTo>
                      <a:pt x="85" y="78"/>
                      <a:pt x="83" y="78"/>
                      <a:pt x="83" y="78"/>
                    </a:cubicBezTo>
                    <a:cubicBezTo>
                      <a:pt x="83" y="73"/>
                      <a:pt x="83" y="73"/>
                      <a:pt x="83" y="73"/>
                    </a:cubicBezTo>
                    <a:cubicBezTo>
                      <a:pt x="81" y="73"/>
                      <a:pt x="81" y="73"/>
                      <a:pt x="81" y="73"/>
                    </a:cubicBezTo>
                    <a:cubicBezTo>
                      <a:pt x="80" y="70"/>
                      <a:pt x="80" y="69"/>
                      <a:pt x="80" y="66"/>
                    </a:cubicBezTo>
                    <a:cubicBezTo>
                      <a:pt x="81" y="63"/>
                      <a:pt x="80" y="63"/>
                      <a:pt x="78" y="61"/>
                    </a:cubicBezTo>
                    <a:cubicBezTo>
                      <a:pt x="76" y="58"/>
                      <a:pt x="76" y="57"/>
                      <a:pt x="75" y="55"/>
                    </a:cubicBezTo>
                    <a:cubicBezTo>
                      <a:pt x="74" y="53"/>
                      <a:pt x="73" y="54"/>
                      <a:pt x="70" y="54"/>
                    </a:cubicBezTo>
                    <a:cubicBezTo>
                      <a:pt x="67" y="54"/>
                      <a:pt x="71" y="54"/>
                      <a:pt x="71" y="52"/>
                    </a:cubicBezTo>
                    <a:cubicBezTo>
                      <a:pt x="70" y="50"/>
                      <a:pt x="66" y="46"/>
                      <a:pt x="64" y="45"/>
                    </a:cubicBezTo>
                    <a:cubicBezTo>
                      <a:pt x="61" y="45"/>
                      <a:pt x="61" y="39"/>
                      <a:pt x="59" y="38"/>
                    </a:cubicBezTo>
                    <a:cubicBezTo>
                      <a:pt x="57" y="37"/>
                      <a:pt x="58" y="35"/>
                      <a:pt x="57" y="34"/>
                    </a:cubicBezTo>
                    <a:cubicBezTo>
                      <a:pt x="56" y="32"/>
                      <a:pt x="60" y="34"/>
                      <a:pt x="58" y="29"/>
                    </a:cubicBezTo>
                    <a:cubicBezTo>
                      <a:pt x="57" y="27"/>
                      <a:pt x="60" y="30"/>
                      <a:pt x="61" y="28"/>
                    </a:cubicBezTo>
                    <a:cubicBezTo>
                      <a:pt x="62" y="27"/>
                      <a:pt x="62" y="26"/>
                      <a:pt x="61" y="23"/>
                    </a:cubicBezTo>
                    <a:cubicBezTo>
                      <a:pt x="60" y="21"/>
                      <a:pt x="63" y="23"/>
                      <a:pt x="65" y="21"/>
                    </a:cubicBezTo>
                    <a:cubicBezTo>
                      <a:pt x="66" y="20"/>
                      <a:pt x="64" y="19"/>
                      <a:pt x="64" y="19"/>
                    </a:cubicBezTo>
                    <a:cubicBezTo>
                      <a:pt x="64" y="19"/>
                      <a:pt x="62" y="20"/>
                      <a:pt x="60" y="19"/>
                    </a:cubicBezTo>
                    <a:cubicBezTo>
                      <a:pt x="58" y="18"/>
                      <a:pt x="58" y="18"/>
                      <a:pt x="56" y="18"/>
                    </a:cubicBezTo>
                    <a:cubicBezTo>
                      <a:pt x="55" y="18"/>
                      <a:pt x="55" y="16"/>
                      <a:pt x="53" y="16"/>
                    </a:cubicBezTo>
                    <a:cubicBezTo>
                      <a:pt x="51" y="16"/>
                      <a:pt x="53" y="13"/>
                      <a:pt x="51" y="13"/>
                    </a:cubicBezTo>
                    <a:cubicBezTo>
                      <a:pt x="49" y="13"/>
                      <a:pt x="52" y="10"/>
                      <a:pt x="50" y="10"/>
                    </a:cubicBezTo>
                    <a:cubicBezTo>
                      <a:pt x="48" y="10"/>
                      <a:pt x="51" y="8"/>
                      <a:pt x="50" y="7"/>
                    </a:cubicBezTo>
                    <a:cubicBezTo>
                      <a:pt x="49" y="5"/>
                      <a:pt x="48" y="2"/>
                      <a:pt x="48" y="2"/>
                    </a:cubicBezTo>
                    <a:cubicBezTo>
                      <a:pt x="45" y="1"/>
                      <a:pt x="45" y="1"/>
                      <a:pt x="45" y="1"/>
                    </a:cubicBezTo>
                    <a:cubicBezTo>
                      <a:pt x="42" y="3"/>
                      <a:pt x="42" y="3"/>
                      <a:pt x="42" y="3"/>
                    </a:cubicBezTo>
                    <a:cubicBezTo>
                      <a:pt x="41" y="1"/>
                      <a:pt x="41" y="1"/>
                      <a:pt x="41" y="1"/>
                    </a:cubicBezTo>
                    <a:cubicBezTo>
                      <a:pt x="39" y="0"/>
                      <a:pt x="39" y="0"/>
                      <a:pt x="39" y="0"/>
                    </a:cubicBezTo>
                    <a:cubicBezTo>
                      <a:pt x="39" y="0"/>
                      <a:pt x="38" y="1"/>
                      <a:pt x="37" y="2"/>
                    </a:cubicBezTo>
                    <a:cubicBezTo>
                      <a:pt x="36" y="4"/>
                      <a:pt x="33" y="0"/>
                      <a:pt x="31" y="1"/>
                    </a:cubicBezTo>
                    <a:cubicBezTo>
                      <a:pt x="31" y="2"/>
                      <a:pt x="30" y="2"/>
                      <a:pt x="29" y="2"/>
                    </a:cubicBezTo>
                    <a:cubicBezTo>
                      <a:pt x="29" y="2"/>
                      <a:pt x="29" y="6"/>
                      <a:pt x="27" y="8"/>
                    </a:cubicBezTo>
                    <a:cubicBezTo>
                      <a:pt x="25" y="9"/>
                      <a:pt x="23" y="10"/>
                      <a:pt x="23" y="13"/>
                    </a:cubicBezTo>
                    <a:cubicBezTo>
                      <a:pt x="23" y="16"/>
                      <a:pt x="24" y="15"/>
                      <a:pt x="24" y="17"/>
                    </a:cubicBezTo>
                    <a:cubicBezTo>
                      <a:pt x="23" y="20"/>
                      <a:pt x="21" y="20"/>
                      <a:pt x="22" y="23"/>
                    </a:cubicBezTo>
                    <a:cubicBezTo>
                      <a:pt x="23" y="26"/>
                      <a:pt x="23" y="25"/>
                      <a:pt x="22" y="27"/>
                    </a:cubicBezTo>
                    <a:cubicBezTo>
                      <a:pt x="21" y="30"/>
                      <a:pt x="21" y="30"/>
                      <a:pt x="20" y="32"/>
                    </a:cubicBezTo>
                    <a:cubicBezTo>
                      <a:pt x="19" y="34"/>
                      <a:pt x="18" y="35"/>
                      <a:pt x="18" y="35"/>
                    </a:cubicBezTo>
                    <a:cubicBezTo>
                      <a:pt x="0" y="49"/>
                      <a:pt x="0" y="49"/>
                      <a:pt x="0" y="49"/>
                    </a:cubicBezTo>
                    <a:cubicBezTo>
                      <a:pt x="5" y="64"/>
                      <a:pt x="5" y="64"/>
                      <a:pt x="5" y="64"/>
                    </a:cubicBezTo>
                    <a:cubicBezTo>
                      <a:pt x="29" y="78"/>
                      <a:pt x="29" y="78"/>
                      <a:pt x="29" y="78"/>
                    </a:cubicBezTo>
                    <a:cubicBezTo>
                      <a:pt x="30" y="81"/>
                      <a:pt x="30" y="81"/>
                      <a:pt x="30" y="81"/>
                    </a:cubicBezTo>
                    <a:cubicBezTo>
                      <a:pt x="36" y="81"/>
                      <a:pt x="36" y="81"/>
                      <a:pt x="36" y="81"/>
                    </a:cubicBezTo>
                    <a:cubicBezTo>
                      <a:pt x="37" y="87"/>
                      <a:pt x="37" y="87"/>
                      <a:pt x="37" y="87"/>
                    </a:cubicBezTo>
                    <a:cubicBezTo>
                      <a:pt x="43" y="90"/>
                      <a:pt x="43" y="90"/>
                      <a:pt x="43" y="90"/>
                    </a:cubicBezTo>
                    <a:cubicBezTo>
                      <a:pt x="59" y="92"/>
                      <a:pt x="59" y="92"/>
                      <a:pt x="59" y="92"/>
                    </a:cubicBezTo>
                    <a:cubicBezTo>
                      <a:pt x="59" y="92"/>
                      <a:pt x="65" y="88"/>
                      <a:pt x="67" y="86"/>
                    </a:cubicBezTo>
                    <a:cubicBezTo>
                      <a:pt x="69" y="83"/>
                      <a:pt x="71" y="78"/>
                      <a:pt x="73" y="79"/>
                    </a:cubicBezTo>
                    <a:cubicBezTo>
                      <a:pt x="76" y="80"/>
                      <a:pt x="78" y="80"/>
                      <a:pt x="78" y="80"/>
                    </a:cubicBezTo>
                    <a:cubicBezTo>
                      <a:pt x="78" y="80"/>
                      <a:pt x="79" y="80"/>
                      <a:pt x="80" y="80"/>
                    </a:cubicBezTo>
                    <a:cubicBezTo>
                      <a:pt x="80" y="80"/>
                      <a:pt x="81" y="82"/>
                      <a:pt x="81" y="82"/>
                    </a:cubicBezTo>
                    <a:cubicBezTo>
                      <a:pt x="82" y="83"/>
                      <a:pt x="83" y="83"/>
                      <a:pt x="85" y="83"/>
                    </a:cubicBezTo>
                    <a:cubicBezTo>
                      <a:pt x="85" y="83"/>
                      <a:pt x="85" y="81"/>
                      <a:pt x="86" y="81"/>
                    </a:cubicBezTo>
                    <a:cubicBezTo>
                      <a:pt x="86" y="81"/>
                      <a:pt x="88" y="83"/>
                      <a:pt x="88" y="83"/>
                    </a:cubicBezTo>
                    <a:cubicBezTo>
                      <a:pt x="88" y="83"/>
                      <a:pt x="88" y="83"/>
                      <a:pt x="89" y="8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22" name="Freeform 201">
                <a:extLst>
                  <a:ext uri="{FF2B5EF4-FFF2-40B4-BE49-F238E27FC236}">
                    <a16:creationId xmlns:a16="http://schemas.microsoft.com/office/drawing/2014/main" id="{ACB3CE4D-55C4-251C-9B75-FA308F23C691}"/>
                  </a:ext>
                </a:extLst>
              </p:cNvPr>
              <p:cNvSpPr>
                <a:spLocks/>
              </p:cNvSpPr>
              <p:nvPr/>
            </p:nvSpPr>
            <p:spPr bwMode="auto">
              <a:xfrm>
                <a:off x="3776" y="1444"/>
                <a:ext cx="175" cy="181"/>
              </a:xfrm>
              <a:custGeom>
                <a:avLst/>
                <a:gdLst>
                  <a:gd name="T0" fmla="*/ 89 w 89"/>
                  <a:gd name="T1" fmla="*/ 83 h 92"/>
                  <a:gd name="T2" fmla="*/ 88 w 89"/>
                  <a:gd name="T3" fmla="*/ 82 h 92"/>
                  <a:gd name="T4" fmla="*/ 86 w 89"/>
                  <a:gd name="T5" fmla="*/ 80 h 92"/>
                  <a:gd name="T6" fmla="*/ 83 w 89"/>
                  <a:gd name="T7" fmla="*/ 78 h 92"/>
                  <a:gd name="T8" fmla="*/ 83 w 89"/>
                  <a:gd name="T9" fmla="*/ 73 h 92"/>
                  <a:gd name="T10" fmla="*/ 81 w 89"/>
                  <a:gd name="T11" fmla="*/ 73 h 92"/>
                  <a:gd name="T12" fmla="*/ 80 w 89"/>
                  <a:gd name="T13" fmla="*/ 66 h 92"/>
                  <a:gd name="T14" fmla="*/ 78 w 89"/>
                  <a:gd name="T15" fmla="*/ 61 h 92"/>
                  <a:gd name="T16" fmla="*/ 75 w 89"/>
                  <a:gd name="T17" fmla="*/ 55 h 92"/>
                  <a:gd name="T18" fmla="*/ 70 w 89"/>
                  <a:gd name="T19" fmla="*/ 54 h 92"/>
                  <a:gd name="T20" fmla="*/ 71 w 89"/>
                  <a:gd name="T21" fmla="*/ 52 h 92"/>
                  <a:gd name="T22" fmla="*/ 64 w 89"/>
                  <a:gd name="T23" fmla="*/ 45 h 92"/>
                  <a:gd name="T24" fmla="*/ 59 w 89"/>
                  <a:gd name="T25" fmla="*/ 38 h 92"/>
                  <a:gd name="T26" fmla="*/ 57 w 89"/>
                  <a:gd name="T27" fmla="*/ 34 h 92"/>
                  <a:gd name="T28" fmla="*/ 58 w 89"/>
                  <a:gd name="T29" fmla="*/ 29 h 92"/>
                  <a:gd name="T30" fmla="*/ 61 w 89"/>
                  <a:gd name="T31" fmla="*/ 28 h 92"/>
                  <a:gd name="T32" fmla="*/ 61 w 89"/>
                  <a:gd name="T33" fmla="*/ 23 h 92"/>
                  <a:gd name="T34" fmla="*/ 65 w 89"/>
                  <a:gd name="T35" fmla="*/ 21 h 92"/>
                  <a:gd name="T36" fmla="*/ 64 w 89"/>
                  <a:gd name="T37" fmla="*/ 19 h 92"/>
                  <a:gd name="T38" fmla="*/ 60 w 89"/>
                  <a:gd name="T39" fmla="*/ 19 h 92"/>
                  <a:gd name="T40" fmla="*/ 56 w 89"/>
                  <a:gd name="T41" fmla="*/ 18 h 92"/>
                  <a:gd name="T42" fmla="*/ 53 w 89"/>
                  <a:gd name="T43" fmla="*/ 16 h 92"/>
                  <a:gd name="T44" fmla="*/ 51 w 89"/>
                  <a:gd name="T45" fmla="*/ 13 h 92"/>
                  <a:gd name="T46" fmla="*/ 50 w 89"/>
                  <a:gd name="T47" fmla="*/ 10 h 92"/>
                  <a:gd name="T48" fmla="*/ 50 w 89"/>
                  <a:gd name="T49" fmla="*/ 7 h 92"/>
                  <a:gd name="T50" fmla="*/ 48 w 89"/>
                  <a:gd name="T51" fmla="*/ 2 h 92"/>
                  <a:gd name="T52" fmla="*/ 45 w 89"/>
                  <a:gd name="T53" fmla="*/ 1 h 92"/>
                  <a:gd name="T54" fmla="*/ 42 w 89"/>
                  <a:gd name="T55" fmla="*/ 3 h 92"/>
                  <a:gd name="T56" fmla="*/ 41 w 89"/>
                  <a:gd name="T57" fmla="*/ 1 h 92"/>
                  <a:gd name="T58" fmla="*/ 39 w 89"/>
                  <a:gd name="T59" fmla="*/ 0 h 92"/>
                  <a:gd name="T60" fmla="*/ 37 w 89"/>
                  <a:gd name="T61" fmla="*/ 2 h 92"/>
                  <a:gd name="T62" fmla="*/ 31 w 89"/>
                  <a:gd name="T63" fmla="*/ 1 h 92"/>
                  <a:gd name="T64" fmla="*/ 29 w 89"/>
                  <a:gd name="T65" fmla="*/ 2 h 92"/>
                  <a:gd name="T66" fmla="*/ 27 w 89"/>
                  <a:gd name="T67" fmla="*/ 8 h 92"/>
                  <a:gd name="T68" fmla="*/ 23 w 89"/>
                  <a:gd name="T69" fmla="*/ 13 h 92"/>
                  <a:gd name="T70" fmla="*/ 24 w 89"/>
                  <a:gd name="T71" fmla="*/ 17 h 92"/>
                  <a:gd name="T72" fmla="*/ 22 w 89"/>
                  <a:gd name="T73" fmla="*/ 23 h 92"/>
                  <a:gd name="T74" fmla="*/ 22 w 89"/>
                  <a:gd name="T75" fmla="*/ 27 h 92"/>
                  <a:gd name="T76" fmla="*/ 20 w 89"/>
                  <a:gd name="T77" fmla="*/ 32 h 92"/>
                  <a:gd name="T78" fmla="*/ 18 w 89"/>
                  <a:gd name="T79" fmla="*/ 35 h 92"/>
                  <a:gd name="T80" fmla="*/ 0 w 89"/>
                  <a:gd name="T81" fmla="*/ 49 h 92"/>
                  <a:gd name="T82" fmla="*/ 5 w 89"/>
                  <a:gd name="T83" fmla="*/ 64 h 92"/>
                  <a:gd name="T84" fmla="*/ 29 w 89"/>
                  <a:gd name="T85" fmla="*/ 78 h 92"/>
                  <a:gd name="T86" fmla="*/ 30 w 89"/>
                  <a:gd name="T87" fmla="*/ 81 h 92"/>
                  <a:gd name="T88" fmla="*/ 36 w 89"/>
                  <a:gd name="T89" fmla="*/ 81 h 92"/>
                  <a:gd name="T90" fmla="*/ 37 w 89"/>
                  <a:gd name="T91" fmla="*/ 87 h 92"/>
                  <a:gd name="T92" fmla="*/ 43 w 89"/>
                  <a:gd name="T93" fmla="*/ 90 h 92"/>
                  <a:gd name="T94" fmla="*/ 59 w 89"/>
                  <a:gd name="T95" fmla="*/ 92 h 92"/>
                  <a:gd name="T96" fmla="*/ 67 w 89"/>
                  <a:gd name="T97" fmla="*/ 86 h 92"/>
                  <a:gd name="T98" fmla="*/ 73 w 89"/>
                  <a:gd name="T99" fmla="*/ 79 h 92"/>
                  <a:gd name="T100" fmla="*/ 78 w 89"/>
                  <a:gd name="T101" fmla="*/ 80 h 92"/>
                  <a:gd name="T102" fmla="*/ 80 w 89"/>
                  <a:gd name="T103" fmla="*/ 80 h 92"/>
                  <a:gd name="T104" fmla="*/ 81 w 89"/>
                  <a:gd name="T105" fmla="*/ 82 h 92"/>
                  <a:gd name="T106" fmla="*/ 85 w 89"/>
                  <a:gd name="T107" fmla="*/ 83 h 92"/>
                  <a:gd name="T108" fmla="*/ 86 w 89"/>
                  <a:gd name="T109" fmla="*/ 81 h 92"/>
                  <a:gd name="T110" fmla="*/ 88 w 89"/>
                  <a:gd name="T111" fmla="*/ 83 h 92"/>
                  <a:gd name="T112" fmla="*/ 89 w 89"/>
                  <a:gd name="T113" fmla="*/ 8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92">
                    <a:moveTo>
                      <a:pt x="89" y="83"/>
                    </a:moveTo>
                    <a:cubicBezTo>
                      <a:pt x="88" y="82"/>
                      <a:pt x="88" y="82"/>
                      <a:pt x="88" y="82"/>
                    </a:cubicBezTo>
                    <a:cubicBezTo>
                      <a:pt x="88" y="82"/>
                      <a:pt x="87" y="82"/>
                      <a:pt x="86" y="80"/>
                    </a:cubicBezTo>
                    <a:cubicBezTo>
                      <a:pt x="85" y="78"/>
                      <a:pt x="83" y="78"/>
                      <a:pt x="83" y="78"/>
                    </a:cubicBezTo>
                    <a:cubicBezTo>
                      <a:pt x="83" y="73"/>
                      <a:pt x="83" y="73"/>
                      <a:pt x="83" y="73"/>
                    </a:cubicBezTo>
                    <a:cubicBezTo>
                      <a:pt x="81" y="73"/>
                      <a:pt x="81" y="73"/>
                      <a:pt x="81" y="73"/>
                    </a:cubicBezTo>
                    <a:cubicBezTo>
                      <a:pt x="80" y="70"/>
                      <a:pt x="80" y="69"/>
                      <a:pt x="80" y="66"/>
                    </a:cubicBezTo>
                    <a:cubicBezTo>
                      <a:pt x="81" y="63"/>
                      <a:pt x="80" y="63"/>
                      <a:pt x="78" y="61"/>
                    </a:cubicBezTo>
                    <a:cubicBezTo>
                      <a:pt x="76" y="58"/>
                      <a:pt x="76" y="57"/>
                      <a:pt x="75" y="55"/>
                    </a:cubicBezTo>
                    <a:cubicBezTo>
                      <a:pt x="74" y="53"/>
                      <a:pt x="73" y="54"/>
                      <a:pt x="70" y="54"/>
                    </a:cubicBezTo>
                    <a:cubicBezTo>
                      <a:pt x="67" y="54"/>
                      <a:pt x="71" y="54"/>
                      <a:pt x="71" y="52"/>
                    </a:cubicBezTo>
                    <a:cubicBezTo>
                      <a:pt x="70" y="50"/>
                      <a:pt x="66" y="46"/>
                      <a:pt x="64" y="45"/>
                    </a:cubicBezTo>
                    <a:cubicBezTo>
                      <a:pt x="61" y="45"/>
                      <a:pt x="61" y="39"/>
                      <a:pt x="59" y="38"/>
                    </a:cubicBezTo>
                    <a:cubicBezTo>
                      <a:pt x="57" y="37"/>
                      <a:pt x="58" y="35"/>
                      <a:pt x="57" y="34"/>
                    </a:cubicBezTo>
                    <a:cubicBezTo>
                      <a:pt x="56" y="32"/>
                      <a:pt x="60" y="34"/>
                      <a:pt x="58" y="29"/>
                    </a:cubicBezTo>
                    <a:cubicBezTo>
                      <a:pt x="57" y="27"/>
                      <a:pt x="60" y="30"/>
                      <a:pt x="61" y="28"/>
                    </a:cubicBezTo>
                    <a:cubicBezTo>
                      <a:pt x="62" y="27"/>
                      <a:pt x="62" y="26"/>
                      <a:pt x="61" y="23"/>
                    </a:cubicBezTo>
                    <a:cubicBezTo>
                      <a:pt x="60" y="21"/>
                      <a:pt x="63" y="23"/>
                      <a:pt x="65" y="21"/>
                    </a:cubicBezTo>
                    <a:cubicBezTo>
                      <a:pt x="66" y="20"/>
                      <a:pt x="64" y="19"/>
                      <a:pt x="64" y="19"/>
                    </a:cubicBezTo>
                    <a:cubicBezTo>
                      <a:pt x="64" y="19"/>
                      <a:pt x="62" y="20"/>
                      <a:pt x="60" y="19"/>
                    </a:cubicBezTo>
                    <a:cubicBezTo>
                      <a:pt x="58" y="18"/>
                      <a:pt x="58" y="18"/>
                      <a:pt x="56" y="18"/>
                    </a:cubicBezTo>
                    <a:cubicBezTo>
                      <a:pt x="55" y="18"/>
                      <a:pt x="55" y="16"/>
                      <a:pt x="53" y="16"/>
                    </a:cubicBezTo>
                    <a:cubicBezTo>
                      <a:pt x="51" y="16"/>
                      <a:pt x="53" y="13"/>
                      <a:pt x="51" y="13"/>
                    </a:cubicBezTo>
                    <a:cubicBezTo>
                      <a:pt x="49" y="13"/>
                      <a:pt x="52" y="10"/>
                      <a:pt x="50" y="10"/>
                    </a:cubicBezTo>
                    <a:cubicBezTo>
                      <a:pt x="48" y="10"/>
                      <a:pt x="51" y="8"/>
                      <a:pt x="50" y="7"/>
                    </a:cubicBezTo>
                    <a:cubicBezTo>
                      <a:pt x="49" y="5"/>
                      <a:pt x="48" y="2"/>
                      <a:pt x="48" y="2"/>
                    </a:cubicBezTo>
                    <a:cubicBezTo>
                      <a:pt x="45" y="1"/>
                      <a:pt x="45" y="1"/>
                      <a:pt x="45" y="1"/>
                    </a:cubicBezTo>
                    <a:cubicBezTo>
                      <a:pt x="42" y="3"/>
                      <a:pt x="42" y="3"/>
                      <a:pt x="42" y="3"/>
                    </a:cubicBezTo>
                    <a:cubicBezTo>
                      <a:pt x="41" y="1"/>
                      <a:pt x="41" y="1"/>
                      <a:pt x="41" y="1"/>
                    </a:cubicBezTo>
                    <a:cubicBezTo>
                      <a:pt x="39" y="0"/>
                      <a:pt x="39" y="0"/>
                      <a:pt x="39" y="0"/>
                    </a:cubicBezTo>
                    <a:cubicBezTo>
                      <a:pt x="39" y="0"/>
                      <a:pt x="38" y="1"/>
                      <a:pt x="37" y="2"/>
                    </a:cubicBezTo>
                    <a:cubicBezTo>
                      <a:pt x="36" y="4"/>
                      <a:pt x="33" y="0"/>
                      <a:pt x="31" y="1"/>
                    </a:cubicBezTo>
                    <a:cubicBezTo>
                      <a:pt x="31" y="2"/>
                      <a:pt x="30" y="2"/>
                      <a:pt x="29" y="2"/>
                    </a:cubicBezTo>
                    <a:cubicBezTo>
                      <a:pt x="29" y="2"/>
                      <a:pt x="29" y="6"/>
                      <a:pt x="27" y="8"/>
                    </a:cubicBezTo>
                    <a:cubicBezTo>
                      <a:pt x="25" y="9"/>
                      <a:pt x="23" y="10"/>
                      <a:pt x="23" y="13"/>
                    </a:cubicBezTo>
                    <a:cubicBezTo>
                      <a:pt x="23" y="16"/>
                      <a:pt x="24" y="15"/>
                      <a:pt x="24" y="17"/>
                    </a:cubicBezTo>
                    <a:cubicBezTo>
                      <a:pt x="23" y="20"/>
                      <a:pt x="21" y="20"/>
                      <a:pt x="22" y="23"/>
                    </a:cubicBezTo>
                    <a:cubicBezTo>
                      <a:pt x="23" y="26"/>
                      <a:pt x="23" y="25"/>
                      <a:pt x="22" y="27"/>
                    </a:cubicBezTo>
                    <a:cubicBezTo>
                      <a:pt x="21" y="30"/>
                      <a:pt x="21" y="30"/>
                      <a:pt x="20" y="32"/>
                    </a:cubicBezTo>
                    <a:cubicBezTo>
                      <a:pt x="19" y="34"/>
                      <a:pt x="18" y="35"/>
                      <a:pt x="18" y="35"/>
                    </a:cubicBezTo>
                    <a:cubicBezTo>
                      <a:pt x="0" y="49"/>
                      <a:pt x="0" y="49"/>
                      <a:pt x="0" y="49"/>
                    </a:cubicBezTo>
                    <a:cubicBezTo>
                      <a:pt x="5" y="64"/>
                      <a:pt x="5" y="64"/>
                      <a:pt x="5" y="64"/>
                    </a:cubicBezTo>
                    <a:cubicBezTo>
                      <a:pt x="29" y="78"/>
                      <a:pt x="29" y="78"/>
                      <a:pt x="29" y="78"/>
                    </a:cubicBezTo>
                    <a:cubicBezTo>
                      <a:pt x="30" y="81"/>
                      <a:pt x="30" y="81"/>
                      <a:pt x="30" y="81"/>
                    </a:cubicBezTo>
                    <a:cubicBezTo>
                      <a:pt x="36" y="81"/>
                      <a:pt x="36" y="81"/>
                      <a:pt x="36" y="81"/>
                    </a:cubicBezTo>
                    <a:cubicBezTo>
                      <a:pt x="37" y="87"/>
                      <a:pt x="37" y="87"/>
                      <a:pt x="37" y="87"/>
                    </a:cubicBezTo>
                    <a:cubicBezTo>
                      <a:pt x="43" y="90"/>
                      <a:pt x="43" y="90"/>
                      <a:pt x="43" y="90"/>
                    </a:cubicBezTo>
                    <a:cubicBezTo>
                      <a:pt x="59" y="92"/>
                      <a:pt x="59" y="92"/>
                      <a:pt x="59" y="92"/>
                    </a:cubicBezTo>
                    <a:cubicBezTo>
                      <a:pt x="59" y="92"/>
                      <a:pt x="65" y="88"/>
                      <a:pt x="67" y="86"/>
                    </a:cubicBezTo>
                    <a:cubicBezTo>
                      <a:pt x="69" y="83"/>
                      <a:pt x="71" y="78"/>
                      <a:pt x="73" y="79"/>
                    </a:cubicBezTo>
                    <a:cubicBezTo>
                      <a:pt x="76" y="80"/>
                      <a:pt x="78" y="80"/>
                      <a:pt x="78" y="80"/>
                    </a:cubicBezTo>
                    <a:cubicBezTo>
                      <a:pt x="78" y="80"/>
                      <a:pt x="79" y="80"/>
                      <a:pt x="80" y="80"/>
                    </a:cubicBezTo>
                    <a:cubicBezTo>
                      <a:pt x="80" y="80"/>
                      <a:pt x="81" y="82"/>
                      <a:pt x="81" y="82"/>
                    </a:cubicBezTo>
                    <a:cubicBezTo>
                      <a:pt x="82" y="83"/>
                      <a:pt x="83" y="83"/>
                      <a:pt x="85" y="83"/>
                    </a:cubicBezTo>
                    <a:cubicBezTo>
                      <a:pt x="85" y="83"/>
                      <a:pt x="85" y="81"/>
                      <a:pt x="86" y="81"/>
                    </a:cubicBezTo>
                    <a:cubicBezTo>
                      <a:pt x="86" y="81"/>
                      <a:pt x="88" y="83"/>
                      <a:pt x="88" y="83"/>
                    </a:cubicBezTo>
                    <a:cubicBezTo>
                      <a:pt x="88" y="83"/>
                      <a:pt x="88" y="83"/>
                      <a:pt x="89" y="8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23" name="Freeform 202">
                <a:extLst>
                  <a:ext uri="{FF2B5EF4-FFF2-40B4-BE49-F238E27FC236}">
                    <a16:creationId xmlns:a16="http://schemas.microsoft.com/office/drawing/2014/main" id="{93468C27-6977-0B6E-CD5A-E54F57DA483C}"/>
                  </a:ext>
                </a:extLst>
              </p:cNvPr>
              <p:cNvSpPr>
                <a:spLocks noEditPoints="1"/>
              </p:cNvSpPr>
              <p:nvPr/>
            </p:nvSpPr>
            <p:spPr bwMode="auto">
              <a:xfrm>
                <a:off x="3861" y="1385"/>
                <a:ext cx="333" cy="338"/>
              </a:xfrm>
              <a:custGeom>
                <a:avLst/>
                <a:gdLst>
                  <a:gd name="T0" fmla="*/ 156 w 170"/>
                  <a:gd name="T1" fmla="*/ 154 h 172"/>
                  <a:gd name="T2" fmla="*/ 170 w 170"/>
                  <a:gd name="T3" fmla="*/ 148 h 172"/>
                  <a:gd name="T4" fmla="*/ 165 w 170"/>
                  <a:gd name="T5" fmla="*/ 138 h 172"/>
                  <a:gd name="T6" fmla="*/ 155 w 170"/>
                  <a:gd name="T7" fmla="*/ 127 h 172"/>
                  <a:gd name="T8" fmla="*/ 151 w 170"/>
                  <a:gd name="T9" fmla="*/ 113 h 172"/>
                  <a:gd name="T10" fmla="*/ 159 w 170"/>
                  <a:gd name="T11" fmla="*/ 97 h 172"/>
                  <a:gd name="T12" fmla="*/ 150 w 170"/>
                  <a:gd name="T13" fmla="*/ 89 h 172"/>
                  <a:gd name="T14" fmla="*/ 145 w 170"/>
                  <a:gd name="T15" fmla="*/ 76 h 172"/>
                  <a:gd name="T16" fmla="*/ 145 w 170"/>
                  <a:gd name="T17" fmla="*/ 70 h 172"/>
                  <a:gd name="T18" fmla="*/ 149 w 170"/>
                  <a:gd name="T19" fmla="*/ 58 h 172"/>
                  <a:gd name="T20" fmla="*/ 156 w 170"/>
                  <a:gd name="T21" fmla="*/ 51 h 172"/>
                  <a:gd name="T22" fmla="*/ 156 w 170"/>
                  <a:gd name="T23" fmla="*/ 39 h 172"/>
                  <a:gd name="T24" fmla="*/ 148 w 170"/>
                  <a:gd name="T25" fmla="*/ 31 h 172"/>
                  <a:gd name="T26" fmla="*/ 134 w 170"/>
                  <a:gd name="T27" fmla="*/ 24 h 172"/>
                  <a:gd name="T28" fmla="*/ 120 w 170"/>
                  <a:gd name="T29" fmla="*/ 19 h 172"/>
                  <a:gd name="T30" fmla="*/ 103 w 170"/>
                  <a:gd name="T31" fmla="*/ 20 h 172"/>
                  <a:gd name="T32" fmla="*/ 94 w 170"/>
                  <a:gd name="T33" fmla="*/ 23 h 172"/>
                  <a:gd name="T34" fmla="*/ 85 w 170"/>
                  <a:gd name="T35" fmla="*/ 28 h 172"/>
                  <a:gd name="T36" fmla="*/ 81 w 170"/>
                  <a:gd name="T37" fmla="*/ 35 h 172"/>
                  <a:gd name="T38" fmla="*/ 56 w 170"/>
                  <a:gd name="T39" fmla="*/ 32 h 172"/>
                  <a:gd name="T40" fmla="*/ 50 w 170"/>
                  <a:gd name="T41" fmla="*/ 27 h 172"/>
                  <a:gd name="T42" fmla="*/ 41 w 170"/>
                  <a:gd name="T43" fmla="*/ 14 h 172"/>
                  <a:gd name="T44" fmla="*/ 36 w 170"/>
                  <a:gd name="T45" fmla="*/ 6 h 172"/>
                  <a:gd name="T46" fmla="*/ 27 w 170"/>
                  <a:gd name="T47" fmla="*/ 7 h 172"/>
                  <a:gd name="T48" fmla="*/ 19 w 170"/>
                  <a:gd name="T49" fmla="*/ 11 h 172"/>
                  <a:gd name="T50" fmla="*/ 11 w 170"/>
                  <a:gd name="T51" fmla="*/ 3 h 172"/>
                  <a:gd name="T52" fmla="*/ 6 w 170"/>
                  <a:gd name="T53" fmla="*/ 4 h 172"/>
                  <a:gd name="T54" fmla="*/ 3 w 170"/>
                  <a:gd name="T55" fmla="*/ 13 h 172"/>
                  <a:gd name="T56" fmla="*/ 6 w 170"/>
                  <a:gd name="T57" fmla="*/ 29 h 172"/>
                  <a:gd name="T58" fmla="*/ 7 w 170"/>
                  <a:gd name="T59" fmla="*/ 40 h 172"/>
                  <a:gd name="T60" fmla="*/ 13 w 170"/>
                  <a:gd name="T61" fmla="*/ 48 h 172"/>
                  <a:gd name="T62" fmla="*/ 22 w 170"/>
                  <a:gd name="T63" fmla="*/ 51 h 172"/>
                  <a:gd name="T64" fmla="*/ 15 w 170"/>
                  <a:gd name="T65" fmla="*/ 59 h 172"/>
                  <a:gd name="T66" fmla="*/ 21 w 170"/>
                  <a:gd name="T67" fmla="*/ 75 h 172"/>
                  <a:gd name="T68" fmla="*/ 32 w 170"/>
                  <a:gd name="T69" fmla="*/ 85 h 172"/>
                  <a:gd name="T70" fmla="*/ 38 w 170"/>
                  <a:gd name="T71" fmla="*/ 103 h 172"/>
                  <a:gd name="T72" fmla="*/ 43 w 170"/>
                  <a:gd name="T73" fmla="*/ 110 h 172"/>
                  <a:gd name="T74" fmla="*/ 54 w 170"/>
                  <a:gd name="T75" fmla="*/ 113 h 172"/>
                  <a:gd name="T76" fmla="*/ 60 w 170"/>
                  <a:gd name="T77" fmla="*/ 126 h 172"/>
                  <a:gd name="T78" fmla="*/ 63 w 170"/>
                  <a:gd name="T79" fmla="*/ 135 h 172"/>
                  <a:gd name="T80" fmla="*/ 71 w 170"/>
                  <a:gd name="T81" fmla="*/ 145 h 172"/>
                  <a:gd name="T82" fmla="*/ 78 w 170"/>
                  <a:gd name="T83" fmla="*/ 153 h 172"/>
                  <a:gd name="T84" fmla="*/ 85 w 170"/>
                  <a:gd name="T85" fmla="*/ 155 h 172"/>
                  <a:gd name="T86" fmla="*/ 108 w 170"/>
                  <a:gd name="T87" fmla="*/ 148 h 172"/>
                  <a:gd name="T88" fmla="*/ 131 w 170"/>
                  <a:gd name="T89" fmla="*/ 168 h 172"/>
                  <a:gd name="T90" fmla="*/ 146 w 170"/>
                  <a:gd name="T91" fmla="*/ 170 h 172"/>
                  <a:gd name="T92" fmla="*/ 6 w 170"/>
                  <a:gd name="T93" fmla="*/ 18 h 172"/>
                  <a:gd name="T94" fmla="*/ 16 w 170"/>
                  <a:gd name="T95" fmla="*/ 31 h 172"/>
                  <a:gd name="T96" fmla="*/ 10 w 170"/>
                  <a:gd name="T97" fmla="*/ 32 h 172"/>
                  <a:gd name="T98" fmla="*/ 8 w 170"/>
                  <a:gd name="T99"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0" h="172">
                    <a:moveTo>
                      <a:pt x="149" y="172"/>
                    </a:moveTo>
                    <a:cubicBezTo>
                      <a:pt x="150" y="162"/>
                      <a:pt x="150" y="162"/>
                      <a:pt x="150" y="162"/>
                    </a:cubicBezTo>
                    <a:cubicBezTo>
                      <a:pt x="156" y="154"/>
                      <a:pt x="156" y="154"/>
                      <a:pt x="156" y="154"/>
                    </a:cubicBezTo>
                    <a:cubicBezTo>
                      <a:pt x="161" y="153"/>
                      <a:pt x="161" y="153"/>
                      <a:pt x="161" y="153"/>
                    </a:cubicBezTo>
                    <a:cubicBezTo>
                      <a:pt x="166" y="151"/>
                      <a:pt x="166" y="151"/>
                      <a:pt x="166" y="151"/>
                    </a:cubicBezTo>
                    <a:cubicBezTo>
                      <a:pt x="170" y="148"/>
                      <a:pt x="170" y="148"/>
                      <a:pt x="170" y="148"/>
                    </a:cubicBezTo>
                    <a:cubicBezTo>
                      <a:pt x="170" y="145"/>
                      <a:pt x="170" y="145"/>
                      <a:pt x="170" y="145"/>
                    </a:cubicBezTo>
                    <a:cubicBezTo>
                      <a:pt x="166" y="143"/>
                      <a:pt x="166" y="143"/>
                      <a:pt x="166" y="143"/>
                    </a:cubicBezTo>
                    <a:cubicBezTo>
                      <a:pt x="165" y="138"/>
                      <a:pt x="165" y="138"/>
                      <a:pt x="165" y="138"/>
                    </a:cubicBezTo>
                    <a:cubicBezTo>
                      <a:pt x="163" y="134"/>
                      <a:pt x="163" y="134"/>
                      <a:pt x="163" y="134"/>
                    </a:cubicBezTo>
                    <a:cubicBezTo>
                      <a:pt x="159" y="133"/>
                      <a:pt x="159" y="133"/>
                      <a:pt x="159" y="133"/>
                    </a:cubicBezTo>
                    <a:cubicBezTo>
                      <a:pt x="155" y="127"/>
                      <a:pt x="155" y="127"/>
                      <a:pt x="155" y="127"/>
                    </a:cubicBezTo>
                    <a:cubicBezTo>
                      <a:pt x="154" y="124"/>
                      <a:pt x="154" y="124"/>
                      <a:pt x="154" y="124"/>
                    </a:cubicBezTo>
                    <a:cubicBezTo>
                      <a:pt x="155" y="122"/>
                      <a:pt x="155" y="122"/>
                      <a:pt x="155" y="122"/>
                    </a:cubicBezTo>
                    <a:cubicBezTo>
                      <a:pt x="151" y="113"/>
                      <a:pt x="151" y="113"/>
                      <a:pt x="151" y="113"/>
                    </a:cubicBezTo>
                    <a:cubicBezTo>
                      <a:pt x="161" y="102"/>
                      <a:pt x="161" y="102"/>
                      <a:pt x="161" y="102"/>
                    </a:cubicBezTo>
                    <a:cubicBezTo>
                      <a:pt x="161" y="99"/>
                      <a:pt x="161" y="99"/>
                      <a:pt x="161" y="99"/>
                    </a:cubicBezTo>
                    <a:cubicBezTo>
                      <a:pt x="159" y="97"/>
                      <a:pt x="159" y="97"/>
                      <a:pt x="159" y="97"/>
                    </a:cubicBezTo>
                    <a:cubicBezTo>
                      <a:pt x="151" y="96"/>
                      <a:pt x="151" y="96"/>
                      <a:pt x="151" y="96"/>
                    </a:cubicBezTo>
                    <a:cubicBezTo>
                      <a:pt x="151" y="94"/>
                      <a:pt x="151" y="94"/>
                      <a:pt x="151" y="94"/>
                    </a:cubicBezTo>
                    <a:cubicBezTo>
                      <a:pt x="150" y="89"/>
                      <a:pt x="150" y="89"/>
                      <a:pt x="150" y="89"/>
                    </a:cubicBezTo>
                    <a:cubicBezTo>
                      <a:pt x="149" y="84"/>
                      <a:pt x="149" y="84"/>
                      <a:pt x="149" y="84"/>
                    </a:cubicBezTo>
                    <a:cubicBezTo>
                      <a:pt x="145" y="80"/>
                      <a:pt x="145" y="80"/>
                      <a:pt x="145" y="80"/>
                    </a:cubicBezTo>
                    <a:cubicBezTo>
                      <a:pt x="145" y="76"/>
                      <a:pt x="145" y="76"/>
                      <a:pt x="145" y="76"/>
                    </a:cubicBezTo>
                    <a:cubicBezTo>
                      <a:pt x="148" y="74"/>
                      <a:pt x="148" y="74"/>
                      <a:pt x="148" y="74"/>
                    </a:cubicBezTo>
                    <a:cubicBezTo>
                      <a:pt x="145" y="72"/>
                      <a:pt x="145" y="72"/>
                      <a:pt x="145" y="72"/>
                    </a:cubicBezTo>
                    <a:cubicBezTo>
                      <a:pt x="145" y="70"/>
                      <a:pt x="145" y="70"/>
                      <a:pt x="145" y="70"/>
                    </a:cubicBezTo>
                    <a:cubicBezTo>
                      <a:pt x="146" y="63"/>
                      <a:pt x="146" y="63"/>
                      <a:pt x="146" y="63"/>
                    </a:cubicBezTo>
                    <a:cubicBezTo>
                      <a:pt x="147" y="59"/>
                      <a:pt x="147" y="59"/>
                      <a:pt x="147" y="59"/>
                    </a:cubicBezTo>
                    <a:cubicBezTo>
                      <a:pt x="149" y="58"/>
                      <a:pt x="149" y="58"/>
                      <a:pt x="149" y="58"/>
                    </a:cubicBezTo>
                    <a:cubicBezTo>
                      <a:pt x="153" y="58"/>
                      <a:pt x="153" y="58"/>
                      <a:pt x="153" y="58"/>
                    </a:cubicBezTo>
                    <a:cubicBezTo>
                      <a:pt x="154" y="55"/>
                      <a:pt x="154" y="55"/>
                      <a:pt x="154" y="55"/>
                    </a:cubicBezTo>
                    <a:cubicBezTo>
                      <a:pt x="156" y="51"/>
                      <a:pt x="156" y="51"/>
                      <a:pt x="156" y="51"/>
                    </a:cubicBezTo>
                    <a:cubicBezTo>
                      <a:pt x="157" y="47"/>
                      <a:pt x="157" y="47"/>
                      <a:pt x="157" y="47"/>
                    </a:cubicBezTo>
                    <a:cubicBezTo>
                      <a:pt x="156" y="43"/>
                      <a:pt x="156" y="43"/>
                      <a:pt x="156" y="43"/>
                    </a:cubicBezTo>
                    <a:cubicBezTo>
                      <a:pt x="156" y="39"/>
                      <a:pt x="156" y="39"/>
                      <a:pt x="156" y="39"/>
                    </a:cubicBezTo>
                    <a:cubicBezTo>
                      <a:pt x="151" y="38"/>
                      <a:pt x="151" y="38"/>
                      <a:pt x="151" y="38"/>
                    </a:cubicBezTo>
                    <a:cubicBezTo>
                      <a:pt x="150" y="34"/>
                      <a:pt x="150" y="34"/>
                      <a:pt x="150" y="34"/>
                    </a:cubicBezTo>
                    <a:cubicBezTo>
                      <a:pt x="148" y="31"/>
                      <a:pt x="148" y="31"/>
                      <a:pt x="148" y="31"/>
                    </a:cubicBezTo>
                    <a:cubicBezTo>
                      <a:pt x="145" y="29"/>
                      <a:pt x="145" y="29"/>
                      <a:pt x="145" y="29"/>
                    </a:cubicBezTo>
                    <a:cubicBezTo>
                      <a:pt x="140" y="26"/>
                      <a:pt x="140" y="26"/>
                      <a:pt x="140" y="26"/>
                    </a:cubicBezTo>
                    <a:cubicBezTo>
                      <a:pt x="134" y="24"/>
                      <a:pt x="134" y="24"/>
                      <a:pt x="134" y="24"/>
                    </a:cubicBezTo>
                    <a:cubicBezTo>
                      <a:pt x="128" y="21"/>
                      <a:pt x="128" y="21"/>
                      <a:pt x="128" y="21"/>
                    </a:cubicBezTo>
                    <a:cubicBezTo>
                      <a:pt x="126" y="20"/>
                      <a:pt x="126" y="20"/>
                      <a:pt x="126" y="20"/>
                    </a:cubicBezTo>
                    <a:cubicBezTo>
                      <a:pt x="120" y="19"/>
                      <a:pt x="120" y="19"/>
                      <a:pt x="120" y="19"/>
                    </a:cubicBezTo>
                    <a:cubicBezTo>
                      <a:pt x="110" y="17"/>
                      <a:pt x="110" y="17"/>
                      <a:pt x="110" y="17"/>
                    </a:cubicBezTo>
                    <a:cubicBezTo>
                      <a:pt x="106" y="19"/>
                      <a:pt x="106" y="19"/>
                      <a:pt x="106" y="19"/>
                    </a:cubicBezTo>
                    <a:cubicBezTo>
                      <a:pt x="103" y="20"/>
                      <a:pt x="103" y="20"/>
                      <a:pt x="103" y="20"/>
                    </a:cubicBezTo>
                    <a:cubicBezTo>
                      <a:pt x="98" y="19"/>
                      <a:pt x="98" y="19"/>
                      <a:pt x="98" y="19"/>
                    </a:cubicBezTo>
                    <a:cubicBezTo>
                      <a:pt x="95" y="21"/>
                      <a:pt x="95" y="21"/>
                      <a:pt x="95" y="21"/>
                    </a:cubicBezTo>
                    <a:cubicBezTo>
                      <a:pt x="94" y="23"/>
                      <a:pt x="94" y="23"/>
                      <a:pt x="94" y="23"/>
                    </a:cubicBezTo>
                    <a:cubicBezTo>
                      <a:pt x="93" y="25"/>
                      <a:pt x="93" y="25"/>
                      <a:pt x="93" y="25"/>
                    </a:cubicBezTo>
                    <a:cubicBezTo>
                      <a:pt x="91" y="29"/>
                      <a:pt x="91" y="29"/>
                      <a:pt x="91" y="29"/>
                    </a:cubicBezTo>
                    <a:cubicBezTo>
                      <a:pt x="85" y="28"/>
                      <a:pt x="85" y="28"/>
                      <a:pt x="85" y="28"/>
                    </a:cubicBezTo>
                    <a:cubicBezTo>
                      <a:pt x="86" y="30"/>
                      <a:pt x="85" y="33"/>
                      <a:pt x="85" y="35"/>
                    </a:cubicBezTo>
                    <a:cubicBezTo>
                      <a:pt x="85" y="35"/>
                      <a:pt x="84" y="36"/>
                      <a:pt x="84" y="36"/>
                    </a:cubicBezTo>
                    <a:cubicBezTo>
                      <a:pt x="83" y="37"/>
                      <a:pt x="81" y="35"/>
                      <a:pt x="81" y="35"/>
                    </a:cubicBezTo>
                    <a:cubicBezTo>
                      <a:pt x="83" y="36"/>
                      <a:pt x="81" y="34"/>
                      <a:pt x="78" y="34"/>
                    </a:cubicBezTo>
                    <a:cubicBezTo>
                      <a:pt x="76" y="34"/>
                      <a:pt x="70" y="39"/>
                      <a:pt x="69" y="39"/>
                    </a:cubicBezTo>
                    <a:cubicBezTo>
                      <a:pt x="67" y="39"/>
                      <a:pt x="58" y="33"/>
                      <a:pt x="56" y="32"/>
                    </a:cubicBezTo>
                    <a:cubicBezTo>
                      <a:pt x="56" y="31"/>
                      <a:pt x="54" y="29"/>
                      <a:pt x="54" y="29"/>
                    </a:cubicBezTo>
                    <a:cubicBezTo>
                      <a:pt x="53" y="28"/>
                      <a:pt x="52" y="29"/>
                      <a:pt x="51" y="29"/>
                    </a:cubicBezTo>
                    <a:cubicBezTo>
                      <a:pt x="50" y="27"/>
                      <a:pt x="50" y="27"/>
                      <a:pt x="50" y="27"/>
                    </a:cubicBezTo>
                    <a:cubicBezTo>
                      <a:pt x="48" y="27"/>
                      <a:pt x="47" y="32"/>
                      <a:pt x="44" y="27"/>
                    </a:cubicBezTo>
                    <a:cubicBezTo>
                      <a:pt x="44" y="26"/>
                      <a:pt x="44" y="26"/>
                      <a:pt x="44" y="26"/>
                    </a:cubicBezTo>
                    <a:cubicBezTo>
                      <a:pt x="42" y="23"/>
                      <a:pt x="41" y="18"/>
                      <a:pt x="41" y="14"/>
                    </a:cubicBezTo>
                    <a:cubicBezTo>
                      <a:pt x="41" y="14"/>
                      <a:pt x="39" y="13"/>
                      <a:pt x="38" y="12"/>
                    </a:cubicBezTo>
                    <a:cubicBezTo>
                      <a:pt x="36" y="11"/>
                      <a:pt x="37" y="11"/>
                      <a:pt x="36" y="9"/>
                    </a:cubicBezTo>
                    <a:cubicBezTo>
                      <a:pt x="37" y="7"/>
                      <a:pt x="33" y="6"/>
                      <a:pt x="36" y="6"/>
                    </a:cubicBezTo>
                    <a:cubicBezTo>
                      <a:pt x="37" y="6"/>
                      <a:pt x="36" y="4"/>
                      <a:pt x="35" y="2"/>
                    </a:cubicBezTo>
                    <a:cubicBezTo>
                      <a:pt x="33" y="0"/>
                      <a:pt x="34" y="3"/>
                      <a:pt x="32" y="3"/>
                    </a:cubicBezTo>
                    <a:cubicBezTo>
                      <a:pt x="30" y="4"/>
                      <a:pt x="27" y="7"/>
                      <a:pt x="27" y="7"/>
                    </a:cubicBezTo>
                    <a:cubicBezTo>
                      <a:pt x="27" y="7"/>
                      <a:pt x="27" y="8"/>
                      <a:pt x="26" y="9"/>
                    </a:cubicBezTo>
                    <a:cubicBezTo>
                      <a:pt x="24" y="10"/>
                      <a:pt x="24" y="10"/>
                      <a:pt x="23" y="10"/>
                    </a:cubicBezTo>
                    <a:cubicBezTo>
                      <a:pt x="23" y="10"/>
                      <a:pt x="20" y="11"/>
                      <a:pt x="19" y="11"/>
                    </a:cubicBezTo>
                    <a:cubicBezTo>
                      <a:pt x="17" y="11"/>
                      <a:pt x="17" y="11"/>
                      <a:pt x="16" y="10"/>
                    </a:cubicBezTo>
                    <a:cubicBezTo>
                      <a:pt x="14" y="9"/>
                      <a:pt x="15" y="7"/>
                      <a:pt x="13" y="6"/>
                    </a:cubicBezTo>
                    <a:cubicBezTo>
                      <a:pt x="11" y="4"/>
                      <a:pt x="11" y="3"/>
                      <a:pt x="11" y="3"/>
                    </a:cubicBezTo>
                    <a:cubicBezTo>
                      <a:pt x="10" y="3"/>
                      <a:pt x="10" y="3"/>
                      <a:pt x="10" y="3"/>
                    </a:cubicBezTo>
                    <a:cubicBezTo>
                      <a:pt x="9" y="6"/>
                      <a:pt x="9" y="6"/>
                      <a:pt x="9" y="6"/>
                    </a:cubicBezTo>
                    <a:cubicBezTo>
                      <a:pt x="9" y="6"/>
                      <a:pt x="7" y="6"/>
                      <a:pt x="6" y="4"/>
                    </a:cubicBezTo>
                    <a:cubicBezTo>
                      <a:pt x="4" y="3"/>
                      <a:pt x="5" y="5"/>
                      <a:pt x="3" y="6"/>
                    </a:cubicBezTo>
                    <a:cubicBezTo>
                      <a:pt x="1" y="8"/>
                      <a:pt x="2" y="9"/>
                      <a:pt x="3" y="11"/>
                    </a:cubicBezTo>
                    <a:cubicBezTo>
                      <a:pt x="4" y="12"/>
                      <a:pt x="3" y="11"/>
                      <a:pt x="3" y="13"/>
                    </a:cubicBezTo>
                    <a:cubicBezTo>
                      <a:pt x="4" y="15"/>
                      <a:pt x="2" y="15"/>
                      <a:pt x="1" y="17"/>
                    </a:cubicBezTo>
                    <a:cubicBezTo>
                      <a:pt x="0" y="19"/>
                      <a:pt x="2" y="22"/>
                      <a:pt x="4" y="23"/>
                    </a:cubicBezTo>
                    <a:cubicBezTo>
                      <a:pt x="5" y="25"/>
                      <a:pt x="5" y="27"/>
                      <a:pt x="6" y="29"/>
                    </a:cubicBezTo>
                    <a:cubicBezTo>
                      <a:pt x="7" y="30"/>
                      <a:pt x="5" y="32"/>
                      <a:pt x="5" y="32"/>
                    </a:cubicBezTo>
                    <a:cubicBezTo>
                      <a:pt x="5" y="32"/>
                      <a:pt x="6" y="35"/>
                      <a:pt x="7" y="37"/>
                    </a:cubicBezTo>
                    <a:cubicBezTo>
                      <a:pt x="8" y="38"/>
                      <a:pt x="5" y="40"/>
                      <a:pt x="7" y="40"/>
                    </a:cubicBezTo>
                    <a:cubicBezTo>
                      <a:pt x="9" y="40"/>
                      <a:pt x="6" y="43"/>
                      <a:pt x="8" y="43"/>
                    </a:cubicBezTo>
                    <a:cubicBezTo>
                      <a:pt x="10" y="43"/>
                      <a:pt x="8" y="46"/>
                      <a:pt x="10" y="46"/>
                    </a:cubicBezTo>
                    <a:cubicBezTo>
                      <a:pt x="12" y="46"/>
                      <a:pt x="12" y="48"/>
                      <a:pt x="13" y="48"/>
                    </a:cubicBezTo>
                    <a:cubicBezTo>
                      <a:pt x="15" y="48"/>
                      <a:pt x="15" y="48"/>
                      <a:pt x="17" y="49"/>
                    </a:cubicBezTo>
                    <a:cubicBezTo>
                      <a:pt x="19" y="50"/>
                      <a:pt x="21" y="49"/>
                      <a:pt x="21" y="49"/>
                    </a:cubicBezTo>
                    <a:cubicBezTo>
                      <a:pt x="21" y="49"/>
                      <a:pt x="23" y="50"/>
                      <a:pt x="22" y="51"/>
                    </a:cubicBezTo>
                    <a:cubicBezTo>
                      <a:pt x="20" y="53"/>
                      <a:pt x="17" y="51"/>
                      <a:pt x="18" y="53"/>
                    </a:cubicBezTo>
                    <a:cubicBezTo>
                      <a:pt x="19" y="56"/>
                      <a:pt x="19" y="57"/>
                      <a:pt x="18" y="58"/>
                    </a:cubicBezTo>
                    <a:cubicBezTo>
                      <a:pt x="17" y="60"/>
                      <a:pt x="14" y="57"/>
                      <a:pt x="15" y="59"/>
                    </a:cubicBezTo>
                    <a:cubicBezTo>
                      <a:pt x="17" y="64"/>
                      <a:pt x="13" y="62"/>
                      <a:pt x="14" y="64"/>
                    </a:cubicBezTo>
                    <a:cubicBezTo>
                      <a:pt x="15" y="65"/>
                      <a:pt x="14" y="67"/>
                      <a:pt x="16" y="68"/>
                    </a:cubicBezTo>
                    <a:cubicBezTo>
                      <a:pt x="18" y="69"/>
                      <a:pt x="18" y="75"/>
                      <a:pt x="21" y="75"/>
                    </a:cubicBezTo>
                    <a:cubicBezTo>
                      <a:pt x="23" y="76"/>
                      <a:pt x="27" y="80"/>
                      <a:pt x="28" y="82"/>
                    </a:cubicBezTo>
                    <a:cubicBezTo>
                      <a:pt x="28" y="84"/>
                      <a:pt x="24" y="84"/>
                      <a:pt x="27" y="84"/>
                    </a:cubicBezTo>
                    <a:cubicBezTo>
                      <a:pt x="30" y="84"/>
                      <a:pt x="31" y="83"/>
                      <a:pt x="32" y="85"/>
                    </a:cubicBezTo>
                    <a:cubicBezTo>
                      <a:pt x="33" y="87"/>
                      <a:pt x="33" y="88"/>
                      <a:pt x="35" y="91"/>
                    </a:cubicBezTo>
                    <a:cubicBezTo>
                      <a:pt x="37" y="93"/>
                      <a:pt x="38" y="93"/>
                      <a:pt x="37" y="96"/>
                    </a:cubicBezTo>
                    <a:cubicBezTo>
                      <a:pt x="37" y="99"/>
                      <a:pt x="37" y="100"/>
                      <a:pt x="38" y="103"/>
                    </a:cubicBezTo>
                    <a:cubicBezTo>
                      <a:pt x="40" y="103"/>
                      <a:pt x="40" y="103"/>
                      <a:pt x="40" y="103"/>
                    </a:cubicBezTo>
                    <a:cubicBezTo>
                      <a:pt x="40" y="108"/>
                      <a:pt x="40" y="108"/>
                      <a:pt x="40" y="108"/>
                    </a:cubicBezTo>
                    <a:cubicBezTo>
                      <a:pt x="40" y="108"/>
                      <a:pt x="42" y="108"/>
                      <a:pt x="43" y="110"/>
                    </a:cubicBezTo>
                    <a:cubicBezTo>
                      <a:pt x="44" y="111"/>
                      <a:pt x="45" y="112"/>
                      <a:pt x="45" y="112"/>
                    </a:cubicBezTo>
                    <a:cubicBezTo>
                      <a:pt x="45" y="113"/>
                      <a:pt x="45" y="113"/>
                      <a:pt x="45" y="113"/>
                    </a:cubicBezTo>
                    <a:cubicBezTo>
                      <a:pt x="48" y="115"/>
                      <a:pt x="50" y="114"/>
                      <a:pt x="54" y="113"/>
                    </a:cubicBezTo>
                    <a:cubicBezTo>
                      <a:pt x="55" y="115"/>
                      <a:pt x="56" y="118"/>
                      <a:pt x="57" y="120"/>
                    </a:cubicBezTo>
                    <a:cubicBezTo>
                      <a:pt x="57" y="122"/>
                      <a:pt x="57" y="123"/>
                      <a:pt x="58" y="124"/>
                    </a:cubicBezTo>
                    <a:cubicBezTo>
                      <a:pt x="58" y="125"/>
                      <a:pt x="60" y="125"/>
                      <a:pt x="60" y="126"/>
                    </a:cubicBezTo>
                    <a:cubicBezTo>
                      <a:pt x="60" y="128"/>
                      <a:pt x="60" y="128"/>
                      <a:pt x="60" y="128"/>
                    </a:cubicBezTo>
                    <a:cubicBezTo>
                      <a:pt x="60" y="130"/>
                      <a:pt x="63" y="130"/>
                      <a:pt x="63" y="132"/>
                    </a:cubicBezTo>
                    <a:cubicBezTo>
                      <a:pt x="63" y="133"/>
                      <a:pt x="62" y="134"/>
                      <a:pt x="63" y="135"/>
                    </a:cubicBezTo>
                    <a:cubicBezTo>
                      <a:pt x="63" y="136"/>
                      <a:pt x="66" y="136"/>
                      <a:pt x="66" y="136"/>
                    </a:cubicBezTo>
                    <a:cubicBezTo>
                      <a:pt x="67" y="138"/>
                      <a:pt x="66" y="139"/>
                      <a:pt x="67" y="140"/>
                    </a:cubicBezTo>
                    <a:cubicBezTo>
                      <a:pt x="67" y="141"/>
                      <a:pt x="70" y="145"/>
                      <a:pt x="71" y="145"/>
                    </a:cubicBezTo>
                    <a:cubicBezTo>
                      <a:pt x="72" y="145"/>
                      <a:pt x="72" y="145"/>
                      <a:pt x="72" y="145"/>
                    </a:cubicBezTo>
                    <a:cubicBezTo>
                      <a:pt x="73" y="146"/>
                      <a:pt x="72" y="147"/>
                      <a:pt x="72" y="148"/>
                    </a:cubicBezTo>
                    <a:cubicBezTo>
                      <a:pt x="78" y="153"/>
                      <a:pt x="78" y="153"/>
                      <a:pt x="78" y="153"/>
                    </a:cubicBezTo>
                    <a:cubicBezTo>
                      <a:pt x="79" y="153"/>
                      <a:pt x="80" y="153"/>
                      <a:pt x="81" y="153"/>
                    </a:cubicBezTo>
                    <a:cubicBezTo>
                      <a:pt x="81" y="153"/>
                      <a:pt x="83" y="155"/>
                      <a:pt x="83" y="155"/>
                    </a:cubicBezTo>
                    <a:cubicBezTo>
                      <a:pt x="84" y="155"/>
                      <a:pt x="85" y="155"/>
                      <a:pt x="85" y="155"/>
                    </a:cubicBezTo>
                    <a:cubicBezTo>
                      <a:pt x="87" y="156"/>
                      <a:pt x="89" y="158"/>
                      <a:pt x="93" y="157"/>
                    </a:cubicBezTo>
                    <a:cubicBezTo>
                      <a:pt x="93" y="156"/>
                      <a:pt x="93" y="156"/>
                      <a:pt x="93" y="156"/>
                    </a:cubicBezTo>
                    <a:cubicBezTo>
                      <a:pt x="98" y="153"/>
                      <a:pt x="103" y="151"/>
                      <a:pt x="108" y="148"/>
                    </a:cubicBezTo>
                    <a:cubicBezTo>
                      <a:pt x="110" y="150"/>
                      <a:pt x="113" y="152"/>
                      <a:pt x="114" y="155"/>
                    </a:cubicBezTo>
                    <a:cubicBezTo>
                      <a:pt x="116" y="160"/>
                      <a:pt x="115" y="164"/>
                      <a:pt x="119" y="166"/>
                    </a:cubicBezTo>
                    <a:cubicBezTo>
                      <a:pt x="123" y="168"/>
                      <a:pt x="126" y="168"/>
                      <a:pt x="131" y="168"/>
                    </a:cubicBezTo>
                    <a:cubicBezTo>
                      <a:pt x="131" y="169"/>
                      <a:pt x="131" y="169"/>
                      <a:pt x="131" y="169"/>
                    </a:cubicBezTo>
                    <a:cubicBezTo>
                      <a:pt x="135" y="170"/>
                      <a:pt x="139" y="168"/>
                      <a:pt x="142" y="168"/>
                    </a:cubicBezTo>
                    <a:cubicBezTo>
                      <a:pt x="143" y="168"/>
                      <a:pt x="145" y="170"/>
                      <a:pt x="146" y="170"/>
                    </a:cubicBezTo>
                    <a:cubicBezTo>
                      <a:pt x="146" y="172"/>
                      <a:pt x="146" y="172"/>
                      <a:pt x="146" y="172"/>
                    </a:cubicBezTo>
                    <a:cubicBezTo>
                      <a:pt x="147" y="172"/>
                      <a:pt x="148" y="172"/>
                      <a:pt x="149" y="172"/>
                    </a:cubicBezTo>
                    <a:close/>
                    <a:moveTo>
                      <a:pt x="6" y="18"/>
                    </a:moveTo>
                    <a:cubicBezTo>
                      <a:pt x="11" y="18"/>
                      <a:pt x="11" y="22"/>
                      <a:pt x="13" y="25"/>
                    </a:cubicBezTo>
                    <a:cubicBezTo>
                      <a:pt x="14" y="25"/>
                      <a:pt x="16" y="26"/>
                      <a:pt x="16" y="27"/>
                    </a:cubicBezTo>
                    <a:cubicBezTo>
                      <a:pt x="16" y="28"/>
                      <a:pt x="15" y="30"/>
                      <a:pt x="16" y="31"/>
                    </a:cubicBezTo>
                    <a:cubicBezTo>
                      <a:pt x="16" y="32"/>
                      <a:pt x="23" y="31"/>
                      <a:pt x="18" y="35"/>
                    </a:cubicBezTo>
                    <a:cubicBezTo>
                      <a:pt x="16" y="38"/>
                      <a:pt x="17" y="36"/>
                      <a:pt x="13" y="37"/>
                    </a:cubicBezTo>
                    <a:cubicBezTo>
                      <a:pt x="12" y="36"/>
                      <a:pt x="11" y="33"/>
                      <a:pt x="10" y="32"/>
                    </a:cubicBezTo>
                    <a:cubicBezTo>
                      <a:pt x="10" y="31"/>
                      <a:pt x="11" y="30"/>
                      <a:pt x="10" y="29"/>
                    </a:cubicBezTo>
                    <a:cubicBezTo>
                      <a:pt x="10" y="29"/>
                      <a:pt x="8" y="28"/>
                      <a:pt x="8" y="27"/>
                    </a:cubicBezTo>
                    <a:cubicBezTo>
                      <a:pt x="7" y="26"/>
                      <a:pt x="9" y="24"/>
                      <a:pt x="8" y="23"/>
                    </a:cubicBezTo>
                    <a:cubicBezTo>
                      <a:pt x="8" y="22"/>
                      <a:pt x="6" y="21"/>
                      <a:pt x="6" y="20"/>
                    </a:cubicBezTo>
                    <a:cubicBezTo>
                      <a:pt x="6" y="20"/>
                      <a:pt x="4" y="18"/>
                      <a:pt x="6" y="1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24" name="Freeform 203">
                <a:extLst>
                  <a:ext uri="{FF2B5EF4-FFF2-40B4-BE49-F238E27FC236}">
                    <a16:creationId xmlns:a16="http://schemas.microsoft.com/office/drawing/2014/main" id="{7A50C2D4-7BCA-74FA-D2C0-DAF6D4E4695F}"/>
                  </a:ext>
                </a:extLst>
              </p:cNvPr>
              <p:cNvSpPr>
                <a:spLocks noEditPoints="1"/>
              </p:cNvSpPr>
              <p:nvPr/>
            </p:nvSpPr>
            <p:spPr bwMode="auto">
              <a:xfrm>
                <a:off x="3861" y="1385"/>
                <a:ext cx="333" cy="338"/>
              </a:xfrm>
              <a:custGeom>
                <a:avLst/>
                <a:gdLst>
                  <a:gd name="T0" fmla="*/ 156 w 170"/>
                  <a:gd name="T1" fmla="*/ 154 h 172"/>
                  <a:gd name="T2" fmla="*/ 170 w 170"/>
                  <a:gd name="T3" fmla="*/ 148 h 172"/>
                  <a:gd name="T4" fmla="*/ 165 w 170"/>
                  <a:gd name="T5" fmla="*/ 138 h 172"/>
                  <a:gd name="T6" fmla="*/ 155 w 170"/>
                  <a:gd name="T7" fmla="*/ 127 h 172"/>
                  <a:gd name="T8" fmla="*/ 151 w 170"/>
                  <a:gd name="T9" fmla="*/ 113 h 172"/>
                  <a:gd name="T10" fmla="*/ 159 w 170"/>
                  <a:gd name="T11" fmla="*/ 97 h 172"/>
                  <a:gd name="T12" fmla="*/ 150 w 170"/>
                  <a:gd name="T13" fmla="*/ 89 h 172"/>
                  <a:gd name="T14" fmla="*/ 145 w 170"/>
                  <a:gd name="T15" fmla="*/ 76 h 172"/>
                  <a:gd name="T16" fmla="*/ 145 w 170"/>
                  <a:gd name="T17" fmla="*/ 70 h 172"/>
                  <a:gd name="T18" fmla="*/ 149 w 170"/>
                  <a:gd name="T19" fmla="*/ 58 h 172"/>
                  <a:gd name="T20" fmla="*/ 156 w 170"/>
                  <a:gd name="T21" fmla="*/ 51 h 172"/>
                  <a:gd name="T22" fmla="*/ 156 w 170"/>
                  <a:gd name="T23" fmla="*/ 39 h 172"/>
                  <a:gd name="T24" fmla="*/ 148 w 170"/>
                  <a:gd name="T25" fmla="*/ 31 h 172"/>
                  <a:gd name="T26" fmla="*/ 134 w 170"/>
                  <a:gd name="T27" fmla="*/ 24 h 172"/>
                  <a:gd name="T28" fmla="*/ 120 w 170"/>
                  <a:gd name="T29" fmla="*/ 19 h 172"/>
                  <a:gd name="T30" fmla="*/ 103 w 170"/>
                  <a:gd name="T31" fmla="*/ 20 h 172"/>
                  <a:gd name="T32" fmla="*/ 94 w 170"/>
                  <a:gd name="T33" fmla="*/ 23 h 172"/>
                  <a:gd name="T34" fmla="*/ 85 w 170"/>
                  <a:gd name="T35" fmla="*/ 28 h 172"/>
                  <a:gd name="T36" fmla="*/ 81 w 170"/>
                  <a:gd name="T37" fmla="*/ 35 h 172"/>
                  <a:gd name="T38" fmla="*/ 56 w 170"/>
                  <a:gd name="T39" fmla="*/ 32 h 172"/>
                  <a:gd name="T40" fmla="*/ 50 w 170"/>
                  <a:gd name="T41" fmla="*/ 27 h 172"/>
                  <a:gd name="T42" fmla="*/ 41 w 170"/>
                  <a:gd name="T43" fmla="*/ 14 h 172"/>
                  <a:gd name="T44" fmla="*/ 36 w 170"/>
                  <a:gd name="T45" fmla="*/ 6 h 172"/>
                  <a:gd name="T46" fmla="*/ 27 w 170"/>
                  <a:gd name="T47" fmla="*/ 7 h 172"/>
                  <a:gd name="T48" fmla="*/ 19 w 170"/>
                  <a:gd name="T49" fmla="*/ 11 h 172"/>
                  <a:gd name="T50" fmla="*/ 11 w 170"/>
                  <a:gd name="T51" fmla="*/ 3 h 172"/>
                  <a:gd name="T52" fmla="*/ 6 w 170"/>
                  <a:gd name="T53" fmla="*/ 4 h 172"/>
                  <a:gd name="T54" fmla="*/ 3 w 170"/>
                  <a:gd name="T55" fmla="*/ 13 h 172"/>
                  <a:gd name="T56" fmla="*/ 6 w 170"/>
                  <a:gd name="T57" fmla="*/ 29 h 172"/>
                  <a:gd name="T58" fmla="*/ 7 w 170"/>
                  <a:gd name="T59" fmla="*/ 40 h 172"/>
                  <a:gd name="T60" fmla="*/ 13 w 170"/>
                  <a:gd name="T61" fmla="*/ 48 h 172"/>
                  <a:gd name="T62" fmla="*/ 22 w 170"/>
                  <a:gd name="T63" fmla="*/ 51 h 172"/>
                  <a:gd name="T64" fmla="*/ 15 w 170"/>
                  <a:gd name="T65" fmla="*/ 59 h 172"/>
                  <a:gd name="T66" fmla="*/ 21 w 170"/>
                  <a:gd name="T67" fmla="*/ 75 h 172"/>
                  <a:gd name="T68" fmla="*/ 32 w 170"/>
                  <a:gd name="T69" fmla="*/ 85 h 172"/>
                  <a:gd name="T70" fmla="*/ 38 w 170"/>
                  <a:gd name="T71" fmla="*/ 103 h 172"/>
                  <a:gd name="T72" fmla="*/ 43 w 170"/>
                  <a:gd name="T73" fmla="*/ 110 h 172"/>
                  <a:gd name="T74" fmla="*/ 54 w 170"/>
                  <a:gd name="T75" fmla="*/ 113 h 172"/>
                  <a:gd name="T76" fmla="*/ 60 w 170"/>
                  <a:gd name="T77" fmla="*/ 126 h 172"/>
                  <a:gd name="T78" fmla="*/ 63 w 170"/>
                  <a:gd name="T79" fmla="*/ 135 h 172"/>
                  <a:gd name="T80" fmla="*/ 71 w 170"/>
                  <a:gd name="T81" fmla="*/ 145 h 172"/>
                  <a:gd name="T82" fmla="*/ 78 w 170"/>
                  <a:gd name="T83" fmla="*/ 153 h 172"/>
                  <a:gd name="T84" fmla="*/ 85 w 170"/>
                  <a:gd name="T85" fmla="*/ 155 h 172"/>
                  <a:gd name="T86" fmla="*/ 108 w 170"/>
                  <a:gd name="T87" fmla="*/ 148 h 172"/>
                  <a:gd name="T88" fmla="*/ 131 w 170"/>
                  <a:gd name="T89" fmla="*/ 168 h 172"/>
                  <a:gd name="T90" fmla="*/ 146 w 170"/>
                  <a:gd name="T91" fmla="*/ 170 h 172"/>
                  <a:gd name="T92" fmla="*/ 6 w 170"/>
                  <a:gd name="T93" fmla="*/ 18 h 172"/>
                  <a:gd name="T94" fmla="*/ 16 w 170"/>
                  <a:gd name="T95" fmla="*/ 31 h 172"/>
                  <a:gd name="T96" fmla="*/ 10 w 170"/>
                  <a:gd name="T97" fmla="*/ 32 h 172"/>
                  <a:gd name="T98" fmla="*/ 8 w 170"/>
                  <a:gd name="T99" fmla="*/ 2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0" h="172">
                    <a:moveTo>
                      <a:pt x="149" y="172"/>
                    </a:moveTo>
                    <a:cubicBezTo>
                      <a:pt x="150" y="162"/>
                      <a:pt x="150" y="162"/>
                      <a:pt x="150" y="162"/>
                    </a:cubicBezTo>
                    <a:cubicBezTo>
                      <a:pt x="156" y="154"/>
                      <a:pt x="156" y="154"/>
                      <a:pt x="156" y="154"/>
                    </a:cubicBezTo>
                    <a:cubicBezTo>
                      <a:pt x="161" y="153"/>
                      <a:pt x="161" y="153"/>
                      <a:pt x="161" y="153"/>
                    </a:cubicBezTo>
                    <a:cubicBezTo>
                      <a:pt x="166" y="151"/>
                      <a:pt x="166" y="151"/>
                      <a:pt x="166" y="151"/>
                    </a:cubicBezTo>
                    <a:cubicBezTo>
                      <a:pt x="170" y="148"/>
                      <a:pt x="170" y="148"/>
                      <a:pt x="170" y="148"/>
                    </a:cubicBezTo>
                    <a:cubicBezTo>
                      <a:pt x="170" y="145"/>
                      <a:pt x="170" y="145"/>
                      <a:pt x="170" y="145"/>
                    </a:cubicBezTo>
                    <a:cubicBezTo>
                      <a:pt x="166" y="143"/>
                      <a:pt x="166" y="143"/>
                      <a:pt x="166" y="143"/>
                    </a:cubicBezTo>
                    <a:cubicBezTo>
                      <a:pt x="165" y="138"/>
                      <a:pt x="165" y="138"/>
                      <a:pt x="165" y="138"/>
                    </a:cubicBezTo>
                    <a:cubicBezTo>
                      <a:pt x="163" y="134"/>
                      <a:pt x="163" y="134"/>
                      <a:pt x="163" y="134"/>
                    </a:cubicBezTo>
                    <a:cubicBezTo>
                      <a:pt x="159" y="133"/>
                      <a:pt x="159" y="133"/>
                      <a:pt x="159" y="133"/>
                    </a:cubicBezTo>
                    <a:cubicBezTo>
                      <a:pt x="155" y="127"/>
                      <a:pt x="155" y="127"/>
                      <a:pt x="155" y="127"/>
                    </a:cubicBezTo>
                    <a:cubicBezTo>
                      <a:pt x="154" y="124"/>
                      <a:pt x="154" y="124"/>
                      <a:pt x="154" y="124"/>
                    </a:cubicBezTo>
                    <a:cubicBezTo>
                      <a:pt x="155" y="122"/>
                      <a:pt x="155" y="122"/>
                      <a:pt x="155" y="122"/>
                    </a:cubicBezTo>
                    <a:cubicBezTo>
                      <a:pt x="151" y="113"/>
                      <a:pt x="151" y="113"/>
                      <a:pt x="151" y="113"/>
                    </a:cubicBezTo>
                    <a:cubicBezTo>
                      <a:pt x="161" y="102"/>
                      <a:pt x="161" y="102"/>
                      <a:pt x="161" y="102"/>
                    </a:cubicBezTo>
                    <a:cubicBezTo>
                      <a:pt x="161" y="99"/>
                      <a:pt x="161" y="99"/>
                      <a:pt x="161" y="99"/>
                    </a:cubicBezTo>
                    <a:cubicBezTo>
                      <a:pt x="159" y="97"/>
                      <a:pt x="159" y="97"/>
                      <a:pt x="159" y="97"/>
                    </a:cubicBezTo>
                    <a:cubicBezTo>
                      <a:pt x="151" y="96"/>
                      <a:pt x="151" y="96"/>
                      <a:pt x="151" y="96"/>
                    </a:cubicBezTo>
                    <a:cubicBezTo>
                      <a:pt x="151" y="94"/>
                      <a:pt x="151" y="94"/>
                      <a:pt x="151" y="94"/>
                    </a:cubicBezTo>
                    <a:cubicBezTo>
                      <a:pt x="150" y="89"/>
                      <a:pt x="150" y="89"/>
                      <a:pt x="150" y="89"/>
                    </a:cubicBezTo>
                    <a:cubicBezTo>
                      <a:pt x="149" y="84"/>
                      <a:pt x="149" y="84"/>
                      <a:pt x="149" y="84"/>
                    </a:cubicBezTo>
                    <a:cubicBezTo>
                      <a:pt x="145" y="80"/>
                      <a:pt x="145" y="80"/>
                      <a:pt x="145" y="80"/>
                    </a:cubicBezTo>
                    <a:cubicBezTo>
                      <a:pt x="145" y="76"/>
                      <a:pt x="145" y="76"/>
                      <a:pt x="145" y="76"/>
                    </a:cubicBezTo>
                    <a:cubicBezTo>
                      <a:pt x="148" y="74"/>
                      <a:pt x="148" y="74"/>
                      <a:pt x="148" y="74"/>
                    </a:cubicBezTo>
                    <a:cubicBezTo>
                      <a:pt x="145" y="72"/>
                      <a:pt x="145" y="72"/>
                      <a:pt x="145" y="72"/>
                    </a:cubicBezTo>
                    <a:cubicBezTo>
                      <a:pt x="145" y="70"/>
                      <a:pt x="145" y="70"/>
                      <a:pt x="145" y="70"/>
                    </a:cubicBezTo>
                    <a:cubicBezTo>
                      <a:pt x="146" y="63"/>
                      <a:pt x="146" y="63"/>
                      <a:pt x="146" y="63"/>
                    </a:cubicBezTo>
                    <a:cubicBezTo>
                      <a:pt x="147" y="59"/>
                      <a:pt x="147" y="59"/>
                      <a:pt x="147" y="59"/>
                    </a:cubicBezTo>
                    <a:cubicBezTo>
                      <a:pt x="149" y="58"/>
                      <a:pt x="149" y="58"/>
                      <a:pt x="149" y="58"/>
                    </a:cubicBezTo>
                    <a:cubicBezTo>
                      <a:pt x="153" y="58"/>
                      <a:pt x="153" y="58"/>
                      <a:pt x="153" y="58"/>
                    </a:cubicBezTo>
                    <a:cubicBezTo>
                      <a:pt x="154" y="55"/>
                      <a:pt x="154" y="55"/>
                      <a:pt x="154" y="55"/>
                    </a:cubicBezTo>
                    <a:cubicBezTo>
                      <a:pt x="156" y="51"/>
                      <a:pt x="156" y="51"/>
                      <a:pt x="156" y="51"/>
                    </a:cubicBezTo>
                    <a:cubicBezTo>
                      <a:pt x="157" y="47"/>
                      <a:pt x="157" y="47"/>
                      <a:pt x="157" y="47"/>
                    </a:cubicBezTo>
                    <a:cubicBezTo>
                      <a:pt x="156" y="43"/>
                      <a:pt x="156" y="43"/>
                      <a:pt x="156" y="43"/>
                    </a:cubicBezTo>
                    <a:cubicBezTo>
                      <a:pt x="156" y="39"/>
                      <a:pt x="156" y="39"/>
                      <a:pt x="156" y="39"/>
                    </a:cubicBezTo>
                    <a:cubicBezTo>
                      <a:pt x="151" y="38"/>
                      <a:pt x="151" y="38"/>
                      <a:pt x="151" y="38"/>
                    </a:cubicBezTo>
                    <a:cubicBezTo>
                      <a:pt x="150" y="34"/>
                      <a:pt x="150" y="34"/>
                      <a:pt x="150" y="34"/>
                    </a:cubicBezTo>
                    <a:cubicBezTo>
                      <a:pt x="148" y="31"/>
                      <a:pt x="148" y="31"/>
                      <a:pt x="148" y="31"/>
                    </a:cubicBezTo>
                    <a:cubicBezTo>
                      <a:pt x="145" y="29"/>
                      <a:pt x="145" y="29"/>
                      <a:pt x="145" y="29"/>
                    </a:cubicBezTo>
                    <a:cubicBezTo>
                      <a:pt x="140" y="26"/>
                      <a:pt x="140" y="26"/>
                      <a:pt x="140" y="26"/>
                    </a:cubicBezTo>
                    <a:cubicBezTo>
                      <a:pt x="134" y="24"/>
                      <a:pt x="134" y="24"/>
                      <a:pt x="134" y="24"/>
                    </a:cubicBezTo>
                    <a:cubicBezTo>
                      <a:pt x="128" y="21"/>
                      <a:pt x="128" y="21"/>
                      <a:pt x="128" y="21"/>
                    </a:cubicBezTo>
                    <a:cubicBezTo>
                      <a:pt x="126" y="20"/>
                      <a:pt x="126" y="20"/>
                      <a:pt x="126" y="20"/>
                    </a:cubicBezTo>
                    <a:cubicBezTo>
                      <a:pt x="120" y="19"/>
                      <a:pt x="120" y="19"/>
                      <a:pt x="120" y="19"/>
                    </a:cubicBezTo>
                    <a:cubicBezTo>
                      <a:pt x="110" y="17"/>
                      <a:pt x="110" y="17"/>
                      <a:pt x="110" y="17"/>
                    </a:cubicBezTo>
                    <a:cubicBezTo>
                      <a:pt x="106" y="19"/>
                      <a:pt x="106" y="19"/>
                      <a:pt x="106" y="19"/>
                    </a:cubicBezTo>
                    <a:cubicBezTo>
                      <a:pt x="103" y="20"/>
                      <a:pt x="103" y="20"/>
                      <a:pt x="103" y="20"/>
                    </a:cubicBezTo>
                    <a:cubicBezTo>
                      <a:pt x="98" y="19"/>
                      <a:pt x="98" y="19"/>
                      <a:pt x="98" y="19"/>
                    </a:cubicBezTo>
                    <a:cubicBezTo>
                      <a:pt x="95" y="21"/>
                      <a:pt x="95" y="21"/>
                      <a:pt x="95" y="21"/>
                    </a:cubicBezTo>
                    <a:cubicBezTo>
                      <a:pt x="94" y="23"/>
                      <a:pt x="94" y="23"/>
                      <a:pt x="94" y="23"/>
                    </a:cubicBezTo>
                    <a:cubicBezTo>
                      <a:pt x="93" y="25"/>
                      <a:pt x="93" y="25"/>
                      <a:pt x="93" y="25"/>
                    </a:cubicBezTo>
                    <a:cubicBezTo>
                      <a:pt x="91" y="29"/>
                      <a:pt x="91" y="29"/>
                      <a:pt x="91" y="29"/>
                    </a:cubicBezTo>
                    <a:cubicBezTo>
                      <a:pt x="85" y="28"/>
                      <a:pt x="85" y="28"/>
                      <a:pt x="85" y="28"/>
                    </a:cubicBezTo>
                    <a:cubicBezTo>
                      <a:pt x="86" y="30"/>
                      <a:pt x="85" y="33"/>
                      <a:pt x="85" y="35"/>
                    </a:cubicBezTo>
                    <a:cubicBezTo>
                      <a:pt x="85" y="35"/>
                      <a:pt x="84" y="36"/>
                      <a:pt x="84" y="36"/>
                    </a:cubicBezTo>
                    <a:cubicBezTo>
                      <a:pt x="83" y="37"/>
                      <a:pt x="81" y="35"/>
                      <a:pt x="81" y="35"/>
                    </a:cubicBezTo>
                    <a:cubicBezTo>
                      <a:pt x="83" y="36"/>
                      <a:pt x="81" y="34"/>
                      <a:pt x="78" y="34"/>
                    </a:cubicBezTo>
                    <a:cubicBezTo>
                      <a:pt x="76" y="34"/>
                      <a:pt x="70" y="39"/>
                      <a:pt x="69" y="39"/>
                    </a:cubicBezTo>
                    <a:cubicBezTo>
                      <a:pt x="67" y="39"/>
                      <a:pt x="58" y="33"/>
                      <a:pt x="56" y="32"/>
                    </a:cubicBezTo>
                    <a:cubicBezTo>
                      <a:pt x="56" y="31"/>
                      <a:pt x="54" y="29"/>
                      <a:pt x="54" y="29"/>
                    </a:cubicBezTo>
                    <a:cubicBezTo>
                      <a:pt x="53" y="28"/>
                      <a:pt x="52" y="29"/>
                      <a:pt x="51" y="29"/>
                    </a:cubicBezTo>
                    <a:cubicBezTo>
                      <a:pt x="50" y="27"/>
                      <a:pt x="50" y="27"/>
                      <a:pt x="50" y="27"/>
                    </a:cubicBezTo>
                    <a:cubicBezTo>
                      <a:pt x="48" y="27"/>
                      <a:pt x="47" y="32"/>
                      <a:pt x="44" y="27"/>
                    </a:cubicBezTo>
                    <a:cubicBezTo>
                      <a:pt x="44" y="26"/>
                      <a:pt x="44" y="26"/>
                      <a:pt x="44" y="26"/>
                    </a:cubicBezTo>
                    <a:cubicBezTo>
                      <a:pt x="42" y="23"/>
                      <a:pt x="41" y="18"/>
                      <a:pt x="41" y="14"/>
                    </a:cubicBezTo>
                    <a:cubicBezTo>
                      <a:pt x="41" y="14"/>
                      <a:pt x="39" y="13"/>
                      <a:pt x="38" y="12"/>
                    </a:cubicBezTo>
                    <a:cubicBezTo>
                      <a:pt x="36" y="11"/>
                      <a:pt x="37" y="11"/>
                      <a:pt x="36" y="9"/>
                    </a:cubicBezTo>
                    <a:cubicBezTo>
                      <a:pt x="37" y="7"/>
                      <a:pt x="33" y="6"/>
                      <a:pt x="36" y="6"/>
                    </a:cubicBezTo>
                    <a:cubicBezTo>
                      <a:pt x="37" y="6"/>
                      <a:pt x="36" y="4"/>
                      <a:pt x="35" y="2"/>
                    </a:cubicBezTo>
                    <a:cubicBezTo>
                      <a:pt x="33" y="0"/>
                      <a:pt x="34" y="3"/>
                      <a:pt x="32" y="3"/>
                    </a:cubicBezTo>
                    <a:cubicBezTo>
                      <a:pt x="30" y="4"/>
                      <a:pt x="27" y="7"/>
                      <a:pt x="27" y="7"/>
                    </a:cubicBezTo>
                    <a:cubicBezTo>
                      <a:pt x="27" y="7"/>
                      <a:pt x="27" y="8"/>
                      <a:pt x="26" y="9"/>
                    </a:cubicBezTo>
                    <a:cubicBezTo>
                      <a:pt x="24" y="10"/>
                      <a:pt x="24" y="10"/>
                      <a:pt x="23" y="10"/>
                    </a:cubicBezTo>
                    <a:cubicBezTo>
                      <a:pt x="23" y="10"/>
                      <a:pt x="20" y="11"/>
                      <a:pt x="19" y="11"/>
                    </a:cubicBezTo>
                    <a:cubicBezTo>
                      <a:pt x="17" y="11"/>
                      <a:pt x="17" y="11"/>
                      <a:pt x="16" y="10"/>
                    </a:cubicBezTo>
                    <a:cubicBezTo>
                      <a:pt x="14" y="9"/>
                      <a:pt x="15" y="7"/>
                      <a:pt x="13" y="6"/>
                    </a:cubicBezTo>
                    <a:cubicBezTo>
                      <a:pt x="11" y="4"/>
                      <a:pt x="11" y="3"/>
                      <a:pt x="11" y="3"/>
                    </a:cubicBezTo>
                    <a:cubicBezTo>
                      <a:pt x="10" y="3"/>
                      <a:pt x="10" y="3"/>
                      <a:pt x="10" y="3"/>
                    </a:cubicBezTo>
                    <a:cubicBezTo>
                      <a:pt x="9" y="6"/>
                      <a:pt x="9" y="6"/>
                      <a:pt x="9" y="6"/>
                    </a:cubicBezTo>
                    <a:cubicBezTo>
                      <a:pt x="9" y="6"/>
                      <a:pt x="7" y="6"/>
                      <a:pt x="6" y="4"/>
                    </a:cubicBezTo>
                    <a:cubicBezTo>
                      <a:pt x="4" y="3"/>
                      <a:pt x="5" y="5"/>
                      <a:pt x="3" y="6"/>
                    </a:cubicBezTo>
                    <a:cubicBezTo>
                      <a:pt x="1" y="8"/>
                      <a:pt x="2" y="9"/>
                      <a:pt x="3" y="11"/>
                    </a:cubicBezTo>
                    <a:cubicBezTo>
                      <a:pt x="4" y="12"/>
                      <a:pt x="3" y="11"/>
                      <a:pt x="3" y="13"/>
                    </a:cubicBezTo>
                    <a:cubicBezTo>
                      <a:pt x="4" y="15"/>
                      <a:pt x="2" y="15"/>
                      <a:pt x="1" y="17"/>
                    </a:cubicBezTo>
                    <a:cubicBezTo>
                      <a:pt x="0" y="19"/>
                      <a:pt x="2" y="22"/>
                      <a:pt x="4" y="23"/>
                    </a:cubicBezTo>
                    <a:cubicBezTo>
                      <a:pt x="5" y="25"/>
                      <a:pt x="5" y="27"/>
                      <a:pt x="6" y="29"/>
                    </a:cubicBezTo>
                    <a:cubicBezTo>
                      <a:pt x="7" y="30"/>
                      <a:pt x="5" y="32"/>
                      <a:pt x="5" y="32"/>
                    </a:cubicBezTo>
                    <a:cubicBezTo>
                      <a:pt x="5" y="32"/>
                      <a:pt x="6" y="35"/>
                      <a:pt x="7" y="37"/>
                    </a:cubicBezTo>
                    <a:cubicBezTo>
                      <a:pt x="8" y="38"/>
                      <a:pt x="5" y="40"/>
                      <a:pt x="7" y="40"/>
                    </a:cubicBezTo>
                    <a:cubicBezTo>
                      <a:pt x="9" y="40"/>
                      <a:pt x="6" y="43"/>
                      <a:pt x="8" y="43"/>
                    </a:cubicBezTo>
                    <a:cubicBezTo>
                      <a:pt x="10" y="43"/>
                      <a:pt x="8" y="46"/>
                      <a:pt x="10" y="46"/>
                    </a:cubicBezTo>
                    <a:cubicBezTo>
                      <a:pt x="12" y="46"/>
                      <a:pt x="12" y="48"/>
                      <a:pt x="13" y="48"/>
                    </a:cubicBezTo>
                    <a:cubicBezTo>
                      <a:pt x="15" y="48"/>
                      <a:pt x="15" y="48"/>
                      <a:pt x="17" y="49"/>
                    </a:cubicBezTo>
                    <a:cubicBezTo>
                      <a:pt x="19" y="50"/>
                      <a:pt x="21" y="49"/>
                      <a:pt x="21" y="49"/>
                    </a:cubicBezTo>
                    <a:cubicBezTo>
                      <a:pt x="21" y="49"/>
                      <a:pt x="23" y="50"/>
                      <a:pt x="22" y="51"/>
                    </a:cubicBezTo>
                    <a:cubicBezTo>
                      <a:pt x="20" y="53"/>
                      <a:pt x="17" y="51"/>
                      <a:pt x="18" y="53"/>
                    </a:cubicBezTo>
                    <a:cubicBezTo>
                      <a:pt x="19" y="56"/>
                      <a:pt x="19" y="57"/>
                      <a:pt x="18" y="58"/>
                    </a:cubicBezTo>
                    <a:cubicBezTo>
                      <a:pt x="17" y="60"/>
                      <a:pt x="14" y="57"/>
                      <a:pt x="15" y="59"/>
                    </a:cubicBezTo>
                    <a:cubicBezTo>
                      <a:pt x="17" y="64"/>
                      <a:pt x="13" y="62"/>
                      <a:pt x="14" y="64"/>
                    </a:cubicBezTo>
                    <a:cubicBezTo>
                      <a:pt x="15" y="65"/>
                      <a:pt x="14" y="67"/>
                      <a:pt x="16" y="68"/>
                    </a:cubicBezTo>
                    <a:cubicBezTo>
                      <a:pt x="18" y="69"/>
                      <a:pt x="18" y="75"/>
                      <a:pt x="21" y="75"/>
                    </a:cubicBezTo>
                    <a:cubicBezTo>
                      <a:pt x="23" y="76"/>
                      <a:pt x="27" y="80"/>
                      <a:pt x="28" y="82"/>
                    </a:cubicBezTo>
                    <a:cubicBezTo>
                      <a:pt x="28" y="84"/>
                      <a:pt x="24" y="84"/>
                      <a:pt x="27" y="84"/>
                    </a:cubicBezTo>
                    <a:cubicBezTo>
                      <a:pt x="30" y="84"/>
                      <a:pt x="31" y="83"/>
                      <a:pt x="32" y="85"/>
                    </a:cubicBezTo>
                    <a:cubicBezTo>
                      <a:pt x="33" y="87"/>
                      <a:pt x="33" y="88"/>
                      <a:pt x="35" y="91"/>
                    </a:cubicBezTo>
                    <a:cubicBezTo>
                      <a:pt x="37" y="93"/>
                      <a:pt x="38" y="93"/>
                      <a:pt x="37" y="96"/>
                    </a:cubicBezTo>
                    <a:cubicBezTo>
                      <a:pt x="37" y="99"/>
                      <a:pt x="37" y="100"/>
                      <a:pt x="38" y="103"/>
                    </a:cubicBezTo>
                    <a:cubicBezTo>
                      <a:pt x="40" y="103"/>
                      <a:pt x="40" y="103"/>
                      <a:pt x="40" y="103"/>
                    </a:cubicBezTo>
                    <a:cubicBezTo>
                      <a:pt x="40" y="108"/>
                      <a:pt x="40" y="108"/>
                      <a:pt x="40" y="108"/>
                    </a:cubicBezTo>
                    <a:cubicBezTo>
                      <a:pt x="40" y="108"/>
                      <a:pt x="42" y="108"/>
                      <a:pt x="43" y="110"/>
                    </a:cubicBezTo>
                    <a:cubicBezTo>
                      <a:pt x="44" y="111"/>
                      <a:pt x="45" y="112"/>
                      <a:pt x="45" y="112"/>
                    </a:cubicBezTo>
                    <a:cubicBezTo>
                      <a:pt x="45" y="113"/>
                      <a:pt x="45" y="113"/>
                      <a:pt x="45" y="113"/>
                    </a:cubicBezTo>
                    <a:cubicBezTo>
                      <a:pt x="48" y="115"/>
                      <a:pt x="50" y="114"/>
                      <a:pt x="54" y="113"/>
                    </a:cubicBezTo>
                    <a:cubicBezTo>
                      <a:pt x="55" y="115"/>
                      <a:pt x="56" y="118"/>
                      <a:pt x="57" y="120"/>
                    </a:cubicBezTo>
                    <a:cubicBezTo>
                      <a:pt x="57" y="122"/>
                      <a:pt x="57" y="123"/>
                      <a:pt x="58" y="124"/>
                    </a:cubicBezTo>
                    <a:cubicBezTo>
                      <a:pt x="58" y="125"/>
                      <a:pt x="60" y="125"/>
                      <a:pt x="60" y="126"/>
                    </a:cubicBezTo>
                    <a:cubicBezTo>
                      <a:pt x="60" y="128"/>
                      <a:pt x="60" y="128"/>
                      <a:pt x="60" y="128"/>
                    </a:cubicBezTo>
                    <a:cubicBezTo>
                      <a:pt x="60" y="130"/>
                      <a:pt x="63" y="130"/>
                      <a:pt x="63" y="132"/>
                    </a:cubicBezTo>
                    <a:cubicBezTo>
                      <a:pt x="63" y="133"/>
                      <a:pt x="62" y="134"/>
                      <a:pt x="63" y="135"/>
                    </a:cubicBezTo>
                    <a:cubicBezTo>
                      <a:pt x="63" y="136"/>
                      <a:pt x="66" y="136"/>
                      <a:pt x="66" y="136"/>
                    </a:cubicBezTo>
                    <a:cubicBezTo>
                      <a:pt x="67" y="138"/>
                      <a:pt x="66" y="139"/>
                      <a:pt x="67" y="140"/>
                    </a:cubicBezTo>
                    <a:cubicBezTo>
                      <a:pt x="67" y="141"/>
                      <a:pt x="70" y="145"/>
                      <a:pt x="71" y="145"/>
                    </a:cubicBezTo>
                    <a:cubicBezTo>
                      <a:pt x="72" y="145"/>
                      <a:pt x="72" y="145"/>
                      <a:pt x="72" y="145"/>
                    </a:cubicBezTo>
                    <a:cubicBezTo>
                      <a:pt x="73" y="146"/>
                      <a:pt x="72" y="147"/>
                      <a:pt x="72" y="148"/>
                    </a:cubicBezTo>
                    <a:cubicBezTo>
                      <a:pt x="78" y="153"/>
                      <a:pt x="78" y="153"/>
                      <a:pt x="78" y="153"/>
                    </a:cubicBezTo>
                    <a:cubicBezTo>
                      <a:pt x="79" y="153"/>
                      <a:pt x="80" y="153"/>
                      <a:pt x="81" y="153"/>
                    </a:cubicBezTo>
                    <a:cubicBezTo>
                      <a:pt x="81" y="153"/>
                      <a:pt x="83" y="155"/>
                      <a:pt x="83" y="155"/>
                    </a:cubicBezTo>
                    <a:cubicBezTo>
                      <a:pt x="84" y="155"/>
                      <a:pt x="85" y="155"/>
                      <a:pt x="85" y="155"/>
                    </a:cubicBezTo>
                    <a:cubicBezTo>
                      <a:pt x="87" y="156"/>
                      <a:pt x="89" y="158"/>
                      <a:pt x="93" y="157"/>
                    </a:cubicBezTo>
                    <a:cubicBezTo>
                      <a:pt x="93" y="156"/>
                      <a:pt x="93" y="156"/>
                      <a:pt x="93" y="156"/>
                    </a:cubicBezTo>
                    <a:cubicBezTo>
                      <a:pt x="98" y="153"/>
                      <a:pt x="103" y="151"/>
                      <a:pt x="108" y="148"/>
                    </a:cubicBezTo>
                    <a:cubicBezTo>
                      <a:pt x="110" y="150"/>
                      <a:pt x="113" y="152"/>
                      <a:pt x="114" y="155"/>
                    </a:cubicBezTo>
                    <a:cubicBezTo>
                      <a:pt x="116" y="160"/>
                      <a:pt x="115" y="164"/>
                      <a:pt x="119" y="166"/>
                    </a:cubicBezTo>
                    <a:cubicBezTo>
                      <a:pt x="123" y="168"/>
                      <a:pt x="126" y="168"/>
                      <a:pt x="131" y="168"/>
                    </a:cubicBezTo>
                    <a:cubicBezTo>
                      <a:pt x="131" y="169"/>
                      <a:pt x="131" y="169"/>
                      <a:pt x="131" y="169"/>
                    </a:cubicBezTo>
                    <a:cubicBezTo>
                      <a:pt x="135" y="170"/>
                      <a:pt x="139" y="168"/>
                      <a:pt x="142" y="168"/>
                    </a:cubicBezTo>
                    <a:cubicBezTo>
                      <a:pt x="143" y="168"/>
                      <a:pt x="145" y="170"/>
                      <a:pt x="146" y="170"/>
                    </a:cubicBezTo>
                    <a:cubicBezTo>
                      <a:pt x="146" y="172"/>
                      <a:pt x="146" y="172"/>
                      <a:pt x="146" y="172"/>
                    </a:cubicBezTo>
                    <a:cubicBezTo>
                      <a:pt x="147" y="172"/>
                      <a:pt x="148" y="172"/>
                      <a:pt x="149" y="172"/>
                    </a:cubicBezTo>
                    <a:close/>
                    <a:moveTo>
                      <a:pt x="6" y="18"/>
                    </a:moveTo>
                    <a:cubicBezTo>
                      <a:pt x="11" y="18"/>
                      <a:pt x="11" y="22"/>
                      <a:pt x="13" y="25"/>
                    </a:cubicBezTo>
                    <a:cubicBezTo>
                      <a:pt x="14" y="25"/>
                      <a:pt x="16" y="26"/>
                      <a:pt x="16" y="27"/>
                    </a:cubicBezTo>
                    <a:cubicBezTo>
                      <a:pt x="16" y="28"/>
                      <a:pt x="15" y="30"/>
                      <a:pt x="16" y="31"/>
                    </a:cubicBezTo>
                    <a:cubicBezTo>
                      <a:pt x="16" y="32"/>
                      <a:pt x="23" y="31"/>
                      <a:pt x="18" y="35"/>
                    </a:cubicBezTo>
                    <a:cubicBezTo>
                      <a:pt x="16" y="38"/>
                      <a:pt x="17" y="36"/>
                      <a:pt x="13" y="37"/>
                    </a:cubicBezTo>
                    <a:cubicBezTo>
                      <a:pt x="12" y="36"/>
                      <a:pt x="11" y="33"/>
                      <a:pt x="10" y="32"/>
                    </a:cubicBezTo>
                    <a:cubicBezTo>
                      <a:pt x="10" y="31"/>
                      <a:pt x="11" y="30"/>
                      <a:pt x="10" y="29"/>
                    </a:cubicBezTo>
                    <a:cubicBezTo>
                      <a:pt x="10" y="29"/>
                      <a:pt x="8" y="28"/>
                      <a:pt x="8" y="27"/>
                    </a:cubicBezTo>
                    <a:cubicBezTo>
                      <a:pt x="7" y="26"/>
                      <a:pt x="9" y="24"/>
                      <a:pt x="8" y="23"/>
                    </a:cubicBezTo>
                    <a:cubicBezTo>
                      <a:pt x="8" y="22"/>
                      <a:pt x="6" y="21"/>
                      <a:pt x="6" y="20"/>
                    </a:cubicBezTo>
                    <a:cubicBezTo>
                      <a:pt x="6" y="20"/>
                      <a:pt x="4" y="18"/>
                      <a:pt x="6" y="1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725" name="Freeform 204">
                <a:extLst>
                  <a:ext uri="{FF2B5EF4-FFF2-40B4-BE49-F238E27FC236}">
                    <a16:creationId xmlns:a16="http://schemas.microsoft.com/office/drawing/2014/main" id="{8B97BF60-448A-872C-0509-408E5CE15B20}"/>
                  </a:ext>
                </a:extLst>
              </p:cNvPr>
              <p:cNvSpPr>
                <a:spLocks noEditPoints="1"/>
              </p:cNvSpPr>
              <p:nvPr/>
            </p:nvSpPr>
            <p:spPr bwMode="auto">
              <a:xfrm>
                <a:off x="4721" y="2131"/>
                <a:ext cx="769" cy="363"/>
              </a:xfrm>
              <a:custGeom>
                <a:avLst/>
                <a:gdLst>
                  <a:gd name="T0" fmla="*/ 21 w 392"/>
                  <a:gd name="T1" fmla="*/ 30 h 185"/>
                  <a:gd name="T2" fmla="*/ 42 w 392"/>
                  <a:gd name="T3" fmla="*/ 67 h 185"/>
                  <a:gd name="T4" fmla="*/ 73 w 392"/>
                  <a:gd name="T5" fmla="*/ 116 h 185"/>
                  <a:gd name="T6" fmla="*/ 93 w 392"/>
                  <a:gd name="T7" fmla="*/ 97 h 185"/>
                  <a:gd name="T8" fmla="*/ 73 w 392"/>
                  <a:gd name="T9" fmla="*/ 74 h 185"/>
                  <a:gd name="T10" fmla="*/ 65 w 392"/>
                  <a:gd name="T11" fmla="*/ 54 h 185"/>
                  <a:gd name="T12" fmla="*/ 47 w 392"/>
                  <a:gd name="T13" fmla="*/ 31 h 185"/>
                  <a:gd name="T14" fmla="*/ 7 w 392"/>
                  <a:gd name="T15" fmla="*/ 32 h 185"/>
                  <a:gd name="T16" fmla="*/ 279 w 392"/>
                  <a:gd name="T17" fmla="*/ 55 h 185"/>
                  <a:gd name="T18" fmla="*/ 286 w 392"/>
                  <a:gd name="T19" fmla="*/ 62 h 185"/>
                  <a:gd name="T20" fmla="*/ 282 w 392"/>
                  <a:gd name="T21" fmla="*/ 43 h 185"/>
                  <a:gd name="T22" fmla="*/ 63 w 392"/>
                  <a:gd name="T23" fmla="*/ 45 h 185"/>
                  <a:gd name="T24" fmla="*/ 254 w 392"/>
                  <a:gd name="T25" fmla="*/ 47 h 185"/>
                  <a:gd name="T26" fmla="*/ 214 w 392"/>
                  <a:gd name="T27" fmla="*/ 54 h 185"/>
                  <a:gd name="T28" fmla="*/ 209 w 392"/>
                  <a:gd name="T29" fmla="*/ 105 h 185"/>
                  <a:gd name="T30" fmla="*/ 217 w 392"/>
                  <a:gd name="T31" fmla="*/ 100 h 185"/>
                  <a:gd name="T32" fmla="*/ 236 w 392"/>
                  <a:gd name="T33" fmla="*/ 107 h 185"/>
                  <a:gd name="T34" fmla="*/ 226 w 392"/>
                  <a:gd name="T35" fmla="*/ 74 h 185"/>
                  <a:gd name="T36" fmla="*/ 237 w 392"/>
                  <a:gd name="T37" fmla="*/ 60 h 185"/>
                  <a:gd name="T38" fmla="*/ 81 w 392"/>
                  <a:gd name="T39" fmla="*/ 51 h 185"/>
                  <a:gd name="T40" fmla="*/ 32 w 392"/>
                  <a:gd name="T41" fmla="*/ 77 h 185"/>
                  <a:gd name="T42" fmla="*/ 304 w 392"/>
                  <a:gd name="T43" fmla="*/ 80 h 185"/>
                  <a:gd name="T44" fmla="*/ 241 w 392"/>
                  <a:gd name="T45" fmla="*/ 85 h 185"/>
                  <a:gd name="T46" fmla="*/ 96 w 392"/>
                  <a:gd name="T47" fmla="*/ 86 h 185"/>
                  <a:gd name="T48" fmla="*/ 249 w 392"/>
                  <a:gd name="T49" fmla="*/ 87 h 185"/>
                  <a:gd name="T50" fmla="*/ 282 w 392"/>
                  <a:gd name="T51" fmla="*/ 98 h 185"/>
                  <a:gd name="T52" fmla="*/ 291 w 392"/>
                  <a:gd name="T53" fmla="*/ 97 h 185"/>
                  <a:gd name="T54" fmla="*/ 241 w 392"/>
                  <a:gd name="T55" fmla="*/ 113 h 185"/>
                  <a:gd name="T56" fmla="*/ 241 w 392"/>
                  <a:gd name="T57" fmla="*/ 113 h 185"/>
                  <a:gd name="T58" fmla="*/ 121 w 392"/>
                  <a:gd name="T59" fmla="*/ 145 h 185"/>
                  <a:gd name="T60" fmla="*/ 168 w 392"/>
                  <a:gd name="T61" fmla="*/ 151 h 185"/>
                  <a:gd name="T62" fmla="*/ 134 w 392"/>
                  <a:gd name="T63" fmla="*/ 128 h 185"/>
                  <a:gd name="T64" fmla="*/ 335 w 392"/>
                  <a:gd name="T65" fmla="*/ 127 h 185"/>
                  <a:gd name="T66" fmla="*/ 156 w 392"/>
                  <a:gd name="T67" fmla="*/ 136 h 185"/>
                  <a:gd name="T68" fmla="*/ 309 w 392"/>
                  <a:gd name="T69" fmla="*/ 147 h 185"/>
                  <a:gd name="T70" fmla="*/ 271 w 392"/>
                  <a:gd name="T71" fmla="*/ 155 h 185"/>
                  <a:gd name="T72" fmla="*/ 189 w 392"/>
                  <a:gd name="T73" fmla="*/ 158 h 185"/>
                  <a:gd name="T74" fmla="*/ 283 w 392"/>
                  <a:gd name="T75" fmla="*/ 157 h 185"/>
                  <a:gd name="T76" fmla="*/ 231 w 392"/>
                  <a:gd name="T77" fmla="*/ 159 h 185"/>
                  <a:gd name="T78" fmla="*/ 243 w 392"/>
                  <a:gd name="T79" fmla="*/ 159 h 185"/>
                  <a:gd name="T80" fmla="*/ 249 w 392"/>
                  <a:gd name="T81" fmla="*/ 170 h 185"/>
                  <a:gd name="T82" fmla="*/ 259 w 392"/>
                  <a:gd name="T83" fmla="*/ 171 h 185"/>
                  <a:gd name="T84" fmla="*/ 219 w 392"/>
                  <a:gd name="T85" fmla="*/ 174 h 185"/>
                  <a:gd name="T86" fmla="*/ 126 w 392"/>
                  <a:gd name="T87" fmla="*/ 42 h 185"/>
                  <a:gd name="T88" fmla="*/ 124 w 392"/>
                  <a:gd name="T89" fmla="*/ 75 h 185"/>
                  <a:gd name="T90" fmla="*/ 146 w 392"/>
                  <a:gd name="T91" fmla="*/ 97 h 185"/>
                  <a:gd name="T92" fmla="*/ 172 w 392"/>
                  <a:gd name="T93" fmla="*/ 103 h 185"/>
                  <a:gd name="T94" fmla="*/ 203 w 392"/>
                  <a:gd name="T95" fmla="*/ 52 h 185"/>
                  <a:gd name="T96" fmla="*/ 180 w 392"/>
                  <a:gd name="T97" fmla="*/ 21 h 185"/>
                  <a:gd name="T98" fmla="*/ 156 w 392"/>
                  <a:gd name="T99" fmla="*/ 51 h 185"/>
                  <a:gd name="T100" fmla="*/ 314 w 392"/>
                  <a:gd name="T101" fmla="*/ 75 h 185"/>
                  <a:gd name="T102" fmla="*/ 325 w 392"/>
                  <a:gd name="T103" fmla="*/ 92 h 185"/>
                  <a:gd name="T104" fmla="*/ 329 w 392"/>
                  <a:gd name="T105" fmla="*/ 102 h 185"/>
                  <a:gd name="T106" fmla="*/ 368 w 392"/>
                  <a:gd name="T107" fmla="*/ 122 h 185"/>
                  <a:gd name="T108" fmla="*/ 373 w 392"/>
                  <a:gd name="T109" fmla="*/ 155 h 185"/>
                  <a:gd name="T110" fmla="*/ 392 w 392"/>
                  <a:gd name="T111" fmla="*/ 134 h 185"/>
                  <a:gd name="T112" fmla="*/ 348 w 392"/>
                  <a:gd name="T113" fmla="*/ 99 h 185"/>
                  <a:gd name="T114" fmla="*/ 331 w 392"/>
                  <a:gd name="T115" fmla="*/ 7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 h="185">
                    <a:moveTo>
                      <a:pt x="11" y="4"/>
                    </a:moveTo>
                    <a:cubicBezTo>
                      <a:pt x="10" y="4"/>
                      <a:pt x="9" y="2"/>
                      <a:pt x="8" y="1"/>
                    </a:cubicBezTo>
                    <a:cubicBezTo>
                      <a:pt x="6" y="0"/>
                      <a:pt x="4" y="0"/>
                      <a:pt x="1" y="0"/>
                    </a:cubicBezTo>
                    <a:cubicBezTo>
                      <a:pt x="1" y="2"/>
                      <a:pt x="0" y="5"/>
                      <a:pt x="1" y="7"/>
                    </a:cubicBezTo>
                    <a:cubicBezTo>
                      <a:pt x="2" y="8"/>
                      <a:pt x="2" y="8"/>
                      <a:pt x="2" y="8"/>
                    </a:cubicBezTo>
                    <a:cubicBezTo>
                      <a:pt x="4" y="11"/>
                      <a:pt x="4" y="15"/>
                      <a:pt x="7" y="17"/>
                    </a:cubicBezTo>
                    <a:cubicBezTo>
                      <a:pt x="8" y="17"/>
                      <a:pt x="9" y="17"/>
                      <a:pt x="9" y="18"/>
                    </a:cubicBezTo>
                    <a:cubicBezTo>
                      <a:pt x="11" y="19"/>
                      <a:pt x="11" y="21"/>
                      <a:pt x="12" y="22"/>
                    </a:cubicBezTo>
                    <a:cubicBezTo>
                      <a:pt x="13" y="23"/>
                      <a:pt x="15" y="23"/>
                      <a:pt x="16" y="24"/>
                    </a:cubicBezTo>
                    <a:cubicBezTo>
                      <a:pt x="17" y="25"/>
                      <a:pt x="16" y="26"/>
                      <a:pt x="17" y="27"/>
                    </a:cubicBezTo>
                    <a:cubicBezTo>
                      <a:pt x="18" y="28"/>
                      <a:pt x="20" y="29"/>
                      <a:pt x="21" y="30"/>
                    </a:cubicBezTo>
                    <a:cubicBezTo>
                      <a:pt x="21" y="31"/>
                      <a:pt x="21" y="32"/>
                      <a:pt x="21" y="33"/>
                    </a:cubicBezTo>
                    <a:cubicBezTo>
                      <a:pt x="22" y="33"/>
                      <a:pt x="23" y="34"/>
                      <a:pt x="23" y="34"/>
                    </a:cubicBezTo>
                    <a:cubicBezTo>
                      <a:pt x="24" y="36"/>
                      <a:pt x="24" y="37"/>
                      <a:pt x="24" y="40"/>
                    </a:cubicBezTo>
                    <a:cubicBezTo>
                      <a:pt x="26" y="40"/>
                      <a:pt x="28" y="40"/>
                      <a:pt x="29" y="41"/>
                    </a:cubicBezTo>
                    <a:cubicBezTo>
                      <a:pt x="30" y="41"/>
                      <a:pt x="31" y="43"/>
                      <a:pt x="31" y="44"/>
                    </a:cubicBezTo>
                    <a:cubicBezTo>
                      <a:pt x="32" y="44"/>
                      <a:pt x="33" y="43"/>
                      <a:pt x="33" y="44"/>
                    </a:cubicBezTo>
                    <a:cubicBezTo>
                      <a:pt x="34" y="46"/>
                      <a:pt x="33" y="49"/>
                      <a:pt x="33" y="52"/>
                    </a:cubicBezTo>
                    <a:cubicBezTo>
                      <a:pt x="34" y="53"/>
                      <a:pt x="36" y="56"/>
                      <a:pt x="36" y="57"/>
                    </a:cubicBezTo>
                    <a:cubicBezTo>
                      <a:pt x="36" y="58"/>
                      <a:pt x="36" y="59"/>
                      <a:pt x="36" y="60"/>
                    </a:cubicBezTo>
                    <a:cubicBezTo>
                      <a:pt x="37" y="61"/>
                      <a:pt x="39" y="61"/>
                      <a:pt x="39" y="62"/>
                    </a:cubicBezTo>
                    <a:cubicBezTo>
                      <a:pt x="41" y="63"/>
                      <a:pt x="41" y="65"/>
                      <a:pt x="42" y="67"/>
                    </a:cubicBezTo>
                    <a:cubicBezTo>
                      <a:pt x="43" y="68"/>
                      <a:pt x="46" y="69"/>
                      <a:pt x="47" y="70"/>
                    </a:cubicBezTo>
                    <a:cubicBezTo>
                      <a:pt x="48" y="72"/>
                      <a:pt x="51" y="81"/>
                      <a:pt x="53" y="82"/>
                    </a:cubicBezTo>
                    <a:cubicBezTo>
                      <a:pt x="53" y="82"/>
                      <a:pt x="53" y="82"/>
                      <a:pt x="53" y="82"/>
                    </a:cubicBezTo>
                    <a:cubicBezTo>
                      <a:pt x="54" y="84"/>
                      <a:pt x="53" y="86"/>
                      <a:pt x="53" y="87"/>
                    </a:cubicBezTo>
                    <a:cubicBezTo>
                      <a:pt x="53" y="88"/>
                      <a:pt x="55" y="88"/>
                      <a:pt x="55" y="89"/>
                    </a:cubicBezTo>
                    <a:cubicBezTo>
                      <a:pt x="56" y="91"/>
                      <a:pt x="58" y="97"/>
                      <a:pt x="59" y="98"/>
                    </a:cubicBezTo>
                    <a:cubicBezTo>
                      <a:pt x="59" y="98"/>
                      <a:pt x="61" y="99"/>
                      <a:pt x="61" y="99"/>
                    </a:cubicBezTo>
                    <a:cubicBezTo>
                      <a:pt x="63" y="102"/>
                      <a:pt x="63" y="105"/>
                      <a:pt x="64" y="108"/>
                    </a:cubicBezTo>
                    <a:cubicBezTo>
                      <a:pt x="64" y="109"/>
                      <a:pt x="66" y="111"/>
                      <a:pt x="67" y="112"/>
                    </a:cubicBezTo>
                    <a:cubicBezTo>
                      <a:pt x="67" y="113"/>
                      <a:pt x="67" y="113"/>
                      <a:pt x="67" y="113"/>
                    </a:cubicBezTo>
                    <a:cubicBezTo>
                      <a:pt x="67" y="114"/>
                      <a:pt x="72" y="115"/>
                      <a:pt x="73" y="116"/>
                    </a:cubicBezTo>
                    <a:cubicBezTo>
                      <a:pt x="73" y="116"/>
                      <a:pt x="75" y="116"/>
                      <a:pt x="75" y="117"/>
                    </a:cubicBezTo>
                    <a:cubicBezTo>
                      <a:pt x="76" y="117"/>
                      <a:pt x="79" y="121"/>
                      <a:pt x="80" y="122"/>
                    </a:cubicBezTo>
                    <a:cubicBezTo>
                      <a:pt x="81" y="123"/>
                      <a:pt x="83" y="123"/>
                      <a:pt x="85" y="123"/>
                    </a:cubicBezTo>
                    <a:cubicBezTo>
                      <a:pt x="84" y="122"/>
                      <a:pt x="84" y="120"/>
                      <a:pt x="83" y="120"/>
                    </a:cubicBezTo>
                    <a:cubicBezTo>
                      <a:pt x="82" y="120"/>
                      <a:pt x="83" y="119"/>
                      <a:pt x="85" y="119"/>
                    </a:cubicBezTo>
                    <a:cubicBezTo>
                      <a:pt x="85" y="120"/>
                      <a:pt x="87" y="122"/>
                      <a:pt x="89" y="121"/>
                    </a:cubicBezTo>
                    <a:cubicBezTo>
                      <a:pt x="90" y="121"/>
                      <a:pt x="89" y="120"/>
                      <a:pt x="90" y="119"/>
                    </a:cubicBezTo>
                    <a:cubicBezTo>
                      <a:pt x="90" y="120"/>
                      <a:pt x="90" y="120"/>
                      <a:pt x="90" y="120"/>
                    </a:cubicBezTo>
                    <a:cubicBezTo>
                      <a:pt x="92" y="120"/>
                      <a:pt x="93" y="120"/>
                      <a:pt x="94" y="120"/>
                    </a:cubicBezTo>
                    <a:cubicBezTo>
                      <a:pt x="92" y="119"/>
                      <a:pt x="95" y="101"/>
                      <a:pt x="96" y="98"/>
                    </a:cubicBezTo>
                    <a:cubicBezTo>
                      <a:pt x="95" y="97"/>
                      <a:pt x="94" y="97"/>
                      <a:pt x="93" y="97"/>
                    </a:cubicBezTo>
                    <a:cubicBezTo>
                      <a:pt x="92" y="96"/>
                      <a:pt x="91" y="91"/>
                      <a:pt x="91" y="89"/>
                    </a:cubicBezTo>
                    <a:cubicBezTo>
                      <a:pt x="89" y="90"/>
                      <a:pt x="87" y="89"/>
                      <a:pt x="87" y="89"/>
                    </a:cubicBezTo>
                    <a:cubicBezTo>
                      <a:pt x="86" y="89"/>
                      <a:pt x="85" y="88"/>
                      <a:pt x="85" y="88"/>
                    </a:cubicBezTo>
                    <a:cubicBezTo>
                      <a:pt x="85" y="87"/>
                      <a:pt x="86" y="87"/>
                      <a:pt x="85" y="85"/>
                    </a:cubicBezTo>
                    <a:cubicBezTo>
                      <a:pt x="85" y="85"/>
                      <a:pt x="82" y="84"/>
                      <a:pt x="82" y="83"/>
                    </a:cubicBezTo>
                    <a:cubicBezTo>
                      <a:pt x="82" y="82"/>
                      <a:pt x="82" y="77"/>
                      <a:pt x="83" y="76"/>
                    </a:cubicBezTo>
                    <a:cubicBezTo>
                      <a:pt x="81" y="76"/>
                      <a:pt x="80" y="76"/>
                      <a:pt x="79" y="76"/>
                    </a:cubicBezTo>
                    <a:cubicBezTo>
                      <a:pt x="79" y="75"/>
                      <a:pt x="79" y="75"/>
                      <a:pt x="79" y="75"/>
                    </a:cubicBezTo>
                    <a:cubicBezTo>
                      <a:pt x="77" y="75"/>
                      <a:pt x="77" y="75"/>
                      <a:pt x="77" y="75"/>
                    </a:cubicBezTo>
                    <a:cubicBezTo>
                      <a:pt x="77" y="75"/>
                      <a:pt x="77" y="76"/>
                      <a:pt x="76" y="76"/>
                    </a:cubicBezTo>
                    <a:cubicBezTo>
                      <a:pt x="76" y="76"/>
                      <a:pt x="74" y="74"/>
                      <a:pt x="73" y="74"/>
                    </a:cubicBezTo>
                    <a:cubicBezTo>
                      <a:pt x="73" y="73"/>
                      <a:pt x="73" y="70"/>
                      <a:pt x="73" y="69"/>
                    </a:cubicBezTo>
                    <a:cubicBezTo>
                      <a:pt x="73" y="68"/>
                      <a:pt x="76" y="67"/>
                      <a:pt x="76" y="66"/>
                    </a:cubicBezTo>
                    <a:cubicBezTo>
                      <a:pt x="76" y="66"/>
                      <a:pt x="76" y="64"/>
                      <a:pt x="76" y="64"/>
                    </a:cubicBezTo>
                    <a:cubicBezTo>
                      <a:pt x="76" y="64"/>
                      <a:pt x="73" y="59"/>
                      <a:pt x="73" y="59"/>
                    </a:cubicBezTo>
                    <a:cubicBezTo>
                      <a:pt x="72" y="58"/>
                      <a:pt x="73" y="57"/>
                      <a:pt x="73" y="56"/>
                    </a:cubicBezTo>
                    <a:cubicBezTo>
                      <a:pt x="71" y="55"/>
                      <a:pt x="70" y="56"/>
                      <a:pt x="69" y="56"/>
                    </a:cubicBezTo>
                    <a:cubicBezTo>
                      <a:pt x="69" y="54"/>
                      <a:pt x="69" y="54"/>
                      <a:pt x="70" y="52"/>
                    </a:cubicBezTo>
                    <a:cubicBezTo>
                      <a:pt x="70" y="52"/>
                      <a:pt x="69" y="51"/>
                      <a:pt x="69" y="51"/>
                    </a:cubicBezTo>
                    <a:cubicBezTo>
                      <a:pt x="68" y="53"/>
                      <a:pt x="68" y="53"/>
                      <a:pt x="67" y="55"/>
                    </a:cubicBezTo>
                    <a:cubicBezTo>
                      <a:pt x="67" y="55"/>
                      <a:pt x="65" y="55"/>
                      <a:pt x="65" y="55"/>
                    </a:cubicBezTo>
                    <a:cubicBezTo>
                      <a:pt x="65" y="55"/>
                      <a:pt x="65" y="54"/>
                      <a:pt x="65" y="54"/>
                    </a:cubicBezTo>
                    <a:cubicBezTo>
                      <a:pt x="64" y="54"/>
                      <a:pt x="63" y="54"/>
                      <a:pt x="63" y="54"/>
                    </a:cubicBezTo>
                    <a:cubicBezTo>
                      <a:pt x="61" y="52"/>
                      <a:pt x="62" y="50"/>
                      <a:pt x="61" y="48"/>
                    </a:cubicBezTo>
                    <a:cubicBezTo>
                      <a:pt x="60" y="47"/>
                      <a:pt x="58" y="46"/>
                      <a:pt x="57" y="45"/>
                    </a:cubicBezTo>
                    <a:cubicBezTo>
                      <a:pt x="55" y="43"/>
                      <a:pt x="55" y="41"/>
                      <a:pt x="55" y="40"/>
                    </a:cubicBezTo>
                    <a:cubicBezTo>
                      <a:pt x="52" y="40"/>
                      <a:pt x="52" y="40"/>
                      <a:pt x="52" y="40"/>
                    </a:cubicBezTo>
                    <a:cubicBezTo>
                      <a:pt x="52" y="40"/>
                      <a:pt x="52" y="40"/>
                      <a:pt x="52" y="40"/>
                    </a:cubicBezTo>
                    <a:cubicBezTo>
                      <a:pt x="54" y="41"/>
                      <a:pt x="49" y="42"/>
                      <a:pt x="51" y="41"/>
                    </a:cubicBezTo>
                    <a:cubicBezTo>
                      <a:pt x="51" y="41"/>
                      <a:pt x="50" y="41"/>
                      <a:pt x="50" y="40"/>
                    </a:cubicBezTo>
                    <a:cubicBezTo>
                      <a:pt x="49" y="39"/>
                      <a:pt x="49" y="37"/>
                      <a:pt x="47" y="36"/>
                    </a:cubicBezTo>
                    <a:cubicBezTo>
                      <a:pt x="47" y="36"/>
                      <a:pt x="47" y="36"/>
                      <a:pt x="47" y="36"/>
                    </a:cubicBezTo>
                    <a:cubicBezTo>
                      <a:pt x="46" y="35"/>
                      <a:pt x="47" y="32"/>
                      <a:pt x="47" y="31"/>
                    </a:cubicBezTo>
                    <a:cubicBezTo>
                      <a:pt x="43" y="30"/>
                      <a:pt x="43" y="30"/>
                      <a:pt x="43" y="30"/>
                    </a:cubicBezTo>
                    <a:cubicBezTo>
                      <a:pt x="43" y="29"/>
                      <a:pt x="43" y="28"/>
                      <a:pt x="43" y="27"/>
                    </a:cubicBezTo>
                    <a:cubicBezTo>
                      <a:pt x="41" y="26"/>
                      <a:pt x="36" y="23"/>
                      <a:pt x="35" y="22"/>
                    </a:cubicBezTo>
                    <a:cubicBezTo>
                      <a:pt x="34" y="21"/>
                      <a:pt x="35" y="19"/>
                      <a:pt x="34" y="18"/>
                    </a:cubicBezTo>
                    <a:cubicBezTo>
                      <a:pt x="34" y="18"/>
                      <a:pt x="32" y="18"/>
                      <a:pt x="31" y="17"/>
                    </a:cubicBezTo>
                    <a:cubicBezTo>
                      <a:pt x="30" y="16"/>
                      <a:pt x="31" y="13"/>
                      <a:pt x="29" y="13"/>
                    </a:cubicBezTo>
                    <a:cubicBezTo>
                      <a:pt x="29" y="13"/>
                      <a:pt x="27" y="13"/>
                      <a:pt x="27" y="13"/>
                    </a:cubicBezTo>
                    <a:cubicBezTo>
                      <a:pt x="26" y="13"/>
                      <a:pt x="27" y="11"/>
                      <a:pt x="27" y="10"/>
                    </a:cubicBezTo>
                    <a:cubicBezTo>
                      <a:pt x="23" y="4"/>
                      <a:pt x="23" y="4"/>
                      <a:pt x="23" y="4"/>
                    </a:cubicBezTo>
                    <a:cubicBezTo>
                      <a:pt x="19" y="2"/>
                      <a:pt x="14" y="5"/>
                      <a:pt x="11" y="4"/>
                    </a:cubicBezTo>
                    <a:close/>
                    <a:moveTo>
                      <a:pt x="7" y="32"/>
                    </a:moveTo>
                    <a:cubicBezTo>
                      <a:pt x="9" y="35"/>
                      <a:pt x="11" y="38"/>
                      <a:pt x="8" y="32"/>
                    </a:cubicBezTo>
                    <a:lnTo>
                      <a:pt x="7" y="32"/>
                    </a:lnTo>
                    <a:close/>
                    <a:moveTo>
                      <a:pt x="285" y="35"/>
                    </a:moveTo>
                    <a:cubicBezTo>
                      <a:pt x="285" y="38"/>
                      <a:pt x="285" y="40"/>
                      <a:pt x="286" y="42"/>
                    </a:cubicBezTo>
                    <a:cubicBezTo>
                      <a:pt x="286" y="42"/>
                      <a:pt x="288" y="42"/>
                      <a:pt x="289" y="42"/>
                    </a:cubicBezTo>
                    <a:cubicBezTo>
                      <a:pt x="289" y="42"/>
                      <a:pt x="290" y="41"/>
                      <a:pt x="289" y="41"/>
                    </a:cubicBezTo>
                    <a:cubicBezTo>
                      <a:pt x="289" y="41"/>
                      <a:pt x="289" y="38"/>
                      <a:pt x="289" y="38"/>
                    </a:cubicBezTo>
                    <a:cubicBezTo>
                      <a:pt x="287" y="36"/>
                      <a:pt x="286" y="36"/>
                      <a:pt x="285" y="35"/>
                    </a:cubicBezTo>
                    <a:close/>
                    <a:moveTo>
                      <a:pt x="280" y="39"/>
                    </a:moveTo>
                    <a:cubicBezTo>
                      <a:pt x="277" y="43"/>
                      <a:pt x="277" y="47"/>
                      <a:pt x="275" y="52"/>
                    </a:cubicBezTo>
                    <a:cubicBezTo>
                      <a:pt x="276" y="53"/>
                      <a:pt x="278" y="54"/>
                      <a:pt x="279" y="55"/>
                    </a:cubicBezTo>
                    <a:cubicBezTo>
                      <a:pt x="279" y="57"/>
                      <a:pt x="278" y="56"/>
                      <a:pt x="277" y="57"/>
                    </a:cubicBezTo>
                    <a:cubicBezTo>
                      <a:pt x="277" y="58"/>
                      <a:pt x="277" y="58"/>
                      <a:pt x="277" y="58"/>
                    </a:cubicBezTo>
                    <a:cubicBezTo>
                      <a:pt x="277" y="58"/>
                      <a:pt x="279" y="62"/>
                      <a:pt x="277" y="63"/>
                    </a:cubicBezTo>
                    <a:cubicBezTo>
                      <a:pt x="277" y="64"/>
                      <a:pt x="277" y="64"/>
                      <a:pt x="277" y="64"/>
                    </a:cubicBezTo>
                    <a:cubicBezTo>
                      <a:pt x="277" y="65"/>
                      <a:pt x="279" y="67"/>
                      <a:pt x="280" y="68"/>
                    </a:cubicBezTo>
                    <a:cubicBezTo>
                      <a:pt x="281" y="69"/>
                      <a:pt x="281" y="70"/>
                      <a:pt x="283" y="70"/>
                    </a:cubicBezTo>
                    <a:cubicBezTo>
                      <a:pt x="285" y="71"/>
                      <a:pt x="279" y="66"/>
                      <a:pt x="279" y="66"/>
                    </a:cubicBezTo>
                    <a:cubicBezTo>
                      <a:pt x="279" y="64"/>
                      <a:pt x="279" y="62"/>
                      <a:pt x="279" y="61"/>
                    </a:cubicBezTo>
                    <a:cubicBezTo>
                      <a:pt x="279" y="61"/>
                      <a:pt x="283" y="58"/>
                      <a:pt x="282" y="59"/>
                    </a:cubicBezTo>
                    <a:cubicBezTo>
                      <a:pt x="283" y="59"/>
                      <a:pt x="283" y="59"/>
                      <a:pt x="284" y="59"/>
                    </a:cubicBezTo>
                    <a:cubicBezTo>
                      <a:pt x="285" y="59"/>
                      <a:pt x="285" y="61"/>
                      <a:pt x="286" y="62"/>
                    </a:cubicBezTo>
                    <a:cubicBezTo>
                      <a:pt x="287" y="62"/>
                      <a:pt x="287" y="61"/>
                      <a:pt x="288" y="62"/>
                    </a:cubicBezTo>
                    <a:cubicBezTo>
                      <a:pt x="287" y="60"/>
                      <a:pt x="287" y="58"/>
                      <a:pt x="287" y="56"/>
                    </a:cubicBezTo>
                    <a:cubicBezTo>
                      <a:pt x="286" y="56"/>
                      <a:pt x="284" y="57"/>
                      <a:pt x="283" y="56"/>
                    </a:cubicBezTo>
                    <a:cubicBezTo>
                      <a:pt x="285" y="55"/>
                      <a:pt x="286" y="53"/>
                      <a:pt x="288" y="52"/>
                    </a:cubicBezTo>
                    <a:cubicBezTo>
                      <a:pt x="286" y="51"/>
                      <a:pt x="289" y="51"/>
                      <a:pt x="286" y="50"/>
                    </a:cubicBezTo>
                    <a:cubicBezTo>
                      <a:pt x="286" y="49"/>
                      <a:pt x="286" y="49"/>
                      <a:pt x="286" y="49"/>
                    </a:cubicBezTo>
                    <a:cubicBezTo>
                      <a:pt x="285" y="50"/>
                      <a:pt x="283" y="51"/>
                      <a:pt x="283" y="52"/>
                    </a:cubicBezTo>
                    <a:cubicBezTo>
                      <a:pt x="282" y="52"/>
                      <a:pt x="283" y="53"/>
                      <a:pt x="283" y="54"/>
                    </a:cubicBezTo>
                    <a:cubicBezTo>
                      <a:pt x="281" y="54"/>
                      <a:pt x="281" y="54"/>
                      <a:pt x="281" y="54"/>
                    </a:cubicBezTo>
                    <a:cubicBezTo>
                      <a:pt x="282" y="50"/>
                      <a:pt x="283" y="46"/>
                      <a:pt x="281" y="45"/>
                    </a:cubicBezTo>
                    <a:cubicBezTo>
                      <a:pt x="281" y="45"/>
                      <a:pt x="282" y="42"/>
                      <a:pt x="282" y="43"/>
                    </a:cubicBezTo>
                    <a:cubicBezTo>
                      <a:pt x="283" y="42"/>
                      <a:pt x="283" y="42"/>
                      <a:pt x="283" y="42"/>
                    </a:cubicBezTo>
                    <a:cubicBezTo>
                      <a:pt x="282" y="41"/>
                      <a:pt x="282" y="41"/>
                      <a:pt x="282" y="40"/>
                    </a:cubicBezTo>
                    <a:lnTo>
                      <a:pt x="280" y="39"/>
                    </a:lnTo>
                    <a:close/>
                    <a:moveTo>
                      <a:pt x="57" y="41"/>
                    </a:moveTo>
                    <a:cubicBezTo>
                      <a:pt x="57" y="41"/>
                      <a:pt x="57" y="43"/>
                      <a:pt x="57" y="43"/>
                    </a:cubicBezTo>
                    <a:cubicBezTo>
                      <a:pt x="58" y="43"/>
                      <a:pt x="58" y="43"/>
                      <a:pt x="59" y="44"/>
                    </a:cubicBezTo>
                    <a:cubicBezTo>
                      <a:pt x="58" y="42"/>
                      <a:pt x="60" y="41"/>
                      <a:pt x="57" y="41"/>
                    </a:cubicBezTo>
                    <a:close/>
                    <a:moveTo>
                      <a:pt x="63" y="45"/>
                    </a:moveTo>
                    <a:cubicBezTo>
                      <a:pt x="63" y="45"/>
                      <a:pt x="63" y="47"/>
                      <a:pt x="63" y="47"/>
                    </a:cubicBezTo>
                    <a:cubicBezTo>
                      <a:pt x="64" y="47"/>
                      <a:pt x="64" y="47"/>
                      <a:pt x="65" y="48"/>
                    </a:cubicBezTo>
                    <a:cubicBezTo>
                      <a:pt x="68" y="48"/>
                      <a:pt x="63" y="45"/>
                      <a:pt x="63" y="45"/>
                    </a:cubicBezTo>
                    <a:close/>
                    <a:moveTo>
                      <a:pt x="19" y="46"/>
                    </a:moveTo>
                    <a:cubicBezTo>
                      <a:pt x="19" y="48"/>
                      <a:pt x="19" y="48"/>
                      <a:pt x="19" y="48"/>
                    </a:cubicBezTo>
                    <a:cubicBezTo>
                      <a:pt x="19" y="49"/>
                      <a:pt x="21" y="49"/>
                      <a:pt x="21" y="50"/>
                    </a:cubicBezTo>
                    <a:cubicBezTo>
                      <a:pt x="22" y="50"/>
                      <a:pt x="24" y="54"/>
                      <a:pt x="25" y="55"/>
                    </a:cubicBezTo>
                    <a:cubicBezTo>
                      <a:pt x="26" y="55"/>
                      <a:pt x="26" y="52"/>
                      <a:pt x="25" y="51"/>
                    </a:cubicBezTo>
                    <a:cubicBezTo>
                      <a:pt x="24" y="51"/>
                      <a:pt x="24" y="51"/>
                      <a:pt x="24" y="51"/>
                    </a:cubicBezTo>
                    <a:cubicBezTo>
                      <a:pt x="23" y="50"/>
                      <a:pt x="23" y="48"/>
                      <a:pt x="22" y="48"/>
                    </a:cubicBezTo>
                    <a:cubicBezTo>
                      <a:pt x="21" y="48"/>
                      <a:pt x="21" y="48"/>
                      <a:pt x="21" y="48"/>
                    </a:cubicBezTo>
                    <a:cubicBezTo>
                      <a:pt x="21" y="46"/>
                      <a:pt x="21" y="46"/>
                      <a:pt x="21" y="46"/>
                    </a:cubicBezTo>
                    <a:cubicBezTo>
                      <a:pt x="21" y="46"/>
                      <a:pt x="20" y="47"/>
                      <a:pt x="19" y="46"/>
                    </a:cubicBezTo>
                    <a:close/>
                    <a:moveTo>
                      <a:pt x="254" y="47"/>
                    </a:moveTo>
                    <a:cubicBezTo>
                      <a:pt x="254" y="47"/>
                      <a:pt x="254" y="49"/>
                      <a:pt x="253" y="50"/>
                    </a:cubicBezTo>
                    <a:cubicBezTo>
                      <a:pt x="253" y="50"/>
                      <a:pt x="251" y="50"/>
                      <a:pt x="251" y="50"/>
                    </a:cubicBezTo>
                    <a:cubicBezTo>
                      <a:pt x="251" y="50"/>
                      <a:pt x="251" y="52"/>
                      <a:pt x="251" y="52"/>
                    </a:cubicBezTo>
                    <a:cubicBezTo>
                      <a:pt x="249" y="53"/>
                      <a:pt x="246" y="55"/>
                      <a:pt x="245" y="55"/>
                    </a:cubicBezTo>
                    <a:cubicBezTo>
                      <a:pt x="239" y="56"/>
                      <a:pt x="234" y="55"/>
                      <a:pt x="228" y="55"/>
                    </a:cubicBezTo>
                    <a:cubicBezTo>
                      <a:pt x="227" y="54"/>
                      <a:pt x="227" y="54"/>
                      <a:pt x="227" y="54"/>
                    </a:cubicBezTo>
                    <a:cubicBezTo>
                      <a:pt x="226" y="53"/>
                      <a:pt x="227" y="55"/>
                      <a:pt x="225" y="54"/>
                    </a:cubicBezTo>
                    <a:cubicBezTo>
                      <a:pt x="225" y="52"/>
                      <a:pt x="225" y="52"/>
                      <a:pt x="225" y="52"/>
                    </a:cubicBezTo>
                    <a:cubicBezTo>
                      <a:pt x="221" y="51"/>
                      <a:pt x="218" y="53"/>
                      <a:pt x="216" y="54"/>
                    </a:cubicBezTo>
                    <a:cubicBezTo>
                      <a:pt x="216" y="55"/>
                      <a:pt x="216" y="55"/>
                      <a:pt x="216" y="55"/>
                    </a:cubicBezTo>
                    <a:cubicBezTo>
                      <a:pt x="215" y="55"/>
                      <a:pt x="215" y="54"/>
                      <a:pt x="214" y="54"/>
                    </a:cubicBezTo>
                    <a:cubicBezTo>
                      <a:pt x="213" y="56"/>
                      <a:pt x="212" y="57"/>
                      <a:pt x="211" y="58"/>
                    </a:cubicBezTo>
                    <a:cubicBezTo>
                      <a:pt x="212" y="58"/>
                      <a:pt x="210" y="60"/>
                      <a:pt x="210" y="60"/>
                    </a:cubicBezTo>
                    <a:cubicBezTo>
                      <a:pt x="210" y="61"/>
                      <a:pt x="211" y="62"/>
                      <a:pt x="211" y="62"/>
                    </a:cubicBezTo>
                    <a:cubicBezTo>
                      <a:pt x="211" y="66"/>
                      <a:pt x="211" y="72"/>
                      <a:pt x="209" y="75"/>
                    </a:cubicBezTo>
                    <a:cubicBezTo>
                      <a:pt x="208" y="75"/>
                      <a:pt x="208" y="75"/>
                      <a:pt x="208" y="75"/>
                    </a:cubicBezTo>
                    <a:cubicBezTo>
                      <a:pt x="207" y="78"/>
                      <a:pt x="207" y="81"/>
                      <a:pt x="207" y="86"/>
                    </a:cubicBezTo>
                    <a:cubicBezTo>
                      <a:pt x="207" y="87"/>
                      <a:pt x="206" y="91"/>
                      <a:pt x="205" y="91"/>
                    </a:cubicBezTo>
                    <a:cubicBezTo>
                      <a:pt x="204" y="92"/>
                      <a:pt x="204" y="92"/>
                      <a:pt x="204" y="92"/>
                    </a:cubicBezTo>
                    <a:cubicBezTo>
                      <a:pt x="203" y="96"/>
                      <a:pt x="204" y="99"/>
                      <a:pt x="204" y="103"/>
                    </a:cubicBezTo>
                    <a:cubicBezTo>
                      <a:pt x="205" y="103"/>
                      <a:pt x="207" y="103"/>
                      <a:pt x="208" y="103"/>
                    </a:cubicBezTo>
                    <a:cubicBezTo>
                      <a:pt x="209" y="105"/>
                      <a:pt x="209" y="105"/>
                      <a:pt x="209" y="105"/>
                    </a:cubicBezTo>
                    <a:cubicBezTo>
                      <a:pt x="209" y="105"/>
                      <a:pt x="208" y="106"/>
                      <a:pt x="208" y="107"/>
                    </a:cubicBezTo>
                    <a:cubicBezTo>
                      <a:pt x="209" y="109"/>
                      <a:pt x="209" y="109"/>
                      <a:pt x="209" y="109"/>
                    </a:cubicBezTo>
                    <a:cubicBezTo>
                      <a:pt x="209" y="111"/>
                      <a:pt x="206" y="113"/>
                      <a:pt x="206" y="114"/>
                    </a:cubicBezTo>
                    <a:cubicBezTo>
                      <a:pt x="205" y="117"/>
                      <a:pt x="206" y="121"/>
                      <a:pt x="206" y="123"/>
                    </a:cubicBezTo>
                    <a:cubicBezTo>
                      <a:pt x="209" y="123"/>
                      <a:pt x="213" y="123"/>
                      <a:pt x="217" y="123"/>
                    </a:cubicBezTo>
                    <a:cubicBezTo>
                      <a:pt x="216" y="122"/>
                      <a:pt x="217" y="120"/>
                      <a:pt x="217" y="119"/>
                    </a:cubicBezTo>
                    <a:cubicBezTo>
                      <a:pt x="217" y="119"/>
                      <a:pt x="215" y="119"/>
                      <a:pt x="215" y="118"/>
                    </a:cubicBezTo>
                    <a:cubicBezTo>
                      <a:pt x="215" y="118"/>
                      <a:pt x="218" y="115"/>
                      <a:pt x="217" y="115"/>
                    </a:cubicBezTo>
                    <a:cubicBezTo>
                      <a:pt x="217" y="114"/>
                      <a:pt x="215" y="110"/>
                      <a:pt x="215" y="109"/>
                    </a:cubicBezTo>
                    <a:cubicBezTo>
                      <a:pt x="216" y="109"/>
                      <a:pt x="218" y="108"/>
                      <a:pt x="218" y="107"/>
                    </a:cubicBezTo>
                    <a:cubicBezTo>
                      <a:pt x="219" y="105"/>
                      <a:pt x="218" y="102"/>
                      <a:pt x="217" y="100"/>
                    </a:cubicBezTo>
                    <a:cubicBezTo>
                      <a:pt x="220" y="99"/>
                      <a:pt x="221" y="100"/>
                      <a:pt x="223" y="99"/>
                    </a:cubicBezTo>
                    <a:cubicBezTo>
                      <a:pt x="224" y="103"/>
                      <a:pt x="225" y="107"/>
                      <a:pt x="225" y="109"/>
                    </a:cubicBezTo>
                    <a:cubicBezTo>
                      <a:pt x="226" y="112"/>
                      <a:pt x="227" y="114"/>
                      <a:pt x="227" y="118"/>
                    </a:cubicBezTo>
                    <a:cubicBezTo>
                      <a:pt x="228" y="118"/>
                      <a:pt x="230" y="119"/>
                      <a:pt x="232" y="119"/>
                    </a:cubicBezTo>
                    <a:cubicBezTo>
                      <a:pt x="232" y="119"/>
                      <a:pt x="232" y="119"/>
                      <a:pt x="232" y="119"/>
                    </a:cubicBezTo>
                    <a:cubicBezTo>
                      <a:pt x="234" y="117"/>
                      <a:pt x="233" y="116"/>
                      <a:pt x="233" y="115"/>
                    </a:cubicBezTo>
                    <a:cubicBezTo>
                      <a:pt x="233" y="114"/>
                      <a:pt x="233" y="114"/>
                      <a:pt x="233" y="114"/>
                    </a:cubicBezTo>
                    <a:cubicBezTo>
                      <a:pt x="234" y="113"/>
                      <a:pt x="237" y="113"/>
                      <a:pt x="239" y="113"/>
                    </a:cubicBezTo>
                    <a:cubicBezTo>
                      <a:pt x="240" y="111"/>
                      <a:pt x="240" y="111"/>
                      <a:pt x="240" y="111"/>
                    </a:cubicBezTo>
                    <a:cubicBezTo>
                      <a:pt x="239" y="111"/>
                      <a:pt x="239" y="111"/>
                      <a:pt x="239" y="111"/>
                    </a:cubicBezTo>
                    <a:cubicBezTo>
                      <a:pt x="238" y="110"/>
                      <a:pt x="237" y="108"/>
                      <a:pt x="236" y="107"/>
                    </a:cubicBezTo>
                    <a:cubicBezTo>
                      <a:pt x="234" y="104"/>
                      <a:pt x="235" y="104"/>
                      <a:pt x="235" y="101"/>
                    </a:cubicBezTo>
                    <a:cubicBezTo>
                      <a:pt x="234" y="101"/>
                      <a:pt x="234" y="101"/>
                      <a:pt x="234" y="101"/>
                    </a:cubicBezTo>
                    <a:cubicBezTo>
                      <a:pt x="234" y="101"/>
                      <a:pt x="234" y="99"/>
                      <a:pt x="234" y="99"/>
                    </a:cubicBezTo>
                    <a:cubicBezTo>
                      <a:pt x="233" y="98"/>
                      <a:pt x="231" y="98"/>
                      <a:pt x="230" y="97"/>
                    </a:cubicBezTo>
                    <a:cubicBezTo>
                      <a:pt x="229" y="96"/>
                      <a:pt x="230" y="93"/>
                      <a:pt x="229" y="91"/>
                    </a:cubicBezTo>
                    <a:cubicBezTo>
                      <a:pt x="229" y="91"/>
                      <a:pt x="223" y="89"/>
                      <a:pt x="223" y="89"/>
                    </a:cubicBezTo>
                    <a:cubicBezTo>
                      <a:pt x="224" y="88"/>
                      <a:pt x="224" y="88"/>
                      <a:pt x="225" y="87"/>
                    </a:cubicBezTo>
                    <a:cubicBezTo>
                      <a:pt x="225" y="87"/>
                      <a:pt x="227" y="87"/>
                      <a:pt x="229" y="87"/>
                    </a:cubicBezTo>
                    <a:cubicBezTo>
                      <a:pt x="235" y="84"/>
                      <a:pt x="235" y="79"/>
                      <a:pt x="241" y="78"/>
                    </a:cubicBezTo>
                    <a:cubicBezTo>
                      <a:pt x="242" y="76"/>
                      <a:pt x="241" y="76"/>
                      <a:pt x="242" y="75"/>
                    </a:cubicBezTo>
                    <a:cubicBezTo>
                      <a:pt x="235" y="75"/>
                      <a:pt x="232" y="75"/>
                      <a:pt x="226" y="74"/>
                    </a:cubicBezTo>
                    <a:cubicBezTo>
                      <a:pt x="226" y="75"/>
                      <a:pt x="226" y="76"/>
                      <a:pt x="225" y="77"/>
                    </a:cubicBezTo>
                    <a:cubicBezTo>
                      <a:pt x="225" y="78"/>
                      <a:pt x="223" y="77"/>
                      <a:pt x="222" y="78"/>
                    </a:cubicBezTo>
                    <a:cubicBezTo>
                      <a:pt x="222" y="78"/>
                      <a:pt x="221" y="75"/>
                      <a:pt x="221" y="75"/>
                    </a:cubicBezTo>
                    <a:cubicBezTo>
                      <a:pt x="220" y="74"/>
                      <a:pt x="218" y="75"/>
                      <a:pt x="217" y="74"/>
                    </a:cubicBezTo>
                    <a:cubicBezTo>
                      <a:pt x="217" y="74"/>
                      <a:pt x="216" y="72"/>
                      <a:pt x="216" y="72"/>
                    </a:cubicBezTo>
                    <a:cubicBezTo>
                      <a:pt x="215" y="70"/>
                      <a:pt x="217" y="67"/>
                      <a:pt x="217" y="66"/>
                    </a:cubicBezTo>
                    <a:cubicBezTo>
                      <a:pt x="217" y="63"/>
                      <a:pt x="217" y="62"/>
                      <a:pt x="217" y="60"/>
                    </a:cubicBezTo>
                    <a:cubicBezTo>
                      <a:pt x="219" y="60"/>
                      <a:pt x="219" y="61"/>
                      <a:pt x="220" y="61"/>
                    </a:cubicBezTo>
                    <a:cubicBezTo>
                      <a:pt x="221" y="61"/>
                      <a:pt x="224" y="59"/>
                      <a:pt x="225" y="60"/>
                    </a:cubicBezTo>
                    <a:cubicBezTo>
                      <a:pt x="226" y="60"/>
                      <a:pt x="227" y="61"/>
                      <a:pt x="229" y="61"/>
                    </a:cubicBezTo>
                    <a:cubicBezTo>
                      <a:pt x="230" y="61"/>
                      <a:pt x="235" y="60"/>
                      <a:pt x="237" y="60"/>
                    </a:cubicBezTo>
                    <a:cubicBezTo>
                      <a:pt x="240" y="61"/>
                      <a:pt x="244" y="63"/>
                      <a:pt x="248" y="62"/>
                    </a:cubicBezTo>
                    <a:cubicBezTo>
                      <a:pt x="248" y="61"/>
                      <a:pt x="248" y="61"/>
                      <a:pt x="248" y="61"/>
                    </a:cubicBezTo>
                    <a:cubicBezTo>
                      <a:pt x="249" y="60"/>
                      <a:pt x="250" y="61"/>
                      <a:pt x="251" y="60"/>
                    </a:cubicBezTo>
                    <a:cubicBezTo>
                      <a:pt x="252" y="59"/>
                      <a:pt x="252" y="56"/>
                      <a:pt x="253" y="55"/>
                    </a:cubicBezTo>
                    <a:cubicBezTo>
                      <a:pt x="254" y="54"/>
                      <a:pt x="255" y="54"/>
                      <a:pt x="255" y="54"/>
                    </a:cubicBezTo>
                    <a:cubicBezTo>
                      <a:pt x="257" y="53"/>
                      <a:pt x="257" y="53"/>
                      <a:pt x="257" y="53"/>
                    </a:cubicBezTo>
                    <a:cubicBezTo>
                      <a:pt x="257" y="52"/>
                      <a:pt x="257" y="49"/>
                      <a:pt x="257" y="48"/>
                    </a:cubicBezTo>
                    <a:cubicBezTo>
                      <a:pt x="257" y="48"/>
                      <a:pt x="256" y="48"/>
                      <a:pt x="256" y="47"/>
                    </a:cubicBezTo>
                    <a:cubicBezTo>
                      <a:pt x="255" y="47"/>
                      <a:pt x="254" y="47"/>
                      <a:pt x="254" y="47"/>
                    </a:cubicBezTo>
                    <a:close/>
                    <a:moveTo>
                      <a:pt x="81" y="50"/>
                    </a:moveTo>
                    <a:cubicBezTo>
                      <a:pt x="81" y="51"/>
                      <a:pt x="81" y="51"/>
                      <a:pt x="81" y="51"/>
                    </a:cubicBezTo>
                    <a:cubicBezTo>
                      <a:pt x="83" y="51"/>
                      <a:pt x="83" y="50"/>
                      <a:pt x="81" y="50"/>
                    </a:cubicBezTo>
                    <a:close/>
                    <a:moveTo>
                      <a:pt x="304" y="66"/>
                    </a:moveTo>
                    <a:cubicBezTo>
                      <a:pt x="303" y="67"/>
                      <a:pt x="303" y="67"/>
                      <a:pt x="303" y="67"/>
                    </a:cubicBezTo>
                    <a:cubicBezTo>
                      <a:pt x="294" y="69"/>
                      <a:pt x="305" y="69"/>
                      <a:pt x="309" y="69"/>
                    </a:cubicBezTo>
                    <a:cubicBezTo>
                      <a:pt x="309" y="69"/>
                      <a:pt x="310" y="68"/>
                      <a:pt x="310" y="67"/>
                    </a:cubicBezTo>
                    <a:cubicBezTo>
                      <a:pt x="309" y="67"/>
                      <a:pt x="304" y="65"/>
                      <a:pt x="304" y="66"/>
                    </a:cubicBezTo>
                    <a:close/>
                    <a:moveTo>
                      <a:pt x="277" y="69"/>
                    </a:moveTo>
                    <a:cubicBezTo>
                      <a:pt x="277" y="71"/>
                      <a:pt x="277" y="73"/>
                      <a:pt x="277" y="74"/>
                    </a:cubicBezTo>
                    <a:cubicBezTo>
                      <a:pt x="281" y="72"/>
                      <a:pt x="279" y="73"/>
                      <a:pt x="277" y="69"/>
                    </a:cubicBezTo>
                    <a:close/>
                    <a:moveTo>
                      <a:pt x="33" y="75"/>
                    </a:moveTo>
                    <a:cubicBezTo>
                      <a:pt x="33" y="76"/>
                      <a:pt x="32" y="76"/>
                      <a:pt x="32" y="77"/>
                    </a:cubicBezTo>
                    <a:cubicBezTo>
                      <a:pt x="32" y="78"/>
                      <a:pt x="34" y="82"/>
                      <a:pt x="34" y="83"/>
                    </a:cubicBezTo>
                    <a:cubicBezTo>
                      <a:pt x="34" y="83"/>
                      <a:pt x="37" y="84"/>
                      <a:pt x="38" y="84"/>
                    </a:cubicBezTo>
                    <a:cubicBezTo>
                      <a:pt x="38" y="83"/>
                      <a:pt x="39" y="83"/>
                      <a:pt x="37" y="83"/>
                    </a:cubicBezTo>
                    <a:cubicBezTo>
                      <a:pt x="36" y="80"/>
                      <a:pt x="36" y="78"/>
                      <a:pt x="35" y="75"/>
                    </a:cubicBezTo>
                    <a:cubicBezTo>
                      <a:pt x="35" y="75"/>
                      <a:pt x="33" y="76"/>
                      <a:pt x="33" y="75"/>
                    </a:cubicBezTo>
                    <a:close/>
                    <a:moveTo>
                      <a:pt x="301" y="75"/>
                    </a:moveTo>
                    <a:cubicBezTo>
                      <a:pt x="300" y="76"/>
                      <a:pt x="302" y="77"/>
                      <a:pt x="302" y="77"/>
                    </a:cubicBezTo>
                    <a:cubicBezTo>
                      <a:pt x="303" y="77"/>
                      <a:pt x="304" y="75"/>
                      <a:pt x="301" y="75"/>
                    </a:cubicBezTo>
                    <a:close/>
                    <a:moveTo>
                      <a:pt x="305" y="77"/>
                    </a:moveTo>
                    <a:cubicBezTo>
                      <a:pt x="304" y="78"/>
                      <a:pt x="304" y="78"/>
                      <a:pt x="304" y="78"/>
                    </a:cubicBezTo>
                    <a:cubicBezTo>
                      <a:pt x="304" y="79"/>
                      <a:pt x="304" y="80"/>
                      <a:pt x="304" y="80"/>
                    </a:cubicBezTo>
                    <a:cubicBezTo>
                      <a:pt x="304" y="80"/>
                      <a:pt x="306" y="80"/>
                      <a:pt x="307" y="81"/>
                    </a:cubicBezTo>
                    <a:cubicBezTo>
                      <a:pt x="306" y="80"/>
                      <a:pt x="309" y="79"/>
                      <a:pt x="305" y="77"/>
                    </a:cubicBezTo>
                    <a:close/>
                    <a:moveTo>
                      <a:pt x="279" y="79"/>
                    </a:moveTo>
                    <a:cubicBezTo>
                      <a:pt x="277" y="79"/>
                      <a:pt x="280" y="80"/>
                      <a:pt x="281" y="80"/>
                    </a:cubicBezTo>
                    <a:cubicBezTo>
                      <a:pt x="280" y="80"/>
                      <a:pt x="281" y="78"/>
                      <a:pt x="279" y="79"/>
                    </a:cubicBezTo>
                    <a:close/>
                    <a:moveTo>
                      <a:pt x="237" y="81"/>
                    </a:moveTo>
                    <a:cubicBezTo>
                      <a:pt x="237" y="81"/>
                      <a:pt x="237" y="82"/>
                      <a:pt x="237" y="82"/>
                    </a:cubicBezTo>
                    <a:cubicBezTo>
                      <a:pt x="236" y="81"/>
                      <a:pt x="236" y="83"/>
                      <a:pt x="236" y="83"/>
                    </a:cubicBezTo>
                    <a:cubicBezTo>
                      <a:pt x="237" y="85"/>
                      <a:pt x="237" y="85"/>
                      <a:pt x="237" y="85"/>
                    </a:cubicBezTo>
                    <a:cubicBezTo>
                      <a:pt x="238" y="84"/>
                      <a:pt x="239" y="84"/>
                      <a:pt x="239" y="84"/>
                    </a:cubicBezTo>
                    <a:cubicBezTo>
                      <a:pt x="241" y="84"/>
                      <a:pt x="241" y="85"/>
                      <a:pt x="241" y="85"/>
                    </a:cubicBezTo>
                    <a:cubicBezTo>
                      <a:pt x="241" y="85"/>
                      <a:pt x="242" y="84"/>
                      <a:pt x="242" y="83"/>
                    </a:cubicBezTo>
                    <a:cubicBezTo>
                      <a:pt x="244" y="84"/>
                      <a:pt x="243" y="82"/>
                      <a:pt x="243" y="82"/>
                    </a:cubicBezTo>
                    <a:cubicBezTo>
                      <a:pt x="242" y="82"/>
                      <a:pt x="239" y="81"/>
                      <a:pt x="237" y="81"/>
                    </a:cubicBezTo>
                    <a:close/>
                    <a:moveTo>
                      <a:pt x="92" y="82"/>
                    </a:moveTo>
                    <a:cubicBezTo>
                      <a:pt x="90" y="84"/>
                      <a:pt x="90" y="84"/>
                      <a:pt x="90" y="87"/>
                    </a:cubicBezTo>
                    <a:cubicBezTo>
                      <a:pt x="92" y="88"/>
                      <a:pt x="93" y="88"/>
                      <a:pt x="94" y="88"/>
                    </a:cubicBezTo>
                    <a:cubicBezTo>
                      <a:pt x="94" y="90"/>
                      <a:pt x="93" y="90"/>
                      <a:pt x="94" y="93"/>
                    </a:cubicBezTo>
                    <a:cubicBezTo>
                      <a:pt x="94" y="94"/>
                      <a:pt x="96" y="95"/>
                      <a:pt x="97" y="95"/>
                    </a:cubicBezTo>
                    <a:cubicBezTo>
                      <a:pt x="98" y="96"/>
                      <a:pt x="98" y="97"/>
                      <a:pt x="98" y="97"/>
                    </a:cubicBezTo>
                    <a:cubicBezTo>
                      <a:pt x="100" y="97"/>
                      <a:pt x="100" y="97"/>
                      <a:pt x="100" y="97"/>
                    </a:cubicBezTo>
                    <a:cubicBezTo>
                      <a:pt x="99" y="91"/>
                      <a:pt x="99" y="90"/>
                      <a:pt x="96" y="86"/>
                    </a:cubicBezTo>
                    <a:cubicBezTo>
                      <a:pt x="95" y="84"/>
                      <a:pt x="94" y="83"/>
                      <a:pt x="92" y="82"/>
                    </a:cubicBezTo>
                    <a:close/>
                    <a:moveTo>
                      <a:pt x="299" y="82"/>
                    </a:moveTo>
                    <a:cubicBezTo>
                      <a:pt x="298" y="85"/>
                      <a:pt x="298" y="85"/>
                      <a:pt x="298" y="85"/>
                    </a:cubicBezTo>
                    <a:cubicBezTo>
                      <a:pt x="299" y="85"/>
                      <a:pt x="300" y="85"/>
                      <a:pt x="301" y="85"/>
                    </a:cubicBezTo>
                    <a:cubicBezTo>
                      <a:pt x="301" y="85"/>
                      <a:pt x="301" y="83"/>
                      <a:pt x="301" y="83"/>
                    </a:cubicBezTo>
                    <a:cubicBezTo>
                      <a:pt x="301" y="83"/>
                      <a:pt x="300" y="82"/>
                      <a:pt x="299" y="82"/>
                    </a:cubicBezTo>
                    <a:close/>
                    <a:moveTo>
                      <a:pt x="260" y="83"/>
                    </a:moveTo>
                    <a:cubicBezTo>
                      <a:pt x="260" y="83"/>
                      <a:pt x="259" y="84"/>
                      <a:pt x="259" y="84"/>
                    </a:cubicBezTo>
                    <a:cubicBezTo>
                      <a:pt x="266" y="84"/>
                      <a:pt x="269" y="83"/>
                      <a:pt x="260" y="83"/>
                    </a:cubicBezTo>
                    <a:close/>
                    <a:moveTo>
                      <a:pt x="249" y="84"/>
                    </a:moveTo>
                    <a:cubicBezTo>
                      <a:pt x="249" y="84"/>
                      <a:pt x="249" y="87"/>
                      <a:pt x="249" y="87"/>
                    </a:cubicBezTo>
                    <a:cubicBezTo>
                      <a:pt x="258" y="86"/>
                      <a:pt x="258" y="85"/>
                      <a:pt x="249" y="84"/>
                    </a:cubicBezTo>
                    <a:close/>
                    <a:moveTo>
                      <a:pt x="43" y="91"/>
                    </a:moveTo>
                    <a:cubicBezTo>
                      <a:pt x="43" y="94"/>
                      <a:pt x="43" y="94"/>
                      <a:pt x="43" y="94"/>
                    </a:cubicBezTo>
                    <a:cubicBezTo>
                      <a:pt x="45" y="95"/>
                      <a:pt x="44" y="92"/>
                      <a:pt x="43" y="91"/>
                    </a:cubicBezTo>
                    <a:close/>
                    <a:moveTo>
                      <a:pt x="108" y="94"/>
                    </a:moveTo>
                    <a:cubicBezTo>
                      <a:pt x="106" y="101"/>
                      <a:pt x="108" y="100"/>
                      <a:pt x="114" y="98"/>
                    </a:cubicBezTo>
                    <a:cubicBezTo>
                      <a:pt x="114" y="96"/>
                      <a:pt x="114" y="95"/>
                      <a:pt x="114" y="94"/>
                    </a:cubicBezTo>
                    <a:cubicBezTo>
                      <a:pt x="112" y="94"/>
                      <a:pt x="110" y="94"/>
                      <a:pt x="108" y="94"/>
                    </a:cubicBezTo>
                    <a:close/>
                    <a:moveTo>
                      <a:pt x="285" y="97"/>
                    </a:moveTo>
                    <a:cubicBezTo>
                      <a:pt x="285" y="97"/>
                      <a:pt x="284" y="98"/>
                      <a:pt x="284" y="98"/>
                    </a:cubicBezTo>
                    <a:cubicBezTo>
                      <a:pt x="283" y="98"/>
                      <a:pt x="282" y="98"/>
                      <a:pt x="282" y="98"/>
                    </a:cubicBezTo>
                    <a:cubicBezTo>
                      <a:pt x="281" y="100"/>
                      <a:pt x="281" y="100"/>
                      <a:pt x="281" y="100"/>
                    </a:cubicBezTo>
                    <a:cubicBezTo>
                      <a:pt x="282" y="100"/>
                      <a:pt x="283" y="100"/>
                      <a:pt x="284" y="100"/>
                    </a:cubicBezTo>
                    <a:cubicBezTo>
                      <a:pt x="284" y="100"/>
                      <a:pt x="285" y="102"/>
                      <a:pt x="285" y="102"/>
                    </a:cubicBezTo>
                    <a:cubicBezTo>
                      <a:pt x="288" y="102"/>
                      <a:pt x="287" y="100"/>
                      <a:pt x="288" y="100"/>
                    </a:cubicBezTo>
                    <a:cubicBezTo>
                      <a:pt x="290" y="99"/>
                      <a:pt x="291" y="102"/>
                      <a:pt x="293" y="102"/>
                    </a:cubicBezTo>
                    <a:cubicBezTo>
                      <a:pt x="294" y="102"/>
                      <a:pt x="295" y="101"/>
                      <a:pt x="296" y="101"/>
                    </a:cubicBezTo>
                    <a:cubicBezTo>
                      <a:pt x="298" y="101"/>
                      <a:pt x="301" y="103"/>
                      <a:pt x="304" y="103"/>
                    </a:cubicBezTo>
                    <a:cubicBezTo>
                      <a:pt x="304" y="103"/>
                      <a:pt x="305" y="102"/>
                      <a:pt x="305" y="101"/>
                    </a:cubicBezTo>
                    <a:cubicBezTo>
                      <a:pt x="304" y="100"/>
                      <a:pt x="303" y="100"/>
                      <a:pt x="303" y="99"/>
                    </a:cubicBezTo>
                    <a:cubicBezTo>
                      <a:pt x="299" y="98"/>
                      <a:pt x="296" y="98"/>
                      <a:pt x="293" y="98"/>
                    </a:cubicBezTo>
                    <a:cubicBezTo>
                      <a:pt x="291" y="97"/>
                      <a:pt x="291" y="97"/>
                      <a:pt x="291" y="97"/>
                    </a:cubicBezTo>
                    <a:cubicBezTo>
                      <a:pt x="291" y="97"/>
                      <a:pt x="285" y="97"/>
                      <a:pt x="285" y="97"/>
                    </a:cubicBezTo>
                    <a:close/>
                    <a:moveTo>
                      <a:pt x="273" y="97"/>
                    </a:moveTo>
                    <a:cubicBezTo>
                      <a:pt x="271" y="97"/>
                      <a:pt x="265" y="98"/>
                      <a:pt x="263" y="99"/>
                    </a:cubicBezTo>
                    <a:cubicBezTo>
                      <a:pt x="263" y="99"/>
                      <a:pt x="263" y="101"/>
                      <a:pt x="263" y="101"/>
                    </a:cubicBezTo>
                    <a:cubicBezTo>
                      <a:pt x="265" y="101"/>
                      <a:pt x="267" y="101"/>
                      <a:pt x="268" y="102"/>
                    </a:cubicBezTo>
                    <a:cubicBezTo>
                      <a:pt x="268" y="102"/>
                      <a:pt x="268" y="104"/>
                      <a:pt x="269" y="104"/>
                    </a:cubicBezTo>
                    <a:cubicBezTo>
                      <a:pt x="271" y="104"/>
                      <a:pt x="274" y="103"/>
                      <a:pt x="276" y="103"/>
                    </a:cubicBezTo>
                    <a:cubicBezTo>
                      <a:pt x="276" y="102"/>
                      <a:pt x="276" y="100"/>
                      <a:pt x="277" y="100"/>
                    </a:cubicBezTo>
                    <a:cubicBezTo>
                      <a:pt x="276" y="100"/>
                      <a:pt x="275" y="100"/>
                      <a:pt x="275" y="100"/>
                    </a:cubicBezTo>
                    <a:cubicBezTo>
                      <a:pt x="273" y="98"/>
                      <a:pt x="276" y="98"/>
                      <a:pt x="273" y="97"/>
                    </a:cubicBezTo>
                    <a:close/>
                    <a:moveTo>
                      <a:pt x="241" y="113"/>
                    </a:moveTo>
                    <a:cubicBezTo>
                      <a:pt x="241" y="115"/>
                      <a:pt x="241" y="114"/>
                      <a:pt x="240" y="114"/>
                    </a:cubicBezTo>
                    <a:cubicBezTo>
                      <a:pt x="240" y="115"/>
                      <a:pt x="240" y="117"/>
                      <a:pt x="240" y="118"/>
                    </a:cubicBezTo>
                    <a:cubicBezTo>
                      <a:pt x="240" y="118"/>
                      <a:pt x="238" y="121"/>
                      <a:pt x="239" y="118"/>
                    </a:cubicBezTo>
                    <a:cubicBezTo>
                      <a:pt x="238" y="118"/>
                      <a:pt x="238" y="117"/>
                      <a:pt x="238" y="117"/>
                    </a:cubicBezTo>
                    <a:cubicBezTo>
                      <a:pt x="238" y="117"/>
                      <a:pt x="236" y="117"/>
                      <a:pt x="236" y="117"/>
                    </a:cubicBezTo>
                    <a:cubicBezTo>
                      <a:pt x="235" y="119"/>
                      <a:pt x="236" y="120"/>
                      <a:pt x="235" y="121"/>
                    </a:cubicBezTo>
                    <a:cubicBezTo>
                      <a:pt x="239" y="123"/>
                      <a:pt x="237" y="120"/>
                      <a:pt x="239" y="125"/>
                    </a:cubicBezTo>
                    <a:cubicBezTo>
                      <a:pt x="239" y="125"/>
                      <a:pt x="241" y="126"/>
                      <a:pt x="241" y="125"/>
                    </a:cubicBezTo>
                    <a:cubicBezTo>
                      <a:pt x="241" y="125"/>
                      <a:pt x="244" y="122"/>
                      <a:pt x="244" y="122"/>
                    </a:cubicBezTo>
                    <a:cubicBezTo>
                      <a:pt x="244" y="121"/>
                      <a:pt x="242" y="120"/>
                      <a:pt x="242" y="119"/>
                    </a:cubicBezTo>
                    <a:cubicBezTo>
                      <a:pt x="241" y="116"/>
                      <a:pt x="245" y="115"/>
                      <a:pt x="241" y="113"/>
                    </a:cubicBezTo>
                    <a:close/>
                    <a:moveTo>
                      <a:pt x="102" y="123"/>
                    </a:moveTo>
                    <a:cubicBezTo>
                      <a:pt x="101" y="125"/>
                      <a:pt x="101" y="125"/>
                      <a:pt x="101" y="125"/>
                    </a:cubicBezTo>
                    <a:cubicBezTo>
                      <a:pt x="97" y="124"/>
                      <a:pt x="95" y="124"/>
                      <a:pt x="91" y="124"/>
                    </a:cubicBezTo>
                    <a:cubicBezTo>
                      <a:pt x="90" y="130"/>
                      <a:pt x="89" y="130"/>
                      <a:pt x="87" y="134"/>
                    </a:cubicBezTo>
                    <a:cubicBezTo>
                      <a:pt x="87" y="134"/>
                      <a:pt x="87" y="135"/>
                      <a:pt x="87" y="135"/>
                    </a:cubicBezTo>
                    <a:cubicBezTo>
                      <a:pt x="91" y="135"/>
                      <a:pt x="92" y="135"/>
                      <a:pt x="96" y="135"/>
                    </a:cubicBezTo>
                    <a:cubicBezTo>
                      <a:pt x="95" y="137"/>
                      <a:pt x="97" y="136"/>
                      <a:pt x="94" y="137"/>
                    </a:cubicBezTo>
                    <a:cubicBezTo>
                      <a:pt x="95" y="138"/>
                      <a:pt x="95" y="140"/>
                      <a:pt x="95" y="140"/>
                    </a:cubicBezTo>
                    <a:cubicBezTo>
                      <a:pt x="99" y="140"/>
                      <a:pt x="103" y="139"/>
                      <a:pt x="106" y="141"/>
                    </a:cubicBezTo>
                    <a:cubicBezTo>
                      <a:pt x="107" y="142"/>
                      <a:pt x="108" y="144"/>
                      <a:pt x="108" y="145"/>
                    </a:cubicBezTo>
                    <a:cubicBezTo>
                      <a:pt x="121" y="145"/>
                      <a:pt x="121" y="145"/>
                      <a:pt x="121" y="145"/>
                    </a:cubicBezTo>
                    <a:cubicBezTo>
                      <a:pt x="121" y="145"/>
                      <a:pt x="122" y="143"/>
                      <a:pt x="123" y="143"/>
                    </a:cubicBezTo>
                    <a:cubicBezTo>
                      <a:pt x="125" y="145"/>
                      <a:pt x="125" y="145"/>
                      <a:pt x="125" y="145"/>
                    </a:cubicBezTo>
                    <a:cubicBezTo>
                      <a:pt x="129" y="146"/>
                      <a:pt x="131" y="146"/>
                      <a:pt x="135" y="147"/>
                    </a:cubicBezTo>
                    <a:cubicBezTo>
                      <a:pt x="136" y="147"/>
                      <a:pt x="138" y="149"/>
                      <a:pt x="139" y="149"/>
                    </a:cubicBezTo>
                    <a:cubicBezTo>
                      <a:pt x="141" y="150"/>
                      <a:pt x="142" y="148"/>
                      <a:pt x="144" y="149"/>
                    </a:cubicBezTo>
                    <a:cubicBezTo>
                      <a:pt x="146" y="149"/>
                      <a:pt x="150" y="152"/>
                      <a:pt x="153" y="151"/>
                    </a:cubicBezTo>
                    <a:cubicBezTo>
                      <a:pt x="154" y="151"/>
                      <a:pt x="155" y="149"/>
                      <a:pt x="157" y="150"/>
                    </a:cubicBezTo>
                    <a:cubicBezTo>
                      <a:pt x="159" y="150"/>
                      <a:pt x="159" y="153"/>
                      <a:pt x="160" y="153"/>
                    </a:cubicBezTo>
                    <a:cubicBezTo>
                      <a:pt x="162" y="155"/>
                      <a:pt x="164" y="154"/>
                      <a:pt x="166" y="155"/>
                    </a:cubicBezTo>
                    <a:cubicBezTo>
                      <a:pt x="167" y="155"/>
                      <a:pt x="168" y="156"/>
                      <a:pt x="169" y="157"/>
                    </a:cubicBezTo>
                    <a:cubicBezTo>
                      <a:pt x="168" y="155"/>
                      <a:pt x="169" y="153"/>
                      <a:pt x="168" y="151"/>
                    </a:cubicBezTo>
                    <a:cubicBezTo>
                      <a:pt x="167" y="151"/>
                      <a:pt x="166" y="150"/>
                      <a:pt x="166" y="150"/>
                    </a:cubicBezTo>
                    <a:cubicBezTo>
                      <a:pt x="165" y="149"/>
                      <a:pt x="166" y="145"/>
                      <a:pt x="167" y="144"/>
                    </a:cubicBezTo>
                    <a:cubicBezTo>
                      <a:pt x="162" y="142"/>
                      <a:pt x="159" y="142"/>
                      <a:pt x="153" y="142"/>
                    </a:cubicBezTo>
                    <a:cubicBezTo>
                      <a:pt x="153" y="142"/>
                      <a:pt x="153" y="136"/>
                      <a:pt x="153" y="136"/>
                    </a:cubicBezTo>
                    <a:cubicBezTo>
                      <a:pt x="153" y="136"/>
                      <a:pt x="152" y="135"/>
                      <a:pt x="152" y="135"/>
                    </a:cubicBezTo>
                    <a:cubicBezTo>
                      <a:pt x="151" y="134"/>
                      <a:pt x="152" y="132"/>
                      <a:pt x="152" y="131"/>
                    </a:cubicBezTo>
                    <a:cubicBezTo>
                      <a:pt x="150" y="132"/>
                      <a:pt x="147" y="133"/>
                      <a:pt x="146" y="133"/>
                    </a:cubicBezTo>
                    <a:cubicBezTo>
                      <a:pt x="146" y="133"/>
                      <a:pt x="146" y="131"/>
                      <a:pt x="146" y="131"/>
                    </a:cubicBezTo>
                    <a:cubicBezTo>
                      <a:pt x="145" y="130"/>
                      <a:pt x="144" y="131"/>
                      <a:pt x="143" y="131"/>
                    </a:cubicBezTo>
                    <a:cubicBezTo>
                      <a:pt x="142" y="129"/>
                      <a:pt x="142" y="129"/>
                      <a:pt x="142" y="129"/>
                    </a:cubicBezTo>
                    <a:cubicBezTo>
                      <a:pt x="138" y="129"/>
                      <a:pt x="138" y="130"/>
                      <a:pt x="134" y="128"/>
                    </a:cubicBezTo>
                    <a:cubicBezTo>
                      <a:pt x="134" y="129"/>
                      <a:pt x="134" y="130"/>
                      <a:pt x="133" y="131"/>
                    </a:cubicBezTo>
                    <a:cubicBezTo>
                      <a:pt x="130" y="131"/>
                      <a:pt x="127" y="132"/>
                      <a:pt x="124" y="131"/>
                    </a:cubicBezTo>
                    <a:cubicBezTo>
                      <a:pt x="122" y="130"/>
                      <a:pt x="122" y="130"/>
                      <a:pt x="122" y="130"/>
                    </a:cubicBezTo>
                    <a:cubicBezTo>
                      <a:pt x="116" y="129"/>
                      <a:pt x="116" y="129"/>
                      <a:pt x="114" y="125"/>
                    </a:cubicBezTo>
                    <a:cubicBezTo>
                      <a:pt x="114" y="125"/>
                      <a:pt x="109" y="126"/>
                      <a:pt x="108" y="125"/>
                    </a:cubicBezTo>
                    <a:cubicBezTo>
                      <a:pt x="107" y="124"/>
                      <a:pt x="107" y="124"/>
                      <a:pt x="107" y="124"/>
                    </a:cubicBezTo>
                    <a:cubicBezTo>
                      <a:pt x="105" y="123"/>
                      <a:pt x="104" y="123"/>
                      <a:pt x="102" y="123"/>
                    </a:cubicBezTo>
                    <a:close/>
                    <a:moveTo>
                      <a:pt x="229" y="124"/>
                    </a:moveTo>
                    <a:cubicBezTo>
                      <a:pt x="230" y="125"/>
                      <a:pt x="230" y="125"/>
                      <a:pt x="230" y="125"/>
                    </a:cubicBezTo>
                    <a:cubicBezTo>
                      <a:pt x="230" y="124"/>
                      <a:pt x="231" y="124"/>
                      <a:pt x="229" y="124"/>
                    </a:cubicBezTo>
                    <a:close/>
                    <a:moveTo>
                      <a:pt x="335" y="127"/>
                    </a:moveTo>
                    <a:cubicBezTo>
                      <a:pt x="335" y="128"/>
                      <a:pt x="334" y="128"/>
                      <a:pt x="334" y="129"/>
                    </a:cubicBezTo>
                    <a:cubicBezTo>
                      <a:pt x="337" y="130"/>
                      <a:pt x="336" y="133"/>
                      <a:pt x="336" y="137"/>
                    </a:cubicBezTo>
                    <a:cubicBezTo>
                      <a:pt x="335" y="137"/>
                      <a:pt x="334" y="137"/>
                      <a:pt x="333" y="138"/>
                    </a:cubicBezTo>
                    <a:cubicBezTo>
                      <a:pt x="333" y="138"/>
                      <a:pt x="335" y="140"/>
                      <a:pt x="335" y="141"/>
                    </a:cubicBezTo>
                    <a:cubicBezTo>
                      <a:pt x="333" y="141"/>
                      <a:pt x="336" y="143"/>
                      <a:pt x="336" y="143"/>
                    </a:cubicBezTo>
                    <a:cubicBezTo>
                      <a:pt x="338" y="137"/>
                      <a:pt x="336" y="139"/>
                      <a:pt x="340" y="136"/>
                    </a:cubicBezTo>
                    <a:cubicBezTo>
                      <a:pt x="340" y="136"/>
                      <a:pt x="340" y="134"/>
                      <a:pt x="340" y="134"/>
                    </a:cubicBezTo>
                    <a:cubicBezTo>
                      <a:pt x="337" y="135"/>
                      <a:pt x="341" y="130"/>
                      <a:pt x="339" y="129"/>
                    </a:cubicBezTo>
                    <a:cubicBezTo>
                      <a:pt x="338" y="128"/>
                      <a:pt x="337" y="128"/>
                      <a:pt x="335" y="127"/>
                    </a:cubicBezTo>
                    <a:close/>
                    <a:moveTo>
                      <a:pt x="155" y="133"/>
                    </a:moveTo>
                    <a:cubicBezTo>
                      <a:pt x="155" y="133"/>
                      <a:pt x="153" y="135"/>
                      <a:pt x="156" y="136"/>
                    </a:cubicBezTo>
                    <a:cubicBezTo>
                      <a:pt x="157" y="137"/>
                      <a:pt x="161" y="135"/>
                      <a:pt x="161" y="135"/>
                    </a:cubicBezTo>
                    <a:cubicBezTo>
                      <a:pt x="164" y="136"/>
                      <a:pt x="162" y="133"/>
                      <a:pt x="162" y="133"/>
                    </a:cubicBezTo>
                    <a:cubicBezTo>
                      <a:pt x="159" y="133"/>
                      <a:pt x="158" y="133"/>
                      <a:pt x="155" y="133"/>
                    </a:cubicBezTo>
                    <a:close/>
                    <a:moveTo>
                      <a:pt x="370" y="143"/>
                    </a:moveTo>
                    <a:cubicBezTo>
                      <a:pt x="370" y="145"/>
                      <a:pt x="370" y="145"/>
                      <a:pt x="370" y="145"/>
                    </a:cubicBezTo>
                    <a:cubicBezTo>
                      <a:pt x="370" y="145"/>
                      <a:pt x="371" y="145"/>
                      <a:pt x="372" y="145"/>
                    </a:cubicBezTo>
                    <a:cubicBezTo>
                      <a:pt x="371" y="144"/>
                      <a:pt x="372" y="142"/>
                      <a:pt x="370" y="143"/>
                    </a:cubicBezTo>
                    <a:close/>
                    <a:moveTo>
                      <a:pt x="309" y="147"/>
                    </a:moveTo>
                    <a:cubicBezTo>
                      <a:pt x="308" y="147"/>
                      <a:pt x="309" y="149"/>
                      <a:pt x="308" y="150"/>
                    </a:cubicBezTo>
                    <a:cubicBezTo>
                      <a:pt x="307" y="151"/>
                      <a:pt x="303" y="153"/>
                      <a:pt x="307" y="155"/>
                    </a:cubicBezTo>
                    <a:cubicBezTo>
                      <a:pt x="307" y="154"/>
                      <a:pt x="313" y="145"/>
                      <a:pt x="309" y="147"/>
                    </a:cubicBezTo>
                    <a:close/>
                    <a:moveTo>
                      <a:pt x="169" y="149"/>
                    </a:moveTo>
                    <a:cubicBezTo>
                      <a:pt x="169" y="150"/>
                      <a:pt x="169" y="152"/>
                      <a:pt x="169" y="153"/>
                    </a:cubicBezTo>
                    <a:cubicBezTo>
                      <a:pt x="169" y="153"/>
                      <a:pt x="170" y="153"/>
                      <a:pt x="171" y="153"/>
                    </a:cubicBezTo>
                    <a:cubicBezTo>
                      <a:pt x="172" y="154"/>
                      <a:pt x="172" y="156"/>
                      <a:pt x="172" y="158"/>
                    </a:cubicBezTo>
                    <a:cubicBezTo>
                      <a:pt x="172" y="158"/>
                      <a:pt x="174" y="157"/>
                      <a:pt x="174" y="157"/>
                    </a:cubicBezTo>
                    <a:cubicBezTo>
                      <a:pt x="174" y="156"/>
                      <a:pt x="176" y="154"/>
                      <a:pt x="176" y="153"/>
                    </a:cubicBezTo>
                    <a:cubicBezTo>
                      <a:pt x="176" y="152"/>
                      <a:pt x="175" y="151"/>
                      <a:pt x="176" y="151"/>
                    </a:cubicBezTo>
                    <a:cubicBezTo>
                      <a:pt x="172" y="151"/>
                      <a:pt x="172" y="151"/>
                      <a:pt x="169" y="149"/>
                    </a:cubicBezTo>
                    <a:close/>
                    <a:moveTo>
                      <a:pt x="263" y="152"/>
                    </a:moveTo>
                    <a:cubicBezTo>
                      <a:pt x="263" y="152"/>
                      <a:pt x="263" y="154"/>
                      <a:pt x="263" y="155"/>
                    </a:cubicBezTo>
                    <a:cubicBezTo>
                      <a:pt x="271" y="155"/>
                      <a:pt x="271" y="155"/>
                      <a:pt x="271" y="155"/>
                    </a:cubicBezTo>
                    <a:cubicBezTo>
                      <a:pt x="271" y="154"/>
                      <a:pt x="271" y="152"/>
                      <a:pt x="271" y="152"/>
                    </a:cubicBezTo>
                    <a:cubicBezTo>
                      <a:pt x="267" y="152"/>
                      <a:pt x="267" y="152"/>
                      <a:pt x="263" y="152"/>
                    </a:cubicBezTo>
                    <a:close/>
                    <a:moveTo>
                      <a:pt x="182" y="154"/>
                    </a:moveTo>
                    <a:cubicBezTo>
                      <a:pt x="182" y="156"/>
                      <a:pt x="181" y="158"/>
                      <a:pt x="180" y="160"/>
                    </a:cubicBezTo>
                    <a:cubicBezTo>
                      <a:pt x="186" y="160"/>
                      <a:pt x="184" y="161"/>
                      <a:pt x="186" y="155"/>
                    </a:cubicBezTo>
                    <a:cubicBezTo>
                      <a:pt x="185" y="155"/>
                      <a:pt x="183" y="154"/>
                      <a:pt x="182" y="154"/>
                    </a:cubicBezTo>
                    <a:close/>
                    <a:moveTo>
                      <a:pt x="194" y="155"/>
                    </a:moveTo>
                    <a:cubicBezTo>
                      <a:pt x="194" y="155"/>
                      <a:pt x="194" y="157"/>
                      <a:pt x="194" y="158"/>
                    </a:cubicBezTo>
                    <a:cubicBezTo>
                      <a:pt x="194" y="158"/>
                      <a:pt x="196" y="158"/>
                      <a:pt x="196" y="158"/>
                    </a:cubicBezTo>
                    <a:cubicBezTo>
                      <a:pt x="195" y="159"/>
                      <a:pt x="198" y="161"/>
                      <a:pt x="193" y="161"/>
                    </a:cubicBezTo>
                    <a:cubicBezTo>
                      <a:pt x="191" y="160"/>
                      <a:pt x="190" y="158"/>
                      <a:pt x="189" y="158"/>
                    </a:cubicBezTo>
                    <a:cubicBezTo>
                      <a:pt x="188" y="158"/>
                      <a:pt x="189" y="159"/>
                      <a:pt x="187" y="159"/>
                    </a:cubicBezTo>
                    <a:cubicBezTo>
                      <a:pt x="186" y="160"/>
                      <a:pt x="186" y="162"/>
                      <a:pt x="186" y="165"/>
                    </a:cubicBezTo>
                    <a:cubicBezTo>
                      <a:pt x="187" y="164"/>
                      <a:pt x="188" y="164"/>
                      <a:pt x="190" y="164"/>
                    </a:cubicBezTo>
                    <a:cubicBezTo>
                      <a:pt x="190" y="164"/>
                      <a:pt x="191" y="165"/>
                      <a:pt x="192" y="165"/>
                    </a:cubicBezTo>
                    <a:cubicBezTo>
                      <a:pt x="194" y="164"/>
                      <a:pt x="194" y="164"/>
                      <a:pt x="194" y="164"/>
                    </a:cubicBezTo>
                    <a:cubicBezTo>
                      <a:pt x="197" y="163"/>
                      <a:pt x="204" y="163"/>
                      <a:pt x="205" y="163"/>
                    </a:cubicBezTo>
                    <a:cubicBezTo>
                      <a:pt x="205" y="161"/>
                      <a:pt x="205" y="160"/>
                      <a:pt x="204" y="159"/>
                    </a:cubicBezTo>
                    <a:cubicBezTo>
                      <a:pt x="199" y="158"/>
                      <a:pt x="198" y="157"/>
                      <a:pt x="194" y="155"/>
                    </a:cubicBezTo>
                    <a:close/>
                    <a:moveTo>
                      <a:pt x="282" y="156"/>
                    </a:moveTo>
                    <a:cubicBezTo>
                      <a:pt x="282" y="157"/>
                      <a:pt x="282" y="157"/>
                      <a:pt x="282" y="157"/>
                    </a:cubicBezTo>
                    <a:cubicBezTo>
                      <a:pt x="283" y="157"/>
                      <a:pt x="283" y="157"/>
                      <a:pt x="283" y="157"/>
                    </a:cubicBezTo>
                    <a:cubicBezTo>
                      <a:pt x="282" y="157"/>
                      <a:pt x="284" y="156"/>
                      <a:pt x="282" y="156"/>
                    </a:cubicBezTo>
                    <a:close/>
                    <a:moveTo>
                      <a:pt x="215" y="157"/>
                    </a:moveTo>
                    <a:cubicBezTo>
                      <a:pt x="214" y="157"/>
                      <a:pt x="212" y="157"/>
                      <a:pt x="211" y="158"/>
                    </a:cubicBezTo>
                    <a:cubicBezTo>
                      <a:pt x="211" y="158"/>
                      <a:pt x="212" y="161"/>
                      <a:pt x="211" y="161"/>
                    </a:cubicBezTo>
                    <a:cubicBezTo>
                      <a:pt x="217" y="162"/>
                      <a:pt x="220" y="163"/>
                      <a:pt x="225" y="163"/>
                    </a:cubicBezTo>
                    <a:cubicBezTo>
                      <a:pt x="225" y="164"/>
                      <a:pt x="225" y="164"/>
                      <a:pt x="225" y="164"/>
                    </a:cubicBezTo>
                    <a:cubicBezTo>
                      <a:pt x="229" y="164"/>
                      <a:pt x="233" y="160"/>
                      <a:pt x="236" y="161"/>
                    </a:cubicBezTo>
                    <a:cubicBezTo>
                      <a:pt x="236" y="161"/>
                      <a:pt x="237" y="162"/>
                      <a:pt x="238" y="163"/>
                    </a:cubicBezTo>
                    <a:cubicBezTo>
                      <a:pt x="239" y="161"/>
                      <a:pt x="239" y="159"/>
                      <a:pt x="239" y="159"/>
                    </a:cubicBezTo>
                    <a:cubicBezTo>
                      <a:pt x="239" y="159"/>
                      <a:pt x="237" y="158"/>
                      <a:pt x="235" y="158"/>
                    </a:cubicBezTo>
                    <a:cubicBezTo>
                      <a:pt x="234" y="158"/>
                      <a:pt x="233" y="159"/>
                      <a:pt x="231" y="159"/>
                    </a:cubicBezTo>
                    <a:cubicBezTo>
                      <a:pt x="231" y="159"/>
                      <a:pt x="228" y="157"/>
                      <a:pt x="227" y="157"/>
                    </a:cubicBezTo>
                    <a:cubicBezTo>
                      <a:pt x="225" y="157"/>
                      <a:pt x="225" y="158"/>
                      <a:pt x="222" y="158"/>
                    </a:cubicBezTo>
                    <a:cubicBezTo>
                      <a:pt x="221" y="158"/>
                      <a:pt x="217" y="156"/>
                      <a:pt x="215" y="157"/>
                    </a:cubicBezTo>
                    <a:close/>
                    <a:moveTo>
                      <a:pt x="251" y="158"/>
                    </a:moveTo>
                    <a:cubicBezTo>
                      <a:pt x="251" y="159"/>
                      <a:pt x="251" y="159"/>
                      <a:pt x="251" y="159"/>
                    </a:cubicBezTo>
                    <a:cubicBezTo>
                      <a:pt x="253" y="159"/>
                      <a:pt x="254" y="159"/>
                      <a:pt x="255" y="159"/>
                    </a:cubicBezTo>
                    <a:cubicBezTo>
                      <a:pt x="255" y="159"/>
                      <a:pt x="255" y="158"/>
                      <a:pt x="253" y="158"/>
                    </a:cubicBezTo>
                    <a:cubicBezTo>
                      <a:pt x="254" y="158"/>
                      <a:pt x="252" y="158"/>
                      <a:pt x="251" y="158"/>
                    </a:cubicBezTo>
                    <a:close/>
                    <a:moveTo>
                      <a:pt x="243" y="159"/>
                    </a:moveTo>
                    <a:cubicBezTo>
                      <a:pt x="242" y="159"/>
                      <a:pt x="244" y="160"/>
                      <a:pt x="244" y="160"/>
                    </a:cubicBezTo>
                    <a:cubicBezTo>
                      <a:pt x="244" y="160"/>
                      <a:pt x="246" y="158"/>
                      <a:pt x="243" y="159"/>
                    </a:cubicBezTo>
                    <a:close/>
                    <a:moveTo>
                      <a:pt x="248" y="159"/>
                    </a:moveTo>
                    <a:cubicBezTo>
                      <a:pt x="247" y="159"/>
                      <a:pt x="247" y="160"/>
                      <a:pt x="249" y="161"/>
                    </a:cubicBezTo>
                    <a:cubicBezTo>
                      <a:pt x="249" y="161"/>
                      <a:pt x="250" y="158"/>
                      <a:pt x="248" y="159"/>
                    </a:cubicBezTo>
                    <a:close/>
                    <a:moveTo>
                      <a:pt x="271" y="159"/>
                    </a:moveTo>
                    <a:cubicBezTo>
                      <a:pt x="269" y="160"/>
                      <a:pt x="269" y="160"/>
                      <a:pt x="269" y="160"/>
                    </a:cubicBezTo>
                    <a:cubicBezTo>
                      <a:pt x="268" y="160"/>
                      <a:pt x="266" y="159"/>
                      <a:pt x="265" y="160"/>
                    </a:cubicBezTo>
                    <a:cubicBezTo>
                      <a:pt x="264" y="160"/>
                      <a:pt x="264" y="162"/>
                      <a:pt x="263" y="162"/>
                    </a:cubicBezTo>
                    <a:cubicBezTo>
                      <a:pt x="261" y="162"/>
                      <a:pt x="257" y="161"/>
                      <a:pt x="255" y="163"/>
                    </a:cubicBezTo>
                    <a:cubicBezTo>
                      <a:pt x="254" y="163"/>
                      <a:pt x="255" y="165"/>
                      <a:pt x="254" y="166"/>
                    </a:cubicBezTo>
                    <a:cubicBezTo>
                      <a:pt x="253" y="167"/>
                      <a:pt x="251" y="166"/>
                      <a:pt x="250" y="167"/>
                    </a:cubicBezTo>
                    <a:cubicBezTo>
                      <a:pt x="249" y="168"/>
                      <a:pt x="250" y="169"/>
                      <a:pt x="249" y="170"/>
                    </a:cubicBezTo>
                    <a:cubicBezTo>
                      <a:pt x="249" y="171"/>
                      <a:pt x="244" y="173"/>
                      <a:pt x="242" y="174"/>
                    </a:cubicBezTo>
                    <a:cubicBezTo>
                      <a:pt x="242" y="175"/>
                      <a:pt x="243" y="176"/>
                      <a:pt x="243" y="177"/>
                    </a:cubicBezTo>
                    <a:cubicBezTo>
                      <a:pt x="240" y="179"/>
                      <a:pt x="239" y="180"/>
                      <a:pt x="235" y="181"/>
                    </a:cubicBezTo>
                    <a:cubicBezTo>
                      <a:pt x="235" y="182"/>
                      <a:pt x="234" y="182"/>
                      <a:pt x="234" y="183"/>
                    </a:cubicBezTo>
                    <a:cubicBezTo>
                      <a:pt x="235" y="183"/>
                      <a:pt x="235" y="184"/>
                      <a:pt x="235" y="184"/>
                    </a:cubicBezTo>
                    <a:cubicBezTo>
                      <a:pt x="237" y="185"/>
                      <a:pt x="240" y="184"/>
                      <a:pt x="241" y="183"/>
                    </a:cubicBezTo>
                    <a:cubicBezTo>
                      <a:pt x="242" y="183"/>
                      <a:pt x="241" y="182"/>
                      <a:pt x="241" y="181"/>
                    </a:cubicBezTo>
                    <a:cubicBezTo>
                      <a:pt x="241" y="181"/>
                      <a:pt x="245" y="178"/>
                      <a:pt x="245" y="178"/>
                    </a:cubicBezTo>
                    <a:cubicBezTo>
                      <a:pt x="248" y="176"/>
                      <a:pt x="250" y="178"/>
                      <a:pt x="253" y="177"/>
                    </a:cubicBezTo>
                    <a:cubicBezTo>
                      <a:pt x="255" y="176"/>
                      <a:pt x="256" y="173"/>
                      <a:pt x="257" y="171"/>
                    </a:cubicBezTo>
                    <a:cubicBezTo>
                      <a:pt x="258" y="171"/>
                      <a:pt x="259" y="171"/>
                      <a:pt x="259" y="171"/>
                    </a:cubicBezTo>
                    <a:cubicBezTo>
                      <a:pt x="260" y="171"/>
                      <a:pt x="260" y="170"/>
                      <a:pt x="260" y="169"/>
                    </a:cubicBezTo>
                    <a:cubicBezTo>
                      <a:pt x="261" y="168"/>
                      <a:pt x="263" y="169"/>
                      <a:pt x="264" y="168"/>
                    </a:cubicBezTo>
                    <a:cubicBezTo>
                      <a:pt x="265" y="167"/>
                      <a:pt x="265" y="166"/>
                      <a:pt x="265" y="165"/>
                    </a:cubicBezTo>
                    <a:cubicBezTo>
                      <a:pt x="267" y="164"/>
                      <a:pt x="268" y="165"/>
                      <a:pt x="270" y="164"/>
                    </a:cubicBezTo>
                    <a:cubicBezTo>
                      <a:pt x="270" y="164"/>
                      <a:pt x="271" y="162"/>
                      <a:pt x="271" y="162"/>
                    </a:cubicBezTo>
                    <a:cubicBezTo>
                      <a:pt x="273" y="161"/>
                      <a:pt x="276" y="158"/>
                      <a:pt x="271" y="159"/>
                    </a:cubicBezTo>
                    <a:close/>
                    <a:moveTo>
                      <a:pt x="207" y="171"/>
                    </a:moveTo>
                    <a:cubicBezTo>
                      <a:pt x="205" y="174"/>
                      <a:pt x="205" y="174"/>
                      <a:pt x="205" y="174"/>
                    </a:cubicBezTo>
                    <a:cubicBezTo>
                      <a:pt x="211" y="176"/>
                      <a:pt x="212" y="179"/>
                      <a:pt x="220" y="179"/>
                    </a:cubicBezTo>
                    <a:cubicBezTo>
                      <a:pt x="220" y="178"/>
                      <a:pt x="221" y="174"/>
                      <a:pt x="219" y="175"/>
                    </a:cubicBezTo>
                    <a:cubicBezTo>
                      <a:pt x="219" y="174"/>
                      <a:pt x="219" y="174"/>
                      <a:pt x="219" y="174"/>
                    </a:cubicBezTo>
                    <a:cubicBezTo>
                      <a:pt x="215" y="172"/>
                      <a:pt x="212" y="172"/>
                      <a:pt x="207" y="171"/>
                    </a:cubicBezTo>
                    <a:close/>
                    <a:moveTo>
                      <a:pt x="63" y="50"/>
                    </a:moveTo>
                    <a:cubicBezTo>
                      <a:pt x="63" y="50"/>
                      <a:pt x="63" y="52"/>
                      <a:pt x="63" y="52"/>
                    </a:cubicBezTo>
                    <a:cubicBezTo>
                      <a:pt x="63" y="52"/>
                      <a:pt x="65" y="53"/>
                      <a:pt x="66" y="53"/>
                    </a:cubicBezTo>
                    <a:cubicBezTo>
                      <a:pt x="66" y="52"/>
                      <a:pt x="66" y="51"/>
                      <a:pt x="66" y="51"/>
                    </a:cubicBezTo>
                    <a:lnTo>
                      <a:pt x="63" y="50"/>
                    </a:lnTo>
                    <a:close/>
                    <a:moveTo>
                      <a:pt x="75" y="68"/>
                    </a:moveTo>
                    <a:cubicBezTo>
                      <a:pt x="75" y="70"/>
                      <a:pt x="75" y="70"/>
                      <a:pt x="75" y="70"/>
                    </a:cubicBezTo>
                    <a:cubicBezTo>
                      <a:pt x="77" y="70"/>
                      <a:pt x="77" y="68"/>
                      <a:pt x="75" y="68"/>
                    </a:cubicBezTo>
                    <a:close/>
                    <a:moveTo>
                      <a:pt x="127" y="42"/>
                    </a:moveTo>
                    <a:cubicBezTo>
                      <a:pt x="127" y="42"/>
                      <a:pt x="127" y="42"/>
                      <a:pt x="126" y="42"/>
                    </a:cubicBezTo>
                    <a:cubicBezTo>
                      <a:pt x="126" y="41"/>
                      <a:pt x="125" y="42"/>
                      <a:pt x="124" y="42"/>
                    </a:cubicBezTo>
                    <a:cubicBezTo>
                      <a:pt x="124" y="42"/>
                      <a:pt x="124" y="44"/>
                      <a:pt x="124" y="45"/>
                    </a:cubicBezTo>
                    <a:cubicBezTo>
                      <a:pt x="123" y="45"/>
                      <a:pt x="122" y="45"/>
                      <a:pt x="122" y="46"/>
                    </a:cubicBezTo>
                    <a:cubicBezTo>
                      <a:pt x="120" y="47"/>
                      <a:pt x="121" y="49"/>
                      <a:pt x="120" y="51"/>
                    </a:cubicBezTo>
                    <a:cubicBezTo>
                      <a:pt x="118" y="52"/>
                      <a:pt x="118" y="52"/>
                      <a:pt x="118" y="52"/>
                    </a:cubicBezTo>
                    <a:cubicBezTo>
                      <a:pt x="118" y="53"/>
                      <a:pt x="118" y="61"/>
                      <a:pt x="118" y="62"/>
                    </a:cubicBezTo>
                    <a:cubicBezTo>
                      <a:pt x="119" y="62"/>
                      <a:pt x="121" y="64"/>
                      <a:pt x="121" y="65"/>
                    </a:cubicBezTo>
                    <a:cubicBezTo>
                      <a:pt x="121" y="66"/>
                      <a:pt x="120" y="68"/>
                      <a:pt x="120" y="69"/>
                    </a:cubicBezTo>
                    <a:cubicBezTo>
                      <a:pt x="120" y="69"/>
                      <a:pt x="122" y="71"/>
                      <a:pt x="122" y="71"/>
                    </a:cubicBezTo>
                    <a:cubicBezTo>
                      <a:pt x="123" y="72"/>
                      <a:pt x="122" y="73"/>
                      <a:pt x="122" y="74"/>
                    </a:cubicBezTo>
                    <a:cubicBezTo>
                      <a:pt x="122" y="74"/>
                      <a:pt x="123" y="74"/>
                      <a:pt x="124" y="75"/>
                    </a:cubicBezTo>
                    <a:cubicBezTo>
                      <a:pt x="123" y="77"/>
                      <a:pt x="123" y="77"/>
                      <a:pt x="122" y="79"/>
                    </a:cubicBezTo>
                    <a:cubicBezTo>
                      <a:pt x="123" y="78"/>
                      <a:pt x="124" y="79"/>
                      <a:pt x="124" y="79"/>
                    </a:cubicBezTo>
                    <a:cubicBezTo>
                      <a:pt x="125" y="79"/>
                      <a:pt x="126" y="77"/>
                      <a:pt x="126" y="77"/>
                    </a:cubicBezTo>
                    <a:cubicBezTo>
                      <a:pt x="128" y="77"/>
                      <a:pt x="127" y="78"/>
                      <a:pt x="128" y="77"/>
                    </a:cubicBezTo>
                    <a:cubicBezTo>
                      <a:pt x="129" y="81"/>
                      <a:pt x="129" y="84"/>
                      <a:pt x="130" y="88"/>
                    </a:cubicBezTo>
                    <a:cubicBezTo>
                      <a:pt x="131" y="89"/>
                      <a:pt x="132" y="90"/>
                      <a:pt x="132" y="91"/>
                    </a:cubicBezTo>
                    <a:cubicBezTo>
                      <a:pt x="133" y="93"/>
                      <a:pt x="133" y="94"/>
                      <a:pt x="133" y="96"/>
                    </a:cubicBezTo>
                    <a:cubicBezTo>
                      <a:pt x="135" y="97"/>
                      <a:pt x="138" y="98"/>
                      <a:pt x="140" y="97"/>
                    </a:cubicBezTo>
                    <a:cubicBezTo>
                      <a:pt x="141" y="97"/>
                      <a:pt x="140" y="95"/>
                      <a:pt x="143" y="95"/>
                    </a:cubicBezTo>
                    <a:cubicBezTo>
                      <a:pt x="143" y="96"/>
                      <a:pt x="143" y="96"/>
                      <a:pt x="143" y="96"/>
                    </a:cubicBezTo>
                    <a:cubicBezTo>
                      <a:pt x="144" y="97"/>
                      <a:pt x="144" y="96"/>
                      <a:pt x="146" y="97"/>
                    </a:cubicBezTo>
                    <a:cubicBezTo>
                      <a:pt x="146" y="97"/>
                      <a:pt x="146" y="100"/>
                      <a:pt x="146" y="100"/>
                    </a:cubicBezTo>
                    <a:cubicBezTo>
                      <a:pt x="147" y="101"/>
                      <a:pt x="148" y="99"/>
                      <a:pt x="148" y="101"/>
                    </a:cubicBezTo>
                    <a:cubicBezTo>
                      <a:pt x="152" y="101"/>
                      <a:pt x="152" y="100"/>
                      <a:pt x="156" y="100"/>
                    </a:cubicBezTo>
                    <a:cubicBezTo>
                      <a:pt x="156" y="98"/>
                      <a:pt x="156" y="98"/>
                      <a:pt x="156" y="98"/>
                    </a:cubicBezTo>
                    <a:cubicBezTo>
                      <a:pt x="157" y="98"/>
                      <a:pt x="158" y="98"/>
                      <a:pt x="158" y="98"/>
                    </a:cubicBezTo>
                    <a:cubicBezTo>
                      <a:pt x="160" y="99"/>
                      <a:pt x="161" y="102"/>
                      <a:pt x="164" y="100"/>
                    </a:cubicBezTo>
                    <a:cubicBezTo>
                      <a:pt x="164" y="100"/>
                      <a:pt x="164" y="99"/>
                      <a:pt x="165" y="99"/>
                    </a:cubicBezTo>
                    <a:cubicBezTo>
                      <a:pt x="166" y="100"/>
                      <a:pt x="166" y="100"/>
                      <a:pt x="166" y="100"/>
                    </a:cubicBezTo>
                    <a:cubicBezTo>
                      <a:pt x="170" y="101"/>
                      <a:pt x="168" y="101"/>
                      <a:pt x="170" y="102"/>
                    </a:cubicBezTo>
                    <a:cubicBezTo>
                      <a:pt x="170" y="103"/>
                      <a:pt x="170" y="103"/>
                      <a:pt x="170" y="103"/>
                    </a:cubicBezTo>
                    <a:cubicBezTo>
                      <a:pt x="171" y="103"/>
                      <a:pt x="171" y="104"/>
                      <a:pt x="172" y="103"/>
                    </a:cubicBezTo>
                    <a:cubicBezTo>
                      <a:pt x="172" y="103"/>
                      <a:pt x="174" y="102"/>
                      <a:pt x="174" y="101"/>
                    </a:cubicBezTo>
                    <a:cubicBezTo>
                      <a:pt x="177" y="100"/>
                      <a:pt x="179" y="100"/>
                      <a:pt x="182" y="99"/>
                    </a:cubicBezTo>
                    <a:cubicBezTo>
                      <a:pt x="183" y="94"/>
                      <a:pt x="186" y="90"/>
                      <a:pt x="190" y="88"/>
                    </a:cubicBezTo>
                    <a:cubicBezTo>
                      <a:pt x="189" y="86"/>
                      <a:pt x="188" y="85"/>
                      <a:pt x="187" y="83"/>
                    </a:cubicBezTo>
                    <a:cubicBezTo>
                      <a:pt x="189" y="81"/>
                      <a:pt x="191" y="79"/>
                      <a:pt x="193" y="76"/>
                    </a:cubicBezTo>
                    <a:cubicBezTo>
                      <a:pt x="193" y="75"/>
                      <a:pt x="193" y="74"/>
                      <a:pt x="193" y="73"/>
                    </a:cubicBezTo>
                    <a:cubicBezTo>
                      <a:pt x="193" y="73"/>
                      <a:pt x="190" y="72"/>
                      <a:pt x="191" y="71"/>
                    </a:cubicBezTo>
                    <a:cubicBezTo>
                      <a:pt x="192" y="71"/>
                      <a:pt x="192" y="72"/>
                      <a:pt x="193" y="71"/>
                    </a:cubicBezTo>
                    <a:cubicBezTo>
                      <a:pt x="195" y="68"/>
                      <a:pt x="194" y="62"/>
                      <a:pt x="194" y="58"/>
                    </a:cubicBezTo>
                    <a:cubicBezTo>
                      <a:pt x="197" y="56"/>
                      <a:pt x="199" y="55"/>
                      <a:pt x="204" y="54"/>
                    </a:cubicBezTo>
                    <a:cubicBezTo>
                      <a:pt x="203" y="54"/>
                      <a:pt x="204" y="52"/>
                      <a:pt x="203" y="52"/>
                    </a:cubicBezTo>
                    <a:cubicBezTo>
                      <a:pt x="200" y="50"/>
                      <a:pt x="196" y="49"/>
                      <a:pt x="195" y="46"/>
                    </a:cubicBezTo>
                    <a:cubicBezTo>
                      <a:pt x="194" y="44"/>
                      <a:pt x="196" y="42"/>
                      <a:pt x="196" y="41"/>
                    </a:cubicBezTo>
                    <a:cubicBezTo>
                      <a:pt x="197" y="37"/>
                      <a:pt x="194" y="33"/>
                      <a:pt x="192" y="30"/>
                    </a:cubicBezTo>
                    <a:cubicBezTo>
                      <a:pt x="192" y="30"/>
                      <a:pt x="191" y="28"/>
                      <a:pt x="192" y="28"/>
                    </a:cubicBezTo>
                    <a:cubicBezTo>
                      <a:pt x="192" y="27"/>
                      <a:pt x="193" y="27"/>
                      <a:pt x="193" y="26"/>
                    </a:cubicBezTo>
                    <a:cubicBezTo>
                      <a:pt x="194" y="27"/>
                      <a:pt x="193" y="26"/>
                      <a:pt x="194" y="26"/>
                    </a:cubicBezTo>
                    <a:cubicBezTo>
                      <a:pt x="195" y="26"/>
                      <a:pt x="194" y="24"/>
                      <a:pt x="194" y="24"/>
                    </a:cubicBezTo>
                    <a:cubicBezTo>
                      <a:pt x="194" y="23"/>
                      <a:pt x="192" y="23"/>
                      <a:pt x="192" y="23"/>
                    </a:cubicBezTo>
                    <a:cubicBezTo>
                      <a:pt x="191" y="23"/>
                      <a:pt x="191" y="22"/>
                      <a:pt x="191" y="22"/>
                    </a:cubicBezTo>
                    <a:cubicBezTo>
                      <a:pt x="186" y="22"/>
                      <a:pt x="186" y="22"/>
                      <a:pt x="186" y="22"/>
                    </a:cubicBezTo>
                    <a:cubicBezTo>
                      <a:pt x="180" y="21"/>
                      <a:pt x="180" y="21"/>
                      <a:pt x="180" y="21"/>
                    </a:cubicBezTo>
                    <a:cubicBezTo>
                      <a:pt x="178" y="24"/>
                      <a:pt x="178" y="24"/>
                      <a:pt x="178" y="24"/>
                    </a:cubicBezTo>
                    <a:cubicBezTo>
                      <a:pt x="177" y="30"/>
                      <a:pt x="177" y="30"/>
                      <a:pt x="177" y="30"/>
                    </a:cubicBezTo>
                    <a:cubicBezTo>
                      <a:pt x="175" y="33"/>
                      <a:pt x="175" y="33"/>
                      <a:pt x="175" y="33"/>
                    </a:cubicBezTo>
                    <a:cubicBezTo>
                      <a:pt x="173" y="35"/>
                      <a:pt x="173" y="35"/>
                      <a:pt x="173" y="35"/>
                    </a:cubicBezTo>
                    <a:cubicBezTo>
                      <a:pt x="171" y="38"/>
                      <a:pt x="171" y="38"/>
                      <a:pt x="171" y="38"/>
                    </a:cubicBezTo>
                    <a:cubicBezTo>
                      <a:pt x="169" y="39"/>
                      <a:pt x="169" y="39"/>
                      <a:pt x="169" y="39"/>
                    </a:cubicBezTo>
                    <a:cubicBezTo>
                      <a:pt x="168" y="42"/>
                      <a:pt x="168" y="42"/>
                      <a:pt x="168" y="42"/>
                    </a:cubicBezTo>
                    <a:cubicBezTo>
                      <a:pt x="166" y="47"/>
                      <a:pt x="166" y="47"/>
                      <a:pt x="166" y="47"/>
                    </a:cubicBezTo>
                    <a:cubicBezTo>
                      <a:pt x="165" y="49"/>
                      <a:pt x="165" y="49"/>
                      <a:pt x="165" y="49"/>
                    </a:cubicBezTo>
                    <a:cubicBezTo>
                      <a:pt x="161" y="51"/>
                      <a:pt x="161" y="51"/>
                      <a:pt x="161" y="51"/>
                    </a:cubicBezTo>
                    <a:cubicBezTo>
                      <a:pt x="156" y="51"/>
                      <a:pt x="156" y="51"/>
                      <a:pt x="156" y="51"/>
                    </a:cubicBezTo>
                    <a:cubicBezTo>
                      <a:pt x="154" y="50"/>
                      <a:pt x="154" y="50"/>
                      <a:pt x="154" y="50"/>
                    </a:cubicBezTo>
                    <a:cubicBezTo>
                      <a:pt x="149" y="51"/>
                      <a:pt x="149" y="51"/>
                      <a:pt x="149" y="51"/>
                    </a:cubicBezTo>
                    <a:cubicBezTo>
                      <a:pt x="147" y="53"/>
                      <a:pt x="147" y="53"/>
                      <a:pt x="147" y="53"/>
                    </a:cubicBezTo>
                    <a:cubicBezTo>
                      <a:pt x="143" y="54"/>
                      <a:pt x="143" y="54"/>
                      <a:pt x="143" y="54"/>
                    </a:cubicBezTo>
                    <a:cubicBezTo>
                      <a:pt x="138" y="55"/>
                      <a:pt x="138" y="55"/>
                      <a:pt x="138" y="55"/>
                    </a:cubicBezTo>
                    <a:cubicBezTo>
                      <a:pt x="134" y="54"/>
                      <a:pt x="134" y="54"/>
                      <a:pt x="134" y="54"/>
                    </a:cubicBezTo>
                    <a:cubicBezTo>
                      <a:pt x="131" y="52"/>
                      <a:pt x="131" y="52"/>
                      <a:pt x="131" y="52"/>
                    </a:cubicBezTo>
                    <a:cubicBezTo>
                      <a:pt x="128" y="51"/>
                      <a:pt x="128" y="51"/>
                      <a:pt x="128" y="51"/>
                    </a:cubicBezTo>
                    <a:cubicBezTo>
                      <a:pt x="127" y="47"/>
                      <a:pt x="127" y="47"/>
                      <a:pt x="127" y="47"/>
                    </a:cubicBezTo>
                    <a:lnTo>
                      <a:pt x="127" y="42"/>
                    </a:lnTo>
                    <a:close/>
                    <a:moveTo>
                      <a:pt x="314" y="75"/>
                    </a:moveTo>
                    <a:cubicBezTo>
                      <a:pt x="314" y="76"/>
                      <a:pt x="309" y="76"/>
                      <a:pt x="309" y="76"/>
                    </a:cubicBezTo>
                    <a:cubicBezTo>
                      <a:pt x="309" y="75"/>
                      <a:pt x="309" y="81"/>
                      <a:pt x="309" y="81"/>
                    </a:cubicBezTo>
                    <a:cubicBezTo>
                      <a:pt x="307" y="81"/>
                      <a:pt x="308" y="83"/>
                      <a:pt x="309" y="83"/>
                    </a:cubicBezTo>
                    <a:cubicBezTo>
                      <a:pt x="310" y="84"/>
                      <a:pt x="313" y="83"/>
                      <a:pt x="314" y="83"/>
                    </a:cubicBezTo>
                    <a:cubicBezTo>
                      <a:pt x="315" y="84"/>
                      <a:pt x="316" y="84"/>
                      <a:pt x="316" y="85"/>
                    </a:cubicBezTo>
                    <a:cubicBezTo>
                      <a:pt x="316" y="85"/>
                      <a:pt x="317" y="88"/>
                      <a:pt x="317" y="88"/>
                    </a:cubicBezTo>
                    <a:cubicBezTo>
                      <a:pt x="317" y="88"/>
                      <a:pt x="314" y="88"/>
                      <a:pt x="316" y="89"/>
                    </a:cubicBezTo>
                    <a:cubicBezTo>
                      <a:pt x="318" y="90"/>
                      <a:pt x="323" y="88"/>
                      <a:pt x="326" y="89"/>
                    </a:cubicBezTo>
                    <a:cubicBezTo>
                      <a:pt x="327" y="89"/>
                      <a:pt x="330" y="90"/>
                      <a:pt x="332" y="90"/>
                    </a:cubicBezTo>
                    <a:cubicBezTo>
                      <a:pt x="332" y="91"/>
                      <a:pt x="332" y="91"/>
                      <a:pt x="332" y="91"/>
                    </a:cubicBezTo>
                    <a:cubicBezTo>
                      <a:pt x="329" y="92"/>
                      <a:pt x="327" y="92"/>
                      <a:pt x="325" y="92"/>
                    </a:cubicBezTo>
                    <a:cubicBezTo>
                      <a:pt x="324" y="93"/>
                      <a:pt x="324" y="93"/>
                      <a:pt x="324" y="93"/>
                    </a:cubicBezTo>
                    <a:cubicBezTo>
                      <a:pt x="321" y="94"/>
                      <a:pt x="316" y="94"/>
                      <a:pt x="314" y="94"/>
                    </a:cubicBezTo>
                    <a:cubicBezTo>
                      <a:pt x="315" y="96"/>
                      <a:pt x="315" y="96"/>
                      <a:pt x="315" y="96"/>
                    </a:cubicBezTo>
                    <a:cubicBezTo>
                      <a:pt x="317" y="96"/>
                      <a:pt x="318" y="96"/>
                      <a:pt x="319" y="95"/>
                    </a:cubicBezTo>
                    <a:cubicBezTo>
                      <a:pt x="321" y="101"/>
                      <a:pt x="319" y="99"/>
                      <a:pt x="323" y="101"/>
                    </a:cubicBezTo>
                    <a:cubicBezTo>
                      <a:pt x="323" y="102"/>
                      <a:pt x="322" y="102"/>
                      <a:pt x="322" y="104"/>
                    </a:cubicBezTo>
                    <a:cubicBezTo>
                      <a:pt x="322" y="104"/>
                      <a:pt x="324" y="106"/>
                      <a:pt x="324" y="106"/>
                    </a:cubicBezTo>
                    <a:cubicBezTo>
                      <a:pt x="324" y="106"/>
                      <a:pt x="326" y="106"/>
                      <a:pt x="326" y="106"/>
                    </a:cubicBezTo>
                    <a:cubicBezTo>
                      <a:pt x="326" y="105"/>
                      <a:pt x="327" y="102"/>
                      <a:pt x="328" y="101"/>
                    </a:cubicBezTo>
                    <a:cubicBezTo>
                      <a:pt x="328" y="101"/>
                      <a:pt x="329" y="100"/>
                      <a:pt x="329" y="100"/>
                    </a:cubicBezTo>
                    <a:cubicBezTo>
                      <a:pt x="329" y="100"/>
                      <a:pt x="329" y="102"/>
                      <a:pt x="329" y="102"/>
                    </a:cubicBezTo>
                    <a:cubicBezTo>
                      <a:pt x="333" y="104"/>
                      <a:pt x="333" y="104"/>
                      <a:pt x="333" y="104"/>
                    </a:cubicBezTo>
                    <a:cubicBezTo>
                      <a:pt x="333" y="105"/>
                      <a:pt x="333" y="105"/>
                      <a:pt x="333" y="105"/>
                    </a:cubicBezTo>
                    <a:cubicBezTo>
                      <a:pt x="337" y="106"/>
                      <a:pt x="338" y="105"/>
                      <a:pt x="338" y="105"/>
                    </a:cubicBezTo>
                    <a:cubicBezTo>
                      <a:pt x="338" y="105"/>
                      <a:pt x="336" y="111"/>
                      <a:pt x="340" y="112"/>
                    </a:cubicBezTo>
                    <a:cubicBezTo>
                      <a:pt x="342" y="112"/>
                      <a:pt x="342" y="111"/>
                      <a:pt x="344" y="111"/>
                    </a:cubicBezTo>
                    <a:cubicBezTo>
                      <a:pt x="346" y="113"/>
                      <a:pt x="346" y="113"/>
                      <a:pt x="346" y="113"/>
                    </a:cubicBezTo>
                    <a:cubicBezTo>
                      <a:pt x="348" y="113"/>
                      <a:pt x="348" y="111"/>
                      <a:pt x="350" y="112"/>
                    </a:cubicBezTo>
                    <a:cubicBezTo>
                      <a:pt x="350" y="113"/>
                      <a:pt x="350" y="113"/>
                      <a:pt x="350" y="113"/>
                    </a:cubicBezTo>
                    <a:cubicBezTo>
                      <a:pt x="354" y="115"/>
                      <a:pt x="355" y="116"/>
                      <a:pt x="357" y="120"/>
                    </a:cubicBezTo>
                    <a:cubicBezTo>
                      <a:pt x="363" y="119"/>
                      <a:pt x="360" y="120"/>
                      <a:pt x="364" y="121"/>
                    </a:cubicBezTo>
                    <a:cubicBezTo>
                      <a:pt x="366" y="122"/>
                      <a:pt x="367" y="121"/>
                      <a:pt x="368" y="122"/>
                    </a:cubicBezTo>
                    <a:cubicBezTo>
                      <a:pt x="370" y="127"/>
                      <a:pt x="370" y="127"/>
                      <a:pt x="370" y="127"/>
                    </a:cubicBezTo>
                    <a:cubicBezTo>
                      <a:pt x="370" y="133"/>
                      <a:pt x="370" y="133"/>
                      <a:pt x="370" y="133"/>
                    </a:cubicBezTo>
                    <a:cubicBezTo>
                      <a:pt x="370" y="134"/>
                      <a:pt x="369" y="134"/>
                      <a:pt x="370" y="135"/>
                    </a:cubicBezTo>
                    <a:cubicBezTo>
                      <a:pt x="370" y="136"/>
                      <a:pt x="371" y="136"/>
                      <a:pt x="372" y="137"/>
                    </a:cubicBezTo>
                    <a:cubicBezTo>
                      <a:pt x="372" y="138"/>
                      <a:pt x="372" y="139"/>
                      <a:pt x="372" y="141"/>
                    </a:cubicBezTo>
                    <a:cubicBezTo>
                      <a:pt x="372" y="141"/>
                      <a:pt x="374" y="143"/>
                      <a:pt x="374" y="143"/>
                    </a:cubicBezTo>
                    <a:cubicBezTo>
                      <a:pt x="375" y="147"/>
                      <a:pt x="374" y="147"/>
                      <a:pt x="375" y="151"/>
                    </a:cubicBezTo>
                    <a:cubicBezTo>
                      <a:pt x="374" y="151"/>
                      <a:pt x="373" y="149"/>
                      <a:pt x="372" y="149"/>
                    </a:cubicBezTo>
                    <a:cubicBezTo>
                      <a:pt x="371" y="149"/>
                      <a:pt x="370" y="148"/>
                      <a:pt x="368" y="149"/>
                    </a:cubicBezTo>
                    <a:cubicBezTo>
                      <a:pt x="368" y="149"/>
                      <a:pt x="364" y="155"/>
                      <a:pt x="364" y="156"/>
                    </a:cubicBezTo>
                    <a:cubicBezTo>
                      <a:pt x="367" y="155"/>
                      <a:pt x="370" y="155"/>
                      <a:pt x="373" y="155"/>
                    </a:cubicBezTo>
                    <a:cubicBezTo>
                      <a:pt x="373" y="154"/>
                      <a:pt x="374" y="152"/>
                      <a:pt x="374" y="152"/>
                    </a:cubicBezTo>
                    <a:cubicBezTo>
                      <a:pt x="375" y="152"/>
                      <a:pt x="375" y="153"/>
                      <a:pt x="375" y="153"/>
                    </a:cubicBezTo>
                    <a:cubicBezTo>
                      <a:pt x="378" y="154"/>
                      <a:pt x="380" y="152"/>
                      <a:pt x="382" y="153"/>
                    </a:cubicBezTo>
                    <a:cubicBezTo>
                      <a:pt x="384" y="153"/>
                      <a:pt x="387" y="157"/>
                      <a:pt x="387" y="159"/>
                    </a:cubicBezTo>
                    <a:cubicBezTo>
                      <a:pt x="387" y="159"/>
                      <a:pt x="387" y="161"/>
                      <a:pt x="387" y="161"/>
                    </a:cubicBezTo>
                    <a:cubicBezTo>
                      <a:pt x="388" y="161"/>
                      <a:pt x="388" y="161"/>
                      <a:pt x="388" y="161"/>
                    </a:cubicBezTo>
                    <a:cubicBezTo>
                      <a:pt x="389" y="161"/>
                      <a:pt x="389" y="163"/>
                      <a:pt x="390" y="163"/>
                    </a:cubicBezTo>
                    <a:cubicBezTo>
                      <a:pt x="390" y="164"/>
                      <a:pt x="391" y="164"/>
                      <a:pt x="392" y="164"/>
                    </a:cubicBezTo>
                    <a:cubicBezTo>
                      <a:pt x="392" y="141"/>
                      <a:pt x="392" y="141"/>
                      <a:pt x="392" y="141"/>
                    </a:cubicBezTo>
                    <a:cubicBezTo>
                      <a:pt x="390" y="137"/>
                      <a:pt x="390" y="137"/>
                      <a:pt x="390" y="137"/>
                    </a:cubicBezTo>
                    <a:cubicBezTo>
                      <a:pt x="392" y="134"/>
                      <a:pt x="392" y="134"/>
                      <a:pt x="392" y="134"/>
                    </a:cubicBezTo>
                    <a:cubicBezTo>
                      <a:pt x="391" y="95"/>
                      <a:pt x="391" y="95"/>
                      <a:pt x="391" y="95"/>
                    </a:cubicBezTo>
                    <a:cubicBezTo>
                      <a:pt x="391" y="95"/>
                      <a:pt x="391" y="95"/>
                      <a:pt x="390" y="95"/>
                    </a:cubicBezTo>
                    <a:cubicBezTo>
                      <a:pt x="390" y="95"/>
                      <a:pt x="389" y="92"/>
                      <a:pt x="388" y="91"/>
                    </a:cubicBezTo>
                    <a:cubicBezTo>
                      <a:pt x="386" y="91"/>
                      <a:pt x="385" y="92"/>
                      <a:pt x="384" y="92"/>
                    </a:cubicBezTo>
                    <a:cubicBezTo>
                      <a:pt x="381" y="92"/>
                      <a:pt x="376" y="90"/>
                      <a:pt x="374" y="89"/>
                    </a:cubicBezTo>
                    <a:cubicBezTo>
                      <a:pt x="372" y="88"/>
                      <a:pt x="366" y="83"/>
                      <a:pt x="363" y="83"/>
                    </a:cubicBezTo>
                    <a:cubicBezTo>
                      <a:pt x="363" y="85"/>
                      <a:pt x="363" y="85"/>
                      <a:pt x="363" y="85"/>
                    </a:cubicBezTo>
                    <a:cubicBezTo>
                      <a:pt x="362" y="85"/>
                      <a:pt x="361" y="85"/>
                      <a:pt x="360" y="85"/>
                    </a:cubicBezTo>
                    <a:cubicBezTo>
                      <a:pt x="359" y="86"/>
                      <a:pt x="358" y="89"/>
                      <a:pt x="357" y="89"/>
                    </a:cubicBezTo>
                    <a:cubicBezTo>
                      <a:pt x="356" y="90"/>
                      <a:pt x="353" y="90"/>
                      <a:pt x="352" y="91"/>
                    </a:cubicBezTo>
                    <a:cubicBezTo>
                      <a:pt x="351" y="93"/>
                      <a:pt x="350" y="97"/>
                      <a:pt x="348" y="99"/>
                    </a:cubicBezTo>
                    <a:cubicBezTo>
                      <a:pt x="347" y="100"/>
                      <a:pt x="345" y="100"/>
                      <a:pt x="343" y="101"/>
                    </a:cubicBezTo>
                    <a:cubicBezTo>
                      <a:pt x="343" y="100"/>
                      <a:pt x="343" y="101"/>
                      <a:pt x="342" y="101"/>
                    </a:cubicBezTo>
                    <a:cubicBezTo>
                      <a:pt x="341" y="99"/>
                      <a:pt x="341" y="98"/>
                      <a:pt x="341" y="97"/>
                    </a:cubicBezTo>
                    <a:cubicBezTo>
                      <a:pt x="339" y="98"/>
                      <a:pt x="339" y="98"/>
                      <a:pt x="339" y="98"/>
                    </a:cubicBezTo>
                    <a:cubicBezTo>
                      <a:pt x="339" y="97"/>
                      <a:pt x="339" y="95"/>
                      <a:pt x="339" y="93"/>
                    </a:cubicBezTo>
                    <a:cubicBezTo>
                      <a:pt x="337" y="93"/>
                      <a:pt x="337" y="93"/>
                      <a:pt x="337" y="93"/>
                    </a:cubicBezTo>
                    <a:cubicBezTo>
                      <a:pt x="336" y="94"/>
                      <a:pt x="337" y="94"/>
                      <a:pt x="336" y="95"/>
                    </a:cubicBezTo>
                    <a:cubicBezTo>
                      <a:pt x="335" y="90"/>
                      <a:pt x="333" y="87"/>
                      <a:pt x="334" y="82"/>
                    </a:cubicBezTo>
                    <a:cubicBezTo>
                      <a:pt x="335" y="81"/>
                      <a:pt x="336" y="81"/>
                      <a:pt x="336" y="79"/>
                    </a:cubicBezTo>
                    <a:cubicBezTo>
                      <a:pt x="336" y="78"/>
                      <a:pt x="334" y="74"/>
                      <a:pt x="332" y="73"/>
                    </a:cubicBezTo>
                    <a:cubicBezTo>
                      <a:pt x="331" y="73"/>
                      <a:pt x="331" y="73"/>
                      <a:pt x="331" y="73"/>
                    </a:cubicBezTo>
                    <a:cubicBezTo>
                      <a:pt x="332" y="74"/>
                      <a:pt x="330" y="74"/>
                      <a:pt x="329" y="74"/>
                    </a:cubicBezTo>
                    <a:cubicBezTo>
                      <a:pt x="329" y="74"/>
                      <a:pt x="329" y="72"/>
                      <a:pt x="327" y="73"/>
                    </a:cubicBezTo>
                    <a:cubicBezTo>
                      <a:pt x="327" y="73"/>
                      <a:pt x="328" y="74"/>
                      <a:pt x="326" y="74"/>
                    </a:cubicBezTo>
                    <a:cubicBezTo>
                      <a:pt x="324" y="74"/>
                      <a:pt x="321" y="71"/>
                      <a:pt x="319" y="71"/>
                    </a:cubicBezTo>
                    <a:cubicBezTo>
                      <a:pt x="315" y="72"/>
                      <a:pt x="315" y="75"/>
                      <a:pt x="314" y="75"/>
                    </a:cubicBezTo>
                    <a:close/>
                    <a:moveTo>
                      <a:pt x="110" y="19"/>
                    </a:moveTo>
                    <a:cubicBezTo>
                      <a:pt x="111" y="19"/>
                      <a:pt x="110" y="22"/>
                      <a:pt x="110" y="23"/>
                    </a:cubicBezTo>
                    <a:cubicBezTo>
                      <a:pt x="110" y="23"/>
                      <a:pt x="113" y="22"/>
                      <a:pt x="113" y="22"/>
                    </a:cubicBezTo>
                    <a:cubicBezTo>
                      <a:pt x="113" y="22"/>
                      <a:pt x="113" y="18"/>
                      <a:pt x="112" y="20"/>
                    </a:cubicBezTo>
                    <a:lnTo>
                      <a:pt x="110" y="19"/>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grpSp>
        <p:sp>
          <p:nvSpPr>
            <p:cNvPr id="364" name="Freeform 206">
              <a:extLst>
                <a:ext uri="{FF2B5EF4-FFF2-40B4-BE49-F238E27FC236}">
                  <a16:creationId xmlns:a16="http://schemas.microsoft.com/office/drawing/2014/main" id="{2E29BECE-B0B5-D1BA-3146-21055DDC91C6}"/>
                </a:ext>
              </a:extLst>
            </p:cNvPr>
            <p:cNvSpPr>
              <a:spLocks noEditPoints="1"/>
            </p:cNvSpPr>
            <p:nvPr/>
          </p:nvSpPr>
          <p:spPr bwMode="auto">
            <a:xfrm>
              <a:off x="8855504" y="4014684"/>
              <a:ext cx="1381439" cy="652105"/>
            </a:xfrm>
            <a:custGeom>
              <a:avLst/>
              <a:gdLst>
                <a:gd name="T0" fmla="*/ 21 w 392"/>
                <a:gd name="T1" fmla="*/ 30 h 185"/>
                <a:gd name="T2" fmla="*/ 42 w 392"/>
                <a:gd name="T3" fmla="*/ 67 h 185"/>
                <a:gd name="T4" fmla="*/ 73 w 392"/>
                <a:gd name="T5" fmla="*/ 116 h 185"/>
                <a:gd name="T6" fmla="*/ 93 w 392"/>
                <a:gd name="T7" fmla="*/ 97 h 185"/>
                <a:gd name="T8" fmla="*/ 73 w 392"/>
                <a:gd name="T9" fmla="*/ 74 h 185"/>
                <a:gd name="T10" fmla="*/ 65 w 392"/>
                <a:gd name="T11" fmla="*/ 54 h 185"/>
                <a:gd name="T12" fmla="*/ 47 w 392"/>
                <a:gd name="T13" fmla="*/ 31 h 185"/>
                <a:gd name="T14" fmla="*/ 7 w 392"/>
                <a:gd name="T15" fmla="*/ 32 h 185"/>
                <a:gd name="T16" fmla="*/ 279 w 392"/>
                <a:gd name="T17" fmla="*/ 55 h 185"/>
                <a:gd name="T18" fmla="*/ 286 w 392"/>
                <a:gd name="T19" fmla="*/ 62 h 185"/>
                <a:gd name="T20" fmla="*/ 282 w 392"/>
                <a:gd name="T21" fmla="*/ 43 h 185"/>
                <a:gd name="T22" fmla="*/ 63 w 392"/>
                <a:gd name="T23" fmla="*/ 45 h 185"/>
                <a:gd name="T24" fmla="*/ 254 w 392"/>
                <a:gd name="T25" fmla="*/ 47 h 185"/>
                <a:gd name="T26" fmla="*/ 214 w 392"/>
                <a:gd name="T27" fmla="*/ 54 h 185"/>
                <a:gd name="T28" fmla="*/ 209 w 392"/>
                <a:gd name="T29" fmla="*/ 105 h 185"/>
                <a:gd name="T30" fmla="*/ 217 w 392"/>
                <a:gd name="T31" fmla="*/ 100 h 185"/>
                <a:gd name="T32" fmla="*/ 236 w 392"/>
                <a:gd name="T33" fmla="*/ 107 h 185"/>
                <a:gd name="T34" fmla="*/ 226 w 392"/>
                <a:gd name="T35" fmla="*/ 74 h 185"/>
                <a:gd name="T36" fmla="*/ 237 w 392"/>
                <a:gd name="T37" fmla="*/ 60 h 185"/>
                <a:gd name="T38" fmla="*/ 81 w 392"/>
                <a:gd name="T39" fmla="*/ 51 h 185"/>
                <a:gd name="T40" fmla="*/ 32 w 392"/>
                <a:gd name="T41" fmla="*/ 77 h 185"/>
                <a:gd name="T42" fmla="*/ 304 w 392"/>
                <a:gd name="T43" fmla="*/ 80 h 185"/>
                <a:gd name="T44" fmla="*/ 241 w 392"/>
                <a:gd name="T45" fmla="*/ 85 h 185"/>
                <a:gd name="T46" fmla="*/ 96 w 392"/>
                <a:gd name="T47" fmla="*/ 86 h 185"/>
                <a:gd name="T48" fmla="*/ 249 w 392"/>
                <a:gd name="T49" fmla="*/ 87 h 185"/>
                <a:gd name="T50" fmla="*/ 282 w 392"/>
                <a:gd name="T51" fmla="*/ 98 h 185"/>
                <a:gd name="T52" fmla="*/ 291 w 392"/>
                <a:gd name="T53" fmla="*/ 97 h 185"/>
                <a:gd name="T54" fmla="*/ 241 w 392"/>
                <a:gd name="T55" fmla="*/ 113 h 185"/>
                <a:gd name="T56" fmla="*/ 241 w 392"/>
                <a:gd name="T57" fmla="*/ 113 h 185"/>
                <a:gd name="T58" fmla="*/ 121 w 392"/>
                <a:gd name="T59" fmla="*/ 145 h 185"/>
                <a:gd name="T60" fmla="*/ 168 w 392"/>
                <a:gd name="T61" fmla="*/ 151 h 185"/>
                <a:gd name="T62" fmla="*/ 134 w 392"/>
                <a:gd name="T63" fmla="*/ 128 h 185"/>
                <a:gd name="T64" fmla="*/ 335 w 392"/>
                <a:gd name="T65" fmla="*/ 127 h 185"/>
                <a:gd name="T66" fmla="*/ 156 w 392"/>
                <a:gd name="T67" fmla="*/ 136 h 185"/>
                <a:gd name="T68" fmla="*/ 309 w 392"/>
                <a:gd name="T69" fmla="*/ 147 h 185"/>
                <a:gd name="T70" fmla="*/ 271 w 392"/>
                <a:gd name="T71" fmla="*/ 155 h 185"/>
                <a:gd name="T72" fmla="*/ 189 w 392"/>
                <a:gd name="T73" fmla="*/ 158 h 185"/>
                <a:gd name="T74" fmla="*/ 283 w 392"/>
                <a:gd name="T75" fmla="*/ 157 h 185"/>
                <a:gd name="T76" fmla="*/ 231 w 392"/>
                <a:gd name="T77" fmla="*/ 159 h 185"/>
                <a:gd name="T78" fmla="*/ 243 w 392"/>
                <a:gd name="T79" fmla="*/ 159 h 185"/>
                <a:gd name="T80" fmla="*/ 249 w 392"/>
                <a:gd name="T81" fmla="*/ 170 h 185"/>
                <a:gd name="T82" fmla="*/ 259 w 392"/>
                <a:gd name="T83" fmla="*/ 171 h 185"/>
                <a:gd name="T84" fmla="*/ 219 w 392"/>
                <a:gd name="T85" fmla="*/ 174 h 185"/>
                <a:gd name="T86" fmla="*/ 126 w 392"/>
                <a:gd name="T87" fmla="*/ 42 h 185"/>
                <a:gd name="T88" fmla="*/ 124 w 392"/>
                <a:gd name="T89" fmla="*/ 75 h 185"/>
                <a:gd name="T90" fmla="*/ 146 w 392"/>
                <a:gd name="T91" fmla="*/ 97 h 185"/>
                <a:gd name="T92" fmla="*/ 172 w 392"/>
                <a:gd name="T93" fmla="*/ 103 h 185"/>
                <a:gd name="T94" fmla="*/ 203 w 392"/>
                <a:gd name="T95" fmla="*/ 52 h 185"/>
                <a:gd name="T96" fmla="*/ 180 w 392"/>
                <a:gd name="T97" fmla="*/ 21 h 185"/>
                <a:gd name="T98" fmla="*/ 156 w 392"/>
                <a:gd name="T99" fmla="*/ 51 h 185"/>
                <a:gd name="T100" fmla="*/ 314 w 392"/>
                <a:gd name="T101" fmla="*/ 75 h 185"/>
                <a:gd name="T102" fmla="*/ 325 w 392"/>
                <a:gd name="T103" fmla="*/ 92 h 185"/>
                <a:gd name="T104" fmla="*/ 329 w 392"/>
                <a:gd name="T105" fmla="*/ 102 h 185"/>
                <a:gd name="T106" fmla="*/ 368 w 392"/>
                <a:gd name="T107" fmla="*/ 122 h 185"/>
                <a:gd name="T108" fmla="*/ 373 w 392"/>
                <a:gd name="T109" fmla="*/ 155 h 185"/>
                <a:gd name="T110" fmla="*/ 392 w 392"/>
                <a:gd name="T111" fmla="*/ 134 h 185"/>
                <a:gd name="T112" fmla="*/ 348 w 392"/>
                <a:gd name="T113" fmla="*/ 99 h 185"/>
                <a:gd name="T114" fmla="*/ 331 w 392"/>
                <a:gd name="T115" fmla="*/ 7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2" h="185">
                  <a:moveTo>
                    <a:pt x="11" y="4"/>
                  </a:moveTo>
                  <a:cubicBezTo>
                    <a:pt x="10" y="4"/>
                    <a:pt x="9" y="2"/>
                    <a:pt x="8" y="1"/>
                  </a:cubicBezTo>
                  <a:cubicBezTo>
                    <a:pt x="6" y="0"/>
                    <a:pt x="4" y="0"/>
                    <a:pt x="1" y="0"/>
                  </a:cubicBezTo>
                  <a:cubicBezTo>
                    <a:pt x="1" y="2"/>
                    <a:pt x="0" y="5"/>
                    <a:pt x="1" y="7"/>
                  </a:cubicBezTo>
                  <a:cubicBezTo>
                    <a:pt x="2" y="8"/>
                    <a:pt x="2" y="8"/>
                    <a:pt x="2" y="8"/>
                  </a:cubicBezTo>
                  <a:cubicBezTo>
                    <a:pt x="4" y="11"/>
                    <a:pt x="4" y="15"/>
                    <a:pt x="7" y="17"/>
                  </a:cubicBezTo>
                  <a:cubicBezTo>
                    <a:pt x="8" y="17"/>
                    <a:pt x="9" y="17"/>
                    <a:pt x="9" y="18"/>
                  </a:cubicBezTo>
                  <a:cubicBezTo>
                    <a:pt x="11" y="19"/>
                    <a:pt x="11" y="21"/>
                    <a:pt x="12" y="22"/>
                  </a:cubicBezTo>
                  <a:cubicBezTo>
                    <a:pt x="13" y="23"/>
                    <a:pt x="15" y="23"/>
                    <a:pt x="16" y="24"/>
                  </a:cubicBezTo>
                  <a:cubicBezTo>
                    <a:pt x="17" y="25"/>
                    <a:pt x="16" y="26"/>
                    <a:pt x="17" y="27"/>
                  </a:cubicBezTo>
                  <a:cubicBezTo>
                    <a:pt x="18" y="28"/>
                    <a:pt x="20" y="29"/>
                    <a:pt x="21" y="30"/>
                  </a:cubicBezTo>
                  <a:cubicBezTo>
                    <a:pt x="21" y="31"/>
                    <a:pt x="21" y="32"/>
                    <a:pt x="21" y="33"/>
                  </a:cubicBezTo>
                  <a:cubicBezTo>
                    <a:pt x="22" y="33"/>
                    <a:pt x="23" y="34"/>
                    <a:pt x="23" y="34"/>
                  </a:cubicBezTo>
                  <a:cubicBezTo>
                    <a:pt x="24" y="36"/>
                    <a:pt x="24" y="37"/>
                    <a:pt x="24" y="40"/>
                  </a:cubicBezTo>
                  <a:cubicBezTo>
                    <a:pt x="26" y="40"/>
                    <a:pt x="28" y="40"/>
                    <a:pt x="29" y="41"/>
                  </a:cubicBezTo>
                  <a:cubicBezTo>
                    <a:pt x="30" y="41"/>
                    <a:pt x="31" y="43"/>
                    <a:pt x="31" y="44"/>
                  </a:cubicBezTo>
                  <a:cubicBezTo>
                    <a:pt x="32" y="44"/>
                    <a:pt x="33" y="43"/>
                    <a:pt x="33" y="44"/>
                  </a:cubicBezTo>
                  <a:cubicBezTo>
                    <a:pt x="34" y="46"/>
                    <a:pt x="33" y="49"/>
                    <a:pt x="33" y="52"/>
                  </a:cubicBezTo>
                  <a:cubicBezTo>
                    <a:pt x="34" y="53"/>
                    <a:pt x="36" y="56"/>
                    <a:pt x="36" y="57"/>
                  </a:cubicBezTo>
                  <a:cubicBezTo>
                    <a:pt x="36" y="58"/>
                    <a:pt x="36" y="59"/>
                    <a:pt x="36" y="60"/>
                  </a:cubicBezTo>
                  <a:cubicBezTo>
                    <a:pt x="37" y="61"/>
                    <a:pt x="39" y="61"/>
                    <a:pt x="39" y="62"/>
                  </a:cubicBezTo>
                  <a:cubicBezTo>
                    <a:pt x="41" y="63"/>
                    <a:pt x="41" y="65"/>
                    <a:pt x="42" y="67"/>
                  </a:cubicBezTo>
                  <a:cubicBezTo>
                    <a:pt x="43" y="68"/>
                    <a:pt x="46" y="69"/>
                    <a:pt x="47" y="70"/>
                  </a:cubicBezTo>
                  <a:cubicBezTo>
                    <a:pt x="48" y="72"/>
                    <a:pt x="51" y="81"/>
                    <a:pt x="53" y="82"/>
                  </a:cubicBezTo>
                  <a:cubicBezTo>
                    <a:pt x="53" y="82"/>
                    <a:pt x="53" y="82"/>
                    <a:pt x="53" y="82"/>
                  </a:cubicBezTo>
                  <a:cubicBezTo>
                    <a:pt x="54" y="84"/>
                    <a:pt x="53" y="86"/>
                    <a:pt x="53" y="87"/>
                  </a:cubicBezTo>
                  <a:cubicBezTo>
                    <a:pt x="53" y="88"/>
                    <a:pt x="55" y="88"/>
                    <a:pt x="55" y="89"/>
                  </a:cubicBezTo>
                  <a:cubicBezTo>
                    <a:pt x="56" y="91"/>
                    <a:pt x="58" y="97"/>
                    <a:pt x="59" y="98"/>
                  </a:cubicBezTo>
                  <a:cubicBezTo>
                    <a:pt x="59" y="98"/>
                    <a:pt x="61" y="99"/>
                    <a:pt x="61" y="99"/>
                  </a:cubicBezTo>
                  <a:cubicBezTo>
                    <a:pt x="63" y="102"/>
                    <a:pt x="63" y="105"/>
                    <a:pt x="64" y="108"/>
                  </a:cubicBezTo>
                  <a:cubicBezTo>
                    <a:pt x="64" y="109"/>
                    <a:pt x="66" y="111"/>
                    <a:pt x="67" y="112"/>
                  </a:cubicBezTo>
                  <a:cubicBezTo>
                    <a:pt x="67" y="113"/>
                    <a:pt x="67" y="113"/>
                    <a:pt x="67" y="113"/>
                  </a:cubicBezTo>
                  <a:cubicBezTo>
                    <a:pt x="67" y="114"/>
                    <a:pt x="72" y="115"/>
                    <a:pt x="73" y="116"/>
                  </a:cubicBezTo>
                  <a:cubicBezTo>
                    <a:pt x="73" y="116"/>
                    <a:pt x="75" y="116"/>
                    <a:pt x="75" y="117"/>
                  </a:cubicBezTo>
                  <a:cubicBezTo>
                    <a:pt x="76" y="117"/>
                    <a:pt x="79" y="121"/>
                    <a:pt x="80" y="122"/>
                  </a:cubicBezTo>
                  <a:cubicBezTo>
                    <a:pt x="81" y="123"/>
                    <a:pt x="83" y="123"/>
                    <a:pt x="85" y="123"/>
                  </a:cubicBezTo>
                  <a:cubicBezTo>
                    <a:pt x="84" y="122"/>
                    <a:pt x="84" y="120"/>
                    <a:pt x="83" y="120"/>
                  </a:cubicBezTo>
                  <a:cubicBezTo>
                    <a:pt x="82" y="120"/>
                    <a:pt x="83" y="119"/>
                    <a:pt x="85" y="119"/>
                  </a:cubicBezTo>
                  <a:cubicBezTo>
                    <a:pt x="85" y="120"/>
                    <a:pt x="87" y="122"/>
                    <a:pt x="89" y="121"/>
                  </a:cubicBezTo>
                  <a:cubicBezTo>
                    <a:pt x="90" y="121"/>
                    <a:pt x="89" y="120"/>
                    <a:pt x="90" y="119"/>
                  </a:cubicBezTo>
                  <a:cubicBezTo>
                    <a:pt x="90" y="120"/>
                    <a:pt x="90" y="120"/>
                    <a:pt x="90" y="120"/>
                  </a:cubicBezTo>
                  <a:cubicBezTo>
                    <a:pt x="92" y="120"/>
                    <a:pt x="93" y="120"/>
                    <a:pt x="94" y="120"/>
                  </a:cubicBezTo>
                  <a:cubicBezTo>
                    <a:pt x="92" y="119"/>
                    <a:pt x="95" y="101"/>
                    <a:pt x="96" y="98"/>
                  </a:cubicBezTo>
                  <a:cubicBezTo>
                    <a:pt x="95" y="97"/>
                    <a:pt x="94" y="97"/>
                    <a:pt x="93" y="97"/>
                  </a:cubicBezTo>
                  <a:cubicBezTo>
                    <a:pt x="92" y="96"/>
                    <a:pt x="91" y="91"/>
                    <a:pt x="91" y="89"/>
                  </a:cubicBezTo>
                  <a:cubicBezTo>
                    <a:pt x="89" y="90"/>
                    <a:pt x="87" y="89"/>
                    <a:pt x="87" y="89"/>
                  </a:cubicBezTo>
                  <a:cubicBezTo>
                    <a:pt x="86" y="89"/>
                    <a:pt x="85" y="88"/>
                    <a:pt x="85" y="88"/>
                  </a:cubicBezTo>
                  <a:cubicBezTo>
                    <a:pt x="85" y="87"/>
                    <a:pt x="86" y="87"/>
                    <a:pt x="85" y="85"/>
                  </a:cubicBezTo>
                  <a:cubicBezTo>
                    <a:pt x="85" y="85"/>
                    <a:pt x="82" y="84"/>
                    <a:pt x="82" y="83"/>
                  </a:cubicBezTo>
                  <a:cubicBezTo>
                    <a:pt x="82" y="82"/>
                    <a:pt x="82" y="77"/>
                    <a:pt x="83" y="76"/>
                  </a:cubicBezTo>
                  <a:cubicBezTo>
                    <a:pt x="81" y="76"/>
                    <a:pt x="80" y="76"/>
                    <a:pt x="79" y="76"/>
                  </a:cubicBezTo>
                  <a:cubicBezTo>
                    <a:pt x="79" y="75"/>
                    <a:pt x="79" y="75"/>
                    <a:pt x="79" y="75"/>
                  </a:cubicBezTo>
                  <a:cubicBezTo>
                    <a:pt x="77" y="75"/>
                    <a:pt x="77" y="75"/>
                    <a:pt x="77" y="75"/>
                  </a:cubicBezTo>
                  <a:cubicBezTo>
                    <a:pt x="77" y="75"/>
                    <a:pt x="77" y="76"/>
                    <a:pt x="76" y="76"/>
                  </a:cubicBezTo>
                  <a:cubicBezTo>
                    <a:pt x="76" y="76"/>
                    <a:pt x="74" y="74"/>
                    <a:pt x="73" y="74"/>
                  </a:cubicBezTo>
                  <a:cubicBezTo>
                    <a:pt x="73" y="73"/>
                    <a:pt x="73" y="70"/>
                    <a:pt x="73" y="69"/>
                  </a:cubicBezTo>
                  <a:cubicBezTo>
                    <a:pt x="73" y="68"/>
                    <a:pt x="76" y="67"/>
                    <a:pt x="76" y="66"/>
                  </a:cubicBezTo>
                  <a:cubicBezTo>
                    <a:pt x="76" y="66"/>
                    <a:pt x="76" y="64"/>
                    <a:pt x="76" y="64"/>
                  </a:cubicBezTo>
                  <a:cubicBezTo>
                    <a:pt x="76" y="64"/>
                    <a:pt x="73" y="59"/>
                    <a:pt x="73" y="59"/>
                  </a:cubicBezTo>
                  <a:cubicBezTo>
                    <a:pt x="72" y="58"/>
                    <a:pt x="73" y="57"/>
                    <a:pt x="73" y="56"/>
                  </a:cubicBezTo>
                  <a:cubicBezTo>
                    <a:pt x="71" y="55"/>
                    <a:pt x="70" y="56"/>
                    <a:pt x="69" y="56"/>
                  </a:cubicBezTo>
                  <a:cubicBezTo>
                    <a:pt x="69" y="54"/>
                    <a:pt x="69" y="54"/>
                    <a:pt x="70" y="52"/>
                  </a:cubicBezTo>
                  <a:cubicBezTo>
                    <a:pt x="70" y="52"/>
                    <a:pt x="69" y="51"/>
                    <a:pt x="69" y="51"/>
                  </a:cubicBezTo>
                  <a:cubicBezTo>
                    <a:pt x="68" y="53"/>
                    <a:pt x="68" y="53"/>
                    <a:pt x="67" y="55"/>
                  </a:cubicBezTo>
                  <a:cubicBezTo>
                    <a:pt x="67" y="55"/>
                    <a:pt x="65" y="55"/>
                    <a:pt x="65" y="55"/>
                  </a:cubicBezTo>
                  <a:cubicBezTo>
                    <a:pt x="65" y="55"/>
                    <a:pt x="65" y="54"/>
                    <a:pt x="65" y="54"/>
                  </a:cubicBezTo>
                  <a:cubicBezTo>
                    <a:pt x="64" y="54"/>
                    <a:pt x="63" y="54"/>
                    <a:pt x="63" y="54"/>
                  </a:cubicBezTo>
                  <a:cubicBezTo>
                    <a:pt x="61" y="52"/>
                    <a:pt x="62" y="50"/>
                    <a:pt x="61" y="48"/>
                  </a:cubicBezTo>
                  <a:cubicBezTo>
                    <a:pt x="60" y="47"/>
                    <a:pt x="58" y="46"/>
                    <a:pt x="57" y="45"/>
                  </a:cubicBezTo>
                  <a:cubicBezTo>
                    <a:pt x="55" y="43"/>
                    <a:pt x="55" y="41"/>
                    <a:pt x="55" y="40"/>
                  </a:cubicBezTo>
                  <a:cubicBezTo>
                    <a:pt x="52" y="40"/>
                    <a:pt x="52" y="40"/>
                    <a:pt x="52" y="40"/>
                  </a:cubicBezTo>
                  <a:cubicBezTo>
                    <a:pt x="52" y="40"/>
                    <a:pt x="52" y="40"/>
                    <a:pt x="52" y="40"/>
                  </a:cubicBezTo>
                  <a:cubicBezTo>
                    <a:pt x="54" y="41"/>
                    <a:pt x="49" y="42"/>
                    <a:pt x="51" y="41"/>
                  </a:cubicBezTo>
                  <a:cubicBezTo>
                    <a:pt x="51" y="41"/>
                    <a:pt x="50" y="41"/>
                    <a:pt x="50" y="40"/>
                  </a:cubicBezTo>
                  <a:cubicBezTo>
                    <a:pt x="49" y="39"/>
                    <a:pt x="49" y="37"/>
                    <a:pt x="47" y="36"/>
                  </a:cubicBezTo>
                  <a:cubicBezTo>
                    <a:pt x="47" y="36"/>
                    <a:pt x="47" y="36"/>
                    <a:pt x="47" y="36"/>
                  </a:cubicBezTo>
                  <a:cubicBezTo>
                    <a:pt x="46" y="35"/>
                    <a:pt x="47" y="32"/>
                    <a:pt x="47" y="31"/>
                  </a:cubicBezTo>
                  <a:cubicBezTo>
                    <a:pt x="43" y="30"/>
                    <a:pt x="43" y="30"/>
                    <a:pt x="43" y="30"/>
                  </a:cubicBezTo>
                  <a:cubicBezTo>
                    <a:pt x="43" y="29"/>
                    <a:pt x="43" y="28"/>
                    <a:pt x="43" y="27"/>
                  </a:cubicBezTo>
                  <a:cubicBezTo>
                    <a:pt x="41" y="26"/>
                    <a:pt x="36" y="23"/>
                    <a:pt x="35" y="22"/>
                  </a:cubicBezTo>
                  <a:cubicBezTo>
                    <a:pt x="34" y="21"/>
                    <a:pt x="35" y="19"/>
                    <a:pt x="34" y="18"/>
                  </a:cubicBezTo>
                  <a:cubicBezTo>
                    <a:pt x="34" y="18"/>
                    <a:pt x="32" y="18"/>
                    <a:pt x="31" y="17"/>
                  </a:cubicBezTo>
                  <a:cubicBezTo>
                    <a:pt x="30" y="16"/>
                    <a:pt x="31" y="13"/>
                    <a:pt x="29" y="13"/>
                  </a:cubicBezTo>
                  <a:cubicBezTo>
                    <a:pt x="29" y="13"/>
                    <a:pt x="27" y="13"/>
                    <a:pt x="27" y="13"/>
                  </a:cubicBezTo>
                  <a:cubicBezTo>
                    <a:pt x="26" y="13"/>
                    <a:pt x="27" y="11"/>
                    <a:pt x="27" y="10"/>
                  </a:cubicBezTo>
                  <a:cubicBezTo>
                    <a:pt x="23" y="4"/>
                    <a:pt x="23" y="4"/>
                    <a:pt x="23" y="4"/>
                  </a:cubicBezTo>
                  <a:cubicBezTo>
                    <a:pt x="19" y="2"/>
                    <a:pt x="14" y="5"/>
                    <a:pt x="11" y="4"/>
                  </a:cubicBezTo>
                  <a:close/>
                  <a:moveTo>
                    <a:pt x="7" y="32"/>
                  </a:moveTo>
                  <a:cubicBezTo>
                    <a:pt x="9" y="35"/>
                    <a:pt x="11" y="38"/>
                    <a:pt x="8" y="32"/>
                  </a:cubicBezTo>
                  <a:lnTo>
                    <a:pt x="7" y="32"/>
                  </a:lnTo>
                  <a:close/>
                  <a:moveTo>
                    <a:pt x="285" y="35"/>
                  </a:moveTo>
                  <a:cubicBezTo>
                    <a:pt x="285" y="38"/>
                    <a:pt x="285" y="40"/>
                    <a:pt x="286" y="42"/>
                  </a:cubicBezTo>
                  <a:cubicBezTo>
                    <a:pt x="286" y="42"/>
                    <a:pt x="288" y="42"/>
                    <a:pt x="289" y="42"/>
                  </a:cubicBezTo>
                  <a:cubicBezTo>
                    <a:pt x="289" y="42"/>
                    <a:pt x="290" y="41"/>
                    <a:pt x="289" y="41"/>
                  </a:cubicBezTo>
                  <a:cubicBezTo>
                    <a:pt x="289" y="41"/>
                    <a:pt x="289" y="38"/>
                    <a:pt x="289" y="38"/>
                  </a:cubicBezTo>
                  <a:cubicBezTo>
                    <a:pt x="287" y="36"/>
                    <a:pt x="286" y="36"/>
                    <a:pt x="285" y="35"/>
                  </a:cubicBezTo>
                  <a:close/>
                  <a:moveTo>
                    <a:pt x="280" y="39"/>
                  </a:moveTo>
                  <a:cubicBezTo>
                    <a:pt x="277" y="43"/>
                    <a:pt x="277" y="47"/>
                    <a:pt x="275" y="52"/>
                  </a:cubicBezTo>
                  <a:cubicBezTo>
                    <a:pt x="276" y="53"/>
                    <a:pt x="278" y="54"/>
                    <a:pt x="279" y="55"/>
                  </a:cubicBezTo>
                  <a:cubicBezTo>
                    <a:pt x="279" y="57"/>
                    <a:pt x="278" y="56"/>
                    <a:pt x="277" y="57"/>
                  </a:cubicBezTo>
                  <a:cubicBezTo>
                    <a:pt x="277" y="58"/>
                    <a:pt x="277" y="58"/>
                    <a:pt x="277" y="58"/>
                  </a:cubicBezTo>
                  <a:cubicBezTo>
                    <a:pt x="277" y="58"/>
                    <a:pt x="279" y="62"/>
                    <a:pt x="277" y="63"/>
                  </a:cubicBezTo>
                  <a:cubicBezTo>
                    <a:pt x="277" y="64"/>
                    <a:pt x="277" y="64"/>
                    <a:pt x="277" y="64"/>
                  </a:cubicBezTo>
                  <a:cubicBezTo>
                    <a:pt x="277" y="65"/>
                    <a:pt x="279" y="67"/>
                    <a:pt x="280" y="68"/>
                  </a:cubicBezTo>
                  <a:cubicBezTo>
                    <a:pt x="281" y="69"/>
                    <a:pt x="281" y="70"/>
                    <a:pt x="283" y="70"/>
                  </a:cubicBezTo>
                  <a:cubicBezTo>
                    <a:pt x="285" y="71"/>
                    <a:pt x="279" y="66"/>
                    <a:pt x="279" y="66"/>
                  </a:cubicBezTo>
                  <a:cubicBezTo>
                    <a:pt x="279" y="64"/>
                    <a:pt x="279" y="62"/>
                    <a:pt x="279" y="61"/>
                  </a:cubicBezTo>
                  <a:cubicBezTo>
                    <a:pt x="279" y="61"/>
                    <a:pt x="283" y="58"/>
                    <a:pt x="282" y="59"/>
                  </a:cubicBezTo>
                  <a:cubicBezTo>
                    <a:pt x="283" y="59"/>
                    <a:pt x="283" y="59"/>
                    <a:pt x="284" y="59"/>
                  </a:cubicBezTo>
                  <a:cubicBezTo>
                    <a:pt x="285" y="59"/>
                    <a:pt x="285" y="61"/>
                    <a:pt x="286" y="62"/>
                  </a:cubicBezTo>
                  <a:cubicBezTo>
                    <a:pt x="287" y="62"/>
                    <a:pt x="287" y="61"/>
                    <a:pt x="288" y="62"/>
                  </a:cubicBezTo>
                  <a:cubicBezTo>
                    <a:pt x="287" y="60"/>
                    <a:pt x="287" y="58"/>
                    <a:pt x="287" y="56"/>
                  </a:cubicBezTo>
                  <a:cubicBezTo>
                    <a:pt x="286" y="56"/>
                    <a:pt x="284" y="57"/>
                    <a:pt x="283" y="56"/>
                  </a:cubicBezTo>
                  <a:cubicBezTo>
                    <a:pt x="285" y="55"/>
                    <a:pt x="286" y="53"/>
                    <a:pt x="288" y="52"/>
                  </a:cubicBezTo>
                  <a:cubicBezTo>
                    <a:pt x="286" y="51"/>
                    <a:pt x="289" y="51"/>
                    <a:pt x="286" y="50"/>
                  </a:cubicBezTo>
                  <a:cubicBezTo>
                    <a:pt x="286" y="49"/>
                    <a:pt x="286" y="49"/>
                    <a:pt x="286" y="49"/>
                  </a:cubicBezTo>
                  <a:cubicBezTo>
                    <a:pt x="285" y="50"/>
                    <a:pt x="283" y="51"/>
                    <a:pt x="283" y="52"/>
                  </a:cubicBezTo>
                  <a:cubicBezTo>
                    <a:pt x="282" y="52"/>
                    <a:pt x="283" y="53"/>
                    <a:pt x="283" y="54"/>
                  </a:cubicBezTo>
                  <a:cubicBezTo>
                    <a:pt x="281" y="54"/>
                    <a:pt x="281" y="54"/>
                    <a:pt x="281" y="54"/>
                  </a:cubicBezTo>
                  <a:cubicBezTo>
                    <a:pt x="282" y="50"/>
                    <a:pt x="283" y="46"/>
                    <a:pt x="281" y="45"/>
                  </a:cubicBezTo>
                  <a:cubicBezTo>
                    <a:pt x="281" y="45"/>
                    <a:pt x="282" y="42"/>
                    <a:pt x="282" y="43"/>
                  </a:cubicBezTo>
                  <a:cubicBezTo>
                    <a:pt x="283" y="42"/>
                    <a:pt x="283" y="42"/>
                    <a:pt x="283" y="42"/>
                  </a:cubicBezTo>
                  <a:cubicBezTo>
                    <a:pt x="282" y="41"/>
                    <a:pt x="282" y="41"/>
                    <a:pt x="282" y="40"/>
                  </a:cubicBezTo>
                  <a:lnTo>
                    <a:pt x="280" y="39"/>
                  </a:lnTo>
                  <a:close/>
                  <a:moveTo>
                    <a:pt x="57" y="41"/>
                  </a:moveTo>
                  <a:cubicBezTo>
                    <a:pt x="57" y="41"/>
                    <a:pt x="57" y="43"/>
                    <a:pt x="57" y="43"/>
                  </a:cubicBezTo>
                  <a:cubicBezTo>
                    <a:pt x="58" y="43"/>
                    <a:pt x="58" y="43"/>
                    <a:pt x="59" y="44"/>
                  </a:cubicBezTo>
                  <a:cubicBezTo>
                    <a:pt x="58" y="42"/>
                    <a:pt x="60" y="41"/>
                    <a:pt x="57" y="41"/>
                  </a:cubicBezTo>
                  <a:close/>
                  <a:moveTo>
                    <a:pt x="63" y="45"/>
                  </a:moveTo>
                  <a:cubicBezTo>
                    <a:pt x="63" y="45"/>
                    <a:pt x="63" y="47"/>
                    <a:pt x="63" y="47"/>
                  </a:cubicBezTo>
                  <a:cubicBezTo>
                    <a:pt x="64" y="47"/>
                    <a:pt x="64" y="47"/>
                    <a:pt x="65" y="48"/>
                  </a:cubicBezTo>
                  <a:cubicBezTo>
                    <a:pt x="68" y="48"/>
                    <a:pt x="63" y="45"/>
                    <a:pt x="63" y="45"/>
                  </a:cubicBezTo>
                  <a:close/>
                  <a:moveTo>
                    <a:pt x="19" y="46"/>
                  </a:moveTo>
                  <a:cubicBezTo>
                    <a:pt x="19" y="48"/>
                    <a:pt x="19" y="48"/>
                    <a:pt x="19" y="48"/>
                  </a:cubicBezTo>
                  <a:cubicBezTo>
                    <a:pt x="19" y="49"/>
                    <a:pt x="21" y="49"/>
                    <a:pt x="21" y="50"/>
                  </a:cubicBezTo>
                  <a:cubicBezTo>
                    <a:pt x="22" y="50"/>
                    <a:pt x="24" y="54"/>
                    <a:pt x="25" y="55"/>
                  </a:cubicBezTo>
                  <a:cubicBezTo>
                    <a:pt x="26" y="55"/>
                    <a:pt x="26" y="52"/>
                    <a:pt x="25" y="51"/>
                  </a:cubicBezTo>
                  <a:cubicBezTo>
                    <a:pt x="24" y="51"/>
                    <a:pt x="24" y="51"/>
                    <a:pt x="24" y="51"/>
                  </a:cubicBezTo>
                  <a:cubicBezTo>
                    <a:pt x="23" y="50"/>
                    <a:pt x="23" y="48"/>
                    <a:pt x="22" y="48"/>
                  </a:cubicBezTo>
                  <a:cubicBezTo>
                    <a:pt x="21" y="48"/>
                    <a:pt x="21" y="48"/>
                    <a:pt x="21" y="48"/>
                  </a:cubicBezTo>
                  <a:cubicBezTo>
                    <a:pt x="21" y="46"/>
                    <a:pt x="21" y="46"/>
                    <a:pt x="21" y="46"/>
                  </a:cubicBezTo>
                  <a:cubicBezTo>
                    <a:pt x="21" y="46"/>
                    <a:pt x="20" y="47"/>
                    <a:pt x="19" y="46"/>
                  </a:cubicBezTo>
                  <a:close/>
                  <a:moveTo>
                    <a:pt x="254" y="47"/>
                  </a:moveTo>
                  <a:cubicBezTo>
                    <a:pt x="254" y="47"/>
                    <a:pt x="254" y="49"/>
                    <a:pt x="253" y="50"/>
                  </a:cubicBezTo>
                  <a:cubicBezTo>
                    <a:pt x="253" y="50"/>
                    <a:pt x="251" y="50"/>
                    <a:pt x="251" y="50"/>
                  </a:cubicBezTo>
                  <a:cubicBezTo>
                    <a:pt x="251" y="50"/>
                    <a:pt x="251" y="52"/>
                    <a:pt x="251" y="52"/>
                  </a:cubicBezTo>
                  <a:cubicBezTo>
                    <a:pt x="249" y="53"/>
                    <a:pt x="246" y="55"/>
                    <a:pt x="245" y="55"/>
                  </a:cubicBezTo>
                  <a:cubicBezTo>
                    <a:pt x="239" y="56"/>
                    <a:pt x="234" y="55"/>
                    <a:pt x="228" y="55"/>
                  </a:cubicBezTo>
                  <a:cubicBezTo>
                    <a:pt x="227" y="54"/>
                    <a:pt x="227" y="54"/>
                    <a:pt x="227" y="54"/>
                  </a:cubicBezTo>
                  <a:cubicBezTo>
                    <a:pt x="226" y="53"/>
                    <a:pt x="227" y="55"/>
                    <a:pt x="225" y="54"/>
                  </a:cubicBezTo>
                  <a:cubicBezTo>
                    <a:pt x="225" y="52"/>
                    <a:pt x="225" y="52"/>
                    <a:pt x="225" y="52"/>
                  </a:cubicBezTo>
                  <a:cubicBezTo>
                    <a:pt x="221" y="51"/>
                    <a:pt x="218" y="53"/>
                    <a:pt x="216" y="54"/>
                  </a:cubicBezTo>
                  <a:cubicBezTo>
                    <a:pt x="216" y="55"/>
                    <a:pt x="216" y="55"/>
                    <a:pt x="216" y="55"/>
                  </a:cubicBezTo>
                  <a:cubicBezTo>
                    <a:pt x="215" y="55"/>
                    <a:pt x="215" y="54"/>
                    <a:pt x="214" y="54"/>
                  </a:cubicBezTo>
                  <a:cubicBezTo>
                    <a:pt x="213" y="56"/>
                    <a:pt x="212" y="57"/>
                    <a:pt x="211" y="58"/>
                  </a:cubicBezTo>
                  <a:cubicBezTo>
                    <a:pt x="212" y="58"/>
                    <a:pt x="210" y="60"/>
                    <a:pt x="210" y="60"/>
                  </a:cubicBezTo>
                  <a:cubicBezTo>
                    <a:pt x="210" y="61"/>
                    <a:pt x="211" y="62"/>
                    <a:pt x="211" y="62"/>
                  </a:cubicBezTo>
                  <a:cubicBezTo>
                    <a:pt x="211" y="66"/>
                    <a:pt x="211" y="72"/>
                    <a:pt x="209" y="75"/>
                  </a:cubicBezTo>
                  <a:cubicBezTo>
                    <a:pt x="208" y="75"/>
                    <a:pt x="208" y="75"/>
                    <a:pt x="208" y="75"/>
                  </a:cubicBezTo>
                  <a:cubicBezTo>
                    <a:pt x="207" y="78"/>
                    <a:pt x="207" y="81"/>
                    <a:pt x="207" y="86"/>
                  </a:cubicBezTo>
                  <a:cubicBezTo>
                    <a:pt x="207" y="87"/>
                    <a:pt x="206" y="91"/>
                    <a:pt x="205" y="91"/>
                  </a:cubicBezTo>
                  <a:cubicBezTo>
                    <a:pt x="204" y="92"/>
                    <a:pt x="204" y="92"/>
                    <a:pt x="204" y="92"/>
                  </a:cubicBezTo>
                  <a:cubicBezTo>
                    <a:pt x="203" y="96"/>
                    <a:pt x="204" y="99"/>
                    <a:pt x="204" y="103"/>
                  </a:cubicBezTo>
                  <a:cubicBezTo>
                    <a:pt x="205" y="103"/>
                    <a:pt x="207" y="103"/>
                    <a:pt x="208" y="103"/>
                  </a:cubicBezTo>
                  <a:cubicBezTo>
                    <a:pt x="209" y="105"/>
                    <a:pt x="209" y="105"/>
                    <a:pt x="209" y="105"/>
                  </a:cubicBezTo>
                  <a:cubicBezTo>
                    <a:pt x="209" y="105"/>
                    <a:pt x="208" y="106"/>
                    <a:pt x="208" y="107"/>
                  </a:cubicBezTo>
                  <a:cubicBezTo>
                    <a:pt x="209" y="109"/>
                    <a:pt x="209" y="109"/>
                    <a:pt x="209" y="109"/>
                  </a:cubicBezTo>
                  <a:cubicBezTo>
                    <a:pt x="209" y="111"/>
                    <a:pt x="206" y="113"/>
                    <a:pt x="206" y="114"/>
                  </a:cubicBezTo>
                  <a:cubicBezTo>
                    <a:pt x="205" y="117"/>
                    <a:pt x="206" y="121"/>
                    <a:pt x="206" y="123"/>
                  </a:cubicBezTo>
                  <a:cubicBezTo>
                    <a:pt x="209" y="123"/>
                    <a:pt x="213" y="123"/>
                    <a:pt x="217" y="123"/>
                  </a:cubicBezTo>
                  <a:cubicBezTo>
                    <a:pt x="216" y="122"/>
                    <a:pt x="217" y="120"/>
                    <a:pt x="217" y="119"/>
                  </a:cubicBezTo>
                  <a:cubicBezTo>
                    <a:pt x="217" y="119"/>
                    <a:pt x="215" y="119"/>
                    <a:pt x="215" y="118"/>
                  </a:cubicBezTo>
                  <a:cubicBezTo>
                    <a:pt x="215" y="118"/>
                    <a:pt x="218" y="115"/>
                    <a:pt x="217" y="115"/>
                  </a:cubicBezTo>
                  <a:cubicBezTo>
                    <a:pt x="217" y="114"/>
                    <a:pt x="215" y="110"/>
                    <a:pt x="215" y="109"/>
                  </a:cubicBezTo>
                  <a:cubicBezTo>
                    <a:pt x="216" y="109"/>
                    <a:pt x="218" y="108"/>
                    <a:pt x="218" y="107"/>
                  </a:cubicBezTo>
                  <a:cubicBezTo>
                    <a:pt x="219" y="105"/>
                    <a:pt x="218" y="102"/>
                    <a:pt x="217" y="100"/>
                  </a:cubicBezTo>
                  <a:cubicBezTo>
                    <a:pt x="220" y="99"/>
                    <a:pt x="221" y="100"/>
                    <a:pt x="223" y="99"/>
                  </a:cubicBezTo>
                  <a:cubicBezTo>
                    <a:pt x="224" y="103"/>
                    <a:pt x="225" y="107"/>
                    <a:pt x="225" y="109"/>
                  </a:cubicBezTo>
                  <a:cubicBezTo>
                    <a:pt x="226" y="112"/>
                    <a:pt x="227" y="114"/>
                    <a:pt x="227" y="118"/>
                  </a:cubicBezTo>
                  <a:cubicBezTo>
                    <a:pt x="228" y="118"/>
                    <a:pt x="230" y="119"/>
                    <a:pt x="232" y="119"/>
                  </a:cubicBezTo>
                  <a:cubicBezTo>
                    <a:pt x="232" y="119"/>
                    <a:pt x="232" y="119"/>
                    <a:pt x="232" y="119"/>
                  </a:cubicBezTo>
                  <a:cubicBezTo>
                    <a:pt x="234" y="117"/>
                    <a:pt x="233" y="116"/>
                    <a:pt x="233" y="115"/>
                  </a:cubicBezTo>
                  <a:cubicBezTo>
                    <a:pt x="233" y="114"/>
                    <a:pt x="233" y="114"/>
                    <a:pt x="233" y="114"/>
                  </a:cubicBezTo>
                  <a:cubicBezTo>
                    <a:pt x="234" y="113"/>
                    <a:pt x="237" y="113"/>
                    <a:pt x="239" y="113"/>
                  </a:cubicBezTo>
                  <a:cubicBezTo>
                    <a:pt x="240" y="111"/>
                    <a:pt x="240" y="111"/>
                    <a:pt x="240" y="111"/>
                  </a:cubicBezTo>
                  <a:cubicBezTo>
                    <a:pt x="239" y="111"/>
                    <a:pt x="239" y="111"/>
                    <a:pt x="239" y="111"/>
                  </a:cubicBezTo>
                  <a:cubicBezTo>
                    <a:pt x="238" y="110"/>
                    <a:pt x="237" y="108"/>
                    <a:pt x="236" y="107"/>
                  </a:cubicBezTo>
                  <a:cubicBezTo>
                    <a:pt x="234" y="104"/>
                    <a:pt x="235" y="104"/>
                    <a:pt x="235" y="101"/>
                  </a:cubicBezTo>
                  <a:cubicBezTo>
                    <a:pt x="234" y="101"/>
                    <a:pt x="234" y="101"/>
                    <a:pt x="234" y="101"/>
                  </a:cubicBezTo>
                  <a:cubicBezTo>
                    <a:pt x="234" y="101"/>
                    <a:pt x="234" y="99"/>
                    <a:pt x="234" y="99"/>
                  </a:cubicBezTo>
                  <a:cubicBezTo>
                    <a:pt x="233" y="98"/>
                    <a:pt x="231" y="98"/>
                    <a:pt x="230" y="97"/>
                  </a:cubicBezTo>
                  <a:cubicBezTo>
                    <a:pt x="229" y="96"/>
                    <a:pt x="230" y="93"/>
                    <a:pt x="229" y="91"/>
                  </a:cubicBezTo>
                  <a:cubicBezTo>
                    <a:pt x="229" y="91"/>
                    <a:pt x="223" y="89"/>
                    <a:pt x="223" y="89"/>
                  </a:cubicBezTo>
                  <a:cubicBezTo>
                    <a:pt x="224" y="88"/>
                    <a:pt x="224" y="88"/>
                    <a:pt x="225" y="87"/>
                  </a:cubicBezTo>
                  <a:cubicBezTo>
                    <a:pt x="225" y="87"/>
                    <a:pt x="227" y="87"/>
                    <a:pt x="229" y="87"/>
                  </a:cubicBezTo>
                  <a:cubicBezTo>
                    <a:pt x="235" y="84"/>
                    <a:pt x="235" y="79"/>
                    <a:pt x="241" y="78"/>
                  </a:cubicBezTo>
                  <a:cubicBezTo>
                    <a:pt x="242" y="76"/>
                    <a:pt x="241" y="76"/>
                    <a:pt x="242" y="75"/>
                  </a:cubicBezTo>
                  <a:cubicBezTo>
                    <a:pt x="235" y="75"/>
                    <a:pt x="232" y="75"/>
                    <a:pt x="226" y="74"/>
                  </a:cubicBezTo>
                  <a:cubicBezTo>
                    <a:pt x="226" y="75"/>
                    <a:pt x="226" y="76"/>
                    <a:pt x="225" y="77"/>
                  </a:cubicBezTo>
                  <a:cubicBezTo>
                    <a:pt x="225" y="78"/>
                    <a:pt x="223" y="77"/>
                    <a:pt x="222" y="78"/>
                  </a:cubicBezTo>
                  <a:cubicBezTo>
                    <a:pt x="222" y="78"/>
                    <a:pt x="221" y="75"/>
                    <a:pt x="221" y="75"/>
                  </a:cubicBezTo>
                  <a:cubicBezTo>
                    <a:pt x="220" y="74"/>
                    <a:pt x="218" y="75"/>
                    <a:pt x="217" y="74"/>
                  </a:cubicBezTo>
                  <a:cubicBezTo>
                    <a:pt x="217" y="74"/>
                    <a:pt x="216" y="72"/>
                    <a:pt x="216" y="72"/>
                  </a:cubicBezTo>
                  <a:cubicBezTo>
                    <a:pt x="215" y="70"/>
                    <a:pt x="217" y="67"/>
                    <a:pt x="217" y="66"/>
                  </a:cubicBezTo>
                  <a:cubicBezTo>
                    <a:pt x="217" y="63"/>
                    <a:pt x="217" y="62"/>
                    <a:pt x="217" y="60"/>
                  </a:cubicBezTo>
                  <a:cubicBezTo>
                    <a:pt x="219" y="60"/>
                    <a:pt x="219" y="61"/>
                    <a:pt x="220" y="61"/>
                  </a:cubicBezTo>
                  <a:cubicBezTo>
                    <a:pt x="221" y="61"/>
                    <a:pt x="224" y="59"/>
                    <a:pt x="225" y="60"/>
                  </a:cubicBezTo>
                  <a:cubicBezTo>
                    <a:pt x="226" y="60"/>
                    <a:pt x="227" y="61"/>
                    <a:pt x="229" y="61"/>
                  </a:cubicBezTo>
                  <a:cubicBezTo>
                    <a:pt x="230" y="61"/>
                    <a:pt x="235" y="60"/>
                    <a:pt x="237" y="60"/>
                  </a:cubicBezTo>
                  <a:cubicBezTo>
                    <a:pt x="240" y="61"/>
                    <a:pt x="244" y="63"/>
                    <a:pt x="248" y="62"/>
                  </a:cubicBezTo>
                  <a:cubicBezTo>
                    <a:pt x="248" y="61"/>
                    <a:pt x="248" y="61"/>
                    <a:pt x="248" y="61"/>
                  </a:cubicBezTo>
                  <a:cubicBezTo>
                    <a:pt x="249" y="60"/>
                    <a:pt x="250" y="61"/>
                    <a:pt x="251" y="60"/>
                  </a:cubicBezTo>
                  <a:cubicBezTo>
                    <a:pt x="252" y="59"/>
                    <a:pt x="252" y="56"/>
                    <a:pt x="253" y="55"/>
                  </a:cubicBezTo>
                  <a:cubicBezTo>
                    <a:pt x="254" y="54"/>
                    <a:pt x="255" y="54"/>
                    <a:pt x="255" y="54"/>
                  </a:cubicBezTo>
                  <a:cubicBezTo>
                    <a:pt x="257" y="53"/>
                    <a:pt x="257" y="53"/>
                    <a:pt x="257" y="53"/>
                  </a:cubicBezTo>
                  <a:cubicBezTo>
                    <a:pt x="257" y="52"/>
                    <a:pt x="257" y="49"/>
                    <a:pt x="257" y="48"/>
                  </a:cubicBezTo>
                  <a:cubicBezTo>
                    <a:pt x="257" y="48"/>
                    <a:pt x="256" y="48"/>
                    <a:pt x="256" y="47"/>
                  </a:cubicBezTo>
                  <a:cubicBezTo>
                    <a:pt x="255" y="47"/>
                    <a:pt x="254" y="47"/>
                    <a:pt x="254" y="47"/>
                  </a:cubicBezTo>
                  <a:close/>
                  <a:moveTo>
                    <a:pt x="81" y="50"/>
                  </a:moveTo>
                  <a:cubicBezTo>
                    <a:pt x="81" y="51"/>
                    <a:pt x="81" y="51"/>
                    <a:pt x="81" y="51"/>
                  </a:cubicBezTo>
                  <a:cubicBezTo>
                    <a:pt x="83" y="51"/>
                    <a:pt x="83" y="50"/>
                    <a:pt x="81" y="50"/>
                  </a:cubicBezTo>
                  <a:close/>
                  <a:moveTo>
                    <a:pt x="304" y="66"/>
                  </a:moveTo>
                  <a:cubicBezTo>
                    <a:pt x="303" y="67"/>
                    <a:pt x="303" y="67"/>
                    <a:pt x="303" y="67"/>
                  </a:cubicBezTo>
                  <a:cubicBezTo>
                    <a:pt x="294" y="69"/>
                    <a:pt x="305" y="69"/>
                    <a:pt x="309" y="69"/>
                  </a:cubicBezTo>
                  <a:cubicBezTo>
                    <a:pt x="309" y="69"/>
                    <a:pt x="310" y="68"/>
                    <a:pt x="310" y="67"/>
                  </a:cubicBezTo>
                  <a:cubicBezTo>
                    <a:pt x="309" y="67"/>
                    <a:pt x="304" y="65"/>
                    <a:pt x="304" y="66"/>
                  </a:cubicBezTo>
                  <a:close/>
                  <a:moveTo>
                    <a:pt x="277" y="69"/>
                  </a:moveTo>
                  <a:cubicBezTo>
                    <a:pt x="277" y="71"/>
                    <a:pt x="277" y="73"/>
                    <a:pt x="277" y="74"/>
                  </a:cubicBezTo>
                  <a:cubicBezTo>
                    <a:pt x="281" y="72"/>
                    <a:pt x="279" y="73"/>
                    <a:pt x="277" y="69"/>
                  </a:cubicBezTo>
                  <a:close/>
                  <a:moveTo>
                    <a:pt x="33" y="75"/>
                  </a:moveTo>
                  <a:cubicBezTo>
                    <a:pt x="33" y="76"/>
                    <a:pt x="32" y="76"/>
                    <a:pt x="32" y="77"/>
                  </a:cubicBezTo>
                  <a:cubicBezTo>
                    <a:pt x="32" y="78"/>
                    <a:pt x="34" y="82"/>
                    <a:pt x="34" y="83"/>
                  </a:cubicBezTo>
                  <a:cubicBezTo>
                    <a:pt x="34" y="83"/>
                    <a:pt x="37" y="84"/>
                    <a:pt x="38" y="84"/>
                  </a:cubicBezTo>
                  <a:cubicBezTo>
                    <a:pt x="38" y="83"/>
                    <a:pt x="39" y="83"/>
                    <a:pt x="37" y="83"/>
                  </a:cubicBezTo>
                  <a:cubicBezTo>
                    <a:pt x="36" y="80"/>
                    <a:pt x="36" y="78"/>
                    <a:pt x="35" y="75"/>
                  </a:cubicBezTo>
                  <a:cubicBezTo>
                    <a:pt x="35" y="75"/>
                    <a:pt x="33" y="76"/>
                    <a:pt x="33" y="75"/>
                  </a:cubicBezTo>
                  <a:close/>
                  <a:moveTo>
                    <a:pt x="301" y="75"/>
                  </a:moveTo>
                  <a:cubicBezTo>
                    <a:pt x="300" y="76"/>
                    <a:pt x="302" y="77"/>
                    <a:pt x="302" y="77"/>
                  </a:cubicBezTo>
                  <a:cubicBezTo>
                    <a:pt x="303" y="77"/>
                    <a:pt x="304" y="75"/>
                    <a:pt x="301" y="75"/>
                  </a:cubicBezTo>
                  <a:close/>
                  <a:moveTo>
                    <a:pt x="305" y="77"/>
                  </a:moveTo>
                  <a:cubicBezTo>
                    <a:pt x="304" y="78"/>
                    <a:pt x="304" y="78"/>
                    <a:pt x="304" y="78"/>
                  </a:cubicBezTo>
                  <a:cubicBezTo>
                    <a:pt x="304" y="79"/>
                    <a:pt x="304" y="80"/>
                    <a:pt x="304" y="80"/>
                  </a:cubicBezTo>
                  <a:cubicBezTo>
                    <a:pt x="304" y="80"/>
                    <a:pt x="306" y="80"/>
                    <a:pt x="307" y="81"/>
                  </a:cubicBezTo>
                  <a:cubicBezTo>
                    <a:pt x="306" y="80"/>
                    <a:pt x="309" y="79"/>
                    <a:pt x="305" y="77"/>
                  </a:cubicBezTo>
                  <a:close/>
                  <a:moveTo>
                    <a:pt x="279" y="79"/>
                  </a:moveTo>
                  <a:cubicBezTo>
                    <a:pt x="277" y="79"/>
                    <a:pt x="280" y="80"/>
                    <a:pt x="281" y="80"/>
                  </a:cubicBezTo>
                  <a:cubicBezTo>
                    <a:pt x="280" y="80"/>
                    <a:pt x="281" y="78"/>
                    <a:pt x="279" y="79"/>
                  </a:cubicBezTo>
                  <a:close/>
                  <a:moveTo>
                    <a:pt x="237" y="81"/>
                  </a:moveTo>
                  <a:cubicBezTo>
                    <a:pt x="237" y="81"/>
                    <a:pt x="237" y="82"/>
                    <a:pt x="237" y="82"/>
                  </a:cubicBezTo>
                  <a:cubicBezTo>
                    <a:pt x="236" y="81"/>
                    <a:pt x="236" y="83"/>
                    <a:pt x="236" y="83"/>
                  </a:cubicBezTo>
                  <a:cubicBezTo>
                    <a:pt x="237" y="85"/>
                    <a:pt x="237" y="85"/>
                    <a:pt x="237" y="85"/>
                  </a:cubicBezTo>
                  <a:cubicBezTo>
                    <a:pt x="238" y="84"/>
                    <a:pt x="239" y="84"/>
                    <a:pt x="239" y="84"/>
                  </a:cubicBezTo>
                  <a:cubicBezTo>
                    <a:pt x="241" y="84"/>
                    <a:pt x="241" y="85"/>
                    <a:pt x="241" y="85"/>
                  </a:cubicBezTo>
                  <a:cubicBezTo>
                    <a:pt x="241" y="85"/>
                    <a:pt x="242" y="84"/>
                    <a:pt x="242" y="83"/>
                  </a:cubicBezTo>
                  <a:cubicBezTo>
                    <a:pt x="244" y="84"/>
                    <a:pt x="243" y="82"/>
                    <a:pt x="243" y="82"/>
                  </a:cubicBezTo>
                  <a:cubicBezTo>
                    <a:pt x="242" y="82"/>
                    <a:pt x="239" y="81"/>
                    <a:pt x="237" y="81"/>
                  </a:cubicBezTo>
                  <a:close/>
                  <a:moveTo>
                    <a:pt x="92" y="82"/>
                  </a:moveTo>
                  <a:cubicBezTo>
                    <a:pt x="90" y="84"/>
                    <a:pt x="90" y="84"/>
                    <a:pt x="90" y="87"/>
                  </a:cubicBezTo>
                  <a:cubicBezTo>
                    <a:pt x="92" y="88"/>
                    <a:pt x="93" y="88"/>
                    <a:pt x="94" y="88"/>
                  </a:cubicBezTo>
                  <a:cubicBezTo>
                    <a:pt x="94" y="90"/>
                    <a:pt x="93" y="90"/>
                    <a:pt x="94" y="93"/>
                  </a:cubicBezTo>
                  <a:cubicBezTo>
                    <a:pt x="94" y="94"/>
                    <a:pt x="96" y="95"/>
                    <a:pt x="97" y="95"/>
                  </a:cubicBezTo>
                  <a:cubicBezTo>
                    <a:pt x="98" y="96"/>
                    <a:pt x="98" y="97"/>
                    <a:pt x="98" y="97"/>
                  </a:cubicBezTo>
                  <a:cubicBezTo>
                    <a:pt x="100" y="97"/>
                    <a:pt x="100" y="97"/>
                    <a:pt x="100" y="97"/>
                  </a:cubicBezTo>
                  <a:cubicBezTo>
                    <a:pt x="99" y="91"/>
                    <a:pt x="99" y="90"/>
                    <a:pt x="96" y="86"/>
                  </a:cubicBezTo>
                  <a:cubicBezTo>
                    <a:pt x="95" y="84"/>
                    <a:pt x="94" y="83"/>
                    <a:pt x="92" y="82"/>
                  </a:cubicBezTo>
                  <a:close/>
                  <a:moveTo>
                    <a:pt x="299" y="82"/>
                  </a:moveTo>
                  <a:cubicBezTo>
                    <a:pt x="298" y="85"/>
                    <a:pt x="298" y="85"/>
                    <a:pt x="298" y="85"/>
                  </a:cubicBezTo>
                  <a:cubicBezTo>
                    <a:pt x="299" y="85"/>
                    <a:pt x="300" y="85"/>
                    <a:pt x="301" y="85"/>
                  </a:cubicBezTo>
                  <a:cubicBezTo>
                    <a:pt x="301" y="85"/>
                    <a:pt x="301" y="83"/>
                    <a:pt x="301" y="83"/>
                  </a:cubicBezTo>
                  <a:cubicBezTo>
                    <a:pt x="301" y="83"/>
                    <a:pt x="300" y="82"/>
                    <a:pt x="299" y="82"/>
                  </a:cubicBezTo>
                  <a:close/>
                  <a:moveTo>
                    <a:pt x="260" y="83"/>
                  </a:moveTo>
                  <a:cubicBezTo>
                    <a:pt x="260" y="83"/>
                    <a:pt x="259" y="84"/>
                    <a:pt x="259" y="84"/>
                  </a:cubicBezTo>
                  <a:cubicBezTo>
                    <a:pt x="266" y="84"/>
                    <a:pt x="269" y="83"/>
                    <a:pt x="260" y="83"/>
                  </a:cubicBezTo>
                  <a:close/>
                  <a:moveTo>
                    <a:pt x="249" y="84"/>
                  </a:moveTo>
                  <a:cubicBezTo>
                    <a:pt x="249" y="84"/>
                    <a:pt x="249" y="87"/>
                    <a:pt x="249" y="87"/>
                  </a:cubicBezTo>
                  <a:cubicBezTo>
                    <a:pt x="258" y="86"/>
                    <a:pt x="258" y="85"/>
                    <a:pt x="249" y="84"/>
                  </a:cubicBezTo>
                  <a:close/>
                  <a:moveTo>
                    <a:pt x="43" y="91"/>
                  </a:moveTo>
                  <a:cubicBezTo>
                    <a:pt x="43" y="94"/>
                    <a:pt x="43" y="94"/>
                    <a:pt x="43" y="94"/>
                  </a:cubicBezTo>
                  <a:cubicBezTo>
                    <a:pt x="45" y="95"/>
                    <a:pt x="44" y="92"/>
                    <a:pt x="43" y="91"/>
                  </a:cubicBezTo>
                  <a:close/>
                  <a:moveTo>
                    <a:pt x="108" y="94"/>
                  </a:moveTo>
                  <a:cubicBezTo>
                    <a:pt x="106" y="101"/>
                    <a:pt x="108" y="100"/>
                    <a:pt x="114" y="98"/>
                  </a:cubicBezTo>
                  <a:cubicBezTo>
                    <a:pt x="114" y="96"/>
                    <a:pt x="114" y="95"/>
                    <a:pt x="114" y="94"/>
                  </a:cubicBezTo>
                  <a:cubicBezTo>
                    <a:pt x="112" y="94"/>
                    <a:pt x="110" y="94"/>
                    <a:pt x="108" y="94"/>
                  </a:cubicBezTo>
                  <a:close/>
                  <a:moveTo>
                    <a:pt x="285" y="97"/>
                  </a:moveTo>
                  <a:cubicBezTo>
                    <a:pt x="285" y="97"/>
                    <a:pt x="284" y="98"/>
                    <a:pt x="284" y="98"/>
                  </a:cubicBezTo>
                  <a:cubicBezTo>
                    <a:pt x="283" y="98"/>
                    <a:pt x="282" y="98"/>
                    <a:pt x="282" y="98"/>
                  </a:cubicBezTo>
                  <a:cubicBezTo>
                    <a:pt x="281" y="100"/>
                    <a:pt x="281" y="100"/>
                    <a:pt x="281" y="100"/>
                  </a:cubicBezTo>
                  <a:cubicBezTo>
                    <a:pt x="282" y="100"/>
                    <a:pt x="283" y="100"/>
                    <a:pt x="284" y="100"/>
                  </a:cubicBezTo>
                  <a:cubicBezTo>
                    <a:pt x="284" y="100"/>
                    <a:pt x="285" y="102"/>
                    <a:pt x="285" y="102"/>
                  </a:cubicBezTo>
                  <a:cubicBezTo>
                    <a:pt x="288" y="102"/>
                    <a:pt x="287" y="100"/>
                    <a:pt x="288" y="100"/>
                  </a:cubicBezTo>
                  <a:cubicBezTo>
                    <a:pt x="290" y="99"/>
                    <a:pt x="291" y="102"/>
                    <a:pt x="293" y="102"/>
                  </a:cubicBezTo>
                  <a:cubicBezTo>
                    <a:pt x="294" y="102"/>
                    <a:pt x="295" y="101"/>
                    <a:pt x="296" y="101"/>
                  </a:cubicBezTo>
                  <a:cubicBezTo>
                    <a:pt x="298" y="101"/>
                    <a:pt x="301" y="103"/>
                    <a:pt x="304" y="103"/>
                  </a:cubicBezTo>
                  <a:cubicBezTo>
                    <a:pt x="304" y="103"/>
                    <a:pt x="305" y="102"/>
                    <a:pt x="305" y="101"/>
                  </a:cubicBezTo>
                  <a:cubicBezTo>
                    <a:pt x="304" y="100"/>
                    <a:pt x="303" y="100"/>
                    <a:pt x="303" y="99"/>
                  </a:cubicBezTo>
                  <a:cubicBezTo>
                    <a:pt x="299" y="98"/>
                    <a:pt x="296" y="98"/>
                    <a:pt x="293" y="98"/>
                  </a:cubicBezTo>
                  <a:cubicBezTo>
                    <a:pt x="291" y="97"/>
                    <a:pt x="291" y="97"/>
                    <a:pt x="291" y="97"/>
                  </a:cubicBezTo>
                  <a:cubicBezTo>
                    <a:pt x="291" y="97"/>
                    <a:pt x="285" y="97"/>
                    <a:pt x="285" y="97"/>
                  </a:cubicBezTo>
                  <a:close/>
                  <a:moveTo>
                    <a:pt x="273" y="97"/>
                  </a:moveTo>
                  <a:cubicBezTo>
                    <a:pt x="271" y="97"/>
                    <a:pt x="265" y="98"/>
                    <a:pt x="263" y="99"/>
                  </a:cubicBezTo>
                  <a:cubicBezTo>
                    <a:pt x="263" y="99"/>
                    <a:pt x="263" y="101"/>
                    <a:pt x="263" y="101"/>
                  </a:cubicBezTo>
                  <a:cubicBezTo>
                    <a:pt x="265" y="101"/>
                    <a:pt x="267" y="101"/>
                    <a:pt x="268" y="102"/>
                  </a:cubicBezTo>
                  <a:cubicBezTo>
                    <a:pt x="268" y="102"/>
                    <a:pt x="268" y="104"/>
                    <a:pt x="269" y="104"/>
                  </a:cubicBezTo>
                  <a:cubicBezTo>
                    <a:pt x="271" y="104"/>
                    <a:pt x="274" y="103"/>
                    <a:pt x="276" y="103"/>
                  </a:cubicBezTo>
                  <a:cubicBezTo>
                    <a:pt x="276" y="102"/>
                    <a:pt x="276" y="100"/>
                    <a:pt x="277" y="100"/>
                  </a:cubicBezTo>
                  <a:cubicBezTo>
                    <a:pt x="276" y="100"/>
                    <a:pt x="275" y="100"/>
                    <a:pt x="275" y="100"/>
                  </a:cubicBezTo>
                  <a:cubicBezTo>
                    <a:pt x="273" y="98"/>
                    <a:pt x="276" y="98"/>
                    <a:pt x="273" y="97"/>
                  </a:cubicBezTo>
                  <a:close/>
                  <a:moveTo>
                    <a:pt x="241" y="113"/>
                  </a:moveTo>
                  <a:cubicBezTo>
                    <a:pt x="241" y="115"/>
                    <a:pt x="241" y="114"/>
                    <a:pt x="240" y="114"/>
                  </a:cubicBezTo>
                  <a:cubicBezTo>
                    <a:pt x="240" y="115"/>
                    <a:pt x="240" y="117"/>
                    <a:pt x="240" y="118"/>
                  </a:cubicBezTo>
                  <a:cubicBezTo>
                    <a:pt x="240" y="118"/>
                    <a:pt x="238" y="121"/>
                    <a:pt x="239" y="118"/>
                  </a:cubicBezTo>
                  <a:cubicBezTo>
                    <a:pt x="238" y="118"/>
                    <a:pt x="238" y="117"/>
                    <a:pt x="238" y="117"/>
                  </a:cubicBezTo>
                  <a:cubicBezTo>
                    <a:pt x="238" y="117"/>
                    <a:pt x="236" y="117"/>
                    <a:pt x="236" y="117"/>
                  </a:cubicBezTo>
                  <a:cubicBezTo>
                    <a:pt x="235" y="119"/>
                    <a:pt x="236" y="120"/>
                    <a:pt x="235" y="121"/>
                  </a:cubicBezTo>
                  <a:cubicBezTo>
                    <a:pt x="239" y="123"/>
                    <a:pt x="237" y="120"/>
                    <a:pt x="239" y="125"/>
                  </a:cubicBezTo>
                  <a:cubicBezTo>
                    <a:pt x="239" y="125"/>
                    <a:pt x="241" y="126"/>
                    <a:pt x="241" y="125"/>
                  </a:cubicBezTo>
                  <a:cubicBezTo>
                    <a:pt x="241" y="125"/>
                    <a:pt x="244" y="122"/>
                    <a:pt x="244" y="122"/>
                  </a:cubicBezTo>
                  <a:cubicBezTo>
                    <a:pt x="244" y="121"/>
                    <a:pt x="242" y="120"/>
                    <a:pt x="242" y="119"/>
                  </a:cubicBezTo>
                  <a:cubicBezTo>
                    <a:pt x="241" y="116"/>
                    <a:pt x="245" y="115"/>
                    <a:pt x="241" y="113"/>
                  </a:cubicBezTo>
                  <a:close/>
                  <a:moveTo>
                    <a:pt x="102" y="123"/>
                  </a:moveTo>
                  <a:cubicBezTo>
                    <a:pt x="101" y="125"/>
                    <a:pt x="101" y="125"/>
                    <a:pt x="101" y="125"/>
                  </a:cubicBezTo>
                  <a:cubicBezTo>
                    <a:pt x="97" y="124"/>
                    <a:pt x="95" y="124"/>
                    <a:pt x="91" y="124"/>
                  </a:cubicBezTo>
                  <a:cubicBezTo>
                    <a:pt x="90" y="130"/>
                    <a:pt x="89" y="130"/>
                    <a:pt x="87" y="134"/>
                  </a:cubicBezTo>
                  <a:cubicBezTo>
                    <a:pt x="87" y="134"/>
                    <a:pt x="87" y="135"/>
                    <a:pt x="87" y="135"/>
                  </a:cubicBezTo>
                  <a:cubicBezTo>
                    <a:pt x="91" y="135"/>
                    <a:pt x="92" y="135"/>
                    <a:pt x="96" y="135"/>
                  </a:cubicBezTo>
                  <a:cubicBezTo>
                    <a:pt x="95" y="137"/>
                    <a:pt x="97" y="136"/>
                    <a:pt x="94" y="137"/>
                  </a:cubicBezTo>
                  <a:cubicBezTo>
                    <a:pt x="95" y="138"/>
                    <a:pt x="95" y="140"/>
                    <a:pt x="95" y="140"/>
                  </a:cubicBezTo>
                  <a:cubicBezTo>
                    <a:pt x="99" y="140"/>
                    <a:pt x="103" y="139"/>
                    <a:pt x="106" y="141"/>
                  </a:cubicBezTo>
                  <a:cubicBezTo>
                    <a:pt x="107" y="142"/>
                    <a:pt x="108" y="144"/>
                    <a:pt x="108" y="145"/>
                  </a:cubicBezTo>
                  <a:cubicBezTo>
                    <a:pt x="121" y="145"/>
                    <a:pt x="121" y="145"/>
                    <a:pt x="121" y="145"/>
                  </a:cubicBezTo>
                  <a:cubicBezTo>
                    <a:pt x="121" y="145"/>
                    <a:pt x="122" y="143"/>
                    <a:pt x="123" y="143"/>
                  </a:cubicBezTo>
                  <a:cubicBezTo>
                    <a:pt x="125" y="145"/>
                    <a:pt x="125" y="145"/>
                    <a:pt x="125" y="145"/>
                  </a:cubicBezTo>
                  <a:cubicBezTo>
                    <a:pt x="129" y="146"/>
                    <a:pt x="131" y="146"/>
                    <a:pt x="135" y="147"/>
                  </a:cubicBezTo>
                  <a:cubicBezTo>
                    <a:pt x="136" y="147"/>
                    <a:pt x="138" y="149"/>
                    <a:pt x="139" y="149"/>
                  </a:cubicBezTo>
                  <a:cubicBezTo>
                    <a:pt x="141" y="150"/>
                    <a:pt x="142" y="148"/>
                    <a:pt x="144" y="149"/>
                  </a:cubicBezTo>
                  <a:cubicBezTo>
                    <a:pt x="146" y="149"/>
                    <a:pt x="150" y="152"/>
                    <a:pt x="153" y="151"/>
                  </a:cubicBezTo>
                  <a:cubicBezTo>
                    <a:pt x="154" y="151"/>
                    <a:pt x="155" y="149"/>
                    <a:pt x="157" y="150"/>
                  </a:cubicBezTo>
                  <a:cubicBezTo>
                    <a:pt x="159" y="150"/>
                    <a:pt x="159" y="153"/>
                    <a:pt x="160" y="153"/>
                  </a:cubicBezTo>
                  <a:cubicBezTo>
                    <a:pt x="162" y="155"/>
                    <a:pt x="164" y="154"/>
                    <a:pt x="166" y="155"/>
                  </a:cubicBezTo>
                  <a:cubicBezTo>
                    <a:pt x="167" y="155"/>
                    <a:pt x="168" y="156"/>
                    <a:pt x="169" y="157"/>
                  </a:cubicBezTo>
                  <a:cubicBezTo>
                    <a:pt x="168" y="155"/>
                    <a:pt x="169" y="153"/>
                    <a:pt x="168" y="151"/>
                  </a:cubicBezTo>
                  <a:cubicBezTo>
                    <a:pt x="167" y="151"/>
                    <a:pt x="166" y="150"/>
                    <a:pt x="166" y="150"/>
                  </a:cubicBezTo>
                  <a:cubicBezTo>
                    <a:pt x="165" y="149"/>
                    <a:pt x="166" y="145"/>
                    <a:pt x="167" y="144"/>
                  </a:cubicBezTo>
                  <a:cubicBezTo>
                    <a:pt x="162" y="142"/>
                    <a:pt x="159" y="142"/>
                    <a:pt x="153" y="142"/>
                  </a:cubicBezTo>
                  <a:cubicBezTo>
                    <a:pt x="153" y="142"/>
                    <a:pt x="153" y="136"/>
                    <a:pt x="153" y="136"/>
                  </a:cubicBezTo>
                  <a:cubicBezTo>
                    <a:pt x="153" y="136"/>
                    <a:pt x="152" y="135"/>
                    <a:pt x="152" y="135"/>
                  </a:cubicBezTo>
                  <a:cubicBezTo>
                    <a:pt x="151" y="134"/>
                    <a:pt x="152" y="132"/>
                    <a:pt x="152" y="131"/>
                  </a:cubicBezTo>
                  <a:cubicBezTo>
                    <a:pt x="150" y="132"/>
                    <a:pt x="147" y="133"/>
                    <a:pt x="146" y="133"/>
                  </a:cubicBezTo>
                  <a:cubicBezTo>
                    <a:pt x="146" y="133"/>
                    <a:pt x="146" y="131"/>
                    <a:pt x="146" y="131"/>
                  </a:cubicBezTo>
                  <a:cubicBezTo>
                    <a:pt x="145" y="130"/>
                    <a:pt x="144" y="131"/>
                    <a:pt x="143" y="131"/>
                  </a:cubicBezTo>
                  <a:cubicBezTo>
                    <a:pt x="142" y="129"/>
                    <a:pt x="142" y="129"/>
                    <a:pt x="142" y="129"/>
                  </a:cubicBezTo>
                  <a:cubicBezTo>
                    <a:pt x="138" y="129"/>
                    <a:pt x="138" y="130"/>
                    <a:pt x="134" y="128"/>
                  </a:cubicBezTo>
                  <a:cubicBezTo>
                    <a:pt x="134" y="129"/>
                    <a:pt x="134" y="130"/>
                    <a:pt x="133" y="131"/>
                  </a:cubicBezTo>
                  <a:cubicBezTo>
                    <a:pt x="130" y="131"/>
                    <a:pt x="127" y="132"/>
                    <a:pt x="124" y="131"/>
                  </a:cubicBezTo>
                  <a:cubicBezTo>
                    <a:pt x="122" y="130"/>
                    <a:pt x="122" y="130"/>
                    <a:pt x="122" y="130"/>
                  </a:cubicBezTo>
                  <a:cubicBezTo>
                    <a:pt x="116" y="129"/>
                    <a:pt x="116" y="129"/>
                    <a:pt x="114" y="125"/>
                  </a:cubicBezTo>
                  <a:cubicBezTo>
                    <a:pt x="114" y="125"/>
                    <a:pt x="109" y="126"/>
                    <a:pt x="108" y="125"/>
                  </a:cubicBezTo>
                  <a:cubicBezTo>
                    <a:pt x="107" y="124"/>
                    <a:pt x="107" y="124"/>
                    <a:pt x="107" y="124"/>
                  </a:cubicBezTo>
                  <a:cubicBezTo>
                    <a:pt x="105" y="123"/>
                    <a:pt x="104" y="123"/>
                    <a:pt x="102" y="123"/>
                  </a:cubicBezTo>
                  <a:close/>
                  <a:moveTo>
                    <a:pt x="229" y="124"/>
                  </a:moveTo>
                  <a:cubicBezTo>
                    <a:pt x="230" y="125"/>
                    <a:pt x="230" y="125"/>
                    <a:pt x="230" y="125"/>
                  </a:cubicBezTo>
                  <a:cubicBezTo>
                    <a:pt x="230" y="124"/>
                    <a:pt x="231" y="124"/>
                    <a:pt x="229" y="124"/>
                  </a:cubicBezTo>
                  <a:close/>
                  <a:moveTo>
                    <a:pt x="335" y="127"/>
                  </a:moveTo>
                  <a:cubicBezTo>
                    <a:pt x="335" y="128"/>
                    <a:pt x="334" y="128"/>
                    <a:pt x="334" y="129"/>
                  </a:cubicBezTo>
                  <a:cubicBezTo>
                    <a:pt x="337" y="130"/>
                    <a:pt x="336" y="133"/>
                    <a:pt x="336" y="137"/>
                  </a:cubicBezTo>
                  <a:cubicBezTo>
                    <a:pt x="335" y="137"/>
                    <a:pt x="334" y="137"/>
                    <a:pt x="333" y="138"/>
                  </a:cubicBezTo>
                  <a:cubicBezTo>
                    <a:pt x="333" y="138"/>
                    <a:pt x="335" y="140"/>
                    <a:pt x="335" y="141"/>
                  </a:cubicBezTo>
                  <a:cubicBezTo>
                    <a:pt x="333" y="141"/>
                    <a:pt x="336" y="143"/>
                    <a:pt x="336" y="143"/>
                  </a:cubicBezTo>
                  <a:cubicBezTo>
                    <a:pt x="338" y="137"/>
                    <a:pt x="336" y="139"/>
                    <a:pt x="340" y="136"/>
                  </a:cubicBezTo>
                  <a:cubicBezTo>
                    <a:pt x="340" y="136"/>
                    <a:pt x="340" y="134"/>
                    <a:pt x="340" y="134"/>
                  </a:cubicBezTo>
                  <a:cubicBezTo>
                    <a:pt x="337" y="135"/>
                    <a:pt x="341" y="130"/>
                    <a:pt x="339" y="129"/>
                  </a:cubicBezTo>
                  <a:cubicBezTo>
                    <a:pt x="338" y="128"/>
                    <a:pt x="337" y="128"/>
                    <a:pt x="335" y="127"/>
                  </a:cubicBezTo>
                  <a:close/>
                  <a:moveTo>
                    <a:pt x="155" y="133"/>
                  </a:moveTo>
                  <a:cubicBezTo>
                    <a:pt x="155" y="133"/>
                    <a:pt x="153" y="135"/>
                    <a:pt x="156" y="136"/>
                  </a:cubicBezTo>
                  <a:cubicBezTo>
                    <a:pt x="157" y="137"/>
                    <a:pt x="161" y="135"/>
                    <a:pt x="161" y="135"/>
                  </a:cubicBezTo>
                  <a:cubicBezTo>
                    <a:pt x="164" y="136"/>
                    <a:pt x="162" y="133"/>
                    <a:pt x="162" y="133"/>
                  </a:cubicBezTo>
                  <a:cubicBezTo>
                    <a:pt x="159" y="133"/>
                    <a:pt x="158" y="133"/>
                    <a:pt x="155" y="133"/>
                  </a:cubicBezTo>
                  <a:close/>
                  <a:moveTo>
                    <a:pt x="370" y="143"/>
                  </a:moveTo>
                  <a:cubicBezTo>
                    <a:pt x="370" y="145"/>
                    <a:pt x="370" y="145"/>
                    <a:pt x="370" y="145"/>
                  </a:cubicBezTo>
                  <a:cubicBezTo>
                    <a:pt x="370" y="145"/>
                    <a:pt x="371" y="145"/>
                    <a:pt x="372" y="145"/>
                  </a:cubicBezTo>
                  <a:cubicBezTo>
                    <a:pt x="371" y="144"/>
                    <a:pt x="372" y="142"/>
                    <a:pt x="370" y="143"/>
                  </a:cubicBezTo>
                  <a:close/>
                  <a:moveTo>
                    <a:pt x="309" y="147"/>
                  </a:moveTo>
                  <a:cubicBezTo>
                    <a:pt x="308" y="147"/>
                    <a:pt x="309" y="149"/>
                    <a:pt x="308" y="150"/>
                  </a:cubicBezTo>
                  <a:cubicBezTo>
                    <a:pt x="307" y="151"/>
                    <a:pt x="303" y="153"/>
                    <a:pt x="307" y="155"/>
                  </a:cubicBezTo>
                  <a:cubicBezTo>
                    <a:pt x="307" y="154"/>
                    <a:pt x="313" y="145"/>
                    <a:pt x="309" y="147"/>
                  </a:cubicBezTo>
                  <a:close/>
                  <a:moveTo>
                    <a:pt x="169" y="149"/>
                  </a:moveTo>
                  <a:cubicBezTo>
                    <a:pt x="169" y="150"/>
                    <a:pt x="169" y="152"/>
                    <a:pt x="169" y="153"/>
                  </a:cubicBezTo>
                  <a:cubicBezTo>
                    <a:pt x="169" y="153"/>
                    <a:pt x="170" y="153"/>
                    <a:pt x="171" y="153"/>
                  </a:cubicBezTo>
                  <a:cubicBezTo>
                    <a:pt x="172" y="154"/>
                    <a:pt x="172" y="156"/>
                    <a:pt x="172" y="158"/>
                  </a:cubicBezTo>
                  <a:cubicBezTo>
                    <a:pt x="172" y="158"/>
                    <a:pt x="174" y="157"/>
                    <a:pt x="174" y="157"/>
                  </a:cubicBezTo>
                  <a:cubicBezTo>
                    <a:pt x="174" y="156"/>
                    <a:pt x="176" y="154"/>
                    <a:pt x="176" y="153"/>
                  </a:cubicBezTo>
                  <a:cubicBezTo>
                    <a:pt x="176" y="152"/>
                    <a:pt x="175" y="151"/>
                    <a:pt x="176" y="151"/>
                  </a:cubicBezTo>
                  <a:cubicBezTo>
                    <a:pt x="172" y="151"/>
                    <a:pt x="172" y="151"/>
                    <a:pt x="169" y="149"/>
                  </a:cubicBezTo>
                  <a:close/>
                  <a:moveTo>
                    <a:pt x="263" y="152"/>
                  </a:moveTo>
                  <a:cubicBezTo>
                    <a:pt x="263" y="152"/>
                    <a:pt x="263" y="154"/>
                    <a:pt x="263" y="155"/>
                  </a:cubicBezTo>
                  <a:cubicBezTo>
                    <a:pt x="271" y="155"/>
                    <a:pt x="271" y="155"/>
                    <a:pt x="271" y="155"/>
                  </a:cubicBezTo>
                  <a:cubicBezTo>
                    <a:pt x="271" y="154"/>
                    <a:pt x="271" y="152"/>
                    <a:pt x="271" y="152"/>
                  </a:cubicBezTo>
                  <a:cubicBezTo>
                    <a:pt x="267" y="152"/>
                    <a:pt x="267" y="152"/>
                    <a:pt x="263" y="152"/>
                  </a:cubicBezTo>
                  <a:close/>
                  <a:moveTo>
                    <a:pt x="182" y="154"/>
                  </a:moveTo>
                  <a:cubicBezTo>
                    <a:pt x="182" y="156"/>
                    <a:pt x="181" y="158"/>
                    <a:pt x="180" y="160"/>
                  </a:cubicBezTo>
                  <a:cubicBezTo>
                    <a:pt x="186" y="160"/>
                    <a:pt x="184" y="161"/>
                    <a:pt x="186" y="155"/>
                  </a:cubicBezTo>
                  <a:cubicBezTo>
                    <a:pt x="185" y="155"/>
                    <a:pt x="183" y="154"/>
                    <a:pt x="182" y="154"/>
                  </a:cubicBezTo>
                  <a:close/>
                  <a:moveTo>
                    <a:pt x="194" y="155"/>
                  </a:moveTo>
                  <a:cubicBezTo>
                    <a:pt x="194" y="155"/>
                    <a:pt x="194" y="157"/>
                    <a:pt x="194" y="158"/>
                  </a:cubicBezTo>
                  <a:cubicBezTo>
                    <a:pt x="194" y="158"/>
                    <a:pt x="196" y="158"/>
                    <a:pt x="196" y="158"/>
                  </a:cubicBezTo>
                  <a:cubicBezTo>
                    <a:pt x="195" y="159"/>
                    <a:pt x="198" y="161"/>
                    <a:pt x="193" y="161"/>
                  </a:cubicBezTo>
                  <a:cubicBezTo>
                    <a:pt x="191" y="160"/>
                    <a:pt x="190" y="158"/>
                    <a:pt x="189" y="158"/>
                  </a:cubicBezTo>
                  <a:cubicBezTo>
                    <a:pt x="188" y="158"/>
                    <a:pt x="189" y="159"/>
                    <a:pt x="187" y="159"/>
                  </a:cubicBezTo>
                  <a:cubicBezTo>
                    <a:pt x="186" y="160"/>
                    <a:pt x="186" y="162"/>
                    <a:pt x="186" y="165"/>
                  </a:cubicBezTo>
                  <a:cubicBezTo>
                    <a:pt x="187" y="164"/>
                    <a:pt x="188" y="164"/>
                    <a:pt x="190" y="164"/>
                  </a:cubicBezTo>
                  <a:cubicBezTo>
                    <a:pt x="190" y="164"/>
                    <a:pt x="191" y="165"/>
                    <a:pt x="192" y="165"/>
                  </a:cubicBezTo>
                  <a:cubicBezTo>
                    <a:pt x="194" y="164"/>
                    <a:pt x="194" y="164"/>
                    <a:pt x="194" y="164"/>
                  </a:cubicBezTo>
                  <a:cubicBezTo>
                    <a:pt x="197" y="163"/>
                    <a:pt x="204" y="163"/>
                    <a:pt x="205" y="163"/>
                  </a:cubicBezTo>
                  <a:cubicBezTo>
                    <a:pt x="205" y="161"/>
                    <a:pt x="205" y="160"/>
                    <a:pt x="204" y="159"/>
                  </a:cubicBezTo>
                  <a:cubicBezTo>
                    <a:pt x="199" y="158"/>
                    <a:pt x="198" y="157"/>
                    <a:pt x="194" y="155"/>
                  </a:cubicBezTo>
                  <a:close/>
                  <a:moveTo>
                    <a:pt x="282" y="156"/>
                  </a:moveTo>
                  <a:cubicBezTo>
                    <a:pt x="282" y="157"/>
                    <a:pt x="282" y="157"/>
                    <a:pt x="282" y="157"/>
                  </a:cubicBezTo>
                  <a:cubicBezTo>
                    <a:pt x="283" y="157"/>
                    <a:pt x="283" y="157"/>
                    <a:pt x="283" y="157"/>
                  </a:cubicBezTo>
                  <a:cubicBezTo>
                    <a:pt x="282" y="157"/>
                    <a:pt x="284" y="156"/>
                    <a:pt x="282" y="156"/>
                  </a:cubicBezTo>
                  <a:close/>
                  <a:moveTo>
                    <a:pt x="215" y="157"/>
                  </a:moveTo>
                  <a:cubicBezTo>
                    <a:pt x="214" y="157"/>
                    <a:pt x="212" y="157"/>
                    <a:pt x="211" y="158"/>
                  </a:cubicBezTo>
                  <a:cubicBezTo>
                    <a:pt x="211" y="158"/>
                    <a:pt x="212" y="161"/>
                    <a:pt x="211" y="161"/>
                  </a:cubicBezTo>
                  <a:cubicBezTo>
                    <a:pt x="217" y="162"/>
                    <a:pt x="220" y="163"/>
                    <a:pt x="225" y="163"/>
                  </a:cubicBezTo>
                  <a:cubicBezTo>
                    <a:pt x="225" y="164"/>
                    <a:pt x="225" y="164"/>
                    <a:pt x="225" y="164"/>
                  </a:cubicBezTo>
                  <a:cubicBezTo>
                    <a:pt x="229" y="164"/>
                    <a:pt x="233" y="160"/>
                    <a:pt x="236" y="161"/>
                  </a:cubicBezTo>
                  <a:cubicBezTo>
                    <a:pt x="236" y="161"/>
                    <a:pt x="237" y="162"/>
                    <a:pt x="238" y="163"/>
                  </a:cubicBezTo>
                  <a:cubicBezTo>
                    <a:pt x="239" y="161"/>
                    <a:pt x="239" y="159"/>
                    <a:pt x="239" y="159"/>
                  </a:cubicBezTo>
                  <a:cubicBezTo>
                    <a:pt x="239" y="159"/>
                    <a:pt x="237" y="158"/>
                    <a:pt x="235" y="158"/>
                  </a:cubicBezTo>
                  <a:cubicBezTo>
                    <a:pt x="234" y="158"/>
                    <a:pt x="233" y="159"/>
                    <a:pt x="231" y="159"/>
                  </a:cubicBezTo>
                  <a:cubicBezTo>
                    <a:pt x="231" y="159"/>
                    <a:pt x="228" y="157"/>
                    <a:pt x="227" y="157"/>
                  </a:cubicBezTo>
                  <a:cubicBezTo>
                    <a:pt x="225" y="157"/>
                    <a:pt x="225" y="158"/>
                    <a:pt x="222" y="158"/>
                  </a:cubicBezTo>
                  <a:cubicBezTo>
                    <a:pt x="221" y="158"/>
                    <a:pt x="217" y="156"/>
                    <a:pt x="215" y="157"/>
                  </a:cubicBezTo>
                  <a:close/>
                  <a:moveTo>
                    <a:pt x="251" y="158"/>
                  </a:moveTo>
                  <a:cubicBezTo>
                    <a:pt x="251" y="159"/>
                    <a:pt x="251" y="159"/>
                    <a:pt x="251" y="159"/>
                  </a:cubicBezTo>
                  <a:cubicBezTo>
                    <a:pt x="253" y="159"/>
                    <a:pt x="254" y="159"/>
                    <a:pt x="255" y="159"/>
                  </a:cubicBezTo>
                  <a:cubicBezTo>
                    <a:pt x="255" y="159"/>
                    <a:pt x="255" y="158"/>
                    <a:pt x="253" y="158"/>
                  </a:cubicBezTo>
                  <a:cubicBezTo>
                    <a:pt x="254" y="158"/>
                    <a:pt x="252" y="158"/>
                    <a:pt x="251" y="158"/>
                  </a:cubicBezTo>
                  <a:close/>
                  <a:moveTo>
                    <a:pt x="243" y="159"/>
                  </a:moveTo>
                  <a:cubicBezTo>
                    <a:pt x="242" y="159"/>
                    <a:pt x="244" y="160"/>
                    <a:pt x="244" y="160"/>
                  </a:cubicBezTo>
                  <a:cubicBezTo>
                    <a:pt x="244" y="160"/>
                    <a:pt x="246" y="158"/>
                    <a:pt x="243" y="159"/>
                  </a:cubicBezTo>
                  <a:close/>
                  <a:moveTo>
                    <a:pt x="248" y="159"/>
                  </a:moveTo>
                  <a:cubicBezTo>
                    <a:pt x="247" y="159"/>
                    <a:pt x="247" y="160"/>
                    <a:pt x="249" y="161"/>
                  </a:cubicBezTo>
                  <a:cubicBezTo>
                    <a:pt x="249" y="161"/>
                    <a:pt x="250" y="158"/>
                    <a:pt x="248" y="159"/>
                  </a:cubicBezTo>
                  <a:close/>
                  <a:moveTo>
                    <a:pt x="271" y="159"/>
                  </a:moveTo>
                  <a:cubicBezTo>
                    <a:pt x="269" y="160"/>
                    <a:pt x="269" y="160"/>
                    <a:pt x="269" y="160"/>
                  </a:cubicBezTo>
                  <a:cubicBezTo>
                    <a:pt x="268" y="160"/>
                    <a:pt x="266" y="159"/>
                    <a:pt x="265" y="160"/>
                  </a:cubicBezTo>
                  <a:cubicBezTo>
                    <a:pt x="264" y="160"/>
                    <a:pt x="264" y="162"/>
                    <a:pt x="263" y="162"/>
                  </a:cubicBezTo>
                  <a:cubicBezTo>
                    <a:pt x="261" y="162"/>
                    <a:pt x="257" y="161"/>
                    <a:pt x="255" y="163"/>
                  </a:cubicBezTo>
                  <a:cubicBezTo>
                    <a:pt x="254" y="163"/>
                    <a:pt x="255" y="165"/>
                    <a:pt x="254" y="166"/>
                  </a:cubicBezTo>
                  <a:cubicBezTo>
                    <a:pt x="253" y="167"/>
                    <a:pt x="251" y="166"/>
                    <a:pt x="250" y="167"/>
                  </a:cubicBezTo>
                  <a:cubicBezTo>
                    <a:pt x="249" y="168"/>
                    <a:pt x="250" y="169"/>
                    <a:pt x="249" y="170"/>
                  </a:cubicBezTo>
                  <a:cubicBezTo>
                    <a:pt x="249" y="171"/>
                    <a:pt x="244" y="173"/>
                    <a:pt x="242" y="174"/>
                  </a:cubicBezTo>
                  <a:cubicBezTo>
                    <a:pt x="242" y="175"/>
                    <a:pt x="243" y="176"/>
                    <a:pt x="243" y="177"/>
                  </a:cubicBezTo>
                  <a:cubicBezTo>
                    <a:pt x="240" y="179"/>
                    <a:pt x="239" y="180"/>
                    <a:pt x="235" y="181"/>
                  </a:cubicBezTo>
                  <a:cubicBezTo>
                    <a:pt x="235" y="182"/>
                    <a:pt x="234" y="182"/>
                    <a:pt x="234" y="183"/>
                  </a:cubicBezTo>
                  <a:cubicBezTo>
                    <a:pt x="235" y="183"/>
                    <a:pt x="235" y="184"/>
                    <a:pt x="235" y="184"/>
                  </a:cubicBezTo>
                  <a:cubicBezTo>
                    <a:pt x="237" y="185"/>
                    <a:pt x="240" y="184"/>
                    <a:pt x="241" y="183"/>
                  </a:cubicBezTo>
                  <a:cubicBezTo>
                    <a:pt x="242" y="183"/>
                    <a:pt x="241" y="182"/>
                    <a:pt x="241" y="181"/>
                  </a:cubicBezTo>
                  <a:cubicBezTo>
                    <a:pt x="241" y="181"/>
                    <a:pt x="245" y="178"/>
                    <a:pt x="245" y="178"/>
                  </a:cubicBezTo>
                  <a:cubicBezTo>
                    <a:pt x="248" y="176"/>
                    <a:pt x="250" y="178"/>
                    <a:pt x="253" y="177"/>
                  </a:cubicBezTo>
                  <a:cubicBezTo>
                    <a:pt x="255" y="176"/>
                    <a:pt x="256" y="173"/>
                    <a:pt x="257" y="171"/>
                  </a:cubicBezTo>
                  <a:cubicBezTo>
                    <a:pt x="258" y="171"/>
                    <a:pt x="259" y="171"/>
                    <a:pt x="259" y="171"/>
                  </a:cubicBezTo>
                  <a:cubicBezTo>
                    <a:pt x="260" y="171"/>
                    <a:pt x="260" y="170"/>
                    <a:pt x="260" y="169"/>
                  </a:cubicBezTo>
                  <a:cubicBezTo>
                    <a:pt x="261" y="168"/>
                    <a:pt x="263" y="169"/>
                    <a:pt x="264" y="168"/>
                  </a:cubicBezTo>
                  <a:cubicBezTo>
                    <a:pt x="265" y="167"/>
                    <a:pt x="265" y="166"/>
                    <a:pt x="265" y="165"/>
                  </a:cubicBezTo>
                  <a:cubicBezTo>
                    <a:pt x="267" y="164"/>
                    <a:pt x="268" y="165"/>
                    <a:pt x="270" y="164"/>
                  </a:cubicBezTo>
                  <a:cubicBezTo>
                    <a:pt x="270" y="164"/>
                    <a:pt x="271" y="162"/>
                    <a:pt x="271" y="162"/>
                  </a:cubicBezTo>
                  <a:cubicBezTo>
                    <a:pt x="273" y="161"/>
                    <a:pt x="276" y="158"/>
                    <a:pt x="271" y="159"/>
                  </a:cubicBezTo>
                  <a:close/>
                  <a:moveTo>
                    <a:pt x="207" y="171"/>
                  </a:moveTo>
                  <a:cubicBezTo>
                    <a:pt x="205" y="174"/>
                    <a:pt x="205" y="174"/>
                    <a:pt x="205" y="174"/>
                  </a:cubicBezTo>
                  <a:cubicBezTo>
                    <a:pt x="211" y="176"/>
                    <a:pt x="212" y="179"/>
                    <a:pt x="220" y="179"/>
                  </a:cubicBezTo>
                  <a:cubicBezTo>
                    <a:pt x="220" y="178"/>
                    <a:pt x="221" y="174"/>
                    <a:pt x="219" y="175"/>
                  </a:cubicBezTo>
                  <a:cubicBezTo>
                    <a:pt x="219" y="174"/>
                    <a:pt x="219" y="174"/>
                    <a:pt x="219" y="174"/>
                  </a:cubicBezTo>
                  <a:cubicBezTo>
                    <a:pt x="215" y="172"/>
                    <a:pt x="212" y="172"/>
                    <a:pt x="207" y="171"/>
                  </a:cubicBezTo>
                  <a:close/>
                  <a:moveTo>
                    <a:pt x="63" y="50"/>
                  </a:moveTo>
                  <a:cubicBezTo>
                    <a:pt x="63" y="50"/>
                    <a:pt x="63" y="52"/>
                    <a:pt x="63" y="52"/>
                  </a:cubicBezTo>
                  <a:cubicBezTo>
                    <a:pt x="63" y="52"/>
                    <a:pt x="65" y="53"/>
                    <a:pt x="66" y="53"/>
                  </a:cubicBezTo>
                  <a:cubicBezTo>
                    <a:pt x="66" y="52"/>
                    <a:pt x="66" y="51"/>
                    <a:pt x="66" y="51"/>
                  </a:cubicBezTo>
                  <a:lnTo>
                    <a:pt x="63" y="50"/>
                  </a:lnTo>
                  <a:close/>
                  <a:moveTo>
                    <a:pt x="75" y="68"/>
                  </a:moveTo>
                  <a:cubicBezTo>
                    <a:pt x="75" y="70"/>
                    <a:pt x="75" y="70"/>
                    <a:pt x="75" y="70"/>
                  </a:cubicBezTo>
                  <a:cubicBezTo>
                    <a:pt x="77" y="70"/>
                    <a:pt x="77" y="68"/>
                    <a:pt x="75" y="68"/>
                  </a:cubicBezTo>
                  <a:close/>
                  <a:moveTo>
                    <a:pt x="127" y="42"/>
                  </a:moveTo>
                  <a:cubicBezTo>
                    <a:pt x="127" y="42"/>
                    <a:pt x="127" y="42"/>
                    <a:pt x="126" y="42"/>
                  </a:cubicBezTo>
                  <a:cubicBezTo>
                    <a:pt x="126" y="41"/>
                    <a:pt x="125" y="42"/>
                    <a:pt x="124" y="42"/>
                  </a:cubicBezTo>
                  <a:cubicBezTo>
                    <a:pt x="124" y="42"/>
                    <a:pt x="124" y="44"/>
                    <a:pt x="124" y="45"/>
                  </a:cubicBezTo>
                  <a:cubicBezTo>
                    <a:pt x="123" y="45"/>
                    <a:pt x="122" y="45"/>
                    <a:pt x="122" y="46"/>
                  </a:cubicBezTo>
                  <a:cubicBezTo>
                    <a:pt x="120" y="47"/>
                    <a:pt x="121" y="49"/>
                    <a:pt x="120" y="51"/>
                  </a:cubicBezTo>
                  <a:cubicBezTo>
                    <a:pt x="118" y="52"/>
                    <a:pt x="118" y="52"/>
                    <a:pt x="118" y="52"/>
                  </a:cubicBezTo>
                  <a:cubicBezTo>
                    <a:pt x="118" y="53"/>
                    <a:pt x="118" y="61"/>
                    <a:pt x="118" y="62"/>
                  </a:cubicBezTo>
                  <a:cubicBezTo>
                    <a:pt x="119" y="62"/>
                    <a:pt x="121" y="64"/>
                    <a:pt x="121" y="65"/>
                  </a:cubicBezTo>
                  <a:cubicBezTo>
                    <a:pt x="121" y="66"/>
                    <a:pt x="120" y="68"/>
                    <a:pt x="120" y="69"/>
                  </a:cubicBezTo>
                  <a:cubicBezTo>
                    <a:pt x="120" y="69"/>
                    <a:pt x="122" y="71"/>
                    <a:pt x="122" y="71"/>
                  </a:cubicBezTo>
                  <a:cubicBezTo>
                    <a:pt x="123" y="72"/>
                    <a:pt x="122" y="73"/>
                    <a:pt x="122" y="74"/>
                  </a:cubicBezTo>
                  <a:cubicBezTo>
                    <a:pt x="122" y="74"/>
                    <a:pt x="123" y="74"/>
                    <a:pt x="124" y="75"/>
                  </a:cubicBezTo>
                  <a:cubicBezTo>
                    <a:pt x="123" y="77"/>
                    <a:pt x="123" y="77"/>
                    <a:pt x="122" y="79"/>
                  </a:cubicBezTo>
                  <a:cubicBezTo>
                    <a:pt x="123" y="78"/>
                    <a:pt x="124" y="79"/>
                    <a:pt x="124" y="79"/>
                  </a:cubicBezTo>
                  <a:cubicBezTo>
                    <a:pt x="125" y="79"/>
                    <a:pt x="126" y="77"/>
                    <a:pt x="126" y="77"/>
                  </a:cubicBezTo>
                  <a:cubicBezTo>
                    <a:pt x="128" y="77"/>
                    <a:pt x="127" y="78"/>
                    <a:pt x="128" y="77"/>
                  </a:cubicBezTo>
                  <a:cubicBezTo>
                    <a:pt x="129" y="81"/>
                    <a:pt x="129" y="84"/>
                    <a:pt x="130" y="88"/>
                  </a:cubicBezTo>
                  <a:cubicBezTo>
                    <a:pt x="131" y="89"/>
                    <a:pt x="132" y="90"/>
                    <a:pt x="132" y="91"/>
                  </a:cubicBezTo>
                  <a:cubicBezTo>
                    <a:pt x="133" y="93"/>
                    <a:pt x="133" y="94"/>
                    <a:pt x="133" y="96"/>
                  </a:cubicBezTo>
                  <a:cubicBezTo>
                    <a:pt x="135" y="97"/>
                    <a:pt x="138" y="98"/>
                    <a:pt x="140" y="97"/>
                  </a:cubicBezTo>
                  <a:cubicBezTo>
                    <a:pt x="141" y="97"/>
                    <a:pt x="140" y="95"/>
                    <a:pt x="143" y="95"/>
                  </a:cubicBezTo>
                  <a:cubicBezTo>
                    <a:pt x="143" y="96"/>
                    <a:pt x="143" y="96"/>
                    <a:pt x="143" y="96"/>
                  </a:cubicBezTo>
                  <a:cubicBezTo>
                    <a:pt x="144" y="97"/>
                    <a:pt x="144" y="96"/>
                    <a:pt x="146" y="97"/>
                  </a:cubicBezTo>
                  <a:cubicBezTo>
                    <a:pt x="146" y="97"/>
                    <a:pt x="146" y="100"/>
                    <a:pt x="146" y="100"/>
                  </a:cubicBezTo>
                  <a:cubicBezTo>
                    <a:pt x="147" y="101"/>
                    <a:pt x="148" y="99"/>
                    <a:pt x="148" y="101"/>
                  </a:cubicBezTo>
                  <a:cubicBezTo>
                    <a:pt x="152" y="101"/>
                    <a:pt x="152" y="100"/>
                    <a:pt x="156" y="100"/>
                  </a:cubicBezTo>
                  <a:cubicBezTo>
                    <a:pt x="156" y="98"/>
                    <a:pt x="156" y="98"/>
                    <a:pt x="156" y="98"/>
                  </a:cubicBezTo>
                  <a:cubicBezTo>
                    <a:pt x="157" y="98"/>
                    <a:pt x="158" y="98"/>
                    <a:pt x="158" y="98"/>
                  </a:cubicBezTo>
                  <a:cubicBezTo>
                    <a:pt x="160" y="99"/>
                    <a:pt x="161" y="102"/>
                    <a:pt x="164" y="100"/>
                  </a:cubicBezTo>
                  <a:cubicBezTo>
                    <a:pt x="164" y="100"/>
                    <a:pt x="164" y="99"/>
                    <a:pt x="165" y="99"/>
                  </a:cubicBezTo>
                  <a:cubicBezTo>
                    <a:pt x="166" y="100"/>
                    <a:pt x="166" y="100"/>
                    <a:pt x="166" y="100"/>
                  </a:cubicBezTo>
                  <a:cubicBezTo>
                    <a:pt x="170" y="101"/>
                    <a:pt x="168" y="101"/>
                    <a:pt x="170" y="102"/>
                  </a:cubicBezTo>
                  <a:cubicBezTo>
                    <a:pt x="170" y="103"/>
                    <a:pt x="170" y="103"/>
                    <a:pt x="170" y="103"/>
                  </a:cubicBezTo>
                  <a:cubicBezTo>
                    <a:pt x="171" y="103"/>
                    <a:pt x="171" y="104"/>
                    <a:pt x="172" y="103"/>
                  </a:cubicBezTo>
                  <a:cubicBezTo>
                    <a:pt x="172" y="103"/>
                    <a:pt x="174" y="102"/>
                    <a:pt x="174" y="101"/>
                  </a:cubicBezTo>
                  <a:cubicBezTo>
                    <a:pt x="177" y="100"/>
                    <a:pt x="179" y="100"/>
                    <a:pt x="182" y="99"/>
                  </a:cubicBezTo>
                  <a:cubicBezTo>
                    <a:pt x="183" y="94"/>
                    <a:pt x="186" y="90"/>
                    <a:pt x="190" y="88"/>
                  </a:cubicBezTo>
                  <a:cubicBezTo>
                    <a:pt x="189" y="86"/>
                    <a:pt x="188" y="85"/>
                    <a:pt x="187" y="83"/>
                  </a:cubicBezTo>
                  <a:cubicBezTo>
                    <a:pt x="189" y="81"/>
                    <a:pt x="191" y="79"/>
                    <a:pt x="193" y="76"/>
                  </a:cubicBezTo>
                  <a:cubicBezTo>
                    <a:pt x="193" y="75"/>
                    <a:pt x="193" y="74"/>
                    <a:pt x="193" y="73"/>
                  </a:cubicBezTo>
                  <a:cubicBezTo>
                    <a:pt x="193" y="73"/>
                    <a:pt x="190" y="72"/>
                    <a:pt x="191" y="71"/>
                  </a:cubicBezTo>
                  <a:cubicBezTo>
                    <a:pt x="192" y="71"/>
                    <a:pt x="192" y="72"/>
                    <a:pt x="193" y="71"/>
                  </a:cubicBezTo>
                  <a:cubicBezTo>
                    <a:pt x="195" y="68"/>
                    <a:pt x="194" y="62"/>
                    <a:pt x="194" y="58"/>
                  </a:cubicBezTo>
                  <a:cubicBezTo>
                    <a:pt x="197" y="56"/>
                    <a:pt x="199" y="55"/>
                    <a:pt x="204" y="54"/>
                  </a:cubicBezTo>
                  <a:cubicBezTo>
                    <a:pt x="203" y="54"/>
                    <a:pt x="204" y="52"/>
                    <a:pt x="203" y="52"/>
                  </a:cubicBezTo>
                  <a:cubicBezTo>
                    <a:pt x="200" y="50"/>
                    <a:pt x="196" y="49"/>
                    <a:pt x="195" y="46"/>
                  </a:cubicBezTo>
                  <a:cubicBezTo>
                    <a:pt x="194" y="44"/>
                    <a:pt x="196" y="42"/>
                    <a:pt x="196" y="41"/>
                  </a:cubicBezTo>
                  <a:cubicBezTo>
                    <a:pt x="197" y="37"/>
                    <a:pt x="194" y="33"/>
                    <a:pt x="192" y="30"/>
                  </a:cubicBezTo>
                  <a:cubicBezTo>
                    <a:pt x="192" y="30"/>
                    <a:pt x="191" y="28"/>
                    <a:pt x="192" y="28"/>
                  </a:cubicBezTo>
                  <a:cubicBezTo>
                    <a:pt x="192" y="27"/>
                    <a:pt x="193" y="27"/>
                    <a:pt x="193" y="26"/>
                  </a:cubicBezTo>
                  <a:cubicBezTo>
                    <a:pt x="194" y="27"/>
                    <a:pt x="193" y="26"/>
                    <a:pt x="194" y="26"/>
                  </a:cubicBezTo>
                  <a:cubicBezTo>
                    <a:pt x="195" y="26"/>
                    <a:pt x="194" y="24"/>
                    <a:pt x="194" y="24"/>
                  </a:cubicBezTo>
                  <a:cubicBezTo>
                    <a:pt x="194" y="23"/>
                    <a:pt x="192" y="23"/>
                    <a:pt x="192" y="23"/>
                  </a:cubicBezTo>
                  <a:cubicBezTo>
                    <a:pt x="191" y="23"/>
                    <a:pt x="191" y="22"/>
                    <a:pt x="191" y="22"/>
                  </a:cubicBezTo>
                  <a:cubicBezTo>
                    <a:pt x="186" y="22"/>
                    <a:pt x="186" y="22"/>
                    <a:pt x="186" y="22"/>
                  </a:cubicBezTo>
                  <a:cubicBezTo>
                    <a:pt x="180" y="21"/>
                    <a:pt x="180" y="21"/>
                    <a:pt x="180" y="21"/>
                  </a:cubicBezTo>
                  <a:cubicBezTo>
                    <a:pt x="178" y="24"/>
                    <a:pt x="178" y="24"/>
                    <a:pt x="178" y="24"/>
                  </a:cubicBezTo>
                  <a:cubicBezTo>
                    <a:pt x="177" y="30"/>
                    <a:pt x="177" y="30"/>
                    <a:pt x="177" y="30"/>
                  </a:cubicBezTo>
                  <a:cubicBezTo>
                    <a:pt x="175" y="33"/>
                    <a:pt x="175" y="33"/>
                    <a:pt x="175" y="33"/>
                  </a:cubicBezTo>
                  <a:cubicBezTo>
                    <a:pt x="173" y="35"/>
                    <a:pt x="173" y="35"/>
                    <a:pt x="173" y="35"/>
                  </a:cubicBezTo>
                  <a:cubicBezTo>
                    <a:pt x="171" y="38"/>
                    <a:pt x="171" y="38"/>
                    <a:pt x="171" y="38"/>
                  </a:cubicBezTo>
                  <a:cubicBezTo>
                    <a:pt x="169" y="39"/>
                    <a:pt x="169" y="39"/>
                    <a:pt x="169" y="39"/>
                  </a:cubicBezTo>
                  <a:cubicBezTo>
                    <a:pt x="168" y="42"/>
                    <a:pt x="168" y="42"/>
                    <a:pt x="168" y="42"/>
                  </a:cubicBezTo>
                  <a:cubicBezTo>
                    <a:pt x="166" y="47"/>
                    <a:pt x="166" y="47"/>
                    <a:pt x="166" y="47"/>
                  </a:cubicBezTo>
                  <a:cubicBezTo>
                    <a:pt x="165" y="49"/>
                    <a:pt x="165" y="49"/>
                    <a:pt x="165" y="49"/>
                  </a:cubicBezTo>
                  <a:cubicBezTo>
                    <a:pt x="161" y="51"/>
                    <a:pt x="161" y="51"/>
                    <a:pt x="161" y="51"/>
                  </a:cubicBezTo>
                  <a:cubicBezTo>
                    <a:pt x="156" y="51"/>
                    <a:pt x="156" y="51"/>
                    <a:pt x="156" y="51"/>
                  </a:cubicBezTo>
                  <a:cubicBezTo>
                    <a:pt x="154" y="50"/>
                    <a:pt x="154" y="50"/>
                    <a:pt x="154" y="50"/>
                  </a:cubicBezTo>
                  <a:cubicBezTo>
                    <a:pt x="149" y="51"/>
                    <a:pt x="149" y="51"/>
                    <a:pt x="149" y="51"/>
                  </a:cubicBezTo>
                  <a:cubicBezTo>
                    <a:pt x="147" y="53"/>
                    <a:pt x="147" y="53"/>
                    <a:pt x="147" y="53"/>
                  </a:cubicBezTo>
                  <a:cubicBezTo>
                    <a:pt x="143" y="54"/>
                    <a:pt x="143" y="54"/>
                    <a:pt x="143" y="54"/>
                  </a:cubicBezTo>
                  <a:cubicBezTo>
                    <a:pt x="138" y="55"/>
                    <a:pt x="138" y="55"/>
                    <a:pt x="138" y="55"/>
                  </a:cubicBezTo>
                  <a:cubicBezTo>
                    <a:pt x="134" y="54"/>
                    <a:pt x="134" y="54"/>
                    <a:pt x="134" y="54"/>
                  </a:cubicBezTo>
                  <a:cubicBezTo>
                    <a:pt x="131" y="52"/>
                    <a:pt x="131" y="52"/>
                    <a:pt x="131" y="52"/>
                  </a:cubicBezTo>
                  <a:cubicBezTo>
                    <a:pt x="128" y="51"/>
                    <a:pt x="128" y="51"/>
                    <a:pt x="128" y="51"/>
                  </a:cubicBezTo>
                  <a:cubicBezTo>
                    <a:pt x="127" y="47"/>
                    <a:pt x="127" y="47"/>
                    <a:pt x="127" y="47"/>
                  </a:cubicBezTo>
                  <a:lnTo>
                    <a:pt x="127" y="42"/>
                  </a:lnTo>
                  <a:close/>
                  <a:moveTo>
                    <a:pt x="314" y="75"/>
                  </a:moveTo>
                  <a:cubicBezTo>
                    <a:pt x="314" y="76"/>
                    <a:pt x="309" y="76"/>
                    <a:pt x="309" y="76"/>
                  </a:cubicBezTo>
                  <a:cubicBezTo>
                    <a:pt x="309" y="75"/>
                    <a:pt x="309" y="81"/>
                    <a:pt x="309" y="81"/>
                  </a:cubicBezTo>
                  <a:cubicBezTo>
                    <a:pt x="307" y="81"/>
                    <a:pt x="308" y="83"/>
                    <a:pt x="309" y="83"/>
                  </a:cubicBezTo>
                  <a:cubicBezTo>
                    <a:pt x="310" y="84"/>
                    <a:pt x="313" y="83"/>
                    <a:pt x="314" y="83"/>
                  </a:cubicBezTo>
                  <a:cubicBezTo>
                    <a:pt x="315" y="84"/>
                    <a:pt x="316" y="84"/>
                    <a:pt x="316" y="85"/>
                  </a:cubicBezTo>
                  <a:cubicBezTo>
                    <a:pt x="316" y="85"/>
                    <a:pt x="317" y="88"/>
                    <a:pt x="317" y="88"/>
                  </a:cubicBezTo>
                  <a:cubicBezTo>
                    <a:pt x="317" y="88"/>
                    <a:pt x="314" y="88"/>
                    <a:pt x="316" y="89"/>
                  </a:cubicBezTo>
                  <a:cubicBezTo>
                    <a:pt x="318" y="90"/>
                    <a:pt x="323" y="88"/>
                    <a:pt x="326" y="89"/>
                  </a:cubicBezTo>
                  <a:cubicBezTo>
                    <a:pt x="327" y="89"/>
                    <a:pt x="330" y="90"/>
                    <a:pt x="332" y="90"/>
                  </a:cubicBezTo>
                  <a:cubicBezTo>
                    <a:pt x="332" y="91"/>
                    <a:pt x="332" y="91"/>
                    <a:pt x="332" y="91"/>
                  </a:cubicBezTo>
                  <a:cubicBezTo>
                    <a:pt x="329" y="92"/>
                    <a:pt x="327" y="92"/>
                    <a:pt x="325" y="92"/>
                  </a:cubicBezTo>
                  <a:cubicBezTo>
                    <a:pt x="324" y="93"/>
                    <a:pt x="324" y="93"/>
                    <a:pt x="324" y="93"/>
                  </a:cubicBezTo>
                  <a:cubicBezTo>
                    <a:pt x="321" y="94"/>
                    <a:pt x="316" y="94"/>
                    <a:pt x="314" y="94"/>
                  </a:cubicBezTo>
                  <a:cubicBezTo>
                    <a:pt x="315" y="96"/>
                    <a:pt x="315" y="96"/>
                    <a:pt x="315" y="96"/>
                  </a:cubicBezTo>
                  <a:cubicBezTo>
                    <a:pt x="317" y="96"/>
                    <a:pt x="318" y="96"/>
                    <a:pt x="319" y="95"/>
                  </a:cubicBezTo>
                  <a:cubicBezTo>
                    <a:pt x="321" y="101"/>
                    <a:pt x="319" y="99"/>
                    <a:pt x="323" y="101"/>
                  </a:cubicBezTo>
                  <a:cubicBezTo>
                    <a:pt x="323" y="102"/>
                    <a:pt x="322" y="102"/>
                    <a:pt x="322" y="104"/>
                  </a:cubicBezTo>
                  <a:cubicBezTo>
                    <a:pt x="322" y="104"/>
                    <a:pt x="324" y="106"/>
                    <a:pt x="324" y="106"/>
                  </a:cubicBezTo>
                  <a:cubicBezTo>
                    <a:pt x="324" y="106"/>
                    <a:pt x="326" y="106"/>
                    <a:pt x="326" y="106"/>
                  </a:cubicBezTo>
                  <a:cubicBezTo>
                    <a:pt x="326" y="105"/>
                    <a:pt x="327" y="102"/>
                    <a:pt x="328" y="101"/>
                  </a:cubicBezTo>
                  <a:cubicBezTo>
                    <a:pt x="328" y="101"/>
                    <a:pt x="329" y="100"/>
                    <a:pt x="329" y="100"/>
                  </a:cubicBezTo>
                  <a:cubicBezTo>
                    <a:pt x="329" y="100"/>
                    <a:pt x="329" y="102"/>
                    <a:pt x="329" y="102"/>
                  </a:cubicBezTo>
                  <a:cubicBezTo>
                    <a:pt x="333" y="104"/>
                    <a:pt x="333" y="104"/>
                    <a:pt x="333" y="104"/>
                  </a:cubicBezTo>
                  <a:cubicBezTo>
                    <a:pt x="333" y="105"/>
                    <a:pt x="333" y="105"/>
                    <a:pt x="333" y="105"/>
                  </a:cubicBezTo>
                  <a:cubicBezTo>
                    <a:pt x="337" y="106"/>
                    <a:pt x="338" y="105"/>
                    <a:pt x="338" y="105"/>
                  </a:cubicBezTo>
                  <a:cubicBezTo>
                    <a:pt x="338" y="105"/>
                    <a:pt x="336" y="111"/>
                    <a:pt x="340" y="112"/>
                  </a:cubicBezTo>
                  <a:cubicBezTo>
                    <a:pt x="342" y="112"/>
                    <a:pt x="342" y="111"/>
                    <a:pt x="344" y="111"/>
                  </a:cubicBezTo>
                  <a:cubicBezTo>
                    <a:pt x="346" y="113"/>
                    <a:pt x="346" y="113"/>
                    <a:pt x="346" y="113"/>
                  </a:cubicBezTo>
                  <a:cubicBezTo>
                    <a:pt x="348" y="113"/>
                    <a:pt x="348" y="111"/>
                    <a:pt x="350" y="112"/>
                  </a:cubicBezTo>
                  <a:cubicBezTo>
                    <a:pt x="350" y="113"/>
                    <a:pt x="350" y="113"/>
                    <a:pt x="350" y="113"/>
                  </a:cubicBezTo>
                  <a:cubicBezTo>
                    <a:pt x="354" y="115"/>
                    <a:pt x="355" y="116"/>
                    <a:pt x="357" y="120"/>
                  </a:cubicBezTo>
                  <a:cubicBezTo>
                    <a:pt x="363" y="119"/>
                    <a:pt x="360" y="120"/>
                    <a:pt x="364" y="121"/>
                  </a:cubicBezTo>
                  <a:cubicBezTo>
                    <a:pt x="366" y="122"/>
                    <a:pt x="367" y="121"/>
                    <a:pt x="368" y="122"/>
                  </a:cubicBezTo>
                  <a:cubicBezTo>
                    <a:pt x="370" y="127"/>
                    <a:pt x="370" y="127"/>
                    <a:pt x="370" y="127"/>
                  </a:cubicBezTo>
                  <a:cubicBezTo>
                    <a:pt x="370" y="133"/>
                    <a:pt x="370" y="133"/>
                    <a:pt x="370" y="133"/>
                  </a:cubicBezTo>
                  <a:cubicBezTo>
                    <a:pt x="370" y="134"/>
                    <a:pt x="369" y="134"/>
                    <a:pt x="370" y="135"/>
                  </a:cubicBezTo>
                  <a:cubicBezTo>
                    <a:pt x="370" y="136"/>
                    <a:pt x="371" y="136"/>
                    <a:pt x="372" y="137"/>
                  </a:cubicBezTo>
                  <a:cubicBezTo>
                    <a:pt x="372" y="138"/>
                    <a:pt x="372" y="139"/>
                    <a:pt x="372" y="141"/>
                  </a:cubicBezTo>
                  <a:cubicBezTo>
                    <a:pt x="372" y="141"/>
                    <a:pt x="374" y="143"/>
                    <a:pt x="374" y="143"/>
                  </a:cubicBezTo>
                  <a:cubicBezTo>
                    <a:pt x="375" y="147"/>
                    <a:pt x="374" y="147"/>
                    <a:pt x="375" y="151"/>
                  </a:cubicBezTo>
                  <a:cubicBezTo>
                    <a:pt x="374" y="151"/>
                    <a:pt x="373" y="149"/>
                    <a:pt x="372" y="149"/>
                  </a:cubicBezTo>
                  <a:cubicBezTo>
                    <a:pt x="371" y="149"/>
                    <a:pt x="370" y="148"/>
                    <a:pt x="368" y="149"/>
                  </a:cubicBezTo>
                  <a:cubicBezTo>
                    <a:pt x="368" y="149"/>
                    <a:pt x="364" y="155"/>
                    <a:pt x="364" y="156"/>
                  </a:cubicBezTo>
                  <a:cubicBezTo>
                    <a:pt x="367" y="155"/>
                    <a:pt x="370" y="155"/>
                    <a:pt x="373" y="155"/>
                  </a:cubicBezTo>
                  <a:cubicBezTo>
                    <a:pt x="373" y="154"/>
                    <a:pt x="374" y="152"/>
                    <a:pt x="374" y="152"/>
                  </a:cubicBezTo>
                  <a:cubicBezTo>
                    <a:pt x="375" y="152"/>
                    <a:pt x="375" y="153"/>
                    <a:pt x="375" y="153"/>
                  </a:cubicBezTo>
                  <a:cubicBezTo>
                    <a:pt x="378" y="154"/>
                    <a:pt x="380" y="152"/>
                    <a:pt x="382" y="153"/>
                  </a:cubicBezTo>
                  <a:cubicBezTo>
                    <a:pt x="384" y="153"/>
                    <a:pt x="387" y="157"/>
                    <a:pt x="387" y="159"/>
                  </a:cubicBezTo>
                  <a:cubicBezTo>
                    <a:pt x="387" y="159"/>
                    <a:pt x="387" y="161"/>
                    <a:pt x="387" y="161"/>
                  </a:cubicBezTo>
                  <a:cubicBezTo>
                    <a:pt x="388" y="161"/>
                    <a:pt x="388" y="161"/>
                    <a:pt x="388" y="161"/>
                  </a:cubicBezTo>
                  <a:cubicBezTo>
                    <a:pt x="389" y="161"/>
                    <a:pt x="389" y="163"/>
                    <a:pt x="390" y="163"/>
                  </a:cubicBezTo>
                  <a:cubicBezTo>
                    <a:pt x="390" y="164"/>
                    <a:pt x="391" y="164"/>
                    <a:pt x="392" y="164"/>
                  </a:cubicBezTo>
                  <a:cubicBezTo>
                    <a:pt x="392" y="141"/>
                    <a:pt x="392" y="141"/>
                    <a:pt x="392" y="141"/>
                  </a:cubicBezTo>
                  <a:cubicBezTo>
                    <a:pt x="390" y="137"/>
                    <a:pt x="390" y="137"/>
                    <a:pt x="390" y="137"/>
                  </a:cubicBezTo>
                  <a:cubicBezTo>
                    <a:pt x="392" y="134"/>
                    <a:pt x="392" y="134"/>
                    <a:pt x="392" y="134"/>
                  </a:cubicBezTo>
                  <a:cubicBezTo>
                    <a:pt x="391" y="95"/>
                    <a:pt x="391" y="95"/>
                    <a:pt x="391" y="95"/>
                  </a:cubicBezTo>
                  <a:cubicBezTo>
                    <a:pt x="391" y="95"/>
                    <a:pt x="391" y="95"/>
                    <a:pt x="390" y="95"/>
                  </a:cubicBezTo>
                  <a:cubicBezTo>
                    <a:pt x="390" y="95"/>
                    <a:pt x="389" y="92"/>
                    <a:pt x="388" y="91"/>
                  </a:cubicBezTo>
                  <a:cubicBezTo>
                    <a:pt x="386" y="91"/>
                    <a:pt x="385" y="92"/>
                    <a:pt x="384" y="92"/>
                  </a:cubicBezTo>
                  <a:cubicBezTo>
                    <a:pt x="381" y="92"/>
                    <a:pt x="376" y="90"/>
                    <a:pt x="374" y="89"/>
                  </a:cubicBezTo>
                  <a:cubicBezTo>
                    <a:pt x="372" y="88"/>
                    <a:pt x="366" y="83"/>
                    <a:pt x="363" y="83"/>
                  </a:cubicBezTo>
                  <a:cubicBezTo>
                    <a:pt x="363" y="85"/>
                    <a:pt x="363" y="85"/>
                    <a:pt x="363" y="85"/>
                  </a:cubicBezTo>
                  <a:cubicBezTo>
                    <a:pt x="362" y="85"/>
                    <a:pt x="361" y="85"/>
                    <a:pt x="360" y="85"/>
                  </a:cubicBezTo>
                  <a:cubicBezTo>
                    <a:pt x="359" y="86"/>
                    <a:pt x="358" y="89"/>
                    <a:pt x="357" y="89"/>
                  </a:cubicBezTo>
                  <a:cubicBezTo>
                    <a:pt x="356" y="90"/>
                    <a:pt x="353" y="90"/>
                    <a:pt x="352" y="91"/>
                  </a:cubicBezTo>
                  <a:cubicBezTo>
                    <a:pt x="351" y="93"/>
                    <a:pt x="350" y="97"/>
                    <a:pt x="348" y="99"/>
                  </a:cubicBezTo>
                  <a:cubicBezTo>
                    <a:pt x="347" y="100"/>
                    <a:pt x="345" y="100"/>
                    <a:pt x="343" y="101"/>
                  </a:cubicBezTo>
                  <a:cubicBezTo>
                    <a:pt x="343" y="100"/>
                    <a:pt x="343" y="101"/>
                    <a:pt x="342" y="101"/>
                  </a:cubicBezTo>
                  <a:cubicBezTo>
                    <a:pt x="341" y="99"/>
                    <a:pt x="341" y="98"/>
                    <a:pt x="341" y="97"/>
                  </a:cubicBezTo>
                  <a:cubicBezTo>
                    <a:pt x="339" y="98"/>
                    <a:pt x="339" y="98"/>
                    <a:pt x="339" y="98"/>
                  </a:cubicBezTo>
                  <a:cubicBezTo>
                    <a:pt x="339" y="97"/>
                    <a:pt x="339" y="95"/>
                    <a:pt x="339" y="93"/>
                  </a:cubicBezTo>
                  <a:cubicBezTo>
                    <a:pt x="337" y="93"/>
                    <a:pt x="337" y="93"/>
                    <a:pt x="337" y="93"/>
                  </a:cubicBezTo>
                  <a:cubicBezTo>
                    <a:pt x="336" y="94"/>
                    <a:pt x="337" y="94"/>
                    <a:pt x="336" y="95"/>
                  </a:cubicBezTo>
                  <a:cubicBezTo>
                    <a:pt x="335" y="90"/>
                    <a:pt x="333" y="87"/>
                    <a:pt x="334" y="82"/>
                  </a:cubicBezTo>
                  <a:cubicBezTo>
                    <a:pt x="335" y="81"/>
                    <a:pt x="336" y="81"/>
                    <a:pt x="336" y="79"/>
                  </a:cubicBezTo>
                  <a:cubicBezTo>
                    <a:pt x="336" y="78"/>
                    <a:pt x="334" y="74"/>
                    <a:pt x="332" y="73"/>
                  </a:cubicBezTo>
                  <a:cubicBezTo>
                    <a:pt x="331" y="73"/>
                    <a:pt x="331" y="73"/>
                    <a:pt x="331" y="73"/>
                  </a:cubicBezTo>
                  <a:cubicBezTo>
                    <a:pt x="332" y="74"/>
                    <a:pt x="330" y="74"/>
                    <a:pt x="329" y="74"/>
                  </a:cubicBezTo>
                  <a:cubicBezTo>
                    <a:pt x="329" y="74"/>
                    <a:pt x="329" y="72"/>
                    <a:pt x="327" y="73"/>
                  </a:cubicBezTo>
                  <a:cubicBezTo>
                    <a:pt x="327" y="73"/>
                    <a:pt x="328" y="74"/>
                    <a:pt x="326" y="74"/>
                  </a:cubicBezTo>
                  <a:cubicBezTo>
                    <a:pt x="324" y="74"/>
                    <a:pt x="321" y="71"/>
                    <a:pt x="319" y="71"/>
                  </a:cubicBezTo>
                  <a:cubicBezTo>
                    <a:pt x="315" y="72"/>
                    <a:pt x="315" y="75"/>
                    <a:pt x="314" y="75"/>
                  </a:cubicBezTo>
                  <a:close/>
                  <a:moveTo>
                    <a:pt x="110" y="19"/>
                  </a:moveTo>
                  <a:cubicBezTo>
                    <a:pt x="111" y="19"/>
                    <a:pt x="110" y="22"/>
                    <a:pt x="110" y="23"/>
                  </a:cubicBezTo>
                  <a:cubicBezTo>
                    <a:pt x="110" y="23"/>
                    <a:pt x="113" y="22"/>
                    <a:pt x="113" y="22"/>
                  </a:cubicBezTo>
                  <a:cubicBezTo>
                    <a:pt x="113" y="22"/>
                    <a:pt x="113" y="18"/>
                    <a:pt x="112" y="20"/>
                  </a:cubicBezTo>
                  <a:lnTo>
                    <a:pt x="110" y="19"/>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65" name="Freeform 207">
              <a:extLst>
                <a:ext uri="{FF2B5EF4-FFF2-40B4-BE49-F238E27FC236}">
                  <a16:creationId xmlns:a16="http://schemas.microsoft.com/office/drawing/2014/main" id="{96147278-9DA9-4471-FA1C-E50B7E6D2531}"/>
                </a:ext>
              </a:extLst>
            </p:cNvPr>
            <p:cNvSpPr>
              <a:spLocks noEditPoints="1"/>
            </p:cNvSpPr>
            <p:nvPr/>
          </p:nvSpPr>
          <p:spPr bwMode="auto">
            <a:xfrm>
              <a:off x="8052509" y="2832633"/>
              <a:ext cx="885630" cy="1142530"/>
            </a:xfrm>
            <a:custGeom>
              <a:avLst/>
              <a:gdLst>
                <a:gd name="T0" fmla="*/ 213 w 251"/>
                <a:gd name="T1" fmla="*/ 268 h 324"/>
                <a:gd name="T2" fmla="*/ 209 w 251"/>
                <a:gd name="T3" fmla="*/ 285 h 324"/>
                <a:gd name="T4" fmla="*/ 220 w 251"/>
                <a:gd name="T5" fmla="*/ 322 h 324"/>
                <a:gd name="T6" fmla="*/ 1 w 251"/>
                <a:gd name="T7" fmla="*/ 149 h 324"/>
                <a:gd name="T8" fmla="*/ 16 w 251"/>
                <a:gd name="T9" fmla="*/ 154 h 324"/>
                <a:gd name="T10" fmla="*/ 5 w 251"/>
                <a:gd name="T11" fmla="*/ 160 h 324"/>
                <a:gd name="T12" fmla="*/ 32 w 251"/>
                <a:gd name="T13" fmla="*/ 167 h 324"/>
                <a:gd name="T14" fmla="*/ 36 w 251"/>
                <a:gd name="T15" fmla="*/ 161 h 324"/>
                <a:gd name="T16" fmla="*/ 36 w 251"/>
                <a:gd name="T17" fmla="*/ 170 h 324"/>
                <a:gd name="T18" fmla="*/ 37 w 251"/>
                <a:gd name="T19" fmla="*/ 193 h 324"/>
                <a:gd name="T20" fmla="*/ 41 w 251"/>
                <a:gd name="T21" fmla="*/ 215 h 324"/>
                <a:gd name="T22" fmla="*/ 54 w 251"/>
                <a:gd name="T23" fmla="*/ 268 h 324"/>
                <a:gd name="T24" fmla="*/ 67 w 251"/>
                <a:gd name="T25" fmla="*/ 291 h 324"/>
                <a:gd name="T26" fmla="*/ 87 w 251"/>
                <a:gd name="T27" fmla="*/ 302 h 324"/>
                <a:gd name="T28" fmla="*/ 98 w 251"/>
                <a:gd name="T29" fmla="*/ 272 h 324"/>
                <a:gd name="T30" fmla="*/ 100 w 251"/>
                <a:gd name="T31" fmla="*/ 238 h 324"/>
                <a:gd name="T32" fmla="*/ 109 w 251"/>
                <a:gd name="T33" fmla="*/ 224 h 324"/>
                <a:gd name="T34" fmla="*/ 128 w 251"/>
                <a:gd name="T35" fmla="*/ 208 h 324"/>
                <a:gd name="T36" fmla="*/ 141 w 251"/>
                <a:gd name="T37" fmla="*/ 196 h 324"/>
                <a:gd name="T38" fmla="*/ 154 w 251"/>
                <a:gd name="T39" fmla="*/ 186 h 324"/>
                <a:gd name="T40" fmla="*/ 167 w 251"/>
                <a:gd name="T41" fmla="*/ 169 h 324"/>
                <a:gd name="T42" fmla="*/ 176 w 251"/>
                <a:gd name="T43" fmla="*/ 161 h 324"/>
                <a:gd name="T44" fmla="*/ 167 w 251"/>
                <a:gd name="T45" fmla="*/ 139 h 324"/>
                <a:gd name="T46" fmla="*/ 175 w 251"/>
                <a:gd name="T47" fmla="*/ 123 h 324"/>
                <a:gd name="T48" fmla="*/ 186 w 251"/>
                <a:gd name="T49" fmla="*/ 119 h 324"/>
                <a:gd name="T50" fmla="*/ 199 w 251"/>
                <a:gd name="T51" fmla="*/ 131 h 324"/>
                <a:gd name="T52" fmla="*/ 204 w 251"/>
                <a:gd name="T53" fmla="*/ 142 h 324"/>
                <a:gd name="T54" fmla="*/ 206 w 251"/>
                <a:gd name="T55" fmla="*/ 151 h 324"/>
                <a:gd name="T56" fmla="*/ 216 w 251"/>
                <a:gd name="T57" fmla="*/ 167 h 324"/>
                <a:gd name="T58" fmla="*/ 218 w 251"/>
                <a:gd name="T59" fmla="*/ 153 h 324"/>
                <a:gd name="T60" fmla="*/ 228 w 251"/>
                <a:gd name="T61" fmla="*/ 135 h 324"/>
                <a:gd name="T62" fmla="*/ 237 w 251"/>
                <a:gd name="T63" fmla="*/ 123 h 324"/>
                <a:gd name="T64" fmla="*/ 251 w 251"/>
                <a:gd name="T65" fmla="*/ 109 h 324"/>
                <a:gd name="T66" fmla="*/ 243 w 251"/>
                <a:gd name="T67" fmla="*/ 96 h 324"/>
                <a:gd name="T68" fmla="*/ 231 w 251"/>
                <a:gd name="T69" fmla="*/ 87 h 324"/>
                <a:gd name="T70" fmla="*/ 214 w 251"/>
                <a:gd name="T71" fmla="*/ 91 h 324"/>
                <a:gd name="T72" fmla="*/ 204 w 251"/>
                <a:gd name="T73" fmla="*/ 106 h 324"/>
                <a:gd name="T74" fmla="*/ 180 w 251"/>
                <a:gd name="T75" fmla="*/ 103 h 324"/>
                <a:gd name="T76" fmla="*/ 170 w 251"/>
                <a:gd name="T77" fmla="*/ 98 h 324"/>
                <a:gd name="T78" fmla="*/ 171 w 251"/>
                <a:gd name="T79" fmla="*/ 111 h 324"/>
                <a:gd name="T80" fmla="*/ 149 w 251"/>
                <a:gd name="T81" fmla="*/ 108 h 324"/>
                <a:gd name="T82" fmla="*/ 128 w 251"/>
                <a:gd name="T83" fmla="*/ 98 h 324"/>
                <a:gd name="T84" fmla="*/ 106 w 251"/>
                <a:gd name="T85" fmla="*/ 88 h 324"/>
                <a:gd name="T86" fmla="*/ 106 w 251"/>
                <a:gd name="T87" fmla="*/ 69 h 324"/>
                <a:gd name="T88" fmla="*/ 89 w 251"/>
                <a:gd name="T89" fmla="*/ 57 h 324"/>
                <a:gd name="T90" fmla="*/ 89 w 251"/>
                <a:gd name="T91" fmla="*/ 45 h 324"/>
                <a:gd name="T92" fmla="*/ 83 w 251"/>
                <a:gd name="T93" fmla="*/ 28 h 324"/>
                <a:gd name="T94" fmla="*/ 91 w 251"/>
                <a:gd name="T95" fmla="*/ 14 h 324"/>
                <a:gd name="T96" fmla="*/ 84 w 251"/>
                <a:gd name="T97" fmla="*/ 1 h 324"/>
                <a:gd name="T98" fmla="*/ 68 w 251"/>
                <a:gd name="T99" fmla="*/ 10 h 324"/>
                <a:gd name="T100" fmla="*/ 50 w 251"/>
                <a:gd name="T101" fmla="*/ 22 h 324"/>
                <a:gd name="T102" fmla="*/ 37 w 251"/>
                <a:gd name="T103" fmla="*/ 27 h 324"/>
                <a:gd name="T104" fmla="*/ 45 w 251"/>
                <a:gd name="T105" fmla="*/ 47 h 324"/>
                <a:gd name="T106" fmla="*/ 43 w 251"/>
                <a:gd name="T107" fmla="*/ 70 h 324"/>
                <a:gd name="T108" fmla="*/ 28 w 251"/>
                <a:gd name="T109" fmla="*/ 87 h 324"/>
                <a:gd name="T110" fmla="*/ 13 w 251"/>
                <a:gd name="T111" fmla="*/ 101 h 324"/>
                <a:gd name="T112" fmla="*/ 10 w 251"/>
                <a:gd name="T113" fmla="*/ 116 h 324"/>
                <a:gd name="T114" fmla="*/ 13 w 251"/>
                <a:gd name="T115" fmla="*/ 135 h 324"/>
                <a:gd name="T116" fmla="*/ 213 w 251"/>
                <a:gd name="T117" fmla="*/ 252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1" h="324">
                  <a:moveTo>
                    <a:pt x="213" y="262"/>
                  </a:moveTo>
                  <a:cubicBezTo>
                    <a:pt x="213" y="263"/>
                    <a:pt x="213" y="263"/>
                    <a:pt x="213" y="263"/>
                  </a:cubicBezTo>
                  <a:cubicBezTo>
                    <a:pt x="213" y="262"/>
                    <a:pt x="214" y="262"/>
                    <a:pt x="213" y="262"/>
                  </a:cubicBezTo>
                  <a:close/>
                  <a:moveTo>
                    <a:pt x="213" y="266"/>
                  </a:moveTo>
                  <a:cubicBezTo>
                    <a:pt x="213" y="266"/>
                    <a:pt x="213" y="268"/>
                    <a:pt x="213" y="268"/>
                  </a:cubicBezTo>
                  <a:cubicBezTo>
                    <a:pt x="215" y="269"/>
                    <a:pt x="214" y="266"/>
                    <a:pt x="213" y="266"/>
                  </a:cubicBezTo>
                  <a:close/>
                  <a:moveTo>
                    <a:pt x="211" y="272"/>
                  </a:moveTo>
                  <a:cubicBezTo>
                    <a:pt x="211" y="272"/>
                    <a:pt x="212" y="273"/>
                    <a:pt x="212" y="274"/>
                  </a:cubicBezTo>
                  <a:cubicBezTo>
                    <a:pt x="213" y="274"/>
                    <a:pt x="213" y="272"/>
                    <a:pt x="211" y="272"/>
                  </a:cubicBezTo>
                  <a:close/>
                  <a:moveTo>
                    <a:pt x="209" y="285"/>
                  </a:moveTo>
                  <a:cubicBezTo>
                    <a:pt x="209" y="286"/>
                    <a:pt x="209" y="286"/>
                    <a:pt x="209" y="286"/>
                  </a:cubicBezTo>
                  <a:cubicBezTo>
                    <a:pt x="212" y="287"/>
                    <a:pt x="211" y="285"/>
                    <a:pt x="209" y="285"/>
                  </a:cubicBezTo>
                  <a:close/>
                  <a:moveTo>
                    <a:pt x="218" y="322"/>
                  </a:moveTo>
                  <a:cubicBezTo>
                    <a:pt x="219" y="324"/>
                    <a:pt x="219" y="324"/>
                    <a:pt x="219" y="324"/>
                  </a:cubicBezTo>
                  <a:cubicBezTo>
                    <a:pt x="221" y="324"/>
                    <a:pt x="220" y="323"/>
                    <a:pt x="220" y="322"/>
                  </a:cubicBezTo>
                  <a:cubicBezTo>
                    <a:pt x="220" y="322"/>
                    <a:pt x="219" y="322"/>
                    <a:pt x="218" y="322"/>
                  </a:cubicBezTo>
                  <a:close/>
                  <a:moveTo>
                    <a:pt x="0" y="141"/>
                  </a:moveTo>
                  <a:cubicBezTo>
                    <a:pt x="1" y="141"/>
                    <a:pt x="1" y="141"/>
                    <a:pt x="1" y="141"/>
                  </a:cubicBezTo>
                  <a:cubicBezTo>
                    <a:pt x="1" y="142"/>
                    <a:pt x="1" y="141"/>
                    <a:pt x="0" y="142"/>
                  </a:cubicBezTo>
                  <a:cubicBezTo>
                    <a:pt x="1" y="145"/>
                    <a:pt x="1" y="147"/>
                    <a:pt x="1" y="149"/>
                  </a:cubicBezTo>
                  <a:cubicBezTo>
                    <a:pt x="4" y="150"/>
                    <a:pt x="10" y="154"/>
                    <a:pt x="16" y="152"/>
                  </a:cubicBezTo>
                  <a:cubicBezTo>
                    <a:pt x="18" y="151"/>
                    <a:pt x="18" y="148"/>
                    <a:pt x="19" y="147"/>
                  </a:cubicBezTo>
                  <a:cubicBezTo>
                    <a:pt x="20" y="147"/>
                    <a:pt x="21" y="148"/>
                    <a:pt x="21" y="147"/>
                  </a:cubicBezTo>
                  <a:cubicBezTo>
                    <a:pt x="20" y="149"/>
                    <a:pt x="20" y="151"/>
                    <a:pt x="19" y="153"/>
                  </a:cubicBezTo>
                  <a:cubicBezTo>
                    <a:pt x="18" y="153"/>
                    <a:pt x="17" y="153"/>
                    <a:pt x="16" y="154"/>
                  </a:cubicBezTo>
                  <a:cubicBezTo>
                    <a:pt x="15" y="155"/>
                    <a:pt x="16" y="157"/>
                    <a:pt x="15" y="157"/>
                  </a:cubicBezTo>
                  <a:cubicBezTo>
                    <a:pt x="14" y="158"/>
                    <a:pt x="12" y="157"/>
                    <a:pt x="11" y="157"/>
                  </a:cubicBezTo>
                  <a:cubicBezTo>
                    <a:pt x="11" y="157"/>
                    <a:pt x="10" y="159"/>
                    <a:pt x="9" y="159"/>
                  </a:cubicBezTo>
                  <a:cubicBezTo>
                    <a:pt x="8" y="160"/>
                    <a:pt x="8" y="158"/>
                    <a:pt x="7" y="159"/>
                  </a:cubicBezTo>
                  <a:cubicBezTo>
                    <a:pt x="6" y="159"/>
                    <a:pt x="6" y="160"/>
                    <a:pt x="5" y="160"/>
                  </a:cubicBezTo>
                  <a:cubicBezTo>
                    <a:pt x="6" y="161"/>
                    <a:pt x="7" y="163"/>
                    <a:pt x="7" y="164"/>
                  </a:cubicBezTo>
                  <a:cubicBezTo>
                    <a:pt x="11" y="169"/>
                    <a:pt x="15" y="172"/>
                    <a:pt x="18" y="177"/>
                  </a:cubicBezTo>
                  <a:cubicBezTo>
                    <a:pt x="19" y="177"/>
                    <a:pt x="20" y="177"/>
                    <a:pt x="21" y="177"/>
                  </a:cubicBezTo>
                  <a:cubicBezTo>
                    <a:pt x="22" y="177"/>
                    <a:pt x="23" y="175"/>
                    <a:pt x="23" y="175"/>
                  </a:cubicBezTo>
                  <a:cubicBezTo>
                    <a:pt x="27" y="173"/>
                    <a:pt x="31" y="172"/>
                    <a:pt x="32" y="167"/>
                  </a:cubicBezTo>
                  <a:cubicBezTo>
                    <a:pt x="33" y="163"/>
                    <a:pt x="31" y="161"/>
                    <a:pt x="33" y="157"/>
                  </a:cubicBezTo>
                  <a:cubicBezTo>
                    <a:pt x="34" y="157"/>
                    <a:pt x="34" y="157"/>
                    <a:pt x="34" y="157"/>
                  </a:cubicBezTo>
                  <a:cubicBezTo>
                    <a:pt x="34" y="158"/>
                    <a:pt x="34" y="158"/>
                    <a:pt x="35" y="158"/>
                  </a:cubicBezTo>
                  <a:cubicBezTo>
                    <a:pt x="35" y="159"/>
                    <a:pt x="35" y="159"/>
                    <a:pt x="35" y="160"/>
                  </a:cubicBezTo>
                  <a:cubicBezTo>
                    <a:pt x="35" y="159"/>
                    <a:pt x="36" y="161"/>
                    <a:pt x="36" y="161"/>
                  </a:cubicBezTo>
                  <a:cubicBezTo>
                    <a:pt x="36" y="162"/>
                    <a:pt x="35" y="162"/>
                    <a:pt x="35" y="164"/>
                  </a:cubicBezTo>
                  <a:cubicBezTo>
                    <a:pt x="37" y="165"/>
                    <a:pt x="37" y="166"/>
                    <a:pt x="36" y="166"/>
                  </a:cubicBezTo>
                  <a:cubicBezTo>
                    <a:pt x="36" y="166"/>
                    <a:pt x="37" y="167"/>
                    <a:pt x="35" y="167"/>
                  </a:cubicBezTo>
                  <a:cubicBezTo>
                    <a:pt x="35" y="167"/>
                    <a:pt x="35" y="169"/>
                    <a:pt x="36" y="168"/>
                  </a:cubicBezTo>
                  <a:cubicBezTo>
                    <a:pt x="36" y="170"/>
                    <a:pt x="36" y="170"/>
                    <a:pt x="36" y="170"/>
                  </a:cubicBezTo>
                  <a:cubicBezTo>
                    <a:pt x="37" y="172"/>
                    <a:pt x="39" y="172"/>
                    <a:pt x="39" y="175"/>
                  </a:cubicBezTo>
                  <a:cubicBezTo>
                    <a:pt x="37" y="176"/>
                    <a:pt x="37" y="176"/>
                    <a:pt x="37" y="176"/>
                  </a:cubicBezTo>
                  <a:cubicBezTo>
                    <a:pt x="37" y="177"/>
                    <a:pt x="34" y="187"/>
                    <a:pt x="34" y="187"/>
                  </a:cubicBezTo>
                  <a:cubicBezTo>
                    <a:pt x="34" y="188"/>
                    <a:pt x="37" y="190"/>
                    <a:pt x="37" y="191"/>
                  </a:cubicBezTo>
                  <a:cubicBezTo>
                    <a:pt x="38" y="192"/>
                    <a:pt x="36" y="193"/>
                    <a:pt x="37" y="193"/>
                  </a:cubicBezTo>
                  <a:cubicBezTo>
                    <a:pt x="39" y="194"/>
                    <a:pt x="37" y="198"/>
                    <a:pt x="37" y="200"/>
                  </a:cubicBezTo>
                  <a:cubicBezTo>
                    <a:pt x="38" y="200"/>
                    <a:pt x="38" y="200"/>
                    <a:pt x="38" y="200"/>
                  </a:cubicBezTo>
                  <a:cubicBezTo>
                    <a:pt x="38" y="203"/>
                    <a:pt x="37" y="209"/>
                    <a:pt x="39" y="210"/>
                  </a:cubicBezTo>
                  <a:cubicBezTo>
                    <a:pt x="39" y="210"/>
                    <a:pt x="38" y="211"/>
                    <a:pt x="39" y="212"/>
                  </a:cubicBezTo>
                  <a:cubicBezTo>
                    <a:pt x="39" y="212"/>
                    <a:pt x="40" y="214"/>
                    <a:pt x="41" y="215"/>
                  </a:cubicBezTo>
                  <a:cubicBezTo>
                    <a:pt x="41" y="218"/>
                    <a:pt x="41" y="220"/>
                    <a:pt x="41" y="224"/>
                  </a:cubicBezTo>
                  <a:cubicBezTo>
                    <a:pt x="43" y="231"/>
                    <a:pt x="48" y="237"/>
                    <a:pt x="49" y="244"/>
                  </a:cubicBezTo>
                  <a:cubicBezTo>
                    <a:pt x="51" y="250"/>
                    <a:pt x="50" y="253"/>
                    <a:pt x="51" y="260"/>
                  </a:cubicBezTo>
                  <a:cubicBezTo>
                    <a:pt x="51" y="260"/>
                    <a:pt x="53" y="262"/>
                    <a:pt x="53" y="263"/>
                  </a:cubicBezTo>
                  <a:cubicBezTo>
                    <a:pt x="54" y="265"/>
                    <a:pt x="53" y="266"/>
                    <a:pt x="54" y="268"/>
                  </a:cubicBezTo>
                  <a:cubicBezTo>
                    <a:pt x="55" y="269"/>
                    <a:pt x="57" y="269"/>
                    <a:pt x="57" y="270"/>
                  </a:cubicBezTo>
                  <a:cubicBezTo>
                    <a:pt x="58" y="272"/>
                    <a:pt x="57" y="273"/>
                    <a:pt x="58" y="274"/>
                  </a:cubicBezTo>
                  <a:cubicBezTo>
                    <a:pt x="59" y="276"/>
                    <a:pt x="61" y="277"/>
                    <a:pt x="61" y="279"/>
                  </a:cubicBezTo>
                  <a:cubicBezTo>
                    <a:pt x="62" y="281"/>
                    <a:pt x="62" y="283"/>
                    <a:pt x="63" y="285"/>
                  </a:cubicBezTo>
                  <a:cubicBezTo>
                    <a:pt x="63" y="287"/>
                    <a:pt x="67" y="289"/>
                    <a:pt x="67" y="291"/>
                  </a:cubicBezTo>
                  <a:cubicBezTo>
                    <a:pt x="67" y="293"/>
                    <a:pt x="66" y="294"/>
                    <a:pt x="65" y="295"/>
                  </a:cubicBezTo>
                  <a:cubicBezTo>
                    <a:pt x="68" y="300"/>
                    <a:pt x="72" y="306"/>
                    <a:pt x="75" y="311"/>
                  </a:cubicBezTo>
                  <a:cubicBezTo>
                    <a:pt x="77" y="311"/>
                    <a:pt x="78" y="312"/>
                    <a:pt x="79" y="311"/>
                  </a:cubicBezTo>
                  <a:cubicBezTo>
                    <a:pt x="82" y="309"/>
                    <a:pt x="81" y="305"/>
                    <a:pt x="83" y="303"/>
                  </a:cubicBezTo>
                  <a:cubicBezTo>
                    <a:pt x="84" y="303"/>
                    <a:pt x="86" y="303"/>
                    <a:pt x="87" y="302"/>
                  </a:cubicBezTo>
                  <a:cubicBezTo>
                    <a:pt x="87" y="302"/>
                    <a:pt x="86" y="300"/>
                    <a:pt x="87" y="300"/>
                  </a:cubicBezTo>
                  <a:cubicBezTo>
                    <a:pt x="87" y="300"/>
                    <a:pt x="92" y="291"/>
                    <a:pt x="92" y="291"/>
                  </a:cubicBezTo>
                  <a:cubicBezTo>
                    <a:pt x="93" y="291"/>
                    <a:pt x="95" y="291"/>
                    <a:pt x="96" y="291"/>
                  </a:cubicBezTo>
                  <a:cubicBezTo>
                    <a:pt x="95" y="286"/>
                    <a:pt x="93" y="279"/>
                    <a:pt x="94" y="276"/>
                  </a:cubicBezTo>
                  <a:cubicBezTo>
                    <a:pt x="95" y="274"/>
                    <a:pt x="97" y="273"/>
                    <a:pt x="98" y="272"/>
                  </a:cubicBezTo>
                  <a:cubicBezTo>
                    <a:pt x="99" y="270"/>
                    <a:pt x="98" y="268"/>
                    <a:pt x="98" y="266"/>
                  </a:cubicBezTo>
                  <a:cubicBezTo>
                    <a:pt x="100" y="266"/>
                    <a:pt x="100" y="266"/>
                    <a:pt x="100" y="266"/>
                  </a:cubicBezTo>
                  <a:cubicBezTo>
                    <a:pt x="100" y="263"/>
                    <a:pt x="99" y="261"/>
                    <a:pt x="98" y="260"/>
                  </a:cubicBezTo>
                  <a:cubicBezTo>
                    <a:pt x="98" y="254"/>
                    <a:pt x="97" y="250"/>
                    <a:pt x="98" y="244"/>
                  </a:cubicBezTo>
                  <a:cubicBezTo>
                    <a:pt x="98" y="242"/>
                    <a:pt x="100" y="240"/>
                    <a:pt x="100" y="238"/>
                  </a:cubicBezTo>
                  <a:cubicBezTo>
                    <a:pt x="99" y="238"/>
                    <a:pt x="99" y="238"/>
                    <a:pt x="99" y="238"/>
                  </a:cubicBezTo>
                  <a:cubicBezTo>
                    <a:pt x="99" y="236"/>
                    <a:pt x="98" y="234"/>
                    <a:pt x="98" y="232"/>
                  </a:cubicBezTo>
                  <a:cubicBezTo>
                    <a:pt x="99" y="231"/>
                    <a:pt x="100" y="230"/>
                    <a:pt x="100" y="230"/>
                  </a:cubicBezTo>
                  <a:cubicBezTo>
                    <a:pt x="103" y="228"/>
                    <a:pt x="103" y="229"/>
                    <a:pt x="106" y="228"/>
                  </a:cubicBezTo>
                  <a:cubicBezTo>
                    <a:pt x="108" y="228"/>
                    <a:pt x="108" y="225"/>
                    <a:pt x="109" y="224"/>
                  </a:cubicBezTo>
                  <a:cubicBezTo>
                    <a:pt x="111" y="223"/>
                    <a:pt x="114" y="224"/>
                    <a:pt x="115" y="222"/>
                  </a:cubicBezTo>
                  <a:cubicBezTo>
                    <a:pt x="117" y="220"/>
                    <a:pt x="116" y="215"/>
                    <a:pt x="119" y="213"/>
                  </a:cubicBezTo>
                  <a:cubicBezTo>
                    <a:pt x="121" y="212"/>
                    <a:pt x="123" y="213"/>
                    <a:pt x="126" y="212"/>
                  </a:cubicBezTo>
                  <a:cubicBezTo>
                    <a:pt x="126" y="211"/>
                    <a:pt x="126" y="211"/>
                    <a:pt x="126" y="211"/>
                  </a:cubicBezTo>
                  <a:cubicBezTo>
                    <a:pt x="127" y="210"/>
                    <a:pt x="127" y="209"/>
                    <a:pt x="128" y="208"/>
                  </a:cubicBezTo>
                  <a:cubicBezTo>
                    <a:pt x="130" y="207"/>
                    <a:pt x="132" y="208"/>
                    <a:pt x="134" y="207"/>
                  </a:cubicBezTo>
                  <a:cubicBezTo>
                    <a:pt x="135" y="206"/>
                    <a:pt x="134" y="204"/>
                    <a:pt x="135" y="203"/>
                  </a:cubicBezTo>
                  <a:cubicBezTo>
                    <a:pt x="136" y="202"/>
                    <a:pt x="138" y="201"/>
                    <a:pt x="138" y="200"/>
                  </a:cubicBezTo>
                  <a:cubicBezTo>
                    <a:pt x="139" y="199"/>
                    <a:pt x="139" y="198"/>
                    <a:pt x="140" y="196"/>
                  </a:cubicBezTo>
                  <a:cubicBezTo>
                    <a:pt x="141" y="196"/>
                    <a:pt x="141" y="196"/>
                    <a:pt x="141" y="196"/>
                  </a:cubicBezTo>
                  <a:cubicBezTo>
                    <a:pt x="141" y="195"/>
                    <a:pt x="141" y="195"/>
                    <a:pt x="141" y="195"/>
                  </a:cubicBezTo>
                  <a:cubicBezTo>
                    <a:pt x="141" y="194"/>
                    <a:pt x="144" y="194"/>
                    <a:pt x="144" y="193"/>
                  </a:cubicBezTo>
                  <a:cubicBezTo>
                    <a:pt x="146" y="189"/>
                    <a:pt x="146" y="189"/>
                    <a:pt x="146" y="189"/>
                  </a:cubicBezTo>
                  <a:cubicBezTo>
                    <a:pt x="147" y="189"/>
                    <a:pt x="149" y="190"/>
                    <a:pt x="150" y="189"/>
                  </a:cubicBezTo>
                  <a:cubicBezTo>
                    <a:pt x="151" y="189"/>
                    <a:pt x="153" y="186"/>
                    <a:pt x="154" y="186"/>
                  </a:cubicBezTo>
                  <a:cubicBezTo>
                    <a:pt x="155" y="185"/>
                    <a:pt x="156" y="186"/>
                    <a:pt x="157" y="185"/>
                  </a:cubicBezTo>
                  <a:cubicBezTo>
                    <a:pt x="162" y="181"/>
                    <a:pt x="159" y="180"/>
                    <a:pt x="160" y="174"/>
                  </a:cubicBezTo>
                  <a:cubicBezTo>
                    <a:pt x="160" y="174"/>
                    <a:pt x="163" y="172"/>
                    <a:pt x="163" y="171"/>
                  </a:cubicBezTo>
                  <a:cubicBezTo>
                    <a:pt x="163" y="171"/>
                    <a:pt x="163" y="169"/>
                    <a:pt x="163" y="169"/>
                  </a:cubicBezTo>
                  <a:cubicBezTo>
                    <a:pt x="164" y="168"/>
                    <a:pt x="166" y="169"/>
                    <a:pt x="167" y="169"/>
                  </a:cubicBezTo>
                  <a:cubicBezTo>
                    <a:pt x="168" y="168"/>
                    <a:pt x="169" y="166"/>
                    <a:pt x="169" y="166"/>
                  </a:cubicBezTo>
                  <a:cubicBezTo>
                    <a:pt x="170" y="166"/>
                    <a:pt x="169" y="166"/>
                    <a:pt x="170" y="167"/>
                  </a:cubicBezTo>
                  <a:cubicBezTo>
                    <a:pt x="172" y="167"/>
                    <a:pt x="172" y="167"/>
                    <a:pt x="174" y="167"/>
                  </a:cubicBezTo>
                  <a:cubicBezTo>
                    <a:pt x="174" y="164"/>
                    <a:pt x="174" y="164"/>
                    <a:pt x="174" y="164"/>
                  </a:cubicBezTo>
                  <a:cubicBezTo>
                    <a:pt x="176" y="161"/>
                    <a:pt x="176" y="161"/>
                    <a:pt x="176" y="161"/>
                  </a:cubicBezTo>
                  <a:cubicBezTo>
                    <a:pt x="176" y="155"/>
                    <a:pt x="176" y="155"/>
                    <a:pt x="176" y="155"/>
                  </a:cubicBezTo>
                  <a:cubicBezTo>
                    <a:pt x="173" y="151"/>
                    <a:pt x="173" y="151"/>
                    <a:pt x="173" y="151"/>
                  </a:cubicBezTo>
                  <a:cubicBezTo>
                    <a:pt x="175" y="145"/>
                    <a:pt x="175" y="145"/>
                    <a:pt x="175" y="145"/>
                  </a:cubicBezTo>
                  <a:cubicBezTo>
                    <a:pt x="173" y="142"/>
                    <a:pt x="173" y="142"/>
                    <a:pt x="173" y="142"/>
                  </a:cubicBezTo>
                  <a:cubicBezTo>
                    <a:pt x="167" y="139"/>
                    <a:pt x="167" y="139"/>
                    <a:pt x="167" y="139"/>
                  </a:cubicBezTo>
                  <a:cubicBezTo>
                    <a:pt x="167" y="137"/>
                    <a:pt x="167" y="137"/>
                    <a:pt x="167" y="137"/>
                  </a:cubicBezTo>
                  <a:cubicBezTo>
                    <a:pt x="166" y="130"/>
                    <a:pt x="166" y="130"/>
                    <a:pt x="166" y="130"/>
                  </a:cubicBezTo>
                  <a:cubicBezTo>
                    <a:pt x="169" y="128"/>
                    <a:pt x="169" y="128"/>
                    <a:pt x="169" y="128"/>
                  </a:cubicBezTo>
                  <a:cubicBezTo>
                    <a:pt x="173" y="126"/>
                    <a:pt x="173" y="126"/>
                    <a:pt x="173" y="126"/>
                  </a:cubicBezTo>
                  <a:cubicBezTo>
                    <a:pt x="175" y="123"/>
                    <a:pt x="175" y="123"/>
                    <a:pt x="175" y="123"/>
                  </a:cubicBezTo>
                  <a:cubicBezTo>
                    <a:pt x="171" y="118"/>
                    <a:pt x="171" y="118"/>
                    <a:pt x="171" y="118"/>
                  </a:cubicBezTo>
                  <a:cubicBezTo>
                    <a:pt x="173" y="114"/>
                    <a:pt x="173" y="114"/>
                    <a:pt x="173" y="114"/>
                  </a:cubicBezTo>
                  <a:cubicBezTo>
                    <a:pt x="178" y="118"/>
                    <a:pt x="178" y="118"/>
                    <a:pt x="178" y="118"/>
                  </a:cubicBezTo>
                  <a:cubicBezTo>
                    <a:pt x="182" y="117"/>
                    <a:pt x="182" y="117"/>
                    <a:pt x="182" y="117"/>
                  </a:cubicBezTo>
                  <a:cubicBezTo>
                    <a:pt x="186" y="119"/>
                    <a:pt x="186" y="119"/>
                    <a:pt x="186" y="119"/>
                  </a:cubicBezTo>
                  <a:cubicBezTo>
                    <a:pt x="185" y="125"/>
                    <a:pt x="185" y="125"/>
                    <a:pt x="185" y="125"/>
                  </a:cubicBezTo>
                  <a:cubicBezTo>
                    <a:pt x="185" y="132"/>
                    <a:pt x="185" y="132"/>
                    <a:pt x="185" y="132"/>
                  </a:cubicBezTo>
                  <a:cubicBezTo>
                    <a:pt x="188" y="132"/>
                    <a:pt x="188" y="132"/>
                    <a:pt x="188" y="132"/>
                  </a:cubicBezTo>
                  <a:cubicBezTo>
                    <a:pt x="194" y="132"/>
                    <a:pt x="194" y="132"/>
                    <a:pt x="194" y="132"/>
                  </a:cubicBezTo>
                  <a:cubicBezTo>
                    <a:pt x="199" y="131"/>
                    <a:pt x="199" y="131"/>
                    <a:pt x="199" y="131"/>
                  </a:cubicBezTo>
                  <a:cubicBezTo>
                    <a:pt x="204" y="130"/>
                    <a:pt x="204" y="130"/>
                    <a:pt x="204" y="130"/>
                  </a:cubicBezTo>
                  <a:cubicBezTo>
                    <a:pt x="210" y="130"/>
                    <a:pt x="210" y="130"/>
                    <a:pt x="210" y="130"/>
                  </a:cubicBezTo>
                  <a:cubicBezTo>
                    <a:pt x="205" y="133"/>
                    <a:pt x="205" y="133"/>
                    <a:pt x="205" y="133"/>
                  </a:cubicBezTo>
                  <a:cubicBezTo>
                    <a:pt x="206" y="137"/>
                    <a:pt x="206" y="137"/>
                    <a:pt x="206" y="137"/>
                  </a:cubicBezTo>
                  <a:cubicBezTo>
                    <a:pt x="205" y="138"/>
                    <a:pt x="204" y="142"/>
                    <a:pt x="204" y="142"/>
                  </a:cubicBezTo>
                  <a:cubicBezTo>
                    <a:pt x="202" y="146"/>
                    <a:pt x="202" y="146"/>
                    <a:pt x="202" y="146"/>
                  </a:cubicBezTo>
                  <a:cubicBezTo>
                    <a:pt x="200" y="152"/>
                    <a:pt x="200" y="152"/>
                    <a:pt x="200" y="152"/>
                  </a:cubicBezTo>
                  <a:cubicBezTo>
                    <a:pt x="201" y="155"/>
                    <a:pt x="201" y="155"/>
                    <a:pt x="201" y="155"/>
                  </a:cubicBezTo>
                  <a:cubicBezTo>
                    <a:pt x="205" y="155"/>
                    <a:pt x="205" y="155"/>
                    <a:pt x="205" y="155"/>
                  </a:cubicBezTo>
                  <a:cubicBezTo>
                    <a:pt x="206" y="151"/>
                    <a:pt x="206" y="151"/>
                    <a:pt x="206" y="151"/>
                  </a:cubicBezTo>
                  <a:cubicBezTo>
                    <a:pt x="210" y="157"/>
                    <a:pt x="210" y="157"/>
                    <a:pt x="210" y="157"/>
                  </a:cubicBezTo>
                  <a:cubicBezTo>
                    <a:pt x="210" y="162"/>
                    <a:pt x="210" y="162"/>
                    <a:pt x="210" y="162"/>
                  </a:cubicBezTo>
                  <a:cubicBezTo>
                    <a:pt x="211" y="166"/>
                    <a:pt x="211" y="166"/>
                    <a:pt x="211" y="166"/>
                  </a:cubicBezTo>
                  <a:cubicBezTo>
                    <a:pt x="214" y="165"/>
                    <a:pt x="214" y="165"/>
                    <a:pt x="214" y="165"/>
                  </a:cubicBezTo>
                  <a:cubicBezTo>
                    <a:pt x="216" y="167"/>
                    <a:pt x="216" y="167"/>
                    <a:pt x="216" y="167"/>
                  </a:cubicBezTo>
                  <a:cubicBezTo>
                    <a:pt x="218" y="165"/>
                    <a:pt x="218" y="165"/>
                    <a:pt x="218" y="165"/>
                  </a:cubicBezTo>
                  <a:cubicBezTo>
                    <a:pt x="219" y="163"/>
                    <a:pt x="219" y="163"/>
                    <a:pt x="219" y="163"/>
                  </a:cubicBezTo>
                  <a:cubicBezTo>
                    <a:pt x="220" y="161"/>
                    <a:pt x="220" y="161"/>
                    <a:pt x="220" y="161"/>
                  </a:cubicBezTo>
                  <a:cubicBezTo>
                    <a:pt x="219" y="156"/>
                    <a:pt x="219" y="156"/>
                    <a:pt x="219" y="156"/>
                  </a:cubicBezTo>
                  <a:cubicBezTo>
                    <a:pt x="218" y="153"/>
                    <a:pt x="218" y="153"/>
                    <a:pt x="218" y="153"/>
                  </a:cubicBezTo>
                  <a:cubicBezTo>
                    <a:pt x="218" y="144"/>
                    <a:pt x="218" y="144"/>
                    <a:pt x="218" y="144"/>
                  </a:cubicBezTo>
                  <a:cubicBezTo>
                    <a:pt x="223" y="148"/>
                    <a:pt x="223" y="148"/>
                    <a:pt x="223" y="148"/>
                  </a:cubicBezTo>
                  <a:cubicBezTo>
                    <a:pt x="225" y="142"/>
                    <a:pt x="225" y="142"/>
                    <a:pt x="225" y="142"/>
                  </a:cubicBezTo>
                  <a:cubicBezTo>
                    <a:pt x="228" y="137"/>
                    <a:pt x="228" y="137"/>
                    <a:pt x="228" y="137"/>
                  </a:cubicBezTo>
                  <a:cubicBezTo>
                    <a:pt x="228" y="135"/>
                    <a:pt x="228" y="135"/>
                    <a:pt x="228" y="135"/>
                  </a:cubicBezTo>
                  <a:cubicBezTo>
                    <a:pt x="226" y="133"/>
                    <a:pt x="226" y="133"/>
                    <a:pt x="226" y="133"/>
                  </a:cubicBezTo>
                  <a:cubicBezTo>
                    <a:pt x="227" y="132"/>
                    <a:pt x="227" y="132"/>
                    <a:pt x="227" y="132"/>
                  </a:cubicBezTo>
                  <a:cubicBezTo>
                    <a:pt x="231" y="130"/>
                    <a:pt x="231" y="130"/>
                    <a:pt x="231" y="130"/>
                  </a:cubicBezTo>
                  <a:cubicBezTo>
                    <a:pt x="233" y="126"/>
                    <a:pt x="233" y="126"/>
                    <a:pt x="233" y="126"/>
                  </a:cubicBezTo>
                  <a:cubicBezTo>
                    <a:pt x="237" y="123"/>
                    <a:pt x="237" y="123"/>
                    <a:pt x="237" y="123"/>
                  </a:cubicBezTo>
                  <a:cubicBezTo>
                    <a:pt x="237" y="120"/>
                    <a:pt x="237" y="120"/>
                    <a:pt x="237" y="120"/>
                  </a:cubicBezTo>
                  <a:cubicBezTo>
                    <a:pt x="240" y="115"/>
                    <a:pt x="240" y="115"/>
                    <a:pt x="240" y="115"/>
                  </a:cubicBezTo>
                  <a:cubicBezTo>
                    <a:pt x="245" y="114"/>
                    <a:pt x="245" y="114"/>
                    <a:pt x="245" y="114"/>
                  </a:cubicBezTo>
                  <a:cubicBezTo>
                    <a:pt x="248" y="115"/>
                    <a:pt x="248" y="115"/>
                    <a:pt x="248" y="115"/>
                  </a:cubicBezTo>
                  <a:cubicBezTo>
                    <a:pt x="251" y="109"/>
                    <a:pt x="251" y="109"/>
                    <a:pt x="251" y="109"/>
                  </a:cubicBezTo>
                  <a:cubicBezTo>
                    <a:pt x="251" y="104"/>
                    <a:pt x="251" y="104"/>
                    <a:pt x="251" y="104"/>
                  </a:cubicBezTo>
                  <a:cubicBezTo>
                    <a:pt x="250" y="101"/>
                    <a:pt x="250" y="101"/>
                    <a:pt x="250" y="101"/>
                  </a:cubicBezTo>
                  <a:cubicBezTo>
                    <a:pt x="249" y="98"/>
                    <a:pt x="249" y="98"/>
                    <a:pt x="249" y="98"/>
                  </a:cubicBezTo>
                  <a:cubicBezTo>
                    <a:pt x="246" y="97"/>
                    <a:pt x="246" y="97"/>
                    <a:pt x="246" y="97"/>
                  </a:cubicBezTo>
                  <a:cubicBezTo>
                    <a:pt x="243" y="96"/>
                    <a:pt x="243" y="96"/>
                    <a:pt x="243" y="96"/>
                  </a:cubicBezTo>
                  <a:cubicBezTo>
                    <a:pt x="241" y="95"/>
                    <a:pt x="241" y="95"/>
                    <a:pt x="241" y="95"/>
                  </a:cubicBezTo>
                  <a:cubicBezTo>
                    <a:pt x="238" y="96"/>
                    <a:pt x="238" y="96"/>
                    <a:pt x="238" y="96"/>
                  </a:cubicBezTo>
                  <a:cubicBezTo>
                    <a:pt x="236" y="94"/>
                    <a:pt x="236" y="94"/>
                    <a:pt x="236" y="94"/>
                  </a:cubicBezTo>
                  <a:cubicBezTo>
                    <a:pt x="236" y="89"/>
                    <a:pt x="236" y="89"/>
                    <a:pt x="236" y="89"/>
                  </a:cubicBezTo>
                  <a:cubicBezTo>
                    <a:pt x="231" y="87"/>
                    <a:pt x="231" y="87"/>
                    <a:pt x="231" y="87"/>
                  </a:cubicBezTo>
                  <a:cubicBezTo>
                    <a:pt x="228" y="87"/>
                    <a:pt x="228" y="87"/>
                    <a:pt x="228" y="87"/>
                  </a:cubicBezTo>
                  <a:cubicBezTo>
                    <a:pt x="224" y="90"/>
                    <a:pt x="224" y="90"/>
                    <a:pt x="224" y="90"/>
                  </a:cubicBezTo>
                  <a:cubicBezTo>
                    <a:pt x="221" y="89"/>
                    <a:pt x="221" y="89"/>
                    <a:pt x="221" y="89"/>
                  </a:cubicBezTo>
                  <a:cubicBezTo>
                    <a:pt x="217" y="89"/>
                    <a:pt x="217" y="89"/>
                    <a:pt x="217" y="89"/>
                  </a:cubicBezTo>
                  <a:cubicBezTo>
                    <a:pt x="214" y="91"/>
                    <a:pt x="214" y="91"/>
                    <a:pt x="214" y="91"/>
                  </a:cubicBezTo>
                  <a:cubicBezTo>
                    <a:pt x="209" y="94"/>
                    <a:pt x="209" y="94"/>
                    <a:pt x="209" y="94"/>
                  </a:cubicBezTo>
                  <a:cubicBezTo>
                    <a:pt x="205" y="95"/>
                    <a:pt x="205" y="95"/>
                    <a:pt x="205" y="95"/>
                  </a:cubicBezTo>
                  <a:cubicBezTo>
                    <a:pt x="206" y="101"/>
                    <a:pt x="206" y="101"/>
                    <a:pt x="206" y="101"/>
                  </a:cubicBezTo>
                  <a:cubicBezTo>
                    <a:pt x="206" y="105"/>
                    <a:pt x="206" y="105"/>
                    <a:pt x="206" y="105"/>
                  </a:cubicBezTo>
                  <a:cubicBezTo>
                    <a:pt x="204" y="106"/>
                    <a:pt x="204" y="106"/>
                    <a:pt x="204" y="106"/>
                  </a:cubicBezTo>
                  <a:cubicBezTo>
                    <a:pt x="196" y="107"/>
                    <a:pt x="196" y="107"/>
                    <a:pt x="196" y="107"/>
                  </a:cubicBezTo>
                  <a:cubicBezTo>
                    <a:pt x="191" y="105"/>
                    <a:pt x="191" y="105"/>
                    <a:pt x="191" y="105"/>
                  </a:cubicBezTo>
                  <a:cubicBezTo>
                    <a:pt x="187" y="106"/>
                    <a:pt x="187" y="106"/>
                    <a:pt x="187" y="106"/>
                  </a:cubicBezTo>
                  <a:cubicBezTo>
                    <a:pt x="183" y="107"/>
                    <a:pt x="183" y="107"/>
                    <a:pt x="183" y="107"/>
                  </a:cubicBezTo>
                  <a:cubicBezTo>
                    <a:pt x="180" y="103"/>
                    <a:pt x="180" y="103"/>
                    <a:pt x="180" y="103"/>
                  </a:cubicBezTo>
                  <a:cubicBezTo>
                    <a:pt x="181" y="99"/>
                    <a:pt x="181" y="99"/>
                    <a:pt x="181" y="99"/>
                  </a:cubicBezTo>
                  <a:cubicBezTo>
                    <a:pt x="179" y="101"/>
                    <a:pt x="179" y="101"/>
                    <a:pt x="179" y="101"/>
                  </a:cubicBezTo>
                  <a:cubicBezTo>
                    <a:pt x="177" y="97"/>
                    <a:pt x="177" y="97"/>
                    <a:pt x="177" y="97"/>
                  </a:cubicBezTo>
                  <a:cubicBezTo>
                    <a:pt x="173" y="96"/>
                    <a:pt x="173" y="96"/>
                    <a:pt x="173" y="96"/>
                  </a:cubicBezTo>
                  <a:cubicBezTo>
                    <a:pt x="170" y="98"/>
                    <a:pt x="170" y="98"/>
                    <a:pt x="170" y="98"/>
                  </a:cubicBezTo>
                  <a:cubicBezTo>
                    <a:pt x="171" y="98"/>
                    <a:pt x="171" y="98"/>
                    <a:pt x="171" y="98"/>
                  </a:cubicBezTo>
                  <a:cubicBezTo>
                    <a:pt x="170" y="103"/>
                    <a:pt x="170" y="103"/>
                    <a:pt x="170" y="103"/>
                  </a:cubicBezTo>
                  <a:cubicBezTo>
                    <a:pt x="169" y="106"/>
                    <a:pt x="169" y="106"/>
                    <a:pt x="169" y="106"/>
                  </a:cubicBezTo>
                  <a:cubicBezTo>
                    <a:pt x="171" y="108"/>
                    <a:pt x="171" y="108"/>
                    <a:pt x="171" y="108"/>
                  </a:cubicBezTo>
                  <a:cubicBezTo>
                    <a:pt x="171" y="111"/>
                    <a:pt x="171" y="111"/>
                    <a:pt x="171" y="111"/>
                  </a:cubicBezTo>
                  <a:cubicBezTo>
                    <a:pt x="169" y="113"/>
                    <a:pt x="169" y="113"/>
                    <a:pt x="169" y="113"/>
                  </a:cubicBezTo>
                  <a:cubicBezTo>
                    <a:pt x="165" y="114"/>
                    <a:pt x="165" y="114"/>
                    <a:pt x="165" y="114"/>
                  </a:cubicBezTo>
                  <a:cubicBezTo>
                    <a:pt x="161" y="112"/>
                    <a:pt x="161" y="112"/>
                    <a:pt x="161" y="112"/>
                  </a:cubicBezTo>
                  <a:cubicBezTo>
                    <a:pt x="156" y="112"/>
                    <a:pt x="156" y="112"/>
                    <a:pt x="156" y="112"/>
                  </a:cubicBezTo>
                  <a:cubicBezTo>
                    <a:pt x="149" y="108"/>
                    <a:pt x="149" y="108"/>
                    <a:pt x="149" y="108"/>
                  </a:cubicBezTo>
                  <a:cubicBezTo>
                    <a:pt x="142" y="108"/>
                    <a:pt x="142" y="108"/>
                    <a:pt x="142" y="108"/>
                  </a:cubicBezTo>
                  <a:cubicBezTo>
                    <a:pt x="138" y="104"/>
                    <a:pt x="138" y="104"/>
                    <a:pt x="138" y="104"/>
                  </a:cubicBezTo>
                  <a:cubicBezTo>
                    <a:pt x="134" y="104"/>
                    <a:pt x="134" y="104"/>
                    <a:pt x="134" y="104"/>
                  </a:cubicBezTo>
                  <a:cubicBezTo>
                    <a:pt x="132" y="101"/>
                    <a:pt x="132" y="101"/>
                    <a:pt x="132" y="101"/>
                  </a:cubicBezTo>
                  <a:cubicBezTo>
                    <a:pt x="128" y="98"/>
                    <a:pt x="128" y="98"/>
                    <a:pt x="128" y="98"/>
                  </a:cubicBezTo>
                  <a:cubicBezTo>
                    <a:pt x="123" y="98"/>
                    <a:pt x="123" y="98"/>
                    <a:pt x="123" y="98"/>
                  </a:cubicBezTo>
                  <a:cubicBezTo>
                    <a:pt x="117" y="95"/>
                    <a:pt x="117" y="95"/>
                    <a:pt x="117" y="95"/>
                  </a:cubicBezTo>
                  <a:cubicBezTo>
                    <a:pt x="112" y="93"/>
                    <a:pt x="112" y="93"/>
                    <a:pt x="112" y="93"/>
                  </a:cubicBezTo>
                  <a:cubicBezTo>
                    <a:pt x="108" y="91"/>
                    <a:pt x="108" y="91"/>
                    <a:pt x="108" y="91"/>
                  </a:cubicBezTo>
                  <a:cubicBezTo>
                    <a:pt x="106" y="88"/>
                    <a:pt x="106" y="88"/>
                    <a:pt x="106" y="88"/>
                  </a:cubicBezTo>
                  <a:cubicBezTo>
                    <a:pt x="101" y="86"/>
                    <a:pt x="101" y="86"/>
                    <a:pt x="101" y="86"/>
                  </a:cubicBezTo>
                  <a:cubicBezTo>
                    <a:pt x="100" y="81"/>
                    <a:pt x="100" y="81"/>
                    <a:pt x="100" y="81"/>
                  </a:cubicBezTo>
                  <a:cubicBezTo>
                    <a:pt x="104" y="75"/>
                    <a:pt x="104" y="75"/>
                    <a:pt x="104" y="75"/>
                  </a:cubicBezTo>
                  <a:cubicBezTo>
                    <a:pt x="109" y="72"/>
                    <a:pt x="109" y="72"/>
                    <a:pt x="109" y="72"/>
                  </a:cubicBezTo>
                  <a:cubicBezTo>
                    <a:pt x="106" y="69"/>
                    <a:pt x="106" y="69"/>
                    <a:pt x="106" y="69"/>
                  </a:cubicBezTo>
                  <a:cubicBezTo>
                    <a:pt x="103" y="66"/>
                    <a:pt x="103" y="66"/>
                    <a:pt x="103" y="66"/>
                  </a:cubicBezTo>
                  <a:cubicBezTo>
                    <a:pt x="98" y="65"/>
                    <a:pt x="98" y="65"/>
                    <a:pt x="98" y="65"/>
                  </a:cubicBezTo>
                  <a:cubicBezTo>
                    <a:pt x="95" y="63"/>
                    <a:pt x="95" y="63"/>
                    <a:pt x="95" y="63"/>
                  </a:cubicBezTo>
                  <a:cubicBezTo>
                    <a:pt x="90" y="61"/>
                    <a:pt x="90" y="61"/>
                    <a:pt x="90" y="61"/>
                  </a:cubicBezTo>
                  <a:cubicBezTo>
                    <a:pt x="89" y="57"/>
                    <a:pt x="89" y="57"/>
                    <a:pt x="89" y="57"/>
                  </a:cubicBezTo>
                  <a:cubicBezTo>
                    <a:pt x="91" y="55"/>
                    <a:pt x="91" y="55"/>
                    <a:pt x="91" y="55"/>
                  </a:cubicBezTo>
                  <a:cubicBezTo>
                    <a:pt x="90" y="53"/>
                    <a:pt x="90" y="53"/>
                    <a:pt x="90" y="53"/>
                  </a:cubicBezTo>
                  <a:cubicBezTo>
                    <a:pt x="91" y="48"/>
                    <a:pt x="91" y="48"/>
                    <a:pt x="91" y="48"/>
                  </a:cubicBezTo>
                  <a:cubicBezTo>
                    <a:pt x="91" y="45"/>
                    <a:pt x="91" y="45"/>
                    <a:pt x="91" y="45"/>
                  </a:cubicBezTo>
                  <a:cubicBezTo>
                    <a:pt x="89" y="45"/>
                    <a:pt x="89" y="45"/>
                    <a:pt x="89" y="45"/>
                  </a:cubicBezTo>
                  <a:cubicBezTo>
                    <a:pt x="86" y="44"/>
                    <a:pt x="86" y="44"/>
                    <a:pt x="86" y="44"/>
                  </a:cubicBezTo>
                  <a:cubicBezTo>
                    <a:pt x="87" y="38"/>
                    <a:pt x="87" y="38"/>
                    <a:pt x="87" y="38"/>
                  </a:cubicBezTo>
                  <a:cubicBezTo>
                    <a:pt x="85" y="35"/>
                    <a:pt x="85" y="35"/>
                    <a:pt x="85" y="35"/>
                  </a:cubicBezTo>
                  <a:cubicBezTo>
                    <a:pt x="81" y="32"/>
                    <a:pt x="81" y="32"/>
                    <a:pt x="81" y="32"/>
                  </a:cubicBezTo>
                  <a:cubicBezTo>
                    <a:pt x="83" y="28"/>
                    <a:pt x="83" y="28"/>
                    <a:pt x="83" y="28"/>
                  </a:cubicBezTo>
                  <a:cubicBezTo>
                    <a:pt x="85" y="26"/>
                    <a:pt x="85" y="26"/>
                    <a:pt x="85" y="26"/>
                  </a:cubicBezTo>
                  <a:cubicBezTo>
                    <a:pt x="87" y="22"/>
                    <a:pt x="87" y="22"/>
                    <a:pt x="87" y="22"/>
                  </a:cubicBezTo>
                  <a:cubicBezTo>
                    <a:pt x="89" y="20"/>
                    <a:pt x="89" y="20"/>
                    <a:pt x="89" y="20"/>
                  </a:cubicBezTo>
                  <a:cubicBezTo>
                    <a:pt x="91" y="17"/>
                    <a:pt x="91" y="17"/>
                    <a:pt x="91" y="17"/>
                  </a:cubicBezTo>
                  <a:cubicBezTo>
                    <a:pt x="91" y="14"/>
                    <a:pt x="91" y="14"/>
                    <a:pt x="91" y="14"/>
                  </a:cubicBezTo>
                  <a:cubicBezTo>
                    <a:pt x="94" y="12"/>
                    <a:pt x="94" y="12"/>
                    <a:pt x="94" y="12"/>
                  </a:cubicBezTo>
                  <a:cubicBezTo>
                    <a:pt x="92" y="8"/>
                    <a:pt x="92" y="8"/>
                    <a:pt x="92" y="8"/>
                  </a:cubicBezTo>
                  <a:cubicBezTo>
                    <a:pt x="90" y="5"/>
                    <a:pt x="90" y="5"/>
                    <a:pt x="90" y="5"/>
                  </a:cubicBezTo>
                  <a:cubicBezTo>
                    <a:pt x="88" y="2"/>
                    <a:pt x="88" y="2"/>
                    <a:pt x="88" y="2"/>
                  </a:cubicBezTo>
                  <a:cubicBezTo>
                    <a:pt x="84" y="1"/>
                    <a:pt x="84" y="1"/>
                    <a:pt x="84" y="1"/>
                  </a:cubicBezTo>
                  <a:cubicBezTo>
                    <a:pt x="80" y="0"/>
                    <a:pt x="80" y="0"/>
                    <a:pt x="80" y="0"/>
                  </a:cubicBezTo>
                  <a:cubicBezTo>
                    <a:pt x="76" y="0"/>
                    <a:pt x="76" y="0"/>
                    <a:pt x="76" y="0"/>
                  </a:cubicBezTo>
                  <a:cubicBezTo>
                    <a:pt x="74" y="2"/>
                    <a:pt x="74" y="2"/>
                    <a:pt x="74" y="2"/>
                  </a:cubicBezTo>
                  <a:cubicBezTo>
                    <a:pt x="70" y="5"/>
                    <a:pt x="70" y="5"/>
                    <a:pt x="70" y="5"/>
                  </a:cubicBezTo>
                  <a:cubicBezTo>
                    <a:pt x="68" y="10"/>
                    <a:pt x="68" y="10"/>
                    <a:pt x="68" y="10"/>
                  </a:cubicBezTo>
                  <a:cubicBezTo>
                    <a:pt x="65" y="13"/>
                    <a:pt x="65" y="13"/>
                    <a:pt x="65" y="13"/>
                  </a:cubicBezTo>
                  <a:cubicBezTo>
                    <a:pt x="64" y="15"/>
                    <a:pt x="64" y="15"/>
                    <a:pt x="64" y="15"/>
                  </a:cubicBezTo>
                  <a:cubicBezTo>
                    <a:pt x="59" y="19"/>
                    <a:pt x="59" y="19"/>
                    <a:pt x="59" y="19"/>
                  </a:cubicBezTo>
                  <a:cubicBezTo>
                    <a:pt x="53" y="20"/>
                    <a:pt x="53" y="20"/>
                    <a:pt x="53" y="20"/>
                  </a:cubicBezTo>
                  <a:cubicBezTo>
                    <a:pt x="50" y="22"/>
                    <a:pt x="50" y="22"/>
                    <a:pt x="50" y="22"/>
                  </a:cubicBezTo>
                  <a:cubicBezTo>
                    <a:pt x="49" y="24"/>
                    <a:pt x="49" y="24"/>
                    <a:pt x="49" y="24"/>
                  </a:cubicBezTo>
                  <a:cubicBezTo>
                    <a:pt x="47" y="26"/>
                    <a:pt x="47" y="26"/>
                    <a:pt x="47" y="26"/>
                  </a:cubicBezTo>
                  <a:cubicBezTo>
                    <a:pt x="44" y="24"/>
                    <a:pt x="44" y="24"/>
                    <a:pt x="44" y="24"/>
                  </a:cubicBezTo>
                  <a:cubicBezTo>
                    <a:pt x="40" y="26"/>
                    <a:pt x="40" y="26"/>
                    <a:pt x="40" y="26"/>
                  </a:cubicBezTo>
                  <a:cubicBezTo>
                    <a:pt x="37" y="27"/>
                    <a:pt x="37" y="27"/>
                    <a:pt x="37" y="27"/>
                  </a:cubicBezTo>
                  <a:cubicBezTo>
                    <a:pt x="36" y="31"/>
                    <a:pt x="36" y="31"/>
                    <a:pt x="36" y="31"/>
                  </a:cubicBezTo>
                  <a:cubicBezTo>
                    <a:pt x="39" y="34"/>
                    <a:pt x="39" y="34"/>
                    <a:pt x="39" y="34"/>
                  </a:cubicBezTo>
                  <a:cubicBezTo>
                    <a:pt x="41" y="42"/>
                    <a:pt x="41" y="42"/>
                    <a:pt x="41" y="42"/>
                  </a:cubicBezTo>
                  <a:cubicBezTo>
                    <a:pt x="42" y="45"/>
                    <a:pt x="42" y="45"/>
                    <a:pt x="42" y="45"/>
                  </a:cubicBezTo>
                  <a:cubicBezTo>
                    <a:pt x="45" y="47"/>
                    <a:pt x="45" y="47"/>
                    <a:pt x="45" y="47"/>
                  </a:cubicBezTo>
                  <a:cubicBezTo>
                    <a:pt x="49" y="51"/>
                    <a:pt x="49" y="51"/>
                    <a:pt x="49" y="51"/>
                  </a:cubicBezTo>
                  <a:cubicBezTo>
                    <a:pt x="49" y="56"/>
                    <a:pt x="49" y="56"/>
                    <a:pt x="49" y="56"/>
                  </a:cubicBezTo>
                  <a:cubicBezTo>
                    <a:pt x="47" y="60"/>
                    <a:pt x="47" y="60"/>
                    <a:pt x="47" y="60"/>
                  </a:cubicBezTo>
                  <a:cubicBezTo>
                    <a:pt x="44" y="64"/>
                    <a:pt x="44" y="64"/>
                    <a:pt x="44" y="64"/>
                  </a:cubicBezTo>
                  <a:cubicBezTo>
                    <a:pt x="43" y="70"/>
                    <a:pt x="43" y="70"/>
                    <a:pt x="43" y="70"/>
                  </a:cubicBezTo>
                  <a:cubicBezTo>
                    <a:pt x="43" y="75"/>
                    <a:pt x="43" y="75"/>
                    <a:pt x="43" y="75"/>
                  </a:cubicBezTo>
                  <a:cubicBezTo>
                    <a:pt x="39" y="78"/>
                    <a:pt x="39" y="78"/>
                    <a:pt x="39" y="78"/>
                  </a:cubicBezTo>
                  <a:cubicBezTo>
                    <a:pt x="36" y="81"/>
                    <a:pt x="36" y="81"/>
                    <a:pt x="36" y="81"/>
                  </a:cubicBezTo>
                  <a:cubicBezTo>
                    <a:pt x="33" y="84"/>
                    <a:pt x="33" y="84"/>
                    <a:pt x="33" y="84"/>
                  </a:cubicBezTo>
                  <a:cubicBezTo>
                    <a:pt x="28" y="87"/>
                    <a:pt x="28" y="87"/>
                    <a:pt x="28" y="87"/>
                  </a:cubicBezTo>
                  <a:cubicBezTo>
                    <a:pt x="24" y="93"/>
                    <a:pt x="24" y="93"/>
                    <a:pt x="24" y="93"/>
                  </a:cubicBezTo>
                  <a:cubicBezTo>
                    <a:pt x="21" y="98"/>
                    <a:pt x="21" y="98"/>
                    <a:pt x="21" y="98"/>
                  </a:cubicBezTo>
                  <a:cubicBezTo>
                    <a:pt x="17" y="99"/>
                    <a:pt x="17" y="99"/>
                    <a:pt x="17" y="99"/>
                  </a:cubicBezTo>
                  <a:cubicBezTo>
                    <a:pt x="15" y="96"/>
                    <a:pt x="15" y="96"/>
                    <a:pt x="15" y="96"/>
                  </a:cubicBezTo>
                  <a:cubicBezTo>
                    <a:pt x="13" y="101"/>
                    <a:pt x="13" y="101"/>
                    <a:pt x="13" y="101"/>
                  </a:cubicBezTo>
                  <a:cubicBezTo>
                    <a:pt x="10" y="104"/>
                    <a:pt x="10" y="104"/>
                    <a:pt x="10" y="104"/>
                  </a:cubicBezTo>
                  <a:cubicBezTo>
                    <a:pt x="8" y="109"/>
                    <a:pt x="8" y="109"/>
                    <a:pt x="8" y="109"/>
                  </a:cubicBezTo>
                  <a:cubicBezTo>
                    <a:pt x="10" y="111"/>
                    <a:pt x="10" y="111"/>
                    <a:pt x="10" y="111"/>
                  </a:cubicBezTo>
                  <a:cubicBezTo>
                    <a:pt x="11" y="113"/>
                    <a:pt x="11" y="113"/>
                    <a:pt x="11" y="113"/>
                  </a:cubicBezTo>
                  <a:cubicBezTo>
                    <a:pt x="10" y="116"/>
                    <a:pt x="10" y="116"/>
                    <a:pt x="10" y="116"/>
                  </a:cubicBezTo>
                  <a:cubicBezTo>
                    <a:pt x="10" y="120"/>
                    <a:pt x="10" y="120"/>
                    <a:pt x="10" y="120"/>
                  </a:cubicBezTo>
                  <a:cubicBezTo>
                    <a:pt x="14" y="121"/>
                    <a:pt x="14" y="121"/>
                    <a:pt x="14" y="121"/>
                  </a:cubicBezTo>
                  <a:cubicBezTo>
                    <a:pt x="15" y="125"/>
                    <a:pt x="15" y="125"/>
                    <a:pt x="15" y="125"/>
                  </a:cubicBezTo>
                  <a:cubicBezTo>
                    <a:pt x="16" y="136"/>
                    <a:pt x="16" y="136"/>
                    <a:pt x="16" y="136"/>
                  </a:cubicBezTo>
                  <a:cubicBezTo>
                    <a:pt x="13" y="135"/>
                    <a:pt x="13" y="135"/>
                    <a:pt x="13" y="135"/>
                  </a:cubicBezTo>
                  <a:cubicBezTo>
                    <a:pt x="8" y="135"/>
                    <a:pt x="8" y="135"/>
                    <a:pt x="8" y="135"/>
                  </a:cubicBezTo>
                  <a:cubicBezTo>
                    <a:pt x="5" y="135"/>
                    <a:pt x="5" y="135"/>
                    <a:pt x="5" y="135"/>
                  </a:cubicBezTo>
                  <a:cubicBezTo>
                    <a:pt x="1" y="137"/>
                    <a:pt x="1" y="137"/>
                    <a:pt x="1" y="137"/>
                  </a:cubicBezTo>
                  <a:lnTo>
                    <a:pt x="0" y="141"/>
                  </a:lnTo>
                  <a:close/>
                  <a:moveTo>
                    <a:pt x="213" y="252"/>
                  </a:moveTo>
                  <a:cubicBezTo>
                    <a:pt x="213" y="252"/>
                    <a:pt x="212" y="256"/>
                    <a:pt x="213" y="255"/>
                  </a:cubicBezTo>
                  <a:cubicBezTo>
                    <a:pt x="214" y="255"/>
                    <a:pt x="215" y="252"/>
                    <a:pt x="213" y="25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66" name="Freeform 208">
              <a:extLst>
                <a:ext uri="{FF2B5EF4-FFF2-40B4-BE49-F238E27FC236}">
                  <a16:creationId xmlns:a16="http://schemas.microsoft.com/office/drawing/2014/main" id="{F81D63BB-42E8-BFF5-FA55-C1109369D701}"/>
                </a:ext>
              </a:extLst>
            </p:cNvPr>
            <p:cNvSpPr>
              <a:spLocks noEditPoints="1"/>
            </p:cNvSpPr>
            <p:nvPr/>
          </p:nvSpPr>
          <p:spPr bwMode="auto">
            <a:xfrm>
              <a:off x="8052509" y="2832633"/>
              <a:ext cx="885630" cy="1142530"/>
            </a:xfrm>
            <a:custGeom>
              <a:avLst/>
              <a:gdLst>
                <a:gd name="T0" fmla="*/ 213 w 251"/>
                <a:gd name="T1" fmla="*/ 268 h 324"/>
                <a:gd name="T2" fmla="*/ 209 w 251"/>
                <a:gd name="T3" fmla="*/ 285 h 324"/>
                <a:gd name="T4" fmla="*/ 220 w 251"/>
                <a:gd name="T5" fmla="*/ 322 h 324"/>
                <a:gd name="T6" fmla="*/ 1 w 251"/>
                <a:gd name="T7" fmla="*/ 149 h 324"/>
                <a:gd name="T8" fmla="*/ 16 w 251"/>
                <a:gd name="T9" fmla="*/ 154 h 324"/>
                <a:gd name="T10" fmla="*/ 5 w 251"/>
                <a:gd name="T11" fmla="*/ 160 h 324"/>
                <a:gd name="T12" fmla="*/ 32 w 251"/>
                <a:gd name="T13" fmla="*/ 167 h 324"/>
                <a:gd name="T14" fmla="*/ 36 w 251"/>
                <a:gd name="T15" fmla="*/ 161 h 324"/>
                <a:gd name="T16" fmla="*/ 36 w 251"/>
                <a:gd name="T17" fmla="*/ 170 h 324"/>
                <a:gd name="T18" fmla="*/ 37 w 251"/>
                <a:gd name="T19" fmla="*/ 193 h 324"/>
                <a:gd name="T20" fmla="*/ 41 w 251"/>
                <a:gd name="T21" fmla="*/ 215 h 324"/>
                <a:gd name="T22" fmla="*/ 54 w 251"/>
                <a:gd name="T23" fmla="*/ 268 h 324"/>
                <a:gd name="T24" fmla="*/ 67 w 251"/>
                <a:gd name="T25" fmla="*/ 291 h 324"/>
                <a:gd name="T26" fmla="*/ 87 w 251"/>
                <a:gd name="T27" fmla="*/ 302 h 324"/>
                <a:gd name="T28" fmla="*/ 98 w 251"/>
                <a:gd name="T29" fmla="*/ 272 h 324"/>
                <a:gd name="T30" fmla="*/ 100 w 251"/>
                <a:gd name="T31" fmla="*/ 238 h 324"/>
                <a:gd name="T32" fmla="*/ 109 w 251"/>
                <a:gd name="T33" fmla="*/ 224 h 324"/>
                <a:gd name="T34" fmla="*/ 128 w 251"/>
                <a:gd name="T35" fmla="*/ 208 h 324"/>
                <a:gd name="T36" fmla="*/ 141 w 251"/>
                <a:gd name="T37" fmla="*/ 196 h 324"/>
                <a:gd name="T38" fmla="*/ 154 w 251"/>
                <a:gd name="T39" fmla="*/ 186 h 324"/>
                <a:gd name="T40" fmla="*/ 167 w 251"/>
                <a:gd name="T41" fmla="*/ 169 h 324"/>
                <a:gd name="T42" fmla="*/ 176 w 251"/>
                <a:gd name="T43" fmla="*/ 161 h 324"/>
                <a:gd name="T44" fmla="*/ 167 w 251"/>
                <a:gd name="T45" fmla="*/ 139 h 324"/>
                <a:gd name="T46" fmla="*/ 175 w 251"/>
                <a:gd name="T47" fmla="*/ 123 h 324"/>
                <a:gd name="T48" fmla="*/ 186 w 251"/>
                <a:gd name="T49" fmla="*/ 119 h 324"/>
                <a:gd name="T50" fmla="*/ 199 w 251"/>
                <a:gd name="T51" fmla="*/ 131 h 324"/>
                <a:gd name="T52" fmla="*/ 204 w 251"/>
                <a:gd name="T53" fmla="*/ 142 h 324"/>
                <a:gd name="T54" fmla="*/ 206 w 251"/>
                <a:gd name="T55" fmla="*/ 151 h 324"/>
                <a:gd name="T56" fmla="*/ 216 w 251"/>
                <a:gd name="T57" fmla="*/ 167 h 324"/>
                <a:gd name="T58" fmla="*/ 218 w 251"/>
                <a:gd name="T59" fmla="*/ 153 h 324"/>
                <a:gd name="T60" fmla="*/ 228 w 251"/>
                <a:gd name="T61" fmla="*/ 135 h 324"/>
                <a:gd name="T62" fmla="*/ 237 w 251"/>
                <a:gd name="T63" fmla="*/ 123 h 324"/>
                <a:gd name="T64" fmla="*/ 251 w 251"/>
                <a:gd name="T65" fmla="*/ 109 h 324"/>
                <a:gd name="T66" fmla="*/ 243 w 251"/>
                <a:gd name="T67" fmla="*/ 96 h 324"/>
                <a:gd name="T68" fmla="*/ 231 w 251"/>
                <a:gd name="T69" fmla="*/ 87 h 324"/>
                <a:gd name="T70" fmla="*/ 214 w 251"/>
                <a:gd name="T71" fmla="*/ 91 h 324"/>
                <a:gd name="T72" fmla="*/ 204 w 251"/>
                <a:gd name="T73" fmla="*/ 106 h 324"/>
                <a:gd name="T74" fmla="*/ 180 w 251"/>
                <a:gd name="T75" fmla="*/ 103 h 324"/>
                <a:gd name="T76" fmla="*/ 170 w 251"/>
                <a:gd name="T77" fmla="*/ 98 h 324"/>
                <a:gd name="T78" fmla="*/ 171 w 251"/>
                <a:gd name="T79" fmla="*/ 111 h 324"/>
                <a:gd name="T80" fmla="*/ 149 w 251"/>
                <a:gd name="T81" fmla="*/ 108 h 324"/>
                <a:gd name="T82" fmla="*/ 128 w 251"/>
                <a:gd name="T83" fmla="*/ 98 h 324"/>
                <a:gd name="T84" fmla="*/ 106 w 251"/>
                <a:gd name="T85" fmla="*/ 88 h 324"/>
                <a:gd name="T86" fmla="*/ 106 w 251"/>
                <a:gd name="T87" fmla="*/ 69 h 324"/>
                <a:gd name="T88" fmla="*/ 89 w 251"/>
                <a:gd name="T89" fmla="*/ 57 h 324"/>
                <a:gd name="T90" fmla="*/ 89 w 251"/>
                <a:gd name="T91" fmla="*/ 45 h 324"/>
                <a:gd name="T92" fmla="*/ 83 w 251"/>
                <a:gd name="T93" fmla="*/ 28 h 324"/>
                <a:gd name="T94" fmla="*/ 91 w 251"/>
                <a:gd name="T95" fmla="*/ 14 h 324"/>
                <a:gd name="T96" fmla="*/ 84 w 251"/>
                <a:gd name="T97" fmla="*/ 1 h 324"/>
                <a:gd name="T98" fmla="*/ 68 w 251"/>
                <a:gd name="T99" fmla="*/ 10 h 324"/>
                <a:gd name="T100" fmla="*/ 50 w 251"/>
                <a:gd name="T101" fmla="*/ 22 h 324"/>
                <a:gd name="T102" fmla="*/ 37 w 251"/>
                <a:gd name="T103" fmla="*/ 27 h 324"/>
                <a:gd name="T104" fmla="*/ 45 w 251"/>
                <a:gd name="T105" fmla="*/ 47 h 324"/>
                <a:gd name="T106" fmla="*/ 43 w 251"/>
                <a:gd name="T107" fmla="*/ 70 h 324"/>
                <a:gd name="T108" fmla="*/ 28 w 251"/>
                <a:gd name="T109" fmla="*/ 87 h 324"/>
                <a:gd name="T110" fmla="*/ 13 w 251"/>
                <a:gd name="T111" fmla="*/ 101 h 324"/>
                <a:gd name="T112" fmla="*/ 10 w 251"/>
                <a:gd name="T113" fmla="*/ 116 h 324"/>
                <a:gd name="T114" fmla="*/ 13 w 251"/>
                <a:gd name="T115" fmla="*/ 135 h 324"/>
                <a:gd name="T116" fmla="*/ 213 w 251"/>
                <a:gd name="T117" fmla="*/ 252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1" h="324">
                  <a:moveTo>
                    <a:pt x="213" y="262"/>
                  </a:moveTo>
                  <a:cubicBezTo>
                    <a:pt x="213" y="263"/>
                    <a:pt x="213" y="263"/>
                    <a:pt x="213" y="263"/>
                  </a:cubicBezTo>
                  <a:cubicBezTo>
                    <a:pt x="213" y="262"/>
                    <a:pt x="214" y="262"/>
                    <a:pt x="213" y="262"/>
                  </a:cubicBezTo>
                  <a:close/>
                  <a:moveTo>
                    <a:pt x="213" y="266"/>
                  </a:moveTo>
                  <a:cubicBezTo>
                    <a:pt x="213" y="266"/>
                    <a:pt x="213" y="268"/>
                    <a:pt x="213" y="268"/>
                  </a:cubicBezTo>
                  <a:cubicBezTo>
                    <a:pt x="215" y="269"/>
                    <a:pt x="214" y="266"/>
                    <a:pt x="213" y="266"/>
                  </a:cubicBezTo>
                  <a:close/>
                  <a:moveTo>
                    <a:pt x="211" y="272"/>
                  </a:moveTo>
                  <a:cubicBezTo>
                    <a:pt x="211" y="272"/>
                    <a:pt x="212" y="273"/>
                    <a:pt x="212" y="274"/>
                  </a:cubicBezTo>
                  <a:cubicBezTo>
                    <a:pt x="213" y="274"/>
                    <a:pt x="213" y="272"/>
                    <a:pt x="211" y="272"/>
                  </a:cubicBezTo>
                  <a:close/>
                  <a:moveTo>
                    <a:pt x="209" y="285"/>
                  </a:moveTo>
                  <a:cubicBezTo>
                    <a:pt x="209" y="286"/>
                    <a:pt x="209" y="286"/>
                    <a:pt x="209" y="286"/>
                  </a:cubicBezTo>
                  <a:cubicBezTo>
                    <a:pt x="212" y="287"/>
                    <a:pt x="211" y="285"/>
                    <a:pt x="209" y="285"/>
                  </a:cubicBezTo>
                  <a:close/>
                  <a:moveTo>
                    <a:pt x="218" y="322"/>
                  </a:moveTo>
                  <a:cubicBezTo>
                    <a:pt x="219" y="324"/>
                    <a:pt x="219" y="324"/>
                    <a:pt x="219" y="324"/>
                  </a:cubicBezTo>
                  <a:cubicBezTo>
                    <a:pt x="221" y="324"/>
                    <a:pt x="220" y="323"/>
                    <a:pt x="220" y="322"/>
                  </a:cubicBezTo>
                  <a:cubicBezTo>
                    <a:pt x="220" y="322"/>
                    <a:pt x="219" y="322"/>
                    <a:pt x="218" y="322"/>
                  </a:cubicBezTo>
                  <a:close/>
                  <a:moveTo>
                    <a:pt x="0" y="141"/>
                  </a:moveTo>
                  <a:cubicBezTo>
                    <a:pt x="1" y="141"/>
                    <a:pt x="1" y="141"/>
                    <a:pt x="1" y="141"/>
                  </a:cubicBezTo>
                  <a:cubicBezTo>
                    <a:pt x="1" y="142"/>
                    <a:pt x="1" y="141"/>
                    <a:pt x="0" y="142"/>
                  </a:cubicBezTo>
                  <a:cubicBezTo>
                    <a:pt x="1" y="145"/>
                    <a:pt x="1" y="147"/>
                    <a:pt x="1" y="149"/>
                  </a:cubicBezTo>
                  <a:cubicBezTo>
                    <a:pt x="4" y="150"/>
                    <a:pt x="10" y="154"/>
                    <a:pt x="16" y="152"/>
                  </a:cubicBezTo>
                  <a:cubicBezTo>
                    <a:pt x="18" y="151"/>
                    <a:pt x="18" y="148"/>
                    <a:pt x="19" y="147"/>
                  </a:cubicBezTo>
                  <a:cubicBezTo>
                    <a:pt x="20" y="147"/>
                    <a:pt x="21" y="148"/>
                    <a:pt x="21" y="147"/>
                  </a:cubicBezTo>
                  <a:cubicBezTo>
                    <a:pt x="20" y="149"/>
                    <a:pt x="20" y="151"/>
                    <a:pt x="19" y="153"/>
                  </a:cubicBezTo>
                  <a:cubicBezTo>
                    <a:pt x="18" y="153"/>
                    <a:pt x="17" y="153"/>
                    <a:pt x="16" y="154"/>
                  </a:cubicBezTo>
                  <a:cubicBezTo>
                    <a:pt x="15" y="155"/>
                    <a:pt x="16" y="157"/>
                    <a:pt x="15" y="157"/>
                  </a:cubicBezTo>
                  <a:cubicBezTo>
                    <a:pt x="14" y="158"/>
                    <a:pt x="12" y="157"/>
                    <a:pt x="11" y="157"/>
                  </a:cubicBezTo>
                  <a:cubicBezTo>
                    <a:pt x="11" y="157"/>
                    <a:pt x="10" y="159"/>
                    <a:pt x="9" y="159"/>
                  </a:cubicBezTo>
                  <a:cubicBezTo>
                    <a:pt x="8" y="160"/>
                    <a:pt x="8" y="158"/>
                    <a:pt x="7" y="159"/>
                  </a:cubicBezTo>
                  <a:cubicBezTo>
                    <a:pt x="6" y="159"/>
                    <a:pt x="6" y="160"/>
                    <a:pt x="5" y="160"/>
                  </a:cubicBezTo>
                  <a:cubicBezTo>
                    <a:pt x="6" y="161"/>
                    <a:pt x="7" y="163"/>
                    <a:pt x="7" y="164"/>
                  </a:cubicBezTo>
                  <a:cubicBezTo>
                    <a:pt x="11" y="169"/>
                    <a:pt x="15" y="172"/>
                    <a:pt x="18" y="177"/>
                  </a:cubicBezTo>
                  <a:cubicBezTo>
                    <a:pt x="19" y="177"/>
                    <a:pt x="20" y="177"/>
                    <a:pt x="21" y="177"/>
                  </a:cubicBezTo>
                  <a:cubicBezTo>
                    <a:pt x="22" y="177"/>
                    <a:pt x="23" y="175"/>
                    <a:pt x="23" y="175"/>
                  </a:cubicBezTo>
                  <a:cubicBezTo>
                    <a:pt x="27" y="173"/>
                    <a:pt x="31" y="172"/>
                    <a:pt x="32" y="167"/>
                  </a:cubicBezTo>
                  <a:cubicBezTo>
                    <a:pt x="33" y="163"/>
                    <a:pt x="31" y="161"/>
                    <a:pt x="33" y="157"/>
                  </a:cubicBezTo>
                  <a:cubicBezTo>
                    <a:pt x="34" y="157"/>
                    <a:pt x="34" y="157"/>
                    <a:pt x="34" y="157"/>
                  </a:cubicBezTo>
                  <a:cubicBezTo>
                    <a:pt x="34" y="158"/>
                    <a:pt x="34" y="158"/>
                    <a:pt x="35" y="158"/>
                  </a:cubicBezTo>
                  <a:cubicBezTo>
                    <a:pt x="35" y="159"/>
                    <a:pt x="35" y="159"/>
                    <a:pt x="35" y="160"/>
                  </a:cubicBezTo>
                  <a:cubicBezTo>
                    <a:pt x="35" y="159"/>
                    <a:pt x="36" y="161"/>
                    <a:pt x="36" y="161"/>
                  </a:cubicBezTo>
                  <a:cubicBezTo>
                    <a:pt x="36" y="162"/>
                    <a:pt x="35" y="162"/>
                    <a:pt x="35" y="164"/>
                  </a:cubicBezTo>
                  <a:cubicBezTo>
                    <a:pt x="37" y="165"/>
                    <a:pt x="37" y="166"/>
                    <a:pt x="36" y="166"/>
                  </a:cubicBezTo>
                  <a:cubicBezTo>
                    <a:pt x="36" y="166"/>
                    <a:pt x="37" y="167"/>
                    <a:pt x="35" y="167"/>
                  </a:cubicBezTo>
                  <a:cubicBezTo>
                    <a:pt x="35" y="167"/>
                    <a:pt x="35" y="169"/>
                    <a:pt x="36" y="168"/>
                  </a:cubicBezTo>
                  <a:cubicBezTo>
                    <a:pt x="36" y="170"/>
                    <a:pt x="36" y="170"/>
                    <a:pt x="36" y="170"/>
                  </a:cubicBezTo>
                  <a:cubicBezTo>
                    <a:pt x="37" y="172"/>
                    <a:pt x="39" y="172"/>
                    <a:pt x="39" y="175"/>
                  </a:cubicBezTo>
                  <a:cubicBezTo>
                    <a:pt x="37" y="176"/>
                    <a:pt x="37" y="176"/>
                    <a:pt x="37" y="176"/>
                  </a:cubicBezTo>
                  <a:cubicBezTo>
                    <a:pt x="37" y="177"/>
                    <a:pt x="34" y="187"/>
                    <a:pt x="34" y="187"/>
                  </a:cubicBezTo>
                  <a:cubicBezTo>
                    <a:pt x="34" y="188"/>
                    <a:pt x="37" y="190"/>
                    <a:pt x="37" y="191"/>
                  </a:cubicBezTo>
                  <a:cubicBezTo>
                    <a:pt x="38" y="192"/>
                    <a:pt x="36" y="193"/>
                    <a:pt x="37" y="193"/>
                  </a:cubicBezTo>
                  <a:cubicBezTo>
                    <a:pt x="39" y="194"/>
                    <a:pt x="37" y="198"/>
                    <a:pt x="37" y="200"/>
                  </a:cubicBezTo>
                  <a:cubicBezTo>
                    <a:pt x="38" y="200"/>
                    <a:pt x="38" y="200"/>
                    <a:pt x="38" y="200"/>
                  </a:cubicBezTo>
                  <a:cubicBezTo>
                    <a:pt x="38" y="203"/>
                    <a:pt x="37" y="209"/>
                    <a:pt x="39" y="210"/>
                  </a:cubicBezTo>
                  <a:cubicBezTo>
                    <a:pt x="39" y="210"/>
                    <a:pt x="38" y="211"/>
                    <a:pt x="39" y="212"/>
                  </a:cubicBezTo>
                  <a:cubicBezTo>
                    <a:pt x="39" y="212"/>
                    <a:pt x="40" y="214"/>
                    <a:pt x="41" y="215"/>
                  </a:cubicBezTo>
                  <a:cubicBezTo>
                    <a:pt x="41" y="218"/>
                    <a:pt x="41" y="220"/>
                    <a:pt x="41" y="224"/>
                  </a:cubicBezTo>
                  <a:cubicBezTo>
                    <a:pt x="43" y="231"/>
                    <a:pt x="48" y="237"/>
                    <a:pt x="49" y="244"/>
                  </a:cubicBezTo>
                  <a:cubicBezTo>
                    <a:pt x="51" y="250"/>
                    <a:pt x="50" y="253"/>
                    <a:pt x="51" y="260"/>
                  </a:cubicBezTo>
                  <a:cubicBezTo>
                    <a:pt x="51" y="260"/>
                    <a:pt x="53" y="262"/>
                    <a:pt x="53" y="263"/>
                  </a:cubicBezTo>
                  <a:cubicBezTo>
                    <a:pt x="54" y="265"/>
                    <a:pt x="53" y="266"/>
                    <a:pt x="54" y="268"/>
                  </a:cubicBezTo>
                  <a:cubicBezTo>
                    <a:pt x="55" y="269"/>
                    <a:pt x="57" y="269"/>
                    <a:pt x="57" y="270"/>
                  </a:cubicBezTo>
                  <a:cubicBezTo>
                    <a:pt x="58" y="272"/>
                    <a:pt x="57" y="273"/>
                    <a:pt x="58" y="274"/>
                  </a:cubicBezTo>
                  <a:cubicBezTo>
                    <a:pt x="59" y="276"/>
                    <a:pt x="61" y="277"/>
                    <a:pt x="61" y="279"/>
                  </a:cubicBezTo>
                  <a:cubicBezTo>
                    <a:pt x="62" y="281"/>
                    <a:pt x="62" y="283"/>
                    <a:pt x="63" y="285"/>
                  </a:cubicBezTo>
                  <a:cubicBezTo>
                    <a:pt x="63" y="287"/>
                    <a:pt x="67" y="289"/>
                    <a:pt x="67" y="291"/>
                  </a:cubicBezTo>
                  <a:cubicBezTo>
                    <a:pt x="67" y="293"/>
                    <a:pt x="66" y="294"/>
                    <a:pt x="65" y="295"/>
                  </a:cubicBezTo>
                  <a:cubicBezTo>
                    <a:pt x="68" y="300"/>
                    <a:pt x="72" y="306"/>
                    <a:pt x="75" y="311"/>
                  </a:cubicBezTo>
                  <a:cubicBezTo>
                    <a:pt x="77" y="311"/>
                    <a:pt x="78" y="312"/>
                    <a:pt x="79" y="311"/>
                  </a:cubicBezTo>
                  <a:cubicBezTo>
                    <a:pt x="82" y="309"/>
                    <a:pt x="81" y="305"/>
                    <a:pt x="83" y="303"/>
                  </a:cubicBezTo>
                  <a:cubicBezTo>
                    <a:pt x="84" y="303"/>
                    <a:pt x="86" y="303"/>
                    <a:pt x="87" y="302"/>
                  </a:cubicBezTo>
                  <a:cubicBezTo>
                    <a:pt x="87" y="302"/>
                    <a:pt x="86" y="300"/>
                    <a:pt x="87" y="300"/>
                  </a:cubicBezTo>
                  <a:cubicBezTo>
                    <a:pt x="87" y="300"/>
                    <a:pt x="92" y="291"/>
                    <a:pt x="92" y="291"/>
                  </a:cubicBezTo>
                  <a:cubicBezTo>
                    <a:pt x="93" y="291"/>
                    <a:pt x="95" y="291"/>
                    <a:pt x="96" y="291"/>
                  </a:cubicBezTo>
                  <a:cubicBezTo>
                    <a:pt x="95" y="286"/>
                    <a:pt x="93" y="279"/>
                    <a:pt x="94" y="276"/>
                  </a:cubicBezTo>
                  <a:cubicBezTo>
                    <a:pt x="95" y="274"/>
                    <a:pt x="97" y="273"/>
                    <a:pt x="98" y="272"/>
                  </a:cubicBezTo>
                  <a:cubicBezTo>
                    <a:pt x="99" y="270"/>
                    <a:pt x="98" y="268"/>
                    <a:pt x="98" y="266"/>
                  </a:cubicBezTo>
                  <a:cubicBezTo>
                    <a:pt x="100" y="266"/>
                    <a:pt x="100" y="266"/>
                    <a:pt x="100" y="266"/>
                  </a:cubicBezTo>
                  <a:cubicBezTo>
                    <a:pt x="100" y="263"/>
                    <a:pt x="99" y="261"/>
                    <a:pt x="98" y="260"/>
                  </a:cubicBezTo>
                  <a:cubicBezTo>
                    <a:pt x="98" y="254"/>
                    <a:pt x="97" y="250"/>
                    <a:pt x="98" y="244"/>
                  </a:cubicBezTo>
                  <a:cubicBezTo>
                    <a:pt x="98" y="242"/>
                    <a:pt x="100" y="240"/>
                    <a:pt x="100" y="238"/>
                  </a:cubicBezTo>
                  <a:cubicBezTo>
                    <a:pt x="99" y="238"/>
                    <a:pt x="99" y="238"/>
                    <a:pt x="99" y="238"/>
                  </a:cubicBezTo>
                  <a:cubicBezTo>
                    <a:pt x="99" y="236"/>
                    <a:pt x="98" y="234"/>
                    <a:pt x="98" y="232"/>
                  </a:cubicBezTo>
                  <a:cubicBezTo>
                    <a:pt x="99" y="231"/>
                    <a:pt x="100" y="230"/>
                    <a:pt x="100" y="230"/>
                  </a:cubicBezTo>
                  <a:cubicBezTo>
                    <a:pt x="103" y="228"/>
                    <a:pt x="103" y="229"/>
                    <a:pt x="106" y="228"/>
                  </a:cubicBezTo>
                  <a:cubicBezTo>
                    <a:pt x="108" y="228"/>
                    <a:pt x="108" y="225"/>
                    <a:pt x="109" y="224"/>
                  </a:cubicBezTo>
                  <a:cubicBezTo>
                    <a:pt x="111" y="223"/>
                    <a:pt x="114" y="224"/>
                    <a:pt x="115" y="222"/>
                  </a:cubicBezTo>
                  <a:cubicBezTo>
                    <a:pt x="117" y="220"/>
                    <a:pt x="116" y="215"/>
                    <a:pt x="119" y="213"/>
                  </a:cubicBezTo>
                  <a:cubicBezTo>
                    <a:pt x="121" y="212"/>
                    <a:pt x="123" y="213"/>
                    <a:pt x="126" y="212"/>
                  </a:cubicBezTo>
                  <a:cubicBezTo>
                    <a:pt x="126" y="211"/>
                    <a:pt x="126" y="211"/>
                    <a:pt x="126" y="211"/>
                  </a:cubicBezTo>
                  <a:cubicBezTo>
                    <a:pt x="127" y="210"/>
                    <a:pt x="127" y="209"/>
                    <a:pt x="128" y="208"/>
                  </a:cubicBezTo>
                  <a:cubicBezTo>
                    <a:pt x="130" y="207"/>
                    <a:pt x="132" y="208"/>
                    <a:pt x="134" y="207"/>
                  </a:cubicBezTo>
                  <a:cubicBezTo>
                    <a:pt x="135" y="206"/>
                    <a:pt x="134" y="204"/>
                    <a:pt x="135" y="203"/>
                  </a:cubicBezTo>
                  <a:cubicBezTo>
                    <a:pt x="136" y="202"/>
                    <a:pt x="138" y="201"/>
                    <a:pt x="138" y="200"/>
                  </a:cubicBezTo>
                  <a:cubicBezTo>
                    <a:pt x="139" y="199"/>
                    <a:pt x="139" y="198"/>
                    <a:pt x="140" y="196"/>
                  </a:cubicBezTo>
                  <a:cubicBezTo>
                    <a:pt x="141" y="196"/>
                    <a:pt x="141" y="196"/>
                    <a:pt x="141" y="196"/>
                  </a:cubicBezTo>
                  <a:cubicBezTo>
                    <a:pt x="141" y="195"/>
                    <a:pt x="141" y="195"/>
                    <a:pt x="141" y="195"/>
                  </a:cubicBezTo>
                  <a:cubicBezTo>
                    <a:pt x="141" y="194"/>
                    <a:pt x="144" y="194"/>
                    <a:pt x="144" y="193"/>
                  </a:cubicBezTo>
                  <a:cubicBezTo>
                    <a:pt x="146" y="189"/>
                    <a:pt x="146" y="189"/>
                    <a:pt x="146" y="189"/>
                  </a:cubicBezTo>
                  <a:cubicBezTo>
                    <a:pt x="147" y="189"/>
                    <a:pt x="149" y="190"/>
                    <a:pt x="150" y="189"/>
                  </a:cubicBezTo>
                  <a:cubicBezTo>
                    <a:pt x="151" y="189"/>
                    <a:pt x="153" y="186"/>
                    <a:pt x="154" y="186"/>
                  </a:cubicBezTo>
                  <a:cubicBezTo>
                    <a:pt x="155" y="185"/>
                    <a:pt x="156" y="186"/>
                    <a:pt x="157" y="185"/>
                  </a:cubicBezTo>
                  <a:cubicBezTo>
                    <a:pt x="162" y="181"/>
                    <a:pt x="159" y="180"/>
                    <a:pt x="160" y="174"/>
                  </a:cubicBezTo>
                  <a:cubicBezTo>
                    <a:pt x="160" y="174"/>
                    <a:pt x="163" y="172"/>
                    <a:pt x="163" y="171"/>
                  </a:cubicBezTo>
                  <a:cubicBezTo>
                    <a:pt x="163" y="171"/>
                    <a:pt x="163" y="169"/>
                    <a:pt x="163" y="169"/>
                  </a:cubicBezTo>
                  <a:cubicBezTo>
                    <a:pt x="164" y="168"/>
                    <a:pt x="166" y="169"/>
                    <a:pt x="167" y="169"/>
                  </a:cubicBezTo>
                  <a:cubicBezTo>
                    <a:pt x="168" y="168"/>
                    <a:pt x="169" y="166"/>
                    <a:pt x="169" y="166"/>
                  </a:cubicBezTo>
                  <a:cubicBezTo>
                    <a:pt x="170" y="166"/>
                    <a:pt x="169" y="166"/>
                    <a:pt x="170" y="167"/>
                  </a:cubicBezTo>
                  <a:cubicBezTo>
                    <a:pt x="172" y="167"/>
                    <a:pt x="172" y="167"/>
                    <a:pt x="174" y="167"/>
                  </a:cubicBezTo>
                  <a:cubicBezTo>
                    <a:pt x="174" y="164"/>
                    <a:pt x="174" y="164"/>
                    <a:pt x="174" y="164"/>
                  </a:cubicBezTo>
                  <a:cubicBezTo>
                    <a:pt x="176" y="161"/>
                    <a:pt x="176" y="161"/>
                    <a:pt x="176" y="161"/>
                  </a:cubicBezTo>
                  <a:cubicBezTo>
                    <a:pt x="176" y="155"/>
                    <a:pt x="176" y="155"/>
                    <a:pt x="176" y="155"/>
                  </a:cubicBezTo>
                  <a:cubicBezTo>
                    <a:pt x="173" y="151"/>
                    <a:pt x="173" y="151"/>
                    <a:pt x="173" y="151"/>
                  </a:cubicBezTo>
                  <a:cubicBezTo>
                    <a:pt x="175" y="145"/>
                    <a:pt x="175" y="145"/>
                    <a:pt x="175" y="145"/>
                  </a:cubicBezTo>
                  <a:cubicBezTo>
                    <a:pt x="173" y="142"/>
                    <a:pt x="173" y="142"/>
                    <a:pt x="173" y="142"/>
                  </a:cubicBezTo>
                  <a:cubicBezTo>
                    <a:pt x="167" y="139"/>
                    <a:pt x="167" y="139"/>
                    <a:pt x="167" y="139"/>
                  </a:cubicBezTo>
                  <a:cubicBezTo>
                    <a:pt x="167" y="137"/>
                    <a:pt x="167" y="137"/>
                    <a:pt x="167" y="137"/>
                  </a:cubicBezTo>
                  <a:cubicBezTo>
                    <a:pt x="166" y="130"/>
                    <a:pt x="166" y="130"/>
                    <a:pt x="166" y="130"/>
                  </a:cubicBezTo>
                  <a:cubicBezTo>
                    <a:pt x="169" y="128"/>
                    <a:pt x="169" y="128"/>
                    <a:pt x="169" y="128"/>
                  </a:cubicBezTo>
                  <a:cubicBezTo>
                    <a:pt x="173" y="126"/>
                    <a:pt x="173" y="126"/>
                    <a:pt x="173" y="126"/>
                  </a:cubicBezTo>
                  <a:cubicBezTo>
                    <a:pt x="175" y="123"/>
                    <a:pt x="175" y="123"/>
                    <a:pt x="175" y="123"/>
                  </a:cubicBezTo>
                  <a:cubicBezTo>
                    <a:pt x="171" y="118"/>
                    <a:pt x="171" y="118"/>
                    <a:pt x="171" y="118"/>
                  </a:cubicBezTo>
                  <a:cubicBezTo>
                    <a:pt x="173" y="114"/>
                    <a:pt x="173" y="114"/>
                    <a:pt x="173" y="114"/>
                  </a:cubicBezTo>
                  <a:cubicBezTo>
                    <a:pt x="178" y="118"/>
                    <a:pt x="178" y="118"/>
                    <a:pt x="178" y="118"/>
                  </a:cubicBezTo>
                  <a:cubicBezTo>
                    <a:pt x="182" y="117"/>
                    <a:pt x="182" y="117"/>
                    <a:pt x="182" y="117"/>
                  </a:cubicBezTo>
                  <a:cubicBezTo>
                    <a:pt x="186" y="119"/>
                    <a:pt x="186" y="119"/>
                    <a:pt x="186" y="119"/>
                  </a:cubicBezTo>
                  <a:cubicBezTo>
                    <a:pt x="185" y="125"/>
                    <a:pt x="185" y="125"/>
                    <a:pt x="185" y="125"/>
                  </a:cubicBezTo>
                  <a:cubicBezTo>
                    <a:pt x="185" y="132"/>
                    <a:pt x="185" y="132"/>
                    <a:pt x="185" y="132"/>
                  </a:cubicBezTo>
                  <a:cubicBezTo>
                    <a:pt x="188" y="132"/>
                    <a:pt x="188" y="132"/>
                    <a:pt x="188" y="132"/>
                  </a:cubicBezTo>
                  <a:cubicBezTo>
                    <a:pt x="194" y="132"/>
                    <a:pt x="194" y="132"/>
                    <a:pt x="194" y="132"/>
                  </a:cubicBezTo>
                  <a:cubicBezTo>
                    <a:pt x="199" y="131"/>
                    <a:pt x="199" y="131"/>
                    <a:pt x="199" y="131"/>
                  </a:cubicBezTo>
                  <a:cubicBezTo>
                    <a:pt x="204" y="130"/>
                    <a:pt x="204" y="130"/>
                    <a:pt x="204" y="130"/>
                  </a:cubicBezTo>
                  <a:cubicBezTo>
                    <a:pt x="210" y="130"/>
                    <a:pt x="210" y="130"/>
                    <a:pt x="210" y="130"/>
                  </a:cubicBezTo>
                  <a:cubicBezTo>
                    <a:pt x="205" y="133"/>
                    <a:pt x="205" y="133"/>
                    <a:pt x="205" y="133"/>
                  </a:cubicBezTo>
                  <a:cubicBezTo>
                    <a:pt x="206" y="137"/>
                    <a:pt x="206" y="137"/>
                    <a:pt x="206" y="137"/>
                  </a:cubicBezTo>
                  <a:cubicBezTo>
                    <a:pt x="205" y="138"/>
                    <a:pt x="204" y="142"/>
                    <a:pt x="204" y="142"/>
                  </a:cubicBezTo>
                  <a:cubicBezTo>
                    <a:pt x="202" y="146"/>
                    <a:pt x="202" y="146"/>
                    <a:pt x="202" y="146"/>
                  </a:cubicBezTo>
                  <a:cubicBezTo>
                    <a:pt x="200" y="152"/>
                    <a:pt x="200" y="152"/>
                    <a:pt x="200" y="152"/>
                  </a:cubicBezTo>
                  <a:cubicBezTo>
                    <a:pt x="201" y="155"/>
                    <a:pt x="201" y="155"/>
                    <a:pt x="201" y="155"/>
                  </a:cubicBezTo>
                  <a:cubicBezTo>
                    <a:pt x="205" y="155"/>
                    <a:pt x="205" y="155"/>
                    <a:pt x="205" y="155"/>
                  </a:cubicBezTo>
                  <a:cubicBezTo>
                    <a:pt x="206" y="151"/>
                    <a:pt x="206" y="151"/>
                    <a:pt x="206" y="151"/>
                  </a:cubicBezTo>
                  <a:cubicBezTo>
                    <a:pt x="210" y="157"/>
                    <a:pt x="210" y="157"/>
                    <a:pt x="210" y="157"/>
                  </a:cubicBezTo>
                  <a:cubicBezTo>
                    <a:pt x="210" y="162"/>
                    <a:pt x="210" y="162"/>
                    <a:pt x="210" y="162"/>
                  </a:cubicBezTo>
                  <a:cubicBezTo>
                    <a:pt x="211" y="166"/>
                    <a:pt x="211" y="166"/>
                    <a:pt x="211" y="166"/>
                  </a:cubicBezTo>
                  <a:cubicBezTo>
                    <a:pt x="214" y="165"/>
                    <a:pt x="214" y="165"/>
                    <a:pt x="214" y="165"/>
                  </a:cubicBezTo>
                  <a:cubicBezTo>
                    <a:pt x="216" y="167"/>
                    <a:pt x="216" y="167"/>
                    <a:pt x="216" y="167"/>
                  </a:cubicBezTo>
                  <a:cubicBezTo>
                    <a:pt x="218" y="165"/>
                    <a:pt x="218" y="165"/>
                    <a:pt x="218" y="165"/>
                  </a:cubicBezTo>
                  <a:cubicBezTo>
                    <a:pt x="219" y="163"/>
                    <a:pt x="219" y="163"/>
                    <a:pt x="219" y="163"/>
                  </a:cubicBezTo>
                  <a:cubicBezTo>
                    <a:pt x="220" y="161"/>
                    <a:pt x="220" y="161"/>
                    <a:pt x="220" y="161"/>
                  </a:cubicBezTo>
                  <a:cubicBezTo>
                    <a:pt x="219" y="156"/>
                    <a:pt x="219" y="156"/>
                    <a:pt x="219" y="156"/>
                  </a:cubicBezTo>
                  <a:cubicBezTo>
                    <a:pt x="218" y="153"/>
                    <a:pt x="218" y="153"/>
                    <a:pt x="218" y="153"/>
                  </a:cubicBezTo>
                  <a:cubicBezTo>
                    <a:pt x="218" y="144"/>
                    <a:pt x="218" y="144"/>
                    <a:pt x="218" y="144"/>
                  </a:cubicBezTo>
                  <a:cubicBezTo>
                    <a:pt x="223" y="148"/>
                    <a:pt x="223" y="148"/>
                    <a:pt x="223" y="148"/>
                  </a:cubicBezTo>
                  <a:cubicBezTo>
                    <a:pt x="225" y="142"/>
                    <a:pt x="225" y="142"/>
                    <a:pt x="225" y="142"/>
                  </a:cubicBezTo>
                  <a:cubicBezTo>
                    <a:pt x="228" y="137"/>
                    <a:pt x="228" y="137"/>
                    <a:pt x="228" y="137"/>
                  </a:cubicBezTo>
                  <a:cubicBezTo>
                    <a:pt x="228" y="135"/>
                    <a:pt x="228" y="135"/>
                    <a:pt x="228" y="135"/>
                  </a:cubicBezTo>
                  <a:cubicBezTo>
                    <a:pt x="226" y="133"/>
                    <a:pt x="226" y="133"/>
                    <a:pt x="226" y="133"/>
                  </a:cubicBezTo>
                  <a:cubicBezTo>
                    <a:pt x="227" y="132"/>
                    <a:pt x="227" y="132"/>
                    <a:pt x="227" y="132"/>
                  </a:cubicBezTo>
                  <a:cubicBezTo>
                    <a:pt x="231" y="130"/>
                    <a:pt x="231" y="130"/>
                    <a:pt x="231" y="130"/>
                  </a:cubicBezTo>
                  <a:cubicBezTo>
                    <a:pt x="233" y="126"/>
                    <a:pt x="233" y="126"/>
                    <a:pt x="233" y="126"/>
                  </a:cubicBezTo>
                  <a:cubicBezTo>
                    <a:pt x="237" y="123"/>
                    <a:pt x="237" y="123"/>
                    <a:pt x="237" y="123"/>
                  </a:cubicBezTo>
                  <a:cubicBezTo>
                    <a:pt x="237" y="120"/>
                    <a:pt x="237" y="120"/>
                    <a:pt x="237" y="120"/>
                  </a:cubicBezTo>
                  <a:cubicBezTo>
                    <a:pt x="240" y="115"/>
                    <a:pt x="240" y="115"/>
                    <a:pt x="240" y="115"/>
                  </a:cubicBezTo>
                  <a:cubicBezTo>
                    <a:pt x="245" y="114"/>
                    <a:pt x="245" y="114"/>
                    <a:pt x="245" y="114"/>
                  </a:cubicBezTo>
                  <a:cubicBezTo>
                    <a:pt x="248" y="115"/>
                    <a:pt x="248" y="115"/>
                    <a:pt x="248" y="115"/>
                  </a:cubicBezTo>
                  <a:cubicBezTo>
                    <a:pt x="251" y="109"/>
                    <a:pt x="251" y="109"/>
                    <a:pt x="251" y="109"/>
                  </a:cubicBezTo>
                  <a:cubicBezTo>
                    <a:pt x="251" y="104"/>
                    <a:pt x="251" y="104"/>
                    <a:pt x="251" y="104"/>
                  </a:cubicBezTo>
                  <a:cubicBezTo>
                    <a:pt x="250" y="101"/>
                    <a:pt x="250" y="101"/>
                    <a:pt x="250" y="101"/>
                  </a:cubicBezTo>
                  <a:cubicBezTo>
                    <a:pt x="249" y="98"/>
                    <a:pt x="249" y="98"/>
                    <a:pt x="249" y="98"/>
                  </a:cubicBezTo>
                  <a:cubicBezTo>
                    <a:pt x="246" y="97"/>
                    <a:pt x="246" y="97"/>
                    <a:pt x="246" y="97"/>
                  </a:cubicBezTo>
                  <a:cubicBezTo>
                    <a:pt x="243" y="96"/>
                    <a:pt x="243" y="96"/>
                    <a:pt x="243" y="96"/>
                  </a:cubicBezTo>
                  <a:cubicBezTo>
                    <a:pt x="241" y="95"/>
                    <a:pt x="241" y="95"/>
                    <a:pt x="241" y="95"/>
                  </a:cubicBezTo>
                  <a:cubicBezTo>
                    <a:pt x="238" y="96"/>
                    <a:pt x="238" y="96"/>
                    <a:pt x="238" y="96"/>
                  </a:cubicBezTo>
                  <a:cubicBezTo>
                    <a:pt x="236" y="94"/>
                    <a:pt x="236" y="94"/>
                    <a:pt x="236" y="94"/>
                  </a:cubicBezTo>
                  <a:cubicBezTo>
                    <a:pt x="236" y="89"/>
                    <a:pt x="236" y="89"/>
                    <a:pt x="236" y="89"/>
                  </a:cubicBezTo>
                  <a:cubicBezTo>
                    <a:pt x="231" y="87"/>
                    <a:pt x="231" y="87"/>
                    <a:pt x="231" y="87"/>
                  </a:cubicBezTo>
                  <a:cubicBezTo>
                    <a:pt x="228" y="87"/>
                    <a:pt x="228" y="87"/>
                    <a:pt x="228" y="87"/>
                  </a:cubicBezTo>
                  <a:cubicBezTo>
                    <a:pt x="224" y="90"/>
                    <a:pt x="224" y="90"/>
                    <a:pt x="224" y="90"/>
                  </a:cubicBezTo>
                  <a:cubicBezTo>
                    <a:pt x="221" y="89"/>
                    <a:pt x="221" y="89"/>
                    <a:pt x="221" y="89"/>
                  </a:cubicBezTo>
                  <a:cubicBezTo>
                    <a:pt x="217" y="89"/>
                    <a:pt x="217" y="89"/>
                    <a:pt x="217" y="89"/>
                  </a:cubicBezTo>
                  <a:cubicBezTo>
                    <a:pt x="214" y="91"/>
                    <a:pt x="214" y="91"/>
                    <a:pt x="214" y="91"/>
                  </a:cubicBezTo>
                  <a:cubicBezTo>
                    <a:pt x="209" y="94"/>
                    <a:pt x="209" y="94"/>
                    <a:pt x="209" y="94"/>
                  </a:cubicBezTo>
                  <a:cubicBezTo>
                    <a:pt x="205" y="95"/>
                    <a:pt x="205" y="95"/>
                    <a:pt x="205" y="95"/>
                  </a:cubicBezTo>
                  <a:cubicBezTo>
                    <a:pt x="206" y="101"/>
                    <a:pt x="206" y="101"/>
                    <a:pt x="206" y="101"/>
                  </a:cubicBezTo>
                  <a:cubicBezTo>
                    <a:pt x="206" y="105"/>
                    <a:pt x="206" y="105"/>
                    <a:pt x="206" y="105"/>
                  </a:cubicBezTo>
                  <a:cubicBezTo>
                    <a:pt x="204" y="106"/>
                    <a:pt x="204" y="106"/>
                    <a:pt x="204" y="106"/>
                  </a:cubicBezTo>
                  <a:cubicBezTo>
                    <a:pt x="196" y="107"/>
                    <a:pt x="196" y="107"/>
                    <a:pt x="196" y="107"/>
                  </a:cubicBezTo>
                  <a:cubicBezTo>
                    <a:pt x="191" y="105"/>
                    <a:pt x="191" y="105"/>
                    <a:pt x="191" y="105"/>
                  </a:cubicBezTo>
                  <a:cubicBezTo>
                    <a:pt x="187" y="106"/>
                    <a:pt x="187" y="106"/>
                    <a:pt x="187" y="106"/>
                  </a:cubicBezTo>
                  <a:cubicBezTo>
                    <a:pt x="183" y="107"/>
                    <a:pt x="183" y="107"/>
                    <a:pt x="183" y="107"/>
                  </a:cubicBezTo>
                  <a:cubicBezTo>
                    <a:pt x="180" y="103"/>
                    <a:pt x="180" y="103"/>
                    <a:pt x="180" y="103"/>
                  </a:cubicBezTo>
                  <a:cubicBezTo>
                    <a:pt x="181" y="99"/>
                    <a:pt x="181" y="99"/>
                    <a:pt x="181" y="99"/>
                  </a:cubicBezTo>
                  <a:cubicBezTo>
                    <a:pt x="179" y="101"/>
                    <a:pt x="179" y="101"/>
                    <a:pt x="179" y="101"/>
                  </a:cubicBezTo>
                  <a:cubicBezTo>
                    <a:pt x="177" y="97"/>
                    <a:pt x="177" y="97"/>
                    <a:pt x="177" y="97"/>
                  </a:cubicBezTo>
                  <a:cubicBezTo>
                    <a:pt x="173" y="96"/>
                    <a:pt x="173" y="96"/>
                    <a:pt x="173" y="96"/>
                  </a:cubicBezTo>
                  <a:cubicBezTo>
                    <a:pt x="170" y="98"/>
                    <a:pt x="170" y="98"/>
                    <a:pt x="170" y="98"/>
                  </a:cubicBezTo>
                  <a:cubicBezTo>
                    <a:pt x="171" y="98"/>
                    <a:pt x="171" y="98"/>
                    <a:pt x="171" y="98"/>
                  </a:cubicBezTo>
                  <a:cubicBezTo>
                    <a:pt x="170" y="103"/>
                    <a:pt x="170" y="103"/>
                    <a:pt x="170" y="103"/>
                  </a:cubicBezTo>
                  <a:cubicBezTo>
                    <a:pt x="169" y="106"/>
                    <a:pt x="169" y="106"/>
                    <a:pt x="169" y="106"/>
                  </a:cubicBezTo>
                  <a:cubicBezTo>
                    <a:pt x="171" y="108"/>
                    <a:pt x="171" y="108"/>
                    <a:pt x="171" y="108"/>
                  </a:cubicBezTo>
                  <a:cubicBezTo>
                    <a:pt x="171" y="111"/>
                    <a:pt x="171" y="111"/>
                    <a:pt x="171" y="111"/>
                  </a:cubicBezTo>
                  <a:cubicBezTo>
                    <a:pt x="169" y="113"/>
                    <a:pt x="169" y="113"/>
                    <a:pt x="169" y="113"/>
                  </a:cubicBezTo>
                  <a:cubicBezTo>
                    <a:pt x="165" y="114"/>
                    <a:pt x="165" y="114"/>
                    <a:pt x="165" y="114"/>
                  </a:cubicBezTo>
                  <a:cubicBezTo>
                    <a:pt x="161" y="112"/>
                    <a:pt x="161" y="112"/>
                    <a:pt x="161" y="112"/>
                  </a:cubicBezTo>
                  <a:cubicBezTo>
                    <a:pt x="156" y="112"/>
                    <a:pt x="156" y="112"/>
                    <a:pt x="156" y="112"/>
                  </a:cubicBezTo>
                  <a:cubicBezTo>
                    <a:pt x="149" y="108"/>
                    <a:pt x="149" y="108"/>
                    <a:pt x="149" y="108"/>
                  </a:cubicBezTo>
                  <a:cubicBezTo>
                    <a:pt x="142" y="108"/>
                    <a:pt x="142" y="108"/>
                    <a:pt x="142" y="108"/>
                  </a:cubicBezTo>
                  <a:cubicBezTo>
                    <a:pt x="138" y="104"/>
                    <a:pt x="138" y="104"/>
                    <a:pt x="138" y="104"/>
                  </a:cubicBezTo>
                  <a:cubicBezTo>
                    <a:pt x="134" y="104"/>
                    <a:pt x="134" y="104"/>
                    <a:pt x="134" y="104"/>
                  </a:cubicBezTo>
                  <a:cubicBezTo>
                    <a:pt x="132" y="101"/>
                    <a:pt x="132" y="101"/>
                    <a:pt x="132" y="101"/>
                  </a:cubicBezTo>
                  <a:cubicBezTo>
                    <a:pt x="128" y="98"/>
                    <a:pt x="128" y="98"/>
                    <a:pt x="128" y="98"/>
                  </a:cubicBezTo>
                  <a:cubicBezTo>
                    <a:pt x="123" y="98"/>
                    <a:pt x="123" y="98"/>
                    <a:pt x="123" y="98"/>
                  </a:cubicBezTo>
                  <a:cubicBezTo>
                    <a:pt x="117" y="95"/>
                    <a:pt x="117" y="95"/>
                    <a:pt x="117" y="95"/>
                  </a:cubicBezTo>
                  <a:cubicBezTo>
                    <a:pt x="112" y="93"/>
                    <a:pt x="112" y="93"/>
                    <a:pt x="112" y="93"/>
                  </a:cubicBezTo>
                  <a:cubicBezTo>
                    <a:pt x="108" y="91"/>
                    <a:pt x="108" y="91"/>
                    <a:pt x="108" y="91"/>
                  </a:cubicBezTo>
                  <a:cubicBezTo>
                    <a:pt x="106" y="88"/>
                    <a:pt x="106" y="88"/>
                    <a:pt x="106" y="88"/>
                  </a:cubicBezTo>
                  <a:cubicBezTo>
                    <a:pt x="101" y="86"/>
                    <a:pt x="101" y="86"/>
                    <a:pt x="101" y="86"/>
                  </a:cubicBezTo>
                  <a:cubicBezTo>
                    <a:pt x="100" y="81"/>
                    <a:pt x="100" y="81"/>
                    <a:pt x="100" y="81"/>
                  </a:cubicBezTo>
                  <a:cubicBezTo>
                    <a:pt x="104" y="75"/>
                    <a:pt x="104" y="75"/>
                    <a:pt x="104" y="75"/>
                  </a:cubicBezTo>
                  <a:cubicBezTo>
                    <a:pt x="109" y="72"/>
                    <a:pt x="109" y="72"/>
                    <a:pt x="109" y="72"/>
                  </a:cubicBezTo>
                  <a:cubicBezTo>
                    <a:pt x="106" y="69"/>
                    <a:pt x="106" y="69"/>
                    <a:pt x="106" y="69"/>
                  </a:cubicBezTo>
                  <a:cubicBezTo>
                    <a:pt x="103" y="66"/>
                    <a:pt x="103" y="66"/>
                    <a:pt x="103" y="66"/>
                  </a:cubicBezTo>
                  <a:cubicBezTo>
                    <a:pt x="98" y="65"/>
                    <a:pt x="98" y="65"/>
                    <a:pt x="98" y="65"/>
                  </a:cubicBezTo>
                  <a:cubicBezTo>
                    <a:pt x="95" y="63"/>
                    <a:pt x="95" y="63"/>
                    <a:pt x="95" y="63"/>
                  </a:cubicBezTo>
                  <a:cubicBezTo>
                    <a:pt x="90" y="61"/>
                    <a:pt x="90" y="61"/>
                    <a:pt x="90" y="61"/>
                  </a:cubicBezTo>
                  <a:cubicBezTo>
                    <a:pt x="89" y="57"/>
                    <a:pt x="89" y="57"/>
                    <a:pt x="89" y="57"/>
                  </a:cubicBezTo>
                  <a:cubicBezTo>
                    <a:pt x="91" y="55"/>
                    <a:pt x="91" y="55"/>
                    <a:pt x="91" y="55"/>
                  </a:cubicBezTo>
                  <a:cubicBezTo>
                    <a:pt x="90" y="53"/>
                    <a:pt x="90" y="53"/>
                    <a:pt x="90" y="53"/>
                  </a:cubicBezTo>
                  <a:cubicBezTo>
                    <a:pt x="91" y="48"/>
                    <a:pt x="91" y="48"/>
                    <a:pt x="91" y="48"/>
                  </a:cubicBezTo>
                  <a:cubicBezTo>
                    <a:pt x="91" y="45"/>
                    <a:pt x="91" y="45"/>
                    <a:pt x="91" y="45"/>
                  </a:cubicBezTo>
                  <a:cubicBezTo>
                    <a:pt x="89" y="45"/>
                    <a:pt x="89" y="45"/>
                    <a:pt x="89" y="45"/>
                  </a:cubicBezTo>
                  <a:cubicBezTo>
                    <a:pt x="86" y="44"/>
                    <a:pt x="86" y="44"/>
                    <a:pt x="86" y="44"/>
                  </a:cubicBezTo>
                  <a:cubicBezTo>
                    <a:pt x="87" y="38"/>
                    <a:pt x="87" y="38"/>
                    <a:pt x="87" y="38"/>
                  </a:cubicBezTo>
                  <a:cubicBezTo>
                    <a:pt x="85" y="35"/>
                    <a:pt x="85" y="35"/>
                    <a:pt x="85" y="35"/>
                  </a:cubicBezTo>
                  <a:cubicBezTo>
                    <a:pt x="81" y="32"/>
                    <a:pt x="81" y="32"/>
                    <a:pt x="81" y="32"/>
                  </a:cubicBezTo>
                  <a:cubicBezTo>
                    <a:pt x="83" y="28"/>
                    <a:pt x="83" y="28"/>
                    <a:pt x="83" y="28"/>
                  </a:cubicBezTo>
                  <a:cubicBezTo>
                    <a:pt x="85" y="26"/>
                    <a:pt x="85" y="26"/>
                    <a:pt x="85" y="26"/>
                  </a:cubicBezTo>
                  <a:cubicBezTo>
                    <a:pt x="87" y="22"/>
                    <a:pt x="87" y="22"/>
                    <a:pt x="87" y="22"/>
                  </a:cubicBezTo>
                  <a:cubicBezTo>
                    <a:pt x="89" y="20"/>
                    <a:pt x="89" y="20"/>
                    <a:pt x="89" y="20"/>
                  </a:cubicBezTo>
                  <a:cubicBezTo>
                    <a:pt x="91" y="17"/>
                    <a:pt x="91" y="17"/>
                    <a:pt x="91" y="17"/>
                  </a:cubicBezTo>
                  <a:cubicBezTo>
                    <a:pt x="91" y="14"/>
                    <a:pt x="91" y="14"/>
                    <a:pt x="91" y="14"/>
                  </a:cubicBezTo>
                  <a:cubicBezTo>
                    <a:pt x="94" y="12"/>
                    <a:pt x="94" y="12"/>
                    <a:pt x="94" y="12"/>
                  </a:cubicBezTo>
                  <a:cubicBezTo>
                    <a:pt x="92" y="8"/>
                    <a:pt x="92" y="8"/>
                    <a:pt x="92" y="8"/>
                  </a:cubicBezTo>
                  <a:cubicBezTo>
                    <a:pt x="90" y="5"/>
                    <a:pt x="90" y="5"/>
                    <a:pt x="90" y="5"/>
                  </a:cubicBezTo>
                  <a:cubicBezTo>
                    <a:pt x="88" y="2"/>
                    <a:pt x="88" y="2"/>
                    <a:pt x="88" y="2"/>
                  </a:cubicBezTo>
                  <a:cubicBezTo>
                    <a:pt x="84" y="1"/>
                    <a:pt x="84" y="1"/>
                    <a:pt x="84" y="1"/>
                  </a:cubicBezTo>
                  <a:cubicBezTo>
                    <a:pt x="80" y="0"/>
                    <a:pt x="80" y="0"/>
                    <a:pt x="80" y="0"/>
                  </a:cubicBezTo>
                  <a:cubicBezTo>
                    <a:pt x="76" y="0"/>
                    <a:pt x="76" y="0"/>
                    <a:pt x="76" y="0"/>
                  </a:cubicBezTo>
                  <a:cubicBezTo>
                    <a:pt x="74" y="2"/>
                    <a:pt x="74" y="2"/>
                    <a:pt x="74" y="2"/>
                  </a:cubicBezTo>
                  <a:cubicBezTo>
                    <a:pt x="70" y="5"/>
                    <a:pt x="70" y="5"/>
                    <a:pt x="70" y="5"/>
                  </a:cubicBezTo>
                  <a:cubicBezTo>
                    <a:pt x="68" y="10"/>
                    <a:pt x="68" y="10"/>
                    <a:pt x="68" y="10"/>
                  </a:cubicBezTo>
                  <a:cubicBezTo>
                    <a:pt x="65" y="13"/>
                    <a:pt x="65" y="13"/>
                    <a:pt x="65" y="13"/>
                  </a:cubicBezTo>
                  <a:cubicBezTo>
                    <a:pt x="64" y="15"/>
                    <a:pt x="64" y="15"/>
                    <a:pt x="64" y="15"/>
                  </a:cubicBezTo>
                  <a:cubicBezTo>
                    <a:pt x="59" y="19"/>
                    <a:pt x="59" y="19"/>
                    <a:pt x="59" y="19"/>
                  </a:cubicBezTo>
                  <a:cubicBezTo>
                    <a:pt x="53" y="20"/>
                    <a:pt x="53" y="20"/>
                    <a:pt x="53" y="20"/>
                  </a:cubicBezTo>
                  <a:cubicBezTo>
                    <a:pt x="50" y="22"/>
                    <a:pt x="50" y="22"/>
                    <a:pt x="50" y="22"/>
                  </a:cubicBezTo>
                  <a:cubicBezTo>
                    <a:pt x="49" y="24"/>
                    <a:pt x="49" y="24"/>
                    <a:pt x="49" y="24"/>
                  </a:cubicBezTo>
                  <a:cubicBezTo>
                    <a:pt x="47" y="26"/>
                    <a:pt x="47" y="26"/>
                    <a:pt x="47" y="26"/>
                  </a:cubicBezTo>
                  <a:cubicBezTo>
                    <a:pt x="44" y="24"/>
                    <a:pt x="44" y="24"/>
                    <a:pt x="44" y="24"/>
                  </a:cubicBezTo>
                  <a:cubicBezTo>
                    <a:pt x="40" y="26"/>
                    <a:pt x="40" y="26"/>
                    <a:pt x="40" y="26"/>
                  </a:cubicBezTo>
                  <a:cubicBezTo>
                    <a:pt x="37" y="27"/>
                    <a:pt x="37" y="27"/>
                    <a:pt x="37" y="27"/>
                  </a:cubicBezTo>
                  <a:cubicBezTo>
                    <a:pt x="36" y="31"/>
                    <a:pt x="36" y="31"/>
                    <a:pt x="36" y="31"/>
                  </a:cubicBezTo>
                  <a:cubicBezTo>
                    <a:pt x="39" y="34"/>
                    <a:pt x="39" y="34"/>
                    <a:pt x="39" y="34"/>
                  </a:cubicBezTo>
                  <a:cubicBezTo>
                    <a:pt x="41" y="42"/>
                    <a:pt x="41" y="42"/>
                    <a:pt x="41" y="42"/>
                  </a:cubicBezTo>
                  <a:cubicBezTo>
                    <a:pt x="42" y="45"/>
                    <a:pt x="42" y="45"/>
                    <a:pt x="42" y="45"/>
                  </a:cubicBezTo>
                  <a:cubicBezTo>
                    <a:pt x="45" y="47"/>
                    <a:pt x="45" y="47"/>
                    <a:pt x="45" y="47"/>
                  </a:cubicBezTo>
                  <a:cubicBezTo>
                    <a:pt x="49" y="51"/>
                    <a:pt x="49" y="51"/>
                    <a:pt x="49" y="51"/>
                  </a:cubicBezTo>
                  <a:cubicBezTo>
                    <a:pt x="49" y="56"/>
                    <a:pt x="49" y="56"/>
                    <a:pt x="49" y="56"/>
                  </a:cubicBezTo>
                  <a:cubicBezTo>
                    <a:pt x="47" y="60"/>
                    <a:pt x="47" y="60"/>
                    <a:pt x="47" y="60"/>
                  </a:cubicBezTo>
                  <a:cubicBezTo>
                    <a:pt x="44" y="64"/>
                    <a:pt x="44" y="64"/>
                    <a:pt x="44" y="64"/>
                  </a:cubicBezTo>
                  <a:cubicBezTo>
                    <a:pt x="43" y="70"/>
                    <a:pt x="43" y="70"/>
                    <a:pt x="43" y="70"/>
                  </a:cubicBezTo>
                  <a:cubicBezTo>
                    <a:pt x="43" y="75"/>
                    <a:pt x="43" y="75"/>
                    <a:pt x="43" y="75"/>
                  </a:cubicBezTo>
                  <a:cubicBezTo>
                    <a:pt x="39" y="78"/>
                    <a:pt x="39" y="78"/>
                    <a:pt x="39" y="78"/>
                  </a:cubicBezTo>
                  <a:cubicBezTo>
                    <a:pt x="36" y="81"/>
                    <a:pt x="36" y="81"/>
                    <a:pt x="36" y="81"/>
                  </a:cubicBezTo>
                  <a:cubicBezTo>
                    <a:pt x="33" y="84"/>
                    <a:pt x="33" y="84"/>
                    <a:pt x="33" y="84"/>
                  </a:cubicBezTo>
                  <a:cubicBezTo>
                    <a:pt x="28" y="87"/>
                    <a:pt x="28" y="87"/>
                    <a:pt x="28" y="87"/>
                  </a:cubicBezTo>
                  <a:cubicBezTo>
                    <a:pt x="24" y="93"/>
                    <a:pt x="24" y="93"/>
                    <a:pt x="24" y="93"/>
                  </a:cubicBezTo>
                  <a:cubicBezTo>
                    <a:pt x="21" y="98"/>
                    <a:pt x="21" y="98"/>
                    <a:pt x="21" y="98"/>
                  </a:cubicBezTo>
                  <a:cubicBezTo>
                    <a:pt x="17" y="99"/>
                    <a:pt x="17" y="99"/>
                    <a:pt x="17" y="99"/>
                  </a:cubicBezTo>
                  <a:cubicBezTo>
                    <a:pt x="15" y="96"/>
                    <a:pt x="15" y="96"/>
                    <a:pt x="15" y="96"/>
                  </a:cubicBezTo>
                  <a:cubicBezTo>
                    <a:pt x="13" y="101"/>
                    <a:pt x="13" y="101"/>
                    <a:pt x="13" y="101"/>
                  </a:cubicBezTo>
                  <a:cubicBezTo>
                    <a:pt x="10" y="104"/>
                    <a:pt x="10" y="104"/>
                    <a:pt x="10" y="104"/>
                  </a:cubicBezTo>
                  <a:cubicBezTo>
                    <a:pt x="8" y="109"/>
                    <a:pt x="8" y="109"/>
                    <a:pt x="8" y="109"/>
                  </a:cubicBezTo>
                  <a:cubicBezTo>
                    <a:pt x="10" y="111"/>
                    <a:pt x="10" y="111"/>
                    <a:pt x="10" y="111"/>
                  </a:cubicBezTo>
                  <a:cubicBezTo>
                    <a:pt x="11" y="113"/>
                    <a:pt x="11" y="113"/>
                    <a:pt x="11" y="113"/>
                  </a:cubicBezTo>
                  <a:cubicBezTo>
                    <a:pt x="10" y="116"/>
                    <a:pt x="10" y="116"/>
                    <a:pt x="10" y="116"/>
                  </a:cubicBezTo>
                  <a:cubicBezTo>
                    <a:pt x="10" y="120"/>
                    <a:pt x="10" y="120"/>
                    <a:pt x="10" y="120"/>
                  </a:cubicBezTo>
                  <a:cubicBezTo>
                    <a:pt x="14" y="121"/>
                    <a:pt x="14" y="121"/>
                    <a:pt x="14" y="121"/>
                  </a:cubicBezTo>
                  <a:cubicBezTo>
                    <a:pt x="15" y="125"/>
                    <a:pt x="15" y="125"/>
                    <a:pt x="15" y="125"/>
                  </a:cubicBezTo>
                  <a:cubicBezTo>
                    <a:pt x="16" y="136"/>
                    <a:pt x="16" y="136"/>
                    <a:pt x="16" y="136"/>
                  </a:cubicBezTo>
                  <a:cubicBezTo>
                    <a:pt x="13" y="135"/>
                    <a:pt x="13" y="135"/>
                    <a:pt x="13" y="135"/>
                  </a:cubicBezTo>
                  <a:cubicBezTo>
                    <a:pt x="8" y="135"/>
                    <a:pt x="8" y="135"/>
                    <a:pt x="8" y="135"/>
                  </a:cubicBezTo>
                  <a:cubicBezTo>
                    <a:pt x="5" y="135"/>
                    <a:pt x="5" y="135"/>
                    <a:pt x="5" y="135"/>
                  </a:cubicBezTo>
                  <a:cubicBezTo>
                    <a:pt x="1" y="137"/>
                    <a:pt x="1" y="137"/>
                    <a:pt x="1" y="137"/>
                  </a:cubicBezTo>
                  <a:lnTo>
                    <a:pt x="0" y="141"/>
                  </a:lnTo>
                  <a:close/>
                  <a:moveTo>
                    <a:pt x="213" y="252"/>
                  </a:moveTo>
                  <a:cubicBezTo>
                    <a:pt x="213" y="252"/>
                    <a:pt x="212" y="256"/>
                    <a:pt x="213" y="255"/>
                  </a:cubicBezTo>
                  <a:cubicBezTo>
                    <a:pt x="214" y="255"/>
                    <a:pt x="215" y="252"/>
                    <a:pt x="213" y="25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67" name="Freeform 209">
              <a:extLst>
                <a:ext uri="{FF2B5EF4-FFF2-40B4-BE49-F238E27FC236}">
                  <a16:creationId xmlns:a16="http://schemas.microsoft.com/office/drawing/2014/main" id="{70592226-DA19-0188-81D4-1CF5CFA6793B}"/>
                </a:ext>
              </a:extLst>
            </p:cNvPr>
            <p:cNvSpPr>
              <a:spLocks noEditPoints="1"/>
            </p:cNvSpPr>
            <p:nvPr/>
          </p:nvSpPr>
          <p:spPr bwMode="auto">
            <a:xfrm>
              <a:off x="5248315" y="1391896"/>
              <a:ext cx="317965" cy="168865"/>
            </a:xfrm>
            <a:custGeom>
              <a:avLst/>
              <a:gdLst>
                <a:gd name="T0" fmla="*/ 66 w 90"/>
                <a:gd name="T1" fmla="*/ 2 h 48"/>
                <a:gd name="T2" fmla="*/ 62 w 90"/>
                <a:gd name="T3" fmla="*/ 8 h 48"/>
                <a:gd name="T4" fmla="*/ 59 w 90"/>
                <a:gd name="T5" fmla="*/ 8 h 48"/>
                <a:gd name="T6" fmla="*/ 55 w 90"/>
                <a:gd name="T7" fmla="*/ 9 h 48"/>
                <a:gd name="T8" fmla="*/ 50 w 90"/>
                <a:gd name="T9" fmla="*/ 12 h 48"/>
                <a:gd name="T10" fmla="*/ 47 w 90"/>
                <a:gd name="T11" fmla="*/ 7 h 48"/>
                <a:gd name="T12" fmla="*/ 44 w 90"/>
                <a:gd name="T13" fmla="*/ 5 h 48"/>
                <a:gd name="T14" fmla="*/ 38 w 90"/>
                <a:gd name="T15" fmla="*/ 9 h 48"/>
                <a:gd name="T16" fmla="*/ 38 w 90"/>
                <a:gd name="T17" fmla="*/ 13 h 48"/>
                <a:gd name="T18" fmla="*/ 35 w 90"/>
                <a:gd name="T19" fmla="*/ 7 h 48"/>
                <a:gd name="T20" fmla="*/ 32 w 90"/>
                <a:gd name="T21" fmla="*/ 16 h 48"/>
                <a:gd name="T22" fmla="*/ 28 w 90"/>
                <a:gd name="T23" fmla="*/ 15 h 48"/>
                <a:gd name="T24" fmla="*/ 24 w 90"/>
                <a:gd name="T25" fmla="*/ 20 h 48"/>
                <a:gd name="T26" fmla="*/ 23 w 90"/>
                <a:gd name="T27" fmla="*/ 12 h 48"/>
                <a:gd name="T28" fmla="*/ 22 w 90"/>
                <a:gd name="T29" fmla="*/ 10 h 48"/>
                <a:gd name="T30" fmla="*/ 20 w 90"/>
                <a:gd name="T31" fmla="*/ 5 h 48"/>
                <a:gd name="T32" fmla="*/ 13 w 90"/>
                <a:gd name="T33" fmla="*/ 6 h 48"/>
                <a:gd name="T34" fmla="*/ 16 w 90"/>
                <a:gd name="T35" fmla="*/ 12 h 48"/>
                <a:gd name="T36" fmla="*/ 10 w 90"/>
                <a:gd name="T37" fmla="*/ 7 h 48"/>
                <a:gd name="T38" fmla="*/ 8 w 90"/>
                <a:gd name="T39" fmla="*/ 8 h 48"/>
                <a:gd name="T40" fmla="*/ 8 w 90"/>
                <a:gd name="T41" fmla="*/ 8 h 48"/>
                <a:gd name="T42" fmla="*/ 8 w 90"/>
                <a:gd name="T43" fmla="*/ 10 h 48"/>
                <a:gd name="T44" fmla="*/ 6 w 90"/>
                <a:gd name="T45" fmla="*/ 14 h 48"/>
                <a:gd name="T46" fmla="*/ 0 w 90"/>
                <a:gd name="T47" fmla="*/ 17 h 48"/>
                <a:gd name="T48" fmla="*/ 2 w 90"/>
                <a:gd name="T49" fmla="*/ 19 h 48"/>
                <a:gd name="T50" fmla="*/ 6 w 90"/>
                <a:gd name="T51" fmla="*/ 18 h 48"/>
                <a:gd name="T52" fmla="*/ 16 w 90"/>
                <a:gd name="T53" fmla="*/ 16 h 48"/>
                <a:gd name="T54" fmla="*/ 14 w 90"/>
                <a:gd name="T55" fmla="*/ 22 h 48"/>
                <a:gd name="T56" fmla="*/ 17 w 90"/>
                <a:gd name="T57" fmla="*/ 23 h 48"/>
                <a:gd name="T58" fmla="*/ 7 w 90"/>
                <a:gd name="T59" fmla="*/ 26 h 48"/>
                <a:gd name="T60" fmla="*/ 3 w 90"/>
                <a:gd name="T61" fmla="*/ 28 h 48"/>
                <a:gd name="T62" fmla="*/ 8 w 90"/>
                <a:gd name="T63" fmla="*/ 28 h 48"/>
                <a:gd name="T64" fmla="*/ 16 w 90"/>
                <a:gd name="T65" fmla="*/ 32 h 48"/>
                <a:gd name="T66" fmla="*/ 19 w 90"/>
                <a:gd name="T67" fmla="*/ 34 h 48"/>
                <a:gd name="T68" fmla="*/ 18 w 90"/>
                <a:gd name="T69" fmla="*/ 37 h 48"/>
                <a:gd name="T70" fmla="*/ 12 w 90"/>
                <a:gd name="T71" fmla="*/ 40 h 48"/>
                <a:gd name="T72" fmla="*/ 26 w 90"/>
                <a:gd name="T73" fmla="*/ 40 h 48"/>
                <a:gd name="T74" fmla="*/ 30 w 90"/>
                <a:gd name="T75" fmla="*/ 41 h 48"/>
                <a:gd name="T76" fmla="*/ 36 w 90"/>
                <a:gd name="T77" fmla="*/ 42 h 48"/>
                <a:gd name="T78" fmla="*/ 36 w 90"/>
                <a:gd name="T79" fmla="*/ 46 h 48"/>
                <a:gd name="T80" fmla="*/ 48 w 90"/>
                <a:gd name="T81" fmla="*/ 45 h 48"/>
                <a:gd name="T82" fmla="*/ 50 w 90"/>
                <a:gd name="T83" fmla="*/ 47 h 48"/>
                <a:gd name="T84" fmla="*/ 51 w 90"/>
                <a:gd name="T85" fmla="*/ 42 h 48"/>
                <a:gd name="T86" fmla="*/ 58 w 90"/>
                <a:gd name="T87" fmla="*/ 42 h 48"/>
                <a:gd name="T88" fmla="*/ 62 w 90"/>
                <a:gd name="T89" fmla="*/ 38 h 48"/>
                <a:gd name="T90" fmla="*/ 69 w 90"/>
                <a:gd name="T91" fmla="*/ 36 h 48"/>
                <a:gd name="T92" fmla="*/ 78 w 90"/>
                <a:gd name="T93" fmla="*/ 33 h 48"/>
                <a:gd name="T94" fmla="*/ 81 w 90"/>
                <a:gd name="T95" fmla="*/ 28 h 48"/>
                <a:gd name="T96" fmla="*/ 84 w 90"/>
                <a:gd name="T97" fmla="*/ 26 h 48"/>
                <a:gd name="T98" fmla="*/ 86 w 90"/>
                <a:gd name="T99" fmla="*/ 26 h 48"/>
                <a:gd name="T100" fmla="*/ 89 w 90"/>
                <a:gd name="T101" fmla="*/ 23 h 48"/>
                <a:gd name="T102" fmla="*/ 88 w 90"/>
                <a:gd name="T103" fmla="*/ 22 h 48"/>
                <a:gd name="T104" fmla="*/ 89 w 90"/>
                <a:gd name="T105" fmla="*/ 18 h 48"/>
                <a:gd name="T106" fmla="*/ 85 w 90"/>
                <a:gd name="T107" fmla="*/ 16 h 48"/>
                <a:gd name="T108" fmla="*/ 82 w 90"/>
                <a:gd name="T109" fmla="*/ 14 h 48"/>
                <a:gd name="T110" fmla="*/ 80 w 90"/>
                <a:gd name="T111" fmla="*/ 10 h 48"/>
                <a:gd name="T112" fmla="*/ 78 w 90"/>
                <a:gd name="T113" fmla="*/ 7 h 48"/>
                <a:gd name="T114" fmla="*/ 83 w 90"/>
                <a:gd name="T115" fmla="*/ 4 h 48"/>
                <a:gd name="T116" fmla="*/ 74 w 90"/>
                <a:gd name="T117" fmla="*/ 6 h 48"/>
                <a:gd name="T118" fmla="*/ 69 w 90"/>
                <a:gd name="T119" fmla="*/ 1 h 48"/>
                <a:gd name="T120" fmla="*/ 10 w 90"/>
                <a:gd name="T121" fmla="*/ 2 h 48"/>
                <a:gd name="T122" fmla="*/ 18 w 90"/>
                <a:gd name="T123" fmla="*/ 3 h 48"/>
                <a:gd name="T124" fmla="*/ 10 w 90"/>
                <a:gd name="T1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48">
                  <a:moveTo>
                    <a:pt x="69" y="1"/>
                  </a:moveTo>
                  <a:cubicBezTo>
                    <a:pt x="68" y="2"/>
                    <a:pt x="68" y="2"/>
                    <a:pt x="66" y="2"/>
                  </a:cubicBezTo>
                  <a:cubicBezTo>
                    <a:pt x="66" y="4"/>
                    <a:pt x="66" y="6"/>
                    <a:pt x="66" y="7"/>
                  </a:cubicBezTo>
                  <a:cubicBezTo>
                    <a:pt x="64" y="7"/>
                    <a:pt x="63" y="8"/>
                    <a:pt x="62" y="8"/>
                  </a:cubicBezTo>
                  <a:cubicBezTo>
                    <a:pt x="62" y="8"/>
                    <a:pt x="62" y="5"/>
                    <a:pt x="60" y="6"/>
                  </a:cubicBezTo>
                  <a:cubicBezTo>
                    <a:pt x="59" y="6"/>
                    <a:pt x="59" y="8"/>
                    <a:pt x="59" y="8"/>
                  </a:cubicBezTo>
                  <a:cubicBezTo>
                    <a:pt x="58" y="8"/>
                    <a:pt x="57" y="8"/>
                    <a:pt x="56" y="8"/>
                  </a:cubicBezTo>
                  <a:cubicBezTo>
                    <a:pt x="55" y="9"/>
                    <a:pt x="55" y="9"/>
                    <a:pt x="55" y="9"/>
                  </a:cubicBezTo>
                  <a:cubicBezTo>
                    <a:pt x="53" y="10"/>
                    <a:pt x="51" y="7"/>
                    <a:pt x="50" y="6"/>
                  </a:cubicBezTo>
                  <a:cubicBezTo>
                    <a:pt x="50" y="8"/>
                    <a:pt x="49" y="10"/>
                    <a:pt x="50" y="12"/>
                  </a:cubicBezTo>
                  <a:cubicBezTo>
                    <a:pt x="49" y="11"/>
                    <a:pt x="47" y="11"/>
                    <a:pt x="46" y="8"/>
                  </a:cubicBezTo>
                  <a:cubicBezTo>
                    <a:pt x="46" y="8"/>
                    <a:pt x="47" y="6"/>
                    <a:pt x="47" y="7"/>
                  </a:cubicBezTo>
                  <a:cubicBezTo>
                    <a:pt x="47" y="7"/>
                    <a:pt x="47" y="5"/>
                    <a:pt x="47" y="5"/>
                  </a:cubicBezTo>
                  <a:cubicBezTo>
                    <a:pt x="47" y="5"/>
                    <a:pt x="45" y="5"/>
                    <a:pt x="44" y="5"/>
                  </a:cubicBezTo>
                  <a:cubicBezTo>
                    <a:pt x="44" y="5"/>
                    <a:pt x="44" y="7"/>
                    <a:pt x="44" y="7"/>
                  </a:cubicBezTo>
                  <a:cubicBezTo>
                    <a:pt x="42" y="8"/>
                    <a:pt x="39" y="7"/>
                    <a:pt x="38" y="9"/>
                  </a:cubicBezTo>
                  <a:cubicBezTo>
                    <a:pt x="39" y="12"/>
                    <a:pt x="39" y="12"/>
                    <a:pt x="39" y="12"/>
                  </a:cubicBezTo>
                  <a:cubicBezTo>
                    <a:pt x="38" y="13"/>
                    <a:pt x="38" y="12"/>
                    <a:pt x="38" y="13"/>
                  </a:cubicBezTo>
                  <a:cubicBezTo>
                    <a:pt x="37" y="12"/>
                    <a:pt x="36" y="11"/>
                    <a:pt x="36" y="10"/>
                  </a:cubicBezTo>
                  <a:cubicBezTo>
                    <a:pt x="35" y="9"/>
                    <a:pt x="35" y="8"/>
                    <a:pt x="35" y="7"/>
                  </a:cubicBezTo>
                  <a:cubicBezTo>
                    <a:pt x="34" y="8"/>
                    <a:pt x="33" y="8"/>
                    <a:pt x="32" y="8"/>
                  </a:cubicBezTo>
                  <a:cubicBezTo>
                    <a:pt x="32" y="10"/>
                    <a:pt x="33" y="15"/>
                    <a:pt x="32" y="16"/>
                  </a:cubicBezTo>
                  <a:cubicBezTo>
                    <a:pt x="31" y="16"/>
                    <a:pt x="28" y="14"/>
                    <a:pt x="29" y="15"/>
                  </a:cubicBezTo>
                  <a:cubicBezTo>
                    <a:pt x="28" y="15"/>
                    <a:pt x="28" y="15"/>
                    <a:pt x="28" y="15"/>
                  </a:cubicBezTo>
                  <a:cubicBezTo>
                    <a:pt x="27" y="17"/>
                    <a:pt x="28" y="18"/>
                    <a:pt x="27" y="19"/>
                  </a:cubicBezTo>
                  <a:cubicBezTo>
                    <a:pt x="27" y="19"/>
                    <a:pt x="25" y="20"/>
                    <a:pt x="24" y="20"/>
                  </a:cubicBezTo>
                  <a:cubicBezTo>
                    <a:pt x="24" y="20"/>
                    <a:pt x="23" y="18"/>
                    <a:pt x="23" y="18"/>
                  </a:cubicBezTo>
                  <a:cubicBezTo>
                    <a:pt x="23" y="15"/>
                    <a:pt x="26" y="12"/>
                    <a:pt x="23" y="12"/>
                  </a:cubicBezTo>
                  <a:cubicBezTo>
                    <a:pt x="23" y="12"/>
                    <a:pt x="24" y="11"/>
                    <a:pt x="24" y="10"/>
                  </a:cubicBezTo>
                  <a:cubicBezTo>
                    <a:pt x="22" y="10"/>
                    <a:pt x="22" y="10"/>
                    <a:pt x="22" y="10"/>
                  </a:cubicBezTo>
                  <a:cubicBezTo>
                    <a:pt x="22" y="9"/>
                    <a:pt x="23" y="8"/>
                    <a:pt x="22" y="8"/>
                  </a:cubicBezTo>
                  <a:cubicBezTo>
                    <a:pt x="22" y="7"/>
                    <a:pt x="20" y="6"/>
                    <a:pt x="20" y="5"/>
                  </a:cubicBezTo>
                  <a:cubicBezTo>
                    <a:pt x="19" y="5"/>
                    <a:pt x="15" y="5"/>
                    <a:pt x="14" y="5"/>
                  </a:cubicBezTo>
                  <a:cubicBezTo>
                    <a:pt x="13" y="6"/>
                    <a:pt x="13" y="6"/>
                    <a:pt x="13" y="6"/>
                  </a:cubicBezTo>
                  <a:cubicBezTo>
                    <a:pt x="14" y="7"/>
                    <a:pt x="16" y="8"/>
                    <a:pt x="17" y="8"/>
                  </a:cubicBezTo>
                  <a:cubicBezTo>
                    <a:pt x="17" y="9"/>
                    <a:pt x="20" y="13"/>
                    <a:pt x="16" y="12"/>
                  </a:cubicBezTo>
                  <a:cubicBezTo>
                    <a:pt x="16" y="12"/>
                    <a:pt x="16" y="11"/>
                    <a:pt x="15" y="11"/>
                  </a:cubicBezTo>
                  <a:cubicBezTo>
                    <a:pt x="12" y="10"/>
                    <a:pt x="11" y="9"/>
                    <a:pt x="10" y="7"/>
                  </a:cubicBezTo>
                  <a:cubicBezTo>
                    <a:pt x="12" y="6"/>
                    <a:pt x="8" y="6"/>
                    <a:pt x="8" y="6"/>
                  </a:cubicBezTo>
                  <a:cubicBezTo>
                    <a:pt x="8" y="8"/>
                    <a:pt x="8" y="8"/>
                    <a:pt x="8" y="8"/>
                  </a:cubicBezTo>
                  <a:cubicBezTo>
                    <a:pt x="8" y="8"/>
                    <a:pt x="9" y="8"/>
                    <a:pt x="9" y="8"/>
                  </a:cubicBezTo>
                  <a:cubicBezTo>
                    <a:pt x="9" y="8"/>
                    <a:pt x="7" y="8"/>
                    <a:pt x="8" y="8"/>
                  </a:cubicBezTo>
                  <a:cubicBezTo>
                    <a:pt x="7" y="8"/>
                    <a:pt x="6" y="9"/>
                    <a:pt x="5" y="9"/>
                  </a:cubicBezTo>
                  <a:cubicBezTo>
                    <a:pt x="6" y="10"/>
                    <a:pt x="6" y="9"/>
                    <a:pt x="8" y="10"/>
                  </a:cubicBezTo>
                  <a:cubicBezTo>
                    <a:pt x="7" y="11"/>
                    <a:pt x="8" y="13"/>
                    <a:pt x="8" y="14"/>
                  </a:cubicBezTo>
                  <a:cubicBezTo>
                    <a:pt x="6" y="14"/>
                    <a:pt x="6" y="14"/>
                    <a:pt x="6" y="14"/>
                  </a:cubicBezTo>
                  <a:cubicBezTo>
                    <a:pt x="5" y="15"/>
                    <a:pt x="4" y="17"/>
                    <a:pt x="3" y="18"/>
                  </a:cubicBezTo>
                  <a:cubicBezTo>
                    <a:pt x="2" y="18"/>
                    <a:pt x="1" y="17"/>
                    <a:pt x="0" y="17"/>
                  </a:cubicBezTo>
                  <a:cubicBezTo>
                    <a:pt x="0" y="19"/>
                    <a:pt x="0" y="19"/>
                    <a:pt x="0" y="19"/>
                  </a:cubicBezTo>
                  <a:cubicBezTo>
                    <a:pt x="0" y="19"/>
                    <a:pt x="2" y="19"/>
                    <a:pt x="2" y="19"/>
                  </a:cubicBezTo>
                  <a:cubicBezTo>
                    <a:pt x="1" y="19"/>
                    <a:pt x="5" y="20"/>
                    <a:pt x="5" y="20"/>
                  </a:cubicBezTo>
                  <a:cubicBezTo>
                    <a:pt x="5" y="19"/>
                    <a:pt x="6" y="18"/>
                    <a:pt x="6" y="18"/>
                  </a:cubicBezTo>
                  <a:cubicBezTo>
                    <a:pt x="9" y="17"/>
                    <a:pt x="11" y="17"/>
                    <a:pt x="14" y="16"/>
                  </a:cubicBezTo>
                  <a:cubicBezTo>
                    <a:pt x="13" y="15"/>
                    <a:pt x="15" y="16"/>
                    <a:pt x="16" y="16"/>
                  </a:cubicBezTo>
                  <a:cubicBezTo>
                    <a:pt x="18" y="18"/>
                    <a:pt x="16" y="18"/>
                    <a:pt x="14" y="18"/>
                  </a:cubicBezTo>
                  <a:cubicBezTo>
                    <a:pt x="14" y="19"/>
                    <a:pt x="15" y="22"/>
                    <a:pt x="14" y="22"/>
                  </a:cubicBezTo>
                  <a:cubicBezTo>
                    <a:pt x="15" y="22"/>
                    <a:pt x="16" y="21"/>
                    <a:pt x="16" y="21"/>
                  </a:cubicBezTo>
                  <a:cubicBezTo>
                    <a:pt x="19" y="21"/>
                    <a:pt x="17" y="23"/>
                    <a:pt x="17" y="23"/>
                  </a:cubicBezTo>
                  <a:cubicBezTo>
                    <a:pt x="15" y="23"/>
                    <a:pt x="12" y="22"/>
                    <a:pt x="11" y="22"/>
                  </a:cubicBezTo>
                  <a:cubicBezTo>
                    <a:pt x="10" y="23"/>
                    <a:pt x="9" y="25"/>
                    <a:pt x="7" y="26"/>
                  </a:cubicBezTo>
                  <a:cubicBezTo>
                    <a:pt x="6" y="26"/>
                    <a:pt x="4" y="26"/>
                    <a:pt x="3" y="26"/>
                  </a:cubicBezTo>
                  <a:cubicBezTo>
                    <a:pt x="2" y="27"/>
                    <a:pt x="2" y="28"/>
                    <a:pt x="3" y="28"/>
                  </a:cubicBezTo>
                  <a:cubicBezTo>
                    <a:pt x="3" y="28"/>
                    <a:pt x="5" y="29"/>
                    <a:pt x="6" y="29"/>
                  </a:cubicBezTo>
                  <a:cubicBezTo>
                    <a:pt x="8" y="28"/>
                    <a:pt x="8" y="28"/>
                    <a:pt x="8" y="28"/>
                  </a:cubicBezTo>
                  <a:cubicBezTo>
                    <a:pt x="9" y="28"/>
                    <a:pt x="13" y="28"/>
                    <a:pt x="15" y="28"/>
                  </a:cubicBezTo>
                  <a:cubicBezTo>
                    <a:pt x="16" y="30"/>
                    <a:pt x="16" y="31"/>
                    <a:pt x="16" y="32"/>
                  </a:cubicBezTo>
                  <a:cubicBezTo>
                    <a:pt x="17" y="32"/>
                    <a:pt x="18" y="31"/>
                    <a:pt x="19" y="31"/>
                  </a:cubicBezTo>
                  <a:cubicBezTo>
                    <a:pt x="19" y="31"/>
                    <a:pt x="19" y="33"/>
                    <a:pt x="19" y="34"/>
                  </a:cubicBezTo>
                  <a:cubicBezTo>
                    <a:pt x="19" y="35"/>
                    <a:pt x="19" y="35"/>
                    <a:pt x="19" y="35"/>
                  </a:cubicBezTo>
                  <a:cubicBezTo>
                    <a:pt x="18" y="35"/>
                    <a:pt x="19" y="36"/>
                    <a:pt x="18" y="37"/>
                  </a:cubicBezTo>
                  <a:cubicBezTo>
                    <a:pt x="15" y="37"/>
                    <a:pt x="15" y="37"/>
                    <a:pt x="12" y="38"/>
                  </a:cubicBezTo>
                  <a:cubicBezTo>
                    <a:pt x="12" y="40"/>
                    <a:pt x="12" y="40"/>
                    <a:pt x="12" y="40"/>
                  </a:cubicBezTo>
                  <a:cubicBezTo>
                    <a:pt x="17" y="41"/>
                    <a:pt x="20" y="40"/>
                    <a:pt x="25" y="39"/>
                  </a:cubicBezTo>
                  <a:cubicBezTo>
                    <a:pt x="26" y="40"/>
                    <a:pt x="26" y="40"/>
                    <a:pt x="26" y="40"/>
                  </a:cubicBezTo>
                  <a:cubicBezTo>
                    <a:pt x="27" y="41"/>
                    <a:pt x="28" y="40"/>
                    <a:pt x="29" y="40"/>
                  </a:cubicBezTo>
                  <a:cubicBezTo>
                    <a:pt x="30" y="41"/>
                    <a:pt x="30" y="41"/>
                    <a:pt x="30" y="41"/>
                  </a:cubicBezTo>
                  <a:cubicBezTo>
                    <a:pt x="32" y="42"/>
                    <a:pt x="33" y="42"/>
                    <a:pt x="34" y="42"/>
                  </a:cubicBezTo>
                  <a:cubicBezTo>
                    <a:pt x="36" y="42"/>
                    <a:pt x="36" y="42"/>
                    <a:pt x="36" y="42"/>
                  </a:cubicBezTo>
                  <a:cubicBezTo>
                    <a:pt x="34" y="44"/>
                    <a:pt x="34" y="45"/>
                    <a:pt x="32" y="46"/>
                  </a:cubicBezTo>
                  <a:cubicBezTo>
                    <a:pt x="34" y="46"/>
                    <a:pt x="34" y="46"/>
                    <a:pt x="36" y="46"/>
                  </a:cubicBezTo>
                  <a:cubicBezTo>
                    <a:pt x="38" y="46"/>
                    <a:pt x="43" y="48"/>
                    <a:pt x="46" y="47"/>
                  </a:cubicBezTo>
                  <a:cubicBezTo>
                    <a:pt x="47" y="47"/>
                    <a:pt x="48" y="45"/>
                    <a:pt x="48" y="45"/>
                  </a:cubicBezTo>
                  <a:cubicBezTo>
                    <a:pt x="48" y="45"/>
                    <a:pt x="49" y="46"/>
                    <a:pt x="49" y="47"/>
                  </a:cubicBezTo>
                  <a:cubicBezTo>
                    <a:pt x="50" y="47"/>
                    <a:pt x="50" y="47"/>
                    <a:pt x="50" y="47"/>
                  </a:cubicBezTo>
                  <a:cubicBezTo>
                    <a:pt x="51" y="47"/>
                    <a:pt x="51" y="46"/>
                    <a:pt x="51" y="45"/>
                  </a:cubicBezTo>
                  <a:cubicBezTo>
                    <a:pt x="52" y="43"/>
                    <a:pt x="54" y="43"/>
                    <a:pt x="51" y="42"/>
                  </a:cubicBezTo>
                  <a:cubicBezTo>
                    <a:pt x="51" y="41"/>
                    <a:pt x="51" y="40"/>
                    <a:pt x="51" y="39"/>
                  </a:cubicBezTo>
                  <a:cubicBezTo>
                    <a:pt x="56" y="40"/>
                    <a:pt x="55" y="40"/>
                    <a:pt x="58" y="42"/>
                  </a:cubicBezTo>
                  <a:cubicBezTo>
                    <a:pt x="59" y="41"/>
                    <a:pt x="60" y="41"/>
                    <a:pt x="61" y="41"/>
                  </a:cubicBezTo>
                  <a:cubicBezTo>
                    <a:pt x="61" y="40"/>
                    <a:pt x="61" y="39"/>
                    <a:pt x="62" y="38"/>
                  </a:cubicBezTo>
                  <a:cubicBezTo>
                    <a:pt x="62" y="38"/>
                    <a:pt x="64" y="40"/>
                    <a:pt x="65" y="40"/>
                  </a:cubicBezTo>
                  <a:cubicBezTo>
                    <a:pt x="66" y="39"/>
                    <a:pt x="67" y="37"/>
                    <a:pt x="69" y="36"/>
                  </a:cubicBezTo>
                  <a:cubicBezTo>
                    <a:pt x="71" y="35"/>
                    <a:pt x="73" y="36"/>
                    <a:pt x="76" y="35"/>
                  </a:cubicBezTo>
                  <a:cubicBezTo>
                    <a:pt x="76" y="35"/>
                    <a:pt x="78" y="33"/>
                    <a:pt x="78" y="33"/>
                  </a:cubicBezTo>
                  <a:cubicBezTo>
                    <a:pt x="78" y="33"/>
                    <a:pt x="79" y="33"/>
                    <a:pt x="80" y="33"/>
                  </a:cubicBezTo>
                  <a:cubicBezTo>
                    <a:pt x="80" y="33"/>
                    <a:pt x="81" y="29"/>
                    <a:pt x="81" y="28"/>
                  </a:cubicBezTo>
                  <a:cubicBezTo>
                    <a:pt x="83" y="27"/>
                    <a:pt x="83" y="28"/>
                    <a:pt x="84" y="27"/>
                  </a:cubicBezTo>
                  <a:cubicBezTo>
                    <a:pt x="84" y="26"/>
                    <a:pt x="84" y="26"/>
                    <a:pt x="84" y="26"/>
                  </a:cubicBezTo>
                  <a:cubicBezTo>
                    <a:pt x="84" y="25"/>
                    <a:pt x="84" y="25"/>
                    <a:pt x="84" y="25"/>
                  </a:cubicBezTo>
                  <a:cubicBezTo>
                    <a:pt x="84" y="25"/>
                    <a:pt x="87" y="25"/>
                    <a:pt x="86" y="26"/>
                  </a:cubicBezTo>
                  <a:cubicBezTo>
                    <a:pt x="87" y="25"/>
                    <a:pt x="87" y="27"/>
                    <a:pt x="89" y="26"/>
                  </a:cubicBezTo>
                  <a:cubicBezTo>
                    <a:pt x="90" y="26"/>
                    <a:pt x="90" y="23"/>
                    <a:pt x="89" y="23"/>
                  </a:cubicBezTo>
                  <a:cubicBezTo>
                    <a:pt x="90" y="22"/>
                    <a:pt x="90" y="22"/>
                    <a:pt x="90" y="22"/>
                  </a:cubicBezTo>
                  <a:cubicBezTo>
                    <a:pt x="89" y="22"/>
                    <a:pt x="88" y="22"/>
                    <a:pt x="88" y="22"/>
                  </a:cubicBezTo>
                  <a:cubicBezTo>
                    <a:pt x="88" y="20"/>
                    <a:pt x="88" y="20"/>
                    <a:pt x="88" y="20"/>
                  </a:cubicBezTo>
                  <a:cubicBezTo>
                    <a:pt x="88" y="21"/>
                    <a:pt x="89" y="19"/>
                    <a:pt x="89" y="18"/>
                  </a:cubicBezTo>
                  <a:cubicBezTo>
                    <a:pt x="88" y="18"/>
                    <a:pt x="88" y="16"/>
                    <a:pt x="87" y="16"/>
                  </a:cubicBezTo>
                  <a:cubicBezTo>
                    <a:pt x="86" y="15"/>
                    <a:pt x="86" y="17"/>
                    <a:pt x="85" y="16"/>
                  </a:cubicBezTo>
                  <a:cubicBezTo>
                    <a:pt x="84" y="15"/>
                    <a:pt x="84" y="15"/>
                    <a:pt x="84" y="15"/>
                  </a:cubicBezTo>
                  <a:cubicBezTo>
                    <a:pt x="83" y="15"/>
                    <a:pt x="83" y="14"/>
                    <a:pt x="82" y="14"/>
                  </a:cubicBezTo>
                  <a:cubicBezTo>
                    <a:pt x="81" y="15"/>
                    <a:pt x="80" y="16"/>
                    <a:pt x="79" y="16"/>
                  </a:cubicBezTo>
                  <a:cubicBezTo>
                    <a:pt x="79" y="14"/>
                    <a:pt x="80" y="12"/>
                    <a:pt x="80" y="10"/>
                  </a:cubicBezTo>
                  <a:cubicBezTo>
                    <a:pt x="80" y="10"/>
                    <a:pt x="79" y="10"/>
                    <a:pt x="78" y="10"/>
                  </a:cubicBezTo>
                  <a:cubicBezTo>
                    <a:pt x="78" y="9"/>
                    <a:pt x="79" y="8"/>
                    <a:pt x="78" y="7"/>
                  </a:cubicBezTo>
                  <a:cubicBezTo>
                    <a:pt x="79" y="7"/>
                    <a:pt x="80" y="6"/>
                    <a:pt x="82" y="6"/>
                  </a:cubicBezTo>
                  <a:cubicBezTo>
                    <a:pt x="82" y="6"/>
                    <a:pt x="82" y="4"/>
                    <a:pt x="83" y="4"/>
                  </a:cubicBezTo>
                  <a:cubicBezTo>
                    <a:pt x="80" y="5"/>
                    <a:pt x="79" y="5"/>
                    <a:pt x="76" y="6"/>
                  </a:cubicBezTo>
                  <a:cubicBezTo>
                    <a:pt x="77" y="6"/>
                    <a:pt x="74" y="6"/>
                    <a:pt x="74" y="6"/>
                  </a:cubicBezTo>
                  <a:cubicBezTo>
                    <a:pt x="74" y="6"/>
                    <a:pt x="71" y="1"/>
                    <a:pt x="71" y="1"/>
                  </a:cubicBezTo>
                  <a:cubicBezTo>
                    <a:pt x="70" y="1"/>
                    <a:pt x="69" y="1"/>
                    <a:pt x="69" y="1"/>
                  </a:cubicBezTo>
                  <a:close/>
                  <a:moveTo>
                    <a:pt x="10" y="0"/>
                  </a:moveTo>
                  <a:cubicBezTo>
                    <a:pt x="10" y="1"/>
                    <a:pt x="10" y="2"/>
                    <a:pt x="10" y="2"/>
                  </a:cubicBezTo>
                  <a:cubicBezTo>
                    <a:pt x="9" y="2"/>
                    <a:pt x="9" y="2"/>
                    <a:pt x="9" y="3"/>
                  </a:cubicBezTo>
                  <a:cubicBezTo>
                    <a:pt x="13" y="3"/>
                    <a:pt x="15" y="3"/>
                    <a:pt x="18" y="3"/>
                  </a:cubicBezTo>
                  <a:cubicBezTo>
                    <a:pt x="18" y="3"/>
                    <a:pt x="18" y="2"/>
                    <a:pt x="17" y="1"/>
                  </a:cubicBezTo>
                  <a:cubicBezTo>
                    <a:pt x="16" y="0"/>
                    <a:pt x="12" y="0"/>
                    <a:pt x="10"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68" name="Freeform 210">
              <a:extLst>
                <a:ext uri="{FF2B5EF4-FFF2-40B4-BE49-F238E27FC236}">
                  <a16:creationId xmlns:a16="http://schemas.microsoft.com/office/drawing/2014/main" id="{1A429457-F237-661A-C2DB-501D65041423}"/>
                </a:ext>
              </a:extLst>
            </p:cNvPr>
            <p:cNvSpPr>
              <a:spLocks noEditPoints="1"/>
            </p:cNvSpPr>
            <p:nvPr/>
          </p:nvSpPr>
          <p:spPr bwMode="auto">
            <a:xfrm>
              <a:off x="5248315" y="1391896"/>
              <a:ext cx="317965" cy="168865"/>
            </a:xfrm>
            <a:custGeom>
              <a:avLst/>
              <a:gdLst>
                <a:gd name="T0" fmla="*/ 66 w 90"/>
                <a:gd name="T1" fmla="*/ 2 h 48"/>
                <a:gd name="T2" fmla="*/ 62 w 90"/>
                <a:gd name="T3" fmla="*/ 8 h 48"/>
                <a:gd name="T4" fmla="*/ 59 w 90"/>
                <a:gd name="T5" fmla="*/ 8 h 48"/>
                <a:gd name="T6" fmla="*/ 55 w 90"/>
                <a:gd name="T7" fmla="*/ 9 h 48"/>
                <a:gd name="T8" fmla="*/ 50 w 90"/>
                <a:gd name="T9" fmla="*/ 12 h 48"/>
                <a:gd name="T10" fmla="*/ 47 w 90"/>
                <a:gd name="T11" fmla="*/ 7 h 48"/>
                <a:gd name="T12" fmla="*/ 44 w 90"/>
                <a:gd name="T13" fmla="*/ 5 h 48"/>
                <a:gd name="T14" fmla="*/ 38 w 90"/>
                <a:gd name="T15" fmla="*/ 9 h 48"/>
                <a:gd name="T16" fmla="*/ 38 w 90"/>
                <a:gd name="T17" fmla="*/ 13 h 48"/>
                <a:gd name="T18" fmla="*/ 35 w 90"/>
                <a:gd name="T19" fmla="*/ 7 h 48"/>
                <a:gd name="T20" fmla="*/ 32 w 90"/>
                <a:gd name="T21" fmla="*/ 16 h 48"/>
                <a:gd name="T22" fmla="*/ 28 w 90"/>
                <a:gd name="T23" fmla="*/ 15 h 48"/>
                <a:gd name="T24" fmla="*/ 24 w 90"/>
                <a:gd name="T25" fmla="*/ 20 h 48"/>
                <a:gd name="T26" fmla="*/ 23 w 90"/>
                <a:gd name="T27" fmla="*/ 12 h 48"/>
                <a:gd name="T28" fmla="*/ 22 w 90"/>
                <a:gd name="T29" fmla="*/ 10 h 48"/>
                <a:gd name="T30" fmla="*/ 20 w 90"/>
                <a:gd name="T31" fmla="*/ 5 h 48"/>
                <a:gd name="T32" fmla="*/ 13 w 90"/>
                <a:gd name="T33" fmla="*/ 6 h 48"/>
                <a:gd name="T34" fmla="*/ 16 w 90"/>
                <a:gd name="T35" fmla="*/ 12 h 48"/>
                <a:gd name="T36" fmla="*/ 10 w 90"/>
                <a:gd name="T37" fmla="*/ 7 h 48"/>
                <a:gd name="T38" fmla="*/ 8 w 90"/>
                <a:gd name="T39" fmla="*/ 8 h 48"/>
                <a:gd name="T40" fmla="*/ 8 w 90"/>
                <a:gd name="T41" fmla="*/ 8 h 48"/>
                <a:gd name="T42" fmla="*/ 8 w 90"/>
                <a:gd name="T43" fmla="*/ 10 h 48"/>
                <a:gd name="T44" fmla="*/ 6 w 90"/>
                <a:gd name="T45" fmla="*/ 14 h 48"/>
                <a:gd name="T46" fmla="*/ 0 w 90"/>
                <a:gd name="T47" fmla="*/ 17 h 48"/>
                <a:gd name="T48" fmla="*/ 2 w 90"/>
                <a:gd name="T49" fmla="*/ 19 h 48"/>
                <a:gd name="T50" fmla="*/ 6 w 90"/>
                <a:gd name="T51" fmla="*/ 18 h 48"/>
                <a:gd name="T52" fmla="*/ 16 w 90"/>
                <a:gd name="T53" fmla="*/ 16 h 48"/>
                <a:gd name="T54" fmla="*/ 14 w 90"/>
                <a:gd name="T55" fmla="*/ 22 h 48"/>
                <a:gd name="T56" fmla="*/ 17 w 90"/>
                <a:gd name="T57" fmla="*/ 23 h 48"/>
                <a:gd name="T58" fmla="*/ 7 w 90"/>
                <a:gd name="T59" fmla="*/ 26 h 48"/>
                <a:gd name="T60" fmla="*/ 3 w 90"/>
                <a:gd name="T61" fmla="*/ 28 h 48"/>
                <a:gd name="T62" fmla="*/ 8 w 90"/>
                <a:gd name="T63" fmla="*/ 28 h 48"/>
                <a:gd name="T64" fmla="*/ 16 w 90"/>
                <a:gd name="T65" fmla="*/ 32 h 48"/>
                <a:gd name="T66" fmla="*/ 19 w 90"/>
                <a:gd name="T67" fmla="*/ 34 h 48"/>
                <a:gd name="T68" fmla="*/ 18 w 90"/>
                <a:gd name="T69" fmla="*/ 37 h 48"/>
                <a:gd name="T70" fmla="*/ 12 w 90"/>
                <a:gd name="T71" fmla="*/ 40 h 48"/>
                <a:gd name="T72" fmla="*/ 26 w 90"/>
                <a:gd name="T73" fmla="*/ 40 h 48"/>
                <a:gd name="T74" fmla="*/ 30 w 90"/>
                <a:gd name="T75" fmla="*/ 41 h 48"/>
                <a:gd name="T76" fmla="*/ 36 w 90"/>
                <a:gd name="T77" fmla="*/ 42 h 48"/>
                <a:gd name="T78" fmla="*/ 36 w 90"/>
                <a:gd name="T79" fmla="*/ 46 h 48"/>
                <a:gd name="T80" fmla="*/ 48 w 90"/>
                <a:gd name="T81" fmla="*/ 45 h 48"/>
                <a:gd name="T82" fmla="*/ 50 w 90"/>
                <a:gd name="T83" fmla="*/ 47 h 48"/>
                <a:gd name="T84" fmla="*/ 51 w 90"/>
                <a:gd name="T85" fmla="*/ 42 h 48"/>
                <a:gd name="T86" fmla="*/ 58 w 90"/>
                <a:gd name="T87" fmla="*/ 42 h 48"/>
                <a:gd name="T88" fmla="*/ 62 w 90"/>
                <a:gd name="T89" fmla="*/ 38 h 48"/>
                <a:gd name="T90" fmla="*/ 69 w 90"/>
                <a:gd name="T91" fmla="*/ 36 h 48"/>
                <a:gd name="T92" fmla="*/ 78 w 90"/>
                <a:gd name="T93" fmla="*/ 33 h 48"/>
                <a:gd name="T94" fmla="*/ 81 w 90"/>
                <a:gd name="T95" fmla="*/ 28 h 48"/>
                <a:gd name="T96" fmla="*/ 84 w 90"/>
                <a:gd name="T97" fmla="*/ 26 h 48"/>
                <a:gd name="T98" fmla="*/ 86 w 90"/>
                <a:gd name="T99" fmla="*/ 26 h 48"/>
                <a:gd name="T100" fmla="*/ 89 w 90"/>
                <a:gd name="T101" fmla="*/ 23 h 48"/>
                <a:gd name="T102" fmla="*/ 88 w 90"/>
                <a:gd name="T103" fmla="*/ 22 h 48"/>
                <a:gd name="T104" fmla="*/ 89 w 90"/>
                <a:gd name="T105" fmla="*/ 18 h 48"/>
                <a:gd name="T106" fmla="*/ 85 w 90"/>
                <a:gd name="T107" fmla="*/ 16 h 48"/>
                <a:gd name="T108" fmla="*/ 82 w 90"/>
                <a:gd name="T109" fmla="*/ 14 h 48"/>
                <a:gd name="T110" fmla="*/ 80 w 90"/>
                <a:gd name="T111" fmla="*/ 10 h 48"/>
                <a:gd name="T112" fmla="*/ 78 w 90"/>
                <a:gd name="T113" fmla="*/ 7 h 48"/>
                <a:gd name="T114" fmla="*/ 83 w 90"/>
                <a:gd name="T115" fmla="*/ 4 h 48"/>
                <a:gd name="T116" fmla="*/ 74 w 90"/>
                <a:gd name="T117" fmla="*/ 6 h 48"/>
                <a:gd name="T118" fmla="*/ 69 w 90"/>
                <a:gd name="T119" fmla="*/ 1 h 48"/>
                <a:gd name="T120" fmla="*/ 10 w 90"/>
                <a:gd name="T121" fmla="*/ 2 h 48"/>
                <a:gd name="T122" fmla="*/ 18 w 90"/>
                <a:gd name="T123" fmla="*/ 3 h 48"/>
                <a:gd name="T124" fmla="*/ 10 w 90"/>
                <a:gd name="T1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48">
                  <a:moveTo>
                    <a:pt x="69" y="1"/>
                  </a:moveTo>
                  <a:cubicBezTo>
                    <a:pt x="68" y="2"/>
                    <a:pt x="68" y="2"/>
                    <a:pt x="66" y="2"/>
                  </a:cubicBezTo>
                  <a:cubicBezTo>
                    <a:pt x="66" y="4"/>
                    <a:pt x="66" y="6"/>
                    <a:pt x="66" y="7"/>
                  </a:cubicBezTo>
                  <a:cubicBezTo>
                    <a:pt x="64" y="7"/>
                    <a:pt x="63" y="8"/>
                    <a:pt x="62" y="8"/>
                  </a:cubicBezTo>
                  <a:cubicBezTo>
                    <a:pt x="62" y="8"/>
                    <a:pt x="62" y="5"/>
                    <a:pt x="60" y="6"/>
                  </a:cubicBezTo>
                  <a:cubicBezTo>
                    <a:pt x="59" y="6"/>
                    <a:pt x="59" y="8"/>
                    <a:pt x="59" y="8"/>
                  </a:cubicBezTo>
                  <a:cubicBezTo>
                    <a:pt x="58" y="8"/>
                    <a:pt x="57" y="8"/>
                    <a:pt x="56" y="8"/>
                  </a:cubicBezTo>
                  <a:cubicBezTo>
                    <a:pt x="55" y="9"/>
                    <a:pt x="55" y="9"/>
                    <a:pt x="55" y="9"/>
                  </a:cubicBezTo>
                  <a:cubicBezTo>
                    <a:pt x="53" y="10"/>
                    <a:pt x="51" y="7"/>
                    <a:pt x="50" y="6"/>
                  </a:cubicBezTo>
                  <a:cubicBezTo>
                    <a:pt x="50" y="8"/>
                    <a:pt x="49" y="10"/>
                    <a:pt x="50" y="12"/>
                  </a:cubicBezTo>
                  <a:cubicBezTo>
                    <a:pt x="49" y="11"/>
                    <a:pt x="47" y="11"/>
                    <a:pt x="46" y="8"/>
                  </a:cubicBezTo>
                  <a:cubicBezTo>
                    <a:pt x="46" y="8"/>
                    <a:pt x="47" y="6"/>
                    <a:pt x="47" y="7"/>
                  </a:cubicBezTo>
                  <a:cubicBezTo>
                    <a:pt x="47" y="7"/>
                    <a:pt x="47" y="5"/>
                    <a:pt x="47" y="5"/>
                  </a:cubicBezTo>
                  <a:cubicBezTo>
                    <a:pt x="47" y="5"/>
                    <a:pt x="45" y="5"/>
                    <a:pt x="44" y="5"/>
                  </a:cubicBezTo>
                  <a:cubicBezTo>
                    <a:pt x="44" y="5"/>
                    <a:pt x="44" y="7"/>
                    <a:pt x="44" y="7"/>
                  </a:cubicBezTo>
                  <a:cubicBezTo>
                    <a:pt x="42" y="8"/>
                    <a:pt x="39" y="7"/>
                    <a:pt x="38" y="9"/>
                  </a:cubicBezTo>
                  <a:cubicBezTo>
                    <a:pt x="39" y="12"/>
                    <a:pt x="39" y="12"/>
                    <a:pt x="39" y="12"/>
                  </a:cubicBezTo>
                  <a:cubicBezTo>
                    <a:pt x="38" y="13"/>
                    <a:pt x="38" y="12"/>
                    <a:pt x="38" y="13"/>
                  </a:cubicBezTo>
                  <a:cubicBezTo>
                    <a:pt x="37" y="12"/>
                    <a:pt x="36" y="11"/>
                    <a:pt x="36" y="10"/>
                  </a:cubicBezTo>
                  <a:cubicBezTo>
                    <a:pt x="35" y="9"/>
                    <a:pt x="35" y="8"/>
                    <a:pt x="35" y="7"/>
                  </a:cubicBezTo>
                  <a:cubicBezTo>
                    <a:pt x="34" y="8"/>
                    <a:pt x="33" y="8"/>
                    <a:pt x="32" y="8"/>
                  </a:cubicBezTo>
                  <a:cubicBezTo>
                    <a:pt x="32" y="10"/>
                    <a:pt x="33" y="15"/>
                    <a:pt x="32" y="16"/>
                  </a:cubicBezTo>
                  <a:cubicBezTo>
                    <a:pt x="31" y="16"/>
                    <a:pt x="28" y="14"/>
                    <a:pt x="29" y="15"/>
                  </a:cubicBezTo>
                  <a:cubicBezTo>
                    <a:pt x="28" y="15"/>
                    <a:pt x="28" y="15"/>
                    <a:pt x="28" y="15"/>
                  </a:cubicBezTo>
                  <a:cubicBezTo>
                    <a:pt x="27" y="17"/>
                    <a:pt x="28" y="18"/>
                    <a:pt x="27" y="19"/>
                  </a:cubicBezTo>
                  <a:cubicBezTo>
                    <a:pt x="27" y="19"/>
                    <a:pt x="25" y="20"/>
                    <a:pt x="24" y="20"/>
                  </a:cubicBezTo>
                  <a:cubicBezTo>
                    <a:pt x="24" y="20"/>
                    <a:pt x="23" y="18"/>
                    <a:pt x="23" y="18"/>
                  </a:cubicBezTo>
                  <a:cubicBezTo>
                    <a:pt x="23" y="15"/>
                    <a:pt x="26" y="12"/>
                    <a:pt x="23" y="12"/>
                  </a:cubicBezTo>
                  <a:cubicBezTo>
                    <a:pt x="23" y="12"/>
                    <a:pt x="24" y="11"/>
                    <a:pt x="24" y="10"/>
                  </a:cubicBezTo>
                  <a:cubicBezTo>
                    <a:pt x="22" y="10"/>
                    <a:pt x="22" y="10"/>
                    <a:pt x="22" y="10"/>
                  </a:cubicBezTo>
                  <a:cubicBezTo>
                    <a:pt x="22" y="9"/>
                    <a:pt x="23" y="8"/>
                    <a:pt x="22" y="8"/>
                  </a:cubicBezTo>
                  <a:cubicBezTo>
                    <a:pt x="22" y="7"/>
                    <a:pt x="20" y="6"/>
                    <a:pt x="20" y="5"/>
                  </a:cubicBezTo>
                  <a:cubicBezTo>
                    <a:pt x="19" y="5"/>
                    <a:pt x="15" y="5"/>
                    <a:pt x="14" y="5"/>
                  </a:cubicBezTo>
                  <a:cubicBezTo>
                    <a:pt x="13" y="6"/>
                    <a:pt x="13" y="6"/>
                    <a:pt x="13" y="6"/>
                  </a:cubicBezTo>
                  <a:cubicBezTo>
                    <a:pt x="14" y="7"/>
                    <a:pt x="16" y="8"/>
                    <a:pt x="17" y="8"/>
                  </a:cubicBezTo>
                  <a:cubicBezTo>
                    <a:pt x="17" y="9"/>
                    <a:pt x="20" y="13"/>
                    <a:pt x="16" y="12"/>
                  </a:cubicBezTo>
                  <a:cubicBezTo>
                    <a:pt x="16" y="12"/>
                    <a:pt x="16" y="11"/>
                    <a:pt x="15" y="11"/>
                  </a:cubicBezTo>
                  <a:cubicBezTo>
                    <a:pt x="12" y="10"/>
                    <a:pt x="11" y="9"/>
                    <a:pt x="10" y="7"/>
                  </a:cubicBezTo>
                  <a:cubicBezTo>
                    <a:pt x="12" y="6"/>
                    <a:pt x="8" y="6"/>
                    <a:pt x="8" y="6"/>
                  </a:cubicBezTo>
                  <a:cubicBezTo>
                    <a:pt x="8" y="8"/>
                    <a:pt x="8" y="8"/>
                    <a:pt x="8" y="8"/>
                  </a:cubicBezTo>
                  <a:cubicBezTo>
                    <a:pt x="8" y="8"/>
                    <a:pt x="9" y="8"/>
                    <a:pt x="9" y="8"/>
                  </a:cubicBezTo>
                  <a:cubicBezTo>
                    <a:pt x="9" y="8"/>
                    <a:pt x="7" y="8"/>
                    <a:pt x="8" y="8"/>
                  </a:cubicBezTo>
                  <a:cubicBezTo>
                    <a:pt x="7" y="8"/>
                    <a:pt x="6" y="9"/>
                    <a:pt x="5" y="9"/>
                  </a:cubicBezTo>
                  <a:cubicBezTo>
                    <a:pt x="6" y="10"/>
                    <a:pt x="6" y="9"/>
                    <a:pt x="8" y="10"/>
                  </a:cubicBezTo>
                  <a:cubicBezTo>
                    <a:pt x="7" y="11"/>
                    <a:pt x="8" y="13"/>
                    <a:pt x="8" y="14"/>
                  </a:cubicBezTo>
                  <a:cubicBezTo>
                    <a:pt x="6" y="14"/>
                    <a:pt x="6" y="14"/>
                    <a:pt x="6" y="14"/>
                  </a:cubicBezTo>
                  <a:cubicBezTo>
                    <a:pt x="5" y="15"/>
                    <a:pt x="4" y="17"/>
                    <a:pt x="3" y="18"/>
                  </a:cubicBezTo>
                  <a:cubicBezTo>
                    <a:pt x="2" y="18"/>
                    <a:pt x="1" y="17"/>
                    <a:pt x="0" y="17"/>
                  </a:cubicBezTo>
                  <a:cubicBezTo>
                    <a:pt x="0" y="19"/>
                    <a:pt x="0" y="19"/>
                    <a:pt x="0" y="19"/>
                  </a:cubicBezTo>
                  <a:cubicBezTo>
                    <a:pt x="0" y="19"/>
                    <a:pt x="2" y="19"/>
                    <a:pt x="2" y="19"/>
                  </a:cubicBezTo>
                  <a:cubicBezTo>
                    <a:pt x="1" y="19"/>
                    <a:pt x="5" y="20"/>
                    <a:pt x="5" y="20"/>
                  </a:cubicBezTo>
                  <a:cubicBezTo>
                    <a:pt x="5" y="19"/>
                    <a:pt x="6" y="18"/>
                    <a:pt x="6" y="18"/>
                  </a:cubicBezTo>
                  <a:cubicBezTo>
                    <a:pt x="9" y="17"/>
                    <a:pt x="11" y="17"/>
                    <a:pt x="14" y="16"/>
                  </a:cubicBezTo>
                  <a:cubicBezTo>
                    <a:pt x="13" y="15"/>
                    <a:pt x="15" y="16"/>
                    <a:pt x="16" y="16"/>
                  </a:cubicBezTo>
                  <a:cubicBezTo>
                    <a:pt x="18" y="18"/>
                    <a:pt x="16" y="18"/>
                    <a:pt x="14" y="18"/>
                  </a:cubicBezTo>
                  <a:cubicBezTo>
                    <a:pt x="14" y="19"/>
                    <a:pt x="15" y="22"/>
                    <a:pt x="14" y="22"/>
                  </a:cubicBezTo>
                  <a:cubicBezTo>
                    <a:pt x="15" y="22"/>
                    <a:pt x="16" y="21"/>
                    <a:pt x="16" y="21"/>
                  </a:cubicBezTo>
                  <a:cubicBezTo>
                    <a:pt x="19" y="21"/>
                    <a:pt x="17" y="23"/>
                    <a:pt x="17" y="23"/>
                  </a:cubicBezTo>
                  <a:cubicBezTo>
                    <a:pt x="15" y="23"/>
                    <a:pt x="12" y="22"/>
                    <a:pt x="11" y="22"/>
                  </a:cubicBezTo>
                  <a:cubicBezTo>
                    <a:pt x="10" y="23"/>
                    <a:pt x="9" y="25"/>
                    <a:pt x="7" y="26"/>
                  </a:cubicBezTo>
                  <a:cubicBezTo>
                    <a:pt x="6" y="26"/>
                    <a:pt x="4" y="26"/>
                    <a:pt x="3" y="26"/>
                  </a:cubicBezTo>
                  <a:cubicBezTo>
                    <a:pt x="2" y="27"/>
                    <a:pt x="2" y="28"/>
                    <a:pt x="3" y="28"/>
                  </a:cubicBezTo>
                  <a:cubicBezTo>
                    <a:pt x="3" y="28"/>
                    <a:pt x="5" y="29"/>
                    <a:pt x="6" y="29"/>
                  </a:cubicBezTo>
                  <a:cubicBezTo>
                    <a:pt x="8" y="28"/>
                    <a:pt x="8" y="28"/>
                    <a:pt x="8" y="28"/>
                  </a:cubicBezTo>
                  <a:cubicBezTo>
                    <a:pt x="9" y="28"/>
                    <a:pt x="13" y="28"/>
                    <a:pt x="15" y="28"/>
                  </a:cubicBezTo>
                  <a:cubicBezTo>
                    <a:pt x="16" y="30"/>
                    <a:pt x="16" y="31"/>
                    <a:pt x="16" y="32"/>
                  </a:cubicBezTo>
                  <a:cubicBezTo>
                    <a:pt x="17" y="32"/>
                    <a:pt x="18" y="31"/>
                    <a:pt x="19" y="31"/>
                  </a:cubicBezTo>
                  <a:cubicBezTo>
                    <a:pt x="19" y="31"/>
                    <a:pt x="19" y="33"/>
                    <a:pt x="19" y="34"/>
                  </a:cubicBezTo>
                  <a:cubicBezTo>
                    <a:pt x="19" y="35"/>
                    <a:pt x="19" y="35"/>
                    <a:pt x="19" y="35"/>
                  </a:cubicBezTo>
                  <a:cubicBezTo>
                    <a:pt x="18" y="35"/>
                    <a:pt x="19" y="36"/>
                    <a:pt x="18" y="37"/>
                  </a:cubicBezTo>
                  <a:cubicBezTo>
                    <a:pt x="15" y="37"/>
                    <a:pt x="15" y="37"/>
                    <a:pt x="12" y="38"/>
                  </a:cubicBezTo>
                  <a:cubicBezTo>
                    <a:pt x="12" y="40"/>
                    <a:pt x="12" y="40"/>
                    <a:pt x="12" y="40"/>
                  </a:cubicBezTo>
                  <a:cubicBezTo>
                    <a:pt x="17" y="41"/>
                    <a:pt x="20" y="40"/>
                    <a:pt x="25" y="39"/>
                  </a:cubicBezTo>
                  <a:cubicBezTo>
                    <a:pt x="26" y="40"/>
                    <a:pt x="26" y="40"/>
                    <a:pt x="26" y="40"/>
                  </a:cubicBezTo>
                  <a:cubicBezTo>
                    <a:pt x="27" y="41"/>
                    <a:pt x="28" y="40"/>
                    <a:pt x="29" y="40"/>
                  </a:cubicBezTo>
                  <a:cubicBezTo>
                    <a:pt x="30" y="41"/>
                    <a:pt x="30" y="41"/>
                    <a:pt x="30" y="41"/>
                  </a:cubicBezTo>
                  <a:cubicBezTo>
                    <a:pt x="32" y="42"/>
                    <a:pt x="33" y="42"/>
                    <a:pt x="34" y="42"/>
                  </a:cubicBezTo>
                  <a:cubicBezTo>
                    <a:pt x="36" y="42"/>
                    <a:pt x="36" y="42"/>
                    <a:pt x="36" y="42"/>
                  </a:cubicBezTo>
                  <a:cubicBezTo>
                    <a:pt x="34" y="44"/>
                    <a:pt x="34" y="45"/>
                    <a:pt x="32" y="46"/>
                  </a:cubicBezTo>
                  <a:cubicBezTo>
                    <a:pt x="34" y="46"/>
                    <a:pt x="34" y="46"/>
                    <a:pt x="36" y="46"/>
                  </a:cubicBezTo>
                  <a:cubicBezTo>
                    <a:pt x="38" y="46"/>
                    <a:pt x="43" y="48"/>
                    <a:pt x="46" y="47"/>
                  </a:cubicBezTo>
                  <a:cubicBezTo>
                    <a:pt x="47" y="47"/>
                    <a:pt x="48" y="45"/>
                    <a:pt x="48" y="45"/>
                  </a:cubicBezTo>
                  <a:cubicBezTo>
                    <a:pt x="48" y="45"/>
                    <a:pt x="49" y="46"/>
                    <a:pt x="49" y="47"/>
                  </a:cubicBezTo>
                  <a:cubicBezTo>
                    <a:pt x="50" y="47"/>
                    <a:pt x="50" y="47"/>
                    <a:pt x="50" y="47"/>
                  </a:cubicBezTo>
                  <a:cubicBezTo>
                    <a:pt x="51" y="47"/>
                    <a:pt x="51" y="46"/>
                    <a:pt x="51" y="45"/>
                  </a:cubicBezTo>
                  <a:cubicBezTo>
                    <a:pt x="52" y="43"/>
                    <a:pt x="54" y="43"/>
                    <a:pt x="51" y="42"/>
                  </a:cubicBezTo>
                  <a:cubicBezTo>
                    <a:pt x="51" y="41"/>
                    <a:pt x="51" y="40"/>
                    <a:pt x="51" y="39"/>
                  </a:cubicBezTo>
                  <a:cubicBezTo>
                    <a:pt x="56" y="40"/>
                    <a:pt x="55" y="40"/>
                    <a:pt x="58" y="42"/>
                  </a:cubicBezTo>
                  <a:cubicBezTo>
                    <a:pt x="59" y="41"/>
                    <a:pt x="60" y="41"/>
                    <a:pt x="61" y="41"/>
                  </a:cubicBezTo>
                  <a:cubicBezTo>
                    <a:pt x="61" y="40"/>
                    <a:pt x="61" y="39"/>
                    <a:pt x="62" y="38"/>
                  </a:cubicBezTo>
                  <a:cubicBezTo>
                    <a:pt x="62" y="38"/>
                    <a:pt x="64" y="40"/>
                    <a:pt x="65" y="40"/>
                  </a:cubicBezTo>
                  <a:cubicBezTo>
                    <a:pt x="66" y="39"/>
                    <a:pt x="67" y="37"/>
                    <a:pt x="69" y="36"/>
                  </a:cubicBezTo>
                  <a:cubicBezTo>
                    <a:pt x="71" y="35"/>
                    <a:pt x="73" y="36"/>
                    <a:pt x="76" y="35"/>
                  </a:cubicBezTo>
                  <a:cubicBezTo>
                    <a:pt x="76" y="35"/>
                    <a:pt x="78" y="33"/>
                    <a:pt x="78" y="33"/>
                  </a:cubicBezTo>
                  <a:cubicBezTo>
                    <a:pt x="78" y="33"/>
                    <a:pt x="79" y="33"/>
                    <a:pt x="80" y="33"/>
                  </a:cubicBezTo>
                  <a:cubicBezTo>
                    <a:pt x="80" y="33"/>
                    <a:pt x="81" y="29"/>
                    <a:pt x="81" y="28"/>
                  </a:cubicBezTo>
                  <a:cubicBezTo>
                    <a:pt x="83" y="27"/>
                    <a:pt x="83" y="28"/>
                    <a:pt x="84" y="27"/>
                  </a:cubicBezTo>
                  <a:cubicBezTo>
                    <a:pt x="84" y="26"/>
                    <a:pt x="84" y="26"/>
                    <a:pt x="84" y="26"/>
                  </a:cubicBezTo>
                  <a:cubicBezTo>
                    <a:pt x="84" y="25"/>
                    <a:pt x="84" y="25"/>
                    <a:pt x="84" y="25"/>
                  </a:cubicBezTo>
                  <a:cubicBezTo>
                    <a:pt x="84" y="25"/>
                    <a:pt x="87" y="25"/>
                    <a:pt x="86" y="26"/>
                  </a:cubicBezTo>
                  <a:cubicBezTo>
                    <a:pt x="87" y="25"/>
                    <a:pt x="87" y="27"/>
                    <a:pt x="89" y="26"/>
                  </a:cubicBezTo>
                  <a:cubicBezTo>
                    <a:pt x="90" y="26"/>
                    <a:pt x="90" y="23"/>
                    <a:pt x="89" y="23"/>
                  </a:cubicBezTo>
                  <a:cubicBezTo>
                    <a:pt x="90" y="22"/>
                    <a:pt x="90" y="22"/>
                    <a:pt x="90" y="22"/>
                  </a:cubicBezTo>
                  <a:cubicBezTo>
                    <a:pt x="89" y="22"/>
                    <a:pt x="88" y="22"/>
                    <a:pt x="88" y="22"/>
                  </a:cubicBezTo>
                  <a:cubicBezTo>
                    <a:pt x="88" y="20"/>
                    <a:pt x="88" y="20"/>
                    <a:pt x="88" y="20"/>
                  </a:cubicBezTo>
                  <a:cubicBezTo>
                    <a:pt x="88" y="21"/>
                    <a:pt x="89" y="19"/>
                    <a:pt x="89" y="18"/>
                  </a:cubicBezTo>
                  <a:cubicBezTo>
                    <a:pt x="88" y="18"/>
                    <a:pt x="88" y="16"/>
                    <a:pt x="87" y="16"/>
                  </a:cubicBezTo>
                  <a:cubicBezTo>
                    <a:pt x="86" y="15"/>
                    <a:pt x="86" y="17"/>
                    <a:pt x="85" y="16"/>
                  </a:cubicBezTo>
                  <a:cubicBezTo>
                    <a:pt x="84" y="15"/>
                    <a:pt x="84" y="15"/>
                    <a:pt x="84" y="15"/>
                  </a:cubicBezTo>
                  <a:cubicBezTo>
                    <a:pt x="83" y="15"/>
                    <a:pt x="83" y="14"/>
                    <a:pt x="82" y="14"/>
                  </a:cubicBezTo>
                  <a:cubicBezTo>
                    <a:pt x="81" y="15"/>
                    <a:pt x="80" y="16"/>
                    <a:pt x="79" y="16"/>
                  </a:cubicBezTo>
                  <a:cubicBezTo>
                    <a:pt x="79" y="14"/>
                    <a:pt x="80" y="12"/>
                    <a:pt x="80" y="10"/>
                  </a:cubicBezTo>
                  <a:cubicBezTo>
                    <a:pt x="80" y="10"/>
                    <a:pt x="79" y="10"/>
                    <a:pt x="78" y="10"/>
                  </a:cubicBezTo>
                  <a:cubicBezTo>
                    <a:pt x="78" y="9"/>
                    <a:pt x="79" y="8"/>
                    <a:pt x="78" y="7"/>
                  </a:cubicBezTo>
                  <a:cubicBezTo>
                    <a:pt x="79" y="7"/>
                    <a:pt x="80" y="6"/>
                    <a:pt x="82" y="6"/>
                  </a:cubicBezTo>
                  <a:cubicBezTo>
                    <a:pt x="82" y="6"/>
                    <a:pt x="82" y="4"/>
                    <a:pt x="83" y="4"/>
                  </a:cubicBezTo>
                  <a:cubicBezTo>
                    <a:pt x="80" y="5"/>
                    <a:pt x="79" y="5"/>
                    <a:pt x="76" y="6"/>
                  </a:cubicBezTo>
                  <a:cubicBezTo>
                    <a:pt x="77" y="6"/>
                    <a:pt x="74" y="6"/>
                    <a:pt x="74" y="6"/>
                  </a:cubicBezTo>
                  <a:cubicBezTo>
                    <a:pt x="74" y="6"/>
                    <a:pt x="71" y="1"/>
                    <a:pt x="71" y="1"/>
                  </a:cubicBezTo>
                  <a:cubicBezTo>
                    <a:pt x="70" y="1"/>
                    <a:pt x="69" y="1"/>
                    <a:pt x="69" y="1"/>
                  </a:cubicBezTo>
                  <a:close/>
                  <a:moveTo>
                    <a:pt x="10" y="0"/>
                  </a:moveTo>
                  <a:cubicBezTo>
                    <a:pt x="10" y="1"/>
                    <a:pt x="10" y="2"/>
                    <a:pt x="10" y="2"/>
                  </a:cubicBezTo>
                  <a:cubicBezTo>
                    <a:pt x="9" y="2"/>
                    <a:pt x="9" y="2"/>
                    <a:pt x="9" y="3"/>
                  </a:cubicBezTo>
                  <a:cubicBezTo>
                    <a:pt x="13" y="3"/>
                    <a:pt x="15" y="3"/>
                    <a:pt x="18" y="3"/>
                  </a:cubicBezTo>
                  <a:cubicBezTo>
                    <a:pt x="18" y="3"/>
                    <a:pt x="18" y="2"/>
                    <a:pt x="17" y="1"/>
                  </a:cubicBezTo>
                  <a:cubicBezTo>
                    <a:pt x="16" y="0"/>
                    <a:pt x="12" y="0"/>
                    <a:pt x="10" y="0"/>
                  </a:cubicBezTo>
                  <a:close/>
                </a:path>
              </a:pathLst>
            </a:custGeom>
            <a:grpFill/>
            <a:ln w="2" cap="flat">
              <a:solidFill>
                <a:schemeClr val="bg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69" name="Freeform 211">
              <a:extLst>
                <a:ext uri="{FF2B5EF4-FFF2-40B4-BE49-F238E27FC236}">
                  <a16:creationId xmlns:a16="http://schemas.microsoft.com/office/drawing/2014/main" id="{C1EED7CA-FD1F-99FD-DD9D-B5E0A93713CF}"/>
                </a:ext>
              </a:extLst>
            </p:cNvPr>
            <p:cNvSpPr>
              <a:spLocks/>
            </p:cNvSpPr>
            <p:nvPr/>
          </p:nvSpPr>
          <p:spPr bwMode="auto">
            <a:xfrm>
              <a:off x="6468078" y="2290111"/>
              <a:ext cx="215569" cy="152697"/>
            </a:xfrm>
            <a:custGeom>
              <a:avLst/>
              <a:gdLst>
                <a:gd name="T0" fmla="*/ 27 w 61"/>
                <a:gd name="T1" fmla="*/ 42 h 43"/>
                <a:gd name="T2" fmla="*/ 21 w 61"/>
                <a:gd name="T3" fmla="*/ 41 h 43"/>
                <a:gd name="T4" fmla="*/ 13 w 61"/>
                <a:gd name="T5" fmla="*/ 37 h 43"/>
                <a:gd name="T6" fmla="*/ 7 w 61"/>
                <a:gd name="T7" fmla="*/ 29 h 43"/>
                <a:gd name="T8" fmla="*/ 2 w 61"/>
                <a:gd name="T9" fmla="*/ 23 h 43"/>
                <a:gd name="T10" fmla="*/ 2 w 61"/>
                <a:gd name="T11" fmla="*/ 20 h 43"/>
                <a:gd name="T12" fmla="*/ 0 w 61"/>
                <a:gd name="T13" fmla="*/ 17 h 43"/>
                <a:gd name="T14" fmla="*/ 3 w 61"/>
                <a:gd name="T15" fmla="*/ 14 h 43"/>
                <a:gd name="T16" fmla="*/ 5 w 61"/>
                <a:gd name="T17" fmla="*/ 8 h 43"/>
                <a:gd name="T18" fmla="*/ 7 w 61"/>
                <a:gd name="T19" fmla="*/ 5 h 43"/>
                <a:gd name="T20" fmla="*/ 13 w 61"/>
                <a:gd name="T21" fmla="*/ 8 h 43"/>
                <a:gd name="T22" fmla="*/ 21 w 61"/>
                <a:gd name="T23" fmla="*/ 8 h 43"/>
                <a:gd name="T24" fmla="*/ 26 w 61"/>
                <a:gd name="T25" fmla="*/ 9 h 43"/>
                <a:gd name="T26" fmla="*/ 25 w 61"/>
                <a:gd name="T27" fmla="*/ 5 h 43"/>
                <a:gd name="T28" fmla="*/ 30 w 61"/>
                <a:gd name="T29" fmla="*/ 5 h 43"/>
                <a:gd name="T30" fmla="*/ 36 w 61"/>
                <a:gd name="T31" fmla="*/ 4 h 43"/>
                <a:gd name="T32" fmla="*/ 40 w 61"/>
                <a:gd name="T33" fmla="*/ 5 h 43"/>
                <a:gd name="T34" fmla="*/ 43 w 61"/>
                <a:gd name="T35" fmla="*/ 3 h 43"/>
                <a:gd name="T36" fmla="*/ 51 w 61"/>
                <a:gd name="T37" fmla="*/ 2 h 43"/>
                <a:gd name="T38" fmla="*/ 57 w 61"/>
                <a:gd name="T39" fmla="*/ 2 h 43"/>
                <a:gd name="T40" fmla="*/ 61 w 61"/>
                <a:gd name="T41" fmla="*/ 4 h 43"/>
                <a:gd name="T42" fmla="*/ 60 w 61"/>
                <a:gd name="T43" fmla="*/ 12 h 43"/>
                <a:gd name="T44" fmla="*/ 55 w 61"/>
                <a:gd name="T45" fmla="*/ 16 h 43"/>
                <a:gd name="T46" fmla="*/ 51 w 61"/>
                <a:gd name="T47" fmla="*/ 32 h 43"/>
                <a:gd name="T48" fmla="*/ 45 w 61"/>
                <a:gd name="T49" fmla="*/ 37 h 43"/>
                <a:gd name="T50" fmla="*/ 43 w 61"/>
                <a:gd name="T51" fmla="*/ 37 h 43"/>
                <a:gd name="T52" fmla="*/ 38 w 61"/>
                <a:gd name="T53" fmla="*/ 37 h 43"/>
                <a:gd name="T54" fmla="*/ 32 w 61"/>
                <a:gd name="T55" fmla="*/ 39 h 43"/>
                <a:gd name="T56" fmla="*/ 28 w 61"/>
                <a:gd name="T57" fmla="*/ 42 h 43"/>
                <a:gd name="T58" fmla="*/ 27 w 61"/>
                <a:gd name="T59"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43">
                  <a:moveTo>
                    <a:pt x="27" y="42"/>
                  </a:moveTo>
                  <a:cubicBezTo>
                    <a:pt x="27" y="42"/>
                    <a:pt x="23" y="43"/>
                    <a:pt x="21" y="41"/>
                  </a:cubicBezTo>
                  <a:cubicBezTo>
                    <a:pt x="19" y="40"/>
                    <a:pt x="16" y="40"/>
                    <a:pt x="13" y="37"/>
                  </a:cubicBezTo>
                  <a:cubicBezTo>
                    <a:pt x="10" y="35"/>
                    <a:pt x="8" y="32"/>
                    <a:pt x="7" y="29"/>
                  </a:cubicBezTo>
                  <a:cubicBezTo>
                    <a:pt x="7" y="26"/>
                    <a:pt x="2" y="23"/>
                    <a:pt x="2" y="23"/>
                  </a:cubicBezTo>
                  <a:cubicBezTo>
                    <a:pt x="2" y="23"/>
                    <a:pt x="3" y="22"/>
                    <a:pt x="2" y="20"/>
                  </a:cubicBezTo>
                  <a:cubicBezTo>
                    <a:pt x="2" y="18"/>
                    <a:pt x="0" y="17"/>
                    <a:pt x="0" y="17"/>
                  </a:cubicBezTo>
                  <a:cubicBezTo>
                    <a:pt x="0" y="17"/>
                    <a:pt x="1" y="13"/>
                    <a:pt x="3" y="14"/>
                  </a:cubicBezTo>
                  <a:cubicBezTo>
                    <a:pt x="5" y="15"/>
                    <a:pt x="5" y="8"/>
                    <a:pt x="5" y="8"/>
                  </a:cubicBezTo>
                  <a:cubicBezTo>
                    <a:pt x="5" y="8"/>
                    <a:pt x="4" y="4"/>
                    <a:pt x="7" y="5"/>
                  </a:cubicBezTo>
                  <a:cubicBezTo>
                    <a:pt x="7" y="5"/>
                    <a:pt x="11" y="8"/>
                    <a:pt x="13" y="8"/>
                  </a:cubicBezTo>
                  <a:cubicBezTo>
                    <a:pt x="16" y="8"/>
                    <a:pt x="16" y="7"/>
                    <a:pt x="21" y="8"/>
                  </a:cubicBezTo>
                  <a:cubicBezTo>
                    <a:pt x="26" y="10"/>
                    <a:pt x="26" y="9"/>
                    <a:pt x="26" y="9"/>
                  </a:cubicBezTo>
                  <a:cubicBezTo>
                    <a:pt x="25" y="5"/>
                    <a:pt x="25" y="5"/>
                    <a:pt x="25" y="5"/>
                  </a:cubicBezTo>
                  <a:cubicBezTo>
                    <a:pt x="25" y="5"/>
                    <a:pt x="25" y="6"/>
                    <a:pt x="30" y="5"/>
                  </a:cubicBezTo>
                  <a:cubicBezTo>
                    <a:pt x="34" y="3"/>
                    <a:pt x="34" y="2"/>
                    <a:pt x="36" y="4"/>
                  </a:cubicBezTo>
                  <a:cubicBezTo>
                    <a:pt x="38" y="6"/>
                    <a:pt x="40" y="5"/>
                    <a:pt x="40" y="5"/>
                  </a:cubicBezTo>
                  <a:cubicBezTo>
                    <a:pt x="40" y="5"/>
                    <a:pt x="40" y="4"/>
                    <a:pt x="43" y="3"/>
                  </a:cubicBezTo>
                  <a:cubicBezTo>
                    <a:pt x="47" y="2"/>
                    <a:pt x="47" y="1"/>
                    <a:pt x="51" y="2"/>
                  </a:cubicBezTo>
                  <a:cubicBezTo>
                    <a:pt x="55" y="2"/>
                    <a:pt x="55" y="0"/>
                    <a:pt x="57" y="2"/>
                  </a:cubicBezTo>
                  <a:cubicBezTo>
                    <a:pt x="59" y="4"/>
                    <a:pt x="61" y="4"/>
                    <a:pt x="61" y="4"/>
                  </a:cubicBezTo>
                  <a:cubicBezTo>
                    <a:pt x="61" y="4"/>
                    <a:pt x="61" y="10"/>
                    <a:pt x="60" y="12"/>
                  </a:cubicBezTo>
                  <a:cubicBezTo>
                    <a:pt x="60" y="14"/>
                    <a:pt x="59" y="14"/>
                    <a:pt x="55" y="16"/>
                  </a:cubicBezTo>
                  <a:cubicBezTo>
                    <a:pt x="52" y="19"/>
                    <a:pt x="54" y="26"/>
                    <a:pt x="51" y="32"/>
                  </a:cubicBezTo>
                  <a:cubicBezTo>
                    <a:pt x="48" y="37"/>
                    <a:pt x="45" y="37"/>
                    <a:pt x="45" y="37"/>
                  </a:cubicBezTo>
                  <a:cubicBezTo>
                    <a:pt x="43" y="37"/>
                    <a:pt x="43" y="37"/>
                    <a:pt x="43" y="37"/>
                  </a:cubicBezTo>
                  <a:cubicBezTo>
                    <a:pt x="38" y="37"/>
                    <a:pt x="38" y="37"/>
                    <a:pt x="38" y="37"/>
                  </a:cubicBezTo>
                  <a:cubicBezTo>
                    <a:pt x="35" y="37"/>
                    <a:pt x="33" y="37"/>
                    <a:pt x="32" y="39"/>
                  </a:cubicBezTo>
                  <a:cubicBezTo>
                    <a:pt x="31" y="41"/>
                    <a:pt x="28" y="42"/>
                    <a:pt x="28" y="42"/>
                  </a:cubicBezTo>
                  <a:lnTo>
                    <a:pt x="27" y="42"/>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70" name="Freeform 212">
              <a:extLst>
                <a:ext uri="{FF2B5EF4-FFF2-40B4-BE49-F238E27FC236}">
                  <a16:creationId xmlns:a16="http://schemas.microsoft.com/office/drawing/2014/main" id="{D0A68B60-1D63-02E0-CD87-4C8DA2FDE0B8}"/>
                </a:ext>
              </a:extLst>
            </p:cNvPr>
            <p:cNvSpPr>
              <a:spLocks/>
            </p:cNvSpPr>
            <p:nvPr/>
          </p:nvSpPr>
          <p:spPr bwMode="auto">
            <a:xfrm>
              <a:off x="6468078" y="2290111"/>
              <a:ext cx="215569" cy="152697"/>
            </a:xfrm>
            <a:custGeom>
              <a:avLst/>
              <a:gdLst>
                <a:gd name="T0" fmla="*/ 27 w 61"/>
                <a:gd name="T1" fmla="*/ 42 h 43"/>
                <a:gd name="T2" fmla="*/ 21 w 61"/>
                <a:gd name="T3" fmla="*/ 41 h 43"/>
                <a:gd name="T4" fmla="*/ 13 w 61"/>
                <a:gd name="T5" fmla="*/ 37 h 43"/>
                <a:gd name="T6" fmla="*/ 7 w 61"/>
                <a:gd name="T7" fmla="*/ 29 h 43"/>
                <a:gd name="T8" fmla="*/ 2 w 61"/>
                <a:gd name="T9" fmla="*/ 23 h 43"/>
                <a:gd name="T10" fmla="*/ 2 w 61"/>
                <a:gd name="T11" fmla="*/ 20 h 43"/>
                <a:gd name="T12" fmla="*/ 0 w 61"/>
                <a:gd name="T13" fmla="*/ 17 h 43"/>
                <a:gd name="T14" fmla="*/ 3 w 61"/>
                <a:gd name="T15" fmla="*/ 14 h 43"/>
                <a:gd name="T16" fmla="*/ 5 w 61"/>
                <a:gd name="T17" fmla="*/ 8 h 43"/>
                <a:gd name="T18" fmla="*/ 7 w 61"/>
                <a:gd name="T19" fmla="*/ 5 h 43"/>
                <a:gd name="T20" fmla="*/ 13 w 61"/>
                <a:gd name="T21" fmla="*/ 8 h 43"/>
                <a:gd name="T22" fmla="*/ 21 w 61"/>
                <a:gd name="T23" fmla="*/ 8 h 43"/>
                <a:gd name="T24" fmla="*/ 26 w 61"/>
                <a:gd name="T25" fmla="*/ 9 h 43"/>
                <a:gd name="T26" fmla="*/ 25 w 61"/>
                <a:gd name="T27" fmla="*/ 5 h 43"/>
                <a:gd name="T28" fmla="*/ 30 w 61"/>
                <a:gd name="T29" fmla="*/ 5 h 43"/>
                <a:gd name="T30" fmla="*/ 36 w 61"/>
                <a:gd name="T31" fmla="*/ 4 h 43"/>
                <a:gd name="T32" fmla="*/ 40 w 61"/>
                <a:gd name="T33" fmla="*/ 5 h 43"/>
                <a:gd name="T34" fmla="*/ 43 w 61"/>
                <a:gd name="T35" fmla="*/ 3 h 43"/>
                <a:gd name="T36" fmla="*/ 51 w 61"/>
                <a:gd name="T37" fmla="*/ 2 h 43"/>
                <a:gd name="T38" fmla="*/ 57 w 61"/>
                <a:gd name="T39" fmla="*/ 2 h 43"/>
                <a:gd name="T40" fmla="*/ 61 w 61"/>
                <a:gd name="T41" fmla="*/ 4 h 43"/>
                <a:gd name="T42" fmla="*/ 60 w 61"/>
                <a:gd name="T43" fmla="*/ 12 h 43"/>
                <a:gd name="T44" fmla="*/ 55 w 61"/>
                <a:gd name="T45" fmla="*/ 16 h 43"/>
                <a:gd name="T46" fmla="*/ 51 w 61"/>
                <a:gd name="T47" fmla="*/ 32 h 43"/>
                <a:gd name="T48" fmla="*/ 45 w 61"/>
                <a:gd name="T49" fmla="*/ 37 h 43"/>
                <a:gd name="T50" fmla="*/ 43 w 61"/>
                <a:gd name="T51" fmla="*/ 37 h 43"/>
                <a:gd name="T52" fmla="*/ 38 w 61"/>
                <a:gd name="T53" fmla="*/ 37 h 43"/>
                <a:gd name="T54" fmla="*/ 32 w 61"/>
                <a:gd name="T55" fmla="*/ 39 h 43"/>
                <a:gd name="T56" fmla="*/ 28 w 61"/>
                <a:gd name="T57" fmla="*/ 42 h 43"/>
                <a:gd name="T58" fmla="*/ 27 w 61"/>
                <a:gd name="T59"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 h="43">
                  <a:moveTo>
                    <a:pt x="27" y="42"/>
                  </a:moveTo>
                  <a:cubicBezTo>
                    <a:pt x="27" y="42"/>
                    <a:pt x="23" y="43"/>
                    <a:pt x="21" y="41"/>
                  </a:cubicBezTo>
                  <a:cubicBezTo>
                    <a:pt x="19" y="40"/>
                    <a:pt x="16" y="40"/>
                    <a:pt x="13" y="37"/>
                  </a:cubicBezTo>
                  <a:cubicBezTo>
                    <a:pt x="10" y="35"/>
                    <a:pt x="8" y="32"/>
                    <a:pt x="7" y="29"/>
                  </a:cubicBezTo>
                  <a:cubicBezTo>
                    <a:pt x="7" y="26"/>
                    <a:pt x="2" y="23"/>
                    <a:pt x="2" y="23"/>
                  </a:cubicBezTo>
                  <a:cubicBezTo>
                    <a:pt x="2" y="23"/>
                    <a:pt x="3" y="22"/>
                    <a:pt x="2" y="20"/>
                  </a:cubicBezTo>
                  <a:cubicBezTo>
                    <a:pt x="2" y="18"/>
                    <a:pt x="0" y="17"/>
                    <a:pt x="0" y="17"/>
                  </a:cubicBezTo>
                  <a:cubicBezTo>
                    <a:pt x="0" y="17"/>
                    <a:pt x="1" y="13"/>
                    <a:pt x="3" y="14"/>
                  </a:cubicBezTo>
                  <a:cubicBezTo>
                    <a:pt x="5" y="15"/>
                    <a:pt x="5" y="8"/>
                    <a:pt x="5" y="8"/>
                  </a:cubicBezTo>
                  <a:cubicBezTo>
                    <a:pt x="5" y="8"/>
                    <a:pt x="4" y="4"/>
                    <a:pt x="7" y="5"/>
                  </a:cubicBezTo>
                  <a:cubicBezTo>
                    <a:pt x="7" y="5"/>
                    <a:pt x="11" y="8"/>
                    <a:pt x="13" y="8"/>
                  </a:cubicBezTo>
                  <a:cubicBezTo>
                    <a:pt x="16" y="8"/>
                    <a:pt x="16" y="7"/>
                    <a:pt x="21" y="8"/>
                  </a:cubicBezTo>
                  <a:cubicBezTo>
                    <a:pt x="26" y="10"/>
                    <a:pt x="26" y="9"/>
                    <a:pt x="26" y="9"/>
                  </a:cubicBezTo>
                  <a:cubicBezTo>
                    <a:pt x="25" y="5"/>
                    <a:pt x="25" y="5"/>
                    <a:pt x="25" y="5"/>
                  </a:cubicBezTo>
                  <a:cubicBezTo>
                    <a:pt x="25" y="5"/>
                    <a:pt x="25" y="6"/>
                    <a:pt x="30" y="5"/>
                  </a:cubicBezTo>
                  <a:cubicBezTo>
                    <a:pt x="34" y="3"/>
                    <a:pt x="34" y="2"/>
                    <a:pt x="36" y="4"/>
                  </a:cubicBezTo>
                  <a:cubicBezTo>
                    <a:pt x="38" y="6"/>
                    <a:pt x="40" y="5"/>
                    <a:pt x="40" y="5"/>
                  </a:cubicBezTo>
                  <a:cubicBezTo>
                    <a:pt x="40" y="5"/>
                    <a:pt x="40" y="4"/>
                    <a:pt x="43" y="3"/>
                  </a:cubicBezTo>
                  <a:cubicBezTo>
                    <a:pt x="47" y="2"/>
                    <a:pt x="47" y="1"/>
                    <a:pt x="51" y="2"/>
                  </a:cubicBezTo>
                  <a:cubicBezTo>
                    <a:pt x="55" y="2"/>
                    <a:pt x="55" y="0"/>
                    <a:pt x="57" y="2"/>
                  </a:cubicBezTo>
                  <a:cubicBezTo>
                    <a:pt x="59" y="4"/>
                    <a:pt x="61" y="4"/>
                    <a:pt x="61" y="4"/>
                  </a:cubicBezTo>
                  <a:cubicBezTo>
                    <a:pt x="61" y="4"/>
                    <a:pt x="61" y="10"/>
                    <a:pt x="60" y="12"/>
                  </a:cubicBezTo>
                  <a:cubicBezTo>
                    <a:pt x="60" y="14"/>
                    <a:pt x="59" y="14"/>
                    <a:pt x="55" y="16"/>
                  </a:cubicBezTo>
                  <a:cubicBezTo>
                    <a:pt x="52" y="19"/>
                    <a:pt x="54" y="26"/>
                    <a:pt x="51" y="32"/>
                  </a:cubicBezTo>
                  <a:cubicBezTo>
                    <a:pt x="48" y="37"/>
                    <a:pt x="45" y="37"/>
                    <a:pt x="45" y="37"/>
                  </a:cubicBezTo>
                  <a:cubicBezTo>
                    <a:pt x="43" y="37"/>
                    <a:pt x="43" y="37"/>
                    <a:pt x="43" y="37"/>
                  </a:cubicBezTo>
                  <a:cubicBezTo>
                    <a:pt x="38" y="37"/>
                    <a:pt x="38" y="37"/>
                    <a:pt x="38" y="37"/>
                  </a:cubicBezTo>
                  <a:cubicBezTo>
                    <a:pt x="35" y="37"/>
                    <a:pt x="33" y="37"/>
                    <a:pt x="32" y="39"/>
                  </a:cubicBezTo>
                  <a:cubicBezTo>
                    <a:pt x="31" y="41"/>
                    <a:pt x="28" y="42"/>
                    <a:pt x="28" y="42"/>
                  </a:cubicBezTo>
                  <a:lnTo>
                    <a:pt x="27" y="42"/>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71" name="Freeform 213">
              <a:extLst>
                <a:ext uri="{FF2B5EF4-FFF2-40B4-BE49-F238E27FC236}">
                  <a16:creationId xmlns:a16="http://schemas.microsoft.com/office/drawing/2014/main" id="{54CB9C9F-05F0-BD1A-DE4B-A2445E9B8E73}"/>
                </a:ext>
              </a:extLst>
            </p:cNvPr>
            <p:cNvSpPr>
              <a:spLocks/>
            </p:cNvSpPr>
            <p:nvPr/>
          </p:nvSpPr>
          <p:spPr bwMode="auto">
            <a:xfrm>
              <a:off x="9444726" y="3376951"/>
              <a:ext cx="14371" cy="10778"/>
            </a:xfrm>
            <a:custGeom>
              <a:avLst/>
              <a:gdLst>
                <a:gd name="T0" fmla="*/ 4 w 4"/>
                <a:gd name="T1" fmla="*/ 2 h 3"/>
                <a:gd name="T2" fmla="*/ 3 w 4"/>
                <a:gd name="T3" fmla="*/ 3 h 3"/>
                <a:gd name="T4" fmla="*/ 1 w 4"/>
                <a:gd name="T5" fmla="*/ 3 h 3"/>
                <a:gd name="T6" fmla="*/ 0 w 4"/>
                <a:gd name="T7" fmla="*/ 1 h 3"/>
                <a:gd name="T8" fmla="*/ 4 w 4"/>
                <a:gd name="T9" fmla="*/ 2 h 3"/>
              </a:gdLst>
              <a:ahLst/>
              <a:cxnLst>
                <a:cxn ang="0">
                  <a:pos x="T0" y="T1"/>
                </a:cxn>
                <a:cxn ang="0">
                  <a:pos x="T2" y="T3"/>
                </a:cxn>
                <a:cxn ang="0">
                  <a:pos x="T4" y="T5"/>
                </a:cxn>
                <a:cxn ang="0">
                  <a:pos x="T6" y="T7"/>
                </a:cxn>
                <a:cxn ang="0">
                  <a:pos x="T8" y="T9"/>
                </a:cxn>
              </a:cxnLst>
              <a:rect l="0" t="0" r="r" b="b"/>
              <a:pathLst>
                <a:path w="4" h="3">
                  <a:moveTo>
                    <a:pt x="4" y="2"/>
                  </a:moveTo>
                  <a:cubicBezTo>
                    <a:pt x="3" y="3"/>
                    <a:pt x="3" y="3"/>
                    <a:pt x="3" y="3"/>
                  </a:cubicBezTo>
                  <a:cubicBezTo>
                    <a:pt x="2" y="3"/>
                    <a:pt x="2" y="3"/>
                    <a:pt x="1" y="3"/>
                  </a:cubicBezTo>
                  <a:cubicBezTo>
                    <a:pt x="0" y="2"/>
                    <a:pt x="0" y="2"/>
                    <a:pt x="0" y="1"/>
                  </a:cubicBezTo>
                  <a:cubicBezTo>
                    <a:pt x="1" y="1"/>
                    <a:pt x="3" y="0"/>
                    <a:pt x="4" y="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72" name="Freeform 214">
              <a:extLst>
                <a:ext uri="{FF2B5EF4-FFF2-40B4-BE49-F238E27FC236}">
                  <a16:creationId xmlns:a16="http://schemas.microsoft.com/office/drawing/2014/main" id="{07F73298-B981-2637-F494-186FF8E25017}"/>
                </a:ext>
              </a:extLst>
            </p:cNvPr>
            <p:cNvSpPr>
              <a:spLocks/>
            </p:cNvSpPr>
            <p:nvPr/>
          </p:nvSpPr>
          <p:spPr bwMode="auto">
            <a:xfrm>
              <a:off x="3250707" y="3619470"/>
              <a:ext cx="194013" cy="116768"/>
            </a:xfrm>
            <a:custGeom>
              <a:avLst/>
              <a:gdLst>
                <a:gd name="T0" fmla="*/ 53 w 55"/>
                <a:gd name="T1" fmla="*/ 14 h 33"/>
                <a:gd name="T2" fmla="*/ 52 w 55"/>
                <a:gd name="T3" fmla="*/ 11 h 33"/>
                <a:gd name="T4" fmla="*/ 46 w 55"/>
                <a:gd name="T5" fmla="*/ 9 h 33"/>
                <a:gd name="T6" fmla="*/ 45 w 55"/>
                <a:gd name="T7" fmla="*/ 4 h 33"/>
                <a:gd name="T8" fmla="*/ 43 w 55"/>
                <a:gd name="T9" fmla="*/ 4 h 33"/>
                <a:gd name="T10" fmla="*/ 42 w 55"/>
                <a:gd name="T11" fmla="*/ 3 h 33"/>
                <a:gd name="T12" fmla="*/ 33 w 55"/>
                <a:gd name="T13" fmla="*/ 2 h 33"/>
                <a:gd name="T14" fmla="*/ 31 w 55"/>
                <a:gd name="T15" fmla="*/ 1 h 33"/>
                <a:gd name="T16" fmla="*/ 30 w 55"/>
                <a:gd name="T17" fmla="*/ 3 h 33"/>
                <a:gd name="T18" fmla="*/ 22 w 55"/>
                <a:gd name="T19" fmla="*/ 3 h 33"/>
                <a:gd name="T20" fmla="*/ 22 w 55"/>
                <a:gd name="T21" fmla="*/ 5 h 33"/>
                <a:gd name="T22" fmla="*/ 9 w 55"/>
                <a:gd name="T23" fmla="*/ 4 h 33"/>
                <a:gd name="T24" fmla="*/ 6 w 55"/>
                <a:gd name="T25" fmla="*/ 7 h 33"/>
                <a:gd name="T26" fmla="*/ 2 w 55"/>
                <a:gd name="T27" fmla="*/ 11 h 33"/>
                <a:gd name="T28" fmla="*/ 0 w 55"/>
                <a:gd name="T29" fmla="*/ 16 h 33"/>
                <a:gd name="T30" fmla="*/ 9 w 55"/>
                <a:gd name="T31" fmla="*/ 19 h 33"/>
                <a:gd name="T32" fmla="*/ 14 w 55"/>
                <a:gd name="T33" fmla="*/ 21 h 33"/>
                <a:gd name="T34" fmla="*/ 17 w 55"/>
                <a:gd name="T35" fmla="*/ 23 h 33"/>
                <a:gd name="T36" fmla="*/ 17 w 55"/>
                <a:gd name="T37" fmla="*/ 29 h 33"/>
                <a:gd name="T38" fmla="*/ 19 w 55"/>
                <a:gd name="T39" fmla="*/ 29 h 33"/>
                <a:gd name="T40" fmla="*/ 18 w 55"/>
                <a:gd name="T41" fmla="*/ 32 h 33"/>
                <a:gd name="T42" fmla="*/ 22 w 55"/>
                <a:gd name="T43" fmla="*/ 31 h 33"/>
                <a:gd name="T44" fmla="*/ 22 w 55"/>
                <a:gd name="T45" fmla="*/ 23 h 33"/>
                <a:gd name="T46" fmla="*/ 29 w 55"/>
                <a:gd name="T47" fmla="*/ 20 h 33"/>
                <a:gd name="T48" fmla="*/ 34 w 55"/>
                <a:gd name="T49" fmla="*/ 21 h 33"/>
                <a:gd name="T50" fmla="*/ 38 w 55"/>
                <a:gd name="T51" fmla="*/ 21 h 33"/>
                <a:gd name="T52" fmla="*/ 44 w 55"/>
                <a:gd name="T53" fmla="*/ 19 h 33"/>
                <a:gd name="T54" fmla="*/ 47 w 55"/>
                <a:gd name="T55" fmla="*/ 15 h 33"/>
                <a:gd name="T56" fmla="*/ 53 w 55"/>
                <a:gd name="T57"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 h="33">
                  <a:moveTo>
                    <a:pt x="53" y="14"/>
                  </a:moveTo>
                  <a:cubicBezTo>
                    <a:pt x="53" y="11"/>
                    <a:pt x="55" y="13"/>
                    <a:pt x="52" y="11"/>
                  </a:cubicBezTo>
                  <a:cubicBezTo>
                    <a:pt x="51" y="10"/>
                    <a:pt x="48" y="10"/>
                    <a:pt x="46" y="9"/>
                  </a:cubicBezTo>
                  <a:cubicBezTo>
                    <a:pt x="46" y="9"/>
                    <a:pt x="46" y="5"/>
                    <a:pt x="45" y="4"/>
                  </a:cubicBezTo>
                  <a:cubicBezTo>
                    <a:pt x="45" y="4"/>
                    <a:pt x="44" y="4"/>
                    <a:pt x="43" y="4"/>
                  </a:cubicBezTo>
                  <a:cubicBezTo>
                    <a:pt x="42" y="3"/>
                    <a:pt x="42" y="3"/>
                    <a:pt x="42" y="3"/>
                  </a:cubicBezTo>
                  <a:cubicBezTo>
                    <a:pt x="39" y="1"/>
                    <a:pt x="36" y="3"/>
                    <a:pt x="33" y="2"/>
                  </a:cubicBezTo>
                  <a:cubicBezTo>
                    <a:pt x="32" y="2"/>
                    <a:pt x="33" y="0"/>
                    <a:pt x="31" y="1"/>
                  </a:cubicBezTo>
                  <a:cubicBezTo>
                    <a:pt x="31" y="1"/>
                    <a:pt x="31" y="2"/>
                    <a:pt x="30" y="3"/>
                  </a:cubicBezTo>
                  <a:cubicBezTo>
                    <a:pt x="27" y="3"/>
                    <a:pt x="25" y="2"/>
                    <a:pt x="22" y="3"/>
                  </a:cubicBezTo>
                  <a:cubicBezTo>
                    <a:pt x="22" y="5"/>
                    <a:pt x="22" y="5"/>
                    <a:pt x="22" y="5"/>
                  </a:cubicBezTo>
                  <a:cubicBezTo>
                    <a:pt x="17" y="5"/>
                    <a:pt x="12" y="4"/>
                    <a:pt x="9" y="4"/>
                  </a:cubicBezTo>
                  <a:cubicBezTo>
                    <a:pt x="9" y="4"/>
                    <a:pt x="9" y="7"/>
                    <a:pt x="6" y="7"/>
                  </a:cubicBezTo>
                  <a:cubicBezTo>
                    <a:pt x="3" y="7"/>
                    <a:pt x="2" y="8"/>
                    <a:pt x="2" y="11"/>
                  </a:cubicBezTo>
                  <a:cubicBezTo>
                    <a:pt x="2" y="13"/>
                    <a:pt x="0" y="16"/>
                    <a:pt x="0" y="16"/>
                  </a:cubicBezTo>
                  <a:cubicBezTo>
                    <a:pt x="0" y="16"/>
                    <a:pt x="7" y="18"/>
                    <a:pt x="9" y="19"/>
                  </a:cubicBezTo>
                  <a:cubicBezTo>
                    <a:pt x="11" y="20"/>
                    <a:pt x="10" y="21"/>
                    <a:pt x="14" y="21"/>
                  </a:cubicBezTo>
                  <a:cubicBezTo>
                    <a:pt x="17" y="22"/>
                    <a:pt x="17" y="23"/>
                    <a:pt x="17" y="23"/>
                  </a:cubicBezTo>
                  <a:cubicBezTo>
                    <a:pt x="17" y="29"/>
                    <a:pt x="17" y="29"/>
                    <a:pt x="17" y="29"/>
                  </a:cubicBezTo>
                  <a:cubicBezTo>
                    <a:pt x="17" y="29"/>
                    <a:pt x="19" y="29"/>
                    <a:pt x="19" y="29"/>
                  </a:cubicBezTo>
                  <a:cubicBezTo>
                    <a:pt x="19" y="30"/>
                    <a:pt x="19" y="31"/>
                    <a:pt x="18" y="32"/>
                  </a:cubicBezTo>
                  <a:cubicBezTo>
                    <a:pt x="18" y="32"/>
                    <a:pt x="21" y="33"/>
                    <a:pt x="22" y="31"/>
                  </a:cubicBezTo>
                  <a:cubicBezTo>
                    <a:pt x="23" y="29"/>
                    <a:pt x="22" y="23"/>
                    <a:pt x="22" y="23"/>
                  </a:cubicBezTo>
                  <a:cubicBezTo>
                    <a:pt x="22" y="23"/>
                    <a:pt x="26" y="21"/>
                    <a:pt x="29" y="20"/>
                  </a:cubicBezTo>
                  <a:cubicBezTo>
                    <a:pt x="31" y="20"/>
                    <a:pt x="33" y="20"/>
                    <a:pt x="34" y="21"/>
                  </a:cubicBezTo>
                  <a:cubicBezTo>
                    <a:pt x="34" y="23"/>
                    <a:pt x="36" y="22"/>
                    <a:pt x="38" y="21"/>
                  </a:cubicBezTo>
                  <a:cubicBezTo>
                    <a:pt x="40" y="20"/>
                    <a:pt x="44" y="20"/>
                    <a:pt x="44" y="19"/>
                  </a:cubicBezTo>
                  <a:cubicBezTo>
                    <a:pt x="44" y="17"/>
                    <a:pt x="47" y="15"/>
                    <a:pt x="47" y="15"/>
                  </a:cubicBezTo>
                  <a:lnTo>
                    <a:pt x="53" y="14"/>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74" name="Freeform 215">
              <a:extLst>
                <a:ext uri="{FF2B5EF4-FFF2-40B4-BE49-F238E27FC236}">
                  <a16:creationId xmlns:a16="http://schemas.microsoft.com/office/drawing/2014/main" id="{106C46FC-28AB-E0FD-A381-5702DF5E8B23}"/>
                </a:ext>
              </a:extLst>
            </p:cNvPr>
            <p:cNvSpPr>
              <a:spLocks/>
            </p:cNvSpPr>
            <p:nvPr/>
          </p:nvSpPr>
          <p:spPr bwMode="auto">
            <a:xfrm>
              <a:off x="3250707" y="3619470"/>
              <a:ext cx="194013" cy="116768"/>
            </a:xfrm>
            <a:custGeom>
              <a:avLst/>
              <a:gdLst>
                <a:gd name="T0" fmla="*/ 53 w 55"/>
                <a:gd name="T1" fmla="*/ 14 h 33"/>
                <a:gd name="T2" fmla="*/ 52 w 55"/>
                <a:gd name="T3" fmla="*/ 11 h 33"/>
                <a:gd name="T4" fmla="*/ 46 w 55"/>
                <a:gd name="T5" fmla="*/ 9 h 33"/>
                <a:gd name="T6" fmla="*/ 45 w 55"/>
                <a:gd name="T7" fmla="*/ 4 h 33"/>
                <a:gd name="T8" fmla="*/ 43 w 55"/>
                <a:gd name="T9" fmla="*/ 4 h 33"/>
                <a:gd name="T10" fmla="*/ 42 w 55"/>
                <a:gd name="T11" fmla="*/ 3 h 33"/>
                <a:gd name="T12" fmla="*/ 33 w 55"/>
                <a:gd name="T13" fmla="*/ 2 h 33"/>
                <a:gd name="T14" fmla="*/ 31 w 55"/>
                <a:gd name="T15" fmla="*/ 1 h 33"/>
                <a:gd name="T16" fmla="*/ 30 w 55"/>
                <a:gd name="T17" fmla="*/ 3 h 33"/>
                <a:gd name="T18" fmla="*/ 22 w 55"/>
                <a:gd name="T19" fmla="*/ 3 h 33"/>
                <a:gd name="T20" fmla="*/ 22 w 55"/>
                <a:gd name="T21" fmla="*/ 5 h 33"/>
                <a:gd name="T22" fmla="*/ 9 w 55"/>
                <a:gd name="T23" fmla="*/ 4 h 33"/>
                <a:gd name="T24" fmla="*/ 6 w 55"/>
                <a:gd name="T25" fmla="*/ 7 h 33"/>
                <a:gd name="T26" fmla="*/ 2 w 55"/>
                <a:gd name="T27" fmla="*/ 11 h 33"/>
                <a:gd name="T28" fmla="*/ 0 w 55"/>
                <a:gd name="T29" fmla="*/ 16 h 33"/>
                <a:gd name="T30" fmla="*/ 9 w 55"/>
                <a:gd name="T31" fmla="*/ 19 h 33"/>
                <a:gd name="T32" fmla="*/ 14 w 55"/>
                <a:gd name="T33" fmla="*/ 21 h 33"/>
                <a:gd name="T34" fmla="*/ 17 w 55"/>
                <a:gd name="T35" fmla="*/ 23 h 33"/>
                <a:gd name="T36" fmla="*/ 17 w 55"/>
                <a:gd name="T37" fmla="*/ 29 h 33"/>
                <a:gd name="T38" fmla="*/ 19 w 55"/>
                <a:gd name="T39" fmla="*/ 29 h 33"/>
                <a:gd name="T40" fmla="*/ 18 w 55"/>
                <a:gd name="T41" fmla="*/ 32 h 33"/>
                <a:gd name="T42" fmla="*/ 22 w 55"/>
                <a:gd name="T43" fmla="*/ 31 h 33"/>
                <a:gd name="T44" fmla="*/ 22 w 55"/>
                <a:gd name="T45" fmla="*/ 23 h 33"/>
                <a:gd name="T46" fmla="*/ 29 w 55"/>
                <a:gd name="T47" fmla="*/ 20 h 33"/>
                <a:gd name="T48" fmla="*/ 34 w 55"/>
                <a:gd name="T49" fmla="*/ 21 h 33"/>
                <a:gd name="T50" fmla="*/ 38 w 55"/>
                <a:gd name="T51" fmla="*/ 21 h 33"/>
                <a:gd name="T52" fmla="*/ 44 w 55"/>
                <a:gd name="T53" fmla="*/ 19 h 33"/>
                <a:gd name="T54" fmla="*/ 47 w 55"/>
                <a:gd name="T55" fmla="*/ 15 h 33"/>
                <a:gd name="T56" fmla="*/ 53 w 55"/>
                <a:gd name="T57"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5" h="33">
                  <a:moveTo>
                    <a:pt x="53" y="14"/>
                  </a:moveTo>
                  <a:cubicBezTo>
                    <a:pt x="53" y="11"/>
                    <a:pt x="55" y="13"/>
                    <a:pt x="52" y="11"/>
                  </a:cubicBezTo>
                  <a:cubicBezTo>
                    <a:pt x="51" y="10"/>
                    <a:pt x="48" y="10"/>
                    <a:pt x="46" y="9"/>
                  </a:cubicBezTo>
                  <a:cubicBezTo>
                    <a:pt x="46" y="9"/>
                    <a:pt x="46" y="5"/>
                    <a:pt x="45" y="4"/>
                  </a:cubicBezTo>
                  <a:cubicBezTo>
                    <a:pt x="45" y="4"/>
                    <a:pt x="44" y="4"/>
                    <a:pt x="43" y="4"/>
                  </a:cubicBezTo>
                  <a:cubicBezTo>
                    <a:pt x="42" y="3"/>
                    <a:pt x="42" y="3"/>
                    <a:pt x="42" y="3"/>
                  </a:cubicBezTo>
                  <a:cubicBezTo>
                    <a:pt x="39" y="1"/>
                    <a:pt x="36" y="3"/>
                    <a:pt x="33" y="2"/>
                  </a:cubicBezTo>
                  <a:cubicBezTo>
                    <a:pt x="32" y="2"/>
                    <a:pt x="33" y="0"/>
                    <a:pt x="31" y="1"/>
                  </a:cubicBezTo>
                  <a:cubicBezTo>
                    <a:pt x="31" y="1"/>
                    <a:pt x="31" y="2"/>
                    <a:pt x="30" y="3"/>
                  </a:cubicBezTo>
                  <a:cubicBezTo>
                    <a:pt x="27" y="3"/>
                    <a:pt x="25" y="2"/>
                    <a:pt x="22" y="3"/>
                  </a:cubicBezTo>
                  <a:cubicBezTo>
                    <a:pt x="22" y="5"/>
                    <a:pt x="22" y="5"/>
                    <a:pt x="22" y="5"/>
                  </a:cubicBezTo>
                  <a:cubicBezTo>
                    <a:pt x="17" y="5"/>
                    <a:pt x="12" y="4"/>
                    <a:pt x="9" y="4"/>
                  </a:cubicBezTo>
                  <a:cubicBezTo>
                    <a:pt x="9" y="4"/>
                    <a:pt x="9" y="7"/>
                    <a:pt x="6" y="7"/>
                  </a:cubicBezTo>
                  <a:cubicBezTo>
                    <a:pt x="3" y="7"/>
                    <a:pt x="2" y="8"/>
                    <a:pt x="2" y="11"/>
                  </a:cubicBezTo>
                  <a:cubicBezTo>
                    <a:pt x="2" y="13"/>
                    <a:pt x="0" y="16"/>
                    <a:pt x="0" y="16"/>
                  </a:cubicBezTo>
                  <a:cubicBezTo>
                    <a:pt x="0" y="16"/>
                    <a:pt x="7" y="18"/>
                    <a:pt x="9" y="19"/>
                  </a:cubicBezTo>
                  <a:cubicBezTo>
                    <a:pt x="11" y="20"/>
                    <a:pt x="10" y="21"/>
                    <a:pt x="14" y="21"/>
                  </a:cubicBezTo>
                  <a:cubicBezTo>
                    <a:pt x="17" y="22"/>
                    <a:pt x="17" y="23"/>
                    <a:pt x="17" y="23"/>
                  </a:cubicBezTo>
                  <a:cubicBezTo>
                    <a:pt x="17" y="29"/>
                    <a:pt x="17" y="29"/>
                    <a:pt x="17" y="29"/>
                  </a:cubicBezTo>
                  <a:cubicBezTo>
                    <a:pt x="17" y="29"/>
                    <a:pt x="19" y="29"/>
                    <a:pt x="19" y="29"/>
                  </a:cubicBezTo>
                  <a:cubicBezTo>
                    <a:pt x="19" y="30"/>
                    <a:pt x="19" y="31"/>
                    <a:pt x="18" y="32"/>
                  </a:cubicBezTo>
                  <a:cubicBezTo>
                    <a:pt x="18" y="32"/>
                    <a:pt x="21" y="33"/>
                    <a:pt x="22" y="31"/>
                  </a:cubicBezTo>
                  <a:cubicBezTo>
                    <a:pt x="23" y="29"/>
                    <a:pt x="22" y="23"/>
                    <a:pt x="22" y="23"/>
                  </a:cubicBezTo>
                  <a:cubicBezTo>
                    <a:pt x="22" y="23"/>
                    <a:pt x="26" y="21"/>
                    <a:pt x="29" y="20"/>
                  </a:cubicBezTo>
                  <a:cubicBezTo>
                    <a:pt x="31" y="20"/>
                    <a:pt x="33" y="20"/>
                    <a:pt x="34" y="21"/>
                  </a:cubicBezTo>
                  <a:cubicBezTo>
                    <a:pt x="34" y="23"/>
                    <a:pt x="36" y="22"/>
                    <a:pt x="38" y="21"/>
                  </a:cubicBezTo>
                  <a:cubicBezTo>
                    <a:pt x="40" y="20"/>
                    <a:pt x="44" y="20"/>
                    <a:pt x="44" y="19"/>
                  </a:cubicBezTo>
                  <a:cubicBezTo>
                    <a:pt x="44" y="17"/>
                    <a:pt x="47" y="15"/>
                    <a:pt x="47" y="15"/>
                  </a:cubicBezTo>
                  <a:lnTo>
                    <a:pt x="53" y="14"/>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75" name="Freeform 216">
              <a:extLst>
                <a:ext uri="{FF2B5EF4-FFF2-40B4-BE49-F238E27FC236}">
                  <a16:creationId xmlns:a16="http://schemas.microsoft.com/office/drawing/2014/main" id="{24BE4EC4-4A80-09B8-3E1E-92DBBA8244BF}"/>
                </a:ext>
              </a:extLst>
            </p:cNvPr>
            <p:cNvSpPr>
              <a:spLocks noEditPoints="1"/>
            </p:cNvSpPr>
            <p:nvPr/>
          </p:nvSpPr>
          <p:spPr bwMode="auto">
            <a:xfrm>
              <a:off x="1091425" y="3369765"/>
              <a:ext cx="156289" cy="132936"/>
            </a:xfrm>
            <a:custGeom>
              <a:avLst/>
              <a:gdLst>
                <a:gd name="T0" fmla="*/ 38 w 44"/>
                <a:gd name="T1" fmla="*/ 25 h 38"/>
                <a:gd name="T2" fmla="*/ 38 w 44"/>
                <a:gd name="T3" fmla="*/ 27 h 38"/>
                <a:gd name="T4" fmla="*/ 35 w 44"/>
                <a:gd name="T5" fmla="*/ 28 h 38"/>
                <a:gd name="T6" fmla="*/ 44 w 44"/>
                <a:gd name="T7" fmla="*/ 32 h 38"/>
                <a:gd name="T8" fmla="*/ 43 w 44"/>
                <a:gd name="T9" fmla="*/ 28 h 38"/>
                <a:gd name="T10" fmla="*/ 38 w 44"/>
                <a:gd name="T11" fmla="*/ 25 h 38"/>
                <a:gd name="T12" fmla="*/ 31 w 44"/>
                <a:gd name="T13" fmla="*/ 14 h 38"/>
                <a:gd name="T14" fmla="*/ 33 w 44"/>
                <a:gd name="T15" fmla="*/ 18 h 38"/>
                <a:gd name="T16" fmla="*/ 33 w 44"/>
                <a:gd name="T17" fmla="*/ 17 h 38"/>
                <a:gd name="T18" fmla="*/ 33 w 44"/>
                <a:gd name="T19" fmla="*/ 14 h 38"/>
                <a:gd name="T20" fmla="*/ 31 w 44"/>
                <a:gd name="T21" fmla="*/ 14 h 38"/>
                <a:gd name="T22" fmla="*/ 17 w 44"/>
                <a:gd name="T23" fmla="*/ 5 h 38"/>
                <a:gd name="T24" fmla="*/ 16 w 44"/>
                <a:gd name="T25" fmla="*/ 5 h 38"/>
                <a:gd name="T26" fmla="*/ 16 w 44"/>
                <a:gd name="T27" fmla="*/ 7 h 38"/>
                <a:gd name="T28" fmla="*/ 19 w 44"/>
                <a:gd name="T29" fmla="*/ 9 h 38"/>
                <a:gd name="T30" fmla="*/ 20 w 44"/>
                <a:gd name="T31" fmla="*/ 9 h 38"/>
                <a:gd name="T32" fmla="*/ 19 w 44"/>
                <a:gd name="T33" fmla="*/ 7 h 38"/>
                <a:gd name="T34" fmla="*/ 19 w 44"/>
                <a:gd name="T35" fmla="*/ 5 h 38"/>
                <a:gd name="T36" fmla="*/ 17 w 44"/>
                <a:gd name="T37" fmla="*/ 5 h 38"/>
                <a:gd name="T38" fmla="*/ 2 w 44"/>
                <a:gd name="T39" fmla="*/ 0 h 38"/>
                <a:gd name="T40" fmla="*/ 4 w 44"/>
                <a:gd name="T41" fmla="*/ 5 h 38"/>
                <a:gd name="T42" fmla="*/ 2 w 44"/>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38">
                  <a:moveTo>
                    <a:pt x="38" y="25"/>
                  </a:moveTo>
                  <a:cubicBezTo>
                    <a:pt x="38" y="25"/>
                    <a:pt x="38" y="27"/>
                    <a:pt x="38" y="27"/>
                  </a:cubicBezTo>
                  <a:cubicBezTo>
                    <a:pt x="38" y="27"/>
                    <a:pt x="35" y="28"/>
                    <a:pt x="35" y="28"/>
                  </a:cubicBezTo>
                  <a:cubicBezTo>
                    <a:pt x="37" y="38"/>
                    <a:pt x="38" y="36"/>
                    <a:pt x="44" y="32"/>
                  </a:cubicBezTo>
                  <a:cubicBezTo>
                    <a:pt x="43" y="30"/>
                    <a:pt x="43" y="30"/>
                    <a:pt x="43" y="28"/>
                  </a:cubicBezTo>
                  <a:cubicBezTo>
                    <a:pt x="41" y="25"/>
                    <a:pt x="41" y="27"/>
                    <a:pt x="38" y="25"/>
                  </a:cubicBezTo>
                  <a:close/>
                  <a:moveTo>
                    <a:pt x="31" y="14"/>
                  </a:moveTo>
                  <a:cubicBezTo>
                    <a:pt x="31" y="15"/>
                    <a:pt x="32" y="17"/>
                    <a:pt x="33" y="18"/>
                  </a:cubicBezTo>
                  <a:cubicBezTo>
                    <a:pt x="33" y="18"/>
                    <a:pt x="34" y="18"/>
                    <a:pt x="33" y="17"/>
                  </a:cubicBezTo>
                  <a:cubicBezTo>
                    <a:pt x="35" y="18"/>
                    <a:pt x="34" y="14"/>
                    <a:pt x="33" y="14"/>
                  </a:cubicBezTo>
                  <a:cubicBezTo>
                    <a:pt x="33" y="14"/>
                    <a:pt x="31" y="14"/>
                    <a:pt x="31" y="14"/>
                  </a:cubicBezTo>
                  <a:close/>
                  <a:moveTo>
                    <a:pt x="17" y="5"/>
                  </a:moveTo>
                  <a:cubicBezTo>
                    <a:pt x="19" y="5"/>
                    <a:pt x="16" y="5"/>
                    <a:pt x="16" y="5"/>
                  </a:cubicBezTo>
                  <a:cubicBezTo>
                    <a:pt x="16" y="6"/>
                    <a:pt x="16" y="7"/>
                    <a:pt x="16" y="7"/>
                  </a:cubicBezTo>
                  <a:cubicBezTo>
                    <a:pt x="17" y="8"/>
                    <a:pt x="18" y="8"/>
                    <a:pt x="19" y="9"/>
                  </a:cubicBezTo>
                  <a:cubicBezTo>
                    <a:pt x="20" y="9"/>
                    <a:pt x="20" y="9"/>
                    <a:pt x="20" y="9"/>
                  </a:cubicBezTo>
                  <a:cubicBezTo>
                    <a:pt x="20" y="8"/>
                    <a:pt x="19" y="7"/>
                    <a:pt x="19" y="7"/>
                  </a:cubicBezTo>
                  <a:cubicBezTo>
                    <a:pt x="19" y="7"/>
                    <a:pt x="20" y="6"/>
                    <a:pt x="19" y="5"/>
                  </a:cubicBezTo>
                  <a:cubicBezTo>
                    <a:pt x="19" y="5"/>
                    <a:pt x="17" y="5"/>
                    <a:pt x="17" y="5"/>
                  </a:cubicBezTo>
                  <a:close/>
                  <a:moveTo>
                    <a:pt x="2" y="0"/>
                  </a:moveTo>
                  <a:cubicBezTo>
                    <a:pt x="0" y="0"/>
                    <a:pt x="1" y="5"/>
                    <a:pt x="4" y="5"/>
                  </a:cubicBezTo>
                  <a:cubicBezTo>
                    <a:pt x="6" y="4"/>
                    <a:pt x="6" y="0"/>
                    <a:pt x="2"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76" name="Freeform 217">
              <a:extLst>
                <a:ext uri="{FF2B5EF4-FFF2-40B4-BE49-F238E27FC236}">
                  <a16:creationId xmlns:a16="http://schemas.microsoft.com/office/drawing/2014/main" id="{2386C796-E959-A8D4-9AA2-ACB12FDCD3D0}"/>
                </a:ext>
              </a:extLst>
            </p:cNvPr>
            <p:cNvSpPr>
              <a:spLocks noEditPoints="1"/>
            </p:cNvSpPr>
            <p:nvPr/>
          </p:nvSpPr>
          <p:spPr bwMode="auto">
            <a:xfrm>
              <a:off x="1091425" y="3369765"/>
              <a:ext cx="156289" cy="132936"/>
            </a:xfrm>
            <a:custGeom>
              <a:avLst/>
              <a:gdLst>
                <a:gd name="T0" fmla="*/ 38 w 44"/>
                <a:gd name="T1" fmla="*/ 25 h 38"/>
                <a:gd name="T2" fmla="*/ 38 w 44"/>
                <a:gd name="T3" fmla="*/ 27 h 38"/>
                <a:gd name="T4" fmla="*/ 35 w 44"/>
                <a:gd name="T5" fmla="*/ 28 h 38"/>
                <a:gd name="T6" fmla="*/ 44 w 44"/>
                <a:gd name="T7" fmla="*/ 32 h 38"/>
                <a:gd name="T8" fmla="*/ 43 w 44"/>
                <a:gd name="T9" fmla="*/ 28 h 38"/>
                <a:gd name="T10" fmla="*/ 38 w 44"/>
                <a:gd name="T11" fmla="*/ 25 h 38"/>
                <a:gd name="T12" fmla="*/ 31 w 44"/>
                <a:gd name="T13" fmla="*/ 14 h 38"/>
                <a:gd name="T14" fmla="*/ 33 w 44"/>
                <a:gd name="T15" fmla="*/ 18 h 38"/>
                <a:gd name="T16" fmla="*/ 33 w 44"/>
                <a:gd name="T17" fmla="*/ 17 h 38"/>
                <a:gd name="T18" fmla="*/ 33 w 44"/>
                <a:gd name="T19" fmla="*/ 14 h 38"/>
                <a:gd name="T20" fmla="*/ 31 w 44"/>
                <a:gd name="T21" fmla="*/ 14 h 38"/>
                <a:gd name="T22" fmla="*/ 17 w 44"/>
                <a:gd name="T23" fmla="*/ 5 h 38"/>
                <a:gd name="T24" fmla="*/ 16 w 44"/>
                <a:gd name="T25" fmla="*/ 5 h 38"/>
                <a:gd name="T26" fmla="*/ 16 w 44"/>
                <a:gd name="T27" fmla="*/ 7 h 38"/>
                <a:gd name="T28" fmla="*/ 19 w 44"/>
                <a:gd name="T29" fmla="*/ 9 h 38"/>
                <a:gd name="T30" fmla="*/ 20 w 44"/>
                <a:gd name="T31" fmla="*/ 9 h 38"/>
                <a:gd name="T32" fmla="*/ 19 w 44"/>
                <a:gd name="T33" fmla="*/ 7 h 38"/>
                <a:gd name="T34" fmla="*/ 19 w 44"/>
                <a:gd name="T35" fmla="*/ 5 h 38"/>
                <a:gd name="T36" fmla="*/ 17 w 44"/>
                <a:gd name="T37" fmla="*/ 5 h 38"/>
                <a:gd name="T38" fmla="*/ 2 w 44"/>
                <a:gd name="T39" fmla="*/ 0 h 38"/>
                <a:gd name="T40" fmla="*/ 4 w 44"/>
                <a:gd name="T41" fmla="*/ 5 h 38"/>
                <a:gd name="T42" fmla="*/ 2 w 44"/>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38">
                  <a:moveTo>
                    <a:pt x="38" y="25"/>
                  </a:moveTo>
                  <a:cubicBezTo>
                    <a:pt x="38" y="25"/>
                    <a:pt x="38" y="27"/>
                    <a:pt x="38" y="27"/>
                  </a:cubicBezTo>
                  <a:cubicBezTo>
                    <a:pt x="38" y="27"/>
                    <a:pt x="35" y="28"/>
                    <a:pt x="35" y="28"/>
                  </a:cubicBezTo>
                  <a:cubicBezTo>
                    <a:pt x="37" y="38"/>
                    <a:pt x="38" y="36"/>
                    <a:pt x="44" y="32"/>
                  </a:cubicBezTo>
                  <a:cubicBezTo>
                    <a:pt x="43" y="30"/>
                    <a:pt x="43" y="30"/>
                    <a:pt x="43" y="28"/>
                  </a:cubicBezTo>
                  <a:cubicBezTo>
                    <a:pt x="41" y="25"/>
                    <a:pt x="41" y="27"/>
                    <a:pt x="38" y="25"/>
                  </a:cubicBezTo>
                  <a:close/>
                  <a:moveTo>
                    <a:pt x="31" y="14"/>
                  </a:moveTo>
                  <a:cubicBezTo>
                    <a:pt x="31" y="15"/>
                    <a:pt x="32" y="17"/>
                    <a:pt x="33" y="18"/>
                  </a:cubicBezTo>
                  <a:cubicBezTo>
                    <a:pt x="33" y="18"/>
                    <a:pt x="34" y="18"/>
                    <a:pt x="33" y="17"/>
                  </a:cubicBezTo>
                  <a:cubicBezTo>
                    <a:pt x="35" y="18"/>
                    <a:pt x="34" y="14"/>
                    <a:pt x="33" y="14"/>
                  </a:cubicBezTo>
                  <a:cubicBezTo>
                    <a:pt x="33" y="14"/>
                    <a:pt x="31" y="14"/>
                    <a:pt x="31" y="14"/>
                  </a:cubicBezTo>
                  <a:close/>
                  <a:moveTo>
                    <a:pt x="17" y="5"/>
                  </a:moveTo>
                  <a:cubicBezTo>
                    <a:pt x="19" y="5"/>
                    <a:pt x="16" y="5"/>
                    <a:pt x="16" y="5"/>
                  </a:cubicBezTo>
                  <a:cubicBezTo>
                    <a:pt x="16" y="6"/>
                    <a:pt x="16" y="7"/>
                    <a:pt x="16" y="7"/>
                  </a:cubicBezTo>
                  <a:cubicBezTo>
                    <a:pt x="17" y="8"/>
                    <a:pt x="18" y="8"/>
                    <a:pt x="19" y="9"/>
                  </a:cubicBezTo>
                  <a:cubicBezTo>
                    <a:pt x="20" y="9"/>
                    <a:pt x="20" y="9"/>
                    <a:pt x="20" y="9"/>
                  </a:cubicBezTo>
                  <a:cubicBezTo>
                    <a:pt x="20" y="8"/>
                    <a:pt x="19" y="7"/>
                    <a:pt x="19" y="7"/>
                  </a:cubicBezTo>
                  <a:cubicBezTo>
                    <a:pt x="19" y="7"/>
                    <a:pt x="20" y="6"/>
                    <a:pt x="19" y="5"/>
                  </a:cubicBezTo>
                  <a:cubicBezTo>
                    <a:pt x="19" y="5"/>
                    <a:pt x="17" y="5"/>
                    <a:pt x="17" y="5"/>
                  </a:cubicBezTo>
                  <a:close/>
                  <a:moveTo>
                    <a:pt x="2" y="0"/>
                  </a:moveTo>
                  <a:cubicBezTo>
                    <a:pt x="0" y="0"/>
                    <a:pt x="1" y="5"/>
                    <a:pt x="4" y="5"/>
                  </a:cubicBezTo>
                  <a:cubicBezTo>
                    <a:pt x="6" y="4"/>
                    <a:pt x="6" y="0"/>
                    <a:pt x="2"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77" name="Freeform 218">
              <a:extLst>
                <a:ext uri="{FF2B5EF4-FFF2-40B4-BE49-F238E27FC236}">
                  <a16:creationId xmlns:a16="http://schemas.microsoft.com/office/drawing/2014/main" id="{19E78F05-BA1D-8158-B56F-F7248E1C0755}"/>
                </a:ext>
              </a:extLst>
            </p:cNvPr>
            <p:cNvSpPr>
              <a:spLocks/>
            </p:cNvSpPr>
            <p:nvPr/>
          </p:nvSpPr>
          <p:spPr bwMode="auto">
            <a:xfrm>
              <a:off x="3712386" y="3468569"/>
              <a:ext cx="88025" cy="62875"/>
            </a:xfrm>
            <a:custGeom>
              <a:avLst/>
              <a:gdLst>
                <a:gd name="T0" fmla="*/ 24 w 25"/>
                <a:gd name="T1" fmla="*/ 18 h 18"/>
                <a:gd name="T2" fmla="*/ 24 w 25"/>
                <a:gd name="T3" fmla="*/ 15 h 18"/>
                <a:gd name="T4" fmla="*/ 23 w 25"/>
                <a:gd name="T5" fmla="*/ 12 h 18"/>
                <a:gd name="T6" fmla="*/ 23 w 25"/>
                <a:gd name="T7" fmla="*/ 11 h 18"/>
                <a:gd name="T8" fmla="*/ 24 w 25"/>
                <a:gd name="T9" fmla="*/ 8 h 18"/>
                <a:gd name="T10" fmla="*/ 23 w 25"/>
                <a:gd name="T11" fmla="*/ 3 h 18"/>
                <a:gd name="T12" fmla="*/ 16 w 25"/>
                <a:gd name="T13" fmla="*/ 0 h 18"/>
                <a:gd name="T14" fmla="*/ 12 w 25"/>
                <a:gd name="T15" fmla="*/ 0 h 18"/>
                <a:gd name="T16" fmla="*/ 16 w 25"/>
                <a:gd name="T17" fmla="*/ 3 h 18"/>
                <a:gd name="T18" fmla="*/ 16 w 25"/>
                <a:gd name="T19" fmla="*/ 8 h 18"/>
                <a:gd name="T20" fmla="*/ 19 w 25"/>
                <a:gd name="T21" fmla="*/ 12 h 18"/>
                <a:gd name="T22" fmla="*/ 18 w 25"/>
                <a:gd name="T23" fmla="*/ 14 h 18"/>
                <a:gd name="T24" fmla="*/ 18 w 25"/>
                <a:gd name="T25" fmla="*/ 15 h 18"/>
                <a:gd name="T26" fmla="*/ 16 w 25"/>
                <a:gd name="T27" fmla="*/ 15 h 18"/>
                <a:gd name="T28" fmla="*/ 9 w 25"/>
                <a:gd name="T29" fmla="*/ 13 h 18"/>
                <a:gd name="T30" fmla="*/ 6 w 25"/>
                <a:gd name="T31" fmla="*/ 14 h 18"/>
                <a:gd name="T32" fmla="*/ 2 w 25"/>
                <a:gd name="T33" fmla="*/ 12 h 18"/>
                <a:gd name="T34" fmla="*/ 0 w 25"/>
                <a:gd name="T35" fmla="*/ 13 h 18"/>
                <a:gd name="T36" fmla="*/ 0 w 25"/>
                <a:gd name="T37" fmla="*/ 16 h 18"/>
                <a:gd name="T38" fmla="*/ 3 w 25"/>
                <a:gd name="T39" fmla="*/ 18 h 18"/>
                <a:gd name="T40" fmla="*/ 8 w 25"/>
                <a:gd name="T41" fmla="*/ 17 h 18"/>
                <a:gd name="T42" fmla="*/ 24 w 25"/>
                <a:gd name="T4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18">
                  <a:moveTo>
                    <a:pt x="24" y="18"/>
                  </a:moveTo>
                  <a:cubicBezTo>
                    <a:pt x="24" y="18"/>
                    <a:pt x="25" y="16"/>
                    <a:pt x="24" y="15"/>
                  </a:cubicBezTo>
                  <a:cubicBezTo>
                    <a:pt x="24" y="14"/>
                    <a:pt x="23" y="12"/>
                    <a:pt x="23" y="12"/>
                  </a:cubicBezTo>
                  <a:cubicBezTo>
                    <a:pt x="23" y="11"/>
                    <a:pt x="23" y="11"/>
                    <a:pt x="23" y="11"/>
                  </a:cubicBezTo>
                  <a:cubicBezTo>
                    <a:pt x="24" y="8"/>
                    <a:pt x="24" y="8"/>
                    <a:pt x="24" y="8"/>
                  </a:cubicBezTo>
                  <a:cubicBezTo>
                    <a:pt x="23" y="3"/>
                    <a:pt x="23" y="3"/>
                    <a:pt x="23" y="3"/>
                  </a:cubicBezTo>
                  <a:cubicBezTo>
                    <a:pt x="18" y="4"/>
                    <a:pt x="19" y="1"/>
                    <a:pt x="16" y="0"/>
                  </a:cubicBezTo>
                  <a:cubicBezTo>
                    <a:pt x="15" y="0"/>
                    <a:pt x="13" y="1"/>
                    <a:pt x="12" y="0"/>
                  </a:cubicBezTo>
                  <a:cubicBezTo>
                    <a:pt x="13" y="1"/>
                    <a:pt x="15" y="2"/>
                    <a:pt x="16" y="3"/>
                  </a:cubicBezTo>
                  <a:cubicBezTo>
                    <a:pt x="16" y="5"/>
                    <a:pt x="15" y="6"/>
                    <a:pt x="16" y="8"/>
                  </a:cubicBezTo>
                  <a:cubicBezTo>
                    <a:pt x="16" y="9"/>
                    <a:pt x="19" y="12"/>
                    <a:pt x="19" y="12"/>
                  </a:cubicBezTo>
                  <a:cubicBezTo>
                    <a:pt x="19" y="13"/>
                    <a:pt x="19" y="15"/>
                    <a:pt x="18" y="14"/>
                  </a:cubicBezTo>
                  <a:cubicBezTo>
                    <a:pt x="17" y="15"/>
                    <a:pt x="18" y="15"/>
                    <a:pt x="18" y="15"/>
                  </a:cubicBezTo>
                  <a:cubicBezTo>
                    <a:pt x="16" y="15"/>
                    <a:pt x="16" y="15"/>
                    <a:pt x="16" y="15"/>
                  </a:cubicBezTo>
                  <a:cubicBezTo>
                    <a:pt x="15" y="14"/>
                    <a:pt x="11" y="13"/>
                    <a:pt x="9" y="13"/>
                  </a:cubicBezTo>
                  <a:cubicBezTo>
                    <a:pt x="7" y="13"/>
                    <a:pt x="8" y="14"/>
                    <a:pt x="6" y="14"/>
                  </a:cubicBezTo>
                  <a:cubicBezTo>
                    <a:pt x="5" y="14"/>
                    <a:pt x="4" y="12"/>
                    <a:pt x="2" y="12"/>
                  </a:cubicBezTo>
                  <a:cubicBezTo>
                    <a:pt x="2" y="12"/>
                    <a:pt x="1" y="13"/>
                    <a:pt x="0" y="13"/>
                  </a:cubicBezTo>
                  <a:cubicBezTo>
                    <a:pt x="0" y="14"/>
                    <a:pt x="0" y="15"/>
                    <a:pt x="0" y="16"/>
                  </a:cubicBezTo>
                  <a:cubicBezTo>
                    <a:pt x="1" y="16"/>
                    <a:pt x="2" y="18"/>
                    <a:pt x="3" y="18"/>
                  </a:cubicBezTo>
                  <a:cubicBezTo>
                    <a:pt x="5" y="18"/>
                    <a:pt x="8" y="17"/>
                    <a:pt x="8" y="17"/>
                  </a:cubicBezTo>
                  <a:cubicBezTo>
                    <a:pt x="13" y="17"/>
                    <a:pt x="19" y="18"/>
                    <a:pt x="24" y="1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78" name="Freeform 219">
              <a:extLst>
                <a:ext uri="{FF2B5EF4-FFF2-40B4-BE49-F238E27FC236}">
                  <a16:creationId xmlns:a16="http://schemas.microsoft.com/office/drawing/2014/main" id="{48D49D15-59E7-166E-7D65-6A7E7B8529D1}"/>
                </a:ext>
              </a:extLst>
            </p:cNvPr>
            <p:cNvSpPr>
              <a:spLocks/>
            </p:cNvSpPr>
            <p:nvPr/>
          </p:nvSpPr>
          <p:spPr bwMode="auto">
            <a:xfrm>
              <a:off x="3712386" y="3468569"/>
              <a:ext cx="88025" cy="62875"/>
            </a:xfrm>
            <a:custGeom>
              <a:avLst/>
              <a:gdLst>
                <a:gd name="T0" fmla="*/ 24 w 25"/>
                <a:gd name="T1" fmla="*/ 18 h 18"/>
                <a:gd name="T2" fmla="*/ 24 w 25"/>
                <a:gd name="T3" fmla="*/ 15 h 18"/>
                <a:gd name="T4" fmla="*/ 23 w 25"/>
                <a:gd name="T5" fmla="*/ 12 h 18"/>
                <a:gd name="T6" fmla="*/ 23 w 25"/>
                <a:gd name="T7" fmla="*/ 11 h 18"/>
                <a:gd name="T8" fmla="*/ 24 w 25"/>
                <a:gd name="T9" fmla="*/ 8 h 18"/>
                <a:gd name="T10" fmla="*/ 23 w 25"/>
                <a:gd name="T11" fmla="*/ 3 h 18"/>
                <a:gd name="T12" fmla="*/ 16 w 25"/>
                <a:gd name="T13" fmla="*/ 0 h 18"/>
                <a:gd name="T14" fmla="*/ 12 w 25"/>
                <a:gd name="T15" fmla="*/ 0 h 18"/>
                <a:gd name="T16" fmla="*/ 16 w 25"/>
                <a:gd name="T17" fmla="*/ 3 h 18"/>
                <a:gd name="T18" fmla="*/ 16 w 25"/>
                <a:gd name="T19" fmla="*/ 8 h 18"/>
                <a:gd name="T20" fmla="*/ 19 w 25"/>
                <a:gd name="T21" fmla="*/ 12 h 18"/>
                <a:gd name="T22" fmla="*/ 18 w 25"/>
                <a:gd name="T23" fmla="*/ 14 h 18"/>
                <a:gd name="T24" fmla="*/ 18 w 25"/>
                <a:gd name="T25" fmla="*/ 15 h 18"/>
                <a:gd name="T26" fmla="*/ 16 w 25"/>
                <a:gd name="T27" fmla="*/ 15 h 18"/>
                <a:gd name="T28" fmla="*/ 9 w 25"/>
                <a:gd name="T29" fmla="*/ 13 h 18"/>
                <a:gd name="T30" fmla="*/ 6 w 25"/>
                <a:gd name="T31" fmla="*/ 14 h 18"/>
                <a:gd name="T32" fmla="*/ 2 w 25"/>
                <a:gd name="T33" fmla="*/ 12 h 18"/>
                <a:gd name="T34" fmla="*/ 0 w 25"/>
                <a:gd name="T35" fmla="*/ 13 h 18"/>
                <a:gd name="T36" fmla="*/ 0 w 25"/>
                <a:gd name="T37" fmla="*/ 16 h 18"/>
                <a:gd name="T38" fmla="*/ 3 w 25"/>
                <a:gd name="T39" fmla="*/ 18 h 18"/>
                <a:gd name="T40" fmla="*/ 8 w 25"/>
                <a:gd name="T41" fmla="*/ 17 h 18"/>
                <a:gd name="T42" fmla="*/ 24 w 25"/>
                <a:gd name="T4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18">
                  <a:moveTo>
                    <a:pt x="24" y="18"/>
                  </a:moveTo>
                  <a:cubicBezTo>
                    <a:pt x="24" y="18"/>
                    <a:pt x="25" y="16"/>
                    <a:pt x="24" y="15"/>
                  </a:cubicBezTo>
                  <a:cubicBezTo>
                    <a:pt x="24" y="14"/>
                    <a:pt x="23" y="12"/>
                    <a:pt x="23" y="12"/>
                  </a:cubicBezTo>
                  <a:cubicBezTo>
                    <a:pt x="23" y="11"/>
                    <a:pt x="23" y="11"/>
                    <a:pt x="23" y="11"/>
                  </a:cubicBezTo>
                  <a:cubicBezTo>
                    <a:pt x="24" y="8"/>
                    <a:pt x="24" y="8"/>
                    <a:pt x="24" y="8"/>
                  </a:cubicBezTo>
                  <a:cubicBezTo>
                    <a:pt x="23" y="3"/>
                    <a:pt x="23" y="3"/>
                    <a:pt x="23" y="3"/>
                  </a:cubicBezTo>
                  <a:cubicBezTo>
                    <a:pt x="18" y="4"/>
                    <a:pt x="19" y="1"/>
                    <a:pt x="16" y="0"/>
                  </a:cubicBezTo>
                  <a:cubicBezTo>
                    <a:pt x="15" y="0"/>
                    <a:pt x="13" y="1"/>
                    <a:pt x="12" y="0"/>
                  </a:cubicBezTo>
                  <a:cubicBezTo>
                    <a:pt x="13" y="1"/>
                    <a:pt x="15" y="2"/>
                    <a:pt x="16" y="3"/>
                  </a:cubicBezTo>
                  <a:cubicBezTo>
                    <a:pt x="16" y="5"/>
                    <a:pt x="15" y="6"/>
                    <a:pt x="16" y="8"/>
                  </a:cubicBezTo>
                  <a:cubicBezTo>
                    <a:pt x="16" y="9"/>
                    <a:pt x="19" y="12"/>
                    <a:pt x="19" y="12"/>
                  </a:cubicBezTo>
                  <a:cubicBezTo>
                    <a:pt x="19" y="13"/>
                    <a:pt x="19" y="15"/>
                    <a:pt x="18" y="14"/>
                  </a:cubicBezTo>
                  <a:cubicBezTo>
                    <a:pt x="17" y="15"/>
                    <a:pt x="18" y="15"/>
                    <a:pt x="18" y="15"/>
                  </a:cubicBezTo>
                  <a:cubicBezTo>
                    <a:pt x="16" y="15"/>
                    <a:pt x="16" y="15"/>
                    <a:pt x="16" y="15"/>
                  </a:cubicBezTo>
                  <a:cubicBezTo>
                    <a:pt x="15" y="14"/>
                    <a:pt x="11" y="13"/>
                    <a:pt x="9" y="13"/>
                  </a:cubicBezTo>
                  <a:cubicBezTo>
                    <a:pt x="7" y="13"/>
                    <a:pt x="8" y="14"/>
                    <a:pt x="6" y="14"/>
                  </a:cubicBezTo>
                  <a:cubicBezTo>
                    <a:pt x="5" y="14"/>
                    <a:pt x="4" y="12"/>
                    <a:pt x="2" y="12"/>
                  </a:cubicBezTo>
                  <a:cubicBezTo>
                    <a:pt x="2" y="12"/>
                    <a:pt x="1" y="13"/>
                    <a:pt x="0" y="13"/>
                  </a:cubicBezTo>
                  <a:cubicBezTo>
                    <a:pt x="0" y="14"/>
                    <a:pt x="0" y="15"/>
                    <a:pt x="0" y="16"/>
                  </a:cubicBezTo>
                  <a:cubicBezTo>
                    <a:pt x="1" y="16"/>
                    <a:pt x="2" y="18"/>
                    <a:pt x="3" y="18"/>
                  </a:cubicBezTo>
                  <a:cubicBezTo>
                    <a:pt x="5" y="18"/>
                    <a:pt x="8" y="17"/>
                    <a:pt x="8" y="17"/>
                  </a:cubicBezTo>
                  <a:cubicBezTo>
                    <a:pt x="13" y="17"/>
                    <a:pt x="19" y="18"/>
                    <a:pt x="24" y="1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79" name="Freeform 220">
              <a:extLst>
                <a:ext uri="{FF2B5EF4-FFF2-40B4-BE49-F238E27FC236}">
                  <a16:creationId xmlns:a16="http://schemas.microsoft.com/office/drawing/2014/main" id="{09889FCB-3D00-2625-6936-2286C77120AC}"/>
                </a:ext>
              </a:extLst>
            </p:cNvPr>
            <p:cNvSpPr>
              <a:spLocks/>
            </p:cNvSpPr>
            <p:nvPr/>
          </p:nvSpPr>
          <p:spPr bwMode="auto">
            <a:xfrm>
              <a:off x="4089632" y="3908695"/>
              <a:ext cx="149102" cy="296411"/>
            </a:xfrm>
            <a:custGeom>
              <a:avLst/>
              <a:gdLst>
                <a:gd name="T0" fmla="*/ 14 w 42"/>
                <a:gd name="T1" fmla="*/ 1 h 84"/>
                <a:gd name="T2" fmla="*/ 14 w 42"/>
                <a:gd name="T3" fmla="*/ 5 h 84"/>
                <a:gd name="T4" fmla="*/ 12 w 42"/>
                <a:gd name="T5" fmla="*/ 7 h 84"/>
                <a:gd name="T6" fmla="*/ 6 w 42"/>
                <a:gd name="T7" fmla="*/ 9 h 84"/>
                <a:gd name="T8" fmla="*/ 6 w 42"/>
                <a:gd name="T9" fmla="*/ 12 h 84"/>
                <a:gd name="T10" fmla="*/ 8 w 42"/>
                <a:gd name="T11" fmla="*/ 17 h 84"/>
                <a:gd name="T12" fmla="*/ 11 w 42"/>
                <a:gd name="T13" fmla="*/ 19 h 84"/>
                <a:gd name="T14" fmla="*/ 4 w 42"/>
                <a:gd name="T15" fmla="*/ 22 h 84"/>
                <a:gd name="T16" fmla="*/ 3 w 42"/>
                <a:gd name="T17" fmla="*/ 26 h 84"/>
                <a:gd name="T18" fmla="*/ 0 w 42"/>
                <a:gd name="T19" fmla="*/ 27 h 84"/>
                <a:gd name="T20" fmla="*/ 8 w 42"/>
                <a:gd name="T21" fmla="*/ 39 h 84"/>
                <a:gd name="T22" fmla="*/ 14 w 42"/>
                <a:gd name="T23" fmla="*/ 40 h 84"/>
                <a:gd name="T24" fmla="*/ 16 w 42"/>
                <a:gd name="T25" fmla="*/ 43 h 84"/>
                <a:gd name="T26" fmla="*/ 13 w 42"/>
                <a:gd name="T27" fmla="*/ 46 h 84"/>
                <a:gd name="T28" fmla="*/ 18 w 42"/>
                <a:gd name="T29" fmla="*/ 48 h 84"/>
                <a:gd name="T30" fmla="*/ 18 w 42"/>
                <a:gd name="T31" fmla="*/ 51 h 84"/>
                <a:gd name="T32" fmla="*/ 18 w 42"/>
                <a:gd name="T33" fmla="*/ 55 h 84"/>
                <a:gd name="T34" fmla="*/ 13 w 42"/>
                <a:gd name="T35" fmla="*/ 59 h 84"/>
                <a:gd name="T36" fmla="*/ 13 w 42"/>
                <a:gd name="T37" fmla="*/ 72 h 84"/>
                <a:gd name="T38" fmla="*/ 15 w 42"/>
                <a:gd name="T39" fmla="*/ 78 h 84"/>
                <a:gd name="T40" fmla="*/ 19 w 42"/>
                <a:gd name="T41" fmla="*/ 81 h 84"/>
                <a:gd name="T42" fmla="*/ 23 w 42"/>
                <a:gd name="T43" fmla="*/ 84 h 84"/>
                <a:gd name="T44" fmla="*/ 27 w 42"/>
                <a:gd name="T45" fmla="*/ 81 h 84"/>
                <a:gd name="T46" fmla="*/ 29 w 42"/>
                <a:gd name="T47" fmla="*/ 78 h 84"/>
                <a:gd name="T48" fmla="*/ 33 w 42"/>
                <a:gd name="T49" fmla="*/ 76 h 84"/>
                <a:gd name="T50" fmla="*/ 37 w 42"/>
                <a:gd name="T51" fmla="*/ 77 h 84"/>
                <a:gd name="T52" fmla="*/ 36 w 42"/>
                <a:gd name="T53" fmla="*/ 72 h 84"/>
                <a:gd name="T54" fmla="*/ 35 w 42"/>
                <a:gd name="T55" fmla="*/ 64 h 84"/>
                <a:gd name="T56" fmla="*/ 35 w 42"/>
                <a:gd name="T57" fmla="*/ 59 h 84"/>
                <a:gd name="T58" fmla="*/ 32 w 42"/>
                <a:gd name="T59" fmla="*/ 57 h 84"/>
                <a:gd name="T60" fmla="*/ 33 w 42"/>
                <a:gd name="T61" fmla="*/ 50 h 84"/>
                <a:gd name="T62" fmla="*/ 32 w 42"/>
                <a:gd name="T63" fmla="*/ 44 h 84"/>
                <a:gd name="T64" fmla="*/ 37 w 42"/>
                <a:gd name="T65" fmla="*/ 40 h 84"/>
                <a:gd name="T66" fmla="*/ 37 w 42"/>
                <a:gd name="T67" fmla="*/ 35 h 84"/>
                <a:gd name="T68" fmla="*/ 42 w 42"/>
                <a:gd name="T69" fmla="*/ 27 h 84"/>
                <a:gd name="T70" fmla="*/ 39 w 42"/>
                <a:gd name="T71" fmla="*/ 20 h 84"/>
                <a:gd name="T72" fmla="*/ 36 w 42"/>
                <a:gd name="T73" fmla="*/ 20 h 84"/>
                <a:gd name="T74" fmla="*/ 33 w 42"/>
                <a:gd name="T75" fmla="*/ 17 h 84"/>
                <a:gd name="T76" fmla="*/ 30 w 42"/>
                <a:gd name="T77" fmla="*/ 18 h 84"/>
                <a:gd name="T78" fmla="*/ 30 w 42"/>
                <a:gd name="T79" fmla="*/ 16 h 84"/>
                <a:gd name="T80" fmla="*/ 28 w 42"/>
                <a:gd name="T81" fmla="*/ 24 h 84"/>
                <a:gd name="T82" fmla="*/ 25 w 42"/>
                <a:gd name="T83" fmla="*/ 23 h 84"/>
                <a:gd name="T84" fmla="*/ 24 w 42"/>
                <a:gd name="T85" fmla="*/ 24 h 84"/>
                <a:gd name="T86" fmla="*/ 24 w 42"/>
                <a:gd name="T87" fmla="*/ 22 h 84"/>
                <a:gd name="T88" fmla="*/ 24 w 42"/>
                <a:gd name="T89" fmla="*/ 20 h 84"/>
                <a:gd name="T90" fmla="*/ 26 w 42"/>
                <a:gd name="T91" fmla="*/ 18 h 84"/>
                <a:gd name="T92" fmla="*/ 27 w 42"/>
                <a:gd name="T93" fmla="*/ 18 h 84"/>
                <a:gd name="T94" fmla="*/ 28 w 42"/>
                <a:gd name="T95" fmla="*/ 10 h 84"/>
                <a:gd name="T96" fmla="*/ 18 w 42"/>
                <a:gd name="T97" fmla="*/ 0 h 84"/>
                <a:gd name="T98" fmla="*/ 15 w 42"/>
                <a:gd name="T99" fmla="*/ 1 h 84"/>
                <a:gd name="T100" fmla="*/ 14 w 42"/>
                <a:gd name="T101" fmla="*/ 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 h="84">
                  <a:moveTo>
                    <a:pt x="14" y="1"/>
                  </a:moveTo>
                  <a:cubicBezTo>
                    <a:pt x="14" y="5"/>
                    <a:pt x="14" y="5"/>
                    <a:pt x="14" y="5"/>
                  </a:cubicBezTo>
                  <a:cubicBezTo>
                    <a:pt x="14" y="5"/>
                    <a:pt x="14" y="5"/>
                    <a:pt x="12" y="7"/>
                  </a:cubicBezTo>
                  <a:cubicBezTo>
                    <a:pt x="10" y="8"/>
                    <a:pt x="8" y="9"/>
                    <a:pt x="6" y="9"/>
                  </a:cubicBezTo>
                  <a:cubicBezTo>
                    <a:pt x="4" y="9"/>
                    <a:pt x="5" y="12"/>
                    <a:pt x="6" y="12"/>
                  </a:cubicBezTo>
                  <a:cubicBezTo>
                    <a:pt x="8" y="13"/>
                    <a:pt x="8" y="17"/>
                    <a:pt x="8" y="17"/>
                  </a:cubicBezTo>
                  <a:cubicBezTo>
                    <a:pt x="8" y="17"/>
                    <a:pt x="11" y="17"/>
                    <a:pt x="11" y="19"/>
                  </a:cubicBezTo>
                  <a:cubicBezTo>
                    <a:pt x="11" y="21"/>
                    <a:pt x="6" y="22"/>
                    <a:pt x="4" y="22"/>
                  </a:cubicBezTo>
                  <a:cubicBezTo>
                    <a:pt x="2" y="22"/>
                    <a:pt x="3" y="26"/>
                    <a:pt x="3" y="26"/>
                  </a:cubicBezTo>
                  <a:cubicBezTo>
                    <a:pt x="0" y="27"/>
                    <a:pt x="0" y="27"/>
                    <a:pt x="0" y="27"/>
                  </a:cubicBezTo>
                  <a:cubicBezTo>
                    <a:pt x="8" y="39"/>
                    <a:pt x="8" y="39"/>
                    <a:pt x="8" y="39"/>
                  </a:cubicBezTo>
                  <a:cubicBezTo>
                    <a:pt x="8" y="39"/>
                    <a:pt x="12" y="41"/>
                    <a:pt x="14" y="40"/>
                  </a:cubicBezTo>
                  <a:cubicBezTo>
                    <a:pt x="16" y="40"/>
                    <a:pt x="16" y="43"/>
                    <a:pt x="16" y="43"/>
                  </a:cubicBezTo>
                  <a:cubicBezTo>
                    <a:pt x="13" y="46"/>
                    <a:pt x="13" y="46"/>
                    <a:pt x="13" y="46"/>
                  </a:cubicBezTo>
                  <a:cubicBezTo>
                    <a:pt x="13" y="46"/>
                    <a:pt x="17" y="47"/>
                    <a:pt x="18" y="48"/>
                  </a:cubicBezTo>
                  <a:cubicBezTo>
                    <a:pt x="19" y="48"/>
                    <a:pt x="17" y="50"/>
                    <a:pt x="18" y="51"/>
                  </a:cubicBezTo>
                  <a:cubicBezTo>
                    <a:pt x="19" y="53"/>
                    <a:pt x="20" y="54"/>
                    <a:pt x="18" y="55"/>
                  </a:cubicBezTo>
                  <a:cubicBezTo>
                    <a:pt x="16" y="57"/>
                    <a:pt x="13" y="59"/>
                    <a:pt x="13" y="59"/>
                  </a:cubicBezTo>
                  <a:cubicBezTo>
                    <a:pt x="13" y="59"/>
                    <a:pt x="14" y="69"/>
                    <a:pt x="13" y="72"/>
                  </a:cubicBezTo>
                  <a:cubicBezTo>
                    <a:pt x="12" y="75"/>
                    <a:pt x="14" y="76"/>
                    <a:pt x="15" y="78"/>
                  </a:cubicBezTo>
                  <a:cubicBezTo>
                    <a:pt x="16" y="79"/>
                    <a:pt x="19" y="80"/>
                    <a:pt x="19" y="81"/>
                  </a:cubicBezTo>
                  <a:cubicBezTo>
                    <a:pt x="19" y="83"/>
                    <a:pt x="21" y="84"/>
                    <a:pt x="23" y="84"/>
                  </a:cubicBezTo>
                  <a:cubicBezTo>
                    <a:pt x="24" y="84"/>
                    <a:pt x="25" y="80"/>
                    <a:pt x="27" y="81"/>
                  </a:cubicBezTo>
                  <a:cubicBezTo>
                    <a:pt x="28" y="82"/>
                    <a:pt x="27" y="78"/>
                    <a:pt x="29" y="78"/>
                  </a:cubicBezTo>
                  <a:cubicBezTo>
                    <a:pt x="31" y="78"/>
                    <a:pt x="30" y="75"/>
                    <a:pt x="33" y="76"/>
                  </a:cubicBezTo>
                  <a:cubicBezTo>
                    <a:pt x="35" y="78"/>
                    <a:pt x="37" y="77"/>
                    <a:pt x="37" y="77"/>
                  </a:cubicBezTo>
                  <a:cubicBezTo>
                    <a:pt x="36" y="72"/>
                    <a:pt x="36" y="72"/>
                    <a:pt x="36" y="72"/>
                  </a:cubicBezTo>
                  <a:cubicBezTo>
                    <a:pt x="35" y="64"/>
                    <a:pt x="35" y="64"/>
                    <a:pt x="35" y="64"/>
                  </a:cubicBezTo>
                  <a:cubicBezTo>
                    <a:pt x="35" y="64"/>
                    <a:pt x="36" y="60"/>
                    <a:pt x="35" y="59"/>
                  </a:cubicBezTo>
                  <a:cubicBezTo>
                    <a:pt x="34" y="58"/>
                    <a:pt x="32" y="57"/>
                    <a:pt x="32" y="57"/>
                  </a:cubicBezTo>
                  <a:cubicBezTo>
                    <a:pt x="32" y="57"/>
                    <a:pt x="33" y="52"/>
                    <a:pt x="33" y="50"/>
                  </a:cubicBezTo>
                  <a:cubicBezTo>
                    <a:pt x="34" y="48"/>
                    <a:pt x="30" y="45"/>
                    <a:pt x="32" y="44"/>
                  </a:cubicBezTo>
                  <a:cubicBezTo>
                    <a:pt x="34" y="42"/>
                    <a:pt x="36" y="42"/>
                    <a:pt x="37" y="40"/>
                  </a:cubicBezTo>
                  <a:cubicBezTo>
                    <a:pt x="37" y="38"/>
                    <a:pt x="37" y="36"/>
                    <a:pt x="37" y="35"/>
                  </a:cubicBezTo>
                  <a:cubicBezTo>
                    <a:pt x="37" y="33"/>
                    <a:pt x="42" y="27"/>
                    <a:pt x="42" y="27"/>
                  </a:cubicBezTo>
                  <a:cubicBezTo>
                    <a:pt x="42" y="24"/>
                    <a:pt x="41" y="21"/>
                    <a:pt x="39" y="20"/>
                  </a:cubicBezTo>
                  <a:cubicBezTo>
                    <a:pt x="38" y="20"/>
                    <a:pt x="37" y="20"/>
                    <a:pt x="36" y="20"/>
                  </a:cubicBezTo>
                  <a:cubicBezTo>
                    <a:pt x="35" y="19"/>
                    <a:pt x="34" y="17"/>
                    <a:pt x="33" y="17"/>
                  </a:cubicBezTo>
                  <a:cubicBezTo>
                    <a:pt x="31" y="17"/>
                    <a:pt x="32" y="18"/>
                    <a:pt x="30" y="18"/>
                  </a:cubicBezTo>
                  <a:cubicBezTo>
                    <a:pt x="30" y="17"/>
                    <a:pt x="31" y="17"/>
                    <a:pt x="30" y="16"/>
                  </a:cubicBezTo>
                  <a:cubicBezTo>
                    <a:pt x="29" y="19"/>
                    <a:pt x="28" y="20"/>
                    <a:pt x="28" y="24"/>
                  </a:cubicBezTo>
                  <a:cubicBezTo>
                    <a:pt x="26" y="23"/>
                    <a:pt x="25" y="23"/>
                    <a:pt x="25" y="23"/>
                  </a:cubicBezTo>
                  <a:cubicBezTo>
                    <a:pt x="24" y="24"/>
                    <a:pt x="24" y="24"/>
                    <a:pt x="24" y="24"/>
                  </a:cubicBezTo>
                  <a:cubicBezTo>
                    <a:pt x="24" y="24"/>
                    <a:pt x="24" y="22"/>
                    <a:pt x="24" y="22"/>
                  </a:cubicBezTo>
                  <a:cubicBezTo>
                    <a:pt x="23" y="23"/>
                    <a:pt x="24" y="20"/>
                    <a:pt x="24" y="20"/>
                  </a:cubicBezTo>
                  <a:cubicBezTo>
                    <a:pt x="25" y="19"/>
                    <a:pt x="25" y="19"/>
                    <a:pt x="26" y="18"/>
                  </a:cubicBezTo>
                  <a:cubicBezTo>
                    <a:pt x="27" y="18"/>
                    <a:pt x="27" y="18"/>
                    <a:pt x="27" y="18"/>
                  </a:cubicBezTo>
                  <a:cubicBezTo>
                    <a:pt x="28" y="15"/>
                    <a:pt x="28" y="13"/>
                    <a:pt x="28" y="10"/>
                  </a:cubicBezTo>
                  <a:cubicBezTo>
                    <a:pt x="24" y="7"/>
                    <a:pt x="21" y="4"/>
                    <a:pt x="18" y="0"/>
                  </a:cubicBezTo>
                  <a:cubicBezTo>
                    <a:pt x="17" y="1"/>
                    <a:pt x="15" y="1"/>
                    <a:pt x="15" y="1"/>
                  </a:cubicBezTo>
                  <a:lnTo>
                    <a:pt x="14" y="1"/>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80" name="Freeform 221">
              <a:extLst>
                <a:ext uri="{FF2B5EF4-FFF2-40B4-BE49-F238E27FC236}">
                  <a16:creationId xmlns:a16="http://schemas.microsoft.com/office/drawing/2014/main" id="{F9D74ED8-A0C5-8013-6076-E27E935EEFA3}"/>
                </a:ext>
              </a:extLst>
            </p:cNvPr>
            <p:cNvSpPr>
              <a:spLocks/>
            </p:cNvSpPr>
            <p:nvPr/>
          </p:nvSpPr>
          <p:spPr bwMode="auto">
            <a:xfrm>
              <a:off x="4089632" y="3908695"/>
              <a:ext cx="149102" cy="296411"/>
            </a:xfrm>
            <a:custGeom>
              <a:avLst/>
              <a:gdLst>
                <a:gd name="T0" fmla="*/ 14 w 42"/>
                <a:gd name="T1" fmla="*/ 1 h 84"/>
                <a:gd name="T2" fmla="*/ 14 w 42"/>
                <a:gd name="T3" fmla="*/ 5 h 84"/>
                <a:gd name="T4" fmla="*/ 12 w 42"/>
                <a:gd name="T5" fmla="*/ 7 h 84"/>
                <a:gd name="T6" fmla="*/ 6 w 42"/>
                <a:gd name="T7" fmla="*/ 9 h 84"/>
                <a:gd name="T8" fmla="*/ 6 w 42"/>
                <a:gd name="T9" fmla="*/ 12 h 84"/>
                <a:gd name="T10" fmla="*/ 8 w 42"/>
                <a:gd name="T11" fmla="*/ 17 h 84"/>
                <a:gd name="T12" fmla="*/ 11 w 42"/>
                <a:gd name="T13" fmla="*/ 19 h 84"/>
                <a:gd name="T14" fmla="*/ 4 w 42"/>
                <a:gd name="T15" fmla="*/ 22 h 84"/>
                <a:gd name="T16" fmla="*/ 3 w 42"/>
                <a:gd name="T17" fmla="*/ 26 h 84"/>
                <a:gd name="T18" fmla="*/ 0 w 42"/>
                <a:gd name="T19" fmla="*/ 27 h 84"/>
                <a:gd name="T20" fmla="*/ 8 w 42"/>
                <a:gd name="T21" fmla="*/ 39 h 84"/>
                <a:gd name="T22" fmla="*/ 14 w 42"/>
                <a:gd name="T23" fmla="*/ 40 h 84"/>
                <a:gd name="T24" fmla="*/ 16 w 42"/>
                <a:gd name="T25" fmla="*/ 43 h 84"/>
                <a:gd name="T26" fmla="*/ 13 w 42"/>
                <a:gd name="T27" fmla="*/ 46 h 84"/>
                <a:gd name="T28" fmla="*/ 18 w 42"/>
                <a:gd name="T29" fmla="*/ 48 h 84"/>
                <a:gd name="T30" fmla="*/ 18 w 42"/>
                <a:gd name="T31" fmla="*/ 51 h 84"/>
                <a:gd name="T32" fmla="*/ 18 w 42"/>
                <a:gd name="T33" fmla="*/ 55 h 84"/>
                <a:gd name="T34" fmla="*/ 13 w 42"/>
                <a:gd name="T35" fmla="*/ 59 h 84"/>
                <a:gd name="T36" fmla="*/ 13 w 42"/>
                <a:gd name="T37" fmla="*/ 72 h 84"/>
                <a:gd name="T38" fmla="*/ 15 w 42"/>
                <a:gd name="T39" fmla="*/ 78 h 84"/>
                <a:gd name="T40" fmla="*/ 19 w 42"/>
                <a:gd name="T41" fmla="*/ 81 h 84"/>
                <a:gd name="T42" fmla="*/ 23 w 42"/>
                <a:gd name="T43" fmla="*/ 84 h 84"/>
                <a:gd name="T44" fmla="*/ 27 w 42"/>
                <a:gd name="T45" fmla="*/ 81 h 84"/>
                <a:gd name="T46" fmla="*/ 29 w 42"/>
                <a:gd name="T47" fmla="*/ 78 h 84"/>
                <a:gd name="T48" fmla="*/ 33 w 42"/>
                <a:gd name="T49" fmla="*/ 76 h 84"/>
                <a:gd name="T50" fmla="*/ 37 w 42"/>
                <a:gd name="T51" fmla="*/ 77 h 84"/>
                <a:gd name="T52" fmla="*/ 36 w 42"/>
                <a:gd name="T53" fmla="*/ 72 h 84"/>
                <a:gd name="T54" fmla="*/ 35 w 42"/>
                <a:gd name="T55" fmla="*/ 64 h 84"/>
                <a:gd name="T56" fmla="*/ 35 w 42"/>
                <a:gd name="T57" fmla="*/ 59 h 84"/>
                <a:gd name="T58" fmla="*/ 32 w 42"/>
                <a:gd name="T59" fmla="*/ 57 h 84"/>
                <a:gd name="T60" fmla="*/ 33 w 42"/>
                <a:gd name="T61" fmla="*/ 50 h 84"/>
                <a:gd name="T62" fmla="*/ 32 w 42"/>
                <a:gd name="T63" fmla="*/ 44 h 84"/>
                <a:gd name="T64" fmla="*/ 37 w 42"/>
                <a:gd name="T65" fmla="*/ 40 h 84"/>
                <a:gd name="T66" fmla="*/ 37 w 42"/>
                <a:gd name="T67" fmla="*/ 35 h 84"/>
                <a:gd name="T68" fmla="*/ 42 w 42"/>
                <a:gd name="T69" fmla="*/ 27 h 84"/>
                <a:gd name="T70" fmla="*/ 39 w 42"/>
                <a:gd name="T71" fmla="*/ 20 h 84"/>
                <a:gd name="T72" fmla="*/ 36 w 42"/>
                <a:gd name="T73" fmla="*/ 20 h 84"/>
                <a:gd name="T74" fmla="*/ 33 w 42"/>
                <a:gd name="T75" fmla="*/ 17 h 84"/>
                <a:gd name="T76" fmla="*/ 30 w 42"/>
                <a:gd name="T77" fmla="*/ 18 h 84"/>
                <a:gd name="T78" fmla="*/ 30 w 42"/>
                <a:gd name="T79" fmla="*/ 16 h 84"/>
                <a:gd name="T80" fmla="*/ 28 w 42"/>
                <a:gd name="T81" fmla="*/ 24 h 84"/>
                <a:gd name="T82" fmla="*/ 25 w 42"/>
                <a:gd name="T83" fmla="*/ 23 h 84"/>
                <a:gd name="T84" fmla="*/ 24 w 42"/>
                <a:gd name="T85" fmla="*/ 24 h 84"/>
                <a:gd name="T86" fmla="*/ 24 w 42"/>
                <a:gd name="T87" fmla="*/ 22 h 84"/>
                <a:gd name="T88" fmla="*/ 24 w 42"/>
                <a:gd name="T89" fmla="*/ 20 h 84"/>
                <a:gd name="T90" fmla="*/ 26 w 42"/>
                <a:gd name="T91" fmla="*/ 18 h 84"/>
                <a:gd name="T92" fmla="*/ 27 w 42"/>
                <a:gd name="T93" fmla="*/ 18 h 84"/>
                <a:gd name="T94" fmla="*/ 28 w 42"/>
                <a:gd name="T95" fmla="*/ 10 h 84"/>
                <a:gd name="T96" fmla="*/ 18 w 42"/>
                <a:gd name="T97" fmla="*/ 0 h 84"/>
                <a:gd name="T98" fmla="*/ 15 w 42"/>
                <a:gd name="T99" fmla="*/ 1 h 84"/>
                <a:gd name="T100" fmla="*/ 14 w 42"/>
                <a:gd name="T101" fmla="*/ 1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 h="84">
                  <a:moveTo>
                    <a:pt x="14" y="1"/>
                  </a:moveTo>
                  <a:cubicBezTo>
                    <a:pt x="14" y="5"/>
                    <a:pt x="14" y="5"/>
                    <a:pt x="14" y="5"/>
                  </a:cubicBezTo>
                  <a:cubicBezTo>
                    <a:pt x="14" y="5"/>
                    <a:pt x="14" y="5"/>
                    <a:pt x="12" y="7"/>
                  </a:cubicBezTo>
                  <a:cubicBezTo>
                    <a:pt x="10" y="8"/>
                    <a:pt x="8" y="9"/>
                    <a:pt x="6" y="9"/>
                  </a:cubicBezTo>
                  <a:cubicBezTo>
                    <a:pt x="4" y="9"/>
                    <a:pt x="5" y="12"/>
                    <a:pt x="6" y="12"/>
                  </a:cubicBezTo>
                  <a:cubicBezTo>
                    <a:pt x="8" y="13"/>
                    <a:pt x="8" y="17"/>
                    <a:pt x="8" y="17"/>
                  </a:cubicBezTo>
                  <a:cubicBezTo>
                    <a:pt x="8" y="17"/>
                    <a:pt x="11" y="17"/>
                    <a:pt x="11" y="19"/>
                  </a:cubicBezTo>
                  <a:cubicBezTo>
                    <a:pt x="11" y="21"/>
                    <a:pt x="6" y="22"/>
                    <a:pt x="4" y="22"/>
                  </a:cubicBezTo>
                  <a:cubicBezTo>
                    <a:pt x="2" y="22"/>
                    <a:pt x="3" y="26"/>
                    <a:pt x="3" y="26"/>
                  </a:cubicBezTo>
                  <a:cubicBezTo>
                    <a:pt x="0" y="27"/>
                    <a:pt x="0" y="27"/>
                    <a:pt x="0" y="27"/>
                  </a:cubicBezTo>
                  <a:cubicBezTo>
                    <a:pt x="8" y="39"/>
                    <a:pt x="8" y="39"/>
                    <a:pt x="8" y="39"/>
                  </a:cubicBezTo>
                  <a:cubicBezTo>
                    <a:pt x="8" y="39"/>
                    <a:pt x="12" y="41"/>
                    <a:pt x="14" y="40"/>
                  </a:cubicBezTo>
                  <a:cubicBezTo>
                    <a:pt x="16" y="40"/>
                    <a:pt x="16" y="43"/>
                    <a:pt x="16" y="43"/>
                  </a:cubicBezTo>
                  <a:cubicBezTo>
                    <a:pt x="13" y="46"/>
                    <a:pt x="13" y="46"/>
                    <a:pt x="13" y="46"/>
                  </a:cubicBezTo>
                  <a:cubicBezTo>
                    <a:pt x="13" y="46"/>
                    <a:pt x="17" y="47"/>
                    <a:pt x="18" y="48"/>
                  </a:cubicBezTo>
                  <a:cubicBezTo>
                    <a:pt x="19" y="48"/>
                    <a:pt x="17" y="50"/>
                    <a:pt x="18" y="51"/>
                  </a:cubicBezTo>
                  <a:cubicBezTo>
                    <a:pt x="19" y="53"/>
                    <a:pt x="20" y="54"/>
                    <a:pt x="18" y="55"/>
                  </a:cubicBezTo>
                  <a:cubicBezTo>
                    <a:pt x="16" y="57"/>
                    <a:pt x="13" y="59"/>
                    <a:pt x="13" y="59"/>
                  </a:cubicBezTo>
                  <a:cubicBezTo>
                    <a:pt x="13" y="59"/>
                    <a:pt x="14" y="69"/>
                    <a:pt x="13" y="72"/>
                  </a:cubicBezTo>
                  <a:cubicBezTo>
                    <a:pt x="12" y="75"/>
                    <a:pt x="14" y="76"/>
                    <a:pt x="15" y="78"/>
                  </a:cubicBezTo>
                  <a:cubicBezTo>
                    <a:pt x="16" y="79"/>
                    <a:pt x="19" y="80"/>
                    <a:pt x="19" y="81"/>
                  </a:cubicBezTo>
                  <a:cubicBezTo>
                    <a:pt x="19" y="83"/>
                    <a:pt x="21" y="84"/>
                    <a:pt x="23" y="84"/>
                  </a:cubicBezTo>
                  <a:cubicBezTo>
                    <a:pt x="24" y="84"/>
                    <a:pt x="25" y="80"/>
                    <a:pt x="27" y="81"/>
                  </a:cubicBezTo>
                  <a:cubicBezTo>
                    <a:pt x="28" y="82"/>
                    <a:pt x="27" y="78"/>
                    <a:pt x="29" y="78"/>
                  </a:cubicBezTo>
                  <a:cubicBezTo>
                    <a:pt x="31" y="78"/>
                    <a:pt x="30" y="75"/>
                    <a:pt x="33" y="76"/>
                  </a:cubicBezTo>
                  <a:cubicBezTo>
                    <a:pt x="35" y="78"/>
                    <a:pt x="37" y="77"/>
                    <a:pt x="37" y="77"/>
                  </a:cubicBezTo>
                  <a:cubicBezTo>
                    <a:pt x="36" y="72"/>
                    <a:pt x="36" y="72"/>
                    <a:pt x="36" y="72"/>
                  </a:cubicBezTo>
                  <a:cubicBezTo>
                    <a:pt x="35" y="64"/>
                    <a:pt x="35" y="64"/>
                    <a:pt x="35" y="64"/>
                  </a:cubicBezTo>
                  <a:cubicBezTo>
                    <a:pt x="35" y="64"/>
                    <a:pt x="36" y="60"/>
                    <a:pt x="35" y="59"/>
                  </a:cubicBezTo>
                  <a:cubicBezTo>
                    <a:pt x="34" y="58"/>
                    <a:pt x="32" y="57"/>
                    <a:pt x="32" y="57"/>
                  </a:cubicBezTo>
                  <a:cubicBezTo>
                    <a:pt x="32" y="57"/>
                    <a:pt x="33" y="52"/>
                    <a:pt x="33" y="50"/>
                  </a:cubicBezTo>
                  <a:cubicBezTo>
                    <a:pt x="34" y="48"/>
                    <a:pt x="30" y="45"/>
                    <a:pt x="32" y="44"/>
                  </a:cubicBezTo>
                  <a:cubicBezTo>
                    <a:pt x="34" y="42"/>
                    <a:pt x="36" y="42"/>
                    <a:pt x="37" y="40"/>
                  </a:cubicBezTo>
                  <a:cubicBezTo>
                    <a:pt x="37" y="38"/>
                    <a:pt x="37" y="36"/>
                    <a:pt x="37" y="35"/>
                  </a:cubicBezTo>
                  <a:cubicBezTo>
                    <a:pt x="37" y="33"/>
                    <a:pt x="42" y="27"/>
                    <a:pt x="42" y="27"/>
                  </a:cubicBezTo>
                  <a:cubicBezTo>
                    <a:pt x="42" y="24"/>
                    <a:pt x="41" y="21"/>
                    <a:pt x="39" y="20"/>
                  </a:cubicBezTo>
                  <a:cubicBezTo>
                    <a:pt x="38" y="20"/>
                    <a:pt x="37" y="20"/>
                    <a:pt x="36" y="20"/>
                  </a:cubicBezTo>
                  <a:cubicBezTo>
                    <a:pt x="35" y="19"/>
                    <a:pt x="34" y="17"/>
                    <a:pt x="33" y="17"/>
                  </a:cubicBezTo>
                  <a:cubicBezTo>
                    <a:pt x="31" y="17"/>
                    <a:pt x="32" y="18"/>
                    <a:pt x="30" y="18"/>
                  </a:cubicBezTo>
                  <a:cubicBezTo>
                    <a:pt x="30" y="17"/>
                    <a:pt x="31" y="17"/>
                    <a:pt x="30" y="16"/>
                  </a:cubicBezTo>
                  <a:cubicBezTo>
                    <a:pt x="29" y="19"/>
                    <a:pt x="28" y="20"/>
                    <a:pt x="28" y="24"/>
                  </a:cubicBezTo>
                  <a:cubicBezTo>
                    <a:pt x="26" y="23"/>
                    <a:pt x="25" y="23"/>
                    <a:pt x="25" y="23"/>
                  </a:cubicBezTo>
                  <a:cubicBezTo>
                    <a:pt x="24" y="24"/>
                    <a:pt x="24" y="24"/>
                    <a:pt x="24" y="24"/>
                  </a:cubicBezTo>
                  <a:cubicBezTo>
                    <a:pt x="24" y="24"/>
                    <a:pt x="24" y="22"/>
                    <a:pt x="24" y="22"/>
                  </a:cubicBezTo>
                  <a:cubicBezTo>
                    <a:pt x="23" y="23"/>
                    <a:pt x="24" y="20"/>
                    <a:pt x="24" y="20"/>
                  </a:cubicBezTo>
                  <a:cubicBezTo>
                    <a:pt x="25" y="19"/>
                    <a:pt x="25" y="19"/>
                    <a:pt x="26" y="18"/>
                  </a:cubicBezTo>
                  <a:cubicBezTo>
                    <a:pt x="27" y="18"/>
                    <a:pt x="27" y="18"/>
                    <a:pt x="27" y="18"/>
                  </a:cubicBezTo>
                  <a:cubicBezTo>
                    <a:pt x="28" y="15"/>
                    <a:pt x="28" y="13"/>
                    <a:pt x="28" y="10"/>
                  </a:cubicBezTo>
                  <a:cubicBezTo>
                    <a:pt x="24" y="7"/>
                    <a:pt x="21" y="4"/>
                    <a:pt x="18" y="0"/>
                  </a:cubicBezTo>
                  <a:cubicBezTo>
                    <a:pt x="17" y="1"/>
                    <a:pt x="15" y="1"/>
                    <a:pt x="15" y="1"/>
                  </a:cubicBezTo>
                  <a:lnTo>
                    <a:pt x="14" y="1"/>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81" name="Freeform 222">
              <a:extLst>
                <a:ext uri="{FF2B5EF4-FFF2-40B4-BE49-F238E27FC236}">
                  <a16:creationId xmlns:a16="http://schemas.microsoft.com/office/drawing/2014/main" id="{F1B1F0C1-76DE-E6A3-C52E-EB83EC67EE87}"/>
                </a:ext>
              </a:extLst>
            </p:cNvPr>
            <p:cNvSpPr>
              <a:spLocks/>
            </p:cNvSpPr>
            <p:nvPr/>
          </p:nvSpPr>
          <p:spPr bwMode="auto">
            <a:xfrm>
              <a:off x="5467477" y="3750608"/>
              <a:ext cx="84432" cy="62875"/>
            </a:xfrm>
            <a:custGeom>
              <a:avLst/>
              <a:gdLst>
                <a:gd name="T0" fmla="*/ 14 w 24"/>
                <a:gd name="T1" fmla="*/ 18 h 18"/>
                <a:gd name="T2" fmla="*/ 14 w 24"/>
                <a:gd name="T3" fmla="*/ 15 h 18"/>
                <a:gd name="T4" fmla="*/ 17 w 24"/>
                <a:gd name="T5" fmla="*/ 15 h 18"/>
                <a:gd name="T6" fmla="*/ 21 w 24"/>
                <a:gd name="T7" fmla="*/ 12 h 18"/>
                <a:gd name="T8" fmla="*/ 21 w 24"/>
                <a:gd name="T9" fmla="*/ 8 h 18"/>
                <a:gd name="T10" fmla="*/ 22 w 24"/>
                <a:gd name="T11" fmla="*/ 5 h 18"/>
                <a:gd name="T12" fmla="*/ 23 w 24"/>
                <a:gd name="T13" fmla="*/ 0 h 18"/>
                <a:gd name="T14" fmla="*/ 9 w 24"/>
                <a:gd name="T15" fmla="*/ 0 h 18"/>
                <a:gd name="T16" fmla="*/ 5 w 24"/>
                <a:gd name="T17" fmla="*/ 3 h 18"/>
                <a:gd name="T18" fmla="*/ 1 w 24"/>
                <a:gd name="T19" fmla="*/ 4 h 18"/>
                <a:gd name="T20" fmla="*/ 0 w 24"/>
                <a:gd name="T21" fmla="*/ 6 h 18"/>
                <a:gd name="T22" fmla="*/ 8 w 24"/>
                <a:gd name="T23" fmla="*/ 10 h 18"/>
                <a:gd name="T24" fmla="*/ 8 w 24"/>
                <a:gd name="T25" fmla="*/ 15 h 18"/>
                <a:gd name="T26" fmla="*/ 12 w 24"/>
                <a:gd name="T27" fmla="*/ 16 h 18"/>
                <a:gd name="T28" fmla="*/ 12 w 24"/>
                <a:gd name="T29" fmla="*/ 18 h 18"/>
                <a:gd name="T30" fmla="*/ 14 w 24"/>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8">
                  <a:moveTo>
                    <a:pt x="14" y="18"/>
                  </a:moveTo>
                  <a:cubicBezTo>
                    <a:pt x="14" y="18"/>
                    <a:pt x="14" y="18"/>
                    <a:pt x="14" y="15"/>
                  </a:cubicBezTo>
                  <a:cubicBezTo>
                    <a:pt x="17" y="15"/>
                    <a:pt x="17" y="15"/>
                    <a:pt x="17" y="15"/>
                  </a:cubicBezTo>
                  <a:cubicBezTo>
                    <a:pt x="19" y="15"/>
                    <a:pt x="21" y="12"/>
                    <a:pt x="21" y="12"/>
                  </a:cubicBezTo>
                  <a:cubicBezTo>
                    <a:pt x="21" y="12"/>
                    <a:pt x="23" y="10"/>
                    <a:pt x="21" y="8"/>
                  </a:cubicBezTo>
                  <a:cubicBezTo>
                    <a:pt x="20" y="7"/>
                    <a:pt x="21" y="5"/>
                    <a:pt x="22" y="5"/>
                  </a:cubicBezTo>
                  <a:cubicBezTo>
                    <a:pt x="24" y="5"/>
                    <a:pt x="23" y="0"/>
                    <a:pt x="23" y="0"/>
                  </a:cubicBezTo>
                  <a:cubicBezTo>
                    <a:pt x="20" y="0"/>
                    <a:pt x="9" y="0"/>
                    <a:pt x="9" y="0"/>
                  </a:cubicBezTo>
                  <a:cubicBezTo>
                    <a:pt x="5" y="3"/>
                    <a:pt x="5" y="3"/>
                    <a:pt x="5" y="3"/>
                  </a:cubicBezTo>
                  <a:cubicBezTo>
                    <a:pt x="1" y="4"/>
                    <a:pt x="1" y="4"/>
                    <a:pt x="1" y="4"/>
                  </a:cubicBezTo>
                  <a:cubicBezTo>
                    <a:pt x="2" y="4"/>
                    <a:pt x="0" y="5"/>
                    <a:pt x="0" y="6"/>
                  </a:cubicBezTo>
                  <a:cubicBezTo>
                    <a:pt x="2" y="8"/>
                    <a:pt x="5" y="8"/>
                    <a:pt x="8" y="10"/>
                  </a:cubicBezTo>
                  <a:cubicBezTo>
                    <a:pt x="8" y="10"/>
                    <a:pt x="8" y="14"/>
                    <a:pt x="8" y="15"/>
                  </a:cubicBezTo>
                  <a:cubicBezTo>
                    <a:pt x="9" y="16"/>
                    <a:pt x="10" y="15"/>
                    <a:pt x="12" y="16"/>
                  </a:cubicBezTo>
                  <a:cubicBezTo>
                    <a:pt x="12" y="16"/>
                    <a:pt x="12" y="18"/>
                    <a:pt x="12" y="18"/>
                  </a:cubicBezTo>
                  <a:cubicBezTo>
                    <a:pt x="13" y="18"/>
                    <a:pt x="14" y="18"/>
                    <a:pt x="14" y="1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82" name="Freeform 223">
              <a:extLst>
                <a:ext uri="{FF2B5EF4-FFF2-40B4-BE49-F238E27FC236}">
                  <a16:creationId xmlns:a16="http://schemas.microsoft.com/office/drawing/2014/main" id="{58748930-E55C-DFFC-683D-11DDDD67A9DE}"/>
                </a:ext>
              </a:extLst>
            </p:cNvPr>
            <p:cNvSpPr>
              <a:spLocks/>
            </p:cNvSpPr>
            <p:nvPr/>
          </p:nvSpPr>
          <p:spPr bwMode="auto">
            <a:xfrm>
              <a:off x="5467477" y="3750608"/>
              <a:ext cx="84432" cy="62875"/>
            </a:xfrm>
            <a:custGeom>
              <a:avLst/>
              <a:gdLst>
                <a:gd name="T0" fmla="*/ 14 w 24"/>
                <a:gd name="T1" fmla="*/ 18 h 18"/>
                <a:gd name="T2" fmla="*/ 14 w 24"/>
                <a:gd name="T3" fmla="*/ 15 h 18"/>
                <a:gd name="T4" fmla="*/ 17 w 24"/>
                <a:gd name="T5" fmla="*/ 15 h 18"/>
                <a:gd name="T6" fmla="*/ 21 w 24"/>
                <a:gd name="T7" fmla="*/ 12 h 18"/>
                <a:gd name="T8" fmla="*/ 21 w 24"/>
                <a:gd name="T9" fmla="*/ 8 h 18"/>
                <a:gd name="T10" fmla="*/ 22 w 24"/>
                <a:gd name="T11" fmla="*/ 5 h 18"/>
                <a:gd name="T12" fmla="*/ 23 w 24"/>
                <a:gd name="T13" fmla="*/ 0 h 18"/>
                <a:gd name="T14" fmla="*/ 9 w 24"/>
                <a:gd name="T15" fmla="*/ 0 h 18"/>
                <a:gd name="T16" fmla="*/ 5 w 24"/>
                <a:gd name="T17" fmla="*/ 3 h 18"/>
                <a:gd name="T18" fmla="*/ 1 w 24"/>
                <a:gd name="T19" fmla="*/ 4 h 18"/>
                <a:gd name="T20" fmla="*/ 0 w 24"/>
                <a:gd name="T21" fmla="*/ 6 h 18"/>
                <a:gd name="T22" fmla="*/ 8 w 24"/>
                <a:gd name="T23" fmla="*/ 10 h 18"/>
                <a:gd name="T24" fmla="*/ 8 w 24"/>
                <a:gd name="T25" fmla="*/ 15 h 18"/>
                <a:gd name="T26" fmla="*/ 12 w 24"/>
                <a:gd name="T27" fmla="*/ 16 h 18"/>
                <a:gd name="T28" fmla="*/ 12 w 24"/>
                <a:gd name="T29" fmla="*/ 18 h 18"/>
                <a:gd name="T30" fmla="*/ 14 w 24"/>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8">
                  <a:moveTo>
                    <a:pt x="14" y="18"/>
                  </a:moveTo>
                  <a:cubicBezTo>
                    <a:pt x="14" y="18"/>
                    <a:pt x="14" y="18"/>
                    <a:pt x="14" y="15"/>
                  </a:cubicBezTo>
                  <a:cubicBezTo>
                    <a:pt x="17" y="15"/>
                    <a:pt x="17" y="15"/>
                    <a:pt x="17" y="15"/>
                  </a:cubicBezTo>
                  <a:cubicBezTo>
                    <a:pt x="19" y="15"/>
                    <a:pt x="21" y="12"/>
                    <a:pt x="21" y="12"/>
                  </a:cubicBezTo>
                  <a:cubicBezTo>
                    <a:pt x="21" y="12"/>
                    <a:pt x="23" y="10"/>
                    <a:pt x="21" y="8"/>
                  </a:cubicBezTo>
                  <a:cubicBezTo>
                    <a:pt x="20" y="7"/>
                    <a:pt x="21" y="5"/>
                    <a:pt x="22" y="5"/>
                  </a:cubicBezTo>
                  <a:cubicBezTo>
                    <a:pt x="24" y="5"/>
                    <a:pt x="23" y="0"/>
                    <a:pt x="23" y="0"/>
                  </a:cubicBezTo>
                  <a:cubicBezTo>
                    <a:pt x="20" y="0"/>
                    <a:pt x="9" y="0"/>
                    <a:pt x="9" y="0"/>
                  </a:cubicBezTo>
                  <a:cubicBezTo>
                    <a:pt x="5" y="3"/>
                    <a:pt x="5" y="3"/>
                    <a:pt x="5" y="3"/>
                  </a:cubicBezTo>
                  <a:cubicBezTo>
                    <a:pt x="1" y="4"/>
                    <a:pt x="1" y="4"/>
                    <a:pt x="1" y="4"/>
                  </a:cubicBezTo>
                  <a:cubicBezTo>
                    <a:pt x="2" y="4"/>
                    <a:pt x="0" y="5"/>
                    <a:pt x="0" y="6"/>
                  </a:cubicBezTo>
                  <a:cubicBezTo>
                    <a:pt x="2" y="8"/>
                    <a:pt x="5" y="8"/>
                    <a:pt x="8" y="10"/>
                  </a:cubicBezTo>
                  <a:cubicBezTo>
                    <a:pt x="8" y="10"/>
                    <a:pt x="8" y="14"/>
                    <a:pt x="8" y="15"/>
                  </a:cubicBezTo>
                  <a:cubicBezTo>
                    <a:pt x="9" y="16"/>
                    <a:pt x="10" y="15"/>
                    <a:pt x="12" y="16"/>
                  </a:cubicBezTo>
                  <a:cubicBezTo>
                    <a:pt x="12" y="16"/>
                    <a:pt x="12" y="18"/>
                    <a:pt x="12" y="18"/>
                  </a:cubicBezTo>
                  <a:cubicBezTo>
                    <a:pt x="13" y="18"/>
                    <a:pt x="14" y="18"/>
                    <a:pt x="14" y="1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83" name="Freeform 224">
              <a:extLst>
                <a:ext uri="{FF2B5EF4-FFF2-40B4-BE49-F238E27FC236}">
                  <a16:creationId xmlns:a16="http://schemas.microsoft.com/office/drawing/2014/main" id="{33E15E2C-2E26-034A-48C6-32EC942A4B4A}"/>
                </a:ext>
              </a:extLst>
            </p:cNvPr>
            <p:cNvSpPr>
              <a:spLocks/>
            </p:cNvSpPr>
            <p:nvPr/>
          </p:nvSpPr>
          <p:spPr bwMode="auto">
            <a:xfrm>
              <a:off x="5515980" y="3750608"/>
              <a:ext cx="226347" cy="201200"/>
            </a:xfrm>
            <a:custGeom>
              <a:avLst/>
              <a:gdLst>
                <a:gd name="T0" fmla="*/ 12 w 64"/>
                <a:gd name="T1" fmla="*/ 39 h 57"/>
                <a:gd name="T2" fmla="*/ 14 w 64"/>
                <a:gd name="T3" fmla="*/ 39 h 57"/>
                <a:gd name="T4" fmla="*/ 17 w 64"/>
                <a:gd name="T5" fmla="*/ 36 h 57"/>
                <a:gd name="T6" fmla="*/ 19 w 64"/>
                <a:gd name="T7" fmla="*/ 29 h 57"/>
                <a:gd name="T8" fmla="*/ 26 w 64"/>
                <a:gd name="T9" fmla="*/ 28 h 57"/>
                <a:gd name="T10" fmla="*/ 31 w 64"/>
                <a:gd name="T11" fmla="*/ 28 h 57"/>
                <a:gd name="T12" fmla="*/ 33 w 64"/>
                <a:gd name="T13" fmla="*/ 33 h 57"/>
                <a:gd name="T14" fmla="*/ 36 w 64"/>
                <a:gd name="T15" fmla="*/ 37 h 57"/>
                <a:gd name="T16" fmla="*/ 38 w 64"/>
                <a:gd name="T17" fmla="*/ 41 h 57"/>
                <a:gd name="T18" fmla="*/ 37 w 64"/>
                <a:gd name="T19" fmla="*/ 46 h 57"/>
                <a:gd name="T20" fmla="*/ 41 w 64"/>
                <a:gd name="T21" fmla="*/ 46 h 57"/>
                <a:gd name="T22" fmla="*/ 45 w 64"/>
                <a:gd name="T23" fmla="*/ 46 h 57"/>
                <a:gd name="T24" fmla="*/ 46 w 64"/>
                <a:gd name="T25" fmla="*/ 43 h 57"/>
                <a:gd name="T26" fmla="*/ 49 w 64"/>
                <a:gd name="T27" fmla="*/ 48 h 57"/>
                <a:gd name="T28" fmla="*/ 47 w 64"/>
                <a:gd name="T29" fmla="*/ 55 h 57"/>
                <a:gd name="T30" fmla="*/ 49 w 64"/>
                <a:gd name="T31" fmla="*/ 57 h 57"/>
                <a:gd name="T32" fmla="*/ 52 w 64"/>
                <a:gd name="T33" fmla="*/ 52 h 57"/>
                <a:gd name="T34" fmla="*/ 55 w 64"/>
                <a:gd name="T35" fmla="*/ 52 h 57"/>
                <a:gd name="T36" fmla="*/ 58 w 64"/>
                <a:gd name="T37" fmla="*/ 50 h 57"/>
                <a:gd name="T38" fmla="*/ 57 w 64"/>
                <a:gd name="T39" fmla="*/ 47 h 57"/>
                <a:gd name="T40" fmla="*/ 63 w 64"/>
                <a:gd name="T41" fmla="*/ 44 h 57"/>
                <a:gd name="T42" fmla="*/ 61 w 64"/>
                <a:gd name="T43" fmla="*/ 38 h 57"/>
                <a:gd name="T44" fmla="*/ 63 w 64"/>
                <a:gd name="T45" fmla="*/ 34 h 57"/>
                <a:gd name="T46" fmla="*/ 60 w 64"/>
                <a:gd name="T47" fmla="*/ 32 h 57"/>
                <a:gd name="T48" fmla="*/ 57 w 64"/>
                <a:gd name="T49" fmla="*/ 28 h 57"/>
                <a:gd name="T50" fmla="*/ 52 w 64"/>
                <a:gd name="T51" fmla="*/ 26 h 57"/>
                <a:gd name="T52" fmla="*/ 49 w 64"/>
                <a:gd name="T53" fmla="*/ 26 h 57"/>
                <a:gd name="T54" fmla="*/ 47 w 64"/>
                <a:gd name="T55" fmla="*/ 24 h 57"/>
                <a:gd name="T56" fmla="*/ 53 w 64"/>
                <a:gd name="T57" fmla="*/ 20 h 57"/>
                <a:gd name="T58" fmla="*/ 50 w 64"/>
                <a:gd name="T59" fmla="*/ 19 h 57"/>
                <a:gd name="T60" fmla="*/ 48 w 64"/>
                <a:gd name="T61" fmla="*/ 15 h 57"/>
                <a:gd name="T62" fmla="*/ 49 w 64"/>
                <a:gd name="T63" fmla="*/ 9 h 57"/>
                <a:gd name="T64" fmla="*/ 48 w 64"/>
                <a:gd name="T65" fmla="*/ 4 h 57"/>
                <a:gd name="T66" fmla="*/ 44 w 64"/>
                <a:gd name="T67" fmla="*/ 4 h 57"/>
                <a:gd name="T68" fmla="*/ 40 w 64"/>
                <a:gd name="T69" fmla="*/ 2 h 57"/>
                <a:gd name="T70" fmla="*/ 37 w 64"/>
                <a:gd name="T71" fmla="*/ 5 h 57"/>
                <a:gd name="T72" fmla="*/ 34 w 64"/>
                <a:gd name="T73" fmla="*/ 3 h 57"/>
                <a:gd name="T74" fmla="*/ 31 w 64"/>
                <a:gd name="T75" fmla="*/ 5 h 57"/>
                <a:gd name="T76" fmla="*/ 28 w 64"/>
                <a:gd name="T77" fmla="*/ 5 h 57"/>
                <a:gd name="T78" fmla="*/ 28 w 64"/>
                <a:gd name="T79" fmla="*/ 1 h 57"/>
                <a:gd name="T80" fmla="*/ 20 w 64"/>
                <a:gd name="T81" fmla="*/ 2 h 57"/>
                <a:gd name="T82" fmla="*/ 15 w 64"/>
                <a:gd name="T83" fmla="*/ 1 h 57"/>
                <a:gd name="T84" fmla="*/ 9 w 64"/>
                <a:gd name="T85" fmla="*/ 0 h 57"/>
                <a:gd name="T86" fmla="*/ 8 w 64"/>
                <a:gd name="T87" fmla="*/ 5 h 57"/>
                <a:gd name="T88" fmla="*/ 7 w 64"/>
                <a:gd name="T89" fmla="*/ 8 h 57"/>
                <a:gd name="T90" fmla="*/ 7 w 64"/>
                <a:gd name="T91" fmla="*/ 12 h 57"/>
                <a:gd name="T92" fmla="*/ 3 w 64"/>
                <a:gd name="T93" fmla="*/ 15 h 57"/>
                <a:gd name="T94" fmla="*/ 0 w 64"/>
                <a:gd name="T95" fmla="*/ 15 h 57"/>
                <a:gd name="T96" fmla="*/ 0 w 64"/>
                <a:gd name="T97" fmla="*/ 18 h 57"/>
                <a:gd name="T98" fmla="*/ 0 w 64"/>
                <a:gd name="T99" fmla="*/ 18 h 57"/>
                <a:gd name="T100" fmla="*/ 0 w 64"/>
                <a:gd name="T101" fmla="*/ 20 h 57"/>
                <a:gd name="T102" fmla="*/ 3 w 64"/>
                <a:gd name="T103" fmla="*/ 22 h 57"/>
                <a:gd name="T104" fmla="*/ 2 w 64"/>
                <a:gd name="T105" fmla="*/ 24 h 57"/>
                <a:gd name="T106" fmla="*/ 4 w 64"/>
                <a:gd name="T107" fmla="*/ 26 h 57"/>
                <a:gd name="T108" fmla="*/ 4 w 64"/>
                <a:gd name="T109" fmla="*/ 27 h 57"/>
                <a:gd name="T110" fmla="*/ 8 w 64"/>
                <a:gd name="T111" fmla="*/ 28 h 57"/>
                <a:gd name="T112" fmla="*/ 8 w 64"/>
                <a:gd name="T113" fmla="*/ 37 h 57"/>
                <a:gd name="T114" fmla="*/ 12 w 64"/>
                <a:gd name="T115" fmla="*/ 3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 h="57">
                  <a:moveTo>
                    <a:pt x="12" y="39"/>
                  </a:moveTo>
                  <a:cubicBezTo>
                    <a:pt x="13" y="39"/>
                    <a:pt x="13" y="39"/>
                    <a:pt x="14" y="39"/>
                  </a:cubicBezTo>
                  <a:cubicBezTo>
                    <a:pt x="16" y="39"/>
                    <a:pt x="15" y="37"/>
                    <a:pt x="17" y="36"/>
                  </a:cubicBezTo>
                  <a:cubicBezTo>
                    <a:pt x="19" y="35"/>
                    <a:pt x="18" y="32"/>
                    <a:pt x="19" y="29"/>
                  </a:cubicBezTo>
                  <a:cubicBezTo>
                    <a:pt x="21" y="26"/>
                    <a:pt x="23" y="26"/>
                    <a:pt x="26" y="28"/>
                  </a:cubicBezTo>
                  <a:cubicBezTo>
                    <a:pt x="29" y="30"/>
                    <a:pt x="29" y="28"/>
                    <a:pt x="31" y="28"/>
                  </a:cubicBezTo>
                  <a:cubicBezTo>
                    <a:pt x="33" y="28"/>
                    <a:pt x="33" y="30"/>
                    <a:pt x="33" y="33"/>
                  </a:cubicBezTo>
                  <a:cubicBezTo>
                    <a:pt x="33" y="36"/>
                    <a:pt x="35" y="34"/>
                    <a:pt x="36" y="37"/>
                  </a:cubicBezTo>
                  <a:cubicBezTo>
                    <a:pt x="37" y="40"/>
                    <a:pt x="37" y="39"/>
                    <a:pt x="38" y="41"/>
                  </a:cubicBezTo>
                  <a:cubicBezTo>
                    <a:pt x="39" y="43"/>
                    <a:pt x="37" y="46"/>
                    <a:pt x="37" y="46"/>
                  </a:cubicBezTo>
                  <a:cubicBezTo>
                    <a:pt x="41" y="46"/>
                    <a:pt x="41" y="46"/>
                    <a:pt x="41" y="46"/>
                  </a:cubicBezTo>
                  <a:cubicBezTo>
                    <a:pt x="41" y="46"/>
                    <a:pt x="43" y="46"/>
                    <a:pt x="45" y="46"/>
                  </a:cubicBezTo>
                  <a:cubicBezTo>
                    <a:pt x="46" y="45"/>
                    <a:pt x="46" y="43"/>
                    <a:pt x="46" y="43"/>
                  </a:cubicBezTo>
                  <a:cubicBezTo>
                    <a:pt x="46" y="43"/>
                    <a:pt x="48" y="46"/>
                    <a:pt x="49" y="48"/>
                  </a:cubicBezTo>
                  <a:cubicBezTo>
                    <a:pt x="50" y="51"/>
                    <a:pt x="47" y="55"/>
                    <a:pt x="47" y="55"/>
                  </a:cubicBezTo>
                  <a:cubicBezTo>
                    <a:pt x="49" y="57"/>
                    <a:pt x="49" y="57"/>
                    <a:pt x="49" y="57"/>
                  </a:cubicBezTo>
                  <a:cubicBezTo>
                    <a:pt x="49" y="57"/>
                    <a:pt x="50" y="55"/>
                    <a:pt x="52" y="52"/>
                  </a:cubicBezTo>
                  <a:cubicBezTo>
                    <a:pt x="54" y="49"/>
                    <a:pt x="55" y="52"/>
                    <a:pt x="55" y="52"/>
                  </a:cubicBezTo>
                  <a:cubicBezTo>
                    <a:pt x="58" y="50"/>
                    <a:pt x="58" y="50"/>
                    <a:pt x="58" y="50"/>
                  </a:cubicBezTo>
                  <a:cubicBezTo>
                    <a:pt x="58" y="50"/>
                    <a:pt x="58" y="49"/>
                    <a:pt x="57" y="47"/>
                  </a:cubicBezTo>
                  <a:cubicBezTo>
                    <a:pt x="57" y="46"/>
                    <a:pt x="61" y="47"/>
                    <a:pt x="63" y="44"/>
                  </a:cubicBezTo>
                  <a:cubicBezTo>
                    <a:pt x="64" y="41"/>
                    <a:pt x="62" y="40"/>
                    <a:pt x="61" y="38"/>
                  </a:cubicBezTo>
                  <a:cubicBezTo>
                    <a:pt x="59" y="36"/>
                    <a:pt x="63" y="34"/>
                    <a:pt x="63" y="34"/>
                  </a:cubicBezTo>
                  <a:cubicBezTo>
                    <a:pt x="63" y="34"/>
                    <a:pt x="62" y="32"/>
                    <a:pt x="60" y="32"/>
                  </a:cubicBezTo>
                  <a:cubicBezTo>
                    <a:pt x="59" y="32"/>
                    <a:pt x="58" y="30"/>
                    <a:pt x="57" y="28"/>
                  </a:cubicBezTo>
                  <a:cubicBezTo>
                    <a:pt x="55" y="25"/>
                    <a:pt x="53" y="28"/>
                    <a:pt x="52" y="26"/>
                  </a:cubicBezTo>
                  <a:cubicBezTo>
                    <a:pt x="51" y="23"/>
                    <a:pt x="51" y="26"/>
                    <a:pt x="49" y="26"/>
                  </a:cubicBezTo>
                  <a:cubicBezTo>
                    <a:pt x="47" y="26"/>
                    <a:pt x="47" y="24"/>
                    <a:pt x="47" y="24"/>
                  </a:cubicBezTo>
                  <a:cubicBezTo>
                    <a:pt x="53" y="20"/>
                    <a:pt x="53" y="20"/>
                    <a:pt x="53" y="20"/>
                  </a:cubicBezTo>
                  <a:cubicBezTo>
                    <a:pt x="53" y="20"/>
                    <a:pt x="50" y="21"/>
                    <a:pt x="50" y="19"/>
                  </a:cubicBezTo>
                  <a:cubicBezTo>
                    <a:pt x="50" y="18"/>
                    <a:pt x="49" y="15"/>
                    <a:pt x="48" y="15"/>
                  </a:cubicBezTo>
                  <a:cubicBezTo>
                    <a:pt x="46" y="14"/>
                    <a:pt x="49" y="12"/>
                    <a:pt x="49" y="9"/>
                  </a:cubicBezTo>
                  <a:cubicBezTo>
                    <a:pt x="49" y="7"/>
                    <a:pt x="48" y="4"/>
                    <a:pt x="48" y="4"/>
                  </a:cubicBezTo>
                  <a:cubicBezTo>
                    <a:pt x="48" y="4"/>
                    <a:pt x="47" y="3"/>
                    <a:pt x="44" y="4"/>
                  </a:cubicBezTo>
                  <a:cubicBezTo>
                    <a:pt x="41" y="5"/>
                    <a:pt x="40" y="2"/>
                    <a:pt x="40" y="2"/>
                  </a:cubicBezTo>
                  <a:cubicBezTo>
                    <a:pt x="40" y="2"/>
                    <a:pt x="39" y="5"/>
                    <a:pt x="37" y="5"/>
                  </a:cubicBezTo>
                  <a:cubicBezTo>
                    <a:pt x="36" y="6"/>
                    <a:pt x="36" y="4"/>
                    <a:pt x="34" y="3"/>
                  </a:cubicBezTo>
                  <a:cubicBezTo>
                    <a:pt x="32" y="3"/>
                    <a:pt x="31" y="5"/>
                    <a:pt x="31" y="5"/>
                  </a:cubicBezTo>
                  <a:cubicBezTo>
                    <a:pt x="28" y="5"/>
                    <a:pt x="28" y="5"/>
                    <a:pt x="28" y="5"/>
                  </a:cubicBezTo>
                  <a:cubicBezTo>
                    <a:pt x="28" y="1"/>
                    <a:pt x="28" y="1"/>
                    <a:pt x="28" y="1"/>
                  </a:cubicBezTo>
                  <a:cubicBezTo>
                    <a:pt x="28" y="1"/>
                    <a:pt x="22" y="3"/>
                    <a:pt x="20" y="2"/>
                  </a:cubicBezTo>
                  <a:cubicBezTo>
                    <a:pt x="18" y="1"/>
                    <a:pt x="17" y="0"/>
                    <a:pt x="15" y="1"/>
                  </a:cubicBezTo>
                  <a:cubicBezTo>
                    <a:pt x="13" y="2"/>
                    <a:pt x="11" y="1"/>
                    <a:pt x="9" y="0"/>
                  </a:cubicBezTo>
                  <a:cubicBezTo>
                    <a:pt x="9" y="0"/>
                    <a:pt x="10" y="5"/>
                    <a:pt x="8" y="5"/>
                  </a:cubicBezTo>
                  <a:cubicBezTo>
                    <a:pt x="7" y="5"/>
                    <a:pt x="6" y="7"/>
                    <a:pt x="7" y="8"/>
                  </a:cubicBezTo>
                  <a:cubicBezTo>
                    <a:pt x="9" y="10"/>
                    <a:pt x="7" y="12"/>
                    <a:pt x="7" y="12"/>
                  </a:cubicBezTo>
                  <a:cubicBezTo>
                    <a:pt x="7" y="12"/>
                    <a:pt x="5" y="15"/>
                    <a:pt x="3" y="15"/>
                  </a:cubicBezTo>
                  <a:cubicBezTo>
                    <a:pt x="0" y="15"/>
                    <a:pt x="0" y="15"/>
                    <a:pt x="0" y="15"/>
                  </a:cubicBezTo>
                  <a:cubicBezTo>
                    <a:pt x="0" y="18"/>
                    <a:pt x="0" y="18"/>
                    <a:pt x="0" y="18"/>
                  </a:cubicBezTo>
                  <a:cubicBezTo>
                    <a:pt x="0" y="18"/>
                    <a:pt x="0" y="18"/>
                    <a:pt x="0" y="18"/>
                  </a:cubicBezTo>
                  <a:cubicBezTo>
                    <a:pt x="0" y="20"/>
                    <a:pt x="0" y="20"/>
                    <a:pt x="0" y="20"/>
                  </a:cubicBezTo>
                  <a:cubicBezTo>
                    <a:pt x="1" y="20"/>
                    <a:pt x="3" y="21"/>
                    <a:pt x="3" y="22"/>
                  </a:cubicBezTo>
                  <a:cubicBezTo>
                    <a:pt x="3" y="23"/>
                    <a:pt x="2" y="23"/>
                    <a:pt x="2" y="24"/>
                  </a:cubicBezTo>
                  <a:cubicBezTo>
                    <a:pt x="2" y="24"/>
                    <a:pt x="4" y="26"/>
                    <a:pt x="4" y="26"/>
                  </a:cubicBezTo>
                  <a:cubicBezTo>
                    <a:pt x="4" y="27"/>
                    <a:pt x="4" y="27"/>
                    <a:pt x="4" y="27"/>
                  </a:cubicBezTo>
                  <a:cubicBezTo>
                    <a:pt x="5" y="28"/>
                    <a:pt x="6" y="27"/>
                    <a:pt x="8" y="28"/>
                  </a:cubicBezTo>
                  <a:cubicBezTo>
                    <a:pt x="7" y="30"/>
                    <a:pt x="7" y="36"/>
                    <a:pt x="8" y="37"/>
                  </a:cubicBezTo>
                  <a:cubicBezTo>
                    <a:pt x="12" y="39"/>
                    <a:pt x="12" y="39"/>
                    <a:pt x="12" y="39"/>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84" name="Freeform 225">
              <a:extLst>
                <a:ext uri="{FF2B5EF4-FFF2-40B4-BE49-F238E27FC236}">
                  <a16:creationId xmlns:a16="http://schemas.microsoft.com/office/drawing/2014/main" id="{340FB60B-F102-5B0F-BC77-A5EBCFC9BF68}"/>
                </a:ext>
              </a:extLst>
            </p:cNvPr>
            <p:cNvSpPr>
              <a:spLocks/>
            </p:cNvSpPr>
            <p:nvPr/>
          </p:nvSpPr>
          <p:spPr bwMode="auto">
            <a:xfrm>
              <a:off x="5515980" y="3750608"/>
              <a:ext cx="226347" cy="201200"/>
            </a:xfrm>
            <a:custGeom>
              <a:avLst/>
              <a:gdLst>
                <a:gd name="T0" fmla="*/ 12 w 64"/>
                <a:gd name="T1" fmla="*/ 39 h 57"/>
                <a:gd name="T2" fmla="*/ 14 w 64"/>
                <a:gd name="T3" fmla="*/ 39 h 57"/>
                <a:gd name="T4" fmla="*/ 17 w 64"/>
                <a:gd name="T5" fmla="*/ 36 h 57"/>
                <a:gd name="T6" fmla="*/ 19 w 64"/>
                <a:gd name="T7" fmla="*/ 29 h 57"/>
                <a:gd name="T8" fmla="*/ 26 w 64"/>
                <a:gd name="T9" fmla="*/ 28 h 57"/>
                <a:gd name="T10" fmla="*/ 31 w 64"/>
                <a:gd name="T11" fmla="*/ 28 h 57"/>
                <a:gd name="T12" fmla="*/ 33 w 64"/>
                <a:gd name="T13" fmla="*/ 33 h 57"/>
                <a:gd name="T14" fmla="*/ 36 w 64"/>
                <a:gd name="T15" fmla="*/ 37 h 57"/>
                <a:gd name="T16" fmla="*/ 38 w 64"/>
                <a:gd name="T17" fmla="*/ 41 h 57"/>
                <a:gd name="T18" fmla="*/ 37 w 64"/>
                <a:gd name="T19" fmla="*/ 46 h 57"/>
                <a:gd name="T20" fmla="*/ 41 w 64"/>
                <a:gd name="T21" fmla="*/ 46 h 57"/>
                <a:gd name="T22" fmla="*/ 45 w 64"/>
                <a:gd name="T23" fmla="*/ 46 h 57"/>
                <a:gd name="T24" fmla="*/ 46 w 64"/>
                <a:gd name="T25" fmla="*/ 43 h 57"/>
                <a:gd name="T26" fmla="*/ 49 w 64"/>
                <a:gd name="T27" fmla="*/ 48 h 57"/>
                <a:gd name="T28" fmla="*/ 47 w 64"/>
                <a:gd name="T29" fmla="*/ 55 h 57"/>
                <a:gd name="T30" fmla="*/ 49 w 64"/>
                <a:gd name="T31" fmla="*/ 57 h 57"/>
                <a:gd name="T32" fmla="*/ 52 w 64"/>
                <a:gd name="T33" fmla="*/ 52 h 57"/>
                <a:gd name="T34" fmla="*/ 55 w 64"/>
                <a:gd name="T35" fmla="*/ 52 h 57"/>
                <a:gd name="T36" fmla="*/ 58 w 64"/>
                <a:gd name="T37" fmla="*/ 50 h 57"/>
                <a:gd name="T38" fmla="*/ 57 w 64"/>
                <a:gd name="T39" fmla="*/ 47 h 57"/>
                <a:gd name="T40" fmla="*/ 63 w 64"/>
                <a:gd name="T41" fmla="*/ 44 h 57"/>
                <a:gd name="T42" fmla="*/ 61 w 64"/>
                <a:gd name="T43" fmla="*/ 38 h 57"/>
                <a:gd name="T44" fmla="*/ 63 w 64"/>
                <a:gd name="T45" fmla="*/ 34 h 57"/>
                <a:gd name="T46" fmla="*/ 60 w 64"/>
                <a:gd name="T47" fmla="*/ 32 h 57"/>
                <a:gd name="T48" fmla="*/ 57 w 64"/>
                <a:gd name="T49" fmla="*/ 28 h 57"/>
                <a:gd name="T50" fmla="*/ 52 w 64"/>
                <a:gd name="T51" fmla="*/ 26 h 57"/>
                <a:gd name="T52" fmla="*/ 49 w 64"/>
                <a:gd name="T53" fmla="*/ 26 h 57"/>
                <a:gd name="T54" fmla="*/ 47 w 64"/>
                <a:gd name="T55" fmla="*/ 24 h 57"/>
                <a:gd name="T56" fmla="*/ 53 w 64"/>
                <a:gd name="T57" fmla="*/ 20 h 57"/>
                <a:gd name="T58" fmla="*/ 50 w 64"/>
                <a:gd name="T59" fmla="*/ 19 h 57"/>
                <a:gd name="T60" fmla="*/ 48 w 64"/>
                <a:gd name="T61" fmla="*/ 15 h 57"/>
                <a:gd name="T62" fmla="*/ 49 w 64"/>
                <a:gd name="T63" fmla="*/ 9 h 57"/>
                <a:gd name="T64" fmla="*/ 48 w 64"/>
                <a:gd name="T65" fmla="*/ 4 h 57"/>
                <a:gd name="T66" fmla="*/ 44 w 64"/>
                <a:gd name="T67" fmla="*/ 4 h 57"/>
                <a:gd name="T68" fmla="*/ 40 w 64"/>
                <a:gd name="T69" fmla="*/ 2 h 57"/>
                <a:gd name="T70" fmla="*/ 37 w 64"/>
                <a:gd name="T71" fmla="*/ 5 h 57"/>
                <a:gd name="T72" fmla="*/ 34 w 64"/>
                <a:gd name="T73" fmla="*/ 3 h 57"/>
                <a:gd name="T74" fmla="*/ 31 w 64"/>
                <a:gd name="T75" fmla="*/ 5 h 57"/>
                <a:gd name="T76" fmla="*/ 28 w 64"/>
                <a:gd name="T77" fmla="*/ 5 h 57"/>
                <a:gd name="T78" fmla="*/ 28 w 64"/>
                <a:gd name="T79" fmla="*/ 1 h 57"/>
                <a:gd name="T80" fmla="*/ 20 w 64"/>
                <a:gd name="T81" fmla="*/ 2 h 57"/>
                <a:gd name="T82" fmla="*/ 15 w 64"/>
                <a:gd name="T83" fmla="*/ 1 h 57"/>
                <a:gd name="T84" fmla="*/ 9 w 64"/>
                <a:gd name="T85" fmla="*/ 0 h 57"/>
                <a:gd name="T86" fmla="*/ 8 w 64"/>
                <a:gd name="T87" fmla="*/ 5 h 57"/>
                <a:gd name="T88" fmla="*/ 7 w 64"/>
                <a:gd name="T89" fmla="*/ 8 h 57"/>
                <a:gd name="T90" fmla="*/ 7 w 64"/>
                <a:gd name="T91" fmla="*/ 12 h 57"/>
                <a:gd name="T92" fmla="*/ 3 w 64"/>
                <a:gd name="T93" fmla="*/ 15 h 57"/>
                <a:gd name="T94" fmla="*/ 0 w 64"/>
                <a:gd name="T95" fmla="*/ 15 h 57"/>
                <a:gd name="T96" fmla="*/ 0 w 64"/>
                <a:gd name="T97" fmla="*/ 18 h 57"/>
                <a:gd name="T98" fmla="*/ 0 w 64"/>
                <a:gd name="T99" fmla="*/ 18 h 57"/>
                <a:gd name="T100" fmla="*/ 0 w 64"/>
                <a:gd name="T101" fmla="*/ 20 h 57"/>
                <a:gd name="T102" fmla="*/ 3 w 64"/>
                <a:gd name="T103" fmla="*/ 22 h 57"/>
                <a:gd name="T104" fmla="*/ 2 w 64"/>
                <a:gd name="T105" fmla="*/ 24 h 57"/>
                <a:gd name="T106" fmla="*/ 4 w 64"/>
                <a:gd name="T107" fmla="*/ 26 h 57"/>
                <a:gd name="T108" fmla="*/ 4 w 64"/>
                <a:gd name="T109" fmla="*/ 27 h 57"/>
                <a:gd name="T110" fmla="*/ 8 w 64"/>
                <a:gd name="T111" fmla="*/ 28 h 57"/>
                <a:gd name="T112" fmla="*/ 8 w 64"/>
                <a:gd name="T113" fmla="*/ 37 h 57"/>
                <a:gd name="T114" fmla="*/ 12 w 64"/>
                <a:gd name="T115" fmla="*/ 3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 h="57">
                  <a:moveTo>
                    <a:pt x="12" y="39"/>
                  </a:moveTo>
                  <a:cubicBezTo>
                    <a:pt x="13" y="39"/>
                    <a:pt x="13" y="39"/>
                    <a:pt x="14" y="39"/>
                  </a:cubicBezTo>
                  <a:cubicBezTo>
                    <a:pt x="16" y="39"/>
                    <a:pt x="15" y="37"/>
                    <a:pt x="17" y="36"/>
                  </a:cubicBezTo>
                  <a:cubicBezTo>
                    <a:pt x="19" y="35"/>
                    <a:pt x="18" y="32"/>
                    <a:pt x="19" y="29"/>
                  </a:cubicBezTo>
                  <a:cubicBezTo>
                    <a:pt x="21" y="26"/>
                    <a:pt x="23" y="26"/>
                    <a:pt x="26" y="28"/>
                  </a:cubicBezTo>
                  <a:cubicBezTo>
                    <a:pt x="29" y="30"/>
                    <a:pt x="29" y="28"/>
                    <a:pt x="31" y="28"/>
                  </a:cubicBezTo>
                  <a:cubicBezTo>
                    <a:pt x="33" y="28"/>
                    <a:pt x="33" y="30"/>
                    <a:pt x="33" y="33"/>
                  </a:cubicBezTo>
                  <a:cubicBezTo>
                    <a:pt x="33" y="36"/>
                    <a:pt x="35" y="34"/>
                    <a:pt x="36" y="37"/>
                  </a:cubicBezTo>
                  <a:cubicBezTo>
                    <a:pt x="37" y="40"/>
                    <a:pt x="37" y="39"/>
                    <a:pt x="38" y="41"/>
                  </a:cubicBezTo>
                  <a:cubicBezTo>
                    <a:pt x="39" y="43"/>
                    <a:pt x="37" y="46"/>
                    <a:pt x="37" y="46"/>
                  </a:cubicBezTo>
                  <a:cubicBezTo>
                    <a:pt x="41" y="46"/>
                    <a:pt x="41" y="46"/>
                    <a:pt x="41" y="46"/>
                  </a:cubicBezTo>
                  <a:cubicBezTo>
                    <a:pt x="41" y="46"/>
                    <a:pt x="43" y="46"/>
                    <a:pt x="45" y="46"/>
                  </a:cubicBezTo>
                  <a:cubicBezTo>
                    <a:pt x="46" y="45"/>
                    <a:pt x="46" y="43"/>
                    <a:pt x="46" y="43"/>
                  </a:cubicBezTo>
                  <a:cubicBezTo>
                    <a:pt x="46" y="43"/>
                    <a:pt x="48" y="46"/>
                    <a:pt x="49" y="48"/>
                  </a:cubicBezTo>
                  <a:cubicBezTo>
                    <a:pt x="50" y="51"/>
                    <a:pt x="47" y="55"/>
                    <a:pt x="47" y="55"/>
                  </a:cubicBezTo>
                  <a:cubicBezTo>
                    <a:pt x="49" y="57"/>
                    <a:pt x="49" y="57"/>
                    <a:pt x="49" y="57"/>
                  </a:cubicBezTo>
                  <a:cubicBezTo>
                    <a:pt x="49" y="57"/>
                    <a:pt x="50" y="55"/>
                    <a:pt x="52" y="52"/>
                  </a:cubicBezTo>
                  <a:cubicBezTo>
                    <a:pt x="54" y="49"/>
                    <a:pt x="55" y="52"/>
                    <a:pt x="55" y="52"/>
                  </a:cubicBezTo>
                  <a:cubicBezTo>
                    <a:pt x="58" y="50"/>
                    <a:pt x="58" y="50"/>
                    <a:pt x="58" y="50"/>
                  </a:cubicBezTo>
                  <a:cubicBezTo>
                    <a:pt x="58" y="50"/>
                    <a:pt x="58" y="49"/>
                    <a:pt x="57" y="47"/>
                  </a:cubicBezTo>
                  <a:cubicBezTo>
                    <a:pt x="57" y="46"/>
                    <a:pt x="61" y="47"/>
                    <a:pt x="63" y="44"/>
                  </a:cubicBezTo>
                  <a:cubicBezTo>
                    <a:pt x="64" y="41"/>
                    <a:pt x="62" y="40"/>
                    <a:pt x="61" y="38"/>
                  </a:cubicBezTo>
                  <a:cubicBezTo>
                    <a:pt x="59" y="36"/>
                    <a:pt x="63" y="34"/>
                    <a:pt x="63" y="34"/>
                  </a:cubicBezTo>
                  <a:cubicBezTo>
                    <a:pt x="63" y="34"/>
                    <a:pt x="62" y="32"/>
                    <a:pt x="60" y="32"/>
                  </a:cubicBezTo>
                  <a:cubicBezTo>
                    <a:pt x="59" y="32"/>
                    <a:pt x="58" y="30"/>
                    <a:pt x="57" y="28"/>
                  </a:cubicBezTo>
                  <a:cubicBezTo>
                    <a:pt x="55" y="25"/>
                    <a:pt x="53" y="28"/>
                    <a:pt x="52" y="26"/>
                  </a:cubicBezTo>
                  <a:cubicBezTo>
                    <a:pt x="51" y="23"/>
                    <a:pt x="51" y="26"/>
                    <a:pt x="49" y="26"/>
                  </a:cubicBezTo>
                  <a:cubicBezTo>
                    <a:pt x="47" y="26"/>
                    <a:pt x="47" y="24"/>
                    <a:pt x="47" y="24"/>
                  </a:cubicBezTo>
                  <a:cubicBezTo>
                    <a:pt x="53" y="20"/>
                    <a:pt x="53" y="20"/>
                    <a:pt x="53" y="20"/>
                  </a:cubicBezTo>
                  <a:cubicBezTo>
                    <a:pt x="53" y="20"/>
                    <a:pt x="50" y="21"/>
                    <a:pt x="50" y="19"/>
                  </a:cubicBezTo>
                  <a:cubicBezTo>
                    <a:pt x="50" y="18"/>
                    <a:pt x="49" y="15"/>
                    <a:pt x="48" y="15"/>
                  </a:cubicBezTo>
                  <a:cubicBezTo>
                    <a:pt x="46" y="14"/>
                    <a:pt x="49" y="12"/>
                    <a:pt x="49" y="9"/>
                  </a:cubicBezTo>
                  <a:cubicBezTo>
                    <a:pt x="49" y="7"/>
                    <a:pt x="48" y="4"/>
                    <a:pt x="48" y="4"/>
                  </a:cubicBezTo>
                  <a:cubicBezTo>
                    <a:pt x="48" y="4"/>
                    <a:pt x="47" y="3"/>
                    <a:pt x="44" y="4"/>
                  </a:cubicBezTo>
                  <a:cubicBezTo>
                    <a:pt x="41" y="5"/>
                    <a:pt x="40" y="2"/>
                    <a:pt x="40" y="2"/>
                  </a:cubicBezTo>
                  <a:cubicBezTo>
                    <a:pt x="40" y="2"/>
                    <a:pt x="39" y="5"/>
                    <a:pt x="37" y="5"/>
                  </a:cubicBezTo>
                  <a:cubicBezTo>
                    <a:pt x="36" y="6"/>
                    <a:pt x="36" y="4"/>
                    <a:pt x="34" y="3"/>
                  </a:cubicBezTo>
                  <a:cubicBezTo>
                    <a:pt x="32" y="3"/>
                    <a:pt x="31" y="5"/>
                    <a:pt x="31" y="5"/>
                  </a:cubicBezTo>
                  <a:cubicBezTo>
                    <a:pt x="28" y="5"/>
                    <a:pt x="28" y="5"/>
                    <a:pt x="28" y="5"/>
                  </a:cubicBezTo>
                  <a:cubicBezTo>
                    <a:pt x="28" y="1"/>
                    <a:pt x="28" y="1"/>
                    <a:pt x="28" y="1"/>
                  </a:cubicBezTo>
                  <a:cubicBezTo>
                    <a:pt x="28" y="1"/>
                    <a:pt x="22" y="3"/>
                    <a:pt x="20" y="2"/>
                  </a:cubicBezTo>
                  <a:cubicBezTo>
                    <a:pt x="18" y="1"/>
                    <a:pt x="17" y="0"/>
                    <a:pt x="15" y="1"/>
                  </a:cubicBezTo>
                  <a:cubicBezTo>
                    <a:pt x="13" y="2"/>
                    <a:pt x="11" y="1"/>
                    <a:pt x="9" y="0"/>
                  </a:cubicBezTo>
                  <a:cubicBezTo>
                    <a:pt x="9" y="0"/>
                    <a:pt x="10" y="5"/>
                    <a:pt x="8" y="5"/>
                  </a:cubicBezTo>
                  <a:cubicBezTo>
                    <a:pt x="7" y="5"/>
                    <a:pt x="6" y="7"/>
                    <a:pt x="7" y="8"/>
                  </a:cubicBezTo>
                  <a:cubicBezTo>
                    <a:pt x="9" y="10"/>
                    <a:pt x="7" y="12"/>
                    <a:pt x="7" y="12"/>
                  </a:cubicBezTo>
                  <a:cubicBezTo>
                    <a:pt x="7" y="12"/>
                    <a:pt x="5" y="15"/>
                    <a:pt x="3" y="15"/>
                  </a:cubicBezTo>
                  <a:cubicBezTo>
                    <a:pt x="0" y="15"/>
                    <a:pt x="0" y="15"/>
                    <a:pt x="0" y="15"/>
                  </a:cubicBezTo>
                  <a:cubicBezTo>
                    <a:pt x="0" y="18"/>
                    <a:pt x="0" y="18"/>
                    <a:pt x="0" y="18"/>
                  </a:cubicBezTo>
                  <a:cubicBezTo>
                    <a:pt x="0" y="18"/>
                    <a:pt x="0" y="18"/>
                    <a:pt x="0" y="18"/>
                  </a:cubicBezTo>
                  <a:cubicBezTo>
                    <a:pt x="0" y="20"/>
                    <a:pt x="0" y="20"/>
                    <a:pt x="0" y="20"/>
                  </a:cubicBezTo>
                  <a:cubicBezTo>
                    <a:pt x="1" y="20"/>
                    <a:pt x="3" y="21"/>
                    <a:pt x="3" y="22"/>
                  </a:cubicBezTo>
                  <a:cubicBezTo>
                    <a:pt x="3" y="23"/>
                    <a:pt x="2" y="23"/>
                    <a:pt x="2" y="24"/>
                  </a:cubicBezTo>
                  <a:cubicBezTo>
                    <a:pt x="2" y="24"/>
                    <a:pt x="4" y="26"/>
                    <a:pt x="4" y="26"/>
                  </a:cubicBezTo>
                  <a:cubicBezTo>
                    <a:pt x="4" y="27"/>
                    <a:pt x="4" y="27"/>
                    <a:pt x="4" y="27"/>
                  </a:cubicBezTo>
                  <a:cubicBezTo>
                    <a:pt x="5" y="28"/>
                    <a:pt x="6" y="27"/>
                    <a:pt x="8" y="28"/>
                  </a:cubicBezTo>
                  <a:cubicBezTo>
                    <a:pt x="7" y="30"/>
                    <a:pt x="7" y="36"/>
                    <a:pt x="8" y="37"/>
                  </a:cubicBezTo>
                  <a:cubicBezTo>
                    <a:pt x="12" y="39"/>
                    <a:pt x="12" y="39"/>
                    <a:pt x="12" y="39"/>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85" name="Freeform 226">
              <a:extLst>
                <a:ext uri="{FF2B5EF4-FFF2-40B4-BE49-F238E27FC236}">
                  <a16:creationId xmlns:a16="http://schemas.microsoft.com/office/drawing/2014/main" id="{F7EC829F-7407-03E0-038C-3AEB637D9519}"/>
                </a:ext>
              </a:extLst>
            </p:cNvPr>
            <p:cNvSpPr>
              <a:spLocks/>
            </p:cNvSpPr>
            <p:nvPr/>
          </p:nvSpPr>
          <p:spPr bwMode="auto">
            <a:xfrm>
              <a:off x="3157294" y="3545815"/>
              <a:ext cx="125748" cy="158086"/>
            </a:xfrm>
            <a:custGeom>
              <a:avLst/>
              <a:gdLst>
                <a:gd name="T0" fmla="*/ 19 w 36"/>
                <a:gd name="T1" fmla="*/ 45 h 45"/>
                <a:gd name="T2" fmla="*/ 23 w 36"/>
                <a:gd name="T3" fmla="*/ 42 h 45"/>
                <a:gd name="T4" fmla="*/ 27 w 36"/>
                <a:gd name="T5" fmla="*/ 37 h 45"/>
                <a:gd name="T6" fmla="*/ 29 w 36"/>
                <a:gd name="T7" fmla="*/ 32 h 45"/>
                <a:gd name="T8" fmla="*/ 33 w 36"/>
                <a:gd name="T9" fmla="*/ 28 h 45"/>
                <a:gd name="T10" fmla="*/ 36 w 36"/>
                <a:gd name="T11" fmla="*/ 25 h 45"/>
                <a:gd name="T12" fmla="*/ 31 w 36"/>
                <a:gd name="T13" fmla="*/ 25 h 45"/>
                <a:gd name="T14" fmla="*/ 31 w 36"/>
                <a:gd name="T15" fmla="*/ 24 h 45"/>
                <a:gd name="T16" fmla="*/ 28 w 36"/>
                <a:gd name="T17" fmla="*/ 24 h 45"/>
                <a:gd name="T18" fmla="*/ 29 w 36"/>
                <a:gd name="T19" fmla="*/ 0 h 45"/>
                <a:gd name="T20" fmla="*/ 14 w 36"/>
                <a:gd name="T21" fmla="*/ 0 h 45"/>
                <a:gd name="T22" fmla="*/ 13 w 36"/>
                <a:gd name="T23" fmla="*/ 5 h 45"/>
                <a:gd name="T24" fmla="*/ 10 w 36"/>
                <a:gd name="T25" fmla="*/ 5 h 45"/>
                <a:gd name="T26" fmla="*/ 10 w 36"/>
                <a:gd name="T27" fmla="*/ 8 h 45"/>
                <a:gd name="T28" fmla="*/ 15 w 36"/>
                <a:gd name="T29" fmla="*/ 13 h 45"/>
                <a:gd name="T30" fmla="*/ 17 w 36"/>
                <a:gd name="T31" fmla="*/ 18 h 45"/>
                <a:gd name="T32" fmla="*/ 6 w 36"/>
                <a:gd name="T33" fmla="*/ 18 h 45"/>
                <a:gd name="T34" fmla="*/ 1 w 36"/>
                <a:gd name="T35" fmla="*/ 26 h 45"/>
                <a:gd name="T36" fmla="*/ 0 w 36"/>
                <a:gd name="T37" fmla="*/ 31 h 45"/>
                <a:gd name="T38" fmla="*/ 1 w 36"/>
                <a:gd name="T39" fmla="*/ 32 h 45"/>
                <a:gd name="T40" fmla="*/ 4 w 36"/>
                <a:gd name="T41" fmla="*/ 34 h 45"/>
                <a:gd name="T42" fmla="*/ 8 w 36"/>
                <a:gd name="T43" fmla="*/ 39 h 45"/>
                <a:gd name="T44" fmla="*/ 11 w 36"/>
                <a:gd name="T45" fmla="*/ 40 h 45"/>
                <a:gd name="T46" fmla="*/ 13 w 36"/>
                <a:gd name="T47" fmla="*/ 43 h 45"/>
                <a:gd name="T48" fmla="*/ 13 w 36"/>
                <a:gd name="T49" fmla="*/ 44 h 45"/>
                <a:gd name="T50" fmla="*/ 17 w 36"/>
                <a:gd name="T51" fmla="*/ 44 h 45"/>
                <a:gd name="T52" fmla="*/ 19 w 36"/>
                <a:gd name="T5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45">
                  <a:moveTo>
                    <a:pt x="19" y="45"/>
                  </a:moveTo>
                  <a:cubicBezTo>
                    <a:pt x="18" y="42"/>
                    <a:pt x="24" y="44"/>
                    <a:pt x="23" y="42"/>
                  </a:cubicBezTo>
                  <a:cubicBezTo>
                    <a:pt x="23" y="40"/>
                    <a:pt x="27" y="37"/>
                    <a:pt x="27" y="37"/>
                  </a:cubicBezTo>
                  <a:cubicBezTo>
                    <a:pt x="27" y="37"/>
                    <a:pt x="29" y="34"/>
                    <a:pt x="29" y="32"/>
                  </a:cubicBezTo>
                  <a:cubicBezTo>
                    <a:pt x="29" y="29"/>
                    <a:pt x="30" y="28"/>
                    <a:pt x="33" y="28"/>
                  </a:cubicBezTo>
                  <a:cubicBezTo>
                    <a:pt x="36" y="28"/>
                    <a:pt x="36" y="25"/>
                    <a:pt x="36" y="25"/>
                  </a:cubicBezTo>
                  <a:cubicBezTo>
                    <a:pt x="34" y="25"/>
                    <a:pt x="32" y="25"/>
                    <a:pt x="31" y="25"/>
                  </a:cubicBezTo>
                  <a:cubicBezTo>
                    <a:pt x="31" y="24"/>
                    <a:pt x="31" y="24"/>
                    <a:pt x="31" y="24"/>
                  </a:cubicBezTo>
                  <a:cubicBezTo>
                    <a:pt x="28" y="24"/>
                    <a:pt x="28" y="24"/>
                    <a:pt x="28" y="24"/>
                  </a:cubicBezTo>
                  <a:cubicBezTo>
                    <a:pt x="29" y="0"/>
                    <a:pt x="29" y="0"/>
                    <a:pt x="29" y="0"/>
                  </a:cubicBezTo>
                  <a:cubicBezTo>
                    <a:pt x="14" y="0"/>
                    <a:pt x="14" y="0"/>
                    <a:pt x="14" y="0"/>
                  </a:cubicBezTo>
                  <a:cubicBezTo>
                    <a:pt x="13" y="5"/>
                    <a:pt x="13" y="5"/>
                    <a:pt x="13" y="5"/>
                  </a:cubicBezTo>
                  <a:cubicBezTo>
                    <a:pt x="10" y="5"/>
                    <a:pt x="10" y="5"/>
                    <a:pt x="10" y="5"/>
                  </a:cubicBezTo>
                  <a:cubicBezTo>
                    <a:pt x="10" y="8"/>
                    <a:pt x="10" y="8"/>
                    <a:pt x="10" y="8"/>
                  </a:cubicBezTo>
                  <a:cubicBezTo>
                    <a:pt x="10" y="8"/>
                    <a:pt x="12" y="12"/>
                    <a:pt x="15" y="13"/>
                  </a:cubicBezTo>
                  <a:cubicBezTo>
                    <a:pt x="17" y="15"/>
                    <a:pt x="17" y="18"/>
                    <a:pt x="17" y="18"/>
                  </a:cubicBezTo>
                  <a:cubicBezTo>
                    <a:pt x="6" y="18"/>
                    <a:pt x="6" y="18"/>
                    <a:pt x="6" y="18"/>
                  </a:cubicBezTo>
                  <a:cubicBezTo>
                    <a:pt x="6" y="18"/>
                    <a:pt x="0" y="25"/>
                    <a:pt x="1" y="26"/>
                  </a:cubicBezTo>
                  <a:cubicBezTo>
                    <a:pt x="2" y="28"/>
                    <a:pt x="0" y="31"/>
                    <a:pt x="0" y="31"/>
                  </a:cubicBezTo>
                  <a:cubicBezTo>
                    <a:pt x="0" y="32"/>
                    <a:pt x="1" y="32"/>
                    <a:pt x="1" y="32"/>
                  </a:cubicBezTo>
                  <a:cubicBezTo>
                    <a:pt x="1" y="33"/>
                    <a:pt x="3" y="33"/>
                    <a:pt x="4" y="34"/>
                  </a:cubicBezTo>
                  <a:cubicBezTo>
                    <a:pt x="5" y="35"/>
                    <a:pt x="6" y="38"/>
                    <a:pt x="8" y="39"/>
                  </a:cubicBezTo>
                  <a:cubicBezTo>
                    <a:pt x="8" y="40"/>
                    <a:pt x="10" y="40"/>
                    <a:pt x="11" y="40"/>
                  </a:cubicBezTo>
                  <a:cubicBezTo>
                    <a:pt x="13" y="42"/>
                    <a:pt x="10" y="41"/>
                    <a:pt x="13" y="43"/>
                  </a:cubicBezTo>
                  <a:cubicBezTo>
                    <a:pt x="13" y="44"/>
                    <a:pt x="13" y="44"/>
                    <a:pt x="13" y="44"/>
                  </a:cubicBezTo>
                  <a:cubicBezTo>
                    <a:pt x="15" y="45"/>
                    <a:pt x="15" y="43"/>
                    <a:pt x="17" y="44"/>
                  </a:cubicBezTo>
                  <a:cubicBezTo>
                    <a:pt x="19" y="45"/>
                    <a:pt x="19" y="45"/>
                    <a:pt x="19" y="4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86" name="Freeform 227">
              <a:extLst>
                <a:ext uri="{FF2B5EF4-FFF2-40B4-BE49-F238E27FC236}">
                  <a16:creationId xmlns:a16="http://schemas.microsoft.com/office/drawing/2014/main" id="{5FE69AA7-6D09-70C9-CE60-B537670E3566}"/>
                </a:ext>
              </a:extLst>
            </p:cNvPr>
            <p:cNvSpPr>
              <a:spLocks/>
            </p:cNvSpPr>
            <p:nvPr/>
          </p:nvSpPr>
          <p:spPr bwMode="auto">
            <a:xfrm>
              <a:off x="3157294" y="3545815"/>
              <a:ext cx="125748" cy="158086"/>
            </a:xfrm>
            <a:custGeom>
              <a:avLst/>
              <a:gdLst>
                <a:gd name="T0" fmla="*/ 19 w 36"/>
                <a:gd name="T1" fmla="*/ 45 h 45"/>
                <a:gd name="T2" fmla="*/ 23 w 36"/>
                <a:gd name="T3" fmla="*/ 42 h 45"/>
                <a:gd name="T4" fmla="*/ 27 w 36"/>
                <a:gd name="T5" fmla="*/ 37 h 45"/>
                <a:gd name="T6" fmla="*/ 29 w 36"/>
                <a:gd name="T7" fmla="*/ 32 h 45"/>
                <a:gd name="T8" fmla="*/ 33 w 36"/>
                <a:gd name="T9" fmla="*/ 28 h 45"/>
                <a:gd name="T10" fmla="*/ 36 w 36"/>
                <a:gd name="T11" fmla="*/ 25 h 45"/>
                <a:gd name="T12" fmla="*/ 31 w 36"/>
                <a:gd name="T13" fmla="*/ 25 h 45"/>
                <a:gd name="T14" fmla="*/ 31 w 36"/>
                <a:gd name="T15" fmla="*/ 24 h 45"/>
                <a:gd name="T16" fmla="*/ 28 w 36"/>
                <a:gd name="T17" fmla="*/ 24 h 45"/>
                <a:gd name="T18" fmla="*/ 29 w 36"/>
                <a:gd name="T19" fmla="*/ 0 h 45"/>
                <a:gd name="T20" fmla="*/ 14 w 36"/>
                <a:gd name="T21" fmla="*/ 0 h 45"/>
                <a:gd name="T22" fmla="*/ 13 w 36"/>
                <a:gd name="T23" fmla="*/ 5 h 45"/>
                <a:gd name="T24" fmla="*/ 10 w 36"/>
                <a:gd name="T25" fmla="*/ 5 h 45"/>
                <a:gd name="T26" fmla="*/ 10 w 36"/>
                <a:gd name="T27" fmla="*/ 8 h 45"/>
                <a:gd name="T28" fmla="*/ 15 w 36"/>
                <a:gd name="T29" fmla="*/ 13 h 45"/>
                <a:gd name="T30" fmla="*/ 17 w 36"/>
                <a:gd name="T31" fmla="*/ 18 h 45"/>
                <a:gd name="T32" fmla="*/ 6 w 36"/>
                <a:gd name="T33" fmla="*/ 18 h 45"/>
                <a:gd name="T34" fmla="*/ 1 w 36"/>
                <a:gd name="T35" fmla="*/ 26 h 45"/>
                <a:gd name="T36" fmla="*/ 0 w 36"/>
                <a:gd name="T37" fmla="*/ 31 h 45"/>
                <a:gd name="T38" fmla="*/ 1 w 36"/>
                <a:gd name="T39" fmla="*/ 32 h 45"/>
                <a:gd name="T40" fmla="*/ 4 w 36"/>
                <a:gd name="T41" fmla="*/ 34 h 45"/>
                <a:gd name="T42" fmla="*/ 8 w 36"/>
                <a:gd name="T43" fmla="*/ 39 h 45"/>
                <a:gd name="T44" fmla="*/ 11 w 36"/>
                <a:gd name="T45" fmla="*/ 40 h 45"/>
                <a:gd name="T46" fmla="*/ 13 w 36"/>
                <a:gd name="T47" fmla="*/ 43 h 45"/>
                <a:gd name="T48" fmla="*/ 13 w 36"/>
                <a:gd name="T49" fmla="*/ 44 h 45"/>
                <a:gd name="T50" fmla="*/ 17 w 36"/>
                <a:gd name="T51" fmla="*/ 44 h 45"/>
                <a:gd name="T52" fmla="*/ 19 w 36"/>
                <a:gd name="T5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45">
                  <a:moveTo>
                    <a:pt x="19" y="45"/>
                  </a:moveTo>
                  <a:cubicBezTo>
                    <a:pt x="18" y="42"/>
                    <a:pt x="24" y="44"/>
                    <a:pt x="23" y="42"/>
                  </a:cubicBezTo>
                  <a:cubicBezTo>
                    <a:pt x="23" y="40"/>
                    <a:pt x="27" y="37"/>
                    <a:pt x="27" y="37"/>
                  </a:cubicBezTo>
                  <a:cubicBezTo>
                    <a:pt x="27" y="37"/>
                    <a:pt x="29" y="34"/>
                    <a:pt x="29" y="32"/>
                  </a:cubicBezTo>
                  <a:cubicBezTo>
                    <a:pt x="29" y="29"/>
                    <a:pt x="30" y="28"/>
                    <a:pt x="33" y="28"/>
                  </a:cubicBezTo>
                  <a:cubicBezTo>
                    <a:pt x="36" y="28"/>
                    <a:pt x="36" y="25"/>
                    <a:pt x="36" y="25"/>
                  </a:cubicBezTo>
                  <a:cubicBezTo>
                    <a:pt x="34" y="25"/>
                    <a:pt x="32" y="25"/>
                    <a:pt x="31" y="25"/>
                  </a:cubicBezTo>
                  <a:cubicBezTo>
                    <a:pt x="31" y="24"/>
                    <a:pt x="31" y="24"/>
                    <a:pt x="31" y="24"/>
                  </a:cubicBezTo>
                  <a:cubicBezTo>
                    <a:pt x="28" y="24"/>
                    <a:pt x="28" y="24"/>
                    <a:pt x="28" y="24"/>
                  </a:cubicBezTo>
                  <a:cubicBezTo>
                    <a:pt x="29" y="0"/>
                    <a:pt x="29" y="0"/>
                    <a:pt x="29" y="0"/>
                  </a:cubicBezTo>
                  <a:cubicBezTo>
                    <a:pt x="14" y="0"/>
                    <a:pt x="14" y="0"/>
                    <a:pt x="14" y="0"/>
                  </a:cubicBezTo>
                  <a:cubicBezTo>
                    <a:pt x="13" y="5"/>
                    <a:pt x="13" y="5"/>
                    <a:pt x="13" y="5"/>
                  </a:cubicBezTo>
                  <a:cubicBezTo>
                    <a:pt x="10" y="5"/>
                    <a:pt x="10" y="5"/>
                    <a:pt x="10" y="5"/>
                  </a:cubicBezTo>
                  <a:cubicBezTo>
                    <a:pt x="10" y="8"/>
                    <a:pt x="10" y="8"/>
                    <a:pt x="10" y="8"/>
                  </a:cubicBezTo>
                  <a:cubicBezTo>
                    <a:pt x="10" y="8"/>
                    <a:pt x="12" y="12"/>
                    <a:pt x="15" y="13"/>
                  </a:cubicBezTo>
                  <a:cubicBezTo>
                    <a:pt x="17" y="15"/>
                    <a:pt x="17" y="18"/>
                    <a:pt x="17" y="18"/>
                  </a:cubicBezTo>
                  <a:cubicBezTo>
                    <a:pt x="6" y="18"/>
                    <a:pt x="6" y="18"/>
                    <a:pt x="6" y="18"/>
                  </a:cubicBezTo>
                  <a:cubicBezTo>
                    <a:pt x="6" y="18"/>
                    <a:pt x="0" y="25"/>
                    <a:pt x="1" y="26"/>
                  </a:cubicBezTo>
                  <a:cubicBezTo>
                    <a:pt x="2" y="28"/>
                    <a:pt x="0" y="31"/>
                    <a:pt x="0" y="31"/>
                  </a:cubicBezTo>
                  <a:cubicBezTo>
                    <a:pt x="0" y="32"/>
                    <a:pt x="1" y="32"/>
                    <a:pt x="1" y="32"/>
                  </a:cubicBezTo>
                  <a:cubicBezTo>
                    <a:pt x="1" y="33"/>
                    <a:pt x="3" y="33"/>
                    <a:pt x="4" y="34"/>
                  </a:cubicBezTo>
                  <a:cubicBezTo>
                    <a:pt x="5" y="35"/>
                    <a:pt x="6" y="38"/>
                    <a:pt x="8" y="39"/>
                  </a:cubicBezTo>
                  <a:cubicBezTo>
                    <a:pt x="8" y="40"/>
                    <a:pt x="10" y="40"/>
                    <a:pt x="11" y="40"/>
                  </a:cubicBezTo>
                  <a:cubicBezTo>
                    <a:pt x="13" y="42"/>
                    <a:pt x="10" y="41"/>
                    <a:pt x="13" y="43"/>
                  </a:cubicBezTo>
                  <a:cubicBezTo>
                    <a:pt x="13" y="44"/>
                    <a:pt x="13" y="44"/>
                    <a:pt x="13" y="44"/>
                  </a:cubicBezTo>
                  <a:cubicBezTo>
                    <a:pt x="15" y="45"/>
                    <a:pt x="15" y="43"/>
                    <a:pt x="17" y="44"/>
                  </a:cubicBezTo>
                  <a:cubicBezTo>
                    <a:pt x="19" y="45"/>
                    <a:pt x="19" y="45"/>
                    <a:pt x="19" y="4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87" name="Freeform 228">
              <a:extLst>
                <a:ext uri="{FF2B5EF4-FFF2-40B4-BE49-F238E27FC236}">
                  <a16:creationId xmlns:a16="http://schemas.microsoft.com/office/drawing/2014/main" id="{4A6A60DD-752F-070A-4162-ADCE350063BB}"/>
                </a:ext>
              </a:extLst>
            </p:cNvPr>
            <p:cNvSpPr>
              <a:spLocks noEditPoints="1"/>
            </p:cNvSpPr>
            <p:nvPr/>
          </p:nvSpPr>
          <p:spPr bwMode="auto">
            <a:xfrm>
              <a:off x="3773464" y="330205"/>
              <a:ext cx="1834135" cy="1417383"/>
            </a:xfrm>
            <a:custGeom>
              <a:avLst/>
              <a:gdLst>
                <a:gd name="T0" fmla="*/ 392 w 521"/>
                <a:gd name="T1" fmla="*/ 63 h 402"/>
                <a:gd name="T2" fmla="*/ 198 w 521"/>
                <a:gd name="T3" fmla="*/ 298 h 402"/>
                <a:gd name="T4" fmla="*/ 174 w 521"/>
                <a:gd name="T5" fmla="*/ 223 h 402"/>
                <a:gd name="T6" fmla="*/ 404 w 521"/>
                <a:gd name="T7" fmla="*/ 203 h 402"/>
                <a:gd name="T8" fmla="*/ 435 w 521"/>
                <a:gd name="T9" fmla="*/ 206 h 402"/>
                <a:gd name="T10" fmla="*/ 466 w 521"/>
                <a:gd name="T11" fmla="*/ 167 h 402"/>
                <a:gd name="T12" fmla="*/ 466 w 521"/>
                <a:gd name="T13" fmla="*/ 153 h 402"/>
                <a:gd name="T14" fmla="*/ 10 w 521"/>
                <a:gd name="T15" fmla="*/ 119 h 402"/>
                <a:gd name="T16" fmla="*/ 463 w 521"/>
                <a:gd name="T17" fmla="*/ 39 h 402"/>
                <a:gd name="T18" fmla="*/ 327 w 521"/>
                <a:gd name="T19" fmla="*/ 18 h 402"/>
                <a:gd name="T20" fmla="*/ 366 w 521"/>
                <a:gd name="T21" fmla="*/ 14 h 402"/>
                <a:gd name="T22" fmla="*/ 451 w 521"/>
                <a:gd name="T23" fmla="*/ 27 h 402"/>
                <a:gd name="T24" fmla="*/ 406 w 521"/>
                <a:gd name="T25" fmla="*/ 12 h 402"/>
                <a:gd name="T26" fmla="*/ 300 w 521"/>
                <a:gd name="T27" fmla="*/ 2 h 402"/>
                <a:gd name="T28" fmla="*/ 267 w 521"/>
                <a:gd name="T29" fmla="*/ 12 h 402"/>
                <a:gd name="T30" fmla="*/ 264 w 521"/>
                <a:gd name="T31" fmla="*/ 27 h 402"/>
                <a:gd name="T32" fmla="*/ 245 w 521"/>
                <a:gd name="T33" fmla="*/ 48 h 402"/>
                <a:gd name="T34" fmla="*/ 194 w 521"/>
                <a:gd name="T35" fmla="*/ 40 h 402"/>
                <a:gd name="T36" fmla="*/ 146 w 521"/>
                <a:gd name="T37" fmla="*/ 33 h 402"/>
                <a:gd name="T38" fmla="*/ 92 w 521"/>
                <a:gd name="T39" fmla="*/ 49 h 402"/>
                <a:gd name="T40" fmla="*/ 72 w 521"/>
                <a:gd name="T41" fmla="*/ 79 h 402"/>
                <a:gd name="T42" fmla="*/ 7 w 521"/>
                <a:gd name="T43" fmla="*/ 110 h 402"/>
                <a:gd name="T44" fmla="*/ 41 w 521"/>
                <a:gd name="T45" fmla="*/ 121 h 402"/>
                <a:gd name="T46" fmla="*/ 49 w 521"/>
                <a:gd name="T47" fmla="*/ 139 h 402"/>
                <a:gd name="T48" fmla="*/ 106 w 521"/>
                <a:gd name="T49" fmla="*/ 143 h 402"/>
                <a:gd name="T50" fmla="*/ 136 w 521"/>
                <a:gd name="T51" fmla="*/ 176 h 402"/>
                <a:gd name="T52" fmla="*/ 146 w 521"/>
                <a:gd name="T53" fmla="*/ 209 h 402"/>
                <a:gd name="T54" fmla="*/ 190 w 521"/>
                <a:gd name="T55" fmla="*/ 223 h 402"/>
                <a:gd name="T56" fmla="*/ 158 w 521"/>
                <a:gd name="T57" fmla="*/ 237 h 402"/>
                <a:gd name="T58" fmla="*/ 152 w 521"/>
                <a:gd name="T59" fmla="*/ 260 h 402"/>
                <a:gd name="T60" fmla="*/ 190 w 521"/>
                <a:gd name="T61" fmla="*/ 250 h 402"/>
                <a:gd name="T62" fmla="*/ 180 w 521"/>
                <a:gd name="T63" fmla="*/ 275 h 402"/>
                <a:gd name="T64" fmla="*/ 164 w 521"/>
                <a:gd name="T65" fmla="*/ 292 h 402"/>
                <a:gd name="T66" fmla="*/ 165 w 521"/>
                <a:gd name="T67" fmla="*/ 294 h 402"/>
                <a:gd name="T68" fmla="*/ 168 w 521"/>
                <a:gd name="T69" fmla="*/ 319 h 402"/>
                <a:gd name="T70" fmla="*/ 192 w 521"/>
                <a:gd name="T71" fmla="*/ 331 h 402"/>
                <a:gd name="T72" fmla="*/ 188 w 521"/>
                <a:gd name="T73" fmla="*/ 358 h 402"/>
                <a:gd name="T74" fmla="*/ 213 w 521"/>
                <a:gd name="T75" fmla="*/ 377 h 402"/>
                <a:gd name="T76" fmla="*/ 231 w 521"/>
                <a:gd name="T77" fmla="*/ 385 h 402"/>
                <a:gd name="T78" fmla="*/ 249 w 521"/>
                <a:gd name="T79" fmla="*/ 391 h 402"/>
                <a:gd name="T80" fmla="*/ 258 w 521"/>
                <a:gd name="T81" fmla="*/ 383 h 402"/>
                <a:gd name="T82" fmla="*/ 272 w 521"/>
                <a:gd name="T83" fmla="*/ 351 h 402"/>
                <a:gd name="T84" fmla="*/ 283 w 521"/>
                <a:gd name="T85" fmla="*/ 316 h 402"/>
                <a:gd name="T86" fmla="*/ 318 w 521"/>
                <a:gd name="T87" fmla="*/ 313 h 402"/>
                <a:gd name="T88" fmla="*/ 364 w 521"/>
                <a:gd name="T89" fmla="*/ 273 h 402"/>
                <a:gd name="T90" fmla="*/ 409 w 521"/>
                <a:gd name="T91" fmla="*/ 258 h 402"/>
                <a:gd name="T92" fmla="*/ 418 w 521"/>
                <a:gd name="T93" fmla="*/ 237 h 402"/>
                <a:gd name="T94" fmla="*/ 402 w 521"/>
                <a:gd name="T95" fmla="*/ 228 h 402"/>
                <a:gd name="T96" fmla="*/ 410 w 521"/>
                <a:gd name="T97" fmla="*/ 221 h 402"/>
                <a:gd name="T98" fmla="*/ 436 w 521"/>
                <a:gd name="T99" fmla="*/ 219 h 402"/>
                <a:gd name="T100" fmla="*/ 400 w 521"/>
                <a:gd name="T101" fmla="*/ 202 h 402"/>
                <a:gd name="T102" fmla="*/ 427 w 521"/>
                <a:gd name="T103" fmla="*/ 189 h 402"/>
                <a:gd name="T104" fmla="*/ 464 w 521"/>
                <a:gd name="T105" fmla="*/ 174 h 402"/>
                <a:gd name="T106" fmla="*/ 453 w 521"/>
                <a:gd name="T107" fmla="*/ 158 h 402"/>
                <a:gd name="T108" fmla="*/ 460 w 521"/>
                <a:gd name="T109" fmla="*/ 131 h 402"/>
                <a:gd name="T110" fmla="*/ 443 w 521"/>
                <a:gd name="T111" fmla="*/ 109 h 402"/>
                <a:gd name="T112" fmla="*/ 453 w 521"/>
                <a:gd name="T113" fmla="*/ 69 h 402"/>
                <a:gd name="T114" fmla="*/ 505 w 521"/>
                <a:gd name="T115" fmla="*/ 56 h 402"/>
                <a:gd name="T116" fmla="*/ 444 w 521"/>
                <a:gd name="T117" fmla="*/ 50 h 402"/>
                <a:gd name="T118" fmla="*/ 400 w 521"/>
                <a:gd name="T119" fmla="*/ 44 h 402"/>
                <a:gd name="T120" fmla="*/ 359 w 521"/>
                <a:gd name="T121" fmla="*/ 3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1" h="402">
                  <a:moveTo>
                    <a:pt x="460" y="133"/>
                  </a:moveTo>
                  <a:cubicBezTo>
                    <a:pt x="461" y="135"/>
                    <a:pt x="461" y="135"/>
                    <a:pt x="461" y="135"/>
                  </a:cubicBezTo>
                  <a:cubicBezTo>
                    <a:pt x="460" y="134"/>
                    <a:pt x="461" y="133"/>
                    <a:pt x="460" y="133"/>
                  </a:cubicBezTo>
                  <a:close/>
                  <a:moveTo>
                    <a:pt x="247" y="398"/>
                  </a:moveTo>
                  <a:cubicBezTo>
                    <a:pt x="247" y="401"/>
                    <a:pt x="247" y="401"/>
                    <a:pt x="247" y="401"/>
                  </a:cubicBezTo>
                  <a:cubicBezTo>
                    <a:pt x="248" y="400"/>
                    <a:pt x="248" y="402"/>
                    <a:pt x="250" y="401"/>
                  </a:cubicBezTo>
                  <a:cubicBezTo>
                    <a:pt x="251" y="401"/>
                    <a:pt x="250" y="399"/>
                    <a:pt x="250" y="399"/>
                  </a:cubicBezTo>
                  <a:cubicBezTo>
                    <a:pt x="249" y="399"/>
                    <a:pt x="248" y="399"/>
                    <a:pt x="247" y="398"/>
                  </a:cubicBezTo>
                  <a:close/>
                  <a:moveTo>
                    <a:pt x="236" y="383"/>
                  </a:moveTo>
                  <a:cubicBezTo>
                    <a:pt x="236" y="383"/>
                    <a:pt x="236" y="385"/>
                    <a:pt x="235" y="385"/>
                  </a:cubicBezTo>
                  <a:cubicBezTo>
                    <a:pt x="234" y="386"/>
                    <a:pt x="236" y="383"/>
                    <a:pt x="236" y="383"/>
                  </a:cubicBezTo>
                  <a:close/>
                  <a:moveTo>
                    <a:pt x="439" y="172"/>
                  </a:moveTo>
                  <a:cubicBezTo>
                    <a:pt x="439" y="172"/>
                    <a:pt x="439" y="175"/>
                    <a:pt x="439" y="177"/>
                  </a:cubicBezTo>
                  <a:cubicBezTo>
                    <a:pt x="440" y="177"/>
                    <a:pt x="440" y="177"/>
                    <a:pt x="441" y="178"/>
                  </a:cubicBezTo>
                  <a:cubicBezTo>
                    <a:pt x="443" y="178"/>
                    <a:pt x="446" y="177"/>
                    <a:pt x="447" y="177"/>
                  </a:cubicBezTo>
                  <a:cubicBezTo>
                    <a:pt x="453" y="174"/>
                    <a:pt x="441" y="172"/>
                    <a:pt x="439" y="172"/>
                  </a:cubicBezTo>
                  <a:close/>
                  <a:moveTo>
                    <a:pt x="392" y="63"/>
                  </a:moveTo>
                  <a:cubicBezTo>
                    <a:pt x="397" y="61"/>
                    <a:pt x="390" y="65"/>
                    <a:pt x="390" y="65"/>
                  </a:cubicBezTo>
                  <a:cubicBezTo>
                    <a:pt x="389" y="65"/>
                    <a:pt x="388" y="67"/>
                    <a:pt x="388" y="67"/>
                  </a:cubicBezTo>
                  <a:cubicBezTo>
                    <a:pt x="385" y="69"/>
                    <a:pt x="387" y="64"/>
                    <a:pt x="392" y="63"/>
                  </a:cubicBezTo>
                  <a:close/>
                  <a:moveTo>
                    <a:pt x="269" y="31"/>
                  </a:moveTo>
                  <a:cubicBezTo>
                    <a:pt x="270" y="31"/>
                    <a:pt x="273" y="34"/>
                    <a:pt x="269" y="33"/>
                  </a:cubicBezTo>
                  <a:cubicBezTo>
                    <a:pt x="269" y="33"/>
                    <a:pt x="267" y="30"/>
                    <a:pt x="269" y="31"/>
                  </a:cubicBezTo>
                  <a:close/>
                  <a:moveTo>
                    <a:pt x="305" y="304"/>
                  </a:moveTo>
                  <a:cubicBezTo>
                    <a:pt x="307" y="305"/>
                    <a:pt x="307" y="304"/>
                    <a:pt x="309" y="305"/>
                  </a:cubicBezTo>
                  <a:cubicBezTo>
                    <a:pt x="308" y="305"/>
                    <a:pt x="308" y="307"/>
                    <a:pt x="307" y="308"/>
                  </a:cubicBezTo>
                  <a:cubicBezTo>
                    <a:pt x="306" y="308"/>
                    <a:pt x="305" y="308"/>
                    <a:pt x="304" y="309"/>
                  </a:cubicBezTo>
                  <a:cubicBezTo>
                    <a:pt x="304" y="308"/>
                    <a:pt x="304" y="306"/>
                    <a:pt x="303" y="305"/>
                  </a:cubicBezTo>
                  <a:cubicBezTo>
                    <a:pt x="303" y="305"/>
                    <a:pt x="305" y="304"/>
                    <a:pt x="305" y="304"/>
                  </a:cubicBezTo>
                  <a:close/>
                  <a:moveTo>
                    <a:pt x="174" y="299"/>
                  </a:moveTo>
                  <a:cubicBezTo>
                    <a:pt x="175" y="300"/>
                    <a:pt x="177" y="302"/>
                    <a:pt x="175" y="301"/>
                  </a:cubicBezTo>
                  <a:cubicBezTo>
                    <a:pt x="175" y="301"/>
                    <a:pt x="172" y="299"/>
                    <a:pt x="174" y="299"/>
                  </a:cubicBezTo>
                  <a:close/>
                  <a:moveTo>
                    <a:pt x="198" y="297"/>
                  </a:moveTo>
                  <a:cubicBezTo>
                    <a:pt x="200" y="297"/>
                    <a:pt x="198" y="298"/>
                    <a:pt x="198" y="298"/>
                  </a:cubicBezTo>
                  <a:cubicBezTo>
                    <a:pt x="198" y="299"/>
                    <a:pt x="198" y="300"/>
                    <a:pt x="198" y="300"/>
                  </a:cubicBezTo>
                  <a:cubicBezTo>
                    <a:pt x="196" y="301"/>
                    <a:pt x="193" y="303"/>
                    <a:pt x="192" y="303"/>
                  </a:cubicBezTo>
                  <a:cubicBezTo>
                    <a:pt x="189" y="303"/>
                    <a:pt x="191" y="302"/>
                    <a:pt x="192" y="301"/>
                  </a:cubicBezTo>
                  <a:cubicBezTo>
                    <a:pt x="192" y="301"/>
                    <a:pt x="193" y="300"/>
                    <a:pt x="194" y="299"/>
                  </a:cubicBezTo>
                  <a:cubicBezTo>
                    <a:pt x="195" y="299"/>
                    <a:pt x="197" y="297"/>
                    <a:pt x="198" y="297"/>
                  </a:cubicBezTo>
                  <a:close/>
                  <a:moveTo>
                    <a:pt x="195" y="286"/>
                  </a:moveTo>
                  <a:cubicBezTo>
                    <a:pt x="197" y="286"/>
                    <a:pt x="195" y="287"/>
                    <a:pt x="194" y="288"/>
                  </a:cubicBezTo>
                  <a:cubicBezTo>
                    <a:pt x="194" y="287"/>
                    <a:pt x="194" y="286"/>
                    <a:pt x="195" y="286"/>
                  </a:cubicBezTo>
                  <a:close/>
                  <a:moveTo>
                    <a:pt x="196" y="284"/>
                  </a:moveTo>
                  <a:cubicBezTo>
                    <a:pt x="198" y="283"/>
                    <a:pt x="196" y="285"/>
                    <a:pt x="196" y="285"/>
                  </a:cubicBezTo>
                  <a:cubicBezTo>
                    <a:pt x="196" y="285"/>
                    <a:pt x="194" y="284"/>
                    <a:pt x="196" y="284"/>
                  </a:cubicBezTo>
                  <a:close/>
                  <a:moveTo>
                    <a:pt x="395" y="240"/>
                  </a:moveTo>
                  <a:cubicBezTo>
                    <a:pt x="398" y="240"/>
                    <a:pt x="396" y="243"/>
                    <a:pt x="396" y="243"/>
                  </a:cubicBezTo>
                  <a:cubicBezTo>
                    <a:pt x="395" y="243"/>
                    <a:pt x="391" y="242"/>
                    <a:pt x="391" y="242"/>
                  </a:cubicBezTo>
                  <a:cubicBezTo>
                    <a:pt x="391" y="242"/>
                    <a:pt x="392" y="242"/>
                    <a:pt x="393" y="242"/>
                  </a:cubicBezTo>
                  <a:cubicBezTo>
                    <a:pt x="393" y="241"/>
                    <a:pt x="394" y="240"/>
                    <a:pt x="395" y="240"/>
                  </a:cubicBezTo>
                  <a:close/>
                  <a:moveTo>
                    <a:pt x="174" y="223"/>
                  </a:moveTo>
                  <a:cubicBezTo>
                    <a:pt x="172" y="223"/>
                    <a:pt x="175" y="224"/>
                    <a:pt x="176" y="224"/>
                  </a:cubicBezTo>
                  <a:cubicBezTo>
                    <a:pt x="176" y="224"/>
                    <a:pt x="177" y="223"/>
                    <a:pt x="174" y="223"/>
                  </a:cubicBezTo>
                  <a:close/>
                  <a:moveTo>
                    <a:pt x="166" y="221"/>
                  </a:moveTo>
                  <a:cubicBezTo>
                    <a:pt x="164" y="221"/>
                    <a:pt x="164" y="223"/>
                    <a:pt x="164" y="224"/>
                  </a:cubicBezTo>
                  <a:cubicBezTo>
                    <a:pt x="164" y="224"/>
                    <a:pt x="165" y="225"/>
                    <a:pt x="165" y="225"/>
                  </a:cubicBezTo>
                  <a:cubicBezTo>
                    <a:pt x="165" y="225"/>
                    <a:pt x="166" y="225"/>
                    <a:pt x="167" y="225"/>
                  </a:cubicBezTo>
                  <a:cubicBezTo>
                    <a:pt x="167" y="223"/>
                    <a:pt x="167" y="221"/>
                    <a:pt x="166" y="221"/>
                  </a:cubicBezTo>
                  <a:close/>
                  <a:moveTo>
                    <a:pt x="418" y="189"/>
                  </a:moveTo>
                  <a:cubicBezTo>
                    <a:pt x="417" y="190"/>
                    <a:pt x="417" y="190"/>
                    <a:pt x="417" y="190"/>
                  </a:cubicBezTo>
                  <a:cubicBezTo>
                    <a:pt x="416" y="191"/>
                    <a:pt x="413" y="191"/>
                    <a:pt x="412" y="192"/>
                  </a:cubicBezTo>
                  <a:cubicBezTo>
                    <a:pt x="412" y="192"/>
                    <a:pt x="412" y="194"/>
                    <a:pt x="412" y="194"/>
                  </a:cubicBezTo>
                  <a:cubicBezTo>
                    <a:pt x="412" y="195"/>
                    <a:pt x="413" y="195"/>
                    <a:pt x="414" y="196"/>
                  </a:cubicBezTo>
                  <a:cubicBezTo>
                    <a:pt x="410" y="195"/>
                    <a:pt x="405" y="193"/>
                    <a:pt x="402" y="195"/>
                  </a:cubicBezTo>
                  <a:cubicBezTo>
                    <a:pt x="401" y="196"/>
                    <a:pt x="400" y="196"/>
                    <a:pt x="400" y="197"/>
                  </a:cubicBezTo>
                  <a:cubicBezTo>
                    <a:pt x="400" y="197"/>
                    <a:pt x="400" y="200"/>
                    <a:pt x="400" y="200"/>
                  </a:cubicBezTo>
                  <a:cubicBezTo>
                    <a:pt x="400" y="200"/>
                    <a:pt x="402" y="200"/>
                    <a:pt x="403" y="200"/>
                  </a:cubicBezTo>
                  <a:cubicBezTo>
                    <a:pt x="403" y="201"/>
                    <a:pt x="404" y="203"/>
                    <a:pt x="404" y="203"/>
                  </a:cubicBezTo>
                  <a:cubicBezTo>
                    <a:pt x="406" y="202"/>
                    <a:pt x="406" y="203"/>
                    <a:pt x="408" y="202"/>
                  </a:cubicBezTo>
                  <a:cubicBezTo>
                    <a:pt x="408" y="202"/>
                    <a:pt x="409" y="200"/>
                    <a:pt x="410" y="200"/>
                  </a:cubicBezTo>
                  <a:cubicBezTo>
                    <a:pt x="411" y="200"/>
                    <a:pt x="412" y="200"/>
                    <a:pt x="413" y="200"/>
                  </a:cubicBezTo>
                  <a:cubicBezTo>
                    <a:pt x="414" y="199"/>
                    <a:pt x="413" y="197"/>
                    <a:pt x="414" y="196"/>
                  </a:cubicBezTo>
                  <a:cubicBezTo>
                    <a:pt x="415" y="197"/>
                    <a:pt x="415" y="196"/>
                    <a:pt x="416" y="196"/>
                  </a:cubicBezTo>
                  <a:cubicBezTo>
                    <a:pt x="417" y="197"/>
                    <a:pt x="417" y="199"/>
                    <a:pt x="418" y="199"/>
                  </a:cubicBezTo>
                  <a:cubicBezTo>
                    <a:pt x="420" y="200"/>
                    <a:pt x="423" y="200"/>
                    <a:pt x="425" y="200"/>
                  </a:cubicBezTo>
                  <a:cubicBezTo>
                    <a:pt x="425" y="200"/>
                    <a:pt x="426" y="201"/>
                    <a:pt x="426" y="201"/>
                  </a:cubicBezTo>
                  <a:cubicBezTo>
                    <a:pt x="425" y="202"/>
                    <a:pt x="422" y="202"/>
                    <a:pt x="424" y="203"/>
                  </a:cubicBezTo>
                  <a:cubicBezTo>
                    <a:pt x="425" y="203"/>
                    <a:pt x="424" y="204"/>
                    <a:pt x="425" y="204"/>
                  </a:cubicBezTo>
                  <a:cubicBezTo>
                    <a:pt x="420" y="209"/>
                    <a:pt x="431" y="211"/>
                    <a:pt x="434" y="212"/>
                  </a:cubicBezTo>
                  <a:cubicBezTo>
                    <a:pt x="435" y="213"/>
                    <a:pt x="437" y="215"/>
                    <a:pt x="438" y="216"/>
                  </a:cubicBezTo>
                  <a:cubicBezTo>
                    <a:pt x="440" y="216"/>
                    <a:pt x="441" y="215"/>
                    <a:pt x="443" y="216"/>
                  </a:cubicBezTo>
                  <a:cubicBezTo>
                    <a:pt x="443" y="216"/>
                    <a:pt x="444" y="214"/>
                    <a:pt x="443" y="213"/>
                  </a:cubicBezTo>
                  <a:cubicBezTo>
                    <a:pt x="439" y="210"/>
                    <a:pt x="435" y="214"/>
                    <a:pt x="441" y="209"/>
                  </a:cubicBezTo>
                  <a:cubicBezTo>
                    <a:pt x="441" y="208"/>
                    <a:pt x="441" y="208"/>
                    <a:pt x="441" y="208"/>
                  </a:cubicBezTo>
                  <a:cubicBezTo>
                    <a:pt x="439" y="207"/>
                    <a:pt x="437" y="207"/>
                    <a:pt x="435" y="206"/>
                  </a:cubicBezTo>
                  <a:cubicBezTo>
                    <a:pt x="435" y="206"/>
                    <a:pt x="433" y="204"/>
                    <a:pt x="433" y="204"/>
                  </a:cubicBezTo>
                  <a:cubicBezTo>
                    <a:pt x="431" y="204"/>
                    <a:pt x="435" y="204"/>
                    <a:pt x="435" y="204"/>
                  </a:cubicBezTo>
                  <a:cubicBezTo>
                    <a:pt x="436" y="204"/>
                    <a:pt x="437" y="206"/>
                    <a:pt x="437" y="206"/>
                  </a:cubicBezTo>
                  <a:cubicBezTo>
                    <a:pt x="439" y="206"/>
                    <a:pt x="439" y="205"/>
                    <a:pt x="441" y="205"/>
                  </a:cubicBezTo>
                  <a:cubicBezTo>
                    <a:pt x="441" y="203"/>
                    <a:pt x="441" y="203"/>
                    <a:pt x="442" y="200"/>
                  </a:cubicBezTo>
                  <a:cubicBezTo>
                    <a:pt x="436" y="199"/>
                    <a:pt x="435" y="199"/>
                    <a:pt x="429" y="200"/>
                  </a:cubicBezTo>
                  <a:cubicBezTo>
                    <a:pt x="430" y="200"/>
                    <a:pt x="431" y="198"/>
                    <a:pt x="432" y="198"/>
                  </a:cubicBezTo>
                  <a:cubicBezTo>
                    <a:pt x="433" y="198"/>
                    <a:pt x="434" y="198"/>
                    <a:pt x="435" y="198"/>
                  </a:cubicBezTo>
                  <a:cubicBezTo>
                    <a:pt x="435" y="198"/>
                    <a:pt x="435" y="196"/>
                    <a:pt x="435" y="196"/>
                  </a:cubicBezTo>
                  <a:cubicBezTo>
                    <a:pt x="428" y="196"/>
                    <a:pt x="428" y="196"/>
                    <a:pt x="428" y="196"/>
                  </a:cubicBezTo>
                  <a:cubicBezTo>
                    <a:pt x="429" y="195"/>
                    <a:pt x="430" y="193"/>
                    <a:pt x="430" y="193"/>
                  </a:cubicBezTo>
                  <a:cubicBezTo>
                    <a:pt x="427" y="192"/>
                    <a:pt x="421" y="189"/>
                    <a:pt x="418" y="189"/>
                  </a:cubicBezTo>
                  <a:close/>
                  <a:moveTo>
                    <a:pt x="136" y="168"/>
                  </a:moveTo>
                  <a:cubicBezTo>
                    <a:pt x="135" y="168"/>
                    <a:pt x="130" y="171"/>
                    <a:pt x="134" y="171"/>
                  </a:cubicBezTo>
                  <a:cubicBezTo>
                    <a:pt x="135" y="170"/>
                    <a:pt x="139" y="169"/>
                    <a:pt x="138" y="169"/>
                  </a:cubicBezTo>
                  <a:cubicBezTo>
                    <a:pt x="137" y="168"/>
                    <a:pt x="137" y="168"/>
                    <a:pt x="136" y="168"/>
                  </a:cubicBezTo>
                  <a:close/>
                  <a:moveTo>
                    <a:pt x="466" y="167"/>
                  </a:moveTo>
                  <a:cubicBezTo>
                    <a:pt x="466" y="167"/>
                    <a:pt x="465" y="168"/>
                    <a:pt x="465" y="168"/>
                  </a:cubicBezTo>
                  <a:cubicBezTo>
                    <a:pt x="466" y="168"/>
                    <a:pt x="467" y="168"/>
                    <a:pt x="467" y="169"/>
                  </a:cubicBezTo>
                  <a:cubicBezTo>
                    <a:pt x="466" y="168"/>
                    <a:pt x="469" y="166"/>
                    <a:pt x="466" y="167"/>
                  </a:cubicBezTo>
                  <a:close/>
                  <a:moveTo>
                    <a:pt x="454" y="162"/>
                  </a:moveTo>
                  <a:cubicBezTo>
                    <a:pt x="454" y="164"/>
                    <a:pt x="453" y="166"/>
                    <a:pt x="455" y="168"/>
                  </a:cubicBezTo>
                  <a:cubicBezTo>
                    <a:pt x="455" y="168"/>
                    <a:pt x="457" y="168"/>
                    <a:pt x="457" y="169"/>
                  </a:cubicBezTo>
                  <a:cubicBezTo>
                    <a:pt x="457" y="168"/>
                    <a:pt x="458" y="167"/>
                    <a:pt x="459" y="167"/>
                  </a:cubicBezTo>
                  <a:cubicBezTo>
                    <a:pt x="459" y="166"/>
                    <a:pt x="459" y="166"/>
                    <a:pt x="459" y="165"/>
                  </a:cubicBezTo>
                  <a:cubicBezTo>
                    <a:pt x="459" y="164"/>
                    <a:pt x="457" y="165"/>
                    <a:pt x="457" y="165"/>
                  </a:cubicBezTo>
                  <a:cubicBezTo>
                    <a:pt x="456" y="164"/>
                    <a:pt x="456" y="163"/>
                    <a:pt x="456" y="163"/>
                  </a:cubicBezTo>
                  <a:cubicBezTo>
                    <a:pt x="456" y="162"/>
                    <a:pt x="455" y="162"/>
                    <a:pt x="454" y="162"/>
                  </a:cubicBezTo>
                  <a:close/>
                  <a:moveTo>
                    <a:pt x="436" y="157"/>
                  </a:moveTo>
                  <a:cubicBezTo>
                    <a:pt x="439" y="157"/>
                    <a:pt x="438" y="160"/>
                    <a:pt x="438" y="163"/>
                  </a:cubicBezTo>
                  <a:cubicBezTo>
                    <a:pt x="438" y="163"/>
                    <a:pt x="436" y="162"/>
                    <a:pt x="436" y="163"/>
                  </a:cubicBezTo>
                  <a:cubicBezTo>
                    <a:pt x="436" y="162"/>
                    <a:pt x="434" y="157"/>
                    <a:pt x="436" y="157"/>
                  </a:cubicBezTo>
                  <a:close/>
                  <a:moveTo>
                    <a:pt x="467" y="151"/>
                  </a:moveTo>
                  <a:cubicBezTo>
                    <a:pt x="467" y="151"/>
                    <a:pt x="467" y="152"/>
                    <a:pt x="466" y="153"/>
                  </a:cubicBezTo>
                  <a:cubicBezTo>
                    <a:pt x="465" y="153"/>
                    <a:pt x="464" y="152"/>
                    <a:pt x="463" y="153"/>
                  </a:cubicBezTo>
                  <a:cubicBezTo>
                    <a:pt x="464" y="157"/>
                    <a:pt x="463" y="164"/>
                    <a:pt x="470" y="161"/>
                  </a:cubicBezTo>
                  <a:cubicBezTo>
                    <a:pt x="471" y="161"/>
                    <a:pt x="471" y="159"/>
                    <a:pt x="472" y="159"/>
                  </a:cubicBezTo>
                  <a:cubicBezTo>
                    <a:pt x="473" y="158"/>
                    <a:pt x="473" y="159"/>
                    <a:pt x="474" y="159"/>
                  </a:cubicBezTo>
                  <a:cubicBezTo>
                    <a:pt x="473" y="160"/>
                    <a:pt x="476" y="159"/>
                    <a:pt x="476" y="159"/>
                  </a:cubicBezTo>
                  <a:cubicBezTo>
                    <a:pt x="476" y="157"/>
                    <a:pt x="475" y="155"/>
                    <a:pt x="475" y="155"/>
                  </a:cubicBezTo>
                  <a:cubicBezTo>
                    <a:pt x="475" y="155"/>
                    <a:pt x="473" y="157"/>
                    <a:pt x="473" y="157"/>
                  </a:cubicBezTo>
                  <a:cubicBezTo>
                    <a:pt x="469" y="156"/>
                    <a:pt x="470" y="154"/>
                    <a:pt x="469" y="151"/>
                  </a:cubicBezTo>
                  <a:lnTo>
                    <a:pt x="467" y="151"/>
                  </a:lnTo>
                  <a:close/>
                  <a:moveTo>
                    <a:pt x="461" y="135"/>
                  </a:moveTo>
                  <a:cubicBezTo>
                    <a:pt x="461" y="136"/>
                    <a:pt x="460" y="136"/>
                    <a:pt x="460" y="137"/>
                  </a:cubicBezTo>
                  <a:cubicBezTo>
                    <a:pt x="462" y="137"/>
                    <a:pt x="465" y="148"/>
                    <a:pt x="464" y="143"/>
                  </a:cubicBezTo>
                  <a:cubicBezTo>
                    <a:pt x="464" y="142"/>
                    <a:pt x="464" y="141"/>
                    <a:pt x="464" y="140"/>
                  </a:cubicBezTo>
                  <a:cubicBezTo>
                    <a:pt x="464" y="140"/>
                    <a:pt x="462" y="138"/>
                    <a:pt x="462" y="138"/>
                  </a:cubicBezTo>
                  <a:cubicBezTo>
                    <a:pt x="462" y="137"/>
                    <a:pt x="463" y="136"/>
                    <a:pt x="463" y="136"/>
                  </a:cubicBezTo>
                  <a:lnTo>
                    <a:pt x="461" y="135"/>
                  </a:lnTo>
                  <a:close/>
                  <a:moveTo>
                    <a:pt x="10" y="119"/>
                  </a:moveTo>
                  <a:cubicBezTo>
                    <a:pt x="11" y="120"/>
                    <a:pt x="11" y="120"/>
                    <a:pt x="11" y="120"/>
                  </a:cubicBezTo>
                  <a:cubicBezTo>
                    <a:pt x="13" y="120"/>
                    <a:pt x="13" y="120"/>
                    <a:pt x="11" y="119"/>
                  </a:cubicBezTo>
                  <a:cubicBezTo>
                    <a:pt x="11" y="119"/>
                    <a:pt x="11" y="119"/>
                    <a:pt x="10" y="119"/>
                  </a:cubicBezTo>
                  <a:close/>
                  <a:moveTo>
                    <a:pt x="1" y="117"/>
                  </a:moveTo>
                  <a:cubicBezTo>
                    <a:pt x="1" y="117"/>
                    <a:pt x="0" y="120"/>
                    <a:pt x="1" y="120"/>
                  </a:cubicBezTo>
                  <a:cubicBezTo>
                    <a:pt x="4" y="120"/>
                    <a:pt x="4" y="118"/>
                    <a:pt x="5" y="118"/>
                  </a:cubicBezTo>
                  <a:cubicBezTo>
                    <a:pt x="3" y="118"/>
                    <a:pt x="3" y="118"/>
                    <a:pt x="1" y="117"/>
                  </a:cubicBezTo>
                  <a:close/>
                  <a:moveTo>
                    <a:pt x="457" y="69"/>
                  </a:moveTo>
                  <a:cubicBezTo>
                    <a:pt x="457" y="69"/>
                    <a:pt x="456" y="71"/>
                    <a:pt x="456" y="72"/>
                  </a:cubicBezTo>
                  <a:cubicBezTo>
                    <a:pt x="460" y="71"/>
                    <a:pt x="460" y="72"/>
                    <a:pt x="457" y="69"/>
                  </a:cubicBezTo>
                  <a:close/>
                  <a:moveTo>
                    <a:pt x="400" y="60"/>
                  </a:moveTo>
                  <a:cubicBezTo>
                    <a:pt x="407" y="58"/>
                    <a:pt x="396" y="63"/>
                    <a:pt x="396" y="63"/>
                  </a:cubicBezTo>
                  <a:cubicBezTo>
                    <a:pt x="395" y="63"/>
                    <a:pt x="392" y="62"/>
                    <a:pt x="393" y="62"/>
                  </a:cubicBezTo>
                  <a:cubicBezTo>
                    <a:pt x="394" y="62"/>
                    <a:pt x="395" y="62"/>
                    <a:pt x="396" y="62"/>
                  </a:cubicBezTo>
                  <a:cubicBezTo>
                    <a:pt x="397" y="61"/>
                    <a:pt x="399" y="60"/>
                    <a:pt x="400" y="60"/>
                  </a:cubicBezTo>
                  <a:close/>
                  <a:moveTo>
                    <a:pt x="463" y="37"/>
                  </a:moveTo>
                  <a:cubicBezTo>
                    <a:pt x="463" y="37"/>
                    <a:pt x="463" y="39"/>
                    <a:pt x="463" y="39"/>
                  </a:cubicBezTo>
                  <a:cubicBezTo>
                    <a:pt x="465" y="40"/>
                    <a:pt x="464" y="37"/>
                    <a:pt x="463" y="37"/>
                  </a:cubicBezTo>
                  <a:close/>
                  <a:moveTo>
                    <a:pt x="455" y="36"/>
                  </a:moveTo>
                  <a:cubicBezTo>
                    <a:pt x="456" y="37"/>
                    <a:pt x="455" y="39"/>
                    <a:pt x="455" y="41"/>
                  </a:cubicBezTo>
                  <a:cubicBezTo>
                    <a:pt x="457" y="41"/>
                    <a:pt x="457" y="41"/>
                    <a:pt x="457" y="41"/>
                  </a:cubicBezTo>
                  <a:cubicBezTo>
                    <a:pt x="457" y="40"/>
                    <a:pt x="456" y="38"/>
                    <a:pt x="457" y="37"/>
                  </a:cubicBezTo>
                  <a:lnTo>
                    <a:pt x="455" y="36"/>
                  </a:lnTo>
                  <a:close/>
                  <a:moveTo>
                    <a:pt x="166" y="30"/>
                  </a:moveTo>
                  <a:cubicBezTo>
                    <a:pt x="167" y="31"/>
                    <a:pt x="166" y="33"/>
                    <a:pt x="167" y="34"/>
                  </a:cubicBezTo>
                  <a:cubicBezTo>
                    <a:pt x="169" y="38"/>
                    <a:pt x="180" y="41"/>
                    <a:pt x="186" y="42"/>
                  </a:cubicBezTo>
                  <a:cubicBezTo>
                    <a:pt x="186" y="42"/>
                    <a:pt x="189" y="43"/>
                    <a:pt x="187" y="41"/>
                  </a:cubicBezTo>
                  <a:cubicBezTo>
                    <a:pt x="187" y="41"/>
                    <a:pt x="187" y="39"/>
                    <a:pt x="186" y="39"/>
                  </a:cubicBezTo>
                  <a:cubicBezTo>
                    <a:pt x="186" y="39"/>
                    <a:pt x="180" y="36"/>
                    <a:pt x="180" y="36"/>
                  </a:cubicBezTo>
                  <a:cubicBezTo>
                    <a:pt x="179" y="36"/>
                    <a:pt x="178" y="37"/>
                    <a:pt x="177" y="36"/>
                  </a:cubicBezTo>
                  <a:cubicBezTo>
                    <a:pt x="176" y="36"/>
                    <a:pt x="175" y="34"/>
                    <a:pt x="175" y="34"/>
                  </a:cubicBezTo>
                  <a:cubicBezTo>
                    <a:pt x="174" y="33"/>
                    <a:pt x="173" y="34"/>
                    <a:pt x="172" y="33"/>
                  </a:cubicBezTo>
                  <a:cubicBezTo>
                    <a:pt x="170" y="32"/>
                    <a:pt x="168" y="30"/>
                    <a:pt x="166" y="30"/>
                  </a:cubicBezTo>
                  <a:close/>
                  <a:moveTo>
                    <a:pt x="327" y="18"/>
                  </a:moveTo>
                  <a:cubicBezTo>
                    <a:pt x="332" y="17"/>
                    <a:pt x="324" y="20"/>
                    <a:pt x="324" y="20"/>
                  </a:cubicBezTo>
                  <a:cubicBezTo>
                    <a:pt x="324" y="20"/>
                    <a:pt x="324" y="21"/>
                    <a:pt x="324" y="22"/>
                  </a:cubicBezTo>
                  <a:cubicBezTo>
                    <a:pt x="324" y="22"/>
                    <a:pt x="321" y="21"/>
                    <a:pt x="320" y="20"/>
                  </a:cubicBezTo>
                  <a:cubicBezTo>
                    <a:pt x="320" y="21"/>
                    <a:pt x="320" y="22"/>
                    <a:pt x="319" y="22"/>
                  </a:cubicBezTo>
                  <a:cubicBezTo>
                    <a:pt x="317" y="22"/>
                    <a:pt x="319" y="19"/>
                    <a:pt x="319" y="19"/>
                  </a:cubicBezTo>
                  <a:cubicBezTo>
                    <a:pt x="322" y="19"/>
                    <a:pt x="325" y="18"/>
                    <a:pt x="327" y="18"/>
                  </a:cubicBezTo>
                  <a:close/>
                  <a:moveTo>
                    <a:pt x="366" y="14"/>
                  </a:moveTo>
                  <a:cubicBezTo>
                    <a:pt x="368" y="14"/>
                    <a:pt x="372" y="15"/>
                    <a:pt x="373" y="15"/>
                  </a:cubicBezTo>
                  <a:cubicBezTo>
                    <a:pt x="377" y="15"/>
                    <a:pt x="379" y="14"/>
                    <a:pt x="383" y="14"/>
                  </a:cubicBezTo>
                  <a:cubicBezTo>
                    <a:pt x="384" y="14"/>
                    <a:pt x="390" y="16"/>
                    <a:pt x="392" y="16"/>
                  </a:cubicBezTo>
                  <a:cubicBezTo>
                    <a:pt x="386" y="16"/>
                    <a:pt x="379" y="18"/>
                    <a:pt x="374" y="18"/>
                  </a:cubicBezTo>
                  <a:cubicBezTo>
                    <a:pt x="371" y="18"/>
                    <a:pt x="367" y="16"/>
                    <a:pt x="364" y="17"/>
                  </a:cubicBezTo>
                  <a:cubicBezTo>
                    <a:pt x="362" y="18"/>
                    <a:pt x="362" y="18"/>
                    <a:pt x="362" y="18"/>
                  </a:cubicBezTo>
                  <a:cubicBezTo>
                    <a:pt x="359" y="19"/>
                    <a:pt x="356" y="18"/>
                    <a:pt x="353" y="18"/>
                  </a:cubicBezTo>
                  <a:cubicBezTo>
                    <a:pt x="354" y="17"/>
                    <a:pt x="354" y="17"/>
                    <a:pt x="354" y="17"/>
                  </a:cubicBezTo>
                  <a:cubicBezTo>
                    <a:pt x="354" y="17"/>
                    <a:pt x="356" y="17"/>
                    <a:pt x="356" y="17"/>
                  </a:cubicBezTo>
                  <a:cubicBezTo>
                    <a:pt x="359" y="16"/>
                    <a:pt x="363" y="15"/>
                    <a:pt x="366" y="14"/>
                  </a:cubicBezTo>
                  <a:close/>
                  <a:moveTo>
                    <a:pt x="335" y="12"/>
                  </a:moveTo>
                  <a:cubicBezTo>
                    <a:pt x="336" y="12"/>
                    <a:pt x="336" y="12"/>
                    <a:pt x="336" y="12"/>
                  </a:cubicBezTo>
                  <a:cubicBezTo>
                    <a:pt x="337" y="13"/>
                    <a:pt x="336" y="14"/>
                    <a:pt x="336" y="15"/>
                  </a:cubicBezTo>
                  <a:cubicBezTo>
                    <a:pt x="337" y="15"/>
                    <a:pt x="339" y="17"/>
                    <a:pt x="339" y="18"/>
                  </a:cubicBezTo>
                  <a:cubicBezTo>
                    <a:pt x="346" y="15"/>
                    <a:pt x="346" y="16"/>
                    <a:pt x="352" y="18"/>
                  </a:cubicBezTo>
                  <a:cubicBezTo>
                    <a:pt x="350" y="18"/>
                    <a:pt x="347" y="18"/>
                    <a:pt x="346" y="18"/>
                  </a:cubicBezTo>
                  <a:cubicBezTo>
                    <a:pt x="345" y="18"/>
                    <a:pt x="341" y="18"/>
                    <a:pt x="339" y="18"/>
                  </a:cubicBezTo>
                  <a:cubicBezTo>
                    <a:pt x="339" y="18"/>
                    <a:pt x="339" y="20"/>
                    <a:pt x="339" y="20"/>
                  </a:cubicBezTo>
                  <a:cubicBezTo>
                    <a:pt x="338" y="20"/>
                    <a:pt x="339" y="21"/>
                    <a:pt x="338" y="21"/>
                  </a:cubicBezTo>
                  <a:cubicBezTo>
                    <a:pt x="337" y="21"/>
                    <a:pt x="337" y="19"/>
                    <a:pt x="336" y="19"/>
                  </a:cubicBezTo>
                  <a:cubicBezTo>
                    <a:pt x="336" y="19"/>
                    <a:pt x="334" y="19"/>
                    <a:pt x="334" y="18"/>
                  </a:cubicBezTo>
                  <a:cubicBezTo>
                    <a:pt x="334" y="18"/>
                    <a:pt x="334" y="18"/>
                    <a:pt x="334" y="18"/>
                  </a:cubicBezTo>
                  <a:cubicBezTo>
                    <a:pt x="337" y="16"/>
                    <a:pt x="334" y="11"/>
                    <a:pt x="335" y="12"/>
                  </a:cubicBezTo>
                  <a:close/>
                  <a:moveTo>
                    <a:pt x="440" y="34"/>
                  </a:moveTo>
                  <a:cubicBezTo>
                    <a:pt x="442" y="33"/>
                    <a:pt x="443" y="30"/>
                    <a:pt x="444" y="30"/>
                  </a:cubicBezTo>
                  <a:cubicBezTo>
                    <a:pt x="445" y="29"/>
                    <a:pt x="446" y="30"/>
                    <a:pt x="447" y="30"/>
                  </a:cubicBezTo>
                  <a:cubicBezTo>
                    <a:pt x="448" y="29"/>
                    <a:pt x="450" y="28"/>
                    <a:pt x="451" y="27"/>
                  </a:cubicBezTo>
                  <a:cubicBezTo>
                    <a:pt x="451" y="27"/>
                    <a:pt x="451" y="25"/>
                    <a:pt x="451" y="25"/>
                  </a:cubicBezTo>
                  <a:cubicBezTo>
                    <a:pt x="449" y="24"/>
                    <a:pt x="447" y="24"/>
                    <a:pt x="445" y="24"/>
                  </a:cubicBezTo>
                  <a:cubicBezTo>
                    <a:pt x="444" y="23"/>
                    <a:pt x="443" y="22"/>
                    <a:pt x="443" y="22"/>
                  </a:cubicBezTo>
                  <a:cubicBezTo>
                    <a:pt x="439" y="21"/>
                    <a:pt x="435" y="24"/>
                    <a:pt x="432" y="22"/>
                  </a:cubicBezTo>
                  <a:cubicBezTo>
                    <a:pt x="432" y="22"/>
                    <a:pt x="432" y="20"/>
                    <a:pt x="432" y="20"/>
                  </a:cubicBezTo>
                  <a:cubicBezTo>
                    <a:pt x="431" y="20"/>
                    <a:pt x="430" y="19"/>
                    <a:pt x="429" y="18"/>
                  </a:cubicBezTo>
                  <a:cubicBezTo>
                    <a:pt x="428" y="19"/>
                    <a:pt x="428" y="18"/>
                    <a:pt x="427" y="18"/>
                  </a:cubicBezTo>
                  <a:cubicBezTo>
                    <a:pt x="426" y="18"/>
                    <a:pt x="426" y="20"/>
                    <a:pt x="425" y="20"/>
                  </a:cubicBezTo>
                  <a:cubicBezTo>
                    <a:pt x="425" y="20"/>
                    <a:pt x="425" y="18"/>
                    <a:pt x="425" y="18"/>
                  </a:cubicBezTo>
                  <a:cubicBezTo>
                    <a:pt x="424" y="17"/>
                    <a:pt x="424" y="17"/>
                    <a:pt x="423" y="17"/>
                  </a:cubicBezTo>
                  <a:cubicBezTo>
                    <a:pt x="418" y="19"/>
                    <a:pt x="417" y="21"/>
                    <a:pt x="410" y="22"/>
                  </a:cubicBezTo>
                  <a:cubicBezTo>
                    <a:pt x="410" y="20"/>
                    <a:pt x="410" y="20"/>
                    <a:pt x="410" y="20"/>
                  </a:cubicBezTo>
                  <a:cubicBezTo>
                    <a:pt x="413" y="19"/>
                    <a:pt x="414" y="20"/>
                    <a:pt x="417" y="19"/>
                  </a:cubicBezTo>
                  <a:cubicBezTo>
                    <a:pt x="417" y="19"/>
                    <a:pt x="417" y="18"/>
                    <a:pt x="418" y="18"/>
                  </a:cubicBezTo>
                  <a:cubicBezTo>
                    <a:pt x="418" y="17"/>
                    <a:pt x="419" y="15"/>
                    <a:pt x="418" y="14"/>
                  </a:cubicBezTo>
                  <a:cubicBezTo>
                    <a:pt x="418" y="13"/>
                    <a:pt x="412" y="9"/>
                    <a:pt x="410" y="9"/>
                  </a:cubicBezTo>
                  <a:cubicBezTo>
                    <a:pt x="408" y="9"/>
                    <a:pt x="407" y="12"/>
                    <a:pt x="406" y="12"/>
                  </a:cubicBezTo>
                  <a:cubicBezTo>
                    <a:pt x="403" y="14"/>
                    <a:pt x="398" y="14"/>
                    <a:pt x="394" y="15"/>
                  </a:cubicBezTo>
                  <a:cubicBezTo>
                    <a:pt x="395" y="14"/>
                    <a:pt x="397" y="11"/>
                    <a:pt x="398" y="10"/>
                  </a:cubicBezTo>
                  <a:cubicBezTo>
                    <a:pt x="399" y="10"/>
                    <a:pt x="401" y="10"/>
                    <a:pt x="402" y="9"/>
                  </a:cubicBezTo>
                  <a:cubicBezTo>
                    <a:pt x="403" y="9"/>
                    <a:pt x="403" y="7"/>
                    <a:pt x="404" y="6"/>
                  </a:cubicBezTo>
                  <a:cubicBezTo>
                    <a:pt x="403" y="6"/>
                    <a:pt x="401" y="5"/>
                    <a:pt x="400" y="5"/>
                  </a:cubicBezTo>
                  <a:cubicBezTo>
                    <a:pt x="396" y="5"/>
                    <a:pt x="391" y="6"/>
                    <a:pt x="386" y="5"/>
                  </a:cubicBezTo>
                  <a:cubicBezTo>
                    <a:pt x="383" y="5"/>
                    <a:pt x="380" y="3"/>
                    <a:pt x="376" y="3"/>
                  </a:cubicBezTo>
                  <a:cubicBezTo>
                    <a:pt x="376" y="3"/>
                    <a:pt x="376" y="4"/>
                    <a:pt x="376" y="4"/>
                  </a:cubicBezTo>
                  <a:cubicBezTo>
                    <a:pt x="374" y="4"/>
                    <a:pt x="373" y="4"/>
                    <a:pt x="371" y="4"/>
                  </a:cubicBezTo>
                  <a:cubicBezTo>
                    <a:pt x="369" y="4"/>
                    <a:pt x="367" y="6"/>
                    <a:pt x="364" y="6"/>
                  </a:cubicBezTo>
                  <a:cubicBezTo>
                    <a:pt x="360" y="5"/>
                    <a:pt x="355" y="1"/>
                    <a:pt x="352" y="1"/>
                  </a:cubicBezTo>
                  <a:cubicBezTo>
                    <a:pt x="351" y="1"/>
                    <a:pt x="349" y="3"/>
                    <a:pt x="348" y="3"/>
                  </a:cubicBezTo>
                  <a:cubicBezTo>
                    <a:pt x="345" y="4"/>
                    <a:pt x="342" y="2"/>
                    <a:pt x="340" y="2"/>
                  </a:cubicBezTo>
                  <a:cubicBezTo>
                    <a:pt x="335" y="1"/>
                    <a:pt x="333" y="3"/>
                    <a:pt x="326" y="3"/>
                  </a:cubicBezTo>
                  <a:cubicBezTo>
                    <a:pt x="324" y="3"/>
                    <a:pt x="310" y="0"/>
                    <a:pt x="309" y="1"/>
                  </a:cubicBezTo>
                  <a:cubicBezTo>
                    <a:pt x="308" y="1"/>
                    <a:pt x="308" y="3"/>
                    <a:pt x="308" y="4"/>
                  </a:cubicBezTo>
                  <a:cubicBezTo>
                    <a:pt x="305" y="3"/>
                    <a:pt x="303" y="3"/>
                    <a:pt x="300" y="2"/>
                  </a:cubicBezTo>
                  <a:cubicBezTo>
                    <a:pt x="300" y="2"/>
                    <a:pt x="299" y="4"/>
                    <a:pt x="299" y="4"/>
                  </a:cubicBezTo>
                  <a:cubicBezTo>
                    <a:pt x="300" y="5"/>
                    <a:pt x="300" y="5"/>
                    <a:pt x="301" y="6"/>
                  </a:cubicBezTo>
                  <a:cubicBezTo>
                    <a:pt x="299" y="6"/>
                    <a:pt x="294" y="7"/>
                    <a:pt x="291" y="6"/>
                  </a:cubicBezTo>
                  <a:cubicBezTo>
                    <a:pt x="290" y="5"/>
                    <a:pt x="293" y="4"/>
                    <a:pt x="291" y="5"/>
                  </a:cubicBezTo>
                  <a:cubicBezTo>
                    <a:pt x="290" y="5"/>
                    <a:pt x="290" y="6"/>
                    <a:pt x="290" y="7"/>
                  </a:cubicBezTo>
                  <a:cubicBezTo>
                    <a:pt x="290" y="7"/>
                    <a:pt x="286" y="9"/>
                    <a:pt x="288" y="10"/>
                  </a:cubicBezTo>
                  <a:cubicBezTo>
                    <a:pt x="289" y="10"/>
                    <a:pt x="290" y="9"/>
                    <a:pt x="291" y="10"/>
                  </a:cubicBezTo>
                  <a:cubicBezTo>
                    <a:pt x="293" y="11"/>
                    <a:pt x="293" y="11"/>
                    <a:pt x="293" y="11"/>
                  </a:cubicBezTo>
                  <a:cubicBezTo>
                    <a:pt x="277" y="11"/>
                    <a:pt x="282" y="13"/>
                    <a:pt x="288" y="19"/>
                  </a:cubicBezTo>
                  <a:cubicBezTo>
                    <a:pt x="287" y="19"/>
                    <a:pt x="286" y="19"/>
                    <a:pt x="285" y="19"/>
                  </a:cubicBezTo>
                  <a:cubicBezTo>
                    <a:pt x="284" y="19"/>
                    <a:pt x="281" y="14"/>
                    <a:pt x="281" y="14"/>
                  </a:cubicBezTo>
                  <a:cubicBezTo>
                    <a:pt x="279" y="13"/>
                    <a:pt x="278" y="14"/>
                    <a:pt x="277" y="14"/>
                  </a:cubicBezTo>
                  <a:cubicBezTo>
                    <a:pt x="278" y="14"/>
                    <a:pt x="278" y="15"/>
                    <a:pt x="279" y="15"/>
                  </a:cubicBezTo>
                  <a:cubicBezTo>
                    <a:pt x="280" y="16"/>
                    <a:pt x="279" y="17"/>
                    <a:pt x="280" y="18"/>
                  </a:cubicBezTo>
                  <a:cubicBezTo>
                    <a:pt x="276" y="16"/>
                    <a:pt x="277" y="14"/>
                    <a:pt x="275" y="20"/>
                  </a:cubicBezTo>
                  <a:cubicBezTo>
                    <a:pt x="273" y="19"/>
                    <a:pt x="268" y="17"/>
                    <a:pt x="267" y="16"/>
                  </a:cubicBezTo>
                  <a:cubicBezTo>
                    <a:pt x="267" y="15"/>
                    <a:pt x="267" y="12"/>
                    <a:pt x="267" y="12"/>
                  </a:cubicBezTo>
                  <a:cubicBezTo>
                    <a:pt x="265" y="11"/>
                    <a:pt x="259" y="9"/>
                    <a:pt x="255" y="10"/>
                  </a:cubicBezTo>
                  <a:cubicBezTo>
                    <a:pt x="253" y="11"/>
                    <a:pt x="258" y="13"/>
                    <a:pt x="255" y="14"/>
                  </a:cubicBezTo>
                  <a:cubicBezTo>
                    <a:pt x="254" y="14"/>
                    <a:pt x="250" y="12"/>
                    <a:pt x="249" y="12"/>
                  </a:cubicBezTo>
                  <a:cubicBezTo>
                    <a:pt x="250" y="12"/>
                    <a:pt x="247" y="12"/>
                    <a:pt x="247" y="12"/>
                  </a:cubicBezTo>
                  <a:cubicBezTo>
                    <a:pt x="247" y="13"/>
                    <a:pt x="247" y="14"/>
                    <a:pt x="248" y="14"/>
                  </a:cubicBezTo>
                  <a:cubicBezTo>
                    <a:pt x="248" y="15"/>
                    <a:pt x="248" y="15"/>
                    <a:pt x="248" y="15"/>
                  </a:cubicBezTo>
                  <a:cubicBezTo>
                    <a:pt x="248" y="15"/>
                    <a:pt x="250" y="16"/>
                    <a:pt x="250" y="16"/>
                  </a:cubicBezTo>
                  <a:cubicBezTo>
                    <a:pt x="250" y="16"/>
                    <a:pt x="251" y="17"/>
                    <a:pt x="251" y="18"/>
                  </a:cubicBezTo>
                  <a:cubicBezTo>
                    <a:pt x="250" y="18"/>
                    <a:pt x="248" y="18"/>
                    <a:pt x="247" y="18"/>
                  </a:cubicBezTo>
                  <a:cubicBezTo>
                    <a:pt x="248" y="18"/>
                    <a:pt x="247" y="20"/>
                    <a:pt x="247" y="21"/>
                  </a:cubicBezTo>
                  <a:cubicBezTo>
                    <a:pt x="248" y="21"/>
                    <a:pt x="252" y="21"/>
                    <a:pt x="253" y="22"/>
                  </a:cubicBezTo>
                  <a:cubicBezTo>
                    <a:pt x="255" y="23"/>
                    <a:pt x="255" y="23"/>
                    <a:pt x="255" y="23"/>
                  </a:cubicBezTo>
                  <a:cubicBezTo>
                    <a:pt x="258" y="23"/>
                    <a:pt x="260" y="21"/>
                    <a:pt x="263" y="23"/>
                  </a:cubicBezTo>
                  <a:cubicBezTo>
                    <a:pt x="265" y="24"/>
                    <a:pt x="264" y="26"/>
                    <a:pt x="265" y="28"/>
                  </a:cubicBezTo>
                  <a:cubicBezTo>
                    <a:pt x="265" y="28"/>
                    <a:pt x="267" y="30"/>
                    <a:pt x="268" y="31"/>
                  </a:cubicBezTo>
                  <a:cubicBezTo>
                    <a:pt x="266" y="30"/>
                    <a:pt x="265" y="30"/>
                    <a:pt x="264" y="28"/>
                  </a:cubicBezTo>
                  <a:cubicBezTo>
                    <a:pt x="264" y="27"/>
                    <a:pt x="264" y="27"/>
                    <a:pt x="264" y="27"/>
                  </a:cubicBezTo>
                  <a:cubicBezTo>
                    <a:pt x="263" y="24"/>
                    <a:pt x="256" y="23"/>
                    <a:pt x="253" y="23"/>
                  </a:cubicBezTo>
                  <a:cubicBezTo>
                    <a:pt x="249" y="22"/>
                    <a:pt x="238" y="20"/>
                    <a:pt x="242" y="27"/>
                  </a:cubicBezTo>
                  <a:cubicBezTo>
                    <a:pt x="242" y="28"/>
                    <a:pt x="244" y="28"/>
                    <a:pt x="245" y="28"/>
                  </a:cubicBezTo>
                  <a:cubicBezTo>
                    <a:pt x="245" y="29"/>
                    <a:pt x="245" y="30"/>
                    <a:pt x="245" y="31"/>
                  </a:cubicBezTo>
                  <a:cubicBezTo>
                    <a:pt x="244" y="30"/>
                    <a:pt x="239" y="25"/>
                    <a:pt x="239" y="25"/>
                  </a:cubicBezTo>
                  <a:cubicBezTo>
                    <a:pt x="234" y="23"/>
                    <a:pt x="231" y="26"/>
                    <a:pt x="227" y="26"/>
                  </a:cubicBezTo>
                  <a:cubicBezTo>
                    <a:pt x="225" y="27"/>
                    <a:pt x="223" y="26"/>
                    <a:pt x="220" y="26"/>
                  </a:cubicBezTo>
                  <a:cubicBezTo>
                    <a:pt x="220" y="26"/>
                    <a:pt x="220" y="28"/>
                    <a:pt x="220" y="28"/>
                  </a:cubicBezTo>
                  <a:cubicBezTo>
                    <a:pt x="220" y="29"/>
                    <a:pt x="222" y="30"/>
                    <a:pt x="223" y="30"/>
                  </a:cubicBezTo>
                  <a:cubicBezTo>
                    <a:pt x="223" y="31"/>
                    <a:pt x="223" y="33"/>
                    <a:pt x="223" y="33"/>
                  </a:cubicBezTo>
                  <a:cubicBezTo>
                    <a:pt x="224" y="34"/>
                    <a:pt x="225" y="33"/>
                    <a:pt x="226" y="34"/>
                  </a:cubicBezTo>
                  <a:cubicBezTo>
                    <a:pt x="227" y="34"/>
                    <a:pt x="228" y="36"/>
                    <a:pt x="228" y="36"/>
                  </a:cubicBezTo>
                  <a:cubicBezTo>
                    <a:pt x="230" y="38"/>
                    <a:pt x="232" y="39"/>
                    <a:pt x="234" y="40"/>
                  </a:cubicBezTo>
                  <a:cubicBezTo>
                    <a:pt x="235" y="41"/>
                    <a:pt x="236" y="43"/>
                    <a:pt x="237" y="44"/>
                  </a:cubicBezTo>
                  <a:cubicBezTo>
                    <a:pt x="240" y="46"/>
                    <a:pt x="245" y="46"/>
                    <a:pt x="249" y="48"/>
                  </a:cubicBezTo>
                  <a:cubicBezTo>
                    <a:pt x="250" y="49"/>
                    <a:pt x="250" y="51"/>
                    <a:pt x="251" y="52"/>
                  </a:cubicBezTo>
                  <a:cubicBezTo>
                    <a:pt x="249" y="51"/>
                    <a:pt x="247" y="48"/>
                    <a:pt x="245" y="48"/>
                  </a:cubicBezTo>
                  <a:cubicBezTo>
                    <a:pt x="245" y="48"/>
                    <a:pt x="244" y="49"/>
                    <a:pt x="243" y="49"/>
                  </a:cubicBezTo>
                  <a:cubicBezTo>
                    <a:pt x="241" y="48"/>
                    <a:pt x="241" y="48"/>
                    <a:pt x="241" y="48"/>
                  </a:cubicBezTo>
                  <a:cubicBezTo>
                    <a:pt x="236" y="46"/>
                    <a:pt x="236" y="49"/>
                    <a:pt x="233" y="52"/>
                  </a:cubicBezTo>
                  <a:cubicBezTo>
                    <a:pt x="233" y="52"/>
                    <a:pt x="231" y="52"/>
                    <a:pt x="230" y="52"/>
                  </a:cubicBezTo>
                  <a:cubicBezTo>
                    <a:pt x="229" y="51"/>
                    <a:pt x="229" y="49"/>
                    <a:pt x="228" y="49"/>
                  </a:cubicBezTo>
                  <a:cubicBezTo>
                    <a:pt x="227" y="48"/>
                    <a:pt x="227" y="50"/>
                    <a:pt x="225" y="50"/>
                  </a:cubicBezTo>
                  <a:cubicBezTo>
                    <a:pt x="224" y="49"/>
                    <a:pt x="217" y="43"/>
                    <a:pt x="217" y="42"/>
                  </a:cubicBezTo>
                  <a:cubicBezTo>
                    <a:pt x="216" y="40"/>
                    <a:pt x="217" y="38"/>
                    <a:pt x="216" y="36"/>
                  </a:cubicBezTo>
                  <a:cubicBezTo>
                    <a:pt x="215" y="36"/>
                    <a:pt x="215" y="36"/>
                    <a:pt x="215" y="36"/>
                  </a:cubicBezTo>
                  <a:cubicBezTo>
                    <a:pt x="213" y="35"/>
                    <a:pt x="209" y="30"/>
                    <a:pt x="207" y="28"/>
                  </a:cubicBezTo>
                  <a:cubicBezTo>
                    <a:pt x="207" y="28"/>
                    <a:pt x="198" y="26"/>
                    <a:pt x="198" y="26"/>
                  </a:cubicBezTo>
                  <a:cubicBezTo>
                    <a:pt x="196" y="26"/>
                    <a:pt x="195" y="26"/>
                    <a:pt x="194" y="26"/>
                  </a:cubicBezTo>
                  <a:cubicBezTo>
                    <a:pt x="194" y="28"/>
                    <a:pt x="194" y="31"/>
                    <a:pt x="195" y="34"/>
                  </a:cubicBezTo>
                  <a:cubicBezTo>
                    <a:pt x="195" y="34"/>
                    <a:pt x="197" y="36"/>
                    <a:pt x="197" y="36"/>
                  </a:cubicBezTo>
                  <a:cubicBezTo>
                    <a:pt x="197" y="36"/>
                    <a:pt x="196" y="39"/>
                    <a:pt x="196" y="38"/>
                  </a:cubicBezTo>
                  <a:cubicBezTo>
                    <a:pt x="197" y="37"/>
                    <a:pt x="194" y="37"/>
                    <a:pt x="194" y="37"/>
                  </a:cubicBezTo>
                  <a:cubicBezTo>
                    <a:pt x="193" y="38"/>
                    <a:pt x="193" y="40"/>
                    <a:pt x="194" y="40"/>
                  </a:cubicBezTo>
                  <a:cubicBezTo>
                    <a:pt x="194" y="41"/>
                    <a:pt x="194" y="43"/>
                    <a:pt x="194" y="43"/>
                  </a:cubicBezTo>
                  <a:cubicBezTo>
                    <a:pt x="193" y="43"/>
                    <a:pt x="195" y="47"/>
                    <a:pt x="195" y="47"/>
                  </a:cubicBezTo>
                  <a:cubicBezTo>
                    <a:pt x="194" y="48"/>
                    <a:pt x="194" y="47"/>
                    <a:pt x="194" y="49"/>
                  </a:cubicBezTo>
                  <a:cubicBezTo>
                    <a:pt x="193" y="49"/>
                    <a:pt x="192" y="49"/>
                    <a:pt x="192" y="49"/>
                  </a:cubicBezTo>
                  <a:cubicBezTo>
                    <a:pt x="189" y="47"/>
                    <a:pt x="186" y="44"/>
                    <a:pt x="182" y="44"/>
                  </a:cubicBezTo>
                  <a:cubicBezTo>
                    <a:pt x="181" y="43"/>
                    <a:pt x="181" y="44"/>
                    <a:pt x="180" y="44"/>
                  </a:cubicBezTo>
                  <a:cubicBezTo>
                    <a:pt x="180" y="42"/>
                    <a:pt x="180" y="42"/>
                    <a:pt x="180" y="42"/>
                  </a:cubicBezTo>
                  <a:cubicBezTo>
                    <a:pt x="178" y="42"/>
                    <a:pt x="180" y="43"/>
                    <a:pt x="179" y="44"/>
                  </a:cubicBezTo>
                  <a:cubicBezTo>
                    <a:pt x="176" y="45"/>
                    <a:pt x="172" y="41"/>
                    <a:pt x="171" y="40"/>
                  </a:cubicBezTo>
                  <a:cubicBezTo>
                    <a:pt x="170" y="41"/>
                    <a:pt x="170" y="42"/>
                    <a:pt x="170" y="43"/>
                  </a:cubicBezTo>
                  <a:cubicBezTo>
                    <a:pt x="168" y="44"/>
                    <a:pt x="166" y="45"/>
                    <a:pt x="164" y="47"/>
                  </a:cubicBezTo>
                  <a:cubicBezTo>
                    <a:pt x="165" y="48"/>
                    <a:pt x="165" y="48"/>
                    <a:pt x="165" y="49"/>
                  </a:cubicBezTo>
                  <a:cubicBezTo>
                    <a:pt x="164" y="49"/>
                    <a:pt x="164" y="49"/>
                    <a:pt x="164" y="49"/>
                  </a:cubicBezTo>
                  <a:cubicBezTo>
                    <a:pt x="162" y="43"/>
                    <a:pt x="164" y="30"/>
                    <a:pt x="156" y="30"/>
                  </a:cubicBezTo>
                  <a:cubicBezTo>
                    <a:pt x="155" y="30"/>
                    <a:pt x="151" y="32"/>
                    <a:pt x="150" y="32"/>
                  </a:cubicBezTo>
                  <a:cubicBezTo>
                    <a:pt x="150" y="36"/>
                    <a:pt x="150" y="36"/>
                    <a:pt x="150" y="36"/>
                  </a:cubicBezTo>
                  <a:cubicBezTo>
                    <a:pt x="149" y="36"/>
                    <a:pt x="147" y="33"/>
                    <a:pt x="146" y="33"/>
                  </a:cubicBezTo>
                  <a:cubicBezTo>
                    <a:pt x="144" y="33"/>
                    <a:pt x="145" y="34"/>
                    <a:pt x="144" y="34"/>
                  </a:cubicBezTo>
                  <a:cubicBezTo>
                    <a:pt x="143" y="34"/>
                    <a:pt x="143" y="36"/>
                    <a:pt x="143" y="36"/>
                  </a:cubicBezTo>
                  <a:cubicBezTo>
                    <a:pt x="142" y="37"/>
                    <a:pt x="141" y="36"/>
                    <a:pt x="141" y="37"/>
                  </a:cubicBezTo>
                  <a:cubicBezTo>
                    <a:pt x="140" y="36"/>
                    <a:pt x="140" y="34"/>
                    <a:pt x="138" y="34"/>
                  </a:cubicBezTo>
                  <a:cubicBezTo>
                    <a:pt x="135" y="33"/>
                    <a:pt x="131" y="35"/>
                    <a:pt x="128" y="36"/>
                  </a:cubicBezTo>
                  <a:cubicBezTo>
                    <a:pt x="123" y="36"/>
                    <a:pt x="119" y="36"/>
                    <a:pt x="114" y="37"/>
                  </a:cubicBezTo>
                  <a:cubicBezTo>
                    <a:pt x="113" y="37"/>
                    <a:pt x="111" y="40"/>
                    <a:pt x="110" y="40"/>
                  </a:cubicBezTo>
                  <a:cubicBezTo>
                    <a:pt x="109" y="41"/>
                    <a:pt x="108" y="40"/>
                    <a:pt x="106" y="40"/>
                  </a:cubicBezTo>
                  <a:cubicBezTo>
                    <a:pt x="107" y="41"/>
                    <a:pt x="108" y="42"/>
                    <a:pt x="108" y="43"/>
                  </a:cubicBezTo>
                  <a:cubicBezTo>
                    <a:pt x="109" y="45"/>
                    <a:pt x="108" y="47"/>
                    <a:pt x="109" y="49"/>
                  </a:cubicBezTo>
                  <a:cubicBezTo>
                    <a:pt x="109" y="49"/>
                    <a:pt x="111" y="50"/>
                    <a:pt x="111" y="51"/>
                  </a:cubicBezTo>
                  <a:cubicBezTo>
                    <a:pt x="110" y="50"/>
                    <a:pt x="108" y="50"/>
                    <a:pt x="107" y="48"/>
                  </a:cubicBezTo>
                  <a:cubicBezTo>
                    <a:pt x="106" y="46"/>
                    <a:pt x="106" y="43"/>
                    <a:pt x="104" y="42"/>
                  </a:cubicBezTo>
                  <a:cubicBezTo>
                    <a:pt x="103" y="41"/>
                    <a:pt x="102" y="41"/>
                    <a:pt x="100" y="40"/>
                  </a:cubicBezTo>
                  <a:cubicBezTo>
                    <a:pt x="101" y="40"/>
                    <a:pt x="97" y="40"/>
                    <a:pt x="96" y="42"/>
                  </a:cubicBezTo>
                  <a:cubicBezTo>
                    <a:pt x="95" y="43"/>
                    <a:pt x="94" y="47"/>
                    <a:pt x="93" y="49"/>
                  </a:cubicBezTo>
                  <a:cubicBezTo>
                    <a:pt x="92" y="49"/>
                    <a:pt x="92" y="49"/>
                    <a:pt x="92" y="49"/>
                  </a:cubicBezTo>
                  <a:cubicBezTo>
                    <a:pt x="92" y="50"/>
                    <a:pt x="93" y="52"/>
                    <a:pt x="93" y="52"/>
                  </a:cubicBezTo>
                  <a:cubicBezTo>
                    <a:pt x="94" y="53"/>
                    <a:pt x="95" y="54"/>
                    <a:pt x="96" y="55"/>
                  </a:cubicBezTo>
                  <a:cubicBezTo>
                    <a:pt x="96" y="55"/>
                    <a:pt x="95" y="56"/>
                    <a:pt x="94" y="56"/>
                  </a:cubicBezTo>
                  <a:cubicBezTo>
                    <a:pt x="94" y="56"/>
                    <a:pt x="94" y="56"/>
                    <a:pt x="94" y="56"/>
                  </a:cubicBezTo>
                  <a:cubicBezTo>
                    <a:pt x="92" y="56"/>
                    <a:pt x="93" y="54"/>
                    <a:pt x="92" y="54"/>
                  </a:cubicBezTo>
                  <a:cubicBezTo>
                    <a:pt x="91" y="53"/>
                    <a:pt x="84" y="51"/>
                    <a:pt x="83" y="52"/>
                  </a:cubicBezTo>
                  <a:cubicBezTo>
                    <a:pt x="74" y="52"/>
                    <a:pt x="68" y="58"/>
                    <a:pt x="61" y="60"/>
                  </a:cubicBezTo>
                  <a:cubicBezTo>
                    <a:pt x="56" y="61"/>
                    <a:pt x="49" y="61"/>
                    <a:pt x="47" y="64"/>
                  </a:cubicBezTo>
                  <a:cubicBezTo>
                    <a:pt x="46" y="64"/>
                    <a:pt x="45" y="67"/>
                    <a:pt x="45" y="67"/>
                  </a:cubicBezTo>
                  <a:cubicBezTo>
                    <a:pt x="43" y="72"/>
                    <a:pt x="44" y="70"/>
                    <a:pt x="46" y="73"/>
                  </a:cubicBezTo>
                  <a:cubicBezTo>
                    <a:pt x="49" y="73"/>
                    <a:pt x="53" y="70"/>
                    <a:pt x="57" y="71"/>
                  </a:cubicBezTo>
                  <a:cubicBezTo>
                    <a:pt x="57" y="71"/>
                    <a:pt x="59" y="73"/>
                    <a:pt x="59" y="74"/>
                  </a:cubicBezTo>
                  <a:cubicBezTo>
                    <a:pt x="61" y="73"/>
                    <a:pt x="63" y="72"/>
                    <a:pt x="64" y="71"/>
                  </a:cubicBezTo>
                  <a:cubicBezTo>
                    <a:pt x="65" y="71"/>
                    <a:pt x="67" y="72"/>
                    <a:pt x="67" y="72"/>
                  </a:cubicBezTo>
                  <a:cubicBezTo>
                    <a:pt x="70" y="72"/>
                    <a:pt x="72" y="71"/>
                    <a:pt x="75" y="71"/>
                  </a:cubicBezTo>
                  <a:cubicBezTo>
                    <a:pt x="73" y="75"/>
                    <a:pt x="72" y="71"/>
                    <a:pt x="75" y="76"/>
                  </a:cubicBezTo>
                  <a:cubicBezTo>
                    <a:pt x="74" y="77"/>
                    <a:pt x="72" y="77"/>
                    <a:pt x="72" y="79"/>
                  </a:cubicBezTo>
                  <a:cubicBezTo>
                    <a:pt x="72" y="79"/>
                    <a:pt x="74" y="82"/>
                    <a:pt x="73" y="84"/>
                  </a:cubicBezTo>
                  <a:cubicBezTo>
                    <a:pt x="65" y="91"/>
                    <a:pt x="65" y="91"/>
                    <a:pt x="65" y="91"/>
                  </a:cubicBezTo>
                  <a:cubicBezTo>
                    <a:pt x="64" y="91"/>
                    <a:pt x="63" y="90"/>
                    <a:pt x="62" y="91"/>
                  </a:cubicBezTo>
                  <a:cubicBezTo>
                    <a:pt x="61" y="91"/>
                    <a:pt x="60" y="93"/>
                    <a:pt x="60" y="93"/>
                  </a:cubicBezTo>
                  <a:cubicBezTo>
                    <a:pt x="59" y="94"/>
                    <a:pt x="58" y="92"/>
                    <a:pt x="57" y="91"/>
                  </a:cubicBezTo>
                  <a:cubicBezTo>
                    <a:pt x="57" y="91"/>
                    <a:pt x="46" y="91"/>
                    <a:pt x="45" y="91"/>
                  </a:cubicBezTo>
                  <a:cubicBezTo>
                    <a:pt x="42" y="92"/>
                    <a:pt x="37" y="95"/>
                    <a:pt x="35" y="95"/>
                  </a:cubicBezTo>
                  <a:cubicBezTo>
                    <a:pt x="33" y="96"/>
                    <a:pt x="32" y="95"/>
                    <a:pt x="30" y="95"/>
                  </a:cubicBezTo>
                  <a:cubicBezTo>
                    <a:pt x="28" y="95"/>
                    <a:pt x="23" y="97"/>
                    <a:pt x="21" y="97"/>
                  </a:cubicBezTo>
                  <a:cubicBezTo>
                    <a:pt x="19" y="97"/>
                    <a:pt x="17" y="96"/>
                    <a:pt x="15" y="97"/>
                  </a:cubicBezTo>
                  <a:cubicBezTo>
                    <a:pt x="14" y="98"/>
                    <a:pt x="14" y="98"/>
                    <a:pt x="14" y="98"/>
                  </a:cubicBezTo>
                  <a:cubicBezTo>
                    <a:pt x="11" y="98"/>
                    <a:pt x="9" y="97"/>
                    <a:pt x="6" y="98"/>
                  </a:cubicBezTo>
                  <a:cubicBezTo>
                    <a:pt x="5" y="98"/>
                    <a:pt x="2" y="102"/>
                    <a:pt x="1" y="103"/>
                  </a:cubicBezTo>
                  <a:cubicBezTo>
                    <a:pt x="2" y="103"/>
                    <a:pt x="1" y="104"/>
                    <a:pt x="1" y="105"/>
                  </a:cubicBezTo>
                  <a:cubicBezTo>
                    <a:pt x="1" y="105"/>
                    <a:pt x="3" y="105"/>
                    <a:pt x="3" y="105"/>
                  </a:cubicBezTo>
                  <a:cubicBezTo>
                    <a:pt x="4" y="106"/>
                    <a:pt x="4" y="109"/>
                    <a:pt x="5" y="109"/>
                  </a:cubicBezTo>
                  <a:cubicBezTo>
                    <a:pt x="6" y="110"/>
                    <a:pt x="7" y="109"/>
                    <a:pt x="7" y="110"/>
                  </a:cubicBezTo>
                  <a:cubicBezTo>
                    <a:pt x="8" y="110"/>
                    <a:pt x="8" y="113"/>
                    <a:pt x="8" y="113"/>
                  </a:cubicBezTo>
                  <a:cubicBezTo>
                    <a:pt x="9" y="113"/>
                    <a:pt x="11" y="112"/>
                    <a:pt x="12" y="113"/>
                  </a:cubicBezTo>
                  <a:cubicBezTo>
                    <a:pt x="12" y="113"/>
                    <a:pt x="12" y="113"/>
                    <a:pt x="12" y="113"/>
                  </a:cubicBezTo>
                  <a:cubicBezTo>
                    <a:pt x="12" y="114"/>
                    <a:pt x="14" y="114"/>
                    <a:pt x="15" y="115"/>
                  </a:cubicBezTo>
                  <a:cubicBezTo>
                    <a:pt x="15" y="115"/>
                    <a:pt x="15" y="116"/>
                    <a:pt x="15" y="117"/>
                  </a:cubicBezTo>
                  <a:cubicBezTo>
                    <a:pt x="17" y="117"/>
                    <a:pt x="19" y="116"/>
                    <a:pt x="20" y="117"/>
                  </a:cubicBezTo>
                  <a:cubicBezTo>
                    <a:pt x="27" y="118"/>
                    <a:pt x="27" y="119"/>
                    <a:pt x="29" y="111"/>
                  </a:cubicBezTo>
                  <a:cubicBezTo>
                    <a:pt x="30" y="112"/>
                    <a:pt x="31" y="111"/>
                    <a:pt x="32" y="112"/>
                  </a:cubicBezTo>
                  <a:cubicBezTo>
                    <a:pt x="32" y="112"/>
                    <a:pt x="34" y="117"/>
                    <a:pt x="35" y="117"/>
                  </a:cubicBezTo>
                  <a:cubicBezTo>
                    <a:pt x="42" y="117"/>
                    <a:pt x="49" y="115"/>
                    <a:pt x="58" y="115"/>
                  </a:cubicBezTo>
                  <a:cubicBezTo>
                    <a:pt x="58" y="116"/>
                    <a:pt x="59" y="118"/>
                    <a:pt x="59" y="119"/>
                  </a:cubicBezTo>
                  <a:cubicBezTo>
                    <a:pt x="58" y="119"/>
                    <a:pt x="58" y="120"/>
                    <a:pt x="57" y="120"/>
                  </a:cubicBezTo>
                  <a:cubicBezTo>
                    <a:pt x="57" y="121"/>
                    <a:pt x="57" y="121"/>
                    <a:pt x="57" y="121"/>
                  </a:cubicBezTo>
                  <a:cubicBezTo>
                    <a:pt x="55" y="121"/>
                    <a:pt x="55" y="121"/>
                    <a:pt x="55" y="121"/>
                  </a:cubicBezTo>
                  <a:cubicBezTo>
                    <a:pt x="54" y="121"/>
                    <a:pt x="54" y="119"/>
                    <a:pt x="53" y="119"/>
                  </a:cubicBezTo>
                  <a:cubicBezTo>
                    <a:pt x="52" y="118"/>
                    <a:pt x="45" y="119"/>
                    <a:pt x="43" y="119"/>
                  </a:cubicBezTo>
                  <a:cubicBezTo>
                    <a:pt x="41" y="121"/>
                    <a:pt x="41" y="121"/>
                    <a:pt x="41" y="121"/>
                  </a:cubicBezTo>
                  <a:cubicBezTo>
                    <a:pt x="39" y="121"/>
                    <a:pt x="37" y="120"/>
                    <a:pt x="35" y="120"/>
                  </a:cubicBezTo>
                  <a:cubicBezTo>
                    <a:pt x="32" y="120"/>
                    <a:pt x="27" y="123"/>
                    <a:pt x="23" y="124"/>
                  </a:cubicBezTo>
                  <a:cubicBezTo>
                    <a:pt x="23" y="124"/>
                    <a:pt x="23" y="126"/>
                    <a:pt x="23" y="126"/>
                  </a:cubicBezTo>
                  <a:cubicBezTo>
                    <a:pt x="24" y="127"/>
                    <a:pt x="24" y="127"/>
                    <a:pt x="25" y="127"/>
                  </a:cubicBezTo>
                  <a:cubicBezTo>
                    <a:pt x="23" y="127"/>
                    <a:pt x="20" y="128"/>
                    <a:pt x="17" y="127"/>
                  </a:cubicBezTo>
                  <a:cubicBezTo>
                    <a:pt x="13" y="126"/>
                    <a:pt x="16" y="122"/>
                    <a:pt x="8" y="126"/>
                  </a:cubicBezTo>
                  <a:cubicBezTo>
                    <a:pt x="9" y="128"/>
                    <a:pt x="10" y="130"/>
                    <a:pt x="11" y="132"/>
                  </a:cubicBezTo>
                  <a:cubicBezTo>
                    <a:pt x="12" y="132"/>
                    <a:pt x="13" y="131"/>
                    <a:pt x="15" y="131"/>
                  </a:cubicBezTo>
                  <a:cubicBezTo>
                    <a:pt x="15" y="131"/>
                    <a:pt x="16" y="133"/>
                    <a:pt x="16" y="133"/>
                  </a:cubicBezTo>
                  <a:cubicBezTo>
                    <a:pt x="18" y="135"/>
                    <a:pt x="20" y="134"/>
                    <a:pt x="23" y="135"/>
                  </a:cubicBezTo>
                  <a:cubicBezTo>
                    <a:pt x="22" y="135"/>
                    <a:pt x="21" y="136"/>
                    <a:pt x="20" y="137"/>
                  </a:cubicBezTo>
                  <a:cubicBezTo>
                    <a:pt x="22" y="139"/>
                    <a:pt x="24" y="144"/>
                    <a:pt x="27" y="145"/>
                  </a:cubicBezTo>
                  <a:cubicBezTo>
                    <a:pt x="29" y="145"/>
                    <a:pt x="30" y="144"/>
                    <a:pt x="33" y="144"/>
                  </a:cubicBezTo>
                  <a:cubicBezTo>
                    <a:pt x="35" y="144"/>
                    <a:pt x="38" y="146"/>
                    <a:pt x="41" y="146"/>
                  </a:cubicBezTo>
                  <a:cubicBezTo>
                    <a:pt x="40" y="140"/>
                    <a:pt x="40" y="140"/>
                    <a:pt x="43" y="137"/>
                  </a:cubicBezTo>
                  <a:cubicBezTo>
                    <a:pt x="45" y="138"/>
                    <a:pt x="47" y="140"/>
                    <a:pt x="49" y="141"/>
                  </a:cubicBezTo>
                  <a:cubicBezTo>
                    <a:pt x="49" y="140"/>
                    <a:pt x="49" y="140"/>
                    <a:pt x="49" y="139"/>
                  </a:cubicBezTo>
                  <a:cubicBezTo>
                    <a:pt x="51" y="137"/>
                    <a:pt x="55" y="137"/>
                    <a:pt x="58" y="137"/>
                  </a:cubicBezTo>
                  <a:cubicBezTo>
                    <a:pt x="58" y="138"/>
                    <a:pt x="58" y="139"/>
                    <a:pt x="58" y="140"/>
                  </a:cubicBezTo>
                  <a:cubicBezTo>
                    <a:pt x="58" y="141"/>
                    <a:pt x="61" y="142"/>
                    <a:pt x="63" y="143"/>
                  </a:cubicBezTo>
                  <a:cubicBezTo>
                    <a:pt x="63" y="141"/>
                    <a:pt x="64" y="140"/>
                    <a:pt x="65" y="139"/>
                  </a:cubicBezTo>
                  <a:cubicBezTo>
                    <a:pt x="65" y="139"/>
                    <a:pt x="66" y="140"/>
                    <a:pt x="67" y="140"/>
                  </a:cubicBezTo>
                  <a:cubicBezTo>
                    <a:pt x="68" y="140"/>
                    <a:pt x="68" y="140"/>
                    <a:pt x="68" y="140"/>
                  </a:cubicBezTo>
                  <a:cubicBezTo>
                    <a:pt x="69" y="139"/>
                    <a:pt x="69" y="139"/>
                    <a:pt x="69" y="139"/>
                  </a:cubicBezTo>
                  <a:cubicBezTo>
                    <a:pt x="71" y="139"/>
                    <a:pt x="74" y="139"/>
                    <a:pt x="77" y="139"/>
                  </a:cubicBezTo>
                  <a:cubicBezTo>
                    <a:pt x="77" y="139"/>
                    <a:pt x="77" y="137"/>
                    <a:pt x="77" y="137"/>
                  </a:cubicBezTo>
                  <a:cubicBezTo>
                    <a:pt x="78" y="136"/>
                    <a:pt x="80" y="135"/>
                    <a:pt x="81" y="135"/>
                  </a:cubicBezTo>
                  <a:cubicBezTo>
                    <a:pt x="81" y="135"/>
                    <a:pt x="82" y="136"/>
                    <a:pt x="83" y="137"/>
                  </a:cubicBezTo>
                  <a:cubicBezTo>
                    <a:pt x="83" y="138"/>
                    <a:pt x="83" y="139"/>
                    <a:pt x="83" y="141"/>
                  </a:cubicBezTo>
                  <a:cubicBezTo>
                    <a:pt x="85" y="139"/>
                    <a:pt x="86" y="138"/>
                    <a:pt x="88" y="136"/>
                  </a:cubicBezTo>
                  <a:cubicBezTo>
                    <a:pt x="89" y="136"/>
                    <a:pt x="90" y="136"/>
                    <a:pt x="91" y="136"/>
                  </a:cubicBezTo>
                  <a:cubicBezTo>
                    <a:pt x="92" y="139"/>
                    <a:pt x="92" y="139"/>
                    <a:pt x="92" y="139"/>
                  </a:cubicBezTo>
                  <a:cubicBezTo>
                    <a:pt x="96" y="140"/>
                    <a:pt x="102" y="139"/>
                    <a:pt x="106" y="141"/>
                  </a:cubicBezTo>
                  <a:cubicBezTo>
                    <a:pt x="106" y="141"/>
                    <a:pt x="106" y="142"/>
                    <a:pt x="106" y="143"/>
                  </a:cubicBezTo>
                  <a:cubicBezTo>
                    <a:pt x="108" y="144"/>
                    <a:pt x="110" y="144"/>
                    <a:pt x="112" y="146"/>
                  </a:cubicBezTo>
                  <a:cubicBezTo>
                    <a:pt x="112" y="146"/>
                    <a:pt x="112" y="148"/>
                    <a:pt x="112" y="148"/>
                  </a:cubicBezTo>
                  <a:cubicBezTo>
                    <a:pt x="114" y="148"/>
                    <a:pt x="118" y="147"/>
                    <a:pt x="121" y="148"/>
                  </a:cubicBezTo>
                  <a:cubicBezTo>
                    <a:pt x="121" y="148"/>
                    <a:pt x="125" y="152"/>
                    <a:pt x="125" y="152"/>
                  </a:cubicBezTo>
                  <a:cubicBezTo>
                    <a:pt x="126" y="154"/>
                    <a:pt x="125" y="155"/>
                    <a:pt x="126" y="156"/>
                  </a:cubicBezTo>
                  <a:cubicBezTo>
                    <a:pt x="126" y="156"/>
                    <a:pt x="127" y="156"/>
                    <a:pt x="128" y="156"/>
                  </a:cubicBezTo>
                  <a:cubicBezTo>
                    <a:pt x="128" y="156"/>
                    <a:pt x="133" y="160"/>
                    <a:pt x="134" y="160"/>
                  </a:cubicBezTo>
                  <a:cubicBezTo>
                    <a:pt x="134" y="160"/>
                    <a:pt x="136" y="165"/>
                    <a:pt x="136" y="165"/>
                  </a:cubicBezTo>
                  <a:cubicBezTo>
                    <a:pt x="138" y="165"/>
                    <a:pt x="140" y="164"/>
                    <a:pt x="141" y="165"/>
                  </a:cubicBezTo>
                  <a:cubicBezTo>
                    <a:pt x="141" y="165"/>
                    <a:pt x="142" y="166"/>
                    <a:pt x="142" y="166"/>
                  </a:cubicBezTo>
                  <a:cubicBezTo>
                    <a:pt x="143" y="165"/>
                    <a:pt x="142" y="166"/>
                    <a:pt x="142" y="167"/>
                  </a:cubicBezTo>
                  <a:cubicBezTo>
                    <a:pt x="143" y="166"/>
                    <a:pt x="143" y="167"/>
                    <a:pt x="143" y="167"/>
                  </a:cubicBezTo>
                  <a:cubicBezTo>
                    <a:pt x="143" y="167"/>
                    <a:pt x="141" y="168"/>
                    <a:pt x="141" y="169"/>
                  </a:cubicBezTo>
                  <a:cubicBezTo>
                    <a:pt x="141" y="169"/>
                    <a:pt x="142" y="170"/>
                    <a:pt x="142" y="171"/>
                  </a:cubicBezTo>
                  <a:cubicBezTo>
                    <a:pt x="142" y="172"/>
                    <a:pt x="140" y="172"/>
                    <a:pt x="140" y="173"/>
                  </a:cubicBezTo>
                  <a:cubicBezTo>
                    <a:pt x="139" y="174"/>
                    <a:pt x="138" y="173"/>
                    <a:pt x="137" y="174"/>
                  </a:cubicBezTo>
                  <a:cubicBezTo>
                    <a:pt x="137" y="174"/>
                    <a:pt x="136" y="176"/>
                    <a:pt x="136" y="176"/>
                  </a:cubicBezTo>
                  <a:cubicBezTo>
                    <a:pt x="138" y="175"/>
                    <a:pt x="141" y="174"/>
                    <a:pt x="143" y="174"/>
                  </a:cubicBezTo>
                  <a:cubicBezTo>
                    <a:pt x="143" y="174"/>
                    <a:pt x="143" y="175"/>
                    <a:pt x="143" y="176"/>
                  </a:cubicBezTo>
                  <a:cubicBezTo>
                    <a:pt x="143" y="176"/>
                    <a:pt x="149" y="183"/>
                    <a:pt x="150" y="183"/>
                  </a:cubicBezTo>
                  <a:cubicBezTo>
                    <a:pt x="150" y="183"/>
                    <a:pt x="149" y="185"/>
                    <a:pt x="148" y="184"/>
                  </a:cubicBezTo>
                  <a:cubicBezTo>
                    <a:pt x="148" y="185"/>
                    <a:pt x="148" y="185"/>
                    <a:pt x="148" y="185"/>
                  </a:cubicBezTo>
                  <a:cubicBezTo>
                    <a:pt x="149" y="186"/>
                    <a:pt x="152" y="188"/>
                    <a:pt x="152" y="190"/>
                  </a:cubicBezTo>
                  <a:cubicBezTo>
                    <a:pt x="153" y="192"/>
                    <a:pt x="151" y="191"/>
                    <a:pt x="152" y="192"/>
                  </a:cubicBezTo>
                  <a:cubicBezTo>
                    <a:pt x="153" y="192"/>
                    <a:pt x="154" y="192"/>
                    <a:pt x="156" y="192"/>
                  </a:cubicBezTo>
                  <a:cubicBezTo>
                    <a:pt x="155" y="193"/>
                    <a:pt x="157" y="195"/>
                    <a:pt x="154" y="194"/>
                  </a:cubicBezTo>
                  <a:cubicBezTo>
                    <a:pt x="154" y="195"/>
                    <a:pt x="155" y="196"/>
                    <a:pt x="155" y="197"/>
                  </a:cubicBezTo>
                  <a:cubicBezTo>
                    <a:pt x="153" y="198"/>
                    <a:pt x="154" y="198"/>
                    <a:pt x="154" y="200"/>
                  </a:cubicBezTo>
                  <a:cubicBezTo>
                    <a:pt x="154" y="201"/>
                    <a:pt x="154" y="201"/>
                    <a:pt x="154" y="201"/>
                  </a:cubicBezTo>
                  <a:cubicBezTo>
                    <a:pt x="153" y="202"/>
                    <a:pt x="148" y="202"/>
                    <a:pt x="147" y="202"/>
                  </a:cubicBezTo>
                  <a:cubicBezTo>
                    <a:pt x="147" y="203"/>
                    <a:pt x="147" y="203"/>
                    <a:pt x="147" y="203"/>
                  </a:cubicBezTo>
                  <a:cubicBezTo>
                    <a:pt x="148" y="203"/>
                    <a:pt x="149" y="203"/>
                    <a:pt x="150" y="203"/>
                  </a:cubicBezTo>
                  <a:cubicBezTo>
                    <a:pt x="149" y="205"/>
                    <a:pt x="149" y="207"/>
                    <a:pt x="148" y="208"/>
                  </a:cubicBezTo>
                  <a:cubicBezTo>
                    <a:pt x="147" y="209"/>
                    <a:pt x="146" y="209"/>
                    <a:pt x="146" y="209"/>
                  </a:cubicBezTo>
                  <a:cubicBezTo>
                    <a:pt x="146" y="209"/>
                    <a:pt x="146" y="212"/>
                    <a:pt x="146" y="212"/>
                  </a:cubicBezTo>
                  <a:cubicBezTo>
                    <a:pt x="147" y="212"/>
                    <a:pt x="148" y="211"/>
                    <a:pt x="149" y="211"/>
                  </a:cubicBezTo>
                  <a:cubicBezTo>
                    <a:pt x="148" y="212"/>
                    <a:pt x="148" y="214"/>
                    <a:pt x="148" y="214"/>
                  </a:cubicBezTo>
                  <a:cubicBezTo>
                    <a:pt x="147" y="215"/>
                    <a:pt x="145" y="215"/>
                    <a:pt x="145" y="216"/>
                  </a:cubicBezTo>
                  <a:cubicBezTo>
                    <a:pt x="145" y="217"/>
                    <a:pt x="145" y="217"/>
                    <a:pt x="145" y="217"/>
                  </a:cubicBezTo>
                  <a:cubicBezTo>
                    <a:pt x="147" y="219"/>
                    <a:pt x="153" y="222"/>
                    <a:pt x="157" y="219"/>
                  </a:cubicBezTo>
                  <a:cubicBezTo>
                    <a:pt x="157" y="219"/>
                    <a:pt x="158" y="213"/>
                    <a:pt x="159" y="212"/>
                  </a:cubicBezTo>
                  <a:cubicBezTo>
                    <a:pt x="160" y="212"/>
                    <a:pt x="160" y="212"/>
                    <a:pt x="160" y="212"/>
                  </a:cubicBezTo>
                  <a:cubicBezTo>
                    <a:pt x="161" y="214"/>
                    <a:pt x="160" y="214"/>
                    <a:pt x="161" y="216"/>
                  </a:cubicBezTo>
                  <a:cubicBezTo>
                    <a:pt x="166" y="215"/>
                    <a:pt x="169" y="217"/>
                    <a:pt x="176" y="218"/>
                  </a:cubicBezTo>
                  <a:cubicBezTo>
                    <a:pt x="175" y="218"/>
                    <a:pt x="175" y="219"/>
                    <a:pt x="174" y="219"/>
                  </a:cubicBezTo>
                  <a:cubicBezTo>
                    <a:pt x="175" y="221"/>
                    <a:pt x="175" y="221"/>
                    <a:pt x="175" y="221"/>
                  </a:cubicBezTo>
                  <a:cubicBezTo>
                    <a:pt x="177" y="221"/>
                    <a:pt x="179" y="221"/>
                    <a:pt x="182" y="220"/>
                  </a:cubicBezTo>
                  <a:cubicBezTo>
                    <a:pt x="182" y="220"/>
                    <a:pt x="184" y="218"/>
                    <a:pt x="184" y="218"/>
                  </a:cubicBezTo>
                  <a:cubicBezTo>
                    <a:pt x="186" y="218"/>
                    <a:pt x="185" y="219"/>
                    <a:pt x="186" y="219"/>
                  </a:cubicBezTo>
                  <a:cubicBezTo>
                    <a:pt x="185" y="219"/>
                    <a:pt x="182" y="221"/>
                    <a:pt x="182" y="222"/>
                  </a:cubicBezTo>
                  <a:cubicBezTo>
                    <a:pt x="178" y="223"/>
                    <a:pt x="187" y="223"/>
                    <a:pt x="190" y="223"/>
                  </a:cubicBezTo>
                  <a:cubicBezTo>
                    <a:pt x="189" y="223"/>
                    <a:pt x="190" y="225"/>
                    <a:pt x="190" y="226"/>
                  </a:cubicBezTo>
                  <a:cubicBezTo>
                    <a:pt x="188" y="226"/>
                    <a:pt x="186" y="226"/>
                    <a:pt x="184" y="226"/>
                  </a:cubicBezTo>
                  <a:cubicBezTo>
                    <a:pt x="185" y="226"/>
                    <a:pt x="187" y="227"/>
                    <a:pt x="188" y="228"/>
                  </a:cubicBezTo>
                  <a:cubicBezTo>
                    <a:pt x="191" y="229"/>
                    <a:pt x="187" y="229"/>
                    <a:pt x="185" y="229"/>
                  </a:cubicBezTo>
                  <a:cubicBezTo>
                    <a:pt x="185" y="230"/>
                    <a:pt x="185" y="230"/>
                    <a:pt x="185" y="230"/>
                  </a:cubicBezTo>
                  <a:cubicBezTo>
                    <a:pt x="182" y="232"/>
                    <a:pt x="186" y="231"/>
                    <a:pt x="187" y="232"/>
                  </a:cubicBezTo>
                  <a:cubicBezTo>
                    <a:pt x="187" y="232"/>
                    <a:pt x="188" y="232"/>
                    <a:pt x="189" y="232"/>
                  </a:cubicBezTo>
                  <a:cubicBezTo>
                    <a:pt x="189" y="234"/>
                    <a:pt x="189" y="234"/>
                    <a:pt x="189" y="234"/>
                  </a:cubicBezTo>
                  <a:cubicBezTo>
                    <a:pt x="181" y="234"/>
                    <a:pt x="185" y="236"/>
                    <a:pt x="190" y="238"/>
                  </a:cubicBezTo>
                  <a:cubicBezTo>
                    <a:pt x="190" y="238"/>
                    <a:pt x="189" y="240"/>
                    <a:pt x="190" y="240"/>
                  </a:cubicBezTo>
                  <a:cubicBezTo>
                    <a:pt x="185" y="239"/>
                    <a:pt x="179" y="237"/>
                    <a:pt x="176" y="235"/>
                  </a:cubicBezTo>
                  <a:cubicBezTo>
                    <a:pt x="175" y="234"/>
                    <a:pt x="175" y="233"/>
                    <a:pt x="174" y="232"/>
                  </a:cubicBezTo>
                  <a:cubicBezTo>
                    <a:pt x="169" y="230"/>
                    <a:pt x="159" y="230"/>
                    <a:pt x="154" y="231"/>
                  </a:cubicBezTo>
                  <a:cubicBezTo>
                    <a:pt x="154" y="231"/>
                    <a:pt x="153" y="233"/>
                    <a:pt x="153" y="233"/>
                  </a:cubicBezTo>
                  <a:cubicBezTo>
                    <a:pt x="153" y="233"/>
                    <a:pt x="155" y="236"/>
                    <a:pt x="155" y="236"/>
                  </a:cubicBezTo>
                  <a:cubicBezTo>
                    <a:pt x="156" y="237"/>
                    <a:pt x="157" y="236"/>
                    <a:pt x="158" y="236"/>
                  </a:cubicBezTo>
                  <a:cubicBezTo>
                    <a:pt x="158" y="237"/>
                    <a:pt x="158" y="237"/>
                    <a:pt x="158" y="237"/>
                  </a:cubicBezTo>
                  <a:cubicBezTo>
                    <a:pt x="159" y="237"/>
                    <a:pt x="161" y="238"/>
                    <a:pt x="162" y="238"/>
                  </a:cubicBezTo>
                  <a:cubicBezTo>
                    <a:pt x="162" y="240"/>
                    <a:pt x="162" y="240"/>
                    <a:pt x="162" y="240"/>
                  </a:cubicBezTo>
                  <a:cubicBezTo>
                    <a:pt x="161" y="240"/>
                    <a:pt x="162" y="241"/>
                    <a:pt x="160" y="241"/>
                  </a:cubicBezTo>
                  <a:cubicBezTo>
                    <a:pt x="157" y="240"/>
                    <a:pt x="157" y="240"/>
                    <a:pt x="157" y="240"/>
                  </a:cubicBezTo>
                  <a:cubicBezTo>
                    <a:pt x="155" y="240"/>
                    <a:pt x="154" y="240"/>
                    <a:pt x="153" y="240"/>
                  </a:cubicBezTo>
                  <a:cubicBezTo>
                    <a:pt x="152" y="241"/>
                    <a:pt x="152" y="242"/>
                    <a:pt x="151" y="242"/>
                  </a:cubicBezTo>
                  <a:cubicBezTo>
                    <a:pt x="151" y="244"/>
                    <a:pt x="153" y="246"/>
                    <a:pt x="152" y="247"/>
                  </a:cubicBezTo>
                  <a:cubicBezTo>
                    <a:pt x="150" y="249"/>
                    <a:pt x="150" y="249"/>
                    <a:pt x="150" y="249"/>
                  </a:cubicBezTo>
                  <a:cubicBezTo>
                    <a:pt x="149" y="250"/>
                    <a:pt x="150" y="251"/>
                    <a:pt x="150" y="252"/>
                  </a:cubicBezTo>
                  <a:cubicBezTo>
                    <a:pt x="147" y="253"/>
                    <a:pt x="149" y="254"/>
                    <a:pt x="148" y="254"/>
                  </a:cubicBezTo>
                  <a:cubicBezTo>
                    <a:pt x="148" y="254"/>
                    <a:pt x="148" y="256"/>
                    <a:pt x="149" y="256"/>
                  </a:cubicBezTo>
                  <a:cubicBezTo>
                    <a:pt x="151" y="257"/>
                    <a:pt x="154" y="256"/>
                    <a:pt x="155" y="256"/>
                  </a:cubicBezTo>
                  <a:cubicBezTo>
                    <a:pt x="157" y="256"/>
                    <a:pt x="157" y="258"/>
                    <a:pt x="159" y="257"/>
                  </a:cubicBezTo>
                  <a:cubicBezTo>
                    <a:pt x="160" y="257"/>
                    <a:pt x="158" y="256"/>
                    <a:pt x="160" y="256"/>
                  </a:cubicBezTo>
                  <a:cubicBezTo>
                    <a:pt x="160" y="256"/>
                    <a:pt x="160" y="259"/>
                    <a:pt x="160" y="259"/>
                  </a:cubicBezTo>
                  <a:cubicBezTo>
                    <a:pt x="152" y="259"/>
                    <a:pt x="152" y="259"/>
                    <a:pt x="152" y="259"/>
                  </a:cubicBezTo>
                  <a:cubicBezTo>
                    <a:pt x="152" y="260"/>
                    <a:pt x="152" y="260"/>
                    <a:pt x="152" y="260"/>
                  </a:cubicBezTo>
                  <a:cubicBezTo>
                    <a:pt x="154" y="261"/>
                    <a:pt x="155" y="263"/>
                    <a:pt x="157" y="263"/>
                  </a:cubicBezTo>
                  <a:cubicBezTo>
                    <a:pt x="162" y="264"/>
                    <a:pt x="163" y="262"/>
                    <a:pt x="165" y="261"/>
                  </a:cubicBezTo>
                  <a:cubicBezTo>
                    <a:pt x="167" y="260"/>
                    <a:pt x="169" y="261"/>
                    <a:pt x="170" y="260"/>
                  </a:cubicBezTo>
                  <a:cubicBezTo>
                    <a:pt x="177" y="256"/>
                    <a:pt x="177" y="256"/>
                    <a:pt x="177" y="256"/>
                  </a:cubicBezTo>
                  <a:cubicBezTo>
                    <a:pt x="178" y="255"/>
                    <a:pt x="177" y="254"/>
                    <a:pt x="178" y="253"/>
                  </a:cubicBezTo>
                  <a:cubicBezTo>
                    <a:pt x="175" y="251"/>
                    <a:pt x="173" y="250"/>
                    <a:pt x="172" y="248"/>
                  </a:cubicBezTo>
                  <a:cubicBezTo>
                    <a:pt x="171" y="247"/>
                    <a:pt x="170" y="245"/>
                    <a:pt x="169" y="244"/>
                  </a:cubicBezTo>
                  <a:cubicBezTo>
                    <a:pt x="167" y="243"/>
                    <a:pt x="165" y="243"/>
                    <a:pt x="164" y="242"/>
                  </a:cubicBezTo>
                  <a:cubicBezTo>
                    <a:pt x="164" y="241"/>
                    <a:pt x="163" y="239"/>
                    <a:pt x="163" y="239"/>
                  </a:cubicBezTo>
                  <a:cubicBezTo>
                    <a:pt x="167" y="240"/>
                    <a:pt x="168" y="240"/>
                    <a:pt x="171" y="242"/>
                  </a:cubicBezTo>
                  <a:cubicBezTo>
                    <a:pt x="173" y="243"/>
                    <a:pt x="175" y="247"/>
                    <a:pt x="180" y="246"/>
                  </a:cubicBezTo>
                  <a:cubicBezTo>
                    <a:pt x="181" y="245"/>
                    <a:pt x="182" y="244"/>
                    <a:pt x="183" y="244"/>
                  </a:cubicBezTo>
                  <a:cubicBezTo>
                    <a:pt x="184" y="246"/>
                    <a:pt x="184" y="246"/>
                    <a:pt x="184" y="246"/>
                  </a:cubicBezTo>
                  <a:cubicBezTo>
                    <a:pt x="186" y="246"/>
                    <a:pt x="187" y="246"/>
                    <a:pt x="190" y="245"/>
                  </a:cubicBezTo>
                  <a:cubicBezTo>
                    <a:pt x="190" y="246"/>
                    <a:pt x="190" y="246"/>
                    <a:pt x="190" y="246"/>
                  </a:cubicBezTo>
                  <a:cubicBezTo>
                    <a:pt x="190" y="246"/>
                    <a:pt x="189" y="248"/>
                    <a:pt x="189" y="248"/>
                  </a:cubicBezTo>
                  <a:cubicBezTo>
                    <a:pt x="189" y="248"/>
                    <a:pt x="191" y="249"/>
                    <a:pt x="190" y="250"/>
                  </a:cubicBezTo>
                  <a:cubicBezTo>
                    <a:pt x="190" y="250"/>
                    <a:pt x="188" y="250"/>
                    <a:pt x="188" y="250"/>
                  </a:cubicBezTo>
                  <a:cubicBezTo>
                    <a:pt x="187" y="252"/>
                    <a:pt x="188" y="252"/>
                    <a:pt x="187" y="254"/>
                  </a:cubicBezTo>
                  <a:cubicBezTo>
                    <a:pt x="187" y="254"/>
                    <a:pt x="189" y="255"/>
                    <a:pt x="190" y="255"/>
                  </a:cubicBezTo>
                  <a:cubicBezTo>
                    <a:pt x="189" y="256"/>
                    <a:pt x="188" y="256"/>
                    <a:pt x="187" y="256"/>
                  </a:cubicBezTo>
                  <a:cubicBezTo>
                    <a:pt x="187" y="258"/>
                    <a:pt x="187" y="258"/>
                    <a:pt x="187" y="258"/>
                  </a:cubicBezTo>
                  <a:cubicBezTo>
                    <a:pt x="192" y="257"/>
                    <a:pt x="192" y="256"/>
                    <a:pt x="191" y="261"/>
                  </a:cubicBezTo>
                  <a:cubicBezTo>
                    <a:pt x="191" y="261"/>
                    <a:pt x="193" y="261"/>
                    <a:pt x="193" y="261"/>
                  </a:cubicBezTo>
                  <a:cubicBezTo>
                    <a:pt x="193" y="261"/>
                    <a:pt x="193" y="263"/>
                    <a:pt x="193" y="264"/>
                  </a:cubicBezTo>
                  <a:cubicBezTo>
                    <a:pt x="191" y="265"/>
                    <a:pt x="192" y="264"/>
                    <a:pt x="192" y="266"/>
                  </a:cubicBezTo>
                  <a:cubicBezTo>
                    <a:pt x="190" y="266"/>
                    <a:pt x="190" y="266"/>
                    <a:pt x="190" y="266"/>
                  </a:cubicBezTo>
                  <a:cubicBezTo>
                    <a:pt x="189" y="265"/>
                    <a:pt x="189" y="264"/>
                    <a:pt x="189" y="262"/>
                  </a:cubicBezTo>
                  <a:cubicBezTo>
                    <a:pt x="189" y="263"/>
                    <a:pt x="187" y="262"/>
                    <a:pt x="186" y="262"/>
                  </a:cubicBezTo>
                  <a:cubicBezTo>
                    <a:pt x="186" y="265"/>
                    <a:pt x="186" y="269"/>
                    <a:pt x="186" y="269"/>
                  </a:cubicBezTo>
                  <a:cubicBezTo>
                    <a:pt x="186" y="270"/>
                    <a:pt x="186" y="270"/>
                    <a:pt x="186" y="270"/>
                  </a:cubicBezTo>
                  <a:cubicBezTo>
                    <a:pt x="187" y="270"/>
                    <a:pt x="188" y="270"/>
                    <a:pt x="188" y="270"/>
                  </a:cubicBezTo>
                  <a:cubicBezTo>
                    <a:pt x="188" y="272"/>
                    <a:pt x="187" y="273"/>
                    <a:pt x="187" y="274"/>
                  </a:cubicBezTo>
                  <a:cubicBezTo>
                    <a:pt x="185" y="275"/>
                    <a:pt x="182" y="276"/>
                    <a:pt x="180" y="275"/>
                  </a:cubicBezTo>
                  <a:cubicBezTo>
                    <a:pt x="179" y="275"/>
                    <a:pt x="178" y="273"/>
                    <a:pt x="178" y="274"/>
                  </a:cubicBezTo>
                  <a:cubicBezTo>
                    <a:pt x="176" y="274"/>
                    <a:pt x="177" y="276"/>
                    <a:pt x="176" y="276"/>
                  </a:cubicBezTo>
                  <a:cubicBezTo>
                    <a:pt x="175" y="277"/>
                    <a:pt x="174" y="277"/>
                    <a:pt x="173" y="278"/>
                  </a:cubicBezTo>
                  <a:cubicBezTo>
                    <a:pt x="173" y="277"/>
                    <a:pt x="171" y="277"/>
                    <a:pt x="170" y="278"/>
                  </a:cubicBezTo>
                  <a:cubicBezTo>
                    <a:pt x="170" y="279"/>
                    <a:pt x="170" y="279"/>
                    <a:pt x="170" y="279"/>
                  </a:cubicBezTo>
                  <a:cubicBezTo>
                    <a:pt x="179" y="279"/>
                    <a:pt x="183" y="280"/>
                    <a:pt x="188" y="276"/>
                  </a:cubicBezTo>
                  <a:cubicBezTo>
                    <a:pt x="190" y="283"/>
                    <a:pt x="191" y="280"/>
                    <a:pt x="184" y="281"/>
                  </a:cubicBezTo>
                  <a:cubicBezTo>
                    <a:pt x="183" y="281"/>
                    <a:pt x="179" y="283"/>
                    <a:pt x="177" y="282"/>
                  </a:cubicBezTo>
                  <a:cubicBezTo>
                    <a:pt x="177" y="282"/>
                    <a:pt x="176" y="280"/>
                    <a:pt x="176" y="280"/>
                  </a:cubicBezTo>
                  <a:cubicBezTo>
                    <a:pt x="174" y="279"/>
                    <a:pt x="173" y="280"/>
                    <a:pt x="172" y="280"/>
                  </a:cubicBezTo>
                  <a:cubicBezTo>
                    <a:pt x="172" y="282"/>
                    <a:pt x="172" y="282"/>
                    <a:pt x="172" y="282"/>
                  </a:cubicBezTo>
                  <a:cubicBezTo>
                    <a:pt x="173" y="283"/>
                    <a:pt x="180" y="286"/>
                    <a:pt x="177" y="286"/>
                  </a:cubicBezTo>
                  <a:cubicBezTo>
                    <a:pt x="176" y="285"/>
                    <a:pt x="175" y="285"/>
                    <a:pt x="174" y="285"/>
                  </a:cubicBezTo>
                  <a:cubicBezTo>
                    <a:pt x="174" y="285"/>
                    <a:pt x="172" y="283"/>
                    <a:pt x="172" y="283"/>
                  </a:cubicBezTo>
                  <a:cubicBezTo>
                    <a:pt x="169" y="282"/>
                    <a:pt x="167" y="285"/>
                    <a:pt x="166" y="286"/>
                  </a:cubicBezTo>
                  <a:cubicBezTo>
                    <a:pt x="166" y="287"/>
                    <a:pt x="164" y="288"/>
                    <a:pt x="164" y="289"/>
                  </a:cubicBezTo>
                  <a:cubicBezTo>
                    <a:pt x="163" y="290"/>
                    <a:pt x="164" y="291"/>
                    <a:pt x="164" y="292"/>
                  </a:cubicBezTo>
                  <a:cubicBezTo>
                    <a:pt x="166" y="291"/>
                    <a:pt x="168" y="289"/>
                    <a:pt x="170" y="288"/>
                  </a:cubicBezTo>
                  <a:cubicBezTo>
                    <a:pt x="170" y="288"/>
                    <a:pt x="170" y="288"/>
                    <a:pt x="170" y="288"/>
                  </a:cubicBezTo>
                  <a:cubicBezTo>
                    <a:pt x="171" y="287"/>
                    <a:pt x="171" y="288"/>
                    <a:pt x="173" y="288"/>
                  </a:cubicBezTo>
                  <a:cubicBezTo>
                    <a:pt x="175" y="288"/>
                    <a:pt x="178" y="286"/>
                    <a:pt x="181" y="286"/>
                  </a:cubicBezTo>
                  <a:cubicBezTo>
                    <a:pt x="178" y="288"/>
                    <a:pt x="179" y="288"/>
                    <a:pt x="182" y="290"/>
                  </a:cubicBezTo>
                  <a:cubicBezTo>
                    <a:pt x="182" y="291"/>
                    <a:pt x="182" y="291"/>
                    <a:pt x="182" y="291"/>
                  </a:cubicBezTo>
                  <a:cubicBezTo>
                    <a:pt x="184" y="291"/>
                    <a:pt x="186" y="290"/>
                    <a:pt x="187" y="290"/>
                  </a:cubicBezTo>
                  <a:cubicBezTo>
                    <a:pt x="187" y="288"/>
                    <a:pt x="187" y="287"/>
                    <a:pt x="186" y="285"/>
                  </a:cubicBezTo>
                  <a:cubicBezTo>
                    <a:pt x="187" y="285"/>
                    <a:pt x="189" y="285"/>
                    <a:pt x="191" y="285"/>
                  </a:cubicBezTo>
                  <a:cubicBezTo>
                    <a:pt x="190" y="286"/>
                    <a:pt x="188" y="289"/>
                    <a:pt x="190" y="288"/>
                  </a:cubicBezTo>
                  <a:cubicBezTo>
                    <a:pt x="190" y="288"/>
                    <a:pt x="190" y="290"/>
                    <a:pt x="189" y="290"/>
                  </a:cubicBezTo>
                  <a:cubicBezTo>
                    <a:pt x="189" y="290"/>
                    <a:pt x="189" y="292"/>
                    <a:pt x="188" y="292"/>
                  </a:cubicBezTo>
                  <a:cubicBezTo>
                    <a:pt x="186" y="292"/>
                    <a:pt x="184" y="293"/>
                    <a:pt x="182" y="292"/>
                  </a:cubicBezTo>
                  <a:cubicBezTo>
                    <a:pt x="179" y="292"/>
                    <a:pt x="175" y="287"/>
                    <a:pt x="170" y="289"/>
                  </a:cubicBezTo>
                  <a:cubicBezTo>
                    <a:pt x="170" y="290"/>
                    <a:pt x="170" y="290"/>
                    <a:pt x="170" y="290"/>
                  </a:cubicBezTo>
                  <a:cubicBezTo>
                    <a:pt x="168" y="291"/>
                    <a:pt x="168" y="293"/>
                    <a:pt x="168" y="294"/>
                  </a:cubicBezTo>
                  <a:cubicBezTo>
                    <a:pt x="167" y="294"/>
                    <a:pt x="166" y="293"/>
                    <a:pt x="165" y="294"/>
                  </a:cubicBezTo>
                  <a:cubicBezTo>
                    <a:pt x="165" y="294"/>
                    <a:pt x="164" y="295"/>
                    <a:pt x="163" y="296"/>
                  </a:cubicBezTo>
                  <a:cubicBezTo>
                    <a:pt x="163" y="296"/>
                    <a:pt x="165" y="297"/>
                    <a:pt x="165" y="298"/>
                  </a:cubicBezTo>
                  <a:cubicBezTo>
                    <a:pt x="165" y="299"/>
                    <a:pt x="164" y="300"/>
                    <a:pt x="164" y="300"/>
                  </a:cubicBezTo>
                  <a:cubicBezTo>
                    <a:pt x="165" y="301"/>
                    <a:pt x="167" y="300"/>
                    <a:pt x="168" y="301"/>
                  </a:cubicBezTo>
                  <a:cubicBezTo>
                    <a:pt x="169" y="301"/>
                    <a:pt x="169" y="303"/>
                    <a:pt x="168" y="303"/>
                  </a:cubicBezTo>
                  <a:cubicBezTo>
                    <a:pt x="170" y="303"/>
                    <a:pt x="170" y="303"/>
                    <a:pt x="170" y="303"/>
                  </a:cubicBezTo>
                  <a:cubicBezTo>
                    <a:pt x="169" y="304"/>
                    <a:pt x="169" y="306"/>
                    <a:pt x="168" y="306"/>
                  </a:cubicBezTo>
                  <a:cubicBezTo>
                    <a:pt x="168" y="306"/>
                    <a:pt x="166" y="306"/>
                    <a:pt x="166" y="306"/>
                  </a:cubicBezTo>
                  <a:cubicBezTo>
                    <a:pt x="166" y="307"/>
                    <a:pt x="166" y="308"/>
                    <a:pt x="166" y="308"/>
                  </a:cubicBezTo>
                  <a:cubicBezTo>
                    <a:pt x="166" y="309"/>
                    <a:pt x="166" y="309"/>
                    <a:pt x="166" y="309"/>
                  </a:cubicBezTo>
                  <a:cubicBezTo>
                    <a:pt x="166" y="309"/>
                    <a:pt x="169" y="309"/>
                    <a:pt x="168" y="309"/>
                  </a:cubicBezTo>
                  <a:cubicBezTo>
                    <a:pt x="168" y="310"/>
                    <a:pt x="168" y="310"/>
                    <a:pt x="168" y="310"/>
                  </a:cubicBezTo>
                  <a:cubicBezTo>
                    <a:pt x="167" y="311"/>
                    <a:pt x="162" y="311"/>
                    <a:pt x="165" y="313"/>
                  </a:cubicBezTo>
                  <a:cubicBezTo>
                    <a:pt x="166" y="315"/>
                    <a:pt x="166" y="315"/>
                    <a:pt x="166" y="315"/>
                  </a:cubicBezTo>
                  <a:cubicBezTo>
                    <a:pt x="168" y="314"/>
                    <a:pt x="169" y="314"/>
                    <a:pt x="171" y="314"/>
                  </a:cubicBezTo>
                  <a:cubicBezTo>
                    <a:pt x="171" y="314"/>
                    <a:pt x="168" y="316"/>
                    <a:pt x="168" y="316"/>
                  </a:cubicBezTo>
                  <a:cubicBezTo>
                    <a:pt x="168" y="317"/>
                    <a:pt x="169" y="318"/>
                    <a:pt x="168" y="319"/>
                  </a:cubicBezTo>
                  <a:cubicBezTo>
                    <a:pt x="170" y="318"/>
                    <a:pt x="170" y="318"/>
                    <a:pt x="172" y="318"/>
                  </a:cubicBezTo>
                  <a:cubicBezTo>
                    <a:pt x="172" y="318"/>
                    <a:pt x="173" y="319"/>
                    <a:pt x="174" y="319"/>
                  </a:cubicBezTo>
                  <a:cubicBezTo>
                    <a:pt x="175" y="319"/>
                    <a:pt x="175" y="317"/>
                    <a:pt x="176" y="317"/>
                  </a:cubicBezTo>
                  <a:cubicBezTo>
                    <a:pt x="177" y="316"/>
                    <a:pt x="178" y="317"/>
                    <a:pt x="179" y="316"/>
                  </a:cubicBezTo>
                  <a:cubicBezTo>
                    <a:pt x="177" y="318"/>
                    <a:pt x="175" y="320"/>
                    <a:pt x="174" y="321"/>
                  </a:cubicBezTo>
                  <a:cubicBezTo>
                    <a:pt x="175" y="322"/>
                    <a:pt x="176" y="323"/>
                    <a:pt x="178" y="323"/>
                  </a:cubicBezTo>
                  <a:cubicBezTo>
                    <a:pt x="178" y="325"/>
                    <a:pt x="178" y="325"/>
                    <a:pt x="178" y="325"/>
                  </a:cubicBezTo>
                  <a:cubicBezTo>
                    <a:pt x="176" y="325"/>
                    <a:pt x="176" y="325"/>
                    <a:pt x="175" y="325"/>
                  </a:cubicBezTo>
                  <a:cubicBezTo>
                    <a:pt x="175" y="325"/>
                    <a:pt x="175" y="328"/>
                    <a:pt x="175" y="328"/>
                  </a:cubicBezTo>
                  <a:cubicBezTo>
                    <a:pt x="176" y="328"/>
                    <a:pt x="178" y="328"/>
                    <a:pt x="178" y="328"/>
                  </a:cubicBezTo>
                  <a:cubicBezTo>
                    <a:pt x="178" y="328"/>
                    <a:pt x="178" y="330"/>
                    <a:pt x="178" y="330"/>
                  </a:cubicBezTo>
                  <a:cubicBezTo>
                    <a:pt x="178" y="330"/>
                    <a:pt x="180" y="330"/>
                    <a:pt x="180" y="331"/>
                  </a:cubicBezTo>
                  <a:cubicBezTo>
                    <a:pt x="179" y="334"/>
                    <a:pt x="179" y="333"/>
                    <a:pt x="179" y="337"/>
                  </a:cubicBezTo>
                  <a:cubicBezTo>
                    <a:pt x="184" y="332"/>
                    <a:pt x="184" y="332"/>
                    <a:pt x="184" y="332"/>
                  </a:cubicBezTo>
                  <a:cubicBezTo>
                    <a:pt x="185" y="332"/>
                    <a:pt x="185" y="333"/>
                    <a:pt x="187" y="333"/>
                  </a:cubicBezTo>
                  <a:cubicBezTo>
                    <a:pt x="187" y="333"/>
                    <a:pt x="188" y="330"/>
                    <a:pt x="188" y="330"/>
                  </a:cubicBezTo>
                  <a:cubicBezTo>
                    <a:pt x="190" y="330"/>
                    <a:pt x="190" y="331"/>
                    <a:pt x="192" y="331"/>
                  </a:cubicBezTo>
                  <a:cubicBezTo>
                    <a:pt x="190" y="332"/>
                    <a:pt x="192" y="335"/>
                    <a:pt x="192" y="335"/>
                  </a:cubicBezTo>
                  <a:cubicBezTo>
                    <a:pt x="191" y="336"/>
                    <a:pt x="190" y="334"/>
                    <a:pt x="188" y="334"/>
                  </a:cubicBezTo>
                  <a:cubicBezTo>
                    <a:pt x="188" y="334"/>
                    <a:pt x="188" y="336"/>
                    <a:pt x="188" y="336"/>
                  </a:cubicBezTo>
                  <a:cubicBezTo>
                    <a:pt x="189" y="336"/>
                    <a:pt x="189" y="337"/>
                    <a:pt x="189" y="338"/>
                  </a:cubicBezTo>
                  <a:cubicBezTo>
                    <a:pt x="185" y="339"/>
                    <a:pt x="184" y="338"/>
                    <a:pt x="181" y="339"/>
                  </a:cubicBezTo>
                  <a:cubicBezTo>
                    <a:pt x="181" y="341"/>
                    <a:pt x="181" y="341"/>
                    <a:pt x="181" y="341"/>
                  </a:cubicBezTo>
                  <a:cubicBezTo>
                    <a:pt x="182" y="341"/>
                    <a:pt x="184" y="340"/>
                    <a:pt x="186" y="341"/>
                  </a:cubicBezTo>
                  <a:cubicBezTo>
                    <a:pt x="186" y="342"/>
                    <a:pt x="186" y="342"/>
                    <a:pt x="186" y="342"/>
                  </a:cubicBezTo>
                  <a:cubicBezTo>
                    <a:pt x="184" y="342"/>
                    <a:pt x="183" y="342"/>
                    <a:pt x="182" y="342"/>
                  </a:cubicBezTo>
                  <a:cubicBezTo>
                    <a:pt x="182" y="342"/>
                    <a:pt x="179" y="344"/>
                    <a:pt x="181" y="343"/>
                  </a:cubicBezTo>
                  <a:cubicBezTo>
                    <a:pt x="181" y="344"/>
                    <a:pt x="184" y="347"/>
                    <a:pt x="183" y="345"/>
                  </a:cubicBezTo>
                  <a:cubicBezTo>
                    <a:pt x="183" y="345"/>
                    <a:pt x="184" y="341"/>
                    <a:pt x="183" y="347"/>
                  </a:cubicBezTo>
                  <a:cubicBezTo>
                    <a:pt x="182" y="350"/>
                    <a:pt x="184" y="349"/>
                    <a:pt x="188" y="349"/>
                  </a:cubicBezTo>
                  <a:cubicBezTo>
                    <a:pt x="187" y="349"/>
                    <a:pt x="187" y="352"/>
                    <a:pt x="187" y="352"/>
                  </a:cubicBezTo>
                  <a:cubicBezTo>
                    <a:pt x="185" y="351"/>
                    <a:pt x="186" y="354"/>
                    <a:pt x="186" y="354"/>
                  </a:cubicBezTo>
                  <a:cubicBezTo>
                    <a:pt x="187" y="354"/>
                    <a:pt x="188" y="354"/>
                    <a:pt x="189" y="354"/>
                  </a:cubicBezTo>
                  <a:cubicBezTo>
                    <a:pt x="186" y="355"/>
                    <a:pt x="189" y="358"/>
                    <a:pt x="188" y="358"/>
                  </a:cubicBezTo>
                  <a:cubicBezTo>
                    <a:pt x="188" y="358"/>
                    <a:pt x="190" y="358"/>
                    <a:pt x="189" y="357"/>
                  </a:cubicBezTo>
                  <a:cubicBezTo>
                    <a:pt x="189" y="357"/>
                    <a:pt x="190" y="356"/>
                    <a:pt x="190" y="356"/>
                  </a:cubicBezTo>
                  <a:cubicBezTo>
                    <a:pt x="190" y="356"/>
                    <a:pt x="192" y="356"/>
                    <a:pt x="194" y="355"/>
                  </a:cubicBezTo>
                  <a:cubicBezTo>
                    <a:pt x="192" y="360"/>
                    <a:pt x="191" y="364"/>
                    <a:pt x="198" y="361"/>
                  </a:cubicBezTo>
                  <a:cubicBezTo>
                    <a:pt x="197" y="361"/>
                    <a:pt x="196" y="366"/>
                    <a:pt x="197" y="367"/>
                  </a:cubicBezTo>
                  <a:cubicBezTo>
                    <a:pt x="199" y="368"/>
                    <a:pt x="200" y="365"/>
                    <a:pt x="202" y="364"/>
                  </a:cubicBezTo>
                  <a:cubicBezTo>
                    <a:pt x="203" y="364"/>
                    <a:pt x="204" y="364"/>
                    <a:pt x="205" y="364"/>
                  </a:cubicBezTo>
                  <a:cubicBezTo>
                    <a:pt x="205" y="364"/>
                    <a:pt x="203" y="368"/>
                    <a:pt x="204" y="368"/>
                  </a:cubicBezTo>
                  <a:cubicBezTo>
                    <a:pt x="202" y="368"/>
                    <a:pt x="205" y="369"/>
                    <a:pt x="205" y="369"/>
                  </a:cubicBezTo>
                  <a:cubicBezTo>
                    <a:pt x="206" y="369"/>
                    <a:pt x="207" y="368"/>
                    <a:pt x="208" y="367"/>
                  </a:cubicBezTo>
                  <a:cubicBezTo>
                    <a:pt x="208" y="368"/>
                    <a:pt x="208" y="369"/>
                    <a:pt x="208" y="369"/>
                  </a:cubicBezTo>
                  <a:cubicBezTo>
                    <a:pt x="208" y="370"/>
                    <a:pt x="206" y="371"/>
                    <a:pt x="206" y="371"/>
                  </a:cubicBezTo>
                  <a:cubicBezTo>
                    <a:pt x="205" y="374"/>
                    <a:pt x="211" y="369"/>
                    <a:pt x="209" y="375"/>
                  </a:cubicBezTo>
                  <a:cubicBezTo>
                    <a:pt x="209" y="375"/>
                    <a:pt x="208" y="378"/>
                    <a:pt x="208" y="377"/>
                  </a:cubicBezTo>
                  <a:cubicBezTo>
                    <a:pt x="207" y="378"/>
                    <a:pt x="210" y="378"/>
                    <a:pt x="210" y="378"/>
                  </a:cubicBezTo>
                  <a:cubicBezTo>
                    <a:pt x="211" y="378"/>
                    <a:pt x="211" y="376"/>
                    <a:pt x="211" y="376"/>
                  </a:cubicBezTo>
                  <a:cubicBezTo>
                    <a:pt x="211" y="376"/>
                    <a:pt x="214" y="376"/>
                    <a:pt x="213" y="377"/>
                  </a:cubicBezTo>
                  <a:cubicBezTo>
                    <a:pt x="213" y="377"/>
                    <a:pt x="215" y="377"/>
                    <a:pt x="213" y="377"/>
                  </a:cubicBezTo>
                  <a:cubicBezTo>
                    <a:pt x="213" y="377"/>
                    <a:pt x="210" y="378"/>
                    <a:pt x="213" y="378"/>
                  </a:cubicBezTo>
                  <a:cubicBezTo>
                    <a:pt x="211" y="379"/>
                    <a:pt x="211" y="378"/>
                    <a:pt x="209" y="379"/>
                  </a:cubicBezTo>
                  <a:cubicBezTo>
                    <a:pt x="209" y="380"/>
                    <a:pt x="209" y="380"/>
                    <a:pt x="209" y="380"/>
                  </a:cubicBezTo>
                  <a:cubicBezTo>
                    <a:pt x="210" y="380"/>
                    <a:pt x="212" y="380"/>
                    <a:pt x="213" y="380"/>
                  </a:cubicBezTo>
                  <a:cubicBezTo>
                    <a:pt x="213" y="380"/>
                    <a:pt x="213" y="382"/>
                    <a:pt x="212" y="382"/>
                  </a:cubicBezTo>
                  <a:cubicBezTo>
                    <a:pt x="212" y="382"/>
                    <a:pt x="212" y="384"/>
                    <a:pt x="212" y="385"/>
                  </a:cubicBezTo>
                  <a:cubicBezTo>
                    <a:pt x="217" y="385"/>
                    <a:pt x="216" y="383"/>
                    <a:pt x="215" y="388"/>
                  </a:cubicBezTo>
                  <a:cubicBezTo>
                    <a:pt x="215" y="387"/>
                    <a:pt x="217" y="388"/>
                    <a:pt x="217" y="388"/>
                  </a:cubicBezTo>
                  <a:cubicBezTo>
                    <a:pt x="217" y="388"/>
                    <a:pt x="218" y="386"/>
                    <a:pt x="219" y="385"/>
                  </a:cubicBezTo>
                  <a:cubicBezTo>
                    <a:pt x="219" y="385"/>
                    <a:pt x="219" y="385"/>
                    <a:pt x="219" y="385"/>
                  </a:cubicBezTo>
                  <a:cubicBezTo>
                    <a:pt x="221" y="384"/>
                    <a:pt x="221" y="386"/>
                    <a:pt x="221" y="386"/>
                  </a:cubicBezTo>
                  <a:cubicBezTo>
                    <a:pt x="222" y="386"/>
                    <a:pt x="226" y="384"/>
                    <a:pt x="226" y="384"/>
                  </a:cubicBezTo>
                  <a:cubicBezTo>
                    <a:pt x="227" y="383"/>
                    <a:pt x="229" y="379"/>
                    <a:pt x="230" y="378"/>
                  </a:cubicBezTo>
                  <a:cubicBezTo>
                    <a:pt x="230" y="378"/>
                    <a:pt x="231" y="379"/>
                    <a:pt x="231" y="379"/>
                  </a:cubicBezTo>
                  <a:cubicBezTo>
                    <a:pt x="231" y="381"/>
                    <a:pt x="231" y="382"/>
                    <a:pt x="230" y="384"/>
                  </a:cubicBezTo>
                  <a:cubicBezTo>
                    <a:pt x="233" y="383"/>
                    <a:pt x="233" y="384"/>
                    <a:pt x="231" y="385"/>
                  </a:cubicBezTo>
                  <a:cubicBezTo>
                    <a:pt x="227" y="387"/>
                    <a:pt x="231" y="386"/>
                    <a:pt x="234" y="387"/>
                  </a:cubicBezTo>
                  <a:cubicBezTo>
                    <a:pt x="234" y="386"/>
                    <a:pt x="234" y="386"/>
                    <a:pt x="235" y="386"/>
                  </a:cubicBezTo>
                  <a:cubicBezTo>
                    <a:pt x="235" y="386"/>
                    <a:pt x="234" y="389"/>
                    <a:pt x="234" y="389"/>
                  </a:cubicBezTo>
                  <a:cubicBezTo>
                    <a:pt x="235" y="390"/>
                    <a:pt x="235" y="389"/>
                    <a:pt x="235" y="390"/>
                  </a:cubicBezTo>
                  <a:cubicBezTo>
                    <a:pt x="235" y="390"/>
                    <a:pt x="237" y="389"/>
                    <a:pt x="237" y="389"/>
                  </a:cubicBezTo>
                  <a:cubicBezTo>
                    <a:pt x="238" y="389"/>
                    <a:pt x="238" y="388"/>
                    <a:pt x="238" y="387"/>
                  </a:cubicBezTo>
                  <a:cubicBezTo>
                    <a:pt x="239" y="387"/>
                    <a:pt x="239" y="387"/>
                    <a:pt x="239" y="387"/>
                  </a:cubicBezTo>
                  <a:cubicBezTo>
                    <a:pt x="240" y="387"/>
                    <a:pt x="239" y="388"/>
                    <a:pt x="241" y="389"/>
                  </a:cubicBezTo>
                  <a:cubicBezTo>
                    <a:pt x="242" y="388"/>
                    <a:pt x="243" y="387"/>
                    <a:pt x="243" y="387"/>
                  </a:cubicBezTo>
                  <a:cubicBezTo>
                    <a:pt x="243" y="387"/>
                    <a:pt x="244" y="389"/>
                    <a:pt x="243" y="390"/>
                  </a:cubicBezTo>
                  <a:cubicBezTo>
                    <a:pt x="243" y="390"/>
                    <a:pt x="241" y="391"/>
                    <a:pt x="241" y="391"/>
                  </a:cubicBezTo>
                  <a:cubicBezTo>
                    <a:pt x="240" y="392"/>
                    <a:pt x="241" y="393"/>
                    <a:pt x="240" y="394"/>
                  </a:cubicBezTo>
                  <a:cubicBezTo>
                    <a:pt x="239" y="395"/>
                    <a:pt x="244" y="391"/>
                    <a:pt x="245" y="390"/>
                  </a:cubicBezTo>
                  <a:cubicBezTo>
                    <a:pt x="245" y="391"/>
                    <a:pt x="243" y="396"/>
                    <a:pt x="245" y="395"/>
                  </a:cubicBezTo>
                  <a:cubicBezTo>
                    <a:pt x="244" y="396"/>
                    <a:pt x="246" y="395"/>
                    <a:pt x="247" y="395"/>
                  </a:cubicBezTo>
                  <a:cubicBezTo>
                    <a:pt x="247" y="394"/>
                    <a:pt x="247" y="393"/>
                    <a:pt x="247" y="391"/>
                  </a:cubicBezTo>
                  <a:cubicBezTo>
                    <a:pt x="249" y="391"/>
                    <a:pt x="249" y="391"/>
                    <a:pt x="249" y="391"/>
                  </a:cubicBezTo>
                  <a:cubicBezTo>
                    <a:pt x="248" y="392"/>
                    <a:pt x="249" y="392"/>
                    <a:pt x="249" y="393"/>
                  </a:cubicBezTo>
                  <a:cubicBezTo>
                    <a:pt x="249" y="393"/>
                    <a:pt x="248" y="394"/>
                    <a:pt x="248" y="394"/>
                  </a:cubicBezTo>
                  <a:cubicBezTo>
                    <a:pt x="248" y="394"/>
                    <a:pt x="248" y="395"/>
                    <a:pt x="248" y="396"/>
                  </a:cubicBezTo>
                  <a:cubicBezTo>
                    <a:pt x="248" y="396"/>
                    <a:pt x="253" y="399"/>
                    <a:pt x="253" y="399"/>
                  </a:cubicBezTo>
                  <a:cubicBezTo>
                    <a:pt x="254" y="399"/>
                    <a:pt x="254" y="397"/>
                    <a:pt x="255" y="397"/>
                  </a:cubicBezTo>
                  <a:cubicBezTo>
                    <a:pt x="255" y="397"/>
                    <a:pt x="256" y="397"/>
                    <a:pt x="257" y="397"/>
                  </a:cubicBezTo>
                  <a:cubicBezTo>
                    <a:pt x="257" y="397"/>
                    <a:pt x="256" y="396"/>
                    <a:pt x="256" y="396"/>
                  </a:cubicBezTo>
                  <a:cubicBezTo>
                    <a:pt x="256" y="396"/>
                    <a:pt x="258" y="395"/>
                    <a:pt x="259" y="395"/>
                  </a:cubicBezTo>
                  <a:cubicBezTo>
                    <a:pt x="258" y="395"/>
                    <a:pt x="258" y="394"/>
                    <a:pt x="258" y="393"/>
                  </a:cubicBezTo>
                  <a:cubicBezTo>
                    <a:pt x="257" y="393"/>
                    <a:pt x="254" y="393"/>
                    <a:pt x="256" y="391"/>
                  </a:cubicBezTo>
                  <a:cubicBezTo>
                    <a:pt x="258" y="390"/>
                    <a:pt x="258" y="390"/>
                    <a:pt x="256" y="389"/>
                  </a:cubicBezTo>
                  <a:cubicBezTo>
                    <a:pt x="255" y="387"/>
                    <a:pt x="255" y="387"/>
                    <a:pt x="255" y="387"/>
                  </a:cubicBezTo>
                  <a:cubicBezTo>
                    <a:pt x="254" y="387"/>
                    <a:pt x="253" y="387"/>
                    <a:pt x="252" y="387"/>
                  </a:cubicBezTo>
                  <a:cubicBezTo>
                    <a:pt x="252" y="385"/>
                    <a:pt x="252" y="385"/>
                    <a:pt x="252" y="385"/>
                  </a:cubicBezTo>
                  <a:cubicBezTo>
                    <a:pt x="253" y="385"/>
                    <a:pt x="254" y="386"/>
                    <a:pt x="256" y="386"/>
                  </a:cubicBezTo>
                  <a:cubicBezTo>
                    <a:pt x="256" y="386"/>
                    <a:pt x="257" y="384"/>
                    <a:pt x="256" y="384"/>
                  </a:cubicBezTo>
                  <a:cubicBezTo>
                    <a:pt x="258" y="383"/>
                    <a:pt x="258" y="383"/>
                    <a:pt x="258" y="383"/>
                  </a:cubicBezTo>
                  <a:cubicBezTo>
                    <a:pt x="258" y="381"/>
                    <a:pt x="257" y="381"/>
                    <a:pt x="257" y="379"/>
                  </a:cubicBezTo>
                  <a:cubicBezTo>
                    <a:pt x="261" y="377"/>
                    <a:pt x="261" y="377"/>
                    <a:pt x="261" y="377"/>
                  </a:cubicBezTo>
                  <a:cubicBezTo>
                    <a:pt x="261" y="374"/>
                    <a:pt x="260" y="374"/>
                    <a:pt x="259" y="373"/>
                  </a:cubicBezTo>
                  <a:cubicBezTo>
                    <a:pt x="260" y="372"/>
                    <a:pt x="261" y="372"/>
                    <a:pt x="262" y="372"/>
                  </a:cubicBezTo>
                  <a:cubicBezTo>
                    <a:pt x="262" y="371"/>
                    <a:pt x="263" y="369"/>
                    <a:pt x="264" y="368"/>
                  </a:cubicBezTo>
                  <a:cubicBezTo>
                    <a:pt x="265" y="367"/>
                    <a:pt x="262" y="366"/>
                    <a:pt x="262" y="366"/>
                  </a:cubicBezTo>
                  <a:cubicBezTo>
                    <a:pt x="262" y="365"/>
                    <a:pt x="262" y="363"/>
                    <a:pt x="263" y="361"/>
                  </a:cubicBezTo>
                  <a:cubicBezTo>
                    <a:pt x="263" y="361"/>
                    <a:pt x="264" y="361"/>
                    <a:pt x="265" y="361"/>
                  </a:cubicBezTo>
                  <a:cubicBezTo>
                    <a:pt x="264" y="363"/>
                    <a:pt x="265" y="362"/>
                    <a:pt x="266" y="362"/>
                  </a:cubicBezTo>
                  <a:cubicBezTo>
                    <a:pt x="266" y="361"/>
                    <a:pt x="266" y="360"/>
                    <a:pt x="267" y="359"/>
                  </a:cubicBezTo>
                  <a:cubicBezTo>
                    <a:pt x="266" y="359"/>
                    <a:pt x="267" y="358"/>
                    <a:pt x="267" y="357"/>
                  </a:cubicBezTo>
                  <a:cubicBezTo>
                    <a:pt x="266" y="357"/>
                    <a:pt x="265" y="358"/>
                    <a:pt x="265" y="357"/>
                  </a:cubicBezTo>
                  <a:cubicBezTo>
                    <a:pt x="264" y="357"/>
                    <a:pt x="265" y="356"/>
                    <a:pt x="265" y="355"/>
                  </a:cubicBezTo>
                  <a:cubicBezTo>
                    <a:pt x="266" y="355"/>
                    <a:pt x="265" y="355"/>
                    <a:pt x="266" y="353"/>
                  </a:cubicBezTo>
                  <a:cubicBezTo>
                    <a:pt x="268" y="354"/>
                    <a:pt x="269" y="354"/>
                    <a:pt x="271" y="355"/>
                  </a:cubicBezTo>
                  <a:cubicBezTo>
                    <a:pt x="271" y="355"/>
                    <a:pt x="270" y="354"/>
                    <a:pt x="271" y="352"/>
                  </a:cubicBezTo>
                  <a:cubicBezTo>
                    <a:pt x="272" y="351"/>
                    <a:pt x="272" y="351"/>
                    <a:pt x="272" y="351"/>
                  </a:cubicBezTo>
                  <a:cubicBezTo>
                    <a:pt x="272" y="348"/>
                    <a:pt x="271" y="348"/>
                    <a:pt x="269" y="345"/>
                  </a:cubicBezTo>
                  <a:cubicBezTo>
                    <a:pt x="270" y="345"/>
                    <a:pt x="271" y="345"/>
                    <a:pt x="271" y="345"/>
                  </a:cubicBezTo>
                  <a:cubicBezTo>
                    <a:pt x="272" y="345"/>
                    <a:pt x="273" y="347"/>
                    <a:pt x="273" y="347"/>
                  </a:cubicBezTo>
                  <a:cubicBezTo>
                    <a:pt x="277" y="348"/>
                    <a:pt x="277" y="345"/>
                    <a:pt x="275" y="345"/>
                  </a:cubicBezTo>
                  <a:cubicBezTo>
                    <a:pt x="276" y="341"/>
                    <a:pt x="276" y="340"/>
                    <a:pt x="278" y="337"/>
                  </a:cubicBezTo>
                  <a:cubicBezTo>
                    <a:pt x="275" y="336"/>
                    <a:pt x="273" y="336"/>
                    <a:pt x="271" y="335"/>
                  </a:cubicBezTo>
                  <a:cubicBezTo>
                    <a:pt x="271" y="334"/>
                    <a:pt x="271" y="334"/>
                    <a:pt x="271" y="334"/>
                  </a:cubicBezTo>
                  <a:cubicBezTo>
                    <a:pt x="271" y="334"/>
                    <a:pt x="274" y="335"/>
                    <a:pt x="273" y="335"/>
                  </a:cubicBezTo>
                  <a:cubicBezTo>
                    <a:pt x="275" y="335"/>
                    <a:pt x="277" y="335"/>
                    <a:pt x="279" y="335"/>
                  </a:cubicBezTo>
                  <a:cubicBezTo>
                    <a:pt x="280" y="328"/>
                    <a:pt x="280" y="329"/>
                    <a:pt x="277" y="324"/>
                  </a:cubicBezTo>
                  <a:cubicBezTo>
                    <a:pt x="275" y="323"/>
                    <a:pt x="275" y="323"/>
                    <a:pt x="275" y="323"/>
                  </a:cubicBezTo>
                  <a:cubicBezTo>
                    <a:pt x="275" y="321"/>
                    <a:pt x="275" y="321"/>
                    <a:pt x="275" y="321"/>
                  </a:cubicBezTo>
                  <a:cubicBezTo>
                    <a:pt x="277" y="322"/>
                    <a:pt x="277" y="321"/>
                    <a:pt x="278" y="321"/>
                  </a:cubicBezTo>
                  <a:cubicBezTo>
                    <a:pt x="275" y="321"/>
                    <a:pt x="279" y="321"/>
                    <a:pt x="279" y="321"/>
                  </a:cubicBezTo>
                  <a:cubicBezTo>
                    <a:pt x="278" y="321"/>
                    <a:pt x="281" y="321"/>
                    <a:pt x="281" y="321"/>
                  </a:cubicBezTo>
                  <a:cubicBezTo>
                    <a:pt x="282" y="321"/>
                    <a:pt x="283" y="319"/>
                    <a:pt x="283" y="319"/>
                  </a:cubicBezTo>
                  <a:cubicBezTo>
                    <a:pt x="283" y="318"/>
                    <a:pt x="283" y="315"/>
                    <a:pt x="283" y="316"/>
                  </a:cubicBezTo>
                  <a:cubicBezTo>
                    <a:pt x="283" y="315"/>
                    <a:pt x="283" y="315"/>
                    <a:pt x="283" y="315"/>
                  </a:cubicBezTo>
                  <a:cubicBezTo>
                    <a:pt x="284" y="314"/>
                    <a:pt x="287" y="315"/>
                    <a:pt x="288" y="315"/>
                  </a:cubicBezTo>
                  <a:cubicBezTo>
                    <a:pt x="289" y="315"/>
                    <a:pt x="290" y="315"/>
                    <a:pt x="290" y="315"/>
                  </a:cubicBezTo>
                  <a:cubicBezTo>
                    <a:pt x="290" y="315"/>
                    <a:pt x="285" y="315"/>
                    <a:pt x="290" y="314"/>
                  </a:cubicBezTo>
                  <a:cubicBezTo>
                    <a:pt x="292" y="314"/>
                    <a:pt x="294" y="316"/>
                    <a:pt x="297" y="315"/>
                  </a:cubicBezTo>
                  <a:cubicBezTo>
                    <a:pt x="299" y="314"/>
                    <a:pt x="299" y="312"/>
                    <a:pt x="301" y="311"/>
                  </a:cubicBezTo>
                  <a:cubicBezTo>
                    <a:pt x="302" y="311"/>
                    <a:pt x="303" y="311"/>
                    <a:pt x="304" y="311"/>
                  </a:cubicBezTo>
                  <a:cubicBezTo>
                    <a:pt x="305" y="313"/>
                    <a:pt x="305" y="314"/>
                    <a:pt x="306" y="315"/>
                  </a:cubicBezTo>
                  <a:cubicBezTo>
                    <a:pt x="307" y="317"/>
                    <a:pt x="307" y="317"/>
                    <a:pt x="307" y="317"/>
                  </a:cubicBezTo>
                  <a:cubicBezTo>
                    <a:pt x="307" y="317"/>
                    <a:pt x="309" y="317"/>
                    <a:pt x="307" y="316"/>
                  </a:cubicBezTo>
                  <a:cubicBezTo>
                    <a:pt x="307" y="316"/>
                    <a:pt x="309" y="316"/>
                    <a:pt x="308" y="315"/>
                  </a:cubicBezTo>
                  <a:cubicBezTo>
                    <a:pt x="308" y="315"/>
                    <a:pt x="310" y="314"/>
                    <a:pt x="310" y="313"/>
                  </a:cubicBezTo>
                  <a:cubicBezTo>
                    <a:pt x="311" y="312"/>
                    <a:pt x="311" y="312"/>
                    <a:pt x="311" y="310"/>
                  </a:cubicBezTo>
                  <a:cubicBezTo>
                    <a:pt x="312" y="310"/>
                    <a:pt x="314" y="310"/>
                    <a:pt x="316" y="310"/>
                  </a:cubicBezTo>
                  <a:cubicBezTo>
                    <a:pt x="316" y="311"/>
                    <a:pt x="315" y="311"/>
                    <a:pt x="316" y="311"/>
                  </a:cubicBezTo>
                  <a:cubicBezTo>
                    <a:pt x="316" y="313"/>
                    <a:pt x="316" y="313"/>
                    <a:pt x="316" y="313"/>
                  </a:cubicBezTo>
                  <a:cubicBezTo>
                    <a:pt x="318" y="313"/>
                    <a:pt x="318" y="313"/>
                    <a:pt x="318" y="313"/>
                  </a:cubicBezTo>
                  <a:cubicBezTo>
                    <a:pt x="318" y="312"/>
                    <a:pt x="320" y="310"/>
                    <a:pt x="320" y="309"/>
                  </a:cubicBezTo>
                  <a:cubicBezTo>
                    <a:pt x="320" y="308"/>
                    <a:pt x="319" y="307"/>
                    <a:pt x="319" y="307"/>
                  </a:cubicBezTo>
                  <a:cubicBezTo>
                    <a:pt x="320" y="306"/>
                    <a:pt x="322" y="306"/>
                    <a:pt x="323" y="305"/>
                  </a:cubicBezTo>
                  <a:cubicBezTo>
                    <a:pt x="324" y="304"/>
                    <a:pt x="323" y="301"/>
                    <a:pt x="325" y="299"/>
                  </a:cubicBezTo>
                  <a:cubicBezTo>
                    <a:pt x="326" y="299"/>
                    <a:pt x="327" y="300"/>
                    <a:pt x="328" y="299"/>
                  </a:cubicBezTo>
                  <a:cubicBezTo>
                    <a:pt x="329" y="299"/>
                    <a:pt x="330" y="297"/>
                    <a:pt x="331" y="296"/>
                  </a:cubicBezTo>
                  <a:cubicBezTo>
                    <a:pt x="333" y="295"/>
                    <a:pt x="335" y="295"/>
                    <a:pt x="337" y="294"/>
                  </a:cubicBezTo>
                  <a:cubicBezTo>
                    <a:pt x="339" y="293"/>
                    <a:pt x="341" y="286"/>
                    <a:pt x="344" y="286"/>
                  </a:cubicBezTo>
                  <a:cubicBezTo>
                    <a:pt x="345" y="285"/>
                    <a:pt x="346" y="287"/>
                    <a:pt x="347" y="286"/>
                  </a:cubicBezTo>
                  <a:cubicBezTo>
                    <a:pt x="348" y="285"/>
                    <a:pt x="348" y="285"/>
                    <a:pt x="348" y="285"/>
                  </a:cubicBezTo>
                  <a:cubicBezTo>
                    <a:pt x="349" y="283"/>
                    <a:pt x="349" y="283"/>
                    <a:pt x="349" y="283"/>
                  </a:cubicBezTo>
                  <a:cubicBezTo>
                    <a:pt x="350" y="277"/>
                    <a:pt x="347" y="279"/>
                    <a:pt x="346" y="278"/>
                  </a:cubicBezTo>
                  <a:cubicBezTo>
                    <a:pt x="345" y="276"/>
                    <a:pt x="345" y="272"/>
                    <a:pt x="344" y="270"/>
                  </a:cubicBezTo>
                  <a:cubicBezTo>
                    <a:pt x="347" y="276"/>
                    <a:pt x="353" y="279"/>
                    <a:pt x="360" y="278"/>
                  </a:cubicBezTo>
                  <a:cubicBezTo>
                    <a:pt x="360" y="277"/>
                    <a:pt x="360" y="277"/>
                    <a:pt x="360" y="277"/>
                  </a:cubicBezTo>
                  <a:cubicBezTo>
                    <a:pt x="362" y="276"/>
                    <a:pt x="363" y="277"/>
                    <a:pt x="364" y="276"/>
                  </a:cubicBezTo>
                  <a:cubicBezTo>
                    <a:pt x="365" y="276"/>
                    <a:pt x="364" y="273"/>
                    <a:pt x="364" y="273"/>
                  </a:cubicBezTo>
                  <a:cubicBezTo>
                    <a:pt x="365" y="273"/>
                    <a:pt x="366" y="273"/>
                    <a:pt x="366" y="273"/>
                  </a:cubicBezTo>
                  <a:cubicBezTo>
                    <a:pt x="367" y="273"/>
                    <a:pt x="367" y="274"/>
                    <a:pt x="367" y="276"/>
                  </a:cubicBezTo>
                  <a:cubicBezTo>
                    <a:pt x="367" y="275"/>
                    <a:pt x="371" y="274"/>
                    <a:pt x="370" y="274"/>
                  </a:cubicBezTo>
                  <a:cubicBezTo>
                    <a:pt x="371" y="274"/>
                    <a:pt x="372" y="274"/>
                    <a:pt x="372" y="274"/>
                  </a:cubicBezTo>
                  <a:cubicBezTo>
                    <a:pt x="373" y="274"/>
                    <a:pt x="372" y="272"/>
                    <a:pt x="373" y="272"/>
                  </a:cubicBezTo>
                  <a:cubicBezTo>
                    <a:pt x="374" y="272"/>
                    <a:pt x="374" y="271"/>
                    <a:pt x="375" y="272"/>
                  </a:cubicBezTo>
                  <a:cubicBezTo>
                    <a:pt x="375" y="272"/>
                    <a:pt x="376" y="273"/>
                    <a:pt x="376" y="274"/>
                  </a:cubicBezTo>
                  <a:cubicBezTo>
                    <a:pt x="380" y="272"/>
                    <a:pt x="379" y="273"/>
                    <a:pt x="383" y="273"/>
                  </a:cubicBezTo>
                  <a:cubicBezTo>
                    <a:pt x="384" y="271"/>
                    <a:pt x="384" y="271"/>
                    <a:pt x="384" y="271"/>
                  </a:cubicBezTo>
                  <a:cubicBezTo>
                    <a:pt x="385" y="270"/>
                    <a:pt x="385" y="272"/>
                    <a:pt x="386" y="272"/>
                  </a:cubicBezTo>
                  <a:cubicBezTo>
                    <a:pt x="387" y="271"/>
                    <a:pt x="388" y="269"/>
                    <a:pt x="390" y="269"/>
                  </a:cubicBezTo>
                  <a:cubicBezTo>
                    <a:pt x="391" y="269"/>
                    <a:pt x="392" y="269"/>
                    <a:pt x="393" y="269"/>
                  </a:cubicBezTo>
                  <a:cubicBezTo>
                    <a:pt x="395" y="269"/>
                    <a:pt x="398" y="267"/>
                    <a:pt x="400" y="266"/>
                  </a:cubicBezTo>
                  <a:cubicBezTo>
                    <a:pt x="400" y="262"/>
                    <a:pt x="400" y="262"/>
                    <a:pt x="400" y="262"/>
                  </a:cubicBezTo>
                  <a:cubicBezTo>
                    <a:pt x="401" y="261"/>
                    <a:pt x="402" y="263"/>
                    <a:pt x="402" y="264"/>
                  </a:cubicBezTo>
                  <a:cubicBezTo>
                    <a:pt x="403" y="264"/>
                    <a:pt x="404" y="263"/>
                    <a:pt x="405" y="264"/>
                  </a:cubicBezTo>
                  <a:cubicBezTo>
                    <a:pt x="406" y="261"/>
                    <a:pt x="407" y="260"/>
                    <a:pt x="409" y="258"/>
                  </a:cubicBezTo>
                  <a:cubicBezTo>
                    <a:pt x="410" y="258"/>
                    <a:pt x="410" y="258"/>
                    <a:pt x="412" y="258"/>
                  </a:cubicBezTo>
                  <a:cubicBezTo>
                    <a:pt x="411" y="258"/>
                    <a:pt x="412" y="259"/>
                    <a:pt x="412" y="260"/>
                  </a:cubicBezTo>
                  <a:cubicBezTo>
                    <a:pt x="412" y="259"/>
                    <a:pt x="414" y="258"/>
                    <a:pt x="414" y="258"/>
                  </a:cubicBezTo>
                  <a:cubicBezTo>
                    <a:pt x="415" y="257"/>
                    <a:pt x="415" y="258"/>
                    <a:pt x="416" y="258"/>
                  </a:cubicBezTo>
                  <a:cubicBezTo>
                    <a:pt x="416" y="258"/>
                    <a:pt x="417" y="256"/>
                    <a:pt x="417" y="256"/>
                  </a:cubicBezTo>
                  <a:cubicBezTo>
                    <a:pt x="419" y="255"/>
                    <a:pt x="419" y="256"/>
                    <a:pt x="421" y="256"/>
                  </a:cubicBezTo>
                  <a:cubicBezTo>
                    <a:pt x="422" y="256"/>
                    <a:pt x="424" y="254"/>
                    <a:pt x="424" y="254"/>
                  </a:cubicBezTo>
                  <a:cubicBezTo>
                    <a:pt x="425" y="254"/>
                    <a:pt x="427" y="254"/>
                    <a:pt x="428" y="254"/>
                  </a:cubicBezTo>
                  <a:cubicBezTo>
                    <a:pt x="427" y="250"/>
                    <a:pt x="428" y="250"/>
                    <a:pt x="432" y="250"/>
                  </a:cubicBezTo>
                  <a:cubicBezTo>
                    <a:pt x="432" y="249"/>
                    <a:pt x="432" y="248"/>
                    <a:pt x="431" y="247"/>
                  </a:cubicBezTo>
                  <a:cubicBezTo>
                    <a:pt x="432" y="246"/>
                    <a:pt x="434" y="245"/>
                    <a:pt x="434" y="244"/>
                  </a:cubicBezTo>
                  <a:cubicBezTo>
                    <a:pt x="436" y="244"/>
                    <a:pt x="437" y="244"/>
                    <a:pt x="438" y="244"/>
                  </a:cubicBezTo>
                  <a:cubicBezTo>
                    <a:pt x="439" y="243"/>
                    <a:pt x="439" y="241"/>
                    <a:pt x="439" y="241"/>
                  </a:cubicBezTo>
                  <a:cubicBezTo>
                    <a:pt x="434" y="242"/>
                    <a:pt x="429" y="242"/>
                    <a:pt x="425" y="240"/>
                  </a:cubicBezTo>
                  <a:cubicBezTo>
                    <a:pt x="424" y="240"/>
                    <a:pt x="422" y="238"/>
                    <a:pt x="421" y="238"/>
                  </a:cubicBezTo>
                  <a:cubicBezTo>
                    <a:pt x="419" y="238"/>
                    <a:pt x="420" y="239"/>
                    <a:pt x="418" y="238"/>
                  </a:cubicBezTo>
                  <a:cubicBezTo>
                    <a:pt x="418" y="237"/>
                    <a:pt x="418" y="237"/>
                    <a:pt x="418" y="237"/>
                  </a:cubicBezTo>
                  <a:cubicBezTo>
                    <a:pt x="414" y="237"/>
                    <a:pt x="412" y="240"/>
                    <a:pt x="410" y="240"/>
                  </a:cubicBezTo>
                  <a:cubicBezTo>
                    <a:pt x="405" y="241"/>
                    <a:pt x="403" y="240"/>
                    <a:pt x="399" y="240"/>
                  </a:cubicBezTo>
                  <a:cubicBezTo>
                    <a:pt x="411" y="232"/>
                    <a:pt x="389" y="236"/>
                    <a:pt x="384" y="237"/>
                  </a:cubicBezTo>
                  <a:cubicBezTo>
                    <a:pt x="384" y="235"/>
                    <a:pt x="383" y="234"/>
                    <a:pt x="382" y="232"/>
                  </a:cubicBezTo>
                  <a:cubicBezTo>
                    <a:pt x="383" y="232"/>
                    <a:pt x="383" y="232"/>
                    <a:pt x="383" y="231"/>
                  </a:cubicBezTo>
                  <a:cubicBezTo>
                    <a:pt x="384" y="232"/>
                    <a:pt x="385" y="230"/>
                    <a:pt x="385" y="230"/>
                  </a:cubicBezTo>
                  <a:cubicBezTo>
                    <a:pt x="385" y="232"/>
                    <a:pt x="385" y="235"/>
                    <a:pt x="386" y="236"/>
                  </a:cubicBezTo>
                  <a:cubicBezTo>
                    <a:pt x="391" y="234"/>
                    <a:pt x="397" y="233"/>
                    <a:pt x="403" y="234"/>
                  </a:cubicBezTo>
                  <a:cubicBezTo>
                    <a:pt x="403" y="234"/>
                    <a:pt x="406" y="236"/>
                    <a:pt x="408" y="235"/>
                  </a:cubicBezTo>
                  <a:cubicBezTo>
                    <a:pt x="408" y="235"/>
                    <a:pt x="409" y="234"/>
                    <a:pt x="410" y="234"/>
                  </a:cubicBezTo>
                  <a:cubicBezTo>
                    <a:pt x="409" y="232"/>
                    <a:pt x="409" y="230"/>
                    <a:pt x="408" y="228"/>
                  </a:cubicBezTo>
                  <a:cubicBezTo>
                    <a:pt x="402" y="230"/>
                    <a:pt x="399" y="229"/>
                    <a:pt x="392" y="230"/>
                  </a:cubicBezTo>
                  <a:cubicBezTo>
                    <a:pt x="391" y="230"/>
                    <a:pt x="383" y="232"/>
                    <a:pt x="386" y="229"/>
                  </a:cubicBezTo>
                  <a:cubicBezTo>
                    <a:pt x="386" y="229"/>
                    <a:pt x="388" y="227"/>
                    <a:pt x="388" y="227"/>
                  </a:cubicBezTo>
                  <a:cubicBezTo>
                    <a:pt x="388" y="226"/>
                    <a:pt x="388" y="226"/>
                    <a:pt x="388" y="226"/>
                  </a:cubicBezTo>
                  <a:cubicBezTo>
                    <a:pt x="390" y="226"/>
                    <a:pt x="390" y="227"/>
                    <a:pt x="391" y="228"/>
                  </a:cubicBezTo>
                  <a:cubicBezTo>
                    <a:pt x="394" y="228"/>
                    <a:pt x="400" y="229"/>
                    <a:pt x="402" y="228"/>
                  </a:cubicBezTo>
                  <a:cubicBezTo>
                    <a:pt x="403" y="228"/>
                    <a:pt x="405" y="226"/>
                    <a:pt x="405" y="226"/>
                  </a:cubicBezTo>
                  <a:cubicBezTo>
                    <a:pt x="407" y="226"/>
                    <a:pt x="409" y="226"/>
                    <a:pt x="411" y="226"/>
                  </a:cubicBezTo>
                  <a:cubicBezTo>
                    <a:pt x="411" y="225"/>
                    <a:pt x="411" y="225"/>
                    <a:pt x="411" y="225"/>
                  </a:cubicBezTo>
                  <a:cubicBezTo>
                    <a:pt x="410" y="224"/>
                    <a:pt x="410" y="224"/>
                    <a:pt x="410" y="222"/>
                  </a:cubicBezTo>
                  <a:cubicBezTo>
                    <a:pt x="408" y="222"/>
                    <a:pt x="405" y="222"/>
                    <a:pt x="404" y="221"/>
                  </a:cubicBezTo>
                  <a:cubicBezTo>
                    <a:pt x="403" y="219"/>
                    <a:pt x="403" y="219"/>
                    <a:pt x="403" y="219"/>
                  </a:cubicBezTo>
                  <a:cubicBezTo>
                    <a:pt x="397" y="220"/>
                    <a:pt x="390" y="220"/>
                    <a:pt x="384" y="221"/>
                  </a:cubicBezTo>
                  <a:cubicBezTo>
                    <a:pt x="384" y="220"/>
                    <a:pt x="384" y="220"/>
                    <a:pt x="384" y="220"/>
                  </a:cubicBezTo>
                  <a:cubicBezTo>
                    <a:pt x="385" y="219"/>
                    <a:pt x="386" y="219"/>
                    <a:pt x="388" y="219"/>
                  </a:cubicBezTo>
                  <a:cubicBezTo>
                    <a:pt x="387" y="218"/>
                    <a:pt x="389" y="218"/>
                    <a:pt x="388" y="216"/>
                  </a:cubicBezTo>
                  <a:cubicBezTo>
                    <a:pt x="386" y="216"/>
                    <a:pt x="386" y="216"/>
                    <a:pt x="386" y="216"/>
                  </a:cubicBezTo>
                  <a:cubicBezTo>
                    <a:pt x="385" y="215"/>
                    <a:pt x="386" y="214"/>
                    <a:pt x="386" y="213"/>
                  </a:cubicBezTo>
                  <a:cubicBezTo>
                    <a:pt x="388" y="214"/>
                    <a:pt x="389" y="215"/>
                    <a:pt x="391" y="217"/>
                  </a:cubicBezTo>
                  <a:cubicBezTo>
                    <a:pt x="395" y="216"/>
                    <a:pt x="398" y="215"/>
                    <a:pt x="402" y="216"/>
                  </a:cubicBezTo>
                  <a:cubicBezTo>
                    <a:pt x="404" y="218"/>
                    <a:pt x="404" y="218"/>
                    <a:pt x="404" y="218"/>
                  </a:cubicBezTo>
                  <a:cubicBezTo>
                    <a:pt x="405" y="218"/>
                    <a:pt x="407" y="217"/>
                    <a:pt x="408" y="218"/>
                  </a:cubicBezTo>
                  <a:cubicBezTo>
                    <a:pt x="408" y="218"/>
                    <a:pt x="408" y="221"/>
                    <a:pt x="410" y="221"/>
                  </a:cubicBezTo>
                  <a:cubicBezTo>
                    <a:pt x="412" y="222"/>
                    <a:pt x="414" y="220"/>
                    <a:pt x="417" y="222"/>
                  </a:cubicBezTo>
                  <a:cubicBezTo>
                    <a:pt x="418" y="222"/>
                    <a:pt x="418" y="224"/>
                    <a:pt x="418" y="225"/>
                  </a:cubicBezTo>
                  <a:cubicBezTo>
                    <a:pt x="420" y="228"/>
                    <a:pt x="424" y="234"/>
                    <a:pt x="427" y="236"/>
                  </a:cubicBezTo>
                  <a:cubicBezTo>
                    <a:pt x="428" y="237"/>
                    <a:pt x="431" y="238"/>
                    <a:pt x="432" y="238"/>
                  </a:cubicBezTo>
                  <a:cubicBezTo>
                    <a:pt x="432" y="239"/>
                    <a:pt x="432" y="239"/>
                    <a:pt x="432" y="239"/>
                  </a:cubicBezTo>
                  <a:cubicBezTo>
                    <a:pt x="434" y="239"/>
                    <a:pt x="433" y="237"/>
                    <a:pt x="434" y="237"/>
                  </a:cubicBezTo>
                  <a:cubicBezTo>
                    <a:pt x="436" y="236"/>
                    <a:pt x="440" y="238"/>
                    <a:pt x="442" y="239"/>
                  </a:cubicBezTo>
                  <a:cubicBezTo>
                    <a:pt x="443" y="240"/>
                    <a:pt x="443" y="240"/>
                    <a:pt x="443" y="240"/>
                  </a:cubicBezTo>
                  <a:cubicBezTo>
                    <a:pt x="446" y="237"/>
                    <a:pt x="443" y="236"/>
                    <a:pt x="441" y="235"/>
                  </a:cubicBezTo>
                  <a:cubicBezTo>
                    <a:pt x="442" y="234"/>
                    <a:pt x="443" y="234"/>
                    <a:pt x="443" y="234"/>
                  </a:cubicBezTo>
                  <a:cubicBezTo>
                    <a:pt x="444" y="233"/>
                    <a:pt x="442" y="233"/>
                    <a:pt x="443" y="232"/>
                  </a:cubicBezTo>
                  <a:cubicBezTo>
                    <a:pt x="445" y="231"/>
                    <a:pt x="443" y="225"/>
                    <a:pt x="441" y="224"/>
                  </a:cubicBezTo>
                  <a:cubicBezTo>
                    <a:pt x="440" y="224"/>
                    <a:pt x="440" y="224"/>
                    <a:pt x="440" y="224"/>
                  </a:cubicBezTo>
                  <a:cubicBezTo>
                    <a:pt x="439" y="223"/>
                    <a:pt x="440" y="222"/>
                    <a:pt x="439" y="220"/>
                  </a:cubicBezTo>
                  <a:cubicBezTo>
                    <a:pt x="439" y="221"/>
                    <a:pt x="438" y="220"/>
                    <a:pt x="437" y="220"/>
                  </a:cubicBezTo>
                  <a:cubicBezTo>
                    <a:pt x="437" y="222"/>
                    <a:pt x="438" y="222"/>
                    <a:pt x="436" y="222"/>
                  </a:cubicBezTo>
                  <a:cubicBezTo>
                    <a:pt x="436" y="222"/>
                    <a:pt x="436" y="219"/>
                    <a:pt x="436" y="219"/>
                  </a:cubicBezTo>
                  <a:cubicBezTo>
                    <a:pt x="437" y="219"/>
                    <a:pt x="437" y="219"/>
                    <a:pt x="437" y="218"/>
                  </a:cubicBezTo>
                  <a:cubicBezTo>
                    <a:pt x="435" y="218"/>
                    <a:pt x="435" y="218"/>
                    <a:pt x="433" y="218"/>
                  </a:cubicBezTo>
                  <a:cubicBezTo>
                    <a:pt x="433" y="217"/>
                    <a:pt x="434" y="217"/>
                    <a:pt x="434" y="216"/>
                  </a:cubicBezTo>
                  <a:cubicBezTo>
                    <a:pt x="433" y="215"/>
                    <a:pt x="431" y="213"/>
                    <a:pt x="430" y="212"/>
                  </a:cubicBezTo>
                  <a:cubicBezTo>
                    <a:pt x="429" y="212"/>
                    <a:pt x="428" y="213"/>
                    <a:pt x="426" y="212"/>
                  </a:cubicBezTo>
                  <a:cubicBezTo>
                    <a:pt x="425" y="211"/>
                    <a:pt x="423" y="208"/>
                    <a:pt x="421" y="208"/>
                  </a:cubicBezTo>
                  <a:cubicBezTo>
                    <a:pt x="418" y="207"/>
                    <a:pt x="415" y="208"/>
                    <a:pt x="412" y="208"/>
                  </a:cubicBezTo>
                  <a:cubicBezTo>
                    <a:pt x="412" y="207"/>
                    <a:pt x="412" y="207"/>
                    <a:pt x="412" y="207"/>
                  </a:cubicBezTo>
                  <a:cubicBezTo>
                    <a:pt x="414" y="206"/>
                    <a:pt x="416" y="206"/>
                    <a:pt x="418" y="206"/>
                  </a:cubicBezTo>
                  <a:cubicBezTo>
                    <a:pt x="416" y="204"/>
                    <a:pt x="416" y="202"/>
                    <a:pt x="413" y="201"/>
                  </a:cubicBezTo>
                  <a:cubicBezTo>
                    <a:pt x="412" y="201"/>
                    <a:pt x="411" y="202"/>
                    <a:pt x="412" y="202"/>
                  </a:cubicBezTo>
                  <a:cubicBezTo>
                    <a:pt x="411" y="202"/>
                    <a:pt x="410" y="204"/>
                    <a:pt x="410" y="204"/>
                  </a:cubicBezTo>
                  <a:cubicBezTo>
                    <a:pt x="408" y="204"/>
                    <a:pt x="406" y="204"/>
                    <a:pt x="406" y="204"/>
                  </a:cubicBezTo>
                  <a:cubicBezTo>
                    <a:pt x="406" y="204"/>
                    <a:pt x="405" y="206"/>
                    <a:pt x="405" y="206"/>
                  </a:cubicBezTo>
                  <a:cubicBezTo>
                    <a:pt x="404" y="206"/>
                    <a:pt x="402" y="206"/>
                    <a:pt x="402" y="205"/>
                  </a:cubicBezTo>
                  <a:cubicBezTo>
                    <a:pt x="402" y="205"/>
                    <a:pt x="402" y="204"/>
                    <a:pt x="402" y="203"/>
                  </a:cubicBezTo>
                  <a:cubicBezTo>
                    <a:pt x="401" y="203"/>
                    <a:pt x="400" y="202"/>
                    <a:pt x="400" y="202"/>
                  </a:cubicBezTo>
                  <a:cubicBezTo>
                    <a:pt x="400" y="202"/>
                    <a:pt x="398" y="203"/>
                    <a:pt x="398" y="202"/>
                  </a:cubicBezTo>
                  <a:cubicBezTo>
                    <a:pt x="397" y="202"/>
                    <a:pt x="398" y="200"/>
                    <a:pt x="398" y="200"/>
                  </a:cubicBezTo>
                  <a:cubicBezTo>
                    <a:pt x="397" y="199"/>
                    <a:pt x="397" y="199"/>
                    <a:pt x="396" y="199"/>
                  </a:cubicBezTo>
                  <a:cubicBezTo>
                    <a:pt x="395" y="198"/>
                    <a:pt x="396" y="198"/>
                    <a:pt x="395" y="197"/>
                  </a:cubicBezTo>
                  <a:cubicBezTo>
                    <a:pt x="395" y="196"/>
                    <a:pt x="395" y="196"/>
                    <a:pt x="395" y="196"/>
                  </a:cubicBezTo>
                  <a:cubicBezTo>
                    <a:pt x="396" y="196"/>
                    <a:pt x="397" y="196"/>
                    <a:pt x="398" y="196"/>
                  </a:cubicBezTo>
                  <a:cubicBezTo>
                    <a:pt x="401" y="194"/>
                    <a:pt x="399" y="195"/>
                    <a:pt x="400" y="194"/>
                  </a:cubicBezTo>
                  <a:cubicBezTo>
                    <a:pt x="398" y="194"/>
                    <a:pt x="398" y="193"/>
                    <a:pt x="398" y="193"/>
                  </a:cubicBezTo>
                  <a:cubicBezTo>
                    <a:pt x="401" y="193"/>
                    <a:pt x="403" y="194"/>
                    <a:pt x="406" y="193"/>
                  </a:cubicBezTo>
                  <a:cubicBezTo>
                    <a:pt x="408" y="193"/>
                    <a:pt x="409" y="190"/>
                    <a:pt x="411" y="190"/>
                  </a:cubicBezTo>
                  <a:cubicBezTo>
                    <a:pt x="411" y="190"/>
                    <a:pt x="412" y="190"/>
                    <a:pt x="413" y="190"/>
                  </a:cubicBezTo>
                  <a:cubicBezTo>
                    <a:pt x="413" y="190"/>
                    <a:pt x="414" y="188"/>
                    <a:pt x="414" y="188"/>
                  </a:cubicBezTo>
                  <a:cubicBezTo>
                    <a:pt x="415" y="187"/>
                    <a:pt x="417" y="187"/>
                    <a:pt x="418" y="187"/>
                  </a:cubicBezTo>
                  <a:cubicBezTo>
                    <a:pt x="418" y="186"/>
                    <a:pt x="418" y="184"/>
                    <a:pt x="418" y="183"/>
                  </a:cubicBezTo>
                  <a:cubicBezTo>
                    <a:pt x="419" y="183"/>
                    <a:pt x="420" y="183"/>
                    <a:pt x="421" y="183"/>
                  </a:cubicBezTo>
                  <a:cubicBezTo>
                    <a:pt x="420" y="185"/>
                    <a:pt x="419" y="187"/>
                    <a:pt x="421" y="188"/>
                  </a:cubicBezTo>
                  <a:cubicBezTo>
                    <a:pt x="423" y="189"/>
                    <a:pt x="425" y="189"/>
                    <a:pt x="427" y="189"/>
                  </a:cubicBezTo>
                  <a:cubicBezTo>
                    <a:pt x="429" y="190"/>
                    <a:pt x="429" y="190"/>
                    <a:pt x="429" y="190"/>
                  </a:cubicBezTo>
                  <a:cubicBezTo>
                    <a:pt x="430" y="191"/>
                    <a:pt x="432" y="190"/>
                    <a:pt x="433" y="190"/>
                  </a:cubicBezTo>
                  <a:cubicBezTo>
                    <a:pt x="434" y="191"/>
                    <a:pt x="436" y="192"/>
                    <a:pt x="436" y="192"/>
                  </a:cubicBezTo>
                  <a:cubicBezTo>
                    <a:pt x="439" y="193"/>
                    <a:pt x="443" y="190"/>
                    <a:pt x="445" y="189"/>
                  </a:cubicBezTo>
                  <a:cubicBezTo>
                    <a:pt x="445" y="189"/>
                    <a:pt x="445" y="187"/>
                    <a:pt x="445" y="187"/>
                  </a:cubicBezTo>
                  <a:cubicBezTo>
                    <a:pt x="447" y="186"/>
                    <a:pt x="451" y="186"/>
                    <a:pt x="452" y="186"/>
                  </a:cubicBezTo>
                  <a:cubicBezTo>
                    <a:pt x="451" y="185"/>
                    <a:pt x="452" y="181"/>
                    <a:pt x="452" y="181"/>
                  </a:cubicBezTo>
                  <a:cubicBezTo>
                    <a:pt x="451" y="180"/>
                    <a:pt x="450" y="181"/>
                    <a:pt x="449" y="181"/>
                  </a:cubicBezTo>
                  <a:cubicBezTo>
                    <a:pt x="443" y="180"/>
                    <a:pt x="444" y="176"/>
                    <a:pt x="441" y="183"/>
                  </a:cubicBezTo>
                  <a:cubicBezTo>
                    <a:pt x="441" y="182"/>
                    <a:pt x="440" y="180"/>
                    <a:pt x="439" y="179"/>
                  </a:cubicBezTo>
                  <a:cubicBezTo>
                    <a:pt x="439" y="179"/>
                    <a:pt x="438" y="179"/>
                    <a:pt x="437" y="179"/>
                  </a:cubicBezTo>
                  <a:cubicBezTo>
                    <a:pt x="434" y="178"/>
                    <a:pt x="438" y="175"/>
                    <a:pt x="438" y="174"/>
                  </a:cubicBezTo>
                  <a:cubicBezTo>
                    <a:pt x="438" y="173"/>
                    <a:pt x="438" y="171"/>
                    <a:pt x="438" y="169"/>
                  </a:cubicBezTo>
                  <a:cubicBezTo>
                    <a:pt x="440" y="170"/>
                    <a:pt x="442" y="172"/>
                    <a:pt x="443" y="172"/>
                  </a:cubicBezTo>
                  <a:cubicBezTo>
                    <a:pt x="447" y="173"/>
                    <a:pt x="451" y="172"/>
                    <a:pt x="455" y="173"/>
                  </a:cubicBezTo>
                  <a:cubicBezTo>
                    <a:pt x="457" y="174"/>
                    <a:pt x="458" y="177"/>
                    <a:pt x="462" y="176"/>
                  </a:cubicBezTo>
                  <a:cubicBezTo>
                    <a:pt x="462" y="176"/>
                    <a:pt x="464" y="174"/>
                    <a:pt x="464" y="174"/>
                  </a:cubicBezTo>
                  <a:cubicBezTo>
                    <a:pt x="465" y="175"/>
                    <a:pt x="465" y="172"/>
                    <a:pt x="465" y="171"/>
                  </a:cubicBezTo>
                  <a:cubicBezTo>
                    <a:pt x="463" y="171"/>
                    <a:pt x="461" y="170"/>
                    <a:pt x="459" y="170"/>
                  </a:cubicBezTo>
                  <a:cubicBezTo>
                    <a:pt x="457" y="171"/>
                    <a:pt x="457" y="171"/>
                    <a:pt x="457" y="171"/>
                  </a:cubicBezTo>
                  <a:cubicBezTo>
                    <a:pt x="455" y="171"/>
                    <a:pt x="452" y="171"/>
                    <a:pt x="449" y="171"/>
                  </a:cubicBezTo>
                  <a:cubicBezTo>
                    <a:pt x="450" y="169"/>
                    <a:pt x="450" y="169"/>
                    <a:pt x="450" y="169"/>
                  </a:cubicBezTo>
                  <a:cubicBezTo>
                    <a:pt x="452" y="169"/>
                    <a:pt x="453" y="164"/>
                    <a:pt x="447" y="166"/>
                  </a:cubicBezTo>
                  <a:cubicBezTo>
                    <a:pt x="447" y="168"/>
                    <a:pt x="447" y="168"/>
                    <a:pt x="447" y="168"/>
                  </a:cubicBezTo>
                  <a:cubicBezTo>
                    <a:pt x="446" y="168"/>
                    <a:pt x="443" y="167"/>
                    <a:pt x="443" y="167"/>
                  </a:cubicBezTo>
                  <a:cubicBezTo>
                    <a:pt x="445" y="167"/>
                    <a:pt x="446" y="167"/>
                    <a:pt x="447" y="164"/>
                  </a:cubicBezTo>
                  <a:cubicBezTo>
                    <a:pt x="448" y="163"/>
                    <a:pt x="449" y="163"/>
                    <a:pt x="449" y="163"/>
                  </a:cubicBezTo>
                  <a:cubicBezTo>
                    <a:pt x="446" y="158"/>
                    <a:pt x="446" y="159"/>
                    <a:pt x="440" y="157"/>
                  </a:cubicBezTo>
                  <a:cubicBezTo>
                    <a:pt x="441" y="155"/>
                    <a:pt x="441" y="155"/>
                    <a:pt x="441" y="155"/>
                  </a:cubicBezTo>
                  <a:cubicBezTo>
                    <a:pt x="441" y="155"/>
                    <a:pt x="444" y="155"/>
                    <a:pt x="443" y="156"/>
                  </a:cubicBezTo>
                  <a:cubicBezTo>
                    <a:pt x="443" y="156"/>
                    <a:pt x="444" y="157"/>
                    <a:pt x="444" y="157"/>
                  </a:cubicBezTo>
                  <a:cubicBezTo>
                    <a:pt x="446" y="157"/>
                    <a:pt x="448" y="158"/>
                    <a:pt x="450" y="157"/>
                  </a:cubicBezTo>
                  <a:cubicBezTo>
                    <a:pt x="451" y="157"/>
                    <a:pt x="451" y="155"/>
                    <a:pt x="453" y="156"/>
                  </a:cubicBezTo>
                  <a:cubicBezTo>
                    <a:pt x="453" y="156"/>
                    <a:pt x="453" y="158"/>
                    <a:pt x="453" y="158"/>
                  </a:cubicBezTo>
                  <a:cubicBezTo>
                    <a:pt x="455" y="159"/>
                    <a:pt x="455" y="159"/>
                    <a:pt x="455" y="159"/>
                  </a:cubicBezTo>
                  <a:cubicBezTo>
                    <a:pt x="455" y="159"/>
                    <a:pt x="455" y="159"/>
                    <a:pt x="455" y="159"/>
                  </a:cubicBezTo>
                  <a:cubicBezTo>
                    <a:pt x="455" y="159"/>
                    <a:pt x="457" y="159"/>
                    <a:pt x="457" y="159"/>
                  </a:cubicBezTo>
                  <a:cubicBezTo>
                    <a:pt x="459" y="154"/>
                    <a:pt x="458" y="151"/>
                    <a:pt x="457" y="145"/>
                  </a:cubicBezTo>
                  <a:cubicBezTo>
                    <a:pt x="454" y="145"/>
                    <a:pt x="454" y="145"/>
                    <a:pt x="454" y="145"/>
                  </a:cubicBezTo>
                  <a:cubicBezTo>
                    <a:pt x="454" y="144"/>
                    <a:pt x="455" y="144"/>
                    <a:pt x="455" y="143"/>
                  </a:cubicBezTo>
                  <a:cubicBezTo>
                    <a:pt x="456" y="142"/>
                    <a:pt x="455" y="140"/>
                    <a:pt x="455" y="139"/>
                  </a:cubicBezTo>
                  <a:cubicBezTo>
                    <a:pt x="449" y="138"/>
                    <a:pt x="450" y="139"/>
                    <a:pt x="447" y="143"/>
                  </a:cubicBezTo>
                  <a:cubicBezTo>
                    <a:pt x="445" y="142"/>
                    <a:pt x="446" y="142"/>
                    <a:pt x="445" y="141"/>
                  </a:cubicBezTo>
                  <a:cubicBezTo>
                    <a:pt x="444" y="141"/>
                    <a:pt x="442" y="141"/>
                    <a:pt x="441" y="141"/>
                  </a:cubicBezTo>
                  <a:cubicBezTo>
                    <a:pt x="442" y="141"/>
                    <a:pt x="441" y="138"/>
                    <a:pt x="441" y="138"/>
                  </a:cubicBezTo>
                  <a:cubicBezTo>
                    <a:pt x="443" y="138"/>
                    <a:pt x="443" y="139"/>
                    <a:pt x="445" y="139"/>
                  </a:cubicBezTo>
                  <a:cubicBezTo>
                    <a:pt x="445" y="139"/>
                    <a:pt x="446" y="137"/>
                    <a:pt x="446" y="137"/>
                  </a:cubicBezTo>
                  <a:cubicBezTo>
                    <a:pt x="448" y="135"/>
                    <a:pt x="449" y="135"/>
                    <a:pt x="447" y="133"/>
                  </a:cubicBezTo>
                  <a:cubicBezTo>
                    <a:pt x="448" y="133"/>
                    <a:pt x="449" y="131"/>
                    <a:pt x="446" y="131"/>
                  </a:cubicBezTo>
                  <a:cubicBezTo>
                    <a:pt x="446" y="131"/>
                    <a:pt x="447" y="129"/>
                    <a:pt x="447" y="129"/>
                  </a:cubicBezTo>
                  <a:cubicBezTo>
                    <a:pt x="451" y="130"/>
                    <a:pt x="456" y="129"/>
                    <a:pt x="460" y="131"/>
                  </a:cubicBezTo>
                  <a:cubicBezTo>
                    <a:pt x="461" y="131"/>
                    <a:pt x="463" y="133"/>
                    <a:pt x="464" y="133"/>
                  </a:cubicBezTo>
                  <a:cubicBezTo>
                    <a:pt x="466" y="134"/>
                    <a:pt x="469" y="133"/>
                    <a:pt x="470" y="133"/>
                  </a:cubicBezTo>
                  <a:cubicBezTo>
                    <a:pt x="469" y="131"/>
                    <a:pt x="469" y="131"/>
                    <a:pt x="469" y="131"/>
                  </a:cubicBezTo>
                  <a:cubicBezTo>
                    <a:pt x="470" y="127"/>
                    <a:pt x="469" y="129"/>
                    <a:pt x="468" y="126"/>
                  </a:cubicBezTo>
                  <a:cubicBezTo>
                    <a:pt x="468" y="125"/>
                    <a:pt x="468" y="124"/>
                    <a:pt x="467" y="123"/>
                  </a:cubicBezTo>
                  <a:cubicBezTo>
                    <a:pt x="467" y="122"/>
                    <a:pt x="466" y="122"/>
                    <a:pt x="465" y="121"/>
                  </a:cubicBezTo>
                  <a:cubicBezTo>
                    <a:pt x="466" y="121"/>
                    <a:pt x="464" y="120"/>
                    <a:pt x="464" y="120"/>
                  </a:cubicBezTo>
                  <a:cubicBezTo>
                    <a:pt x="464" y="120"/>
                    <a:pt x="462" y="120"/>
                    <a:pt x="462" y="120"/>
                  </a:cubicBezTo>
                  <a:cubicBezTo>
                    <a:pt x="462" y="120"/>
                    <a:pt x="462" y="123"/>
                    <a:pt x="461" y="123"/>
                  </a:cubicBezTo>
                  <a:cubicBezTo>
                    <a:pt x="459" y="123"/>
                    <a:pt x="459" y="122"/>
                    <a:pt x="457" y="122"/>
                  </a:cubicBezTo>
                  <a:cubicBezTo>
                    <a:pt x="456" y="122"/>
                    <a:pt x="455" y="122"/>
                    <a:pt x="453" y="123"/>
                  </a:cubicBezTo>
                  <a:cubicBezTo>
                    <a:pt x="453" y="121"/>
                    <a:pt x="453" y="117"/>
                    <a:pt x="453" y="115"/>
                  </a:cubicBezTo>
                  <a:cubicBezTo>
                    <a:pt x="456" y="116"/>
                    <a:pt x="457" y="117"/>
                    <a:pt x="459" y="117"/>
                  </a:cubicBezTo>
                  <a:cubicBezTo>
                    <a:pt x="465" y="115"/>
                    <a:pt x="458" y="114"/>
                    <a:pt x="456" y="113"/>
                  </a:cubicBezTo>
                  <a:cubicBezTo>
                    <a:pt x="456" y="112"/>
                    <a:pt x="455" y="111"/>
                    <a:pt x="455" y="111"/>
                  </a:cubicBezTo>
                  <a:cubicBezTo>
                    <a:pt x="453" y="110"/>
                    <a:pt x="451" y="112"/>
                    <a:pt x="450" y="112"/>
                  </a:cubicBezTo>
                  <a:cubicBezTo>
                    <a:pt x="448" y="112"/>
                    <a:pt x="445" y="110"/>
                    <a:pt x="443" y="109"/>
                  </a:cubicBezTo>
                  <a:cubicBezTo>
                    <a:pt x="444" y="110"/>
                    <a:pt x="441" y="111"/>
                    <a:pt x="441" y="111"/>
                  </a:cubicBezTo>
                  <a:cubicBezTo>
                    <a:pt x="440" y="110"/>
                    <a:pt x="439" y="108"/>
                    <a:pt x="441" y="109"/>
                  </a:cubicBezTo>
                  <a:cubicBezTo>
                    <a:pt x="441" y="107"/>
                    <a:pt x="441" y="106"/>
                    <a:pt x="441" y="105"/>
                  </a:cubicBezTo>
                  <a:cubicBezTo>
                    <a:pt x="447" y="106"/>
                    <a:pt x="450" y="107"/>
                    <a:pt x="454" y="109"/>
                  </a:cubicBezTo>
                  <a:cubicBezTo>
                    <a:pt x="454" y="107"/>
                    <a:pt x="455" y="104"/>
                    <a:pt x="455" y="103"/>
                  </a:cubicBezTo>
                  <a:cubicBezTo>
                    <a:pt x="456" y="101"/>
                    <a:pt x="460" y="100"/>
                    <a:pt x="461" y="99"/>
                  </a:cubicBezTo>
                  <a:cubicBezTo>
                    <a:pt x="461" y="98"/>
                    <a:pt x="460" y="98"/>
                    <a:pt x="461" y="97"/>
                  </a:cubicBezTo>
                  <a:cubicBezTo>
                    <a:pt x="461" y="97"/>
                    <a:pt x="462" y="94"/>
                    <a:pt x="461" y="93"/>
                  </a:cubicBezTo>
                  <a:cubicBezTo>
                    <a:pt x="465" y="90"/>
                    <a:pt x="466" y="89"/>
                    <a:pt x="461" y="86"/>
                  </a:cubicBezTo>
                  <a:cubicBezTo>
                    <a:pt x="464" y="85"/>
                    <a:pt x="468" y="85"/>
                    <a:pt x="473" y="85"/>
                  </a:cubicBezTo>
                  <a:cubicBezTo>
                    <a:pt x="474" y="84"/>
                    <a:pt x="473" y="82"/>
                    <a:pt x="473" y="81"/>
                  </a:cubicBezTo>
                  <a:cubicBezTo>
                    <a:pt x="479" y="77"/>
                    <a:pt x="482" y="75"/>
                    <a:pt x="472" y="73"/>
                  </a:cubicBezTo>
                  <a:cubicBezTo>
                    <a:pt x="470" y="73"/>
                    <a:pt x="467" y="72"/>
                    <a:pt x="464" y="73"/>
                  </a:cubicBezTo>
                  <a:cubicBezTo>
                    <a:pt x="463" y="73"/>
                    <a:pt x="463" y="75"/>
                    <a:pt x="462" y="75"/>
                  </a:cubicBezTo>
                  <a:cubicBezTo>
                    <a:pt x="459" y="76"/>
                    <a:pt x="457" y="77"/>
                    <a:pt x="455" y="78"/>
                  </a:cubicBezTo>
                  <a:cubicBezTo>
                    <a:pt x="455" y="76"/>
                    <a:pt x="455" y="76"/>
                    <a:pt x="454" y="75"/>
                  </a:cubicBezTo>
                  <a:cubicBezTo>
                    <a:pt x="453" y="73"/>
                    <a:pt x="451" y="71"/>
                    <a:pt x="453" y="69"/>
                  </a:cubicBezTo>
                  <a:cubicBezTo>
                    <a:pt x="459" y="66"/>
                    <a:pt x="468" y="70"/>
                    <a:pt x="473" y="71"/>
                  </a:cubicBezTo>
                  <a:cubicBezTo>
                    <a:pt x="476" y="71"/>
                    <a:pt x="478" y="71"/>
                    <a:pt x="481" y="71"/>
                  </a:cubicBezTo>
                  <a:cubicBezTo>
                    <a:pt x="481" y="71"/>
                    <a:pt x="483" y="72"/>
                    <a:pt x="484" y="71"/>
                  </a:cubicBezTo>
                  <a:cubicBezTo>
                    <a:pt x="485" y="71"/>
                    <a:pt x="491" y="64"/>
                    <a:pt x="492" y="63"/>
                  </a:cubicBezTo>
                  <a:cubicBezTo>
                    <a:pt x="493" y="63"/>
                    <a:pt x="492" y="61"/>
                    <a:pt x="493" y="61"/>
                  </a:cubicBezTo>
                  <a:cubicBezTo>
                    <a:pt x="490" y="61"/>
                    <a:pt x="487" y="60"/>
                    <a:pt x="485" y="60"/>
                  </a:cubicBezTo>
                  <a:cubicBezTo>
                    <a:pt x="485" y="60"/>
                    <a:pt x="484" y="63"/>
                    <a:pt x="483" y="63"/>
                  </a:cubicBezTo>
                  <a:cubicBezTo>
                    <a:pt x="482" y="63"/>
                    <a:pt x="480" y="62"/>
                    <a:pt x="478" y="62"/>
                  </a:cubicBezTo>
                  <a:cubicBezTo>
                    <a:pt x="476" y="62"/>
                    <a:pt x="472" y="64"/>
                    <a:pt x="469" y="64"/>
                  </a:cubicBezTo>
                  <a:cubicBezTo>
                    <a:pt x="468" y="64"/>
                    <a:pt x="465" y="62"/>
                    <a:pt x="464" y="61"/>
                  </a:cubicBezTo>
                  <a:cubicBezTo>
                    <a:pt x="467" y="61"/>
                    <a:pt x="470" y="61"/>
                    <a:pt x="472" y="60"/>
                  </a:cubicBezTo>
                  <a:cubicBezTo>
                    <a:pt x="472" y="60"/>
                    <a:pt x="473" y="58"/>
                    <a:pt x="473" y="58"/>
                  </a:cubicBezTo>
                  <a:cubicBezTo>
                    <a:pt x="477" y="57"/>
                    <a:pt x="481" y="60"/>
                    <a:pt x="485" y="60"/>
                  </a:cubicBezTo>
                  <a:cubicBezTo>
                    <a:pt x="486" y="59"/>
                    <a:pt x="487" y="58"/>
                    <a:pt x="489" y="58"/>
                  </a:cubicBezTo>
                  <a:cubicBezTo>
                    <a:pt x="490" y="58"/>
                    <a:pt x="494" y="60"/>
                    <a:pt x="495" y="60"/>
                  </a:cubicBezTo>
                  <a:cubicBezTo>
                    <a:pt x="495" y="59"/>
                    <a:pt x="496" y="57"/>
                    <a:pt x="497" y="57"/>
                  </a:cubicBezTo>
                  <a:cubicBezTo>
                    <a:pt x="499" y="56"/>
                    <a:pt x="502" y="56"/>
                    <a:pt x="505" y="56"/>
                  </a:cubicBezTo>
                  <a:cubicBezTo>
                    <a:pt x="505" y="54"/>
                    <a:pt x="504" y="53"/>
                    <a:pt x="505" y="52"/>
                  </a:cubicBezTo>
                  <a:cubicBezTo>
                    <a:pt x="506" y="52"/>
                    <a:pt x="508" y="52"/>
                    <a:pt x="509" y="52"/>
                  </a:cubicBezTo>
                  <a:cubicBezTo>
                    <a:pt x="511" y="52"/>
                    <a:pt x="512" y="49"/>
                    <a:pt x="513" y="49"/>
                  </a:cubicBezTo>
                  <a:cubicBezTo>
                    <a:pt x="515" y="48"/>
                    <a:pt x="516" y="50"/>
                    <a:pt x="519" y="50"/>
                  </a:cubicBezTo>
                  <a:cubicBezTo>
                    <a:pt x="519" y="49"/>
                    <a:pt x="520" y="48"/>
                    <a:pt x="521" y="48"/>
                  </a:cubicBezTo>
                  <a:cubicBezTo>
                    <a:pt x="519" y="46"/>
                    <a:pt x="518" y="43"/>
                    <a:pt x="516" y="43"/>
                  </a:cubicBezTo>
                  <a:cubicBezTo>
                    <a:pt x="513" y="42"/>
                    <a:pt x="507" y="44"/>
                    <a:pt x="505" y="44"/>
                  </a:cubicBezTo>
                  <a:cubicBezTo>
                    <a:pt x="502" y="43"/>
                    <a:pt x="495" y="41"/>
                    <a:pt x="491" y="41"/>
                  </a:cubicBezTo>
                  <a:cubicBezTo>
                    <a:pt x="487" y="40"/>
                    <a:pt x="485" y="42"/>
                    <a:pt x="481" y="42"/>
                  </a:cubicBezTo>
                  <a:cubicBezTo>
                    <a:pt x="481" y="42"/>
                    <a:pt x="476" y="40"/>
                    <a:pt x="475" y="41"/>
                  </a:cubicBezTo>
                  <a:cubicBezTo>
                    <a:pt x="474" y="44"/>
                    <a:pt x="474" y="44"/>
                    <a:pt x="474" y="44"/>
                  </a:cubicBezTo>
                  <a:cubicBezTo>
                    <a:pt x="470" y="45"/>
                    <a:pt x="468" y="45"/>
                    <a:pt x="465" y="46"/>
                  </a:cubicBezTo>
                  <a:cubicBezTo>
                    <a:pt x="465" y="46"/>
                    <a:pt x="465" y="48"/>
                    <a:pt x="465" y="48"/>
                  </a:cubicBezTo>
                  <a:cubicBezTo>
                    <a:pt x="463" y="49"/>
                    <a:pt x="463" y="47"/>
                    <a:pt x="462" y="47"/>
                  </a:cubicBezTo>
                  <a:cubicBezTo>
                    <a:pt x="458" y="45"/>
                    <a:pt x="458" y="45"/>
                    <a:pt x="455" y="48"/>
                  </a:cubicBezTo>
                  <a:cubicBezTo>
                    <a:pt x="454" y="46"/>
                    <a:pt x="454" y="45"/>
                    <a:pt x="453" y="43"/>
                  </a:cubicBezTo>
                  <a:cubicBezTo>
                    <a:pt x="451" y="44"/>
                    <a:pt x="446" y="49"/>
                    <a:pt x="444" y="50"/>
                  </a:cubicBezTo>
                  <a:cubicBezTo>
                    <a:pt x="443" y="50"/>
                    <a:pt x="442" y="49"/>
                    <a:pt x="441" y="50"/>
                  </a:cubicBezTo>
                  <a:cubicBezTo>
                    <a:pt x="439" y="50"/>
                    <a:pt x="439" y="53"/>
                    <a:pt x="437" y="54"/>
                  </a:cubicBezTo>
                  <a:cubicBezTo>
                    <a:pt x="435" y="55"/>
                    <a:pt x="429" y="56"/>
                    <a:pt x="425" y="56"/>
                  </a:cubicBezTo>
                  <a:cubicBezTo>
                    <a:pt x="425" y="55"/>
                    <a:pt x="423" y="55"/>
                    <a:pt x="421" y="55"/>
                  </a:cubicBezTo>
                  <a:cubicBezTo>
                    <a:pt x="421" y="55"/>
                    <a:pt x="420" y="56"/>
                    <a:pt x="419" y="56"/>
                  </a:cubicBezTo>
                  <a:cubicBezTo>
                    <a:pt x="418" y="56"/>
                    <a:pt x="416" y="54"/>
                    <a:pt x="416" y="54"/>
                  </a:cubicBezTo>
                  <a:cubicBezTo>
                    <a:pt x="418" y="53"/>
                    <a:pt x="419" y="51"/>
                    <a:pt x="423" y="51"/>
                  </a:cubicBezTo>
                  <a:cubicBezTo>
                    <a:pt x="423" y="51"/>
                    <a:pt x="425" y="52"/>
                    <a:pt x="426" y="52"/>
                  </a:cubicBezTo>
                  <a:cubicBezTo>
                    <a:pt x="427" y="51"/>
                    <a:pt x="427" y="50"/>
                    <a:pt x="427" y="50"/>
                  </a:cubicBezTo>
                  <a:cubicBezTo>
                    <a:pt x="429" y="49"/>
                    <a:pt x="431" y="49"/>
                    <a:pt x="432" y="48"/>
                  </a:cubicBezTo>
                  <a:cubicBezTo>
                    <a:pt x="433" y="48"/>
                    <a:pt x="437" y="41"/>
                    <a:pt x="437" y="40"/>
                  </a:cubicBezTo>
                  <a:cubicBezTo>
                    <a:pt x="438" y="38"/>
                    <a:pt x="437" y="39"/>
                    <a:pt x="437" y="37"/>
                  </a:cubicBezTo>
                  <a:cubicBezTo>
                    <a:pt x="433" y="37"/>
                    <a:pt x="429" y="38"/>
                    <a:pt x="426" y="38"/>
                  </a:cubicBezTo>
                  <a:cubicBezTo>
                    <a:pt x="426" y="38"/>
                    <a:pt x="423" y="36"/>
                    <a:pt x="421" y="37"/>
                  </a:cubicBezTo>
                  <a:cubicBezTo>
                    <a:pt x="421" y="37"/>
                    <a:pt x="421" y="38"/>
                    <a:pt x="420" y="38"/>
                  </a:cubicBezTo>
                  <a:cubicBezTo>
                    <a:pt x="420" y="40"/>
                    <a:pt x="420" y="42"/>
                    <a:pt x="420" y="44"/>
                  </a:cubicBezTo>
                  <a:cubicBezTo>
                    <a:pt x="415" y="43"/>
                    <a:pt x="407" y="44"/>
                    <a:pt x="400" y="44"/>
                  </a:cubicBezTo>
                  <a:cubicBezTo>
                    <a:pt x="400" y="43"/>
                    <a:pt x="401" y="43"/>
                    <a:pt x="402" y="43"/>
                  </a:cubicBezTo>
                  <a:cubicBezTo>
                    <a:pt x="402" y="41"/>
                    <a:pt x="401" y="39"/>
                    <a:pt x="402" y="38"/>
                  </a:cubicBezTo>
                  <a:cubicBezTo>
                    <a:pt x="400" y="37"/>
                    <a:pt x="400" y="38"/>
                    <a:pt x="400" y="37"/>
                  </a:cubicBezTo>
                  <a:cubicBezTo>
                    <a:pt x="393" y="37"/>
                    <a:pt x="386" y="37"/>
                    <a:pt x="378" y="38"/>
                  </a:cubicBezTo>
                  <a:cubicBezTo>
                    <a:pt x="378" y="38"/>
                    <a:pt x="374" y="39"/>
                    <a:pt x="374" y="39"/>
                  </a:cubicBezTo>
                  <a:cubicBezTo>
                    <a:pt x="371" y="39"/>
                    <a:pt x="369" y="38"/>
                    <a:pt x="368" y="38"/>
                  </a:cubicBezTo>
                  <a:cubicBezTo>
                    <a:pt x="365" y="37"/>
                    <a:pt x="365" y="39"/>
                    <a:pt x="364" y="39"/>
                  </a:cubicBezTo>
                  <a:cubicBezTo>
                    <a:pt x="362" y="39"/>
                    <a:pt x="362" y="38"/>
                    <a:pt x="360" y="38"/>
                  </a:cubicBezTo>
                  <a:cubicBezTo>
                    <a:pt x="357" y="39"/>
                    <a:pt x="353" y="42"/>
                    <a:pt x="350" y="43"/>
                  </a:cubicBezTo>
                  <a:cubicBezTo>
                    <a:pt x="348" y="43"/>
                    <a:pt x="345" y="42"/>
                    <a:pt x="342" y="43"/>
                  </a:cubicBezTo>
                  <a:cubicBezTo>
                    <a:pt x="341" y="43"/>
                    <a:pt x="341" y="45"/>
                    <a:pt x="340" y="46"/>
                  </a:cubicBezTo>
                  <a:cubicBezTo>
                    <a:pt x="339" y="46"/>
                    <a:pt x="339" y="45"/>
                    <a:pt x="337" y="46"/>
                  </a:cubicBezTo>
                  <a:cubicBezTo>
                    <a:pt x="338" y="45"/>
                    <a:pt x="338" y="43"/>
                    <a:pt x="338" y="43"/>
                  </a:cubicBezTo>
                  <a:cubicBezTo>
                    <a:pt x="341" y="41"/>
                    <a:pt x="347" y="42"/>
                    <a:pt x="350" y="41"/>
                  </a:cubicBezTo>
                  <a:cubicBezTo>
                    <a:pt x="351" y="41"/>
                    <a:pt x="352" y="40"/>
                    <a:pt x="352" y="39"/>
                  </a:cubicBezTo>
                  <a:cubicBezTo>
                    <a:pt x="352" y="38"/>
                    <a:pt x="352" y="38"/>
                    <a:pt x="352" y="38"/>
                  </a:cubicBezTo>
                  <a:cubicBezTo>
                    <a:pt x="355" y="37"/>
                    <a:pt x="357" y="39"/>
                    <a:pt x="359" y="38"/>
                  </a:cubicBezTo>
                  <a:cubicBezTo>
                    <a:pt x="360" y="37"/>
                    <a:pt x="359" y="36"/>
                    <a:pt x="360" y="35"/>
                  </a:cubicBezTo>
                  <a:cubicBezTo>
                    <a:pt x="361" y="34"/>
                    <a:pt x="364" y="33"/>
                    <a:pt x="365" y="33"/>
                  </a:cubicBezTo>
                  <a:cubicBezTo>
                    <a:pt x="367" y="33"/>
                    <a:pt x="370" y="33"/>
                    <a:pt x="372" y="34"/>
                  </a:cubicBezTo>
                  <a:cubicBezTo>
                    <a:pt x="377" y="34"/>
                    <a:pt x="383" y="33"/>
                    <a:pt x="387" y="33"/>
                  </a:cubicBezTo>
                  <a:cubicBezTo>
                    <a:pt x="391" y="34"/>
                    <a:pt x="391" y="34"/>
                    <a:pt x="391" y="34"/>
                  </a:cubicBezTo>
                  <a:cubicBezTo>
                    <a:pt x="398" y="34"/>
                    <a:pt x="405" y="33"/>
                    <a:pt x="414" y="34"/>
                  </a:cubicBezTo>
                  <a:cubicBezTo>
                    <a:pt x="416" y="34"/>
                    <a:pt x="420" y="35"/>
                    <a:pt x="423" y="35"/>
                  </a:cubicBezTo>
                  <a:cubicBezTo>
                    <a:pt x="425" y="35"/>
                    <a:pt x="428" y="33"/>
                    <a:pt x="430" y="33"/>
                  </a:cubicBezTo>
                  <a:cubicBezTo>
                    <a:pt x="434" y="33"/>
                    <a:pt x="437" y="34"/>
                    <a:pt x="440" y="3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88" name="Freeform 229">
              <a:extLst>
                <a:ext uri="{FF2B5EF4-FFF2-40B4-BE49-F238E27FC236}">
                  <a16:creationId xmlns:a16="http://schemas.microsoft.com/office/drawing/2014/main" id="{46AFA57D-54AD-751F-F0BE-14A125D0284E}"/>
                </a:ext>
              </a:extLst>
            </p:cNvPr>
            <p:cNvSpPr>
              <a:spLocks noEditPoints="1"/>
            </p:cNvSpPr>
            <p:nvPr/>
          </p:nvSpPr>
          <p:spPr bwMode="auto">
            <a:xfrm>
              <a:off x="3773464" y="330205"/>
              <a:ext cx="1834135" cy="1417384"/>
            </a:xfrm>
            <a:custGeom>
              <a:avLst/>
              <a:gdLst>
                <a:gd name="T0" fmla="*/ 392 w 521"/>
                <a:gd name="T1" fmla="*/ 63 h 402"/>
                <a:gd name="T2" fmla="*/ 198 w 521"/>
                <a:gd name="T3" fmla="*/ 298 h 402"/>
                <a:gd name="T4" fmla="*/ 174 w 521"/>
                <a:gd name="T5" fmla="*/ 223 h 402"/>
                <a:gd name="T6" fmla="*/ 404 w 521"/>
                <a:gd name="T7" fmla="*/ 203 h 402"/>
                <a:gd name="T8" fmla="*/ 435 w 521"/>
                <a:gd name="T9" fmla="*/ 206 h 402"/>
                <a:gd name="T10" fmla="*/ 466 w 521"/>
                <a:gd name="T11" fmla="*/ 167 h 402"/>
                <a:gd name="T12" fmla="*/ 466 w 521"/>
                <a:gd name="T13" fmla="*/ 153 h 402"/>
                <a:gd name="T14" fmla="*/ 10 w 521"/>
                <a:gd name="T15" fmla="*/ 119 h 402"/>
                <a:gd name="T16" fmla="*/ 463 w 521"/>
                <a:gd name="T17" fmla="*/ 39 h 402"/>
                <a:gd name="T18" fmla="*/ 327 w 521"/>
                <a:gd name="T19" fmla="*/ 18 h 402"/>
                <a:gd name="T20" fmla="*/ 366 w 521"/>
                <a:gd name="T21" fmla="*/ 14 h 402"/>
                <a:gd name="T22" fmla="*/ 451 w 521"/>
                <a:gd name="T23" fmla="*/ 27 h 402"/>
                <a:gd name="T24" fmla="*/ 406 w 521"/>
                <a:gd name="T25" fmla="*/ 12 h 402"/>
                <a:gd name="T26" fmla="*/ 300 w 521"/>
                <a:gd name="T27" fmla="*/ 2 h 402"/>
                <a:gd name="T28" fmla="*/ 267 w 521"/>
                <a:gd name="T29" fmla="*/ 12 h 402"/>
                <a:gd name="T30" fmla="*/ 264 w 521"/>
                <a:gd name="T31" fmla="*/ 27 h 402"/>
                <a:gd name="T32" fmla="*/ 245 w 521"/>
                <a:gd name="T33" fmla="*/ 48 h 402"/>
                <a:gd name="T34" fmla="*/ 194 w 521"/>
                <a:gd name="T35" fmla="*/ 40 h 402"/>
                <a:gd name="T36" fmla="*/ 146 w 521"/>
                <a:gd name="T37" fmla="*/ 33 h 402"/>
                <a:gd name="T38" fmla="*/ 92 w 521"/>
                <a:gd name="T39" fmla="*/ 49 h 402"/>
                <a:gd name="T40" fmla="*/ 72 w 521"/>
                <a:gd name="T41" fmla="*/ 79 h 402"/>
                <a:gd name="T42" fmla="*/ 7 w 521"/>
                <a:gd name="T43" fmla="*/ 110 h 402"/>
                <a:gd name="T44" fmla="*/ 41 w 521"/>
                <a:gd name="T45" fmla="*/ 121 h 402"/>
                <a:gd name="T46" fmla="*/ 49 w 521"/>
                <a:gd name="T47" fmla="*/ 139 h 402"/>
                <a:gd name="T48" fmla="*/ 106 w 521"/>
                <a:gd name="T49" fmla="*/ 143 h 402"/>
                <a:gd name="T50" fmla="*/ 136 w 521"/>
                <a:gd name="T51" fmla="*/ 176 h 402"/>
                <a:gd name="T52" fmla="*/ 146 w 521"/>
                <a:gd name="T53" fmla="*/ 209 h 402"/>
                <a:gd name="T54" fmla="*/ 190 w 521"/>
                <a:gd name="T55" fmla="*/ 223 h 402"/>
                <a:gd name="T56" fmla="*/ 158 w 521"/>
                <a:gd name="T57" fmla="*/ 237 h 402"/>
                <a:gd name="T58" fmla="*/ 152 w 521"/>
                <a:gd name="T59" fmla="*/ 260 h 402"/>
                <a:gd name="T60" fmla="*/ 190 w 521"/>
                <a:gd name="T61" fmla="*/ 250 h 402"/>
                <a:gd name="T62" fmla="*/ 180 w 521"/>
                <a:gd name="T63" fmla="*/ 275 h 402"/>
                <a:gd name="T64" fmla="*/ 164 w 521"/>
                <a:gd name="T65" fmla="*/ 292 h 402"/>
                <a:gd name="T66" fmla="*/ 165 w 521"/>
                <a:gd name="T67" fmla="*/ 294 h 402"/>
                <a:gd name="T68" fmla="*/ 168 w 521"/>
                <a:gd name="T69" fmla="*/ 319 h 402"/>
                <a:gd name="T70" fmla="*/ 192 w 521"/>
                <a:gd name="T71" fmla="*/ 331 h 402"/>
                <a:gd name="T72" fmla="*/ 188 w 521"/>
                <a:gd name="T73" fmla="*/ 358 h 402"/>
                <a:gd name="T74" fmla="*/ 213 w 521"/>
                <a:gd name="T75" fmla="*/ 377 h 402"/>
                <a:gd name="T76" fmla="*/ 231 w 521"/>
                <a:gd name="T77" fmla="*/ 385 h 402"/>
                <a:gd name="T78" fmla="*/ 249 w 521"/>
                <a:gd name="T79" fmla="*/ 391 h 402"/>
                <a:gd name="T80" fmla="*/ 258 w 521"/>
                <a:gd name="T81" fmla="*/ 383 h 402"/>
                <a:gd name="T82" fmla="*/ 272 w 521"/>
                <a:gd name="T83" fmla="*/ 351 h 402"/>
                <a:gd name="T84" fmla="*/ 283 w 521"/>
                <a:gd name="T85" fmla="*/ 316 h 402"/>
                <a:gd name="T86" fmla="*/ 318 w 521"/>
                <a:gd name="T87" fmla="*/ 313 h 402"/>
                <a:gd name="T88" fmla="*/ 364 w 521"/>
                <a:gd name="T89" fmla="*/ 273 h 402"/>
                <a:gd name="T90" fmla="*/ 409 w 521"/>
                <a:gd name="T91" fmla="*/ 258 h 402"/>
                <a:gd name="T92" fmla="*/ 418 w 521"/>
                <a:gd name="T93" fmla="*/ 237 h 402"/>
                <a:gd name="T94" fmla="*/ 402 w 521"/>
                <a:gd name="T95" fmla="*/ 228 h 402"/>
                <a:gd name="T96" fmla="*/ 410 w 521"/>
                <a:gd name="T97" fmla="*/ 221 h 402"/>
                <a:gd name="T98" fmla="*/ 436 w 521"/>
                <a:gd name="T99" fmla="*/ 219 h 402"/>
                <a:gd name="T100" fmla="*/ 400 w 521"/>
                <a:gd name="T101" fmla="*/ 202 h 402"/>
                <a:gd name="T102" fmla="*/ 427 w 521"/>
                <a:gd name="T103" fmla="*/ 189 h 402"/>
                <a:gd name="T104" fmla="*/ 464 w 521"/>
                <a:gd name="T105" fmla="*/ 174 h 402"/>
                <a:gd name="T106" fmla="*/ 453 w 521"/>
                <a:gd name="T107" fmla="*/ 158 h 402"/>
                <a:gd name="T108" fmla="*/ 460 w 521"/>
                <a:gd name="T109" fmla="*/ 131 h 402"/>
                <a:gd name="T110" fmla="*/ 443 w 521"/>
                <a:gd name="T111" fmla="*/ 109 h 402"/>
                <a:gd name="T112" fmla="*/ 453 w 521"/>
                <a:gd name="T113" fmla="*/ 69 h 402"/>
                <a:gd name="T114" fmla="*/ 505 w 521"/>
                <a:gd name="T115" fmla="*/ 56 h 402"/>
                <a:gd name="T116" fmla="*/ 444 w 521"/>
                <a:gd name="T117" fmla="*/ 50 h 402"/>
                <a:gd name="T118" fmla="*/ 400 w 521"/>
                <a:gd name="T119" fmla="*/ 44 h 402"/>
                <a:gd name="T120" fmla="*/ 359 w 521"/>
                <a:gd name="T121" fmla="*/ 3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1" h="402">
                  <a:moveTo>
                    <a:pt x="460" y="133"/>
                  </a:moveTo>
                  <a:cubicBezTo>
                    <a:pt x="461" y="135"/>
                    <a:pt x="461" y="135"/>
                    <a:pt x="461" y="135"/>
                  </a:cubicBezTo>
                  <a:cubicBezTo>
                    <a:pt x="460" y="134"/>
                    <a:pt x="461" y="133"/>
                    <a:pt x="460" y="133"/>
                  </a:cubicBezTo>
                  <a:close/>
                  <a:moveTo>
                    <a:pt x="247" y="398"/>
                  </a:moveTo>
                  <a:cubicBezTo>
                    <a:pt x="247" y="401"/>
                    <a:pt x="247" y="401"/>
                    <a:pt x="247" y="401"/>
                  </a:cubicBezTo>
                  <a:cubicBezTo>
                    <a:pt x="248" y="400"/>
                    <a:pt x="248" y="402"/>
                    <a:pt x="250" y="401"/>
                  </a:cubicBezTo>
                  <a:cubicBezTo>
                    <a:pt x="251" y="401"/>
                    <a:pt x="250" y="399"/>
                    <a:pt x="250" y="399"/>
                  </a:cubicBezTo>
                  <a:cubicBezTo>
                    <a:pt x="249" y="399"/>
                    <a:pt x="248" y="399"/>
                    <a:pt x="247" y="398"/>
                  </a:cubicBezTo>
                  <a:close/>
                  <a:moveTo>
                    <a:pt x="236" y="383"/>
                  </a:moveTo>
                  <a:cubicBezTo>
                    <a:pt x="236" y="383"/>
                    <a:pt x="236" y="385"/>
                    <a:pt x="235" y="385"/>
                  </a:cubicBezTo>
                  <a:cubicBezTo>
                    <a:pt x="234" y="386"/>
                    <a:pt x="236" y="383"/>
                    <a:pt x="236" y="383"/>
                  </a:cubicBezTo>
                  <a:close/>
                  <a:moveTo>
                    <a:pt x="439" y="172"/>
                  </a:moveTo>
                  <a:cubicBezTo>
                    <a:pt x="439" y="172"/>
                    <a:pt x="439" y="175"/>
                    <a:pt x="439" y="177"/>
                  </a:cubicBezTo>
                  <a:cubicBezTo>
                    <a:pt x="440" y="177"/>
                    <a:pt x="440" y="177"/>
                    <a:pt x="441" y="178"/>
                  </a:cubicBezTo>
                  <a:cubicBezTo>
                    <a:pt x="443" y="178"/>
                    <a:pt x="446" y="177"/>
                    <a:pt x="447" y="177"/>
                  </a:cubicBezTo>
                  <a:cubicBezTo>
                    <a:pt x="453" y="174"/>
                    <a:pt x="441" y="172"/>
                    <a:pt x="439" y="172"/>
                  </a:cubicBezTo>
                  <a:close/>
                  <a:moveTo>
                    <a:pt x="392" y="63"/>
                  </a:moveTo>
                  <a:cubicBezTo>
                    <a:pt x="397" y="61"/>
                    <a:pt x="390" y="65"/>
                    <a:pt x="390" y="65"/>
                  </a:cubicBezTo>
                  <a:cubicBezTo>
                    <a:pt x="389" y="65"/>
                    <a:pt x="388" y="67"/>
                    <a:pt x="388" y="67"/>
                  </a:cubicBezTo>
                  <a:cubicBezTo>
                    <a:pt x="385" y="69"/>
                    <a:pt x="387" y="64"/>
                    <a:pt x="392" y="63"/>
                  </a:cubicBezTo>
                  <a:close/>
                  <a:moveTo>
                    <a:pt x="269" y="31"/>
                  </a:moveTo>
                  <a:cubicBezTo>
                    <a:pt x="270" y="31"/>
                    <a:pt x="273" y="34"/>
                    <a:pt x="269" y="33"/>
                  </a:cubicBezTo>
                  <a:cubicBezTo>
                    <a:pt x="269" y="33"/>
                    <a:pt x="267" y="30"/>
                    <a:pt x="269" y="31"/>
                  </a:cubicBezTo>
                  <a:close/>
                  <a:moveTo>
                    <a:pt x="305" y="304"/>
                  </a:moveTo>
                  <a:cubicBezTo>
                    <a:pt x="307" y="305"/>
                    <a:pt x="307" y="304"/>
                    <a:pt x="309" y="305"/>
                  </a:cubicBezTo>
                  <a:cubicBezTo>
                    <a:pt x="308" y="305"/>
                    <a:pt x="308" y="307"/>
                    <a:pt x="307" y="308"/>
                  </a:cubicBezTo>
                  <a:cubicBezTo>
                    <a:pt x="306" y="308"/>
                    <a:pt x="305" y="308"/>
                    <a:pt x="304" y="309"/>
                  </a:cubicBezTo>
                  <a:cubicBezTo>
                    <a:pt x="304" y="308"/>
                    <a:pt x="304" y="306"/>
                    <a:pt x="303" y="305"/>
                  </a:cubicBezTo>
                  <a:cubicBezTo>
                    <a:pt x="303" y="305"/>
                    <a:pt x="305" y="304"/>
                    <a:pt x="305" y="304"/>
                  </a:cubicBezTo>
                  <a:close/>
                  <a:moveTo>
                    <a:pt x="174" y="299"/>
                  </a:moveTo>
                  <a:cubicBezTo>
                    <a:pt x="175" y="300"/>
                    <a:pt x="177" y="302"/>
                    <a:pt x="175" y="301"/>
                  </a:cubicBezTo>
                  <a:cubicBezTo>
                    <a:pt x="175" y="301"/>
                    <a:pt x="172" y="299"/>
                    <a:pt x="174" y="299"/>
                  </a:cubicBezTo>
                  <a:close/>
                  <a:moveTo>
                    <a:pt x="198" y="297"/>
                  </a:moveTo>
                  <a:cubicBezTo>
                    <a:pt x="200" y="297"/>
                    <a:pt x="198" y="298"/>
                    <a:pt x="198" y="298"/>
                  </a:cubicBezTo>
                  <a:cubicBezTo>
                    <a:pt x="198" y="299"/>
                    <a:pt x="198" y="300"/>
                    <a:pt x="198" y="300"/>
                  </a:cubicBezTo>
                  <a:cubicBezTo>
                    <a:pt x="196" y="301"/>
                    <a:pt x="193" y="303"/>
                    <a:pt x="192" y="303"/>
                  </a:cubicBezTo>
                  <a:cubicBezTo>
                    <a:pt x="189" y="303"/>
                    <a:pt x="191" y="302"/>
                    <a:pt x="192" y="301"/>
                  </a:cubicBezTo>
                  <a:cubicBezTo>
                    <a:pt x="192" y="301"/>
                    <a:pt x="193" y="300"/>
                    <a:pt x="194" y="299"/>
                  </a:cubicBezTo>
                  <a:cubicBezTo>
                    <a:pt x="195" y="299"/>
                    <a:pt x="197" y="297"/>
                    <a:pt x="198" y="297"/>
                  </a:cubicBezTo>
                  <a:close/>
                  <a:moveTo>
                    <a:pt x="195" y="286"/>
                  </a:moveTo>
                  <a:cubicBezTo>
                    <a:pt x="197" y="286"/>
                    <a:pt x="195" y="287"/>
                    <a:pt x="194" y="288"/>
                  </a:cubicBezTo>
                  <a:cubicBezTo>
                    <a:pt x="194" y="287"/>
                    <a:pt x="194" y="286"/>
                    <a:pt x="195" y="286"/>
                  </a:cubicBezTo>
                  <a:close/>
                  <a:moveTo>
                    <a:pt x="196" y="284"/>
                  </a:moveTo>
                  <a:cubicBezTo>
                    <a:pt x="198" y="283"/>
                    <a:pt x="196" y="285"/>
                    <a:pt x="196" y="285"/>
                  </a:cubicBezTo>
                  <a:cubicBezTo>
                    <a:pt x="196" y="285"/>
                    <a:pt x="194" y="284"/>
                    <a:pt x="196" y="284"/>
                  </a:cubicBezTo>
                  <a:close/>
                  <a:moveTo>
                    <a:pt x="395" y="240"/>
                  </a:moveTo>
                  <a:cubicBezTo>
                    <a:pt x="398" y="240"/>
                    <a:pt x="396" y="243"/>
                    <a:pt x="396" y="243"/>
                  </a:cubicBezTo>
                  <a:cubicBezTo>
                    <a:pt x="395" y="243"/>
                    <a:pt x="391" y="242"/>
                    <a:pt x="391" y="242"/>
                  </a:cubicBezTo>
                  <a:cubicBezTo>
                    <a:pt x="391" y="242"/>
                    <a:pt x="392" y="242"/>
                    <a:pt x="393" y="242"/>
                  </a:cubicBezTo>
                  <a:cubicBezTo>
                    <a:pt x="393" y="241"/>
                    <a:pt x="394" y="240"/>
                    <a:pt x="395" y="240"/>
                  </a:cubicBezTo>
                  <a:close/>
                  <a:moveTo>
                    <a:pt x="174" y="223"/>
                  </a:moveTo>
                  <a:cubicBezTo>
                    <a:pt x="172" y="223"/>
                    <a:pt x="175" y="224"/>
                    <a:pt x="176" y="224"/>
                  </a:cubicBezTo>
                  <a:cubicBezTo>
                    <a:pt x="176" y="224"/>
                    <a:pt x="177" y="223"/>
                    <a:pt x="174" y="223"/>
                  </a:cubicBezTo>
                  <a:close/>
                  <a:moveTo>
                    <a:pt x="166" y="221"/>
                  </a:moveTo>
                  <a:cubicBezTo>
                    <a:pt x="164" y="221"/>
                    <a:pt x="164" y="223"/>
                    <a:pt x="164" y="224"/>
                  </a:cubicBezTo>
                  <a:cubicBezTo>
                    <a:pt x="164" y="224"/>
                    <a:pt x="165" y="225"/>
                    <a:pt x="165" y="225"/>
                  </a:cubicBezTo>
                  <a:cubicBezTo>
                    <a:pt x="165" y="225"/>
                    <a:pt x="166" y="225"/>
                    <a:pt x="167" y="225"/>
                  </a:cubicBezTo>
                  <a:cubicBezTo>
                    <a:pt x="167" y="223"/>
                    <a:pt x="167" y="221"/>
                    <a:pt x="166" y="221"/>
                  </a:cubicBezTo>
                  <a:close/>
                  <a:moveTo>
                    <a:pt x="418" y="189"/>
                  </a:moveTo>
                  <a:cubicBezTo>
                    <a:pt x="417" y="190"/>
                    <a:pt x="417" y="190"/>
                    <a:pt x="417" y="190"/>
                  </a:cubicBezTo>
                  <a:cubicBezTo>
                    <a:pt x="416" y="191"/>
                    <a:pt x="413" y="191"/>
                    <a:pt x="412" y="192"/>
                  </a:cubicBezTo>
                  <a:cubicBezTo>
                    <a:pt x="412" y="192"/>
                    <a:pt x="412" y="194"/>
                    <a:pt x="412" y="194"/>
                  </a:cubicBezTo>
                  <a:cubicBezTo>
                    <a:pt x="412" y="195"/>
                    <a:pt x="413" y="195"/>
                    <a:pt x="414" y="196"/>
                  </a:cubicBezTo>
                  <a:cubicBezTo>
                    <a:pt x="410" y="195"/>
                    <a:pt x="405" y="193"/>
                    <a:pt x="402" y="195"/>
                  </a:cubicBezTo>
                  <a:cubicBezTo>
                    <a:pt x="401" y="196"/>
                    <a:pt x="400" y="196"/>
                    <a:pt x="400" y="197"/>
                  </a:cubicBezTo>
                  <a:cubicBezTo>
                    <a:pt x="400" y="197"/>
                    <a:pt x="400" y="200"/>
                    <a:pt x="400" y="200"/>
                  </a:cubicBezTo>
                  <a:cubicBezTo>
                    <a:pt x="400" y="200"/>
                    <a:pt x="402" y="200"/>
                    <a:pt x="403" y="200"/>
                  </a:cubicBezTo>
                  <a:cubicBezTo>
                    <a:pt x="403" y="201"/>
                    <a:pt x="404" y="203"/>
                    <a:pt x="404" y="203"/>
                  </a:cubicBezTo>
                  <a:cubicBezTo>
                    <a:pt x="406" y="202"/>
                    <a:pt x="406" y="203"/>
                    <a:pt x="408" y="202"/>
                  </a:cubicBezTo>
                  <a:cubicBezTo>
                    <a:pt x="408" y="202"/>
                    <a:pt x="409" y="200"/>
                    <a:pt x="410" y="200"/>
                  </a:cubicBezTo>
                  <a:cubicBezTo>
                    <a:pt x="411" y="200"/>
                    <a:pt x="412" y="200"/>
                    <a:pt x="413" y="200"/>
                  </a:cubicBezTo>
                  <a:cubicBezTo>
                    <a:pt x="414" y="199"/>
                    <a:pt x="413" y="197"/>
                    <a:pt x="414" y="196"/>
                  </a:cubicBezTo>
                  <a:cubicBezTo>
                    <a:pt x="415" y="197"/>
                    <a:pt x="415" y="196"/>
                    <a:pt x="416" y="196"/>
                  </a:cubicBezTo>
                  <a:cubicBezTo>
                    <a:pt x="417" y="197"/>
                    <a:pt x="417" y="199"/>
                    <a:pt x="418" y="199"/>
                  </a:cubicBezTo>
                  <a:cubicBezTo>
                    <a:pt x="420" y="200"/>
                    <a:pt x="423" y="200"/>
                    <a:pt x="425" y="200"/>
                  </a:cubicBezTo>
                  <a:cubicBezTo>
                    <a:pt x="425" y="200"/>
                    <a:pt x="426" y="201"/>
                    <a:pt x="426" y="201"/>
                  </a:cubicBezTo>
                  <a:cubicBezTo>
                    <a:pt x="425" y="202"/>
                    <a:pt x="422" y="202"/>
                    <a:pt x="424" y="203"/>
                  </a:cubicBezTo>
                  <a:cubicBezTo>
                    <a:pt x="425" y="203"/>
                    <a:pt x="424" y="204"/>
                    <a:pt x="425" y="204"/>
                  </a:cubicBezTo>
                  <a:cubicBezTo>
                    <a:pt x="420" y="209"/>
                    <a:pt x="431" y="211"/>
                    <a:pt x="434" y="212"/>
                  </a:cubicBezTo>
                  <a:cubicBezTo>
                    <a:pt x="435" y="213"/>
                    <a:pt x="437" y="215"/>
                    <a:pt x="438" y="216"/>
                  </a:cubicBezTo>
                  <a:cubicBezTo>
                    <a:pt x="440" y="216"/>
                    <a:pt x="441" y="215"/>
                    <a:pt x="443" y="216"/>
                  </a:cubicBezTo>
                  <a:cubicBezTo>
                    <a:pt x="443" y="216"/>
                    <a:pt x="444" y="214"/>
                    <a:pt x="443" y="213"/>
                  </a:cubicBezTo>
                  <a:cubicBezTo>
                    <a:pt x="439" y="210"/>
                    <a:pt x="435" y="214"/>
                    <a:pt x="441" y="209"/>
                  </a:cubicBezTo>
                  <a:cubicBezTo>
                    <a:pt x="441" y="208"/>
                    <a:pt x="441" y="208"/>
                    <a:pt x="441" y="208"/>
                  </a:cubicBezTo>
                  <a:cubicBezTo>
                    <a:pt x="439" y="207"/>
                    <a:pt x="437" y="207"/>
                    <a:pt x="435" y="206"/>
                  </a:cubicBezTo>
                  <a:cubicBezTo>
                    <a:pt x="435" y="206"/>
                    <a:pt x="433" y="204"/>
                    <a:pt x="433" y="204"/>
                  </a:cubicBezTo>
                  <a:cubicBezTo>
                    <a:pt x="431" y="204"/>
                    <a:pt x="435" y="204"/>
                    <a:pt x="435" y="204"/>
                  </a:cubicBezTo>
                  <a:cubicBezTo>
                    <a:pt x="436" y="204"/>
                    <a:pt x="437" y="206"/>
                    <a:pt x="437" y="206"/>
                  </a:cubicBezTo>
                  <a:cubicBezTo>
                    <a:pt x="439" y="206"/>
                    <a:pt x="439" y="205"/>
                    <a:pt x="441" y="205"/>
                  </a:cubicBezTo>
                  <a:cubicBezTo>
                    <a:pt x="441" y="203"/>
                    <a:pt x="441" y="203"/>
                    <a:pt x="442" y="200"/>
                  </a:cubicBezTo>
                  <a:cubicBezTo>
                    <a:pt x="436" y="199"/>
                    <a:pt x="435" y="199"/>
                    <a:pt x="429" y="200"/>
                  </a:cubicBezTo>
                  <a:cubicBezTo>
                    <a:pt x="430" y="200"/>
                    <a:pt x="431" y="198"/>
                    <a:pt x="432" y="198"/>
                  </a:cubicBezTo>
                  <a:cubicBezTo>
                    <a:pt x="433" y="198"/>
                    <a:pt x="434" y="198"/>
                    <a:pt x="435" y="198"/>
                  </a:cubicBezTo>
                  <a:cubicBezTo>
                    <a:pt x="435" y="198"/>
                    <a:pt x="435" y="196"/>
                    <a:pt x="435" y="196"/>
                  </a:cubicBezTo>
                  <a:cubicBezTo>
                    <a:pt x="428" y="196"/>
                    <a:pt x="428" y="196"/>
                    <a:pt x="428" y="196"/>
                  </a:cubicBezTo>
                  <a:cubicBezTo>
                    <a:pt x="429" y="195"/>
                    <a:pt x="430" y="193"/>
                    <a:pt x="430" y="193"/>
                  </a:cubicBezTo>
                  <a:cubicBezTo>
                    <a:pt x="427" y="192"/>
                    <a:pt x="421" y="189"/>
                    <a:pt x="418" y="189"/>
                  </a:cubicBezTo>
                  <a:close/>
                  <a:moveTo>
                    <a:pt x="136" y="168"/>
                  </a:moveTo>
                  <a:cubicBezTo>
                    <a:pt x="135" y="168"/>
                    <a:pt x="130" y="171"/>
                    <a:pt x="134" y="171"/>
                  </a:cubicBezTo>
                  <a:cubicBezTo>
                    <a:pt x="135" y="170"/>
                    <a:pt x="139" y="169"/>
                    <a:pt x="138" y="169"/>
                  </a:cubicBezTo>
                  <a:cubicBezTo>
                    <a:pt x="137" y="168"/>
                    <a:pt x="137" y="168"/>
                    <a:pt x="136" y="168"/>
                  </a:cubicBezTo>
                  <a:close/>
                  <a:moveTo>
                    <a:pt x="466" y="167"/>
                  </a:moveTo>
                  <a:cubicBezTo>
                    <a:pt x="466" y="167"/>
                    <a:pt x="465" y="168"/>
                    <a:pt x="465" y="168"/>
                  </a:cubicBezTo>
                  <a:cubicBezTo>
                    <a:pt x="466" y="168"/>
                    <a:pt x="467" y="168"/>
                    <a:pt x="467" y="169"/>
                  </a:cubicBezTo>
                  <a:cubicBezTo>
                    <a:pt x="466" y="168"/>
                    <a:pt x="469" y="166"/>
                    <a:pt x="466" y="167"/>
                  </a:cubicBezTo>
                  <a:close/>
                  <a:moveTo>
                    <a:pt x="454" y="162"/>
                  </a:moveTo>
                  <a:cubicBezTo>
                    <a:pt x="454" y="164"/>
                    <a:pt x="453" y="166"/>
                    <a:pt x="455" y="168"/>
                  </a:cubicBezTo>
                  <a:cubicBezTo>
                    <a:pt x="455" y="168"/>
                    <a:pt x="457" y="168"/>
                    <a:pt x="457" y="169"/>
                  </a:cubicBezTo>
                  <a:cubicBezTo>
                    <a:pt x="457" y="168"/>
                    <a:pt x="458" y="167"/>
                    <a:pt x="459" y="167"/>
                  </a:cubicBezTo>
                  <a:cubicBezTo>
                    <a:pt x="459" y="166"/>
                    <a:pt x="459" y="166"/>
                    <a:pt x="459" y="165"/>
                  </a:cubicBezTo>
                  <a:cubicBezTo>
                    <a:pt x="459" y="164"/>
                    <a:pt x="457" y="165"/>
                    <a:pt x="457" y="165"/>
                  </a:cubicBezTo>
                  <a:cubicBezTo>
                    <a:pt x="456" y="164"/>
                    <a:pt x="456" y="163"/>
                    <a:pt x="456" y="163"/>
                  </a:cubicBezTo>
                  <a:cubicBezTo>
                    <a:pt x="456" y="162"/>
                    <a:pt x="455" y="162"/>
                    <a:pt x="454" y="162"/>
                  </a:cubicBezTo>
                  <a:close/>
                  <a:moveTo>
                    <a:pt x="436" y="157"/>
                  </a:moveTo>
                  <a:cubicBezTo>
                    <a:pt x="439" y="157"/>
                    <a:pt x="438" y="160"/>
                    <a:pt x="438" y="163"/>
                  </a:cubicBezTo>
                  <a:cubicBezTo>
                    <a:pt x="438" y="163"/>
                    <a:pt x="436" y="162"/>
                    <a:pt x="436" y="163"/>
                  </a:cubicBezTo>
                  <a:cubicBezTo>
                    <a:pt x="436" y="162"/>
                    <a:pt x="434" y="157"/>
                    <a:pt x="436" y="157"/>
                  </a:cubicBezTo>
                  <a:close/>
                  <a:moveTo>
                    <a:pt x="467" y="151"/>
                  </a:moveTo>
                  <a:cubicBezTo>
                    <a:pt x="467" y="151"/>
                    <a:pt x="467" y="152"/>
                    <a:pt x="466" y="153"/>
                  </a:cubicBezTo>
                  <a:cubicBezTo>
                    <a:pt x="465" y="153"/>
                    <a:pt x="464" y="152"/>
                    <a:pt x="463" y="153"/>
                  </a:cubicBezTo>
                  <a:cubicBezTo>
                    <a:pt x="464" y="157"/>
                    <a:pt x="463" y="164"/>
                    <a:pt x="470" y="161"/>
                  </a:cubicBezTo>
                  <a:cubicBezTo>
                    <a:pt x="471" y="161"/>
                    <a:pt x="471" y="159"/>
                    <a:pt x="472" y="159"/>
                  </a:cubicBezTo>
                  <a:cubicBezTo>
                    <a:pt x="473" y="158"/>
                    <a:pt x="473" y="159"/>
                    <a:pt x="474" y="159"/>
                  </a:cubicBezTo>
                  <a:cubicBezTo>
                    <a:pt x="473" y="160"/>
                    <a:pt x="476" y="159"/>
                    <a:pt x="476" y="159"/>
                  </a:cubicBezTo>
                  <a:cubicBezTo>
                    <a:pt x="476" y="157"/>
                    <a:pt x="475" y="155"/>
                    <a:pt x="475" y="155"/>
                  </a:cubicBezTo>
                  <a:cubicBezTo>
                    <a:pt x="475" y="155"/>
                    <a:pt x="473" y="157"/>
                    <a:pt x="473" y="157"/>
                  </a:cubicBezTo>
                  <a:cubicBezTo>
                    <a:pt x="469" y="156"/>
                    <a:pt x="470" y="154"/>
                    <a:pt x="469" y="151"/>
                  </a:cubicBezTo>
                  <a:lnTo>
                    <a:pt x="467" y="151"/>
                  </a:lnTo>
                  <a:close/>
                  <a:moveTo>
                    <a:pt x="461" y="135"/>
                  </a:moveTo>
                  <a:cubicBezTo>
                    <a:pt x="461" y="136"/>
                    <a:pt x="460" y="136"/>
                    <a:pt x="460" y="137"/>
                  </a:cubicBezTo>
                  <a:cubicBezTo>
                    <a:pt x="462" y="137"/>
                    <a:pt x="465" y="148"/>
                    <a:pt x="464" y="143"/>
                  </a:cubicBezTo>
                  <a:cubicBezTo>
                    <a:pt x="464" y="142"/>
                    <a:pt x="464" y="141"/>
                    <a:pt x="464" y="140"/>
                  </a:cubicBezTo>
                  <a:cubicBezTo>
                    <a:pt x="464" y="140"/>
                    <a:pt x="462" y="138"/>
                    <a:pt x="462" y="138"/>
                  </a:cubicBezTo>
                  <a:cubicBezTo>
                    <a:pt x="462" y="137"/>
                    <a:pt x="463" y="136"/>
                    <a:pt x="463" y="136"/>
                  </a:cubicBezTo>
                  <a:lnTo>
                    <a:pt x="461" y="135"/>
                  </a:lnTo>
                  <a:close/>
                  <a:moveTo>
                    <a:pt x="10" y="119"/>
                  </a:moveTo>
                  <a:cubicBezTo>
                    <a:pt x="11" y="120"/>
                    <a:pt x="11" y="120"/>
                    <a:pt x="11" y="120"/>
                  </a:cubicBezTo>
                  <a:cubicBezTo>
                    <a:pt x="13" y="120"/>
                    <a:pt x="13" y="120"/>
                    <a:pt x="11" y="119"/>
                  </a:cubicBezTo>
                  <a:cubicBezTo>
                    <a:pt x="11" y="119"/>
                    <a:pt x="11" y="119"/>
                    <a:pt x="10" y="119"/>
                  </a:cubicBezTo>
                  <a:close/>
                  <a:moveTo>
                    <a:pt x="1" y="117"/>
                  </a:moveTo>
                  <a:cubicBezTo>
                    <a:pt x="1" y="117"/>
                    <a:pt x="0" y="120"/>
                    <a:pt x="1" y="120"/>
                  </a:cubicBezTo>
                  <a:cubicBezTo>
                    <a:pt x="4" y="120"/>
                    <a:pt x="4" y="118"/>
                    <a:pt x="5" y="118"/>
                  </a:cubicBezTo>
                  <a:cubicBezTo>
                    <a:pt x="3" y="118"/>
                    <a:pt x="3" y="118"/>
                    <a:pt x="1" y="117"/>
                  </a:cubicBezTo>
                  <a:close/>
                  <a:moveTo>
                    <a:pt x="457" y="69"/>
                  </a:moveTo>
                  <a:cubicBezTo>
                    <a:pt x="457" y="69"/>
                    <a:pt x="456" y="71"/>
                    <a:pt x="456" y="72"/>
                  </a:cubicBezTo>
                  <a:cubicBezTo>
                    <a:pt x="460" y="71"/>
                    <a:pt x="460" y="72"/>
                    <a:pt x="457" y="69"/>
                  </a:cubicBezTo>
                  <a:close/>
                  <a:moveTo>
                    <a:pt x="400" y="60"/>
                  </a:moveTo>
                  <a:cubicBezTo>
                    <a:pt x="407" y="58"/>
                    <a:pt x="396" y="63"/>
                    <a:pt x="396" y="63"/>
                  </a:cubicBezTo>
                  <a:cubicBezTo>
                    <a:pt x="395" y="63"/>
                    <a:pt x="392" y="62"/>
                    <a:pt x="393" y="62"/>
                  </a:cubicBezTo>
                  <a:cubicBezTo>
                    <a:pt x="394" y="62"/>
                    <a:pt x="395" y="62"/>
                    <a:pt x="396" y="62"/>
                  </a:cubicBezTo>
                  <a:cubicBezTo>
                    <a:pt x="397" y="61"/>
                    <a:pt x="399" y="60"/>
                    <a:pt x="400" y="60"/>
                  </a:cubicBezTo>
                  <a:close/>
                  <a:moveTo>
                    <a:pt x="463" y="37"/>
                  </a:moveTo>
                  <a:cubicBezTo>
                    <a:pt x="463" y="37"/>
                    <a:pt x="463" y="39"/>
                    <a:pt x="463" y="39"/>
                  </a:cubicBezTo>
                  <a:cubicBezTo>
                    <a:pt x="465" y="40"/>
                    <a:pt x="464" y="37"/>
                    <a:pt x="463" y="37"/>
                  </a:cubicBezTo>
                  <a:close/>
                  <a:moveTo>
                    <a:pt x="455" y="36"/>
                  </a:moveTo>
                  <a:cubicBezTo>
                    <a:pt x="456" y="37"/>
                    <a:pt x="455" y="39"/>
                    <a:pt x="455" y="41"/>
                  </a:cubicBezTo>
                  <a:cubicBezTo>
                    <a:pt x="457" y="41"/>
                    <a:pt x="457" y="41"/>
                    <a:pt x="457" y="41"/>
                  </a:cubicBezTo>
                  <a:cubicBezTo>
                    <a:pt x="457" y="40"/>
                    <a:pt x="456" y="38"/>
                    <a:pt x="457" y="37"/>
                  </a:cubicBezTo>
                  <a:lnTo>
                    <a:pt x="455" y="36"/>
                  </a:lnTo>
                  <a:close/>
                  <a:moveTo>
                    <a:pt x="166" y="30"/>
                  </a:moveTo>
                  <a:cubicBezTo>
                    <a:pt x="167" y="31"/>
                    <a:pt x="166" y="33"/>
                    <a:pt x="167" y="34"/>
                  </a:cubicBezTo>
                  <a:cubicBezTo>
                    <a:pt x="169" y="38"/>
                    <a:pt x="180" y="41"/>
                    <a:pt x="186" y="42"/>
                  </a:cubicBezTo>
                  <a:cubicBezTo>
                    <a:pt x="186" y="42"/>
                    <a:pt x="189" y="43"/>
                    <a:pt x="187" y="41"/>
                  </a:cubicBezTo>
                  <a:cubicBezTo>
                    <a:pt x="187" y="41"/>
                    <a:pt x="187" y="39"/>
                    <a:pt x="186" y="39"/>
                  </a:cubicBezTo>
                  <a:cubicBezTo>
                    <a:pt x="186" y="39"/>
                    <a:pt x="180" y="36"/>
                    <a:pt x="180" y="36"/>
                  </a:cubicBezTo>
                  <a:cubicBezTo>
                    <a:pt x="179" y="36"/>
                    <a:pt x="178" y="37"/>
                    <a:pt x="177" y="36"/>
                  </a:cubicBezTo>
                  <a:cubicBezTo>
                    <a:pt x="176" y="36"/>
                    <a:pt x="175" y="34"/>
                    <a:pt x="175" y="34"/>
                  </a:cubicBezTo>
                  <a:cubicBezTo>
                    <a:pt x="174" y="33"/>
                    <a:pt x="173" y="34"/>
                    <a:pt x="172" y="33"/>
                  </a:cubicBezTo>
                  <a:cubicBezTo>
                    <a:pt x="170" y="32"/>
                    <a:pt x="168" y="30"/>
                    <a:pt x="166" y="30"/>
                  </a:cubicBezTo>
                  <a:close/>
                  <a:moveTo>
                    <a:pt x="327" y="18"/>
                  </a:moveTo>
                  <a:cubicBezTo>
                    <a:pt x="332" y="17"/>
                    <a:pt x="324" y="20"/>
                    <a:pt x="324" y="20"/>
                  </a:cubicBezTo>
                  <a:cubicBezTo>
                    <a:pt x="324" y="20"/>
                    <a:pt x="324" y="21"/>
                    <a:pt x="324" y="22"/>
                  </a:cubicBezTo>
                  <a:cubicBezTo>
                    <a:pt x="324" y="22"/>
                    <a:pt x="321" y="21"/>
                    <a:pt x="320" y="20"/>
                  </a:cubicBezTo>
                  <a:cubicBezTo>
                    <a:pt x="320" y="21"/>
                    <a:pt x="320" y="22"/>
                    <a:pt x="319" y="22"/>
                  </a:cubicBezTo>
                  <a:cubicBezTo>
                    <a:pt x="317" y="22"/>
                    <a:pt x="319" y="19"/>
                    <a:pt x="319" y="19"/>
                  </a:cubicBezTo>
                  <a:cubicBezTo>
                    <a:pt x="322" y="19"/>
                    <a:pt x="325" y="18"/>
                    <a:pt x="327" y="18"/>
                  </a:cubicBezTo>
                  <a:close/>
                  <a:moveTo>
                    <a:pt x="366" y="14"/>
                  </a:moveTo>
                  <a:cubicBezTo>
                    <a:pt x="368" y="14"/>
                    <a:pt x="372" y="15"/>
                    <a:pt x="373" y="15"/>
                  </a:cubicBezTo>
                  <a:cubicBezTo>
                    <a:pt x="377" y="15"/>
                    <a:pt x="379" y="14"/>
                    <a:pt x="383" y="14"/>
                  </a:cubicBezTo>
                  <a:cubicBezTo>
                    <a:pt x="384" y="14"/>
                    <a:pt x="390" y="16"/>
                    <a:pt x="392" y="16"/>
                  </a:cubicBezTo>
                  <a:cubicBezTo>
                    <a:pt x="386" y="16"/>
                    <a:pt x="379" y="18"/>
                    <a:pt x="374" y="18"/>
                  </a:cubicBezTo>
                  <a:cubicBezTo>
                    <a:pt x="371" y="18"/>
                    <a:pt x="367" y="16"/>
                    <a:pt x="364" y="17"/>
                  </a:cubicBezTo>
                  <a:cubicBezTo>
                    <a:pt x="362" y="18"/>
                    <a:pt x="362" y="18"/>
                    <a:pt x="362" y="18"/>
                  </a:cubicBezTo>
                  <a:cubicBezTo>
                    <a:pt x="359" y="19"/>
                    <a:pt x="356" y="18"/>
                    <a:pt x="353" y="18"/>
                  </a:cubicBezTo>
                  <a:cubicBezTo>
                    <a:pt x="354" y="17"/>
                    <a:pt x="354" y="17"/>
                    <a:pt x="354" y="17"/>
                  </a:cubicBezTo>
                  <a:cubicBezTo>
                    <a:pt x="354" y="17"/>
                    <a:pt x="356" y="17"/>
                    <a:pt x="356" y="17"/>
                  </a:cubicBezTo>
                  <a:cubicBezTo>
                    <a:pt x="359" y="16"/>
                    <a:pt x="363" y="15"/>
                    <a:pt x="366" y="14"/>
                  </a:cubicBezTo>
                  <a:close/>
                  <a:moveTo>
                    <a:pt x="335" y="12"/>
                  </a:moveTo>
                  <a:cubicBezTo>
                    <a:pt x="336" y="12"/>
                    <a:pt x="336" y="12"/>
                    <a:pt x="336" y="12"/>
                  </a:cubicBezTo>
                  <a:cubicBezTo>
                    <a:pt x="337" y="13"/>
                    <a:pt x="336" y="14"/>
                    <a:pt x="336" y="15"/>
                  </a:cubicBezTo>
                  <a:cubicBezTo>
                    <a:pt x="337" y="15"/>
                    <a:pt x="339" y="17"/>
                    <a:pt x="339" y="18"/>
                  </a:cubicBezTo>
                  <a:cubicBezTo>
                    <a:pt x="346" y="15"/>
                    <a:pt x="346" y="16"/>
                    <a:pt x="352" y="18"/>
                  </a:cubicBezTo>
                  <a:cubicBezTo>
                    <a:pt x="350" y="18"/>
                    <a:pt x="347" y="18"/>
                    <a:pt x="346" y="18"/>
                  </a:cubicBezTo>
                  <a:cubicBezTo>
                    <a:pt x="345" y="18"/>
                    <a:pt x="341" y="18"/>
                    <a:pt x="339" y="18"/>
                  </a:cubicBezTo>
                  <a:cubicBezTo>
                    <a:pt x="339" y="18"/>
                    <a:pt x="339" y="20"/>
                    <a:pt x="339" y="20"/>
                  </a:cubicBezTo>
                  <a:cubicBezTo>
                    <a:pt x="338" y="20"/>
                    <a:pt x="339" y="21"/>
                    <a:pt x="338" y="21"/>
                  </a:cubicBezTo>
                  <a:cubicBezTo>
                    <a:pt x="337" y="21"/>
                    <a:pt x="337" y="19"/>
                    <a:pt x="336" y="19"/>
                  </a:cubicBezTo>
                  <a:cubicBezTo>
                    <a:pt x="336" y="19"/>
                    <a:pt x="334" y="19"/>
                    <a:pt x="334" y="18"/>
                  </a:cubicBezTo>
                  <a:cubicBezTo>
                    <a:pt x="334" y="18"/>
                    <a:pt x="334" y="18"/>
                    <a:pt x="334" y="18"/>
                  </a:cubicBezTo>
                  <a:cubicBezTo>
                    <a:pt x="337" y="16"/>
                    <a:pt x="334" y="11"/>
                    <a:pt x="335" y="12"/>
                  </a:cubicBezTo>
                  <a:close/>
                  <a:moveTo>
                    <a:pt x="440" y="34"/>
                  </a:moveTo>
                  <a:cubicBezTo>
                    <a:pt x="442" y="33"/>
                    <a:pt x="443" y="30"/>
                    <a:pt x="444" y="30"/>
                  </a:cubicBezTo>
                  <a:cubicBezTo>
                    <a:pt x="445" y="29"/>
                    <a:pt x="446" y="30"/>
                    <a:pt x="447" y="30"/>
                  </a:cubicBezTo>
                  <a:cubicBezTo>
                    <a:pt x="448" y="29"/>
                    <a:pt x="450" y="28"/>
                    <a:pt x="451" y="27"/>
                  </a:cubicBezTo>
                  <a:cubicBezTo>
                    <a:pt x="451" y="27"/>
                    <a:pt x="451" y="25"/>
                    <a:pt x="451" y="25"/>
                  </a:cubicBezTo>
                  <a:cubicBezTo>
                    <a:pt x="449" y="24"/>
                    <a:pt x="447" y="24"/>
                    <a:pt x="445" y="24"/>
                  </a:cubicBezTo>
                  <a:cubicBezTo>
                    <a:pt x="444" y="23"/>
                    <a:pt x="443" y="22"/>
                    <a:pt x="443" y="22"/>
                  </a:cubicBezTo>
                  <a:cubicBezTo>
                    <a:pt x="439" y="21"/>
                    <a:pt x="435" y="24"/>
                    <a:pt x="432" y="22"/>
                  </a:cubicBezTo>
                  <a:cubicBezTo>
                    <a:pt x="432" y="22"/>
                    <a:pt x="432" y="20"/>
                    <a:pt x="432" y="20"/>
                  </a:cubicBezTo>
                  <a:cubicBezTo>
                    <a:pt x="431" y="20"/>
                    <a:pt x="430" y="19"/>
                    <a:pt x="429" y="18"/>
                  </a:cubicBezTo>
                  <a:cubicBezTo>
                    <a:pt x="428" y="19"/>
                    <a:pt x="428" y="18"/>
                    <a:pt x="427" y="18"/>
                  </a:cubicBezTo>
                  <a:cubicBezTo>
                    <a:pt x="426" y="18"/>
                    <a:pt x="426" y="20"/>
                    <a:pt x="425" y="20"/>
                  </a:cubicBezTo>
                  <a:cubicBezTo>
                    <a:pt x="425" y="20"/>
                    <a:pt x="425" y="18"/>
                    <a:pt x="425" y="18"/>
                  </a:cubicBezTo>
                  <a:cubicBezTo>
                    <a:pt x="424" y="17"/>
                    <a:pt x="424" y="17"/>
                    <a:pt x="423" y="17"/>
                  </a:cubicBezTo>
                  <a:cubicBezTo>
                    <a:pt x="418" y="19"/>
                    <a:pt x="417" y="21"/>
                    <a:pt x="410" y="22"/>
                  </a:cubicBezTo>
                  <a:cubicBezTo>
                    <a:pt x="410" y="20"/>
                    <a:pt x="410" y="20"/>
                    <a:pt x="410" y="20"/>
                  </a:cubicBezTo>
                  <a:cubicBezTo>
                    <a:pt x="413" y="19"/>
                    <a:pt x="414" y="20"/>
                    <a:pt x="417" y="19"/>
                  </a:cubicBezTo>
                  <a:cubicBezTo>
                    <a:pt x="417" y="19"/>
                    <a:pt x="417" y="18"/>
                    <a:pt x="418" y="18"/>
                  </a:cubicBezTo>
                  <a:cubicBezTo>
                    <a:pt x="418" y="17"/>
                    <a:pt x="419" y="15"/>
                    <a:pt x="418" y="14"/>
                  </a:cubicBezTo>
                  <a:cubicBezTo>
                    <a:pt x="418" y="13"/>
                    <a:pt x="412" y="9"/>
                    <a:pt x="410" y="9"/>
                  </a:cubicBezTo>
                  <a:cubicBezTo>
                    <a:pt x="408" y="9"/>
                    <a:pt x="407" y="12"/>
                    <a:pt x="406" y="12"/>
                  </a:cubicBezTo>
                  <a:cubicBezTo>
                    <a:pt x="403" y="14"/>
                    <a:pt x="398" y="14"/>
                    <a:pt x="394" y="15"/>
                  </a:cubicBezTo>
                  <a:cubicBezTo>
                    <a:pt x="395" y="14"/>
                    <a:pt x="397" y="11"/>
                    <a:pt x="398" y="10"/>
                  </a:cubicBezTo>
                  <a:cubicBezTo>
                    <a:pt x="399" y="10"/>
                    <a:pt x="401" y="10"/>
                    <a:pt x="402" y="9"/>
                  </a:cubicBezTo>
                  <a:cubicBezTo>
                    <a:pt x="403" y="9"/>
                    <a:pt x="403" y="7"/>
                    <a:pt x="404" y="6"/>
                  </a:cubicBezTo>
                  <a:cubicBezTo>
                    <a:pt x="403" y="6"/>
                    <a:pt x="401" y="5"/>
                    <a:pt x="400" y="5"/>
                  </a:cubicBezTo>
                  <a:cubicBezTo>
                    <a:pt x="396" y="5"/>
                    <a:pt x="391" y="6"/>
                    <a:pt x="386" y="5"/>
                  </a:cubicBezTo>
                  <a:cubicBezTo>
                    <a:pt x="383" y="5"/>
                    <a:pt x="380" y="3"/>
                    <a:pt x="376" y="3"/>
                  </a:cubicBezTo>
                  <a:cubicBezTo>
                    <a:pt x="376" y="3"/>
                    <a:pt x="376" y="4"/>
                    <a:pt x="376" y="4"/>
                  </a:cubicBezTo>
                  <a:cubicBezTo>
                    <a:pt x="374" y="4"/>
                    <a:pt x="373" y="4"/>
                    <a:pt x="371" y="4"/>
                  </a:cubicBezTo>
                  <a:cubicBezTo>
                    <a:pt x="369" y="4"/>
                    <a:pt x="367" y="6"/>
                    <a:pt x="364" y="6"/>
                  </a:cubicBezTo>
                  <a:cubicBezTo>
                    <a:pt x="360" y="5"/>
                    <a:pt x="355" y="1"/>
                    <a:pt x="352" y="1"/>
                  </a:cubicBezTo>
                  <a:cubicBezTo>
                    <a:pt x="351" y="1"/>
                    <a:pt x="349" y="3"/>
                    <a:pt x="348" y="3"/>
                  </a:cubicBezTo>
                  <a:cubicBezTo>
                    <a:pt x="345" y="4"/>
                    <a:pt x="342" y="2"/>
                    <a:pt x="340" y="2"/>
                  </a:cubicBezTo>
                  <a:cubicBezTo>
                    <a:pt x="335" y="1"/>
                    <a:pt x="333" y="3"/>
                    <a:pt x="326" y="3"/>
                  </a:cubicBezTo>
                  <a:cubicBezTo>
                    <a:pt x="324" y="3"/>
                    <a:pt x="310" y="0"/>
                    <a:pt x="309" y="1"/>
                  </a:cubicBezTo>
                  <a:cubicBezTo>
                    <a:pt x="308" y="1"/>
                    <a:pt x="308" y="3"/>
                    <a:pt x="308" y="4"/>
                  </a:cubicBezTo>
                  <a:cubicBezTo>
                    <a:pt x="305" y="3"/>
                    <a:pt x="303" y="3"/>
                    <a:pt x="300" y="2"/>
                  </a:cubicBezTo>
                  <a:cubicBezTo>
                    <a:pt x="300" y="2"/>
                    <a:pt x="299" y="4"/>
                    <a:pt x="299" y="4"/>
                  </a:cubicBezTo>
                  <a:cubicBezTo>
                    <a:pt x="300" y="5"/>
                    <a:pt x="300" y="5"/>
                    <a:pt x="301" y="6"/>
                  </a:cubicBezTo>
                  <a:cubicBezTo>
                    <a:pt x="299" y="6"/>
                    <a:pt x="294" y="7"/>
                    <a:pt x="291" y="6"/>
                  </a:cubicBezTo>
                  <a:cubicBezTo>
                    <a:pt x="290" y="5"/>
                    <a:pt x="293" y="4"/>
                    <a:pt x="291" y="5"/>
                  </a:cubicBezTo>
                  <a:cubicBezTo>
                    <a:pt x="290" y="5"/>
                    <a:pt x="290" y="6"/>
                    <a:pt x="290" y="7"/>
                  </a:cubicBezTo>
                  <a:cubicBezTo>
                    <a:pt x="290" y="7"/>
                    <a:pt x="286" y="9"/>
                    <a:pt x="288" y="10"/>
                  </a:cubicBezTo>
                  <a:cubicBezTo>
                    <a:pt x="289" y="10"/>
                    <a:pt x="290" y="9"/>
                    <a:pt x="291" y="10"/>
                  </a:cubicBezTo>
                  <a:cubicBezTo>
                    <a:pt x="293" y="11"/>
                    <a:pt x="293" y="11"/>
                    <a:pt x="293" y="11"/>
                  </a:cubicBezTo>
                  <a:cubicBezTo>
                    <a:pt x="277" y="11"/>
                    <a:pt x="282" y="13"/>
                    <a:pt x="288" y="19"/>
                  </a:cubicBezTo>
                  <a:cubicBezTo>
                    <a:pt x="287" y="19"/>
                    <a:pt x="286" y="19"/>
                    <a:pt x="285" y="19"/>
                  </a:cubicBezTo>
                  <a:cubicBezTo>
                    <a:pt x="284" y="19"/>
                    <a:pt x="281" y="14"/>
                    <a:pt x="281" y="14"/>
                  </a:cubicBezTo>
                  <a:cubicBezTo>
                    <a:pt x="279" y="13"/>
                    <a:pt x="278" y="14"/>
                    <a:pt x="277" y="14"/>
                  </a:cubicBezTo>
                  <a:cubicBezTo>
                    <a:pt x="278" y="14"/>
                    <a:pt x="278" y="15"/>
                    <a:pt x="279" y="15"/>
                  </a:cubicBezTo>
                  <a:cubicBezTo>
                    <a:pt x="280" y="16"/>
                    <a:pt x="279" y="17"/>
                    <a:pt x="280" y="18"/>
                  </a:cubicBezTo>
                  <a:cubicBezTo>
                    <a:pt x="276" y="16"/>
                    <a:pt x="277" y="14"/>
                    <a:pt x="275" y="20"/>
                  </a:cubicBezTo>
                  <a:cubicBezTo>
                    <a:pt x="273" y="19"/>
                    <a:pt x="268" y="17"/>
                    <a:pt x="267" y="16"/>
                  </a:cubicBezTo>
                  <a:cubicBezTo>
                    <a:pt x="267" y="15"/>
                    <a:pt x="267" y="12"/>
                    <a:pt x="267" y="12"/>
                  </a:cubicBezTo>
                  <a:cubicBezTo>
                    <a:pt x="265" y="11"/>
                    <a:pt x="259" y="9"/>
                    <a:pt x="255" y="10"/>
                  </a:cubicBezTo>
                  <a:cubicBezTo>
                    <a:pt x="253" y="11"/>
                    <a:pt x="258" y="13"/>
                    <a:pt x="255" y="14"/>
                  </a:cubicBezTo>
                  <a:cubicBezTo>
                    <a:pt x="254" y="14"/>
                    <a:pt x="250" y="12"/>
                    <a:pt x="249" y="12"/>
                  </a:cubicBezTo>
                  <a:cubicBezTo>
                    <a:pt x="250" y="12"/>
                    <a:pt x="247" y="12"/>
                    <a:pt x="247" y="12"/>
                  </a:cubicBezTo>
                  <a:cubicBezTo>
                    <a:pt x="247" y="13"/>
                    <a:pt x="247" y="14"/>
                    <a:pt x="248" y="14"/>
                  </a:cubicBezTo>
                  <a:cubicBezTo>
                    <a:pt x="248" y="15"/>
                    <a:pt x="248" y="15"/>
                    <a:pt x="248" y="15"/>
                  </a:cubicBezTo>
                  <a:cubicBezTo>
                    <a:pt x="248" y="15"/>
                    <a:pt x="250" y="16"/>
                    <a:pt x="250" y="16"/>
                  </a:cubicBezTo>
                  <a:cubicBezTo>
                    <a:pt x="250" y="16"/>
                    <a:pt x="251" y="17"/>
                    <a:pt x="251" y="18"/>
                  </a:cubicBezTo>
                  <a:cubicBezTo>
                    <a:pt x="250" y="18"/>
                    <a:pt x="248" y="18"/>
                    <a:pt x="247" y="18"/>
                  </a:cubicBezTo>
                  <a:cubicBezTo>
                    <a:pt x="248" y="18"/>
                    <a:pt x="247" y="20"/>
                    <a:pt x="247" y="21"/>
                  </a:cubicBezTo>
                  <a:cubicBezTo>
                    <a:pt x="248" y="21"/>
                    <a:pt x="252" y="21"/>
                    <a:pt x="253" y="22"/>
                  </a:cubicBezTo>
                  <a:cubicBezTo>
                    <a:pt x="255" y="23"/>
                    <a:pt x="255" y="23"/>
                    <a:pt x="255" y="23"/>
                  </a:cubicBezTo>
                  <a:cubicBezTo>
                    <a:pt x="258" y="23"/>
                    <a:pt x="260" y="21"/>
                    <a:pt x="263" y="23"/>
                  </a:cubicBezTo>
                  <a:cubicBezTo>
                    <a:pt x="265" y="24"/>
                    <a:pt x="264" y="26"/>
                    <a:pt x="265" y="28"/>
                  </a:cubicBezTo>
                  <a:cubicBezTo>
                    <a:pt x="265" y="28"/>
                    <a:pt x="267" y="30"/>
                    <a:pt x="268" y="31"/>
                  </a:cubicBezTo>
                  <a:cubicBezTo>
                    <a:pt x="266" y="30"/>
                    <a:pt x="265" y="30"/>
                    <a:pt x="264" y="28"/>
                  </a:cubicBezTo>
                  <a:cubicBezTo>
                    <a:pt x="264" y="27"/>
                    <a:pt x="264" y="27"/>
                    <a:pt x="264" y="27"/>
                  </a:cubicBezTo>
                  <a:cubicBezTo>
                    <a:pt x="263" y="24"/>
                    <a:pt x="256" y="23"/>
                    <a:pt x="253" y="23"/>
                  </a:cubicBezTo>
                  <a:cubicBezTo>
                    <a:pt x="249" y="22"/>
                    <a:pt x="238" y="20"/>
                    <a:pt x="242" y="27"/>
                  </a:cubicBezTo>
                  <a:cubicBezTo>
                    <a:pt x="242" y="28"/>
                    <a:pt x="244" y="28"/>
                    <a:pt x="245" y="28"/>
                  </a:cubicBezTo>
                  <a:cubicBezTo>
                    <a:pt x="245" y="29"/>
                    <a:pt x="245" y="30"/>
                    <a:pt x="245" y="31"/>
                  </a:cubicBezTo>
                  <a:cubicBezTo>
                    <a:pt x="244" y="30"/>
                    <a:pt x="239" y="25"/>
                    <a:pt x="239" y="25"/>
                  </a:cubicBezTo>
                  <a:cubicBezTo>
                    <a:pt x="234" y="23"/>
                    <a:pt x="231" y="26"/>
                    <a:pt x="227" y="26"/>
                  </a:cubicBezTo>
                  <a:cubicBezTo>
                    <a:pt x="225" y="27"/>
                    <a:pt x="223" y="26"/>
                    <a:pt x="220" y="26"/>
                  </a:cubicBezTo>
                  <a:cubicBezTo>
                    <a:pt x="220" y="26"/>
                    <a:pt x="220" y="28"/>
                    <a:pt x="220" y="28"/>
                  </a:cubicBezTo>
                  <a:cubicBezTo>
                    <a:pt x="220" y="29"/>
                    <a:pt x="222" y="30"/>
                    <a:pt x="223" y="30"/>
                  </a:cubicBezTo>
                  <a:cubicBezTo>
                    <a:pt x="223" y="31"/>
                    <a:pt x="223" y="33"/>
                    <a:pt x="223" y="33"/>
                  </a:cubicBezTo>
                  <a:cubicBezTo>
                    <a:pt x="224" y="34"/>
                    <a:pt x="225" y="33"/>
                    <a:pt x="226" y="34"/>
                  </a:cubicBezTo>
                  <a:cubicBezTo>
                    <a:pt x="227" y="34"/>
                    <a:pt x="228" y="36"/>
                    <a:pt x="228" y="36"/>
                  </a:cubicBezTo>
                  <a:cubicBezTo>
                    <a:pt x="230" y="38"/>
                    <a:pt x="232" y="39"/>
                    <a:pt x="234" y="40"/>
                  </a:cubicBezTo>
                  <a:cubicBezTo>
                    <a:pt x="235" y="41"/>
                    <a:pt x="236" y="43"/>
                    <a:pt x="237" y="44"/>
                  </a:cubicBezTo>
                  <a:cubicBezTo>
                    <a:pt x="240" y="46"/>
                    <a:pt x="245" y="46"/>
                    <a:pt x="249" y="48"/>
                  </a:cubicBezTo>
                  <a:cubicBezTo>
                    <a:pt x="250" y="49"/>
                    <a:pt x="250" y="51"/>
                    <a:pt x="251" y="52"/>
                  </a:cubicBezTo>
                  <a:cubicBezTo>
                    <a:pt x="249" y="51"/>
                    <a:pt x="247" y="48"/>
                    <a:pt x="245" y="48"/>
                  </a:cubicBezTo>
                  <a:cubicBezTo>
                    <a:pt x="245" y="48"/>
                    <a:pt x="244" y="49"/>
                    <a:pt x="243" y="49"/>
                  </a:cubicBezTo>
                  <a:cubicBezTo>
                    <a:pt x="241" y="48"/>
                    <a:pt x="241" y="48"/>
                    <a:pt x="241" y="48"/>
                  </a:cubicBezTo>
                  <a:cubicBezTo>
                    <a:pt x="236" y="46"/>
                    <a:pt x="236" y="49"/>
                    <a:pt x="233" y="52"/>
                  </a:cubicBezTo>
                  <a:cubicBezTo>
                    <a:pt x="233" y="52"/>
                    <a:pt x="231" y="52"/>
                    <a:pt x="230" y="52"/>
                  </a:cubicBezTo>
                  <a:cubicBezTo>
                    <a:pt x="229" y="51"/>
                    <a:pt x="229" y="49"/>
                    <a:pt x="228" y="49"/>
                  </a:cubicBezTo>
                  <a:cubicBezTo>
                    <a:pt x="227" y="48"/>
                    <a:pt x="227" y="50"/>
                    <a:pt x="225" y="50"/>
                  </a:cubicBezTo>
                  <a:cubicBezTo>
                    <a:pt x="224" y="49"/>
                    <a:pt x="217" y="43"/>
                    <a:pt x="217" y="42"/>
                  </a:cubicBezTo>
                  <a:cubicBezTo>
                    <a:pt x="216" y="40"/>
                    <a:pt x="217" y="38"/>
                    <a:pt x="216" y="36"/>
                  </a:cubicBezTo>
                  <a:cubicBezTo>
                    <a:pt x="215" y="36"/>
                    <a:pt x="215" y="36"/>
                    <a:pt x="215" y="36"/>
                  </a:cubicBezTo>
                  <a:cubicBezTo>
                    <a:pt x="213" y="35"/>
                    <a:pt x="209" y="30"/>
                    <a:pt x="207" y="28"/>
                  </a:cubicBezTo>
                  <a:cubicBezTo>
                    <a:pt x="207" y="28"/>
                    <a:pt x="198" y="26"/>
                    <a:pt x="198" y="26"/>
                  </a:cubicBezTo>
                  <a:cubicBezTo>
                    <a:pt x="196" y="26"/>
                    <a:pt x="195" y="26"/>
                    <a:pt x="194" y="26"/>
                  </a:cubicBezTo>
                  <a:cubicBezTo>
                    <a:pt x="194" y="28"/>
                    <a:pt x="194" y="31"/>
                    <a:pt x="195" y="34"/>
                  </a:cubicBezTo>
                  <a:cubicBezTo>
                    <a:pt x="195" y="34"/>
                    <a:pt x="197" y="36"/>
                    <a:pt x="197" y="36"/>
                  </a:cubicBezTo>
                  <a:cubicBezTo>
                    <a:pt x="197" y="36"/>
                    <a:pt x="196" y="39"/>
                    <a:pt x="196" y="38"/>
                  </a:cubicBezTo>
                  <a:cubicBezTo>
                    <a:pt x="197" y="37"/>
                    <a:pt x="194" y="37"/>
                    <a:pt x="194" y="37"/>
                  </a:cubicBezTo>
                  <a:cubicBezTo>
                    <a:pt x="193" y="38"/>
                    <a:pt x="193" y="40"/>
                    <a:pt x="194" y="40"/>
                  </a:cubicBezTo>
                  <a:cubicBezTo>
                    <a:pt x="194" y="41"/>
                    <a:pt x="194" y="43"/>
                    <a:pt x="194" y="43"/>
                  </a:cubicBezTo>
                  <a:cubicBezTo>
                    <a:pt x="193" y="43"/>
                    <a:pt x="195" y="47"/>
                    <a:pt x="195" y="47"/>
                  </a:cubicBezTo>
                  <a:cubicBezTo>
                    <a:pt x="194" y="48"/>
                    <a:pt x="194" y="47"/>
                    <a:pt x="194" y="49"/>
                  </a:cubicBezTo>
                  <a:cubicBezTo>
                    <a:pt x="193" y="49"/>
                    <a:pt x="192" y="49"/>
                    <a:pt x="192" y="49"/>
                  </a:cubicBezTo>
                  <a:cubicBezTo>
                    <a:pt x="189" y="47"/>
                    <a:pt x="186" y="44"/>
                    <a:pt x="182" y="44"/>
                  </a:cubicBezTo>
                  <a:cubicBezTo>
                    <a:pt x="181" y="43"/>
                    <a:pt x="181" y="44"/>
                    <a:pt x="180" y="44"/>
                  </a:cubicBezTo>
                  <a:cubicBezTo>
                    <a:pt x="180" y="42"/>
                    <a:pt x="180" y="42"/>
                    <a:pt x="180" y="42"/>
                  </a:cubicBezTo>
                  <a:cubicBezTo>
                    <a:pt x="178" y="42"/>
                    <a:pt x="180" y="43"/>
                    <a:pt x="179" y="44"/>
                  </a:cubicBezTo>
                  <a:cubicBezTo>
                    <a:pt x="176" y="45"/>
                    <a:pt x="172" y="41"/>
                    <a:pt x="171" y="40"/>
                  </a:cubicBezTo>
                  <a:cubicBezTo>
                    <a:pt x="170" y="41"/>
                    <a:pt x="170" y="42"/>
                    <a:pt x="170" y="43"/>
                  </a:cubicBezTo>
                  <a:cubicBezTo>
                    <a:pt x="168" y="44"/>
                    <a:pt x="166" y="45"/>
                    <a:pt x="164" y="47"/>
                  </a:cubicBezTo>
                  <a:cubicBezTo>
                    <a:pt x="165" y="48"/>
                    <a:pt x="165" y="48"/>
                    <a:pt x="165" y="49"/>
                  </a:cubicBezTo>
                  <a:cubicBezTo>
                    <a:pt x="164" y="49"/>
                    <a:pt x="164" y="49"/>
                    <a:pt x="164" y="49"/>
                  </a:cubicBezTo>
                  <a:cubicBezTo>
                    <a:pt x="162" y="43"/>
                    <a:pt x="164" y="30"/>
                    <a:pt x="156" y="30"/>
                  </a:cubicBezTo>
                  <a:cubicBezTo>
                    <a:pt x="155" y="30"/>
                    <a:pt x="151" y="32"/>
                    <a:pt x="150" y="32"/>
                  </a:cubicBezTo>
                  <a:cubicBezTo>
                    <a:pt x="150" y="36"/>
                    <a:pt x="150" y="36"/>
                    <a:pt x="150" y="36"/>
                  </a:cubicBezTo>
                  <a:cubicBezTo>
                    <a:pt x="149" y="36"/>
                    <a:pt x="147" y="33"/>
                    <a:pt x="146" y="33"/>
                  </a:cubicBezTo>
                  <a:cubicBezTo>
                    <a:pt x="144" y="33"/>
                    <a:pt x="145" y="34"/>
                    <a:pt x="144" y="34"/>
                  </a:cubicBezTo>
                  <a:cubicBezTo>
                    <a:pt x="143" y="34"/>
                    <a:pt x="143" y="36"/>
                    <a:pt x="143" y="36"/>
                  </a:cubicBezTo>
                  <a:cubicBezTo>
                    <a:pt x="142" y="37"/>
                    <a:pt x="141" y="36"/>
                    <a:pt x="141" y="37"/>
                  </a:cubicBezTo>
                  <a:cubicBezTo>
                    <a:pt x="140" y="36"/>
                    <a:pt x="140" y="34"/>
                    <a:pt x="138" y="34"/>
                  </a:cubicBezTo>
                  <a:cubicBezTo>
                    <a:pt x="135" y="33"/>
                    <a:pt x="131" y="35"/>
                    <a:pt x="128" y="36"/>
                  </a:cubicBezTo>
                  <a:cubicBezTo>
                    <a:pt x="123" y="36"/>
                    <a:pt x="119" y="36"/>
                    <a:pt x="114" y="37"/>
                  </a:cubicBezTo>
                  <a:cubicBezTo>
                    <a:pt x="113" y="37"/>
                    <a:pt x="111" y="40"/>
                    <a:pt x="110" y="40"/>
                  </a:cubicBezTo>
                  <a:cubicBezTo>
                    <a:pt x="109" y="41"/>
                    <a:pt x="108" y="40"/>
                    <a:pt x="106" y="40"/>
                  </a:cubicBezTo>
                  <a:cubicBezTo>
                    <a:pt x="107" y="41"/>
                    <a:pt x="108" y="42"/>
                    <a:pt x="108" y="43"/>
                  </a:cubicBezTo>
                  <a:cubicBezTo>
                    <a:pt x="109" y="45"/>
                    <a:pt x="108" y="47"/>
                    <a:pt x="109" y="49"/>
                  </a:cubicBezTo>
                  <a:cubicBezTo>
                    <a:pt x="109" y="49"/>
                    <a:pt x="111" y="50"/>
                    <a:pt x="111" y="51"/>
                  </a:cubicBezTo>
                  <a:cubicBezTo>
                    <a:pt x="110" y="50"/>
                    <a:pt x="108" y="50"/>
                    <a:pt x="107" y="48"/>
                  </a:cubicBezTo>
                  <a:cubicBezTo>
                    <a:pt x="106" y="46"/>
                    <a:pt x="106" y="43"/>
                    <a:pt x="104" y="42"/>
                  </a:cubicBezTo>
                  <a:cubicBezTo>
                    <a:pt x="103" y="41"/>
                    <a:pt x="102" y="41"/>
                    <a:pt x="100" y="40"/>
                  </a:cubicBezTo>
                  <a:cubicBezTo>
                    <a:pt x="101" y="40"/>
                    <a:pt x="97" y="40"/>
                    <a:pt x="96" y="42"/>
                  </a:cubicBezTo>
                  <a:cubicBezTo>
                    <a:pt x="95" y="43"/>
                    <a:pt x="94" y="47"/>
                    <a:pt x="93" y="49"/>
                  </a:cubicBezTo>
                  <a:cubicBezTo>
                    <a:pt x="92" y="49"/>
                    <a:pt x="92" y="49"/>
                    <a:pt x="92" y="49"/>
                  </a:cubicBezTo>
                  <a:cubicBezTo>
                    <a:pt x="92" y="50"/>
                    <a:pt x="93" y="52"/>
                    <a:pt x="93" y="52"/>
                  </a:cubicBezTo>
                  <a:cubicBezTo>
                    <a:pt x="94" y="53"/>
                    <a:pt x="95" y="54"/>
                    <a:pt x="96" y="55"/>
                  </a:cubicBezTo>
                  <a:cubicBezTo>
                    <a:pt x="96" y="55"/>
                    <a:pt x="95" y="56"/>
                    <a:pt x="94" y="56"/>
                  </a:cubicBezTo>
                  <a:cubicBezTo>
                    <a:pt x="94" y="56"/>
                    <a:pt x="94" y="56"/>
                    <a:pt x="94" y="56"/>
                  </a:cubicBezTo>
                  <a:cubicBezTo>
                    <a:pt x="92" y="56"/>
                    <a:pt x="93" y="54"/>
                    <a:pt x="92" y="54"/>
                  </a:cubicBezTo>
                  <a:cubicBezTo>
                    <a:pt x="91" y="53"/>
                    <a:pt x="84" y="51"/>
                    <a:pt x="83" y="52"/>
                  </a:cubicBezTo>
                  <a:cubicBezTo>
                    <a:pt x="74" y="52"/>
                    <a:pt x="68" y="58"/>
                    <a:pt x="61" y="60"/>
                  </a:cubicBezTo>
                  <a:cubicBezTo>
                    <a:pt x="56" y="61"/>
                    <a:pt x="49" y="61"/>
                    <a:pt x="47" y="64"/>
                  </a:cubicBezTo>
                  <a:cubicBezTo>
                    <a:pt x="46" y="64"/>
                    <a:pt x="45" y="67"/>
                    <a:pt x="45" y="67"/>
                  </a:cubicBezTo>
                  <a:cubicBezTo>
                    <a:pt x="43" y="72"/>
                    <a:pt x="44" y="70"/>
                    <a:pt x="46" y="73"/>
                  </a:cubicBezTo>
                  <a:cubicBezTo>
                    <a:pt x="49" y="73"/>
                    <a:pt x="53" y="70"/>
                    <a:pt x="57" y="71"/>
                  </a:cubicBezTo>
                  <a:cubicBezTo>
                    <a:pt x="57" y="71"/>
                    <a:pt x="59" y="73"/>
                    <a:pt x="59" y="74"/>
                  </a:cubicBezTo>
                  <a:cubicBezTo>
                    <a:pt x="61" y="73"/>
                    <a:pt x="63" y="72"/>
                    <a:pt x="64" y="71"/>
                  </a:cubicBezTo>
                  <a:cubicBezTo>
                    <a:pt x="65" y="71"/>
                    <a:pt x="67" y="72"/>
                    <a:pt x="67" y="72"/>
                  </a:cubicBezTo>
                  <a:cubicBezTo>
                    <a:pt x="70" y="72"/>
                    <a:pt x="72" y="71"/>
                    <a:pt x="75" y="71"/>
                  </a:cubicBezTo>
                  <a:cubicBezTo>
                    <a:pt x="73" y="75"/>
                    <a:pt x="72" y="71"/>
                    <a:pt x="75" y="76"/>
                  </a:cubicBezTo>
                  <a:cubicBezTo>
                    <a:pt x="74" y="77"/>
                    <a:pt x="72" y="77"/>
                    <a:pt x="72" y="79"/>
                  </a:cubicBezTo>
                  <a:cubicBezTo>
                    <a:pt x="72" y="79"/>
                    <a:pt x="74" y="82"/>
                    <a:pt x="73" y="84"/>
                  </a:cubicBezTo>
                  <a:cubicBezTo>
                    <a:pt x="65" y="91"/>
                    <a:pt x="65" y="91"/>
                    <a:pt x="65" y="91"/>
                  </a:cubicBezTo>
                  <a:cubicBezTo>
                    <a:pt x="64" y="91"/>
                    <a:pt x="63" y="90"/>
                    <a:pt x="62" y="91"/>
                  </a:cubicBezTo>
                  <a:cubicBezTo>
                    <a:pt x="61" y="91"/>
                    <a:pt x="60" y="93"/>
                    <a:pt x="60" y="93"/>
                  </a:cubicBezTo>
                  <a:cubicBezTo>
                    <a:pt x="59" y="94"/>
                    <a:pt x="58" y="92"/>
                    <a:pt x="57" y="91"/>
                  </a:cubicBezTo>
                  <a:cubicBezTo>
                    <a:pt x="57" y="91"/>
                    <a:pt x="46" y="91"/>
                    <a:pt x="45" y="91"/>
                  </a:cubicBezTo>
                  <a:cubicBezTo>
                    <a:pt x="42" y="92"/>
                    <a:pt x="37" y="95"/>
                    <a:pt x="35" y="95"/>
                  </a:cubicBezTo>
                  <a:cubicBezTo>
                    <a:pt x="33" y="96"/>
                    <a:pt x="32" y="95"/>
                    <a:pt x="30" y="95"/>
                  </a:cubicBezTo>
                  <a:cubicBezTo>
                    <a:pt x="28" y="95"/>
                    <a:pt x="23" y="97"/>
                    <a:pt x="21" y="97"/>
                  </a:cubicBezTo>
                  <a:cubicBezTo>
                    <a:pt x="19" y="97"/>
                    <a:pt x="17" y="96"/>
                    <a:pt x="15" y="97"/>
                  </a:cubicBezTo>
                  <a:cubicBezTo>
                    <a:pt x="14" y="98"/>
                    <a:pt x="14" y="98"/>
                    <a:pt x="14" y="98"/>
                  </a:cubicBezTo>
                  <a:cubicBezTo>
                    <a:pt x="11" y="98"/>
                    <a:pt x="9" y="97"/>
                    <a:pt x="6" y="98"/>
                  </a:cubicBezTo>
                  <a:cubicBezTo>
                    <a:pt x="5" y="98"/>
                    <a:pt x="2" y="102"/>
                    <a:pt x="1" y="103"/>
                  </a:cubicBezTo>
                  <a:cubicBezTo>
                    <a:pt x="2" y="103"/>
                    <a:pt x="1" y="104"/>
                    <a:pt x="1" y="105"/>
                  </a:cubicBezTo>
                  <a:cubicBezTo>
                    <a:pt x="1" y="105"/>
                    <a:pt x="3" y="105"/>
                    <a:pt x="3" y="105"/>
                  </a:cubicBezTo>
                  <a:cubicBezTo>
                    <a:pt x="4" y="106"/>
                    <a:pt x="4" y="109"/>
                    <a:pt x="5" y="109"/>
                  </a:cubicBezTo>
                  <a:cubicBezTo>
                    <a:pt x="6" y="110"/>
                    <a:pt x="7" y="109"/>
                    <a:pt x="7" y="110"/>
                  </a:cubicBezTo>
                  <a:cubicBezTo>
                    <a:pt x="8" y="110"/>
                    <a:pt x="8" y="113"/>
                    <a:pt x="8" y="113"/>
                  </a:cubicBezTo>
                  <a:cubicBezTo>
                    <a:pt x="9" y="113"/>
                    <a:pt x="11" y="112"/>
                    <a:pt x="12" y="113"/>
                  </a:cubicBezTo>
                  <a:cubicBezTo>
                    <a:pt x="12" y="113"/>
                    <a:pt x="12" y="113"/>
                    <a:pt x="12" y="113"/>
                  </a:cubicBezTo>
                  <a:cubicBezTo>
                    <a:pt x="12" y="114"/>
                    <a:pt x="14" y="114"/>
                    <a:pt x="15" y="115"/>
                  </a:cubicBezTo>
                  <a:cubicBezTo>
                    <a:pt x="15" y="115"/>
                    <a:pt x="15" y="116"/>
                    <a:pt x="15" y="117"/>
                  </a:cubicBezTo>
                  <a:cubicBezTo>
                    <a:pt x="17" y="117"/>
                    <a:pt x="19" y="116"/>
                    <a:pt x="20" y="117"/>
                  </a:cubicBezTo>
                  <a:cubicBezTo>
                    <a:pt x="27" y="118"/>
                    <a:pt x="27" y="119"/>
                    <a:pt x="29" y="111"/>
                  </a:cubicBezTo>
                  <a:cubicBezTo>
                    <a:pt x="30" y="112"/>
                    <a:pt x="31" y="111"/>
                    <a:pt x="32" y="112"/>
                  </a:cubicBezTo>
                  <a:cubicBezTo>
                    <a:pt x="32" y="112"/>
                    <a:pt x="34" y="117"/>
                    <a:pt x="35" y="117"/>
                  </a:cubicBezTo>
                  <a:cubicBezTo>
                    <a:pt x="42" y="117"/>
                    <a:pt x="49" y="115"/>
                    <a:pt x="58" y="115"/>
                  </a:cubicBezTo>
                  <a:cubicBezTo>
                    <a:pt x="58" y="116"/>
                    <a:pt x="59" y="118"/>
                    <a:pt x="59" y="119"/>
                  </a:cubicBezTo>
                  <a:cubicBezTo>
                    <a:pt x="58" y="119"/>
                    <a:pt x="58" y="120"/>
                    <a:pt x="57" y="120"/>
                  </a:cubicBezTo>
                  <a:cubicBezTo>
                    <a:pt x="57" y="121"/>
                    <a:pt x="57" y="121"/>
                    <a:pt x="57" y="121"/>
                  </a:cubicBezTo>
                  <a:cubicBezTo>
                    <a:pt x="55" y="121"/>
                    <a:pt x="55" y="121"/>
                    <a:pt x="55" y="121"/>
                  </a:cubicBezTo>
                  <a:cubicBezTo>
                    <a:pt x="54" y="121"/>
                    <a:pt x="54" y="119"/>
                    <a:pt x="53" y="119"/>
                  </a:cubicBezTo>
                  <a:cubicBezTo>
                    <a:pt x="52" y="118"/>
                    <a:pt x="45" y="119"/>
                    <a:pt x="43" y="119"/>
                  </a:cubicBezTo>
                  <a:cubicBezTo>
                    <a:pt x="41" y="121"/>
                    <a:pt x="41" y="121"/>
                    <a:pt x="41" y="121"/>
                  </a:cubicBezTo>
                  <a:cubicBezTo>
                    <a:pt x="39" y="121"/>
                    <a:pt x="37" y="120"/>
                    <a:pt x="35" y="120"/>
                  </a:cubicBezTo>
                  <a:cubicBezTo>
                    <a:pt x="32" y="120"/>
                    <a:pt x="27" y="123"/>
                    <a:pt x="23" y="124"/>
                  </a:cubicBezTo>
                  <a:cubicBezTo>
                    <a:pt x="23" y="124"/>
                    <a:pt x="23" y="126"/>
                    <a:pt x="23" y="126"/>
                  </a:cubicBezTo>
                  <a:cubicBezTo>
                    <a:pt x="24" y="127"/>
                    <a:pt x="24" y="127"/>
                    <a:pt x="25" y="127"/>
                  </a:cubicBezTo>
                  <a:cubicBezTo>
                    <a:pt x="23" y="127"/>
                    <a:pt x="20" y="128"/>
                    <a:pt x="17" y="127"/>
                  </a:cubicBezTo>
                  <a:cubicBezTo>
                    <a:pt x="13" y="126"/>
                    <a:pt x="16" y="122"/>
                    <a:pt x="8" y="126"/>
                  </a:cubicBezTo>
                  <a:cubicBezTo>
                    <a:pt x="9" y="128"/>
                    <a:pt x="10" y="130"/>
                    <a:pt x="11" y="132"/>
                  </a:cubicBezTo>
                  <a:cubicBezTo>
                    <a:pt x="12" y="132"/>
                    <a:pt x="13" y="131"/>
                    <a:pt x="15" y="131"/>
                  </a:cubicBezTo>
                  <a:cubicBezTo>
                    <a:pt x="15" y="131"/>
                    <a:pt x="16" y="133"/>
                    <a:pt x="16" y="133"/>
                  </a:cubicBezTo>
                  <a:cubicBezTo>
                    <a:pt x="18" y="135"/>
                    <a:pt x="20" y="134"/>
                    <a:pt x="23" y="135"/>
                  </a:cubicBezTo>
                  <a:cubicBezTo>
                    <a:pt x="22" y="135"/>
                    <a:pt x="21" y="136"/>
                    <a:pt x="20" y="137"/>
                  </a:cubicBezTo>
                  <a:cubicBezTo>
                    <a:pt x="22" y="139"/>
                    <a:pt x="24" y="144"/>
                    <a:pt x="27" y="145"/>
                  </a:cubicBezTo>
                  <a:cubicBezTo>
                    <a:pt x="29" y="145"/>
                    <a:pt x="30" y="144"/>
                    <a:pt x="33" y="144"/>
                  </a:cubicBezTo>
                  <a:cubicBezTo>
                    <a:pt x="35" y="144"/>
                    <a:pt x="38" y="146"/>
                    <a:pt x="41" y="146"/>
                  </a:cubicBezTo>
                  <a:cubicBezTo>
                    <a:pt x="40" y="140"/>
                    <a:pt x="40" y="140"/>
                    <a:pt x="43" y="137"/>
                  </a:cubicBezTo>
                  <a:cubicBezTo>
                    <a:pt x="45" y="138"/>
                    <a:pt x="47" y="140"/>
                    <a:pt x="49" y="141"/>
                  </a:cubicBezTo>
                  <a:cubicBezTo>
                    <a:pt x="49" y="140"/>
                    <a:pt x="49" y="140"/>
                    <a:pt x="49" y="139"/>
                  </a:cubicBezTo>
                  <a:cubicBezTo>
                    <a:pt x="51" y="137"/>
                    <a:pt x="55" y="137"/>
                    <a:pt x="58" y="137"/>
                  </a:cubicBezTo>
                  <a:cubicBezTo>
                    <a:pt x="58" y="138"/>
                    <a:pt x="58" y="139"/>
                    <a:pt x="58" y="140"/>
                  </a:cubicBezTo>
                  <a:cubicBezTo>
                    <a:pt x="58" y="141"/>
                    <a:pt x="61" y="142"/>
                    <a:pt x="63" y="143"/>
                  </a:cubicBezTo>
                  <a:cubicBezTo>
                    <a:pt x="63" y="141"/>
                    <a:pt x="64" y="140"/>
                    <a:pt x="65" y="139"/>
                  </a:cubicBezTo>
                  <a:cubicBezTo>
                    <a:pt x="65" y="139"/>
                    <a:pt x="66" y="140"/>
                    <a:pt x="67" y="140"/>
                  </a:cubicBezTo>
                  <a:cubicBezTo>
                    <a:pt x="68" y="140"/>
                    <a:pt x="68" y="140"/>
                    <a:pt x="68" y="140"/>
                  </a:cubicBezTo>
                  <a:cubicBezTo>
                    <a:pt x="69" y="139"/>
                    <a:pt x="69" y="139"/>
                    <a:pt x="69" y="139"/>
                  </a:cubicBezTo>
                  <a:cubicBezTo>
                    <a:pt x="71" y="139"/>
                    <a:pt x="74" y="139"/>
                    <a:pt x="77" y="139"/>
                  </a:cubicBezTo>
                  <a:cubicBezTo>
                    <a:pt x="77" y="139"/>
                    <a:pt x="77" y="137"/>
                    <a:pt x="77" y="137"/>
                  </a:cubicBezTo>
                  <a:cubicBezTo>
                    <a:pt x="78" y="136"/>
                    <a:pt x="80" y="135"/>
                    <a:pt x="81" y="135"/>
                  </a:cubicBezTo>
                  <a:cubicBezTo>
                    <a:pt x="81" y="135"/>
                    <a:pt x="82" y="136"/>
                    <a:pt x="83" y="137"/>
                  </a:cubicBezTo>
                  <a:cubicBezTo>
                    <a:pt x="83" y="138"/>
                    <a:pt x="83" y="139"/>
                    <a:pt x="83" y="141"/>
                  </a:cubicBezTo>
                  <a:cubicBezTo>
                    <a:pt x="85" y="139"/>
                    <a:pt x="86" y="138"/>
                    <a:pt x="88" y="136"/>
                  </a:cubicBezTo>
                  <a:cubicBezTo>
                    <a:pt x="89" y="136"/>
                    <a:pt x="90" y="136"/>
                    <a:pt x="91" y="136"/>
                  </a:cubicBezTo>
                  <a:cubicBezTo>
                    <a:pt x="92" y="139"/>
                    <a:pt x="92" y="139"/>
                    <a:pt x="92" y="139"/>
                  </a:cubicBezTo>
                  <a:cubicBezTo>
                    <a:pt x="96" y="140"/>
                    <a:pt x="102" y="139"/>
                    <a:pt x="106" y="141"/>
                  </a:cubicBezTo>
                  <a:cubicBezTo>
                    <a:pt x="106" y="141"/>
                    <a:pt x="106" y="142"/>
                    <a:pt x="106" y="143"/>
                  </a:cubicBezTo>
                  <a:cubicBezTo>
                    <a:pt x="108" y="144"/>
                    <a:pt x="110" y="144"/>
                    <a:pt x="112" y="146"/>
                  </a:cubicBezTo>
                  <a:cubicBezTo>
                    <a:pt x="112" y="146"/>
                    <a:pt x="112" y="148"/>
                    <a:pt x="112" y="148"/>
                  </a:cubicBezTo>
                  <a:cubicBezTo>
                    <a:pt x="114" y="148"/>
                    <a:pt x="118" y="147"/>
                    <a:pt x="121" y="148"/>
                  </a:cubicBezTo>
                  <a:cubicBezTo>
                    <a:pt x="121" y="148"/>
                    <a:pt x="125" y="152"/>
                    <a:pt x="125" y="152"/>
                  </a:cubicBezTo>
                  <a:cubicBezTo>
                    <a:pt x="126" y="154"/>
                    <a:pt x="125" y="155"/>
                    <a:pt x="126" y="156"/>
                  </a:cubicBezTo>
                  <a:cubicBezTo>
                    <a:pt x="126" y="156"/>
                    <a:pt x="127" y="156"/>
                    <a:pt x="128" y="156"/>
                  </a:cubicBezTo>
                  <a:cubicBezTo>
                    <a:pt x="128" y="156"/>
                    <a:pt x="133" y="160"/>
                    <a:pt x="134" y="160"/>
                  </a:cubicBezTo>
                  <a:cubicBezTo>
                    <a:pt x="134" y="160"/>
                    <a:pt x="136" y="165"/>
                    <a:pt x="136" y="165"/>
                  </a:cubicBezTo>
                  <a:cubicBezTo>
                    <a:pt x="138" y="165"/>
                    <a:pt x="140" y="164"/>
                    <a:pt x="141" y="165"/>
                  </a:cubicBezTo>
                  <a:cubicBezTo>
                    <a:pt x="141" y="165"/>
                    <a:pt x="142" y="166"/>
                    <a:pt x="142" y="166"/>
                  </a:cubicBezTo>
                  <a:cubicBezTo>
                    <a:pt x="143" y="165"/>
                    <a:pt x="142" y="166"/>
                    <a:pt x="142" y="167"/>
                  </a:cubicBezTo>
                  <a:cubicBezTo>
                    <a:pt x="143" y="166"/>
                    <a:pt x="143" y="167"/>
                    <a:pt x="143" y="167"/>
                  </a:cubicBezTo>
                  <a:cubicBezTo>
                    <a:pt x="143" y="167"/>
                    <a:pt x="141" y="168"/>
                    <a:pt x="141" y="169"/>
                  </a:cubicBezTo>
                  <a:cubicBezTo>
                    <a:pt x="141" y="169"/>
                    <a:pt x="142" y="170"/>
                    <a:pt x="142" y="171"/>
                  </a:cubicBezTo>
                  <a:cubicBezTo>
                    <a:pt x="142" y="172"/>
                    <a:pt x="140" y="172"/>
                    <a:pt x="140" y="173"/>
                  </a:cubicBezTo>
                  <a:cubicBezTo>
                    <a:pt x="139" y="174"/>
                    <a:pt x="138" y="173"/>
                    <a:pt x="137" y="174"/>
                  </a:cubicBezTo>
                  <a:cubicBezTo>
                    <a:pt x="137" y="174"/>
                    <a:pt x="136" y="176"/>
                    <a:pt x="136" y="176"/>
                  </a:cubicBezTo>
                  <a:cubicBezTo>
                    <a:pt x="138" y="175"/>
                    <a:pt x="141" y="174"/>
                    <a:pt x="143" y="174"/>
                  </a:cubicBezTo>
                  <a:cubicBezTo>
                    <a:pt x="143" y="174"/>
                    <a:pt x="143" y="175"/>
                    <a:pt x="143" y="176"/>
                  </a:cubicBezTo>
                  <a:cubicBezTo>
                    <a:pt x="143" y="176"/>
                    <a:pt x="149" y="183"/>
                    <a:pt x="150" y="183"/>
                  </a:cubicBezTo>
                  <a:cubicBezTo>
                    <a:pt x="150" y="183"/>
                    <a:pt x="149" y="185"/>
                    <a:pt x="148" y="184"/>
                  </a:cubicBezTo>
                  <a:cubicBezTo>
                    <a:pt x="148" y="185"/>
                    <a:pt x="148" y="185"/>
                    <a:pt x="148" y="185"/>
                  </a:cubicBezTo>
                  <a:cubicBezTo>
                    <a:pt x="149" y="186"/>
                    <a:pt x="152" y="188"/>
                    <a:pt x="152" y="190"/>
                  </a:cubicBezTo>
                  <a:cubicBezTo>
                    <a:pt x="153" y="192"/>
                    <a:pt x="151" y="191"/>
                    <a:pt x="152" y="192"/>
                  </a:cubicBezTo>
                  <a:cubicBezTo>
                    <a:pt x="153" y="192"/>
                    <a:pt x="154" y="192"/>
                    <a:pt x="156" y="192"/>
                  </a:cubicBezTo>
                  <a:cubicBezTo>
                    <a:pt x="155" y="193"/>
                    <a:pt x="157" y="195"/>
                    <a:pt x="154" y="194"/>
                  </a:cubicBezTo>
                  <a:cubicBezTo>
                    <a:pt x="154" y="195"/>
                    <a:pt x="155" y="196"/>
                    <a:pt x="155" y="197"/>
                  </a:cubicBezTo>
                  <a:cubicBezTo>
                    <a:pt x="153" y="198"/>
                    <a:pt x="154" y="198"/>
                    <a:pt x="154" y="200"/>
                  </a:cubicBezTo>
                  <a:cubicBezTo>
                    <a:pt x="154" y="201"/>
                    <a:pt x="154" y="201"/>
                    <a:pt x="154" y="201"/>
                  </a:cubicBezTo>
                  <a:cubicBezTo>
                    <a:pt x="153" y="202"/>
                    <a:pt x="148" y="202"/>
                    <a:pt x="147" y="202"/>
                  </a:cubicBezTo>
                  <a:cubicBezTo>
                    <a:pt x="147" y="203"/>
                    <a:pt x="147" y="203"/>
                    <a:pt x="147" y="203"/>
                  </a:cubicBezTo>
                  <a:cubicBezTo>
                    <a:pt x="148" y="203"/>
                    <a:pt x="149" y="203"/>
                    <a:pt x="150" y="203"/>
                  </a:cubicBezTo>
                  <a:cubicBezTo>
                    <a:pt x="149" y="205"/>
                    <a:pt x="149" y="207"/>
                    <a:pt x="148" y="208"/>
                  </a:cubicBezTo>
                  <a:cubicBezTo>
                    <a:pt x="147" y="209"/>
                    <a:pt x="146" y="209"/>
                    <a:pt x="146" y="209"/>
                  </a:cubicBezTo>
                  <a:cubicBezTo>
                    <a:pt x="146" y="209"/>
                    <a:pt x="146" y="212"/>
                    <a:pt x="146" y="212"/>
                  </a:cubicBezTo>
                  <a:cubicBezTo>
                    <a:pt x="147" y="212"/>
                    <a:pt x="148" y="211"/>
                    <a:pt x="149" y="211"/>
                  </a:cubicBezTo>
                  <a:cubicBezTo>
                    <a:pt x="148" y="212"/>
                    <a:pt x="148" y="214"/>
                    <a:pt x="148" y="214"/>
                  </a:cubicBezTo>
                  <a:cubicBezTo>
                    <a:pt x="147" y="215"/>
                    <a:pt x="145" y="215"/>
                    <a:pt x="145" y="216"/>
                  </a:cubicBezTo>
                  <a:cubicBezTo>
                    <a:pt x="145" y="217"/>
                    <a:pt x="145" y="217"/>
                    <a:pt x="145" y="217"/>
                  </a:cubicBezTo>
                  <a:cubicBezTo>
                    <a:pt x="147" y="219"/>
                    <a:pt x="153" y="222"/>
                    <a:pt x="157" y="219"/>
                  </a:cubicBezTo>
                  <a:cubicBezTo>
                    <a:pt x="157" y="219"/>
                    <a:pt x="158" y="213"/>
                    <a:pt x="159" y="212"/>
                  </a:cubicBezTo>
                  <a:cubicBezTo>
                    <a:pt x="160" y="212"/>
                    <a:pt x="160" y="212"/>
                    <a:pt x="160" y="212"/>
                  </a:cubicBezTo>
                  <a:cubicBezTo>
                    <a:pt x="161" y="214"/>
                    <a:pt x="160" y="214"/>
                    <a:pt x="161" y="216"/>
                  </a:cubicBezTo>
                  <a:cubicBezTo>
                    <a:pt x="166" y="215"/>
                    <a:pt x="169" y="217"/>
                    <a:pt x="176" y="218"/>
                  </a:cubicBezTo>
                  <a:cubicBezTo>
                    <a:pt x="175" y="218"/>
                    <a:pt x="175" y="219"/>
                    <a:pt x="174" y="219"/>
                  </a:cubicBezTo>
                  <a:cubicBezTo>
                    <a:pt x="175" y="221"/>
                    <a:pt x="175" y="221"/>
                    <a:pt x="175" y="221"/>
                  </a:cubicBezTo>
                  <a:cubicBezTo>
                    <a:pt x="177" y="221"/>
                    <a:pt x="179" y="221"/>
                    <a:pt x="182" y="220"/>
                  </a:cubicBezTo>
                  <a:cubicBezTo>
                    <a:pt x="182" y="220"/>
                    <a:pt x="184" y="218"/>
                    <a:pt x="184" y="218"/>
                  </a:cubicBezTo>
                  <a:cubicBezTo>
                    <a:pt x="186" y="218"/>
                    <a:pt x="185" y="219"/>
                    <a:pt x="186" y="219"/>
                  </a:cubicBezTo>
                  <a:cubicBezTo>
                    <a:pt x="185" y="219"/>
                    <a:pt x="182" y="221"/>
                    <a:pt x="182" y="222"/>
                  </a:cubicBezTo>
                  <a:cubicBezTo>
                    <a:pt x="178" y="223"/>
                    <a:pt x="187" y="223"/>
                    <a:pt x="190" y="223"/>
                  </a:cubicBezTo>
                  <a:cubicBezTo>
                    <a:pt x="189" y="223"/>
                    <a:pt x="190" y="225"/>
                    <a:pt x="190" y="226"/>
                  </a:cubicBezTo>
                  <a:cubicBezTo>
                    <a:pt x="188" y="226"/>
                    <a:pt x="186" y="226"/>
                    <a:pt x="184" y="226"/>
                  </a:cubicBezTo>
                  <a:cubicBezTo>
                    <a:pt x="185" y="226"/>
                    <a:pt x="187" y="227"/>
                    <a:pt x="188" y="228"/>
                  </a:cubicBezTo>
                  <a:cubicBezTo>
                    <a:pt x="191" y="229"/>
                    <a:pt x="187" y="229"/>
                    <a:pt x="185" y="229"/>
                  </a:cubicBezTo>
                  <a:cubicBezTo>
                    <a:pt x="185" y="230"/>
                    <a:pt x="185" y="230"/>
                    <a:pt x="185" y="230"/>
                  </a:cubicBezTo>
                  <a:cubicBezTo>
                    <a:pt x="182" y="232"/>
                    <a:pt x="186" y="231"/>
                    <a:pt x="187" y="232"/>
                  </a:cubicBezTo>
                  <a:cubicBezTo>
                    <a:pt x="187" y="232"/>
                    <a:pt x="188" y="232"/>
                    <a:pt x="189" y="232"/>
                  </a:cubicBezTo>
                  <a:cubicBezTo>
                    <a:pt x="189" y="234"/>
                    <a:pt x="189" y="234"/>
                    <a:pt x="189" y="234"/>
                  </a:cubicBezTo>
                  <a:cubicBezTo>
                    <a:pt x="181" y="234"/>
                    <a:pt x="185" y="236"/>
                    <a:pt x="190" y="238"/>
                  </a:cubicBezTo>
                  <a:cubicBezTo>
                    <a:pt x="190" y="238"/>
                    <a:pt x="189" y="240"/>
                    <a:pt x="190" y="240"/>
                  </a:cubicBezTo>
                  <a:cubicBezTo>
                    <a:pt x="185" y="239"/>
                    <a:pt x="179" y="237"/>
                    <a:pt x="176" y="235"/>
                  </a:cubicBezTo>
                  <a:cubicBezTo>
                    <a:pt x="175" y="234"/>
                    <a:pt x="175" y="233"/>
                    <a:pt x="174" y="232"/>
                  </a:cubicBezTo>
                  <a:cubicBezTo>
                    <a:pt x="169" y="230"/>
                    <a:pt x="159" y="230"/>
                    <a:pt x="154" y="231"/>
                  </a:cubicBezTo>
                  <a:cubicBezTo>
                    <a:pt x="154" y="231"/>
                    <a:pt x="153" y="233"/>
                    <a:pt x="153" y="233"/>
                  </a:cubicBezTo>
                  <a:cubicBezTo>
                    <a:pt x="153" y="233"/>
                    <a:pt x="155" y="236"/>
                    <a:pt x="155" y="236"/>
                  </a:cubicBezTo>
                  <a:cubicBezTo>
                    <a:pt x="156" y="237"/>
                    <a:pt x="157" y="236"/>
                    <a:pt x="158" y="236"/>
                  </a:cubicBezTo>
                  <a:cubicBezTo>
                    <a:pt x="158" y="237"/>
                    <a:pt x="158" y="237"/>
                    <a:pt x="158" y="237"/>
                  </a:cubicBezTo>
                  <a:cubicBezTo>
                    <a:pt x="159" y="237"/>
                    <a:pt x="161" y="238"/>
                    <a:pt x="162" y="238"/>
                  </a:cubicBezTo>
                  <a:cubicBezTo>
                    <a:pt x="162" y="240"/>
                    <a:pt x="162" y="240"/>
                    <a:pt x="162" y="240"/>
                  </a:cubicBezTo>
                  <a:cubicBezTo>
                    <a:pt x="161" y="240"/>
                    <a:pt x="162" y="241"/>
                    <a:pt x="160" y="241"/>
                  </a:cubicBezTo>
                  <a:cubicBezTo>
                    <a:pt x="157" y="240"/>
                    <a:pt x="157" y="240"/>
                    <a:pt x="157" y="240"/>
                  </a:cubicBezTo>
                  <a:cubicBezTo>
                    <a:pt x="155" y="240"/>
                    <a:pt x="154" y="240"/>
                    <a:pt x="153" y="240"/>
                  </a:cubicBezTo>
                  <a:cubicBezTo>
                    <a:pt x="152" y="241"/>
                    <a:pt x="152" y="242"/>
                    <a:pt x="151" y="242"/>
                  </a:cubicBezTo>
                  <a:cubicBezTo>
                    <a:pt x="151" y="244"/>
                    <a:pt x="153" y="246"/>
                    <a:pt x="152" y="247"/>
                  </a:cubicBezTo>
                  <a:cubicBezTo>
                    <a:pt x="150" y="249"/>
                    <a:pt x="150" y="249"/>
                    <a:pt x="150" y="249"/>
                  </a:cubicBezTo>
                  <a:cubicBezTo>
                    <a:pt x="149" y="250"/>
                    <a:pt x="150" y="251"/>
                    <a:pt x="150" y="252"/>
                  </a:cubicBezTo>
                  <a:cubicBezTo>
                    <a:pt x="147" y="253"/>
                    <a:pt x="149" y="254"/>
                    <a:pt x="148" y="254"/>
                  </a:cubicBezTo>
                  <a:cubicBezTo>
                    <a:pt x="148" y="254"/>
                    <a:pt x="148" y="256"/>
                    <a:pt x="149" y="256"/>
                  </a:cubicBezTo>
                  <a:cubicBezTo>
                    <a:pt x="151" y="257"/>
                    <a:pt x="154" y="256"/>
                    <a:pt x="155" y="256"/>
                  </a:cubicBezTo>
                  <a:cubicBezTo>
                    <a:pt x="157" y="256"/>
                    <a:pt x="157" y="258"/>
                    <a:pt x="159" y="257"/>
                  </a:cubicBezTo>
                  <a:cubicBezTo>
                    <a:pt x="160" y="257"/>
                    <a:pt x="158" y="256"/>
                    <a:pt x="160" y="256"/>
                  </a:cubicBezTo>
                  <a:cubicBezTo>
                    <a:pt x="160" y="256"/>
                    <a:pt x="160" y="259"/>
                    <a:pt x="160" y="259"/>
                  </a:cubicBezTo>
                  <a:cubicBezTo>
                    <a:pt x="152" y="259"/>
                    <a:pt x="152" y="259"/>
                    <a:pt x="152" y="259"/>
                  </a:cubicBezTo>
                  <a:cubicBezTo>
                    <a:pt x="152" y="260"/>
                    <a:pt x="152" y="260"/>
                    <a:pt x="152" y="260"/>
                  </a:cubicBezTo>
                  <a:cubicBezTo>
                    <a:pt x="154" y="261"/>
                    <a:pt x="155" y="263"/>
                    <a:pt x="157" y="263"/>
                  </a:cubicBezTo>
                  <a:cubicBezTo>
                    <a:pt x="162" y="264"/>
                    <a:pt x="163" y="262"/>
                    <a:pt x="165" y="261"/>
                  </a:cubicBezTo>
                  <a:cubicBezTo>
                    <a:pt x="167" y="260"/>
                    <a:pt x="169" y="261"/>
                    <a:pt x="170" y="260"/>
                  </a:cubicBezTo>
                  <a:cubicBezTo>
                    <a:pt x="177" y="256"/>
                    <a:pt x="177" y="256"/>
                    <a:pt x="177" y="256"/>
                  </a:cubicBezTo>
                  <a:cubicBezTo>
                    <a:pt x="178" y="255"/>
                    <a:pt x="177" y="254"/>
                    <a:pt x="178" y="253"/>
                  </a:cubicBezTo>
                  <a:cubicBezTo>
                    <a:pt x="175" y="251"/>
                    <a:pt x="173" y="250"/>
                    <a:pt x="172" y="248"/>
                  </a:cubicBezTo>
                  <a:cubicBezTo>
                    <a:pt x="171" y="247"/>
                    <a:pt x="170" y="245"/>
                    <a:pt x="169" y="244"/>
                  </a:cubicBezTo>
                  <a:cubicBezTo>
                    <a:pt x="167" y="243"/>
                    <a:pt x="165" y="243"/>
                    <a:pt x="164" y="242"/>
                  </a:cubicBezTo>
                  <a:cubicBezTo>
                    <a:pt x="164" y="241"/>
                    <a:pt x="163" y="239"/>
                    <a:pt x="163" y="239"/>
                  </a:cubicBezTo>
                  <a:cubicBezTo>
                    <a:pt x="167" y="240"/>
                    <a:pt x="168" y="240"/>
                    <a:pt x="171" y="242"/>
                  </a:cubicBezTo>
                  <a:cubicBezTo>
                    <a:pt x="173" y="243"/>
                    <a:pt x="175" y="247"/>
                    <a:pt x="180" y="246"/>
                  </a:cubicBezTo>
                  <a:cubicBezTo>
                    <a:pt x="181" y="245"/>
                    <a:pt x="182" y="244"/>
                    <a:pt x="183" y="244"/>
                  </a:cubicBezTo>
                  <a:cubicBezTo>
                    <a:pt x="184" y="246"/>
                    <a:pt x="184" y="246"/>
                    <a:pt x="184" y="246"/>
                  </a:cubicBezTo>
                  <a:cubicBezTo>
                    <a:pt x="186" y="246"/>
                    <a:pt x="187" y="246"/>
                    <a:pt x="190" y="245"/>
                  </a:cubicBezTo>
                  <a:cubicBezTo>
                    <a:pt x="190" y="246"/>
                    <a:pt x="190" y="246"/>
                    <a:pt x="190" y="246"/>
                  </a:cubicBezTo>
                  <a:cubicBezTo>
                    <a:pt x="190" y="246"/>
                    <a:pt x="189" y="248"/>
                    <a:pt x="189" y="248"/>
                  </a:cubicBezTo>
                  <a:cubicBezTo>
                    <a:pt x="189" y="248"/>
                    <a:pt x="191" y="249"/>
                    <a:pt x="190" y="250"/>
                  </a:cubicBezTo>
                  <a:cubicBezTo>
                    <a:pt x="190" y="250"/>
                    <a:pt x="188" y="250"/>
                    <a:pt x="188" y="250"/>
                  </a:cubicBezTo>
                  <a:cubicBezTo>
                    <a:pt x="187" y="252"/>
                    <a:pt x="188" y="252"/>
                    <a:pt x="187" y="254"/>
                  </a:cubicBezTo>
                  <a:cubicBezTo>
                    <a:pt x="187" y="254"/>
                    <a:pt x="189" y="255"/>
                    <a:pt x="190" y="255"/>
                  </a:cubicBezTo>
                  <a:cubicBezTo>
                    <a:pt x="189" y="256"/>
                    <a:pt x="188" y="256"/>
                    <a:pt x="187" y="256"/>
                  </a:cubicBezTo>
                  <a:cubicBezTo>
                    <a:pt x="187" y="258"/>
                    <a:pt x="187" y="258"/>
                    <a:pt x="187" y="258"/>
                  </a:cubicBezTo>
                  <a:cubicBezTo>
                    <a:pt x="192" y="257"/>
                    <a:pt x="192" y="256"/>
                    <a:pt x="191" y="261"/>
                  </a:cubicBezTo>
                  <a:cubicBezTo>
                    <a:pt x="191" y="261"/>
                    <a:pt x="193" y="261"/>
                    <a:pt x="193" y="261"/>
                  </a:cubicBezTo>
                  <a:cubicBezTo>
                    <a:pt x="193" y="261"/>
                    <a:pt x="193" y="263"/>
                    <a:pt x="193" y="264"/>
                  </a:cubicBezTo>
                  <a:cubicBezTo>
                    <a:pt x="191" y="265"/>
                    <a:pt x="192" y="264"/>
                    <a:pt x="192" y="266"/>
                  </a:cubicBezTo>
                  <a:cubicBezTo>
                    <a:pt x="190" y="266"/>
                    <a:pt x="190" y="266"/>
                    <a:pt x="190" y="266"/>
                  </a:cubicBezTo>
                  <a:cubicBezTo>
                    <a:pt x="189" y="265"/>
                    <a:pt x="189" y="264"/>
                    <a:pt x="189" y="262"/>
                  </a:cubicBezTo>
                  <a:cubicBezTo>
                    <a:pt x="189" y="263"/>
                    <a:pt x="187" y="262"/>
                    <a:pt x="186" y="262"/>
                  </a:cubicBezTo>
                  <a:cubicBezTo>
                    <a:pt x="186" y="265"/>
                    <a:pt x="186" y="269"/>
                    <a:pt x="186" y="269"/>
                  </a:cubicBezTo>
                  <a:cubicBezTo>
                    <a:pt x="186" y="270"/>
                    <a:pt x="186" y="270"/>
                    <a:pt x="186" y="270"/>
                  </a:cubicBezTo>
                  <a:cubicBezTo>
                    <a:pt x="187" y="270"/>
                    <a:pt x="188" y="270"/>
                    <a:pt x="188" y="270"/>
                  </a:cubicBezTo>
                  <a:cubicBezTo>
                    <a:pt x="188" y="272"/>
                    <a:pt x="187" y="273"/>
                    <a:pt x="187" y="274"/>
                  </a:cubicBezTo>
                  <a:cubicBezTo>
                    <a:pt x="185" y="275"/>
                    <a:pt x="182" y="276"/>
                    <a:pt x="180" y="275"/>
                  </a:cubicBezTo>
                  <a:cubicBezTo>
                    <a:pt x="179" y="275"/>
                    <a:pt x="178" y="273"/>
                    <a:pt x="178" y="274"/>
                  </a:cubicBezTo>
                  <a:cubicBezTo>
                    <a:pt x="176" y="274"/>
                    <a:pt x="177" y="276"/>
                    <a:pt x="176" y="276"/>
                  </a:cubicBezTo>
                  <a:cubicBezTo>
                    <a:pt x="175" y="277"/>
                    <a:pt x="174" y="277"/>
                    <a:pt x="173" y="278"/>
                  </a:cubicBezTo>
                  <a:cubicBezTo>
                    <a:pt x="173" y="277"/>
                    <a:pt x="171" y="277"/>
                    <a:pt x="170" y="278"/>
                  </a:cubicBezTo>
                  <a:cubicBezTo>
                    <a:pt x="170" y="279"/>
                    <a:pt x="170" y="279"/>
                    <a:pt x="170" y="279"/>
                  </a:cubicBezTo>
                  <a:cubicBezTo>
                    <a:pt x="179" y="279"/>
                    <a:pt x="183" y="280"/>
                    <a:pt x="188" y="276"/>
                  </a:cubicBezTo>
                  <a:cubicBezTo>
                    <a:pt x="190" y="283"/>
                    <a:pt x="191" y="280"/>
                    <a:pt x="184" y="281"/>
                  </a:cubicBezTo>
                  <a:cubicBezTo>
                    <a:pt x="183" y="281"/>
                    <a:pt x="179" y="283"/>
                    <a:pt x="177" y="282"/>
                  </a:cubicBezTo>
                  <a:cubicBezTo>
                    <a:pt x="177" y="282"/>
                    <a:pt x="176" y="280"/>
                    <a:pt x="176" y="280"/>
                  </a:cubicBezTo>
                  <a:cubicBezTo>
                    <a:pt x="174" y="279"/>
                    <a:pt x="173" y="280"/>
                    <a:pt x="172" y="280"/>
                  </a:cubicBezTo>
                  <a:cubicBezTo>
                    <a:pt x="172" y="282"/>
                    <a:pt x="172" y="282"/>
                    <a:pt x="172" y="282"/>
                  </a:cubicBezTo>
                  <a:cubicBezTo>
                    <a:pt x="173" y="283"/>
                    <a:pt x="180" y="286"/>
                    <a:pt x="177" y="286"/>
                  </a:cubicBezTo>
                  <a:cubicBezTo>
                    <a:pt x="176" y="285"/>
                    <a:pt x="175" y="285"/>
                    <a:pt x="174" y="285"/>
                  </a:cubicBezTo>
                  <a:cubicBezTo>
                    <a:pt x="174" y="285"/>
                    <a:pt x="172" y="283"/>
                    <a:pt x="172" y="283"/>
                  </a:cubicBezTo>
                  <a:cubicBezTo>
                    <a:pt x="169" y="282"/>
                    <a:pt x="167" y="285"/>
                    <a:pt x="166" y="286"/>
                  </a:cubicBezTo>
                  <a:cubicBezTo>
                    <a:pt x="166" y="287"/>
                    <a:pt x="164" y="288"/>
                    <a:pt x="164" y="289"/>
                  </a:cubicBezTo>
                  <a:cubicBezTo>
                    <a:pt x="163" y="290"/>
                    <a:pt x="164" y="291"/>
                    <a:pt x="164" y="292"/>
                  </a:cubicBezTo>
                  <a:cubicBezTo>
                    <a:pt x="166" y="291"/>
                    <a:pt x="168" y="289"/>
                    <a:pt x="170" y="288"/>
                  </a:cubicBezTo>
                  <a:cubicBezTo>
                    <a:pt x="170" y="288"/>
                    <a:pt x="170" y="288"/>
                    <a:pt x="170" y="288"/>
                  </a:cubicBezTo>
                  <a:cubicBezTo>
                    <a:pt x="171" y="287"/>
                    <a:pt x="171" y="288"/>
                    <a:pt x="173" y="288"/>
                  </a:cubicBezTo>
                  <a:cubicBezTo>
                    <a:pt x="175" y="288"/>
                    <a:pt x="178" y="286"/>
                    <a:pt x="181" y="286"/>
                  </a:cubicBezTo>
                  <a:cubicBezTo>
                    <a:pt x="178" y="288"/>
                    <a:pt x="179" y="288"/>
                    <a:pt x="182" y="290"/>
                  </a:cubicBezTo>
                  <a:cubicBezTo>
                    <a:pt x="182" y="291"/>
                    <a:pt x="182" y="291"/>
                    <a:pt x="182" y="291"/>
                  </a:cubicBezTo>
                  <a:cubicBezTo>
                    <a:pt x="184" y="291"/>
                    <a:pt x="186" y="290"/>
                    <a:pt x="187" y="290"/>
                  </a:cubicBezTo>
                  <a:cubicBezTo>
                    <a:pt x="187" y="288"/>
                    <a:pt x="187" y="287"/>
                    <a:pt x="186" y="285"/>
                  </a:cubicBezTo>
                  <a:cubicBezTo>
                    <a:pt x="187" y="285"/>
                    <a:pt x="189" y="285"/>
                    <a:pt x="191" y="285"/>
                  </a:cubicBezTo>
                  <a:cubicBezTo>
                    <a:pt x="190" y="286"/>
                    <a:pt x="188" y="289"/>
                    <a:pt x="190" y="288"/>
                  </a:cubicBezTo>
                  <a:cubicBezTo>
                    <a:pt x="190" y="288"/>
                    <a:pt x="190" y="290"/>
                    <a:pt x="189" y="290"/>
                  </a:cubicBezTo>
                  <a:cubicBezTo>
                    <a:pt x="189" y="290"/>
                    <a:pt x="189" y="292"/>
                    <a:pt x="188" y="292"/>
                  </a:cubicBezTo>
                  <a:cubicBezTo>
                    <a:pt x="186" y="292"/>
                    <a:pt x="184" y="293"/>
                    <a:pt x="182" y="292"/>
                  </a:cubicBezTo>
                  <a:cubicBezTo>
                    <a:pt x="179" y="292"/>
                    <a:pt x="175" y="287"/>
                    <a:pt x="170" y="289"/>
                  </a:cubicBezTo>
                  <a:cubicBezTo>
                    <a:pt x="170" y="290"/>
                    <a:pt x="170" y="290"/>
                    <a:pt x="170" y="290"/>
                  </a:cubicBezTo>
                  <a:cubicBezTo>
                    <a:pt x="168" y="291"/>
                    <a:pt x="168" y="293"/>
                    <a:pt x="168" y="294"/>
                  </a:cubicBezTo>
                  <a:cubicBezTo>
                    <a:pt x="167" y="294"/>
                    <a:pt x="166" y="293"/>
                    <a:pt x="165" y="294"/>
                  </a:cubicBezTo>
                  <a:cubicBezTo>
                    <a:pt x="165" y="294"/>
                    <a:pt x="164" y="295"/>
                    <a:pt x="163" y="296"/>
                  </a:cubicBezTo>
                  <a:cubicBezTo>
                    <a:pt x="163" y="296"/>
                    <a:pt x="165" y="297"/>
                    <a:pt x="165" y="298"/>
                  </a:cubicBezTo>
                  <a:cubicBezTo>
                    <a:pt x="165" y="299"/>
                    <a:pt x="164" y="300"/>
                    <a:pt x="164" y="300"/>
                  </a:cubicBezTo>
                  <a:cubicBezTo>
                    <a:pt x="165" y="301"/>
                    <a:pt x="167" y="300"/>
                    <a:pt x="168" y="301"/>
                  </a:cubicBezTo>
                  <a:cubicBezTo>
                    <a:pt x="169" y="301"/>
                    <a:pt x="169" y="303"/>
                    <a:pt x="168" y="303"/>
                  </a:cubicBezTo>
                  <a:cubicBezTo>
                    <a:pt x="170" y="303"/>
                    <a:pt x="170" y="303"/>
                    <a:pt x="170" y="303"/>
                  </a:cubicBezTo>
                  <a:cubicBezTo>
                    <a:pt x="169" y="304"/>
                    <a:pt x="169" y="306"/>
                    <a:pt x="168" y="306"/>
                  </a:cubicBezTo>
                  <a:cubicBezTo>
                    <a:pt x="168" y="306"/>
                    <a:pt x="166" y="306"/>
                    <a:pt x="166" y="306"/>
                  </a:cubicBezTo>
                  <a:cubicBezTo>
                    <a:pt x="166" y="307"/>
                    <a:pt x="166" y="308"/>
                    <a:pt x="166" y="308"/>
                  </a:cubicBezTo>
                  <a:cubicBezTo>
                    <a:pt x="166" y="309"/>
                    <a:pt x="166" y="309"/>
                    <a:pt x="166" y="309"/>
                  </a:cubicBezTo>
                  <a:cubicBezTo>
                    <a:pt x="166" y="309"/>
                    <a:pt x="169" y="309"/>
                    <a:pt x="168" y="309"/>
                  </a:cubicBezTo>
                  <a:cubicBezTo>
                    <a:pt x="168" y="310"/>
                    <a:pt x="168" y="310"/>
                    <a:pt x="168" y="310"/>
                  </a:cubicBezTo>
                  <a:cubicBezTo>
                    <a:pt x="167" y="311"/>
                    <a:pt x="162" y="311"/>
                    <a:pt x="165" y="313"/>
                  </a:cubicBezTo>
                  <a:cubicBezTo>
                    <a:pt x="166" y="315"/>
                    <a:pt x="166" y="315"/>
                    <a:pt x="166" y="315"/>
                  </a:cubicBezTo>
                  <a:cubicBezTo>
                    <a:pt x="168" y="314"/>
                    <a:pt x="169" y="314"/>
                    <a:pt x="171" y="314"/>
                  </a:cubicBezTo>
                  <a:cubicBezTo>
                    <a:pt x="171" y="314"/>
                    <a:pt x="168" y="316"/>
                    <a:pt x="168" y="316"/>
                  </a:cubicBezTo>
                  <a:cubicBezTo>
                    <a:pt x="168" y="317"/>
                    <a:pt x="169" y="318"/>
                    <a:pt x="168" y="319"/>
                  </a:cubicBezTo>
                  <a:cubicBezTo>
                    <a:pt x="170" y="318"/>
                    <a:pt x="170" y="318"/>
                    <a:pt x="172" y="318"/>
                  </a:cubicBezTo>
                  <a:cubicBezTo>
                    <a:pt x="172" y="318"/>
                    <a:pt x="173" y="319"/>
                    <a:pt x="174" y="319"/>
                  </a:cubicBezTo>
                  <a:cubicBezTo>
                    <a:pt x="175" y="319"/>
                    <a:pt x="175" y="317"/>
                    <a:pt x="176" y="317"/>
                  </a:cubicBezTo>
                  <a:cubicBezTo>
                    <a:pt x="177" y="316"/>
                    <a:pt x="178" y="317"/>
                    <a:pt x="179" y="316"/>
                  </a:cubicBezTo>
                  <a:cubicBezTo>
                    <a:pt x="177" y="318"/>
                    <a:pt x="175" y="320"/>
                    <a:pt x="174" y="321"/>
                  </a:cubicBezTo>
                  <a:cubicBezTo>
                    <a:pt x="175" y="322"/>
                    <a:pt x="176" y="323"/>
                    <a:pt x="178" y="323"/>
                  </a:cubicBezTo>
                  <a:cubicBezTo>
                    <a:pt x="178" y="325"/>
                    <a:pt x="178" y="325"/>
                    <a:pt x="178" y="325"/>
                  </a:cubicBezTo>
                  <a:cubicBezTo>
                    <a:pt x="176" y="325"/>
                    <a:pt x="176" y="325"/>
                    <a:pt x="175" y="325"/>
                  </a:cubicBezTo>
                  <a:cubicBezTo>
                    <a:pt x="175" y="325"/>
                    <a:pt x="175" y="328"/>
                    <a:pt x="175" y="328"/>
                  </a:cubicBezTo>
                  <a:cubicBezTo>
                    <a:pt x="176" y="328"/>
                    <a:pt x="178" y="328"/>
                    <a:pt x="178" y="328"/>
                  </a:cubicBezTo>
                  <a:cubicBezTo>
                    <a:pt x="178" y="328"/>
                    <a:pt x="178" y="330"/>
                    <a:pt x="178" y="330"/>
                  </a:cubicBezTo>
                  <a:cubicBezTo>
                    <a:pt x="178" y="330"/>
                    <a:pt x="180" y="330"/>
                    <a:pt x="180" y="331"/>
                  </a:cubicBezTo>
                  <a:cubicBezTo>
                    <a:pt x="179" y="334"/>
                    <a:pt x="179" y="333"/>
                    <a:pt x="179" y="337"/>
                  </a:cubicBezTo>
                  <a:cubicBezTo>
                    <a:pt x="184" y="332"/>
                    <a:pt x="184" y="332"/>
                    <a:pt x="184" y="332"/>
                  </a:cubicBezTo>
                  <a:cubicBezTo>
                    <a:pt x="185" y="332"/>
                    <a:pt x="185" y="333"/>
                    <a:pt x="187" y="333"/>
                  </a:cubicBezTo>
                  <a:cubicBezTo>
                    <a:pt x="187" y="333"/>
                    <a:pt x="188" y="330"/>
                    <a:pt x="188" y="330"/>
                  </a:cubicBezTo>
                  <a:cubicBezTo>
                    <a:pt x="190" y="330"/>
                    <a:pt x="190" y="331"/>
                    <a:pt x="192" y="331"/>
                  </a:cubicBezTo>
                  <a:cubicBezTo>
                    <a:pt x="190" y="332"/>
                    <a:pt x="192" y="335"/>
                    <a:pt x="192" y="335"/>
                  </a:cubicBezTo>
                  <a:cubicBezTo>
                    <a:pt x="191" y="336"/>
                    <a:pt x="190" y="334"/>
                    <a:pt x="188" y="334"/>
                  </a:cubicBezTo>
                  <a:cubicBezTo>
                    <a:pt x="188" y="334"/>
                    <a:pt x="188" y="336"/>
                    <a:pt x="188" y="336"/>
                  </a:cubicBezTo>
                  <a:cubicBezTo>
                    <a:pt x="189" y="336"/>
                    <a:pt x="189" y="337"/>
                    <a:pt x="189" y="338"/>
                  </a:cubicBezTo>
                  <a:cubicBezTo>
                    <a:pt x="185" y="339"/>
                    <a:pt x="184" y="338"/>
                    <a:pt x="181" y="339"/>
                  </a:cubicBezTo>
                  <a:cubicBezTo>
                    <a:pt x="181" y="341"/>
                    <a:pt x="181" y="341"/>
                    <a:pt x="181" y="341"/>
                  </a:cubicBezTo>
                  <a:cubicBezTo>
                    <a:pt x="182" y="341"/>
                    <a:pt x="184" y="340"/>
                    <a:pt x="186" y="341"/>
                  </a:cubicBezTo>
                  <a:cubicBezTo>
                    <a:pt x="186" y="342"/>
                    <a:pt x="186" y="342"/>
                    <a:pt x="186" y="342"/>
                  </a:cubicBezTo>
                  <a:cubicBezTo>
                    <a:pt x="184" y="342"/>
                    <a:pt x="183" y="342"/>
                    <a:pt x="182" y="342"/>
                  </a:cubicBezTo>
                  <a:cubicBezTo>
                    <a:pt x="182" y="342"/>
                    <a:pt x="179" y="344"/>
                    <a:pt x="181" y="343"/>
                  </a:cubicBezTo>
                  <a:cubicBezTo>
                    <a:pt x="181" y="344"/>
                    <a:pt x="184" y="347"/>
                    <a:pt x="183" y="345"/>
                  </a:cubicBezTo>
                  <a:cubicBezTo>
                    <a:pt x="183" y="345"/>
                    <a:pt x="184" y="341"/>
                    <a:pt x="183" y="347"/>
                  </a:cubicBezTo>
                  <a:cubicBezTo>
                    <a:pt x="182" y="350"/>
                    <a:pt x="184" y="349"/>
                    <a:pt x="188" y="349"/>
                  </a:cubicBezTo>
                  <a:cubicBezTo>
                    <a:pt x="187" y="349"/>
                    <a:pt x="187" y="352"/>
                    <a:pt x="187" y="352"/>
                  </a:cubicBezTo>
                  <a:cubicBezTo>
                    <a:pt x="185" y="351"/>
                    <a:pt x="186" y="354"/>
                    <a:pt x="186" y="354"/>
                  </a:cubicBezTo>
                  <a:cubicBezTo>
                    <a:pt x="187" y="354"/>
                    <a:pt x="188" y="354"/>
                    <a:pt x="189" y="354"/>
                  </a:cubicBezTo>
                  <a:cubicBezTo>
                    <a:pt x="186" y="355"/>
                    <a:pt x="189" y="358"/>
                    <a:pt x="188" y="358"/>
                  </a:cubicBezTo>
                  <a:cubicBezTo>
                    <a:pt x="188" y="358"/>
                    <a:pt x="190" y="358"/>
                    <a:pt x="189" y="357"/>
                  </a:cubicBezTo>
                  <a:cubicBezTo>
                    <a:pt x="189" y="357"/>
                    <a:pt x="190" y="356"/>
                    <a:pt x="190" y="356"/>
                  </a:cubicBezTo>
                  <a:cubicBezTo>
                    <a:pt x="190" y="356"/>
                    <a:pt x="192" y="356"/>
                    <a:pt x="194" y="355"/>
                  </a:cubicBezTo>
                  <a:cubicBezTo>
                    <a:pt x="192" y="360"/>
                    <a:pt x="191" y="364"/>
                    <a:pt x="198" y="361"/>
                  </a:cubicBezTo>
                  <a:cubicBezTo>
                    <a:pt x="197" y="361"/>
                    <a:pt x="196" y="366"/>
                    <a:pt x="197" y="367"/>
                  </a:cubicBezTo>
                  <a:cubicBezTo>
                    <a:pt x="199" y="368"/>
                    <a:pt x="200" y="365"/>
                    <a:pt x="202" y="364"/>
                  </a:cubicBezTo>
                  <a:cubicBezTo>
                    <a:pt x="203" y="364"/>
                    <a:pt x="204" y="364"/>
                    <a:pt x="205" y="364"/>
                  </a:cubicBezTo>
                  <a:cubicBezTo>
                    <a:pt x="205" y="364"/>
                    <a:pt x="203" y="368"/>
                    <a:pt x="204" y="368"/>
                  </a:cubicBezTo>
                  <a:cubicBezTo>
                    <a:pt x="202" y="368"/>
                    <a:pt x="205" y="369"/>
                    <a:pt x="205" y="369"/>
                  </a:cubicBezTo>
                  <a:cubicBezTo>
                    <a:pt x="206" y="369"/>
                    <a:pt x="207" y="368"/>
                    <a:pt x="208" y="367"/>
                  </a:cubicBezTo>
                  <a:cubicBezTo>
                    <a:pt x="208" y="368"/>
                    <a:pt x="208" y="369"/>
                    <a:pt x="208" y="369"/>
                  </a:cubicBezTo>
                  <a:cubicBezTo>
                    <a:pt x="208" y="370"/>
                    <a:pt x="206" y="371"/>
                    <a:pt x="206" y="371"/>
                  </a:cubicBezTo>
                  <a:cubicBezTo>
                    <a:pt x="205" y="374"/>
                    <a:pt x="211" y="369"/>
                    <a:pt x="209" y="375"/>
                  </a:cubicBezTo>
                  <a:cubicBezTo>
                    <a:pt x="209" y="375"/>
                    <a:pt x="208" y="378"/>
                    <a:pt x="208" y="377"/>
                  </a:cubicBezTo>
                  <a:cubicBezTo>
                    <a:pt x="207" y="378"/>
                    <a:pt x="210" y="378"/>
                    <a:pt x="210" y="378"/>
                  </a:cubicBezTo>
                  <a:cubicBezTo>
                    <a:pt x="211" y="378"/>
                    <a:pt x="211" y="376"/>
                    <a:pt x="211" y="376"/>
                  </a:cubicBezTo>
                  <a:cubicBezTo>
                    <a:pt x="211" y="376"/>
                    <a:pt x="214" y="376"/>
                    <a:pt x="213" y="377"/>
                  </a:cubicBezTo>
                  <a:cubicBezTo>
                    <a:pt x="213" y="377"/>
                    <a:pt x="215" y="377"/>
                    <a:pt x="213" y="377"/>
                  </a:cubicBezTo>
                  <a:cubicBezTo>
                    <a:pt x="213" y="377"/>
                    <a:pt x="210" y="378"/>
                    <a:pt x="213" y="378"/>
                  </a:cubicBezTo>
                  <a:cubicBezTo>
                    <a:pt x="211" y="379"/>
                    <a:pt x="211" y="378"/>
                    <a:pt x="209" y="379"/>
                  </a:cubicBezTo>
                  <a:cubicBezTo>
                    <a:pt x="209" y="380"/>
                    <a:pt x="209" y="380"/>
                    <a:pt x="209" y="380"/>
                  </a:cubicBezTo>
                  <a:cubicBezTo>
                    <a:pt x="210" y="380"/>
                    <a:pt x="212" y="380"/>
                    <a:pt x="213" y="380"/>
                  </a:cubicBezTo>
                  <a:cubicBezTo>
                    <a:pt x="213" y="380"/>
                    <a:pt x="213" y="382"/>
                    <a:pt x="212" y="382"/>
                  </a:cubicBezTo>
                  <a:cubicBezTo>
                    <a:pt x="212" y="382"/>
                    <a:pt x="212" y="384"/>
                    <a:pt x="212" y="385"/>
                  </a:cubicBezTo>
                  <a:cubicBezTo>
                    <a:pt x="217" y="385"/>
                    <a:pt x="216" y="383"/>
                    <a:pt x="215" y="388"/>
                  </a:cubicBezTo>
                  <a:cubicBezTo>
                    <a:pt x="215" y="387"/>
                    <a:pt x="217" y="388"/>
                    <a:pt x="217" y="388"/>
                  </a:cubicBezTo>
                  <a:cubicBezTo>
                    <a:pt x="217" y="388"/>
                    <a:pt x="218" y="386"/>
                    <a:pt x="219" y="385"/>
                  </a:cubicBezTo>
                  <a:cubicBezTo>
                    <a:pt x="219" y="385"/>
                    <a:pt x="219" y="385"/>
                    <a:pt x="219" y="385"/>
                  </a:cubicBezTo>
                  <a:cubicBezTo>
                    <a:pt x="221" y="384"/>
                    <a:pt x="221" y="386"/>
                    <a:pt x="221" y="386"/>
                  </a:cubicBezTo>
                  <a:cubicBezTo>
                    <a:pt x="222" y="386"/>
                    <a:pt x="226" y="384"/>
                    <a:pt x="226" y="384"/>
                  </a:cubicBezTo>
                  <a:cubicBezTo>
                    <a:pt x="227" y="383"/>
                    <a:pt x="229" y="379"/>
                    <a:pt x="230" y="378"/>
                  </a:cubicBezTo>
                  <a:cubicBezTo>
                    <a:pt x="230" y="378"/>
                    <a:pt x="231" y="379"/>
                    <a:pt x="231" y="379"/>
                  </a:cubicBezTo>
                  <a:cubicBezTo>
                    <a:pt x="231" y="381"/>
                    <a:pt x="231" y="382"/>
                    <a:pt x="230" y="384"/>
                  </a:cubicBezTo>
                  <a:cubicBezTo>
                    <a:pt x="233" y="383"/>
                    <a:pt x="233" y="384"/>
                    <a:pt x="231" y="385"/>
                  </a:cubicBezTo>
                  <a:cubicBezTo>
                    <a:pt x="227" y="387"/>
                    <a:pt x="231" y="386"/>
                    <a:pt x="234" y="387"/>
                  </a:cubicBezTo>
                  <a:cubicBezTo>
                    <a:pt x="234" y="386"/>
                    <a:pt x="234" y="386"/>
                    <a:pt x="235" y="386"/>
                  </a:cubicBezTo>
                  <a:cubicBezTo>
                    <a:pt x="235" y="386"/>
                    <a:pt x="234" y="389"/>
                    <a:pt x="234" y="389"/>
                  </a:cubicBezTo>
                  <a:cubicBezTo>
                    <a:pt x="235" y="390"/>
                    <a:pt x="235" y="389"/>
                    <a:pt x="235" y="390"/>
                  </a:cubicBezTo>
                  <a:cubicBezTo>
                    <a:pt x="235" y="390"/>
                    <a:pt x="237" y="389"/>
                    <a:pt x="237" y="389"/>
                  </a:cubicBezTo>
                  <a:cubicBezTo>
                    <a:pt x="238" y="389"/>
                    <a:pt x="238" y="388"/>
                    <a:pt x="238" y="387"/>
                  </a:cubicBezTo>
                  <a:cubicBezTo>
                    <a:pt x="239" y="387"/>
                    <a:pt x="239" y="387"/>
                    <a:pt x="239" y="387"/>
                  </a:cubicBezTo>
                  <a:cubicBezTo>
                    <a:pt x="240" y="387"/>
                    <a:pt x="239" y="388"/>
                    <a:pt x="241" y="389"/>
                  </a:cubicBezTo>
                  <a:cubicBezTo>
                    <a:pt x="242" y="388"/>
                    <a:pt x="243" y="387"/>
                    <a:pt x="243" y="387"/>
                  </a:cubicBezTo>
                  <a:cubicBezTo>
                    <a:pt x="243" y="387"/>
                    <a:pt x="244" y="389"/>
                    <a:pt x="243" y="390"/>
                  </a:cubicBezTo>
                  <a:cubicBezTo>
                    <a:pt x="243" y="390"/>
                    <a:pt x="241" y="391"/>
                    <a:pt x="241" y="391"/>
                  </a:cubicBezTo>
                  <a:cubicBezTo>
                    <a:pt x="240" y="392"/>
                    <a:pt x="241" y="393"/>
                    <a:pt x="240" y="394"/>
                  </a:cubicBezTo>
                  <a:cubicBezTo>
                    <a:pt x="239" y="395"/>
                    <a:pt x="244" y="391"/>
                    <a:pt x="245" y="390"/>
                  </a:cubicBezTo>
                  <a:cubicBezTo>
                    <a:pt x="245" y="391"/>
                    <a:pt x="243" y="396"/>
                    <a:pt x="245" y="395"/>
                  </a:cubicBezTo>
                  <a:cubicBezTo>
                    <a:pt x="244" y="396"/>
                    <a:pt x="246" y="395"/>
                    <a:pt x="247" y="395"/>
                  </a:cubicBezTo>
                  <a:cubicBezTo>
                    <a:pt x="247" y="394"/>
                    <a:pt x="247" y="393"/>
                    <a:pt x="247" y="391"/>
                  </a:cubicBezTo>
                  <a:cubicBezTo>
                    <a:pt x="249" y="391"/>
                    <a:pt x="249" y="391"/>
                    <a:pt x="249" y="391"/>
                  </a:cubicBezTo>
                  <a:cubicBezTo>
                    <a:pt x="248" y="392"/>
                    <a:pt x="249" y="392"/>
                    <a:pt x="249" y="393"/>
                  </a:cubicBezTo>
                  <a:cubicBezTo>
                    <a:pt x="249" y="393"/>
                    <a:pt x="248" y="394"/>
                    <a:pt x="248" y="394"/>
                  </a:cubicBezTo>
                  <a:cubicBezTo>
                    <a:pt x="248" y="394"/>
                    <a:pt x="248" y="395"/>
                    <a:pt x="248" y="396"/>
                  </a:cubicBezTo>
                  <a:cubicBezTo>
                    <a:pt x="248" y="396"/>
                    <a:pt x="253" y="399"/>
                    <a:pt x="253" y="399"/>
                  </a:cubicBezTo>
                  <a:cubicBezTo>
                    <a:pt x="254" y="399"/>
                    <a:pt x="254" y="397"/>
                    <a:pt x="255" y="397"/>
                  </a:cubicBezTo>
                  <a:cubicBezTo>
                    <a:pt x="255" y="397"/>
                    <a:pt x="256" y="397"/>
                    <a:pt x="257" y="397"/>
                  </a:cubicBezTo>
                  <a:cubicBezTo>
                    <a:pt x="257" y="397"/>
                    <a:pt x="256" y="396"/>
                    <a:pt x="256" y="396"/>
                  </a:cubicBezTo>
                  <a:cubicBezTo>
                    <a:pt x="256" y="396"/>
                    <a:pt x="258" y="395"/>
                    <a:pt x="259" y="395"/>
                  </a:cubicBezTo>
                  <a:cubicBezTo>
                    <a:pt x="258" y="395"/>
                    <a:pt x="258" y="394"/>
                    <a:pt x="258" y="393"/>
                  </a:cubicBezTo>
                  <a:cubicBezTo>
                    <a:pt x="257" y="393"/>
                    <a:pt x="254" y="393"/>
                    <a:pt x="256" y="391"/>
                  </a:cubicBezTo>
                  <a:cubicBezTo>
                    <a:pt x="258" y="390"/>
                    <a:pt x="258" y="390"/>
                    <a:pt x="256" y="389"/>
                  </a:cubicBezTo>
                  <a:cubicBezTo>
                    <a:pt x="255" y="387"/>
                    <a:pt x="255" y="387"/>
                    <a:pt x="255" y="387"/>
                  </a:cubicBezTo>
                  <a:cubicBezTo>
                    <a:pt x="254" y="387"/>
                    <a:pt x="253" y="387"/>
                    <a:pt x="252" y="387"/>
                  </a:cubicBezTo>
                  <a:cubicBezTo>
                    <a:pt x="252" y="385"/>
                    <a:pt x="252" y="385"/>
                    <a:pt x="252" y="385"/>
                  </a:cubicBezTo>
                  <a:cubicBezTo>
                    <a:pt x="253" y="385"/>
                    <a:pt x="254" y="386"/>
                    <a:pt x="256" y="386"/>
                  </a:cubicBezTo>
                  <a:cubicBezTo>
                    <a:pt x="256" y="386"/>
                    <a:pt x="257" y="384"/>
                    <a:pt x="256" y="384"/>
                  </a:cubicBezTo>
                  <a:cubicBezTo>
                    <a:pt x="258" y="383"/>
                    <a:pt x="258" y="383"/>
                    <a:pt x="258" y="383"/>
                  </a:cubicBezTo>
                  <a:cubicBezTo>
                    <a:pt x="258" y="381"/>
                    <a:pt x="257" y="381"/>
                    <a:pt x="257" y="379"/>
                  </a:cubicBezTo>
                  <a:cubicBezTo>
                    <a:pt x="261" y="377"/>
                    <a:pt x="261" y="377"/>
                    <a:pt x="261" y="377"/>
                  </a:cubicBezTo>
                  <a:cubicBezTo>
                    <a:pt x="261" y="374"/>
                    <a:pt x="260" y="374"/>
                    <a:pt x="259" y="373"/>
                  </a:cubicBezTo>
                  <a:cubicBezTo>
                    <a:pt x="260" y="372"/>
                    <a:pt x="261" y="372"/>
                    <a:pt x="262" y="372"/>
                  </a:cubicBezTo>
                  <a:cubicBezTo>
                    <a:pt x="262" y="371"/>
                    <a:pt x="263" y="369"/>
                    <a:pt x="264" y="368"/>
                  </a:cubicBezTo>
                  <a:cubicBezTo>
                    <a:pt x="265" y="367"/>
                    <a:pt x="262" y="366"/>
                    <a:pt x="262" y="366"/>
                  </a:cubicBezTo>
                  <a:cubicBezTo>
                    <a:pt x="262" y="365"/>
                    <a:pt x="262" y="363"/>
                    <a:pt x="263" y="361"/>
                  </a:cubicBezTo>
                  <a:cubicBezTo>
                    <a:pt x="263" y="361"/>
                    <a:pt x="264" y="361"/>
                    <a:pt x="265" y="361"/>
                  </a:cubicBezTo>
                  <a:cubicBezTo>
                    <a:pt x="264" y="363"/>
                    <a:pt x="265" y="362"/>
                    <a:pt x="266" y="362"/>
                  </a:cubicBezTo>
                  <a:cubicBezTo>
                    <a:pt x="266" y="361"/>
                    <a:pt x="266" y="360"/>
                    <a:pt x="267" y="359"/>
                  </a:cubicBezTo>
                  <a:cubicBezTo>
                    <a:pt x="266" y="359"/>
                    <a:pt x="267" y="358"/>
                    <a:pt x="267" y="357"/>
                  </a:cubicBezTo>
                  <a:cubicBezTo>
                    <a:pt x="266" y="357"/>
                    <a:pt x="265" y="358"/>
                    <a:pt x="265" y="357"/>
                  </a:cubicBezTo>
                  <a:cubicBezTo>
                    <a:pt x="264" y="357"/>
                    <a:pt x="265" y="356"/>
                    <a:pt x="265" y="355"/>
                  </a:cubicBezTo>
                  <a:cubicBezTo>
                    <a:pt x="266" y="355"/>
                    <a:pt x="265" y="355"/>
                    <a:pt x="266" y="353"/>
                  </a:cubicBezTo>
                  <a:cubicBezTo>
                    <a:pt x="268" y="354"/>
                    <a:pt x="269" y="354"/>
                    <a:pt x="271" y="355"/>
                  </a:cubicBezTo>
                  <a:cubicBezTo>
                    <a:pt x="271" y="355"/>
                    <a:pt x="270" y="354"/>
                    <a:pt x="271" y="352"/>
                  </a:cubicBezTo>
                  <a:cubicBezTo>
                    <a:pt x="272" y="351"/>
                    <a:pt x="272" y="351"/>
                    <a:pt x="272" y="351"/>
                  </a:cubicBezTo>
                  <a:cubicBezTo>
                    <a:pt x="272" y="348"/>
                    <a:pt x="271" y="348"/>
                    <a:pt x="269" y="345"/>
                  </a:cubicBezTo>
                  <a:cubicBezTo>
                    <a:pt x="270" y="345"/>
                    <a:pt x="271" y="345"/>
                    <a:pt x="271" y="345"/>
                  </a:cubicBezTo>
                  <a:cubicBezTo>
                    <a:pt x="272" y="345"/>
                    <a:pt x="273" y="347"/>
                    <a:pt x="273" y="347"/>
                  </a:cubicBezTo>
                  <a:cubicBezTo>
                    <a:pt x="277" y="348"/>
                    <a:pt x="277" y="345"/>
                    <a:pt x="275" y="345"/>
                  </a:cubicBezTo>
                  <a:cubicBezTo>
                    <a:pt x="276" y="341"/>
                    <a:pt x="276" y="340"/>
                    <a:pt x="278" y="337"/>
                  </a:cubicBezTo>
                  <a:cubicBezTo>
                    <a:pt x="275" y="336"/>
                    <a:pt x="273" y="336"/>
                    <a:pt x="271" y="335"/>
                  </a:cubicBezTo>
                  <a:cubicBezTo>
                    <a:pt x="271" y="334"/>
                    <a:pt x="271" y="334"/>
                    <a:pt x="271" y="334"/>
                  </a:cubicBezTo>
                  <a:cubicBezTo>
                    <a:pt x="271" y="334"/>
                    <a:pt x="274" y="335"/>
                    <a:pt x="273" y="335"/>
                  </a:cubicBezTo>
                  <a:cubicBezTo>
                    <a:pt x="275" y="335"/>
                    <a:pt x="277" y="335"/>
                    <a:pt x="279" y="335"/>
                  </a:cubicBezTo>
                  <a:cubicBezTo>
                    <a:pt x="280" y="328"/>
                    <a:pt x="280" y="329"/>
                    <a:pt x="277" y="324"/>
                  </a:cubicBezTo>
                  <a:cubicBezTo>
                    <a:pt x="275" y="323"/>
                    <a:pt x="275" y="323"/>
                    <a:pt x="275" y="323"/>
                  </a:cubicBezTo>
                  <a:cubicBezTo>
                    <a:pt x="275" y="321"/>
                    <a:pt x="275" y="321"/>
                    <a:pt x="275" y="321"/>
                  </a:cubicBezTo>
                  <a:cubicBezTo>
                    <a:pt x="277" y="322"/>
                    <a:pt x="277" y="321"/>
                    <a:pt x="278" y="321"/>
                  </a:cubicBezTo>
                  <a:cubicBezTo>
                    <a:pt x="275" y="321"/>
                    <a:pt x="279" y="321"/>
                    <a:pt x="279" y="321"/>
                  </a:cubicBezTo>
                  <a:cubicBezTo>
                    <a:pt x="278" y="321"/>
                    <a:pt x="281" y="321"/>
                    <a:pt x="281" y="321"/>
                  </a:cubicBezTo>
                  <a:cubicBezTo>
                    <a:pt x="282" y="321"/>
                    <a:pt x="283" y="319"/>
                    <a:pt x="283" y="319"/>
                  </a:cubicBezTo>
                  <a:cubicBezTo>
                    <a:pt x="283" y="318"/>
                    <a:pt x="283" y="315"/>
                    <a:pt x="283" y="316"/>
                  </a:cubicBezTo>
                  <a:cubicBezTo>
                    <a:pt x="283" y="315"/>
                    <a:pt x="283" y="315"/>
                    <a:pt x="283" y="315"/>
                  </a:cubicBezTo>
                  <a:cubicBezTo>
                    <a:pt x="284" y="314"/>
                    <a:pt x="287" y="315"/>
                    <a:pt x="288" y="315"/>
                  </a:cubicBezTo>
                  <a:cubicBezTo>
                    <a:pt x="289" y="315"/>
                    <a:pt x="290" y="315"/>
                    <a:pt x="290" y="315"/>
                  </a:cubicBezTo>
                  <a:cubicBezTo>
                    <a:pt x="290" y="315"/>
                    <a:pt x="285" y="315"/>
                    <a:pt x="290" y="314"/>
                  </a:cubicBezTo>
                  <a:cubicBezTo>
                    <a:pt x="292" y="314"/>
                    <a:pt x="294" y="316"/>
                    <a:pt x="297" y="315"/>
                  </a:cubicBezTo>
                  <a:cubicBezTo>
                    <a:pt x="299" y="314"/>
                    <a:pt x="299" y="312"/>
                    <a:pt x="301" y="311"/>
                  </a:cubicBezTo>
                  <a:cubicBezTo>
                    <a:pt x="302" y="311"/>
                    <a:pt x="303" y="311"/>
                    <a:pt x="304" y="311"/>
                  </a:cubicBezTo>
                  <a:cubicBezTo>
                    <a:pt x="305" y="313"/>
                    <a:pt x="305" y="314"/>
                    <a:pt x="306" y="315"/>
                  </a:cubicBezTo>
                  <a:cubicBezTo>
                    <a:pt x="307" y="317"/>
                    <a:pt x="307" y="317"/>
                    <a:pt x="307" y="317"/>
                  </a:cubicBezTo>
                  <a:cubicBezTo>
                    <a:pt x="307" y="317"/>
                    <a:pt x="309" y="317"/>
                    <a:pt x="307" y="316"/>
                  </a:cubicBezTo>
                  <a:cubicBezTo>
                    <a:pt x="307" y="316"/>
                    <a:pt x="309" y="316"/>
                    <a:pt x="308" y="315"/>
                  </a:cubicBezTo>
                  <a:cubicBezTo>
                    <a:pt x="308" y="315"/>
                    <a:pt x="310" y="314"/>
                    <a:pt x="310" y="313"/>
                  </a:cubicBezTo>
                  <a:cubicBezTo>
                    <a:pt x="311" y="312"/>
                    <a:pt x="311" y="312"/>
                    <a:pt x="311" y="310"/>
                  </a:cubicBezTo>
                  <a:cubicBezTo>
                    <a:pt x="312" y="310"/>
                    <a:pt x="314" y="310"/>
                    <a:pt x="316" y="310"/>
                  </a:cubicBezTo>
                  <a:cubicBezTo>
                    <a:pt x="316" y="311"/>
                    <a:pt x="315" y="311"/>
                    <a:pt x="316" y="311"/>
                  </a:cubicBezTo>
                  <a:cubicBezTo>
                    <a:pt x="316" y="313"/>
                    <a:pt x="316" y="313"/>
                    <a:pt x="316" y="313"/>
                  </a:cubicBezTo>
                  <a:cubicBezTo>
                    <a:pt x="318" y="313"/>
                    <a:pt x="318" y="313"/>
                    <a:pt x="318" y="313"/>
                  </a:cubicBezTo>
                  <a:cubicBezTo>
                    <a:pt x="318" y="312"/>
                    <a:pt x="320" y="310"/>
                    <a:pt x="320" y="309"/>
                  </a:cubicBezTo>
                  <a:cubicBezTo>
                    <a:pt x="320" y="308"/>
                    <a:pt x="319" y="307"/>
                    <a:pt x="319" y="307"/>
                  </a:cubicBezTo>
                  <a:cubicBezTo>
                    <a:pt x="320" y="306"/>
                    <a:pt x="322" y="306"/>
                    <a:pt x="323" y="305"/>
                  </a:cubicBezTo>
                  <a:cubicBezTo>
                    <a:pt x="324" y="304"/>
                    <a:pt x="323" y="301"/>
                    <a:pt x="325" y="299"/>
                  </a:cubicBezTo>
                  <a:cubicBezTo>
                    <a:pt x="326" y="299"/>
                    <a:pt x="327" y="300"/>
                    <a:pt x="328" y="299"/>
                  </a:cubicBezTo>
                  <a:cubicBezTo>
                    <a:pt x="329" y="299"/>
                    <a:pt x="330" y="297"/>
                    <a:pt x="331" y="296"/>
                  </a:cubicBezTo>
                  <a:cubicBezTo>
                    <a:pt x="333" y="295"/>
                    <a:pt x="335" y="295"/>
                    <a:pt x="337" y="294"/>
                  </a:cubicBezTo>
                  <a:cubicBezTo>
                    <a:pt x="339" y="293"/>
                    <a:pt x="341" y="286"/>
                    <a:pt x="344" y="286"/>
                  </a:cubicBezTo>
                  <a:cubicBezTo>
                    <a:pt x="345" y="285"/>
                    <a:pt x="346" y="287"/>
                    <a:pt x="347" y="286"/>
                  </a:cubicBezTo>
                  <a:cubicBezTo>
                    <a:pt x="348" y="285"/>
                    <a:pt x="348" y="285"/>
                    <a:pt x="348" y="285"/>
                  </a:cubicBezTo>
                  <a:cubicBezTo>
                    <a:pt x="349" y="283"/>
                    <a:pt x="349" y="283"/>
                    <a:pt x="349" y="283"/>
                  </a:cubicBezTo>
                  <a:cubicBezTo>
                    <a:pt x="350" y="277"/>
                    <a:pt x="347" y="279"/>
                    <a:pt x="346" y="278"/>
                  </a:cubicBezTo>
                  <a:cubicBezTo>
                    <a:pt x="345" y="276"/>
                    <a:pt x="345" y="272"/>
                    <a:pt x="344" y="270"/>
                  </a:cubicBezTo>
                  <a:cubicBezTo>
                    <a:pt x="347" y="276"/>
                    <a:pt x="353" y="279"/>
                    <a:pt x="360" y="278"/>
                  </a:cubicBezTo>
                  <a:cubicBezTo>
                    <a:pt x="360" y="277"/>
                    <a:pt x="360" y="277"/>
                    <a:pt x="360" y="277"/>
                  </a:cubicBezTo>
                  <a:cubicBezTo>
                    <a:pt x="362" y="276"/>
                    <a:pt x="363" y="277"/>
                    <a:pt x="364" y="276"/>
                  </a:cubicBezTo>
                  <a:cubicBezTo>
                    <a:pt x="365" y="276"/>
                    <a:pt x="364" y="273"/>
                    <a:pt x="364" y="273"/>
                  </a:cubicBezTo>
                  <a:cubicBezTo>
                    <a:pt x="365" y="273"/>
                    <a:pt x="366" y="273"/>
                    <a:pt x="366" y="273"/>
                  </a:cubicBezTo>
                  <a:cubicBezTo>
                    <a:pt x="367" y="273"/>
                    <a:pt x="367" y="274"/>
                    <a:pt x="367" y="276"/>
                  </a:cubicBezTo>
                  <a:cubicBezTo>
                    <a:pt x="367" y="275"/>
                    <a:pt x="371" y="274"/>
                    <a:pt x="370" y="274"/>
                  </a:cubicBezTo>
                  <a:cubicBezTo>
                    <a:pt x="371" y="274"/>
                    <a:pt x="372" y="274"/>
                    <a:pt x="372" y="274"/>
                  </a:cubicBezTo>
                  <a:cubicBezTo>
                    <a:pt x="373" y="274"/>
                    <a:pt x="372" y="272"/>
                    <a:pt x="373" y="272"/>
                  </a:cubicBezTo>
                  <a:cubicBezTo>
                    <a:pt x="374" y="272"/>
                    <a:pt x="374" y="271"/>
                    <a:pt x="375" y="272"/>
                  </a:cubicBezTo>
                  <a:cubicBezTo>
                    <a:pt x="375" y="272"/>
                    <a:pt x="376" y="273"/>
                    <a:pt x="376" y="274"/>
                  </a:cubicBezTo>
                  <a:cubicBezTo>
                    <a:pt x="380" y="272"/>
                    <a:pt x="379" y="273"/>
                    <a:pt x="383" y="273"/>
                  </a:cubicBezTo>
                  <a:cubicBezTo>
                    <a:pt x="384" y="271"/>
                    <a:pt x="384" y="271"/>
                    <a:pt x="384" y="271"/>
                  </a:cubicBezTo>
                  <a:cubicBezTo>
                    <a:pt x="385" y="270"/>
                    <a:pt x="385" y="272"/>
                    <a:pt x="386" y="272"/>
                  </a:cubicBezTo>
                  <a:cubicBezTo>
                    <a:pt x="387" y="271"/>
                    <a:pt x="388" y="269"/>
                    <a:pt x="390" y="269"/>
                  </a:cubicBezTo>
                  <a:cubicBezTo>
                    <a:pt x="391" y="269"/>
                    <a:pt x="392" y="269"/>
                    <a:pt x="393" y="269"/>
                  </a:cubicBezTo>
                  <a:cubicBezTo>
                    <a:pt x="395" y="269"/>
                    <a:pt x="398" y="267"/>
                    <a:pt x="400" y="266"/>
                  </a:cubicBezTo>
                  <a:cubicBezTo>
                    <a:pt x="400" y="262"/>
                    <a:pt x="400" y="262"/>
                    <a:pt x="400" y="262"/>
                  </a:cubicBezTo>
                  <a:cubicBezTo>
                    <a:pt x="401" y="261"/>
                    <a:pt x="402" y="263"/>
                    <a:pt x="402" y="264"/>
                  </a:cubicBezTo>
                  <a:cubicBezTo>
                    <a:pt x="403" y="264"/>
                    <a:pt x="404" y="263"/>
                    <a:pt x="405" y="264"/>
                  </a:cubicBezTo>
                  <a:cubicBezTo>
                    <a:pt x="406" y="261"/>
                    <a:pt x="407" y="260"/>
                    <a:pt x="409" y="258"/>
                  </a:cubicBezTo>
                  <a:cubicBezTo>
                    <a:pt x="410" y="258"/>
                    <a:pt x="410" y="258"/>
                    <a:pt x="412" y="258"/>
                  </a:cubicBezTo>
                  <a:cubicBezTo>
                    <a:pt x="411" y="258"/>
                    <a:pt x="412" y="259"/>
                    <a:pt x="412" y="260"/>
                  </a:cubicBezTo>
                  <a:cubicBezTo>
                    <a:pt x="412" y="259"/>
                    <a:pt x="414" y="258"/>
                    <a:pt x="414" y="258"/>
                  </a:cubicBezTo>
                  <a:cubicBezTo>
                    <a:pt x="415" y="257"/>
                    <a:pt x="415" y="258"/>
                    <a:pt x="416" y="258"/>
                  </a:cubicBezTo>
                  <a:cubicBezTo>
                    <a:pt x="416" y="258"/>
                    <a:pt x="417" y="256"/>
                    <a:pt x="417" y="256"/>
                  </a:cubicBezTo>
                  <a:cubicBezTo>
                    <a:pt x="419" y="255"/>
                    <a:pt x="419" y="256"/>
                    <a:pt x="421" y="256"/>
                  </a:cubicBezTo>
                  <a:cubicBezTo>
                    <a:pt x="422" y="256"/>
                    <a:pt x="424" y="254"/>
                    <a:pt x="424" y="254"/>
                  </a:cubicBezTo>
                  <a:cubicBezTo>
                    <a:pt x="425" y="254"/>
                    <a:pt x="427" y="254"/>
                    <a:pt x="428" y="254"/>
                  </a:cubicBezTo>
                  <a:cubicBezTo>
                    <a:pt x="427" y="250"/>
                    <a:pt x="428" y="250"/>
                    <a:pt x="432" y="250"/>
                  </a:cubicBezTo>
                  <a:cubicBezTo>
                    <a:pt x="432" y="249"/>
                    <a:pt x="432" y="248"/>
                    <a:pt x="431" y="247"/>
                  </a:cubicBezTo>
                  <a:cubicBezTo>
                    <a:pt x="432" y="246"/>
                    <a:pt x="434" y="245"/>
                    <a:pt x="434" y="244"/>
                  </a:cubicBezTo>
                  <a:cubicBezTo>
                    <a:pt x="436" y="244"/>
                    <a:pt x="437" y="244"/>
                    <a:pt x="438" y="244"/>
                  </a:cubicBezTo>
                  <a:cubicBezTo>
                    <a:pt x="439" y="243"/>
                    <a:pt x="439" y="241"/>
                    <a:pt x="439" y="241"/>
                  </a:cubicBezTo>
                  <a:cubicBezTo>
                    <a:pt x="434" y="242"/>
                    <a:pt x="429" y="242"/>
                    <a:pt x="425" y="240"/>
                  </a:cubicBezTo>
                  <a:cubicBezTo>
                    <a:pt x="424" y="240"/>
                    <a:pt x="422" y="238"/>
                    <a:pt x="421" y="238"/>
                  </a:cubicBezTo>
                  <a:cubicBezTo>
                    <a:pt x="419" y="238"/>
                    <a:pt x="420" y="239"/>
                    <a:pt x="418" y="238"/>
                  </a:cubicBezTo>
                  <a:cubicBezTo>
                    <a:pt x="418" y="237"/>
                    <a:pt x="418" y="237"/>
                    <a:pt x="418" y="237"/>
                  </a:cubicBezTo>
                  <a:cubicBezTo>
                    <a:pt x="414" y="237"/>
                    <a:pt x="412" y="240"/>
                    <a:pt x="410" y="240"/>
                  </a:cubicBezTo>
                  <a:cubicBezTo>
                    <a:pt x="405" y="241"/>
                    <a:pt x="403" y="240"/>
                    <a:pt x="399" y="240"/>
                  </a:cubicBezTo>
                  <a:cubicBezTo>
                    <a:pt x="411" y="232"/>
                    <a:pt x="389" y="236"/>
                    <a:pt x="384" y="237"/>
                  </a:cubicBezTo>
                  <a:cubicBezTo>
                    <a:pt x="384" y="235"/>
                    <a:pt x="383" y="234"/>
                    <a:pt x="382" y="232"/>
                  </a:cubicBezTo>
                  <a:cubicBezTo>
                    <a:pt x="383" y="232"/>
                    <a:pt x="383" y="232"/>
                    <a:pt x="383" y="231"/>
                  </a:cubicBezTo>
                  <a:cubicBezTo>
                    <a:pt x="384" y="232"/>
                    <a:pt x="385" y="230"/>
                    <a:pt x="385" y="230"/>
                  </a:cubicBezTo>
                  <a:cubicBezTo>
                    <a:pt x="385" y="232"/>
                    <a:pt x="385" y="235"/>
                    <a:pt x="386" y="236"/>
                  </a:cubicBezTo>
                  <a:cubicBezTo>
                    <a:pt x="391" y="234"/>
                    <a:pt x="397" y="233"/>
                    <a:pt x="403" y="234"/>
                  </a:cubicBezTo>
                  <a:cubicBezTo>
                    <a:pt x="403" y="234"/>
                    <a:pt x="406" y="236"/>
                    <a:pt x="408" y="235"/>
                  </a:cubicBezTo>
                  <a:cubicBezTo>
                    <a:pt x="408" y="235"/>
                    <a:pt x="409" y="234"/>
                    <a:pt x="410" y="234"/>
                  </a:cubicBezTo>
                  <a:cubicBezTo>
                    <a:pt x="409" y="232"/>
                    <a:pt x="409" y="230"/>
                    <a:pt x="408" y="228"/>
                  </a:cubicBezTo>
                  <a:cubicBezTo>
                    <a:pt x="402" y="230"/>
                    <a:pt x="399" y="229"/>
                    <a:pt x="392" y="230"/>
                  </a:cubicBezTo>
                  <a:cubicBezTo>
                    <a:pt x="391" y="230"/>
                    <a:pt x="383" y="232"/>
                    <a:pt x="386" y="229"/>
                  </a:cubicBezTo>
                  <a:cubicBezTo>
                    <a:pt x="386" y="229"/>
                    <a:pt x="388" y="227"/>
                    <a:pt x="388" y="227"/>
                  </a:cubicBezTo>
                  <a:cubicBezTo>
                    <a:pt x="388" y="226"/>
                    <a:pt x="388" y="226"/>
                    <a:pt x="388" y="226"/>
                  </a:cubicBezTo>
                  <a:cubicBezTo>
                    <a:pt x="390" y="226"/>
                    <a:pt x="390" y="227"/>
                    <a:pt x="391" y="228"/>
                  </a:cubicBezTo>
                  <a:cubicBezTo>
                    <a:pt x="394" y="228"/>
                    <a:pt x="400" y="229"/>
                    <a:pt x="402" y="228"/>
                  </a:cubicBezTo>
                  <a:cubicBezTo>
                    <a:pt x="403" y="228"/>
                    <a:pt x="405" y="226"/>
                    <a:pt x="405" y="226"/>
                  </a:cubicBezTo>
                  <a:cubicBezTo>
                    <a:pt x="407" y="226"/>
                    <a:pt x="409" y="226"/>
                    <a:pt x="411" y="226"/>
                  </a:cubicBezTo>
                  <a:cubicBezTo>
                    <a:pt x="411" y="225"/>
                    <a:pt x="411" y="225"/>
                    <a:pt x="411" y="225"/>
                  </a:cubicBezTo>
                  <a:cubicBezTo>
                    <a:pt x="410" y="224"/>
                    <a:pt x="410" y="224"/>
                    <a:pt x="410" y="222"/>
                  </a:cubicBezTo>
                  <a:cubicBezTo>
                    <a:pt x="408" y="222"/>
                    <a:pt x="405" y="222"/>
                    <a:pt x="404" y="221"/>
                  </a:cubicBezTo>
                  <a:cubicBezTo>
                    <a:pt x="403" y="219"/>
                    <a:pt x="403" y="219"/>
                    <a:pt x="403" y="219"/>
                  </a:cubicBezTo>
                  <a:cubicBezTo>
                    <a:pt x="397" y="220"/>
                    <a:pt x="390" y="220"/>
                    <a:pt x="384" y="221"/>
                  </a:cubicBezTo>
                  <a:cubicBezTo>
                    <a:pt x="384" y="220"/>
                    <a:pt x="384" y="220"/>
                    <a:pt x="384" y="220"/>
                  </a:cubicBezTo>
                  <a:cubicBezTo>
                    <a:pt x="385" y="219"/>
                    <a:pt x="386" y="219"/>
                    <a:pt x="388" y="219"/>
                  </a:cubicBezTo>
                  <a:cubicBezTo>
                    <a:pt x="387" y="218"/>
                    <a:pt x="389" y="218"/>
                    <a:pt x="388" y="216"/>
                  </a:cubicBezTo>
                  <a:cubicBezTo>
                    <a:pt x="386" y="216"/>
                    <a:pt x="386" y="216"/>
                    <a:pt x="386" y="216"/>
                  </a:cubicBezTo>
                  <a:cubicBezTo>
                    <a:pt x="385" y="215"/>
                    <a:pt x="386" y="214"/>
                    <a:pt x="386" y="213"/>
                  </a:cubicBezTo>
                  <a:cubicBezTo>
                    <a:pt x="388" y="214"/>
                    <a:pt x="389" y="215"/>
                    <a:pt x="391" y="217"/>
                  </a:cubicBezTo>
                  <a:cubicBezTo>
                    <a:pt x="395" y="216"/>
                    <a:pt x="398" y="215"/>
                    <a:pt x="402" y="216"/>
                  </a:cubicBezTo>
                  <a:cubicBezTo>
                    <a:pt x="404" y="218"/>
                    <a:pt x="404" y="218"/>
                    <a:pt x="404" y="218"/>
                  </a:cubicBezTo>
                  <a:cubicBezTo>
                    <a:pt x="405" y="218"/>
                    <a:pt x="407" y="217"/>
                    <a:pt x="408" y="218"/>
                  </a:cubicBezTo>
                  <a:cubicBezTo>
                    <a:pt x="408" y="218"/>
                    <a:pt x="408" y="221"/>
                    <a:pt x="410" y="221"/>
                  </a:cubicBezTo>
                  <a:cubicBezTo>
                    <a:pt x="412" y="222"/>
                    <a:pt x="414" y="220"/>
                    <a:pt x="417" y="222"/>
                  </a:cubicBezTo>
                  <a:cubicBezTo>
                    <a:pt x="418" y="222"/>
                    <a:pt x="418" y="224"/>
                    <a:pt x="418" y="225"/>
                  </a:cubicBezTo>
                  <a:cubicBezTo>
                    <a:pt x="420" y="228"/>
                    <a:pt x="424" y="234"/>
                    <a:pt x="427" y="236"/>
                  </a:cubicBezTo>
                  <a:cubicBezTo>
                    <a:pt x="428" y="237"/>
                    <a:pt x="431" y="238"/>
                    <a:pt x="432" y="238"/>
                  </a:cubicBezTo>
                  <a:cubicBezTo>
                    <a:pt x="432" y="239"/>
                    <a:pt x="432" y="239"/>
                    <a:pt x="432" y="239"/>
                  </a:cubicBezTo>
                  <a:cubicBezTo>
                    <a:pt x="434" y="239"/>
                    <a:pt x="433" y="237"/>
                    <a:pt x="434" y="237"/>
                  </a:cubicBezTo>
                  <a:cubicBezTo>
                    <a:pt x="436" y="236"/>
                    <a:pt x="440" y="238"/>
                    <a:pt x="442" y="239"/>
                  </a:cubicBezTo>
                  <a:cubicBezTo>
                    <a:pt x="443" y="240"/>
                    <a:pt x="443" y="240"/>
                    <a:pt x="443" y="240"/>
                  </a:cubicBezTo>
                  <a:cubicBezTo>
                    <a:pt x="446" y="237"/>
                    <a:pt x="443" y="236"/>
                    <a:pt x="441" y="235"/>
                  </a:cubicBezTo>
                  <a:cubicBezTo>
                    <a:pt x="442" y="234"/>
                    <a:pt x="443" y="234"/>
                    <a:pt x="443" y="234"/>
                  </a:cubicBezTo>
                  <a:cubicBezTo>
                    <a:pt x="444" y="233"/>
                    <a:pt x="442" y="233"/>
                    <a:pt x="443" y="232"/>
                  </a:cubicBezTo>
                  <a:cubicBezTo>
                    <a:pt x="445" y="231"/>
                    <a:pt x="443" y="225"/>
                    <a:pt x="441" y="224"/>
                  </a:cubicBezTo>
                  <a:cubicBezTo>
                    <a:pt x="440" y="224"/>
                    <a:pt x="440" y="224"/>
                    <a:pt x="440" y="224"/>
                  </a:cubicBezTo>
                  <a:cubicBezTo>
                    <a:pt x="439" y="223"/>
                    <a:pt x="440" y="222"/>
                    <a:pt x="439" y="220"/>
                  </a:cubicBezTo>
                  <a:cubicBezTo>
                    <a:pt x="439" y="221"/>
                    <a:pt x="438" y="220"/>
                    <a:pt x="437" y="220"/>
                  </a:cubicBezTo>
                  <a:cubicBezTo>
                    <a:pt x="437" y="222"/>
                    <a:pt x="438" y="222"/>
                    <a:pt x="436" y="222"/>
                  </a:cubicBezTo>
                  <a:cubicBezTo>
                    <a:pt x="436" y="222"/>
                    <a:pt x="436" y="219"/>
                    <a:pt x="436" y="219"/>
                  </a:cubicBezTo>
                  <a:cubicBezTo>
                    <a:pt x="437" y="219"/>
                    <a:pt x="437" y="219"/>
                    <a:pt x="437" y="218"/>
                  </a:cubicBezTo>
                  <a:cubicBezTo>
                    <a:pt x="435" y="218"/>
                    <a:pt x="435" y="218"/>
                    <a:pt x="433" y="218"/>
                  </a:cubicBezTo>
                  <a:cubicBezTo>
                    <a:pt x="433" y="217"/>
                    <a:pt x="434" y="217"/>
                    <a:pt x="434" y="216"/>
                  </a:cubicBezTo>
                  <a:cubicBezTo>
                    <a:pt x="433" y="215"/>
                    <a:pt x="431" y="213"/>
                    <a:pt x="430" y="212"/>
                  </a:cubicBezTo>
                  <a:cubicBezTo>
                    <a:pt x="429" y="212"/>
                    <a:pt x="428" y="213"/>
                    <a:pt x="426" y="212"/>
                  </a:cubicBezTo>
                  <a:cubicBezTo>
                    <a:pt x="425" y="211"/>
                    <a:pt x="423" y="208"/>
                    <a:pt x="421" y="208"/>
                  </a:cubicBezTo>
                  <a:cubicBezTo>
                    <a:pt x="418" y="207"/>
                    <a:pt x="415" y="208"/>
                    <a:pt x="412" y="208"/>
                  </a:cubicBezTo>
                  <a:cubicBezTo>
                    <a:pt x="412" y="207"/>
                    <a:pt x="412" y="207"/>
                    <a:pt x="412" y="207"/>
                  </a:cubicBezTo>
                  <a:cubicBezTo>
                    <a:pt x="414" y="206"/>
                    <a:pt x="416" y="206"/>
                    <a:pt x="418" y="206"/>
                  </a:cubicBezTo>
                  <a:cubicBezTo>
                    <a:pt x="416" y="204"/>
                    <a:pt x="416" y="202"/>
                    <a:pt x="413" y="201"/>
                  </a:cubicBezTo>
                  <a:cubicBezTo>
                    <a:pt x="412" y="201"/>
                    <a:pt x="411" y="202"/>
                    <a:pt x="412" y="202"/>
                  </a:cubicBezTo>
                  <a:cubicBezTo>
                    <a:pt x="411" y="202"/>
                    <a:pt x="410" y="204"/>
                    <a:pt x="410" y="204"/>
                  </a:cubicBezTo>
                  <a:cubicBezTo>
                    <a:pt x="408" y="204"/>
                    <a:pt x="406" y="204"/>
                    <a:pt x="406" y="204"/>
                  </a:cubicBezTo>
                  <a:cubicBezTo>
                    <a:pt x="406" y="204"/>
                    <a:pt x="405" y="206"/>
                    <a:pt x="405" y="206"/>
                  </a:cubicBezTo>
                  <a:cubicBezTo>
                    <a:pt x="404" y="206"/>
                    <a:pt x="402" y="206"/>
                    <a:pt x="402" y="205"/>
                  </a:cubicBezTo>
                  <a:cubicBezTo>
                    <a:pt x="402" y="205"/>
                    <a:pt x="402" y="204"/>
                    <a:pt x="402" y="203"/>
                  </a:cubicBezTo>
                  <a:cubicBezTo>
                    <a:pt x="401" y="203"/>
                    <a:pt x="400" y="202"/>
                    <a:pt x="400" y="202"/>
                  </a:cubicBezTo>
                  <a:cubicBezTo>
                    <a:pt x="400" y="202"/>
                    <a:pt x="398" y="203"/>
                    <a:pt x="398" y="202"/>
                  </a:cubicBezTo>
                  <a:cubicBezTo>
                    <a:pt x="397" y="202"/>
                    <a:pt x="398" y="200"/>
                    <a:pt x="398" y="200"/>
                  </a:cubicBezTo>
                  <a:cubicBezTo>
                    <a:pt x="397" y="199"/>
                    <a:pt x="397" y="199"/>
                    <a:pt x="396" y="199"/>
                  </a:cubicBezTo>
                  <a:cubicBezTo>
                    <a:pt x="395" y="198"/>
                    <a:pt x="396" y="198"/>
                    <a:pt x="395" y="197"/>
                  </a:cubicBezTo>
                  <a:cubicBezTo>
                    <a:pt x="395" y="196"/>
                    <a:pt x="395" y="196"/>
                    <a:pt x="395" y="196"/>
                  </a:cubicBezTo>
                  <a:cubicBezTo>
                    <a:pt x="396" y="196"/>
                    <a:pt x="397" y="196"/>
                    <a:pt x="398" y="196"/>
                  </a:cubicBezTo>
                  <a:cubicBezTo>
                    <a:pt x="401" y="194"/>
                    <a:pt x="399" y="195"/>
                    <a:pt x="400" y="194"/>
                  </a:cubicBezTo>
                  <a:cubicBezTo>
                    <a:pt x="398" y="194"/>
                    <a:pt x="398" y="193"/>
                    <a:pt x="398" y="193"/>
                  </a:cubicBezTo>
                  <a:cubicBezTo>
                    <a:pt x="401" y="193"/>
                    <a:pt x="403" y="194"/>
                    <a:pt x="406" y="193"/>
                  </a:cubicBezTo>
                  <a:cubicBezTo>
                    <a:pt x="408" y="193"/>
                    <a:pt x="409" y="190"/>
                    <a:pt x="411" y="190"/>
                  </a:cubicBezTo>
                  <a:cubicBezTo>
                    <a:pt x="411" y="190"/>
                    <a:pt x="412" y="190"/>
                    <a:pt x="413" y="190"/>
                  </a:cubicBezTo>
                  <a:cubicBezTo>
                    <a:pt x="413" y="190"/>
                    <a:pt x="414" y="188"/>
                    <a:pt x="414" y="188"/>
                  </a:cubicBezTo>
                  <a:cubicBezTo>
                    <a:pt x="415" y="187"/>
                    <a:pt x="417" y="187"/>
                    <a:pt x="418" y="187"/>
                  </a:cubicBezTo>
                  <a:cubicBezTo>
                    <a:pt x="418" y="186"/>
                    <a:pt x="418" y="184"/>
                    <a:pt x="418" y="183"/>
                  </a:cubicBezTo>
                  <a:cubicBezTo>
                    <a:pt x="419" y="183"/>
                    <a:pt x="420" y="183"/>
                    <a:pt x="421" y="183"/>
                  </a:cubicBezTo>
                  <a:cubicBezTo>
                    <a:pt x="420" y="185"/>
                    <a:pt x="419" y="187"/>
                    <a:pt x="421" y="188"/>
                  </a:cubicBezTo>
                  <a:cubicBezTo>
                    <a:pt x="423" y="189"/>
                    <a:pt x="425" y="189"/>
                    <a:pt x="427" y="189"/>
                  </a:cubicBezTo>
                  <a:cubicBezTo>
                    <a:pt x="429" y="190"/>
                    <a:pt x="429" y="190"/>
                    <a:pt x="429" y="190"/>
                  </a:cubicBezTo>
                  <a:cubicBezTo>
                    <a:pt x="430" y="191"/>
                    <a:pt x="432" y="190"/>
                    <a:pt x="433" y="190"/>
                  </a:cubicBezTo>
                  <a:cubicBezTo>
                    <a:pt x="434" y="191"/>
                    <a:pt x="436" y="192"/>
                    <a:pt x="436" y="192"/>
                  </a:cubicBezTo>
                  <a:cubicBezTo>
                    <a:pt x="439" y="193"/>
                    <a:pt x="443" y="190"/>
                    <a:pt x="445" y="189"/>
                  </a:cubicBezTo>
                  <a:cubicBezTo>
                    <a:pt x="445" y="189"/>
                    <a:pt x="445" y="187"/>
                    <a:pt x="445" y="187"/>
                  </a:cubicBezTo>
                  <a:cubicBezTo>
                    <a:pt x="447" y="186"/>
                    <a:pt x="451" y="186"/>
                    <a:pt x="452" y="186"/>
                  </a:cubicBezTo>
                  <a:cubicBezTo>
                    <a:pt x="451" y="185"/>
                    <a:pt x="452" y="181"/>
                    <a:pt x="452" y="181"/>
                  </a:cubicBezTo>
                  <a:cubicBezTo>
                    <a:pt x="451" y="180"/>
                    <a:pt x="450" y="181"/>
                    <a:pt x="449" y="181"/>
                  </a:cubicBezTo>
                  <a:cubicBezTo>
                    <a:pt x="443" y="180"/>
                    <a:pt x="444" y="176"/>
                    <a:pt x="441" y="183"/>
                  </a:cubicBezTo>
                  <a:cubicBezTo>
                    <a:pt x="441" y="182"/>
                    <a:pt x="440" y="180"/>
                    <a:pt x="439" y="179"/>
                  </a:cubicBezTo>
                  <a:cubicBezTo>
                    <a:pt x="439" y="179"/>
                    <a:pt x="438" y="179"/>
                    <a:pt x="437" y="179"/>
                  </a:cubicBezTo>
                  <a:cubicBezTo>
                    <a:pt x="434" y="178"/>
                    <a:pt x="438" y="175"/>
                    <a:pt x="438" y="174"/>
                  </a:cubicBezTo>
                  <a:cubicBezTo>
                    <a:pt x="438" y="173"/>
                    <a:pt x="438" y="171"/>
                    <a:pt x="438" y="169"/>
                  </a:cubicBezTo>
                  <a:cubicBezTo>
                    <a:pt x="440" y="170"/>
                    <a:pt x="442" y="172"/>
                    <a:pt x="443" y="172"/>
                  </a:cubicBezTo>
                  <a:cubicBezTo>
                    <a:pt x="447" y="173"/>
                    <a:pt x="451" y="172"/>
                    <a:pt x="455" y="173"/>
                  </a:cubicBezTo>
                  <a:cubicBezTo>
                    <a:pt x="457" y="174"/>
                    <a:pt x="458" y="177"/>
                    <a:pt x="462" y="176"/>
                  </a:cubicBezTo>
                  <a:cubicBezTo>
                    <a:pt x="462" y="176"/>
                    <a:pt x="464" y="174"/>
                    <a:pt x="464" y="174"/>
                  </a:cubicBezTo>
                  <a:cubicBezTo>
                    <a:pt x="465" y="175"/>
                    <a:pt x="465" y="172"/>
                    <a:pt x="465" y="171"/>
                  </a:cubicBezTo>
                  <a:cubicBezTo>
                    <a:pt x="463" y="171"/>
                    <a:pt x="461" y="170"/>
                    <a:pt x="459" y="170"/>
                  </a:cubicBezTo>
                  <a:cubicBezTo>
                    <a:pt x="457" y="171"/>
                    <a:pt x="457" y="171"/>
                    <a:pt x="457" y="171"/>
                  </a:cubicBezTo>
                  <a:cubicBezTo>
                    <a:pt x="455" y="171"/>
                    <a:pt x="452" y="171"/>
                    <a:pt x="449" y="171"/>
                  </a:cubicBezTo>
                  <a:cubicBezTo>
                    <a:pt x="450" y="169"/>
                    <a:pt x="450" y="169"/>
                    <a:pt x="450" y="169"/>
                  </a:cubicBezTo>
                  <a:cubicBezTo>
                    <a:pt x="452" y="169"/>
                    <a:pt x="453" y="164"/>
                    <a:pt x="447" y="166"/>
                  </a:cubicBezTo>
                  <a:cubicBezTo>
                    <a:pt x="447" y="168"/>
                    <a:pt x="447" y="168"/>
                    <a:pt x="447" y="168"/>
                  </a:cubicBezTo>
                  <a:cubicBezTo>
                    <a:pt x="446" y="168"/>
                    <a:pt x="443" y="167"/>
                    <a:pt x="443" y="167"/>
                  </a:cubicBezTo>
                  <a:cubicBezTo>
                    <a:pt x="445" y="167"/>
                    <a:pt x="446" y="167"/>
                    <a:pt x="447" y="164"/>
                  </a:cubicBezTo>
                  <a:cubicBezTo>
                    <a:pt x="448" y="163"/>
                    <a:pt x="449" y="163"/>
                    <a:pt x="449" y="163"/>
                  </a:cubicBezTo>
                  <a:cubicBezTo>
                    <a:pt x="446" y="158"/>
                    <a:pt x="446" y="159"/>
                    <a:pt x="440" y="157"/>
                  </a:cubicBezTo>
                  <a:cubicBezTo>
                    <a:pt x="441" y="155"/>
                    <a:pt x="441" y="155"/>
                    <a:pt x="441" y="155"/>
                  </a:cubicBezTo>
                  <a:cubicBezTo>
                    <a:pt x="441" y="155"/>
                    <a:pt x="444" y="155"/>
                    <a:pt x="443" y="156"/>
                  </a:cubicBezTo>
                  <a:cubicBezTo>
                    <a:pt x="443" y="156"/>
                    <a:pt x="444" y="157"/>
                    <a:pt x="444" y="157"/>
                  </a:cubicBezTo>
                  <a:cubicBezTo>
                    <a:pt x="446" y="157"/>
                    <a:pt x="448" y="158"/>
                    <a:pt x="450" y="157"/>
                  </a:cubicBezTo>
                  <a:cubicBezTo>
                    <a:pt x="451" y="157"/>
                    <a:pt x="451" y="155"/>
                    <a:pt x="453" y="156"/>
                  </a:cubicBezTo>
                  <a:cubicBezTo>
                    <a:pt x="453" y="156"/>
                    <a:pt x="453" y="158"/>
                    <a:pt x="453" y="158"/>
                  </a:cubicBezTo>
                  <a:cubicBezTo>
                    <a:pt x="455" y="159"/>
                    <a:pt x="455" y="159"/>
                    <a:pt x="455" y="159"/>
                  </a:cubicBezTo>
                  <a:cubicBezTo>
                    <a:pt x="455" y="159"/>
                    <a:pt x="455" y="159"/>
                    <a:pt x="455" y="159"/>
                  </a:cubicBezTo>
                  <a:cubicBezTo>
                    <a:pt x="455" y="159"/>
                    <a:pt x="457" y="159"/>
                    <a:pt x="457" y="159"/>
                  </a:cubicBezTo>
                  <a:cubicBezTo>
                    <a:pt x="459" y="154"/>
                    <a:pt x="458" y="151"/>
                    <a:pt x="457" y="145"/>
                  </a:cubicBezTo>
                  <a:cubicBezTo>
                    <a:pt x="454" y="145"/>
                    <a:pt x="454" y="145"/>
                    <a:pt x="454" y="145"/>
                  </a:cubicBezTo>
                  <a:cubicBezTo>
                    <a:pt x="454" y="144"/>
                    <a:pt x="455" y="144"/>
                    <a:pt x="455" y="143"/>
                  </a:cubicBezTo>
                  <a:cubicBezTo>
                    <a:pt x="456" y="142"/>
                    <a:pt x="455" y="140"/>
                    <a:pt x="455" y="139"/>
                  </a:cubicBezTo>
                  <a:cubicBezTo>
                    <a:pt x="449" y="138"/>
                    <a:pt x="450" y="139"/>
                    <a:pt x="447" y="143"/>
                  </a:cubicBezTo>
                  <a:cubicBezTo>
                    <a:pt x="445" y="142"/>
                    <a:pt x="446" y="142"/>
                    <a:pt x="445" y="141"/>
                  </a:cubicBezTo>
                  <a:cubicBezTo>
                    <a:pt x="444" y="141"/>
                    <a:pt x="442" y="141"/>
                    <a:pt x="441" y="141"/>
                  </a:cubicBezTo>
                  <a:cubicBezTo>
                    <a:pt x="442" y="141"/>
                    <a:pt x="441" y="138"/>
                    <a:pt x="441" y="138"/>
                  </a:cubicBezTo>
                  <a:cubicBezTo>
                    <a:pt x="443" y="138"/>
                    <a:pt x="443" y="139"/>
                    <a:pt x="445" y="139"/>
                  </a:cubicBezTo>
                  <a:cubicBezTo>
                    <a:pt x="445" y="139"/>
                    <a:pt x="446" y="137"/>
                    <a:pt x="446" y="137"/>
                  </a:cubicBezTo>
                  <a:cubicBezTo>
                    <a:pt x="448" y="135"/>
                    <a:pt x="449" y="135"/>
                    <a:pt x="447" y="133"/>
                  </a:cubicBezTo>
                  <a:cubicBezTo>
                    <a:pt x="448" y="133"/>
                    <a:pt x="449" y="131"/>
                    <a:pt x="446" y="131"/>
                  </a:cubicBezTo>
                  <a:cubicBezTo>
                    <a:pt x="446" y="131"/>
                    <a:pt x="447" y="129"/>
                    <a:pt x="447" y="129"/>
                  </a:cubicBezTo>
                  <a:cubicBezTo>
                    <a:pt x="451" y="130"/>
                    <a:pt x="456" y="129"/>
                    <a:pt x="460" y="131"/>
                  </a:cubicBezTo>
                  <a:cubicBezTo>
                    <a:pt x="461" y="131"/>
                    <a:pt x="463" y="133"/>
                    <a:pt x="464" y="133"/>
                  </a:cubicBezTo>
                  <a:cubicBezTo>
                    <a:pt x="466" y="134"/>
                    <a:pt x="469" y="133"/>
                    <a:pt x="470" y="133"/>
                  </a:cubicBezTo>
                  <a:cubicBezTo>
                    <a:pt x="469" y="131"/>
                    <a:pt x="469" y="131"/>
                    <a:pt x="469" y="131"/>
                  </a:cubicBezTo>
                  <a:cubicBezTo>
                    <a:pt x="470" y="127"/>
                    <a:pt x="469" y="129"/>
                    <a:pt x="468" y="126"/>
                  </a:cubicBezTo>
                  <a:cubicBezTo>
                    <a:pt x="468" y="125"/>
                    <a:pt x="468" y="124"/>
                    <a:pt x="467" y="123"/>
                  </a:cubicBezTo>
                  <a:cubicBezTo>
                    <a:pt x="467" y="122"/>
                    <a:pt x="466" y="122"/>
                    <a:pt x="465" y="121"/>
                  </a:cubicBezTo>
                  <a:cubicBezTo>
                    <a:pt x="466" y="121"/>
                    <a:pt x="464" y="120"/>
                    <a:pt x="464" y="120"/>
                  </a:cubicBezTo>
                  <a:cubicBezTo>
                    <a:pt x="464" y="120"/>
                    <a:pt x="462" y="120"/>
                    <a:pt x="462" y="120"/>
                  </a:cubicBezTo>
                  <a:cubicBezTo>
                    <a:pt x="462" y="120"/>
                    <a:pt x="462" y="123"/>
                    <a:pt x="461" y="123"/>
                  </a:cubicBezTo>
                  <a:cubicBezTo>
                    <a:pt x="459" y="123"/>
                    <a:pt x="459" y="122"/>
                    <a:pt x="457" y="122"/>
                  </a:cubicBezTo>
                  <a:cubicBezTo>
                    <a:pt x="456" y="122"/>
                    <a:pt x="455" y="122"/>
                    <a:pt x="453" y="123"/>
                  </a:cubicBezTo>
                  <a:cubicBezTo>
                    <a:pt x="453" y="121"/>
                    <a:pt x="453" y="117"/>
                    <a:pt x="453" y="115"/>
                  </a:cubicBezTo>
                  <a:cubicBezTo>
                    <a:pt x="456" y="116"/>
                    <a:pt x="457" y="117"/>
                    <a:pt x="459" y="117"/>
                  </a:cubicBezTo>
                  <a:cubicBezTo>
                    <a:pt x="465" y="115"/>
                    <a:pt x="458" y="114"/>
                    <a:pt x="456" y="113"/>
                  </a:cubicBezTo>
                  <a:cubicBezTo>
                    <a:pt x="456" y="112"/>
                    <a:pt x="455" y="111"/>
                    <a:pt x="455" y="111"/>
                  </a:cubicBezTo>
                  <a:cubicBezTo>
                    <a:pt x="453" y="110"/>
                    <a:pt x="451" y="112"/>
                    <a:pt x="450" y="112"/>
                  </a:cubicBezTo>
                  <a:cubicBezTo>
                    <a:pt x="448" y="112"/>
                    <a:pt x="445" y="110"/>
                    <a:pt x="443" y="109"/>
                  </a:cubicBezTo>
                  <a:cubicBezTo>
                    <a:pt x="444" y="110"/>
                    <a:pt x="441" y="111"/>
                    <a:pt x="441" y="111"/>
                  </a:cubicBezTo>
                  <a:cubicBezTo>
                    <a:pt x="440" y="110"/>
                    <a:pt x="439" y="108"/>
                    <a:pt x="441" y="109"/>
                  </a:cubicBezTo>
                  <a:cubicBezTo>
                    <a:pt x="441" y="107"/>
                    <a:pt x="441" y="106"/>
                    <a:pt x="441" y="105"/>
                  </a:cubicBezTo>
                  <a:cubicBezTo>
                    <a:pt x="447" y="106"/>
                    <a:pt x="450" y="107"/>
                    <a:pt x="454" y="109"/>
                  </a:cubicBezTo>
                  <a:cubicBezTo>
                    <a:pt x="454" y="107"/>
                    <a:pt x="455" y="104"/>
                    <a:pt x="455" y="103"/>
                  </a:cubicBezTo>
                  <a:cubicBezTo>
                    <a:pt x="456" y="101"/>
                    <a:pt x="460" y="100"/>
                    <a:pt x="461" y="99"/>
                  </a:cubicBezTo>
                  <a:cubicBezTo>
                    <a:pt x="461" y="98"/>
                    <a:pt x="460" y="98"/>
                    <a:pt x="461" y="97"/>
                  </a:cubicBezTo>
                  <a:cubicBezTo>
                    <a:pt x="461" y="97"/>
                    <a:pt x="462" y="94"/>
                    <a:pt x="461" y="93"/>
                  </a:cubicBezTo>
                  <a:cubicBezTo>
                    <a:pt x="465" y="90"/>
                    <a:pt x="466" y="89"/>
                    <a:pt x="461" y="86"/>
                  </a:cubicBezTo>
                  <a:cubicBezTo>
                    <a:pt x="464" y="85"/>
                    <a:pt x="468" y="85"/>
                    <a:pt x="473" y="85"/>
                  </a:cubicBezTo>
                  <a:cubicBezTo>
                    <a:pt x="474" y="84"/>
                    <a:pt x="473" y="82"/>
                    <a:pt x="473" y="81"/>
                  </a:cubicBezTo>
                  <a:cubicBezTo>
                    <a:pt x="479" y="77"/>
                    <a:pt x="482" y="75"/>
                    <a:pt x="472" y="73"/>
                  </a:cubicBezTo>
                  <a:cubicBezTo>
                    <a:pt x="470" y="73"/>
                    <a:pt x="467" y="72"/>
                    <a:pt x="464" y="73"/>
                  </a:cubicBezTo>
                  <a:cubicBezTo>
                    <a:pt x="463" y="73"/>
                    <a:pt x="463" y="75"/>
                    <a:pt x="462" y="75"/>
                  </a:cubicBezTo>
                  <a:cubicBezTo>
                    <a:pt x="459" y="76"/>
                    <a:pt x="457" y="77"/>
                    <a:pt x="455" y="78"/>
                  </a:cubicBezTo>
                  <a:cubicBezTo>
                    <a:pt x="455" y="76"/>
                    <a:pt x="455" y="76"/>
                    <a:pt x="454" y="75"/>
                  </a:cubicBezTo>
                  <a:cubicBezTo>
                    <a:pt x="453" y="73"/>
                    <a:pt x="451" y="71"/>
                    <a:pt x="453" y="69"/>
                  </a:cubicBezTo>
                  <a:cubicBezTo>
                    <a:pt x="459" y="66"/>
                    <a:pt x="468" y="70"/>
                    <a:pt x="473" y="71"/>
                  </a:cubicBezTo>
                  <a:cubicBezTo>
                    <a:pt x="476" y="71"/>
                    <a:pt x="478" y="71"/>
                    <a:pt x="481" y="71"/>
                  </a:cubicBezTo>
                  <a:cubicBezTo>
                    <a:pt x="481" y="71"/>
                    <a:pt x="483" y="72"/>
                    <a:pt x="484" y="71"/>
                  </a:cubicBezTo>
                  <a:cubicBezTo>
                    <a:pt x="485" y="71"/>
                    <a:pt x="491" y="64"/>
                    <a:pt x="492" y="63"/>
                  </a:cubicBezTo>
                  <a:cubicBezTo>
                    <a:pt x="493" y="63"/>
                    <a:pt x="492" y="61"/>
                    <a:pt x="493" y="61"/>
                  </a:cubicBezTo>
                  <a:cubicBezTo>
                    <a:pt x="490" y="61"/>
                    <a:pt x="487" y="60"/>
                    <a:pt x="485" y="60"/>
                  </a:cubicBezTo>
                  <a:cubicBezTo>
                    <a:pt x="485" y="60"/>
                    <a:pt x="484" y="63"/>
                    <a:pt x="483" y="63"/>
                  </a:cubicBezTo>
                  <a:cubicBezTo>
                    <a:pt x="482" y="63"/>
                    <a:pt x="480" y="62"/>
                    <a:pt x="478" y="62"/>
                  </a:cubicBezTo>
                  <a:cubicBezTo>
                    <a:pt x="476" y="62"/>
                    <a:pt x="472" y="64"/>
                    <a:pt x="469" y="64"/>
                  </a:cubicBezTo>
                  <a:cubicBezTo>
                    <a:pt x="468" y="64"/>
                    <a:pt x="465" y="62"/>
                    <a:pt x="464" y="61"/>
                  </a:cubicBezTo>
                  <a:cubicBezTo>
                    <a:pt x="467" y="61"/>
                    <a:pt x="470" y="61"/>
                    <a:pt x="472" y="60"/>
                  </a:cubicBezTo>
                  <a:cubicBezTo>
                    <a:pt x="472" y="60"/>
                    <a:pt x="473" y="58"/>
                    <a:pt x="473" y="58"/>
                  </a:cubicBezTo>
                  <a:cubicBezTo>
                    <a:pt x="477" y="57"/>
                    <a:pt x="481" y="60"/>
                    <a:pt x="485" y="60"/>
                  </a:cubicBezTo>
                  <a:cubicBezTo>
                    <a:pt x="486" y="59"/>
                    <a:pt x="487" y="58"/>
                    <a:pt x="489" y="58"/>
                  </a:cubicBezTo>
                  <a:cubicBezTo>
                    <a:pt x="490" y="58"/>
                    <a:pt x="494" y="60"/>
                    <a:pt x="495" y="60"/>
                  </a:cubicBezTo>
                  <a:cubicBezTo>
                    <a:pt x="495" y="59"/>
                    <a:pt x="496" y="57"/>
                    <a:pt x="497" y="57"/>
                  </a:cubicBezTo>
                  <a:cubicBezTo>
                    <a:pt x="499" y="56"/>
                    <a:pt x="502" y="56"/>
                    <a:pt x="505" y="56"/>
                  </a:cubicBezTo>
                  <a:cubicBezTo>
                    <a:pt x="505" y="54"/>
                    <a:pt x="504" y="53"/>
                    <a:pt x="505" y="52"/>
                  </a:cubicBezTo>
                  <a:cubicBezTo>
                    <a:pt x="506" y="52"/>
                    <a:pt x="508" y="52"/>
                    <a:pt x="509" y="52"/>
                  </a:cubicBezTo>
                  <a:cubicBezTo>
                    <a:pt x="511" y="52"/>
                    <a:pt x="512" y="49"/>
                    <a:pt x="513" y="49"/>
                  </a:cubicBezTo>
                  <a:cubicBezTo>
                    <a:pt x="515" y="48"/>
                    <a:pt x="516" y="50"/>
                    <a:pt x="519" y="50"/>
                  </a:cubicBezTo>
                  <a:cubicBezTo>
                    <a:pt x="519" y="49"/>
                    <a:pt x="520" y="48"/>
                    <a:pt x="521" y="48"/>
                  </a:cubicBezTo>
                  <a:cubicBezTo>
                    <a:pt x="519" y="46"/>
                    <a:pt x="518" y="43"/>
                    <a:pt x="516" y="43"/>
                  </a:cubicBezTo>
                  <a:cubicBezTo>
                    <a:pt x="513" y="42"/>
                    <a:pt x="507" y="44"/>
                    <a:pt x="505" y="44"/>
                  </a:cubicBezTo>
                  <a:cubicBezTo>
                    <a:pt x="502" y="43"/>
                    <a:pt x="495" y="41"/>
                    <a:pt x="491" y="41"/>
                  </a:cubicBezTo>
                  <a:cubicBezTo>
                    <a:pt x="487" y="40"/>
                    <a:pt x="485" y="42"/>
                    <a:pt x="481" y="42"/>
                  </a:cubicBezTo>
                  <a:cubicBezTo>
                    <a:pt x="481" y="42"/>
                    <a:pt x="476" y="40"/>
                    <a:pt x="475" y="41"/>
                  </a:cubicBezTo>
                  <a:cubicBezTo>
                    <a:pt x="474" y="44"/>
                    <a:pt x="474" y="44"/>
                    <a:pt x="474" y="44"/>
                  </a:cubicBezTo>
                  <a:cubicBezTo>
                    <a:pt x="470" y="45"/>
                    <a:pt x="468" y="45"/>
                    <a:pt x="465" y="46"/>
                  </a:cubicBezTo>
                  <a:cubicBezTo>
                    <a:pt x="465" y="46"/>
                    <a:pt x="465" y="48"/>
                    <a:pt x="465" y="48"/>
                  </a:cubicBezTo>
                  <a:cubicBezTo>
                    <a:pt x="463" y="49"/>
                    <a:pt x="463" y="47"/>
                    <a:pt x="462" y="47"/>
                  </a:cubicBezTo>
                  <a:cubicBezTo>
                    <a:pt x="458" y="45"/>
                    <a:pt x="458" y="45"/>
                    <a:pt x="455" y="48"/>
                  </a:cubicBezTo>
                  <a:cubicBezTo>
                    <a:pt x="454" y="46"/>
                    <a:pt x="454" y="45"/>
                    <a:pt x="453" y="43"/>
                  </a:cubicBezTo>
                  <a:cubicBezTo>
                    <a:pt x="451" y="44"/>
                    <a:pt x="446" y="49"/>
                    <a:pt x="444" y="50"/>
                  </a:cubicBezTo>
                  <a:cubicBezTo>
                    <a:pt x="443" y="50"/>
                    <a:pt x="442" y="49"/>
                    <a:pt x="441" y="50"/>
                  </a:cubicBezTo>
                  <a:cubicBezTo>
                    <a:pt x="439" y="50"/>
                    <a:pt x="439" y="53"/>
                    <a:pt x="437" y="54"/>
                  </a:cubicBezTo>
                  <a:cubicBezTo>
                    <a:pt x="435" y="55"/>
                    <a:pt x="429" y="56"/>
                    <a:pt x="425" y="56"/>
                  </a:cubicBezTo>
                  <a:cubicBezTo>
                    <a:pt x="425" y="55"/>
                    <a:pt x="423" y="55"/>
                    <a:pt x="421" y="55"/>
                  </a:cubicBezTo>
                  <a:cubicBezTo>
                    <a:pt x="421" y="55"/>
                    <a:pt x="420" y="56"/>
                    <a:pt x="419" y="56"/>
                  </a:cubicBezTo>
                  <a:cubicBezTo>
                    <a:pt x="418" y="56"/>
                    <a:pt x="416" y="54"/>
                    <a:pt x="416" y="54"/>
                  </a:cubicBezTo>
                  <a:cubicBezTo>
                    <a:pt x="418" y="53"/>
                    <a:pt x="419" y="51"/>
                    <a:pt x="423" y="51"/>
                  </a:cubicBezTo>
                  <a:cubicBezTo>
                    <a:pt x="423" y="51"/>
                    <a:pt x="425" y="52"/>
                    <a:pt x="426" y="52"/>
                  </a:cubicBezTo>
                  <a:cubicBezTo>
                    <a:pt x="427" y="51"/>
                    <a:pt x="427" y="50"/>
                    <a:pt x="427" y="50"/>
                  </a:cubicBezTo>
                  <a:cubicBezTo>
                    <a:pt x="429" y="49"/>
                    <a:pt x="431" y="49"/>
                    <a:pt x="432" y="48"/>
                  </a:cubicBezTo>
                  <a:cubicBezTo>
                    <a:pt x="433" y="48"/>
                    <a:pt x="437" y="41"/>
                    <a:pt x="437" y="40"/>
                  </a:cubicBezTo>
                  <a:cubicBezTo>
                    <a:pt x="438" y="38"/>
                    <a:pt x="437" y="39"/>
                    <a:pt x="437" y="37"/>
                  </a:cubicBezTo>
                  <a:cubicBezTo>
                    <a:pt x="433" y="37"/>
                    <a:pt x="429" y="38"/>
                    <a:pt x="426" y="38"/>
                  </a:cubicBezTo>
                  <a:cubicBezTo>
                    <a:pt x="426" y="38"/>
                    <a:pt x="423" y="36"/>
                    <a:pt x="421" y="37"/>
                  </a:cubicBezTo>
                  <a:cubicBezTo>
                    <a:pt x="421" y="37"/>
                    <a:pt x="421" y="38"/>
                    <a:pt x="420" y="38"/>
                  </a:cubicBezTo>
                  <a:cubicBezTo>
                    <a:pt x="420" y="40"/>
                    <a:pt x="420" y="42"/>
                    <a:pt x="420" y="44"/>
                  </a:cubicBezTo>
                  <a:cubicBezTo>
                    <a:pt x="415" y="43"/>
                    <a:pt x="407" y="44"/>
                    <a:pt x="400" y="44"/>
                  </a:cubicBezTo>
                  <a:cubicBezTo>
                    <a:pt x="400" y="43"/>
                    <a:pt x="401" y="43"/>
                    <a:pt x="402" y="43"/>
                  </a:cubicBezTo>
                  <a:cubicBezTo>
                    <a:pt x="402" y="41"/>
                    <a:pt x="401" y="39"/>
                    <a:pt x="402" y="38"/>
                  </a:cubicBezTo>
                  <a:cubicBezTo>
                    <a:pt x="400" y="37"/>
                    <a:pt x="400" y="38"/>
                    <a:pt x="400" y="37"/>
                  </a:cubicBezTo>
                  <a:cubicBezTo>
                    <a:pt x="393" y="37"/>
                    <a:pt x="386" y="37"/>
                    <a:pt x="378" y="38"/>
                  </a:cubicBezTo>
                  <a:cubicBezTo>
                    <a:pt x="378" y="38"/>
                    <a:pt x="374" y="39"/>
                    <a:pt x="374" y="39"/>
                  </a:cubicBezTo>
                  <a:cubicBezTo>
                    <a:pt x="371" y="39"/>
                    <a:pt x="369" y="38"/>
                    <a:pt x="368" y="38"/>
                  </a:cubicBezTo>
                  <a:cubicBezTo>
                    <a:pt x="365" y="37"/>
                    <a:pt x="365" y="39"/>
                    <a:pt x="364" y="39"/>
                  </a:cubicBezTo>
                  <a:cubicBezTo>
                    <a:pt x="362" y="39"/>
                    <a:pt x="362" y="38"/>
                    <a:pt x="360" y="38"/>
                  </a:cubicBezTo>
                  <a:cubicBezTo>
                    <a:pt x="357" y="39"/>
                    <a:pt x="353" y="42"/>
                    <a:pt x="350" y="43"/>
                  </a:cubicBezTo>
                  <a:cubicBezTo>
                    <a:pt x="348" y="43"/>
                    <a:pt x="345" y="42"/>
                    <a:pt x="342" y="43"/>
                  </a:cubicBezTo>
                  <a:cubicBezTo>
                    <a:pt x="341" y="43"/>
                    <a:pt x="341" y="45"/>
                    <a:pt x="340" y="46"/>
                  </a:cubicBezTo>
                  <a:cubicBezTo>
                    <a:pt x="339" y="46"/>
                    <a:pt x="339" y="45"/>
                    <a:pt x="337" y="46"/>
                  </a:cubicBezTo>
                  <a:cubicBezTo>
                    <a:pt x="338" y="45"/>
                    <a:pt x="338" y="43"/>
                    <a:pt x="338" y="43"/>
                  </a:cubicBezTo>
                  <a:cubicBezTo>
                    <a:pt x="341" y="41"/>
                    <a:pt x="347" y="42"/>
                    <a:pt x="350" y="41"/>
                  </a:cubicBezTo>
                  <a:cubicBezTo>
                    <a:pt x="351" y="41"/>
                    <a:pt x="352" y="40"/>
                    <a:pt x="352" y="39"/>
                  </a:cubicBezTo>
                  <a:cubicBezTo>
                    <a:pt x="352" y="38"/>
                    <a:pt x="352" y="38"/>
                    <a:pt x="352" y="38"/>
                  </a:cubicBezTo>
                  <a:cubicBezTo>
                    <a:pt x="355" y="37"/>
                    <a:pt x="357" y="39"/>
                    <a:pt x="359" y="38"/>
                  </a:cubicBezTo>
                  <a:cubicBezTo>
                    <a:pt x="360" y="37"/>
                    <a:pt x="359" y="36"/>
                    <a:pt x="360" y="35"/>
                  </a:cubicBezTo>
                  <a:cubicBezTo>
                    <a:pt x="361" y="34"/>
                    <a:pt x="364" y="33"/>
                    <a:pt x="365" y="33"/>
                  </a:cubicBezTo>
                  <a:cubicBezTo>
                    <a:pt x="367" y="33"/>
                    <a:pt x="370" y="33"/>
                    <a:pt x="372" y="34"/>
                  </a:cubicBezTo>
                  <a:cubicBezTo>
                    <a:pt x="377" y="34"/>
                    <a:pt x="383" y="33"/>
                    <a:pt x="387" y="33"/>
                  </a:cubicBezTo>
                  <a:cubicBezTo>
                    <a:pt x="391" y="34"/>
                    <a:pt x="391" y="34"/>
                    <a:pt x="391" y="34"/>
                  </a:cubicBezTo>
                  <a:cubicBezTo>
                    <a:pt x="398" y="34"/>
                    <a:pt x="405" y="33"/>
                    <a:pt x="414" y="34"/>
                  </a:cubicBezTo>
                  <a:cubicBezTo>
                    <a:pt x="416" y="34"/>
                    <a:pt x="420" y="35"/>
                    <a:pt x="423" y="35"/>
                  </a:cubicBezTo>
                  <a:cubicBezTo>
                    <a:pt x="425" y="35"/>
                    <a:pt x="428" y="33"/>
                    <a:pt x="430" y="33"/>
                  </a:cubicBezTo>
                  <a:cubicBezTo>
                    <a:pt x="434" y="33"/>
                    <a:pt x="437" y="34"/>
                    <a:pt x="440" y="3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89" name="Freeform 230">
              <a:extLst>
                <a:ext uri="{FF2B5EF4-FFF2-40B4-BE49-F238E27FC236}">
                  <a16:creationId xmlns:a16="http://schemas.microsoft.com/office/drawing/2014/main" id="{1ABA9850-587A-AFEA-644D-E049848D56A9}"/>
                </a:ext>
              </a:extLst>
            </p:cNvPr>
            <p:cNvSpPr>
              <a:spLocks noEditPoints="1"/>
            </p:cNvSpPr>
            <p:nvPr/>
          </p:nvSpPr>
          <p:spPr bwMode="auto">
            <a:xfrm>
              <a:off x="6584843" y="2593707"/>
              <a:ext cx="235331" cy="296411"/>
            </a:xfrm>
            <a:custGeom>
              <a:avLst/>
              <a:gdLst>
                <a:gd name="T0" fmla="*/ 6 w 67"/>
                <a:gd name="T1" fmla="*/ 30 h 84"/>
                <a:gd name="T2" fmla="*/ 12 w 67"/>
                <a:gd name="T3" fmla="*/ 34 h 84"/>
                <a:gd name="T4" fmla="*/ 25 w 67"/>
                <a:gd name="T5" fmla="*/ 46 h 84"/>
                <a:gd name="T6" fmla="*/ 11 w 67"/>
                <a:gd name="T7" fmla="*/ 48 h 84"/>
                <a:gd name="T8" fmla="*/ 16 w 67"/>
                <a:gd name="T9" fmla="*/ 57 h 84"/>
                <a:gd name="T10" fmla="*/ 24 w 67"/>
                <a:gd name="T11" fmla="*/ 58 h 84"/>
                <a:gd name="T12" fmla="*/ 30 w 67"/>
                <a:gd name="T13" fmla="*/ 55 h 84"/>
                <a:gd name="T14" fmla="*/ 28 w 67"/>
                <a:gd name="T15" fmla="*/ 48 h 84"/>
                <a:gd name="T16" fmla="*/ 35 w 67"/>
                <a:gd name="T17" fmla="*/ 45 h 84"/>
                <a:gd name="T18" fmla="*/ 28 w 67"/>
                <a:gd name="T19" fmla="*/ 38 h 84"/>
                <a:gd name="T20" fmla="*/ 34 w 67"/>
                <a:gd name="T21" fmla="*/ 44 h 84"/>
                <a:gd name="T22" fmla="*/ 41 w 67"/>
                <a:gd name="T23" fmla="*/ 48 h 84"/>
                <a:gd name="T24" fmla="*/ 32 w 67"/>
                <a:gd name="T25" fmla="*/ 36 h 84"/>
                <a:gd name="T26" fmla="*/ 25 w 67"/>
                <a:gd name="T27" fmla="*/ 30 h 84"/>
                <a:gd name="T28" fmla="*/ 25 w 67"/>
                <a:gd name="T29" fmla="*/ 22 h 84"/>
                <a:gd name="T30" fmla="*/ 30 w 67"/>
                <a:gd name="T31" fmla="*/ 22 h 84"/>
                <a:gd name="T32" fmla="*/ 32 w 67"/>
                <a:gd name="T33" fmla="*/ 18 h 84"/>
                <a:gd name="T34" fmla="*/ 36 w 67"/>
                <a:gd name="T35" fmla="*/ 16 h 84"/>
                <a:gd name="T36" fmla="*/ 53 w 67"/>
                <a:gd name="T37" fmla="*/ 10 h 84"/>
                <a:gd name="T38" fmla="*/ 57 w 67"/>
                <a:gd name="T39" fmla="*/ 8 h 84"/>
                <a:gd name="T40" fmla="*/ 59 w 67"/>
                <a:gd name="T41" fmla="*/ 2 h 84"/>
                <a:gd name="T42" fmla="*/ 49 w 67"/>
                <a:gd name="T43" fmla="*/ 6 h 84"/>
                <a:gd name="T44" fmla="*/ 36 w 67"/>
                <a:gd name="T45" fmla="*/ 6 h 84"/>
                <a:gd name="T46" fmla="*/ 27 w 67"/>
                <a:gd name="T47" fmla="*/ 9 h 84"/>
                <a:gd name="T48" fmla="*/ 16 w 67"/>
                <a:gd name="T49" fmla="*/ 15 h 84"/>
                <a:gd name="T50" fmla="*/ 7 w 67"/>
                <a:gd name="T51" fmla="*/ 22 h 84"/>
                <a:gd name="T52" fmla="*/ 2 w 67"/>
                <a:gd name="T53" fmla="*/ 25 h 84"/>
                <a:gd name="T54" fmla="*/ 62 w 67"/>
                <a:gd name="T55" fmla="*/ 76 h 84"/>
                <a:gd name="T56" fmla="*/ 30 w 67"/>
                <a:gd name="T57" fmla="*/ 79 h 84"/>
                <a:gd name="T58" fmla="*/ 46 w 67"/>
                <a:gd name="T59" fmla="*/ 84 h 84"/>
                <a:gd name="T60" fmla="*/ 55 w 67"/>
                <a:gd name="T61" fmla="*/ 82 h 84"/>
                <a:gd name="T62" fmla="*/ 52 w 67"/>
                <a:gd name="T63" fmla="*/ 78 h 84"/>
                <a:gd name="T64" fmla="*/ 32 w 67"/>
                <a:gd name="T65" fmla="*/ 76 h 84"/>
                <a:gd name="T66" fmla="*/ 26 w 67"/>
                <a:gd name="T67" fmla="*/ 36 h 84"/>
                <a:gd name="T68" fmla="*/ 20 w 67"/>
                <a:gd name="T69" fmla="*/ 63 h 84"/>
                <a:gd name="T70" fmla="*/ 65 w 67"/>
                <a:gd name="T71" fmla="*/ 60 h 84"/>
                <a:gd name="T72" fmla="*/ 54 w 67"/>
                <a:gd name="T73" fmla="*/ 50 h 84"/>
                <a:gd name="T74" fmla="*/ 7 w 67"/>
                <a:gd name="T75" fmla="*/ 44 h 84"/>
                <a:gd name="T76" fmla="*/ 52 w 67"/>
                <a:gd name="T77" fmla="*/ 44 h 84"/>
                <a:gd name="T78" fmla="*/ 53 w 67"/>
                <a:gd name="T79" fmla="*/ 32 h 84"/>
                <a:gd name="T80" fmla="*/ 57 w 67"/>
                <a:gd name="T81" fmla="*/ 34 h 84"/>
                <a:gd name="T82" fmla="*/ 0 w 67"/>
                <a:gd name="T83" fmla="*/ 2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84">
                  <a:moveTo>
                    <a:pt x="2" y="25"/>
                  </a:moveTo>
                  <a:cubicBezTo>
                    <a:pt x="2" y="26"/>
                    <a:pt x="2" y="28"/>
                    <a:pt x="3" y="29"/>
                  </a:cubicBezTo>
                  <a:cubicBezTo>
                    <a:pt x="3" y="30"/>
                    <a:pt x="5" y="30"/>
                    <a:pt x="6" y="30"/>
                  </a:cubicBezTo>
                  <a:cubicBezTo>
                    <a:pt x="6" y="31"/>
                    <a:pt x="5" y="32"/>
                    <a:pt x="6" y="32"/>
                  </a:cubicBezTo>
                  <a:cubicBezTo>
                    <a:pt x="6" y="33"/>
                    <a:pt x="8" y="34"/>
                    <a:pt x="8" y="35"/>
                  </a:cubicBezTo>
                  <a:cubicBezTo>
                    <a:pt x="9" y="35"/>
                    <a:pt x="10" y="34"/>
                    <a:pt x="12" y="34"/>
                  </a:cubicBezTo>
                  <a:cubicBezTo>
                    <a:pt x="11" y="35"/>
                    <a:pt x="10" y="36"/>
                    <a:pt x="10" y="36"/>
                  </a:cubicBezTo>
                  <a:cubicBezTo>
                    <a:pt x="9" y="39"/>
                    <a:pt x="10" y="42"/>
                    <a:pt x="10" y="43"/>
                  </a:cubicBezTo>
                  <a:cubicBezTo>
                    <a:pt x="17" y="42"/>
                    <a:pt x="20" y="44"/>
                    <a:pt x="25" y="46"/>
                  </a:cubicBezTo>
                  <a:cubicBezTo>
                    <a:pt x="25" y="46"/>
                    <a:pt x="24" y="48"/>
                    <a:pt x="22" y="48"/>
                  </a:cubicBezTo>
                  <a:cubicBezTo>
                    <a:pt x="21" y="48"/>
                    <a:pt x="20" y="45"/>
                    <a:pt x="19" y="45"/>
                  </a:cubicBezTo>
                  <a:cubicBezTo>
                    <a:pt x="14" y="43"/>
                    <a:pt x="13" y="45"/>
                    <a:pt x="11" y="48"/>
                  </a:cubicBezTo>
                  <a:cubicBezTo>
                    <a:pt x="14" y="51"/>
                    <a:pt x="14" y="51"/>
                    <a:pt x="13" y="57"/>
                  </a:cubicBezTo>
                  <a:cubicBezTo>
                    <a:pt x="14" y="57"/>
                    <a:pt x="14" y="57"/>
                    <a:pt x="14" y="58"/>
                  </a:cubicBezTo>
                  <a:cubicBezTo>
                    <a:pt x="16" y="58"/>
                    <a:pt x="15" y="57"/>
                    <a:pt x="16" y="57"/>
                  </a:cubicBezTo>
                  <a:cubicBezTo>
                    <a:pt x="16" y="57"/>
                    <a:pt x="18" y="57"/>
                    <a:pt x="18" y="58"/>
                  </a:cubicBezTo>
                  <a:cubicBezTo>
                    <a:pt x="19" y="58"/>
                    <a:pt x="20" y="58"/>
                    <a:pt x="22" y="58"/>
                  </a:cubicBezTo>
                  <a:cubicBezTo>
                    <a:pt x="21" y="58"/>
                    <a:pt x="24" y="58"/>
                    <a:pt x="24" y="58"/>
                  </a:cubicBezTo>
                  <a:cubicBezTo>
                    <a:pt x="24" y="57"/>
                    <a:pt x="24" y="57"/>
                    <a:pt x="24" y="57"/>
                  </a:cubicBezTo>
                  <a:cubicBezTo>
                    <a:pt x="24" y="57"/>
                    <a:pt x="23" y="55"/>
                    <a:pt x="24" y="54"/>
                  </a:cubicBezTo>
                  <a:cubicBezTo>
                    <a:pt x="25" y="54"/>
                    <a:pt x="29" y="55"/>
                    <a:pt x="30" y="55"/>
                  </a:cubicBezTo>
                  <a:cubicBezTo>
                    <a:pt x="30" y="55"/>
                    <a:pt x="31" y="53"/>
                    <a:pt x="31" y="53"/>
                  </a:cubicBezTo>
                  <a:cubicBezTo>
                    <a:pt x="28" y="50"/>
                    <a:pt x="28" y="50"/>
                    <a:pt x="28" y="50"/>
                  </a:cubicBezTo>
                  <a:cubicBezTo>
                    <a:pt x="27" y="50"/>
                    <a:pt x="28" y="49"/>
                    <a:pt x="28" y="48"/>
                  </a:cubicBezTo>
                  <a:cubicBezTo>
                    <a:pt x="30" y="49"/>
                    <a:pt x="31" y="48"/>
                    <a:pt x="32" y="49"/>
                  </a:cubicBezTo>
                  <a:cubicBezTo>
                    <a:pt x="32" y="49"/>
                    <a:pt x="33" y="50"/>
                    <a:pt x="35" y="51"/>
                  </a:cubicBezTo>
                  <a:cubicBezTo>
                    <a:pt x="35" y="48"/>
                    <a:pt x="35" y="47"/>
                    <a:pt x="35" y="45"/>
                  </a:cubicBezTo>
                  <a:cubicBezTo>
                    <a:pt x="33" y="44"/>
                    <a:pt x="29" y="43"/>
                    <a:pt x="28" y="41"/>
                  </a:cubicBezTo>
                  <a:cubicBezTo>
                    <a:pt x="28" y="41"/>
                    <a:pt x="28" y="39"/>
                    <a:pt x="28" y="39"/>
                  </a:cubicBezTo>
                  <a:cubicBezTo>
                    <a:pt x="28" y="39"/>
                    <a:pt x="27" y="37"/>
                    <a:pt x="28" y="38"/>
                  </a:cubicBezTo>
                  <a:cubicBezTo>
                    <a:pt x="29" y="38"/>
                    <a:pt x="29" y="40"/>
                    <a:pt x="30" y="40"/>
                  </a:cubicBezTo>
                  <a:cubicBezTo>
                    <a:pt x="31" y="41"/>
                    <a:pt x="32" y="42"/>
                    <a:pt x="33" y="42"/>
                  </a:cubicBezTo>
                  <a:cubicBezTo>
                    <a:pt x="33" y="42"/>
                    <a:pt x="33" y="43"/>
                    <a:pt x="34" y="44"/>
                  </a:cubicBezTo>
                  <a:cubicBezTo>
                    <a:pt x="35" y="44"/>
                    <a:pt x="37" y="43"/>
                    <a:pt x="38" y="44"/>
                  </a:cubicBezTo>
                  <a:cubicBezTo>
                    <a:pt x="38" y="44"/>
                    <a:pt x="39" y="45"/>
                    <a:pt x="40" y="46"/>
                  </a:cubicBezTo>
                  <a:cubicBezTo>
                    <a:pt x="40" y="46"/>
                    <a:pt x="41" y="48"/>
                    <a:pt x="41" y="48"/>
                  </a:cubicBezTo>
                  <a:cubicBezTo>
                    <a:pt x="44" y="49"/>
                    <a:pt x="38" y="41"/>
                    <a:pt x="38" y="40"/>
                  </a:cubicBezTo>
                  <a:cubicBezTo>
                    <a:pt x="36" y="39"/>
                    <a:pt x="34" y="40"/>
                    <a:pt x="33" y="38"/>
                  </a:cubicBezTo>
                  <a:cubicBezTo>
                    <a:pt x="33" y="38"/>
                    <a:pt x="33" y="37"/>
                    <a:pt x="32" y="36"/>
                  </a:cubicBezTo>
                  <a:cubicBezTo>
                    <a:pt x="30" y="34"/>
                    <a:pt x="29" y="35"/>
                    <a:pt x="26" y="36"/>
                  </a:cubicBezTo>
                  <a:cubicBezTo>
                    <a:pt x="26" y="35"/>
                    <a:pt x="28" y="35"/>
                    <a:pt x="27" y="34"/>
                  </a:cubicBezTo>
                  <a:cubicBezTo>
                    <a:pt x="25" y="33"/>
                    <a:pt x="26" y="32"/>
                    <a:pt x="25" y="30"/>
                  </a:cubicBezTo>
                  <a:cubicBezTo>
                    <a:pt x="26" y="30"/>
                    <a:pt x="27" y="32"/>
                    <a:pt x="27" y="32"/>
                  </a:cubicBezTo>
                  <a:cubicBezTo>
                    <a:pt x="33" y="34"/>
                    <a:pt x="26" y="26"/>
                    <a:pt x="26" y="26"/>
                  </a:cubicBezTo>
                  <a:cubicBezTo>
                    <a:pt x="25" y="25"/>
                    <a:pt x="26" y="24"/>
                    <a:pt x="25" y="22"/>
                  </a:cubicBezTo>
                  <a:cubicBezTo>
                    <a:pt x="25" y="22"/>
                    <a:pt x="22" y="22"/>
                    <a:pt x="22" y="21"/>
                  </a:cubicBezTo>
                  <a:cubicBezTo>
                    <a:pt x="22" y="19"/>
                    <a:pt x="25" y="15"/>
                    <a:pt x="26" y="14"/>
                  </a:cubicBezTo>
                  <a:cubicBezTo>
                    <a:pt x="26" y="15"/>
                    <a:pt x="29" y="21"/>
                    <a:pt x="30" y="22"/>
                  </a:cubicBezTo>
                  <a:cubicBezTo>
                    <a:pt x="30" y="22"/>
                    <a:pt x="32" y="22"/>
                    <a:pt x="32" y="22"/>
                  </a:cubicBezTo>
                  <a:cubicBezTo>
                    <a:pt x="31" y="22"/>
                    <a:pt x="31" y="21"/>
                    <a:pt x="30" y="20"/>
                  </a:cubicBezTo>
                  <a:cubicBezTo>
                    <a:pt x="31" y="20"/>
                    <a:pt x="31" y="19"/>
                    <a:pt x="32" y="18"/>
                  </a:cubicBezTo>
                  <a:cubicBezTo>
                    <a:pt x="32" y="19"/>
                    <a:pt x="34" y="20"/>
                    <a:pt x="34" y="20"/>
                  </a:cubicBezTo>
                  <a:cubicBezTo>
                    <a:pt x="35" y="20"/>
                    <a:pt x="35" y="17"/>
                    <a:pt x="34" y="17"/>
                  </a:cubicBezTo>
                  <a:cubicBezTo>
                    <a:pt x="37" y="17"/>
                    <a:pt x="39" y="18"/>
                    <a:pt x="36" y="16"/>
                  </a:cubicBezTo>
                  <a:cubicBezTo>
                    <a:pt x="30" y="9"/>
                    <a:pt x="34" y="11"/>
                    <a:pt x="40" y="10"/>
                  </a:cubicBezTo>
                  <a:cubicBezTo>
                    <a:pt x="40" y="10"/>
                    <a:pt x="43" y="11"/>
                    <a:pt x="44" y="11"/>
                  </a:cubicBezTo>
                  <a:cubicBezTo>
                    <a:pt x="46" y="11"/>
                    <a:pt x="50" y="10"/>
                    <a:pt x="53" y="10"/>
                  </a:cubicBezTo>
                  <a:cubicBezTo>
                    <a:pt x="53" y="11"/>
                    <a:pt x="53" y="11"/>
                    <a:pt x="53" y="12"/>
                  </a:cubicBezTo>
                  <a:cubicBezTo>
                    <a:pt x="54" y="13"/>
                    <a:pt x="54" y="13"/>
                    <a:pt x="54" y="13"/>
                  </a:cubicBezTo>
                  <a:cubicBezTo>
                    <a:pt x="54" y="13"/>
                    <a:pt x="57" y="10"/>
                    <a:pt x="57" y="8"/>
                  </a:cubicBezTo>
                  <a:cubicBezTo>
                    <a:pt x="57" y="6"/>
                    <a:pt x="60" y="9"/>
                    <a:pt x="62" y="7"/>
                  </a:cubicBezTo>
                  <a:cubicBezTo>
                    <a:pt x="64" y="6"/>
                    <a:pt x="62" y="3"/>
                    <a:pt x="62" y="3"/>
                  </a:cubicBezTo>
                  <a:cubicBezTo>
                    <a:pt x="59" y="2"/>
                    <a:pt x="59" y="2"/>
                    <a:pt x="59" y="2"/>
                  </a:cubicBezTo>
                  <a:cubicBezTo>
                    <a:pt x="59" y="2"/>
                    <a:pt x="54" y="0"/>
                    <a:pt x="56" y="3"/>
                  </a:cubicBezTo>
                  <a:cubicBezTo>
                    <a:pt x="57" y="7"/>
                    <a:pt x="55" y="5"/>
                    <a:pt x="53" y="5"/>
                  </a:cubicBezTo>
                  <a:cubicBezTo>
                    <a:pt x="51" y="5"/>
                    <a:pt x="49" y="6"/>
                    <a:pt x="49" y="6"/>
                  </a:cubicBezTo>
                  <a:cubicBezTo>
                    <a:pt x="49" y="6"/>
                    <a:pt x="49" y="2"/>
                    <a:pt x="46" y="2"/>
                  </a:cubicBezTo>
                  <a:cubicBezTo>
                    <a:pt x="43" y="2"/>
                    <a:pt x="42" y="1"/>
                    <a:pt x="41" y="3"/>
                  </a:cubicBezTo>
                  <a:cubicBezTo>
                    <a:pt x="39" y="6"/>
                    <a:pt x="38" y="6"/>
                    <a:pt x="36" y="6"/>
                  </a:cubicBezTo>
                  <a:cubicBezTo>
                    <a:pt x="33" y="6"/>
                    <a:pt x="30" y="5"/>
                    <a:pt x="30" y="5"/>
                  </a:cubicBezTo>
                  <a:cubicBezTo>
                    <a:pt x="30" y="5"/>
                    <a:pt x="28" y="6"/>
                    <a:pt x="29" y="7"/>
                  </a:cubicBezTo>
                  <a:cubicBezTo>
                    <a:pt x="30" y="9"/>
                    <a:pt x="27" y="9"/>
                    <a:pt x="27" y="9"/>
                  </a:cubicBezTo>
                  <a:cubicBezTo>
                    <a:pt x="27" y="9"/>
                    <a:pt x="23" y="9"/>
                    <a:pt x="22" y="11"/>
                  </a:cubicBezTo>
                  <a:cubicBezTo>
                    <a:pt x="22" y="12"/>
                    <a:pt x="21" y="11"/>
                    <a:pt x="19" y="12"/>
                  </a:cubicBezTo>
                  <a:cubicBezTo>
                    <a:pt x="18" y="14"/>
                    <a:pt x="18" y="15"/>
                    <a:pt x="16" y="15"/>
                  </a:cubicBezTo>
                  <a:cubicBezTo>
                    <a:pt x="14" y="15"/>
                    <a:pt x="9" y="14"/>
                    <a:pt x="9" y="14"/>
                  </a:cubicBezTo>
                  <a:cubicBezTo>
                    <a:pt x="9" y="18"/>
                    <a:pt x="9" y="18"/>
                    <a:pt x="9" y="18"/>
                  </a:cubicBezTo>
                  <a:cubicBezTo>
                    <a:pt x="9" y="18"/>
                    <a:pt x="8" y="20"/>
                    <a:pt x="7" y="22"/>
                  </a:cubicBezTo>
                  <a:cubicBezTo>
                    <a:pt x="7" y="23"/>
                    <a:pt x="5" y="23"/>
                    <a:pt x="5" y="23"/>
                  </a:cubicBezTo>
                  <a:cubicBezTo>
                    <a:pt x="5" y="23"/>
                    <a:pt x="6" y="25"/>
                    <a:pt x="4" y="25"/>
                  </a:cubicBezTo>
                  <a:lnTo>
                    <a:pt x="2" y="25"/>
                  </a:lnTo>
                  <a:close/>
                  <a:moveTo>
                    <a:pt x="62" y="76"/>
                  </a:moveTo>
                  <a:cubicBezTo>
                    <a:pt x="63" y="77"/>
                    <a:pt x="63" y="77"/>
                    <a:pt x="63" y="77"/>
                  </a:cubicBezTo>
                  <a:cubicBezTo>
                    <a:pt x="63" y="76"/>
                    <a:pt x="63" y="76"/>
                    <a:pt x="62" y="76"/>
                  </a:cubicBezTo>
                  <a:close/>
                  <a:moveTo>
                    <a:pt x="32" y="76"/>
                  </a:moveTo>
                  <a:cubicBezTo>
                    <a:pt x="32" y="76"/>
                    <a:pt x="31" y="76"/>
                    <a:pt x="30" y="77"/>
                  </a:cubicBezTo>
                  <a:cubicBezTo>
                    <a:pt x="30" y="77"/>
                    <a:pt x="31" y="79"/>
                    <a:pt x="30" y="79"/>
                  </a:cubicBezTo>
                  <a:cubicBezTo>
                    <a:pt x="32" y="79"/>
                    <a:pt x="35" y="81"/>
                    <a:pt x="36" y="81"/>
                  </a:cubicBezTo>
                  <a:cubicBezTo>
                    <a:pt x="37" y="81"/>
                    <a:pt x="38" y="81"/>
                    <a:pt x="40" y="81"/>
                  </a:cubicBezTo>
                  <a:cubicBezTo>
                    <a:pt x="42" y="82"/>
                    <a:pt x="42" y="84"/>
                    <a:pt x="46" y="84"/>
                  </a:cubicBezTo>
                  <a:cubicBezTo>
                    <a:pt x="48" y="82"/>
                    <a:pt x="48" y="82"/>
                    <a:pt x="48" y="82"/>
                  </a:cubicBezTo>
                  <a:cubicBezTo>
                    <a:pt x="50" y="82"/>
                    <a:pt x="50" y="83"/>
                    <a:pt x="52" y="83"/>
                  </a:cubicBezTo>
                  <a:cubicBezTo>
                    <a:pt x="52" y="83"/>
                    <a:pt x="54" y="82"/>
                    <a:pt x="55" y="82"/>
                  </a:cubicBezTo>
                  <a:cubicBezTo>
                    <a:pt x="55" y="82"/>
                    <a:pt x="56" y="81"/>
                    <a:pt x="55" y="80"/>
                  </a:cubicBezTo>
                  <a:cubicBezTo>
                    <a:pt x="54" y="80"/>
                    <a:pt x="53" y="81"/>
                    <a:pt x="52" y="80"/>
                  </a:cubicBezTo>
                  <a:cubicBezTo>
                    <a:pt x="52" y="80"/>
                    <a:pt x="52" y="78"/>
                    <a:pt x="52" y="78"/>
                  </a:cubicBezTo>
                  <a:cubicBezTo>
                    <a:pt x="52" y="78"/>
                    <a:pt x="49" y="77"/>
                    <a:pt x="50" y="78"/>
                  </a:cubicBezTo>
                  <a:cubicBezTo>
                    <a:pt x="48" y="79"/>
                    <a:pt x="42" y="78"/>
                    <a:pt x="44" y="78"/>
                  </a:cubicBezTo>
                  <a:cubicBezTo>
                    <a:pt x="39" y="78"/>
                    <a:pt x="36" y="77"/>
                    <a:pt x="32" y="76"/>
                  </a:cubicBezTo>
                  <a:close/>
                  <a:moveTo>
                    <a:pt x="26" y="36"/>
                  </a:moveTo>
                  <a:cubicBezTo>
                    <a:pt x="26" y="36"/>
                    <a:pt x="27" y="38"/>
                    <a:pt x="27" y="38"/>
                  </a:cubicBezTo>
                  <a:cubicBezTo>
                    <a:pt x="24" y="37"/>
                    <a:pt x="23" y="37"/>
                    <a:pt x="26" y="36"/>
                  </a:cubicBezTo>
                  <a:close/>
                  <a:moveTo>
                    <a:pt x="20" y="63"/>
                  </a:moveTo>
                  <a:cubicBezTo>
                    <a:pt x="20" y="63"/>
                    <a:pt x="20" y="65"/>
                    <a:pt x="20" y="66"/>
                  </a:cubicBezTo>
                  <a:cubicBezTo>
                    <a:pt x="23" y="66"/>
                    <a:pt x="22" y="63"/>
                    <a:pt x="20" y="63"/>
                  </a:cubicBezTo>
                  <a:close/>
                  <a:moveTo>
                    <a:pt x="65" y="60"/>
                  </a:moveTo>
                  <a:cubicBezTo>
                    <a:pt x="65" y="60"/>
                    <a:pt x="62" y="62"/>
                    <a:pt x="64" y="62"/>
                  </a:cubicBezTo>
                  <a:cubicBezTo>
                    <a:pt x="64" y="62"/>
                    <a:pt x="67" y="59"/>
                    <a:pt x="65" y="60"/>
                  </a:cubicBezTo>
                  <a:close/>
                  <a:moveTo>
                    <a:pt x="54" y="50"/>
                  </a:moveTo>
                  <a:cubicBezTo>
                    <a:pt x="54" y="52"/>
                    <a:pt x="54" y="52"/>
                    <a:pt x="54" y="52"/>
                  </a:cubicBezTo>
                  <a:cubicBezTo>
                    <a:pt x="57" y="52"/>
                    <a:pt x="57" y="50"/>
                    <a:pt x="54" y="50"/>
                  </a:cubicBezTo>
                  <a:close/>
                  <a:moveTo>
                    <a:pt x="4" y="43"/>
                  </a:moveTo>
                  <a:cubicBezTo>
                    <a:pt x="4" y="43"/>
                    <a:pt x="4" y="45"/>
                    <a:pt x="4" y="45"/>
                  </a:cubicBezTo>
                  <a:cubicBezTo>
                    <a:pt x="4" y="45"/>
                    <a:pt x="9" y="45"/>
                    <a:pt x="7" y="44"/>
                  </a:cubicBezTo>
                  <a:cubicBezTo>
                    <a:pt x="6" y="44"/>
                    <a:pt x="5" y="44"/>
                    <a:pt x="4" y="43"/>
                  </a:cubicBezTo>
                  <a:close/>
                  <a:moveTo>
                    <a:pt x="52" y="41"/>
                  </a:moveTo>
                  <a:cubicBezTo>
                    <a:pt x="52" y="41"/>
                    <a:pt x="52" y="43"/>
                    <a:pt x="52" y="44"/>
                  </a:cubicBezTo>
                  <a:cubicBezTo>
                    <a:pt x="54" y="45"/>
                    <a:pt x="53" y="41"/>
                    <a:pt x="52" y="41"/>
                  </a:cubicBezTo>
                  <a:close/>
                  <a:moveTo>
                    <a:pt x="54" y="30"/>
                  </a:moveTo>
                  <a:cubicBezTo>
                    <a:pt x="54" y="30"/>
                    <a:pt x="53" y="32"/>
                    <a:pt x="53" y="32"/>
                  </a:cubicBezTo>
                  <a:cubicBezTo>
                    <a:pt x="54" y="32"/>
                    <a:pt x="54" y="32"/>
                    <a:pt x="54" y="32"/>
                  </a:cubicBezTo>
                  <a:cubicBezTo>
                    <a:pt x="54" y="33"/>
                    <a:pt x="55" y="34"/>
                    <a:pt x="55" y="35"/>
                  </a:cubicBezTo>
                  <a:cubicBezTo>
                    <a:pt x="55" y="35"/>
                    <a:pt x="59" y="35"/>
                    <a:pt x="57" y="34"/>
                  </a:cubicBezTo>
                  <a:cubicBezTo>
                    <a:pt x="57" y="34"/>
                    <a:pt x="57" y="32"/>
                    <a:pt x="56" y="30"/>
                  </a:cubicBezTo>
                  <a:cubicBezTo>
                    <a:pt x="56" y="30"/>
                    <a:pt x="54" y="31"/>
                    <a:pt x="54" y="30"/>
                  </a:cubicBezTo>
                  <a:close/>
                  <a:moveTo>
                    <a:pt x="0" y="25"/>
                  </a:moveTo>
                  <a:cubicBezTo>
                    <a:pt x="0" y="25"/>
                    <a:pt x="0" y="27"/>
                    <a:pt x="0" y="27"/>
                  </a:cubicBezTo>
                  <a:cubicBezTo>
                    <a:pt x="2" y="28"/>
                    <a:pt x="0" y="25"/>
                    <a:pt x="0" y="2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90" name="Freeform 231">
              <a:extLst>
                <a:ext uri="{FF2B5EF4-FFF2-40B4-BE49-F238E27FC236}">
                  <a16:creationId xmlns:a16="http://schemas.microsoft.com/office/drawing/2014/main" id="{CD9B15D5-2075-294F-6930-A651A402B17A}"/>
                </a:ext>
              </a:extLst>
            </p:cNvPr>
            <p:cNvSpPr>
              <a:spLocks noEditPoints="1"/>
            </p:cNvSpPr>
            <p:nvPr/>
          </p:nvSpPr>
          <p:spPr bwMode="auto">
            <a:xfrm>
              <a:off x="6584843" y="2593707"/>
              <a:ext cx="235331" cy="296411"/>
            </a:xfrm>
            <a:custGeom>
              <a:avLst/>
              <a:gdLst>
                <a:gd name="T0" fmla="*/ 6 w 67"/>
                <a:gd name="T1" fmla="*/ 30 h 84"/>
                <a:gd name="T2" fmla="*/ 12 w 67"/>
                <a:gd name="T3" fmla="*/ 34 h 84"/>
                <a:gd name="T4" fmla="*/ 25 w 67"/>
                <a:gd name="T5" fmla="*/ 46 h 84"/>
                <a:gd name="T6" fmla="*/ 11 w 67"/>
                <a:gd name="T7" fmla="*/ 48 h 84"/>
                <a:gd name="T8" fmla="*/ 16 w 67"/>
                <a:gd name="T9" fmla="*/ 57 h 84"/>
                <a:gd name="T10" fmla="*/ 24 w 67"/>
                <a:gd name="T11" fmla="*/ 58 h 84"/>
                <a:gd name="T12" fmla="*/ 30 w 67"/>
                <a:gd name="T13" fmla="*/ 55 h 84"/>
                <a:gd name="T14" fmla="*/ 28 w 67"/>
                <a:gd name="T15" fmla="*/ 48 h 84"/>
                <a:gd name="T16" fmla="*/ 35 w 67"/>
                <a:gd name="T17" fmla="*/ 45 h 84"/>
                <a:gd name="T18" fmla="*/ 28 w 67"/>
                <a:gd name="T19" fmla="*/ 38 h 84"/>
                <a:gd name="T20" fmla="*/ 34 w 67"/>
                <a:gd name="T21" fmla="*/ 44 h 84"/>
                <a:gd name="T22" fmla="*/ 41 w 67"/>
                <a:gd name="T23" fmla="*/ 48 h 84"/>
                <a:gd name="T24" fmla="*/ 32 w 67"/>
                <a:gd name="T25" fmla="*/ 36 h 84"/>
                <a:gd name="T26" fmla="*/ 25 w 67"/>
                <a:gd name="T27" fmla="*/ 30 h 84"/>
                <a:gd name="T28" fmla="*/ 25 w 67"/>
                <a:gd name="T29" fmla="*/ 22 h 84"/>
                <a:gd name="T30" fmla="*/ 30 w 67"/>
                <a:gd name="T31" fmla="*/ 22 h 84"/>
                <a:gd name="T32" fmla="*/ 32 w 67"/>
                <a:gd name="T33" fmla="*/ 18 h 84"/>
                <a:gd name="T34" fmla="*/ 36 w 67"/>
                <a:gd name="T35" fmla="*/ 16 h 84"/>
                <a:gd name="T36" fmla="*/ 53 w 67"/>
                <a:gd name="T37" fmla="*/ 10 h 84"/>
                <a:gd name="T38" fmla="*/ 57 w 67"/>
                <a:gd name="T39" fmla="*/ 8 h 84"/>
                <a:gd name="T40" fmla="*/ 59 w 67"/>
                <a:gd name="T41" fmla="*/ 2 h 84"/>
                <a:gd name="T42" fmla="*/ 49 w 67"/>
                <a:gd name="T43" fmla="*/ 6 h 84"/>
                <a:gd name="T44" fmla="*/ 36 w 67"/>
                <a:gd name="T45" fmla="*/ 6 h 84"/>
                <a:gd name="T46" fmla="*/ 27 w 67"/>
                <a:gd name="T47" fmla="*/ 9 h 84"/>
                <a:gd name="T48" fmla="*/ 16 w 67"/>
                <a:gd name="T49" fmla="*/ 15 h 84"/>
                <a:gd name="T50" fmla="*/ 7 w 67"/>
                <a:gd name="T51" fmla="*/ 22 h 84"/>
                <a:gd name="T52" fmla="*/ 2 w 67"/>
                <a:gd name="T53" fmla="*/ 25 h 84"/>
                <a:gd name="T54" fmla="*/ 62 w 67"/>
                <a:gd name="T55" fmla="*/ 76 h 84"/>
                <a:gd name="T56" fmla="*/ 30 w 67"/>
                <a:gd name="T57" fmla="*/ 79 h 84"/>
                <a:gd name="T58" fmla="*/ 46 w 67"/>
                <a:gd name="T59" fmla="*/ 84 h 84"/>
                <a:gd name="T60" fmla="*/ 55 w 67"/>
                <a:gd name="T61" fmla="*/ 82 h 84"/>
                <a:gd name="T62" fmla="*/ 52 w 67"/>
                <a:gd name="T63" fmla="*/ 78 h 84"/>
                <a:gd name="T64" fmla="*/ 32 w 67"/>
                <a:gd name="T65" fmla="*/ 76 h 84"/>
                <a:gd name="T66" fmla="*/ 26 w 67"/>
                <a:gd name="T67" fmla="*/ 36 h 84"/>
                <a:gd name="T68" fmla="*/ 20 w 67"/>
                <a:gd name="T69" fmla="*/ 63 h 84"/>
                <a:gd name="T70" fmla="*/ 65 w 67"/>
                <a:gd name="T71" fmla="*/ 60 h 84"/>
                <a:gd name="T72" fmla="*/ 54 w 67"/>
                <a:gd name="T73" fmla="*/ 50 h 84"/>
                <a:gd name="T74" fmla="*/ 7 w 67"/>
                <a:gd name="T75" fmla="*/ 44 h 84"/>
                <a:gd name="T76" fmla="*/ 52 w 67"/>
                <a:gd name="T77" fmla="*/ 44 h 84"/>
                <a:gd name="T78" fmla="*/ 53 w 67"/>
                <a:gd name="T79" fmla="*/ 32 h 84"/>
                <a:gd name="T80" fmla="*/ 57 w 67"/>
                <a:gd name="T81" fmla="*/ 34 h 84"/>
                <a:gd name="T82" fmla="*/ 0 w 67"/>
                <a:gd name="T83" fmla="*/ 2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84">
                  <a:moveTo>
                    <a:pt x="2" y="25"/>
                  </a:moveTo>
                  <a:cubicBezTo>
                    <a:pt x="2" y="26"/>
                    <a:pt x="2" y="28"/>
                    <a:pt x="3" y="29"/>
                  </a:cubicBezTo>
                  <a:cubicBezTo>
                    <a:pt x="3" y="30"/>
                    <a:pt x="5" y="30"/>
                    <a:pt x="6" y="30"/>
                  </a:cubicBezTo>
                  <a:cubicBezTo>
                    <a:pt x="6" y="31"/>
                    <a:pt x="5" y="32"/>
                    <a:pt x="6" y="32"/>
                  </a:cubicBezTo>
                  <a:cubicBezTo>
                    <a:pt x="6" y="33"/>
                    <a:pt x="8" y="34"/>
                    <a:pt x="8" y="35"/>
                  </a:cubicBezTo>
                  <a:cubicBezTo>
                    <a:pt x="9" y="35"/>
                    <a:pt x="10" y="34"/>
                    <a:pt x="12" y="34"/>
                  </a:cubicBezTo>
                  <a:cubicBezTo>
                    <a:pt x="11" y="35"/>
                    <a:pt x="10" y="36"/>
                    <a:pt x="10" y="36"/>
                  </a:cubicBezTo>
                  <a:cubicBezTo>
                    <a:pt x="9" y="39"/>
                    <a:pt x="10" y="42"/>
                    <a:pt x="10" y="43"/>
                  </a:cubicBezTo>
                  <a:cubicBezTo>
                    <a:pt x="17" y="42"/>
                    <a:pt x="20" y="44"/>
                    <a:pt x="25" y="46"/>
                  </a:cubicBezTo>
                  <a:cubicBezTo>
                    <a:pt x="25" y="46"/>
                    <a:pt x="24" y="48"/>
                    <a:pt x="22" y="48"/>
                  </a:cubicBezTo>
                  <a:cubicBezTo>
                    <a:pt x="21" y="48"/>
                    <a:pt x="20" y="45"/>
                    <a:pt x="19" y="45"/>
                  </a:cubicBezTo>
                  <a:cubicBezTo>
                    <a:pt x="14" y="43"/>
                    <a:pt x="13" y="45"/>
                    <a:pt x="11" y="48"/>
                  </a:cubicBezTo>
                  <a:cubicBezTo>
                    <a:pt x="14" y="51"/>
                    <a:pt x="14" y="51"/>
                    <a:pt x="13" y="57"/>
                  </a:cubicBezTo>
                  <a:cubicBezTo>
                    <a:pt x="14" y="57"/>
                    <a:pt x="14" y="57"/>
                    <a:pt x="14" y="58"/>
                  </a:cubicBezTo>
                  <a:cubicBezTo>
                    <a:pt x="16" y="58"/>
                    <a:pt x="15" y="57"/>
                    <a:pt x="16" y="57"/>
                  </a:cubicBezTo>
                  <a:cubicBezTo>
                    <a:pt x="16" y="57"/>
                    <a:pt x="18" y="57"/>
                    <a:pt x="18" y="58"/>
                  </a:cubicBezTo>
                  <a:cubicBezTo>
                    <a:pt x="19" y="58"/>
                    <a:pt x="20" y="58"/>
                    <a:pt x="22" y="58"/>
                  </a:cubicBezTo>
                  <a:cubicBezTo>
                    <a:pt x="21" y="58"/>
                    <a:pt x="24" y="58"/>
                    <a:pt x="24" y="58"/>
                  </a:cubicBezTo>
                  <a:cubicBezTo>
                    <a:pt x="24" y="57"/>
                    <a:pt x="24" y="57"/>
                    <a:pt x="24" y="57"/>
                  </a:cubicBezTo>
                  <a:cubicBezTo>
                    <a:pt x="24" y="57"/>
                    <a:pt x="23" y="55"/>
                    <a:pt x="24" y="54"/>
                  </a:cubicBezTo>
                  <a:cubicBezTo>
                    <a:pt x="25" y="54"/>
                    <a:pt x="29" y="55"/>
                    <a:pt x="30" y="55"/>
                  </a:cubicBezTo>
                  <a:cubicBezTo>
                    <a:pt x="30" y="55"/>
                    <a:pt x="31" y="53"/>
                    <a:pt x="31" y="53"/>
                  </a:cubicBezTo>
                  <a:cubicBezTo>
                    <a:pt x="28" y="50"/>
                    <a:pt x="28" y="50"/>
                    <a:pt x="28" y="50"/>
                  </a:cubicBezTo>
                  <a:cubicBezTo>
                    <a:pt x="27" y="50"/>
                    <a:pt x="28" y="49"/>
                    <a:pt x="28" y="48"/>
                  </a:cubicBezTo>
                  <a:cubicBezTo>
                    <a:pt x="30" y="49"/>
                    <a:pt x="31" y="48"/>
                    <a:pt x="32" y="49"/>
                  </a:cubicBezTo>
                  <a:cubicBezTo>
                    <a:pt x="32" y="49"/>
                    <a:pt x="33" y="50"/>
                    <a:pt x="35" y="51"/>
                  </a:cubicBezTo>
                  <a:cubicBezTo>
                    <a:pt x="35" y="48"/>
                    <a:pt x="35" y="47"/>
                    <a:pt x="35" y="45"/>
                  </a:cubicBezTo>
                  <a:cubicBezTo>
                    <a:pt x="33" y="44"/>
                    <a:pt x="29" y="43"/>
                    <a:pt x="28" y="41"/>
                  </a:cubicBezTo>
                  <a:cubicBezTo>
                    <a:pt x="28" y="41"/>
                    <a:pt x="28" y="39"/>
                    <a:pt x="28" y="39"/>
                  </a:cubicBezTo>
                  <a:cubicBezTo>
                    <a:pt x="28" y="39"/>
                    <a:pt x="27" y="37"/>
                    <a:pt x="28" y="38"/>
                  </a:cubicBezTo>
                  <a:cubicBezTo>
                    <a:pt x="29" y="38"/>
                    <a:pt x="29" y="40"/>
                    <a:pt x="30" y="40"/>
                  </a:cubicBezTo>
                  <a:cubicBezTo>
                    <a:pt x="31" y="41"/>
                    <a:pt x="32" y="42"/>
                    <a:pt x="33" y="42"/>
                  </a:cubicBezTo>
                  <a:cubicBezTo>
                    <a:pt x="33" y="42"/>
                    <a:pt x="33" y="43"/>
                    <a:pt x="34" y="44"/>
                  </a:cubicBezTo>
                  <a:cubicBezTo>
                    <a:pt x="35" y="44"/>
                    <a:pt x="37" y="43"/>
                    <a:pt x="38" y="44"/>
                  </a:cubicBezTo>
                  <a:cubicBezTo>
                    <a:pt x="38" y="44"/>
                    <a:pt x="39" y="45"/>
                    <a:pt x="40" y="46"/>
                  </a:cubicBezTo>
                  <a:cubicBezTo>
                    <a:pt x="40" y="46"/>
                    <a:pt x="41" y="48"/>
                    <a:pt x="41" y="48"/>
                  </a:cubicBezTo>
                  <a:cubicBezTo>
                    <a:pt x="44" y="49"/>
                    <a:pt x="38" y="41"/>
                    <a:pt x="38" y="40"/>
                  </a:cubicBezTo>
                  <a:cubicBezTo>
                    <a:pt x="36" y="39"/>
                    <a:pt x="34" y="40"/>
                    <a:pt x="33" y="38"/>
                  </a:cubicBezTo>
                  <a:cubicBezTo>
                    <a:pt x="33" y="38"/>
                    <a:pt x="33" y="37"/>
                    <a:pt x="32" y="36"/>
                  </a:cubicBezTo>
                  <a:cubicBezTo>
                    <a:pt x="30" y="34"/>
                    <a:pt x="29" y="35"/>
                    <a:pt x="26" y="36"/>
                  </a:cubicBezTo>
                  <a:cubicBezTo>
                    <a:pt x="26" y="35"/>
                    <a:pt x="28" y="35"/>
                    <a:pt x="27" y="34"/>
                  </a:cubicBezTo>
                  <a:cubicBezTo>
                    <a:pt x="25" y="33"/>
                    <a:pt x="26" y="32"/>
                    <a:pt x="25" y="30"/>
                  </a:cubicBezTo>
                  <a:cubicBezTo>
                    <a:pt x="26" y="30"/>
                    <a:pt x="27" y="32"/>
                    <a:pt x="27" y="32"/>
                  </a:cubicBezTo>
                  <a:cubicBezTo>
                    <a:pt x="33" y="34"/>
                    <a:pt x="26" y="26"/>
                    <a:pt x="26" y="26"/>
                  </a:cubicBezTo>
                  <a:cubicBezTo>
                    <a:pt x="25" y="25"/>
                    <a:pt x="26" y="24"/>
                    <a:pt x="25" y="22"/>
                  </a:cubicBezTo>
                  <a:cubicBezTo>
                    <a:pt x="25" y="22"/>
                    <a:pt x="22" y="22"/>
                    <a:pt x="22" y="21"/>
                  </a:cubicBezTo>
                  <a:cubicBezTo>
                    <a:pt x="22" y="19"/>
                    <a:pt x="25" y="15"/>
                    <a:pt x="26" y="14"/>
                  </a:cubicBezTo>
                  <a:cubicBezTo>
                    <a:pt x="26" y="15"/>
                    <a:pt x="29" y="21"/>
                    <a:pt x="30" y="22"/>
                  </a:cubicBezTo>
                  <a:cubicBezTo>
                    <a:pt x="30" y="22"/>
                    <a:pt x="32" y="22"/>
                    <a:pt x="32" y="22"/>
                  </a:cubicBezTo>
                  <a:cubicBezTo>
                    <a:pt x="31" y="22"/>
                    <a:pt x="31" y="21"/>
                    <a:pt x="30" y="20"/>
                  </a:cubicBezTo>
                  <a:cubicBezTo>
                    <a:pt x="31" y="20"/>
                    <a:pt x="31" y="19"/>
                    <a:pt x="32" y="18"/>
                  </a:cubicBezTo>
                  <a:cubicBezTo>
                    <a:pt x="32" y="19"/>
                    <a:pt x="34" y="20"/>
                    <a:pt x="34" y="20"/>
                  </a:cubicBezTo>
                  <a:cubicBezTo>
                    <a:pt x="35" y="20"/>
                    <a:pt x="35" y="17"/>
                    <a:pt x="34" y="17"/>
                  </a:cubicBezTo>
                  <a:cubicBezTo>
                    <a:pt x="37" y="17"/>
                    <a:pt x="39" y="18"/>
                    <a:pt x="36" y="16"/>
                  </a:cubicBezTo>
                  <a:cubicBezTo>
                    <a:pt x="30" y="9"/>
                    <a:pt x="34" y="11"/>
                    <a:pt x="40" y="10"/>
                  </a:cubicBezTo>
                  <a:cubicBezTo>
                    <a:pt x="40" y="10"/>
                    <a:pt x="43" y="11"/>
                    <a:pt x="44" y="11"/>
                  </a:cubicBezTo>
                  <a:cubicBezTo>
                    <a:pt x="46" y="11"/>
                    <a:pt x="50" y="10"/>
                    <a:pt x="53" y="10"/>
                  </a:cubicBezTo>
                  <a:cubicBezTo>
                    <a:pt x="53" y="11"/>
                    <a:pt x="53" y="11"/>
                    <a:pt x="53" y="12"/>
                  </a:cubicBezTo>
                  <a:cubicBezTo>
                    <a:pt x="54" y="13"/>
                    <a:pt x="54" y="13"/>
                    <a:pt x="54" y="13"/>
                  </a:cubicBezTo>
                  <a:cubicBezTo>
                    <a:pt x="54" y="13"/>
                    <a:pt x="57" y="10"/>
                    <a:pt x="57" y="8"/>
                  </a:cubicBezTo>
                  <a:cubicBezTo>
                    <a:pt x="57" y="6"/>
                    <a:pt x="60" y="9"/>
                    <a:pt x="62" y="7"/>
                  </a:cubicBezTo>
                  <a:cubicBezTo>
                    <a:pt x="64" y="6"/>
                    <a:pt x="62" y="3"/>
                    <a:pt x="62" y="3"/>
                  </a:cubicBezTo>
                  <a:cubicBezTo>
                    <a:pt x="59" y="2"/>
                    <a:pt x="59" y="2"/>
                    <a:pt x="59" y="2"/>
                  </a:cubicBezTo>
                  <a:cubicBezTo>
                    <a:pt x="59" y="2"/>
                    <a:pt x="54" y="0"/>
                    <a:pt x="56" y="3"/>
                  </a:cubicBezTo>
                  <a:cubicBezTo>
                    <a:pt x="57" y="7"/>
                    <a:pt x="55" y="5"/>
                    <a:pt x="53" y="5"/>
                  </a:cubicBezTo>
                  <a:cubicBezTo>
                    <a:pt x="51" y="5"/>
                    <a:pt x="49" y="6"/>
                    <a:pt x="49" y="6"/>
                  </a:cubicBezTo>
                  <a:cubicBezTo>
                    <a:pt x="49" y="6"/>
                    <a:pt x="49" y="2"/>
                    <a:pt x="46" y="2"/>
                  </a:cubicBezTo>
                  <a:cubicBezTo>
                    <a:pt x="43" y="2"/>
                    <a:pt x="42" y="1"/>
                    <a:pt x="41" y="3"/>
                  </a:cubicBezTo>
                  <a:cubicBezTo>
                    <a:pt x="39" y="6"/>
                    <a:pt x="38" y="6"/>
                    <a:pt x="36" y="6"/>
                  </a:cubicBezTo>
                  <a:cubicBezTo>
                    <a:pt x="33" y="6"/>
                    <a:pt x="30" y="5"/>
                    <a:pt x="30" y="5"/>
                  </a:cubicBezTo>
                  <a:cubicBezTo>
                    <a:pt x="30" y="5"/>
                    <a:pt x="28" y="6"/>
                    <a:pt x="29" y="7"/>
                  </a:cubicBezTo>
                  <a:cubicBezTo>
                    <a:pt x="30" y="9"/>
                    <a:pt x="27" y="9"/>
                    <a:pt x="27" y="9"/>
                  </a:cubicBezTo>
                  <a:cubicBezTo>
                    <a:pt x="27" y="9"/>
                    <a:pt x="23" y="9"/>
                    <a:pt x="22" y="11"/>
                  </a:cubicBezTo>
                  <a:cubicBezTo>
                    <a:pt x="22" y="12"/>
                    <a:pt x="21" y="11"/>
                    <a:pt x="19" y="12"/>
                  </a:cubicBezTo>
                  <a:cubicBezTo>
                    <a:pt x="18" y="14"/>
                    <a:pt x="18" y="15"/>
                    <a:pt x="16" y="15"/>
                  </a:cubicBezTo>
                  <a:cubicBezTo>
                    <a:pt x="14" y="15"/>
                    <a:pt x="9" y="14"/>
                    <a:pt x="9" y="14"/>
                  </a:cubicBezTo>
                  <a:cubicBezTo>
                    <a:pt x="9" y="18"/>
                    <a:pt x="9" y="18"/>
                    <a:pt x="9" y="18"/>
                  </a:cubicBezTo>
                  <a:cubicBezTo>
                    <a:pt x="9" y="18"/>
                    <a:pt x="8" y="20"/>
                    <a:pt x="7" y="22"/>
                  </a:cubicBezTo>
                  <a:cubicBezTo>
                    <a:pt x="7" y="23"/>
                    <a:pt x="5" y="23"/>
                    <a:pt x="5" y="23"/>
                  </a:cubicBezTo>
                  <a:cubicBezTo>
                    <a:pt x="5" y="23"/>
                    <a:pt x="6" y="25"/>
                    <a:pt x="4" y="25"/>
                  </a:cubicBezTo>
                  <a:lnTo>
                    <a:pt x="2" y="25"/>
                  </a:lnTo>
                  <a:close/>
                  <a:moveTo>
                    <a:pt x="62" y="76"/>
                  </a:moveTo>
                  <a:cubicBezTo>
                    <a:pt x="63" y="77"/>
                    <a:pt x="63" y="77"/>
                    <a:pt x="63" y="77"/>
                  </a:cubicBezTo>
                  <a:cubicBezTo>
                    <a:pt x="63" y="76"/>
                    <a:pt x="63" y="76"/>
                    <a:pt x="62" y="76"/>
                  </a:cubicBezTo>
                  <a:close/>
                  <a:moveTo>
                    <a:pt x="32" y="76"/>
                  </a:moveTo>
                  <a:cubicBezTo>
                    <a:pt x="32" y="76"/>
                    <a:pt x="31" y="76"/>
                    <a:pt x="30" y="77"/>
                  </a:cubicBezTo>
                  <a:cubicBezTo>
                    <a:pt x="30" y="77"/>
                    <a:pt x="31" y="79"/>
                    <a:pt x="30" y="79"/>
                  </a:cubicBezTo>
                  <a:cubicBezTo>
                    <a:pt x="32" y="79"/>
                    <a:pt x="35" y="81"/>
                    <a:pt x="36" y="81"/>
                  </a:cubicBezTo>
                  <a:cubicBezTo>
                    <a:pt x="37" y="81"/>
                    <a:pt x="38" y="81"/>
                    <a:pt x="40" y="81"/>
                  </a:cubicBezTo>
                  <a:cubicBezTo>
                    <a:pt x="42" y="82"/>
                    <a:pt x="42" y="84"/>
                    <a:pt x="46" y="84"/>
                  </a:cubicBezTo>
                  <a:cubicBezTo>
                    <a:pt x="48" y="82"/>
                    <a:pt x="48" y="82"/>
                    <a:pt x="48" y="82"/>
                  </a:cubicBezTo>
                  <a:cubicBezTo>
                    <a:pt x="50" y="82"/>
                    <a:pt x="50" y="83"/>
                    <a:pt x="52" y="83"/>
                  </a:cubicBezTo>
                  <a:cubicBezTo>
                    <a:pt x="52" y="83"/>
                    <a:pt x="54" y="82"/>
                    <a:pt x="55" y="82"/>
                  </a:cubicBezTo>
                  <a:cubicBezTo>
                    <a:pt x="55" y="82"/>
                    <a:pt x="56" y="81"/>
                    <a:pt x="55" y="80"/>
                  </a:cubicBezTo>
                  <a:cubicBezTo>
                    <a:pt x="54" y="80"/>
                    <a:pt x="53" y="81"/>
                    <a:pt x="52" y="80"/>
                  </a:cubicBezTo>
                  <a:cubicBezTo>
                    <a:pt x="52" y="80"/>
                    <a:pt x="52" y="78"/>
                    <a:pt x="52" y="78"/>
                  </a:cubicBezTo>
                  <a:cubicBezTo>
                    <a:pt x="52" y="78"/>
                    <a:pt x="49" y="77"/>
                    <a:pt x="50" y="78"/>
                  </a:cubicBezTo>
                  <a:cubicBezTo>
                    <a:pt x="48" y="79"/>
                    <a:pt x="42" y="78"/>
                    <a:pt x="44" y="78"/>
                  </a:cubicBezTo>
                  <a:cubicBezTo>
                    <a:pt x="39" y="78"/>
                    <a:pt x="36" y="77"/>
                    <a:pt x="32" y="76"/>
                  </a:cubicBezTo>
                  <a:close/>
                  <a:moveTo>
                    <a:pt x="26" y="36"/>
                  </a:moveTo>
                  <a:cubicBezTo>
                    <a:pt x="26" y="36"/>
                    <a:pt x="27" y="38"/>
                    <a:pt x="27" y="38"/>
                  </a:cubicBezTo>
                  <a:cubicBezTo>
                    <a:pt x="24" y="37"/>
                    <a:pt x="23" y="37"/>
                    <a:pt x="26" y="36"/>
                  </a:cubicBezTo>
                  <a:close/>
                  <a:moveTo>
                    <a:pt x="20" y="63"/>
                  </a:moveTo>
                  <a:cubicBezTo>
                    <a:pt x="20" y="63"/>
                    <a:pt x="20" y="65"/>
                    <a:pt x="20" y="66"/>
                  </a:cubicBezTo>
                  <a:cubicBezTo>
                    <a:pt x="23" y="66"/>
                    <a:pt x="22" y="63"/>
                    <a:pt x="20" y="63"/>
                  </a:cubicBezTo>
                  <a:close/>
                  <a:moveTo>
                    <a:pt x="65" y="60"/>
                  </a:moveTo>
                  <a:cubicBezTo>
                    <a:pt x="65" y="60"/>
                    <a:pt x="62" y="62"/>
                    <a:pt x="64" y="62"/>
                  </a:cubicBezTo>
                  <a:cubicBezTo>
                    <a:pt x="64" y="62"/>
                    <a:pt x="67" y="59"/>
                    <a:pt x="65" y="60"/>
                  </a:cubicBezTo>
                  <a:close/>
                  <a:moveTo>
                    <a:pt x="54" y="50"/>
                  </a:moveTo>
                  <a:cubicBezTo>
                    <a:pt x="54" y="52"/>
                    <a:pt x="54" y="52"/>
                    <a:pt x="54" y="52"/>
                  </a:cubicBezTo>
                  <a:cubicBezTo>
                    <a:pt x="57" y="52"/>
                    <a:pt x="57" y="50"/>
                    <a:pt x="54" y="50"/>
                  </a:cubicBezTo>
                  <a:close/>
                  <a:moveTo>
                    <a:pt x="4" y="43"/>
                  </a:moveTo>
                  <a:cubicBezTo>
                    <a:pt x="4" y="43"/>
                    <a:pt x="4" y="45"/>
                    <a:pt x="4" y="45"/>
                  </a:cubicBezTo>
                  <a:cubicBezTo>
                    <a:pt x="4" y="45"/>
                    <a:pt x="9" y="45"/>
                    <a:pt x="7" y="44"/>
                  </a:cubicBezTo>
                  <a:cubicBezTo>
                    <a:pt x="6" y="44"/>
                    <a:pt x="5" y="44"/>
                    <a:pt x="4" y="43"/>
                  </a:cubicBezTo>
                  <a:close/>
                  <a:moveTo>
                    <a:pt x="52" y="41"/>
                  </a:moveTo>
                  <a:cubicBezTo>
                    <a:pt x="52" y="41"/>
                    <a:pt x="52" y="43"/>
                    <a:pt x="52" y="44"/>
                  </a:cubicBezTo>
                  <a:cubicBezTo>
                    <a:pt x="54" y="45"/>
                    <a:pt x="53" y="41"/>
                    <a:pt x="52" y="41"/>
                  </a:cubicBezTo>
                  <a:close/>
                  <a:moveTo>
                    <a:pt x="54" y="30"/>
                  </a:moveTo>
                  <a:cubicBezTo>
                    <a:pt x="54" y="30"/>
                    <a:pt x="53" y="32"/>
                    <a:pt x="53" y="32"/>
                  </a:cubicBezTo>
                  <a:cubicBezTo>
                    <a:pt x="54" y="32"/>
                    <a:pt x="54" y="32"/>
                    <a:pt x="54" y="32"/>
                  </a:cubicBezTo>
                  <a:cubicBezTo>
                    <a:pt x="54" y="33"/>
                    <a:pt x="55" y="34"/>
                    <a:pt x="55" y="35"/>
                  </a:cubicBezTo>
                  <a:cubicBezTo>
                    <a:pt x="55" y="35"/>
                    <a:pt x="59" y="35"/>
                    <a:pt x="57" y="34"/>
                  </a:cubicBezTo>
                  <a:cubicBezTo>
                    <a:pt x="57" y="34"/>
                    <a:pt x="57" y="32"/>
                    <a:pt x="56" y="30"/>
                  </a:cubicBezTo>
                  <a:cubicBezTo>
                    <a:pt x="56" y="30"/>
                    <a:pt x="54" y="31"/>
                    <a:pt x="54" y="30"/>
                  </a:cubicBezTo>
                  <a:close/>
                  <a:moveTo>
                    <a:pt x="0" y="25"/>
                  </a:moveTo>
                  <a:cubicBezTo>
                    <a:pt x="0" y="25"/>
                    <a:pt x="0" y="27"/>
                    <a:pt x="0" y="27"/>
                  </a:cubicBezTo>
                  <a:cubicBezTo>
                    <a:pt x="2" y="28"/>
                    <a:pt x="0" y="25"/>
                    <a:pt x="0" y="2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91" name="Freeform 232">
              <a:extLst>
                <a:ext uri="{FF2B5EF4-FFF2-40B4-BE49-F238E27FC236}">
                  <a16:creationId xmlns:a16="http://schemas.microsoft.com/office/drawing/2014/main" id="{1C83475D-A91C-1547-776C-D2D254D4B68E}"/>
                </a:ext>
              </a:extLst>
            </p:cNvPr>
            <p:cNvSpPr>
              <a:spLocks/>
            </p:cNvSpPr>
            <p:nvPr/>
          </p:nvSpPr>
          <p:spPr bwMode="auto">
            <a:xfrm>
              <a:off x="5859094" y="3784741"/>
              <a:ext cx="143712" cy="271262"/>
            </a:xfrm>
            <a:custGeom>
              <a:avLst/>
              <a:gdLst>
                <a:gd name="T0" fmla="*/ 41 w 41"/>
                <a:gd name="T1" fmla="*/ 64 h 77"/>
                <a:gd name="T2" fmla="*/ 36 w 41"/>
                <a:gd name="T3" fmla="*/ 55 h 77"/>
                <a:gd name="T4" fmla="*/ 36 w 41"/>
                <a:gd name="T5" fmla="*/ 52 h 77"/>
                <a:gd name="T6" fmla="*/ 35 w 41"/>
                <a:gd name="T7" fmla="*/ 48 h 77"/>
                <a:gd name="T8" fmla="*/ 36 w 41"/>
                <a:gd name="T9" fmla="*/ 39 h 77"/>
                <a:gd name="T10" fmla="*/ 34 w 41"/>
                <a:gd name="T11" fmla="*/ 34 h 77"/>
                <a:gd name="T12" fmla="*/ 35 w 41"/>
                <a:gd name="T13" fmla="*/ 26 h 77"/>
                <a:gd name="T14" fmla="*/ 33 w 41"/>
                <a:gd name="T15" fmla="*/ 22 h 77"/>
                <a:gd name="T16" fmla="*/ 34 w 41"/>
                <a:gd name="T17" fmla="*/ 14 h 77"/>
                <a:gd name="T18" fmla="*/ 31 w 41"/>
                <a:gd name="T19" fmla="*/ 9 h 77"/>
                <a:gd name="T20" fmla="*/ 31 w 41"/>
                <a:gd name="T21" fmla="*/ 1 h 77"/>
                <a:gd name="T22" fmla="*/ 25 w 41"/>
                <a:gd name="T23" fmla="*/ 0 h 77"/>
                <a:gd name="T24" fmla="*/ 24 w 41"/>
                <a:gd name="T25" fmla="*/ 2 h 77"/>
                <a:gd name="T26" fmla="*/ 11 w 41"/>
                <a:gd name="T27" fmla="*/ 1 h 77"/>
                <a:gd name="T28" fmla="*/ 8 w 41"/>
                <a:gd name="T29" fmla="*/ 6 h 77"/>
                <a:gd name="T30" fmla="*/ 9 w 41"/>
                <a:gd name="T31" fmla="*/ 11 h 77"/>
                <a:gd name="T32" fmla="*/ 8 w 41"/>
                <a:gd name="T33" fmla="*/ 17 h 77"/>
                <a:gd name="T34" fmla="*/ 9 w 41"/>
                <a:gd name="T35" fmla="*/ 23 h 77"/>
                <a:gd name="T36" fmla="*/ 11 w 41"/>
                <a:gd name="T37" fmla="*/ 29 h 77"/>
                <a:gd name="T38" fmla="*/ 10 w 41"/>
                <a:gd name="T39" fmla="*/ 36 h 77"/>
                <a:gd name="T40" fmla="*/ 8 w 41"/>
                <a:gd name="T41" fmla="*/ 41 h 77"/>
                <a:gd name="T42" fmla="*/ 5 w 41"/>
                <a:gd name="T43" fmla="*/ 48 h 77"/>
                <a:gd name="T44" fmla="*/ 2 w 41"/>
                <a:gd name="T45" fmla="*/ 54 h 77"/>
                <a:gd name="T46" fmla="*/ 1 w 41"/>
                <a:gd name="T47" fmla="*/ 60 h 77"/>
                <a:gd name="T48" fmla="*/ 1 w 41"/>
                <a:gd name="T49" fmla="*/ 67 h 77"/>
                <a:gd name="T50" fmla="*/ 2 w 41"/>
                <a:gd name="T51" fmla="*/ 71 h 77"/>
                <a:gd name="T52" fmla="*/ 0 w 41"/>
                <a:gd name="T53" fmla="*/ 76 h 77"/>
                <a:gd name="T54" fmla="*/ 6 w 41"/>
                <a:gd name="T55" fmla="*/ 76 h 77"/>
                <a:gd name="T56" fmla="*/ 12 w 41"/>
                <a:gd name="T57" fmla="*/ 73 h 77"/>
                <a:gd name="T58" fmla="*/ 18 w 41"/>
                <a:gd name="T59" fmla="*/ 72 h 77"/>
                <a:gd name="T60" fmla="*/ 22 w 41"/>
                <a:gd name="T61" fmla="*/ 69 h 77"/>
                <a:gd name="T62" fmla="*/ 30 w 41"/>
                <a:gd name="T63" fmla="*/ 69 h 77"/>
                <a:gd name="T64" fmla="*/ 33 w 41"/>
                <a:gd name="T65" fmla="*/ 67 h 77"/>
                <a:gd name="T66" fmla="*/ 37 w 41"/>
                <a:gd name="T67" fmla="*/ 67 h 77"/>
                <a:gd name="T68" fmla="*/ 37 w 41"/>
                <a:gd name="T69" fmla="*/ 63 h 77"/>
                <a:gd name="T70" fmla="*/ 35 w 41"/>
                <a:gd name="T71" fmla="*/ 61 h 77"/>
                <a:gd name="T72" fmla="*/ 38 w 41"/>
                <a:gd name="T73" fmla="*/ 61 h 77"/>
                <a:gd name="T74" fmla="*/ 39 w 41"/>
                <a:gd name="T75" fmla="*/ 65 h 77"/>
                <a:gd name="T76" fmla="*/ 41 w 41"/>
                <a:gd name="T77" fmla="*/ 65 h 77"/>
                <a:gd name="T78" fmla="*/ 41 w 41"/>
                <a:gd name="T79" fmla="*/ 6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77">
                  <a:moveTo>
                    <a:pt x="41" y="64"/>
                  </a:moveTo>
                  <a:cubicBezTo>
                    <a:pt x="41" y="64"/>
                    <a:pt x="37" y="56"/>
                    <a:pt x="36" y="55"/>
                  </a:cubicBezTo>
                  <a:cubicBezTo>
                    <a:pt x="34" y="53"/>
                    <a:pt x="37" y="53"/>
                    <a:pt x="36" y="52"/>
                  </a:cubicBezTo>
                  <a:cubicBezTo>
                    <a:pt x="34" y="51"/>
                    <a:pt x="35" y="49"/>
                    <a:pt x="35" y="48"/>
                  </a:cubicBezTo>
                  <a:cubicBezTo>
                    <a:pt x="35" y="47"/>
                    <a:pt x="36" y="42"/>
                    <a:pt x="36" y="39"/>
                  </a:cubicBezTo>
                  <a:cubicBezTo>
                    <a:pt x="36" y="37"/>
                    <a:pt x="36" y="37"/>
                    <a:pt x="34" y="34"/>
                  </a:cubicBezTo>
                  <a:cubicBezTo>
                    <a:pt x="32" y="30"/>
                    <a:pt x="34" y="28"/>
                    <a:pt x="35" y="26"/>
                  </a:cubicBezTo>
                  <a:cubicBezTo>
                    <a:pt x="35" y="25"/>
                    <a:pt x="32" y="24"/>
                    <a:pt x="33" y="22"/>
                  </a:cubicBezTo>
                  <a:cubicBezTo>
                    <a:pt x="35" y="20"/>
                    <a:pt x="34" y="17"/>
                    <a:pt x="34" y="14"/>
                  </a:cubicBezTo>
                  <a:cubicBezTo>
                    <a:pt x="34" y="11"/>
                    <a:pt x="32" y="9"/>
                    <a:pt x="31" y="9"/>
                  </a:cubicBezTo>
                  <a:cubicBezTo>
                    <a:pt x="29" y="8"/>
                    <a:pt x="31" y="1"/>
                    <a:pt x="31" y="1"/>
                  </a:cubicBezTo>
                  <a:cubicBezTo>
                    <a:pt x="25" y="0"/>
                    <a:pt x="25" y="0"/>
                    <a:pt x="25" y="0"/>
                  </a:cubicBezTo>
                  <a:cubicBezTo>
                    <a:pt x="24" y="2"/>
                    <a:pt x="24" y="2"/>
                    <a:pt x="24" y="2"/>
                  </a:cubicBezTo>
                  <a:cubicBezTo>
                    <a:pt x="24" y="2"/>
                    <a:pt x="13" y="0"/>
                    <a:pt x="11" y="1"/>
                  </a:cubicBezTo>
                  <a:cubicBezTo>
                    <a:pt x="10" y="2"/>
                    <a:pt x="8" y="4"/>
                    <a:pt x="8" y="6"/>
                  </a:cubicBezTo>
                  <a:cubicBezTo>
                    <a:pt x="8" y="8"/>
                    <a:pt x="10" y="10"/>
                    <a:pt x="9" y="11"/>
                  </a:cubicBezTo>
                  <a:cubicBezTo>
                    <a:pt x="9" y="13"/>
                    <a:pt x="8" y="17"/>
                    <a:pt x="8" y="17"/>
                  </a:cubicBezTo>
                  <a:cubicBezTo>
                    <a:pt x="8" y="17"/>
                    <a:pt x="10" y="21"/>
                    <a:pt x="9" y="23"/>
                  </a:cubicBezTo>
                  <a:cubicBezTo>
                    <a:pt x="8" y="25"/>
                    <a:pt x="11" y="26"/>
                    <a:pt x="11" y="29"/>
                  </a:cubicBezTo>
                  <a:cubicBezTo>
                    <a:pt x="11" y="32"/>
                    <a:pt x="10" y="36"/>
                    <a:pt x="10" y="36"/>
                  </a:cubicBezTo>
                  <a:cubicBezTo>
                    <a:pt x="10" y="36"/>
                    <a:pt x="8" y="38"/>
                    <a:pt x="8" y="41"/>
                  </a:cubicBezTo>
                  <a:cubicBezTo>
                    <a:pt x="7" y="44"/>
                    <a:pt x="6" y="45"/>
                    <a:pt x="5" y="48"/>
                  </a:cubicBezTo>
                  <a:cubicBezTo>
                    <a:pt x="5" y="50"/>
                    <a:pt x="2" y="54"/>
                    <a:pt x="2" y="54"/>
                  </a:cubicBezTo>
                  <a:cubicBezTo>
                    <a:pt x="1" y="60"/>
                    <a:pt x="1" y="60"/>
                    <a:pt x="1" y="60"/>
                  </a:cubicBezTo>
                  <a:cubicBezTo>
                    <a:pt x="1" y="67"/>
                    <a:pt x="1" y="67"/>
                    <a:pt x="1" y="67"/>
                  </a:cubicBezTo>
                  <a:cubicBezTo>
                    <a:pt x="1" y="67"/>
                    <a:pt x="3" y="70"/>
                    <a:pt x="2" y="71"/>
                  </a:cubicBezTo>
                  <a:cubicBezTo>
                    <a:pt x="1" y="73"/>
                    <a:pt x="0" y="76"/>
                    <a:pt x="0" y="76"/>
                  </a:cubicBezTo>
                  <a:cubicBezTo>
                    <a:pt x="2" y="76"/>
                    <a:pt x="4" y="77"/>
                    <a:pt x="6" y="76"/>
                  </a:cubicBezTo>
                  <a:cubicBezTo>
                    <a:pt x="8" y="76"/>
                    <a:pt x="10" y="73"/>
                    <a:pt x="12" y="73"/>
                  </a:cubicBezTo>
                  <a:cubicBezTo>
                    <a:pt x="14" y="72"/>
                    <a:pt x="15" y="73"/>
                    <a:pt x="18" y="72"/>
                  </a:cubicBezTo>
                  <a:cubicBezTo>
                    <a:pt x="19" y="72"/>
                    <a:pt x="21" y="69"/>
                    <a:pt x="22" y="69"/>
                  </a:cubicBezTo>
                  <a:cubicBezTo>
                    <a:pt x="25" y="68"/>
                    <a:pt x="27" y="69"/>
                    <a:pt x="30" y="69"/>
                  </a:cubicBezTo>
                  <a:cubicBezTo>
                    <a:pt x="30" y="69"/>
                    <a:pt x="33" y="67"/>
                    <a:pt x="33" y="67"/>
                  </a:cubicBezTo>
                  <a:cubicBezTo>
                    <a:pt x="34" y="66"/>
                    <a:pt x="36" y="67"/>
                    <a:pt x="37" y="67"/>
                  </a:cubicBezTo>
                  <a:cubicBezTo>
                    <a:pt x="37" y="66"/>
                    <a:pt x="37" y="64"/>
                    <a:pt x="37" y="63"/>
                  </a:cubicBezTo>
                  <a:cubicBezTo>
                    <a:pt x="37" y="63"/>
                    <a:pt x="35" y="62"/>
                    <a:pt x="35" y="61"/>
                  </a:cubicBezTo>
                  <a:cubicBezTo>
                    <a:pt x="35" y="62"/>
                    <a:pt x="37" y="61"/>
                    <a:pt x="38" y="61"/>
                  </a:cubicBezTo>
                  <a:cubicBezTo>
                    <a:pt x="38" y="61"/>
                    <a:pt x="39" y="64"/>
                    <a:pt x="39" y="65"/>
                  </a:cubicBezTo>
                  <a:cubicBezTo>
                    <a:pt x="39" y="65"/>
                    <a:pt x="41" y="65"/>
                    <a:pt x="41" y="65"/>
                  </a:cubicBezTo>
                  <a:lnTo>
                    <a:pt x="41" y="64"/>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92" name="Freeform 233">
              <a:extLst>
                <a:ext uri="{FF2B5EF4-FFF2-40B4-BE49-F238E27FC236}">
                  <a16:creationId xmlns:a16="http://schemas.microsoft.com/office/drawing/2014/main" id="{6CB6C70E-4CC6-E21F-1388-E8658E88C901}"/>
                </a:ext>
              </a:extLst>
            </p:cNvPr>
            <p:cNvSpPr>
              <a:spLocks/>
            </p:cNvSpPr>
            <p:nvPr/>
          </p:nvSpPr>
          <p:spPr bwMode="auto">
            <a:xfrm>
              <a:off x="5859094" y="3784741"/>
              <a:ext cx="143712" cy="271262"/>
            </a:xfrm>
            <a:custGeom>
              <a:avLst/>
              <a:gdLst>
                <a:gd name="T0" fmla="*/ 41 w 41"/>
                <a:gd name="T1" fmla="*/ 64 h 77"/>
                <a:gd name="T2" fmla="*/ 36 w 41"/>
                <a:gd name="T3" fmla="*/ 55 h 77"/>
                <a:gd name="T4" fmla="*/ 36 w 41"/>
                <a:gd name="T5" fmla="*/ 52 h 77"/>
                <a:gd name="T6" fmla="*/ 35 w 41"/>
                <a:gd name="T7" fmla="*/ 48 h 77"/>
                <a:gd name="T8" fmla="*/ 36 w 41"/>
                <a:gd name="T9" fmla="*/ 39 h 77"/>
                <a:gd name="T10" fmla="*/ 34 w 41"/>
                <a:gd name="T11" fmla="*/ 34 h 77"/>
                <a:gd name="T12" fmla="*/ 35 w 41"/>
                <a:gd name="T13" fmla="*/ 26 h 77"/>
                <a:gd name="T14" fmla="*/ 33 w 41"/>
                <a:gd name="T15" fmla="*/ 22 h 77"/>
                <a:gd name="T16" fmla="*/ 34 w 41"/>
                <a:gd name="T17" fmla="*/ 14 h 77"/>
                <a:gd name="T18" fmla="*/ 31 w 41"/>
                <a:gd name="T19" fmla="*/ 9 h 77"/>
                <a:gd name="T20" fmla="*/ 31 w 41"/>
                <a:gd name="T21" fmla="*/ 1 h 77"/>
                <a:gd name="T22" fmla="*/ 25 w 41"/>
                <a:gd name="T23" fmla="*/ 0 h 77"/>
                <a:gd name="T24" fmla="*/ 24 w 41"/>
                <a:gd name="T25" fmla="*/ 2 h 77"/>
                <a:gd name="T26" fmla="*/ 11 w 41"/>
                <a:gd name="T27" fmla="*/ 1 h 77"/>
                <a:gd name="T28" fmla="*/ 8 w 41"/>
                <a:gd name="T29" fmla="*/ 6 h 77"/>
                <a:gd name="T30" fmla="*/ 9 w 41"/>
                <a:gd name="T31" fmla="*/ 11 h 77"/>
                <a:gd name="T32" fmla="*/ 8 w 41"/>
                <a:gd name="T33" fmla="*/ 17 h 77"/>
                <a:gd name="T34" fmla="*/ 9 w 41"/>
                <a:gd name="T35" fmla="*/ 23 h 77"/>
                <a:gd name="T36" fmla="*/ 11 w 41"/>
                <a:gd name="T37" fmla="*/ 29 h 77"/>
                <a:gd name="T38" fmla="*/ 10 w 41"/>
                <a:gd name="T39" fmla="*/ 36 h 77"/>
                <a:gd name="T40" fmla="*/ 8 w 41"/>
                <a:gd name="T41" fmla="*/ 41 h 77"/>
                <a:gd name="T42" fmla="*/ 5 w 41"/>
                <a:gd name="T43" fmla="*/ 48 h 77"/>
                <a:gd name="T44" fmla="*/ 2 w 41"/>
                <a:gd name="T45" fmla="*/ 54 h 77"/>
                <a:gd name="T46" fmla="*/ 1 w 41"/>
                <a:gd name="T47" fmla="*/ 60 h 77"/>
                <a:gd name="T48" fmla="*/ 1 w 41"/>
                <a:gd name="T49" fmla="*/ 67 h 77"/>
                <a:gd name="T50" fmla="*/ 2 w 41"/>
                <a:gd name="T51" fmla="*/ 71 h 77"/>
                <a:gd name="T52" fmla="*/ 0 w 41"/>
                <a:gd name="T53" fmla="*/ 76 h 77"/>
                <a:gd name="T54" fmla="*/ 6 w 41"/>
                <a:gd name="T55" fmla="*/ 76 h 77"/>
                <a:gd name="T56" fmla="*/ 12 w 41"/>
                <a:gd name="T57" fmla="*/ 73 h 77"/>
                <a:gd name="T58" fmla="*/ 18 w 41"/>
                <a:gd name="T59" fmla="*/ 72 h 77"/>
                <a:gd name="T60" fmla="*/ 22 w 41"/>
                <a:gd name="T61" fmla="*/ 69 h 77"/>
                <a:gd name="T62" fmla="*/ 30 w 41"/>
                <a:gd name="T63" fmla="*/ 69 h 77"/>
                <a:gd name="T64" fmla="*/ 33 w 41"/>
                <a:gd name="T65" fmla="*/ 67 h 77"/>
                <a:gd name="T66" fmla="*/ 37 w 41"/>
                <a:gd name="T67" fmla="*/ 67 h 77"/>
                <a:gd name="T68" fmla="*/ 37 w 41"/>
                <a:gd name="T69" fmla="*/ 63 h 77"/>
                <a:gd name="T70" fmla="*/ 35 w 41"/>
                <a:gd name="T71" fmla="*/ 61 h 77"/>
                <a:gd name="T72" fmla="*/ 38 w 41"/>
                <a:gd name="T73" fmla="*/ 61 h 77"/>
                <a:gd name="T74" fmla="*/ 39 w 41"/>
                <a:gd name="T75" fmla="*/ 65 h 77"/>
                <a:gd name="T76" fmla="*/ 41 w 41"/>
                <a:gd name="T77" fmla="*/ 65 h 77"/>
                <a:gd name="T78" fmla="*/ 41 w 41"/>
                <a:gd name="T79" fmla="*/ 6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77">
                  <a:moveTo>
                    <a:pt x="41" y="64"/>
                  </a:moveTo>
                  <a:cubicBezTo>
                    <a:pt x="41" y="64"/>
                    <a:pt x="37" y="56"/>
                    <a:pt x="36" y="55"/>
                  </a:cubicBezTo>
                  <a:cubicBezTo>
                    <a:pt x="34" y="53"/>
                    <a:pt x="37" y="53"/>
                    <a:pt x="36" y="52"/>
                  </a:cubicBezTo>
                  <a:cubicBezTo>
                    <a:pt x="34" y="51"/>
                    <a:pt x="35" y="49"/>
                    <a:pt x="35" y="48"/>
                  </a:cubicBezTo>
                  <a:cubicBezTo>
                    <a:pt x="35" y="47"/>
                    <a:pt x="36" y="42"/>
                    <a:pt x="36" y="39"/>
                  </a:cubicBezTo>
                  <a:cubicBezTo>
                    <a:pt x="36" y="37"/>
                    <a:pt x="36" y="37"/>
                    <a:pt x="34" y="34"/>
                  </a:cubicBezTo>
                  <a:cubicBezTo>
                    <a:pt x="32" y="30"/>
                    <a:pt x="34" y="28"/>
                    <a:pt x="35" y="26"/>
                  </a:cubicBezTo>
                  <a:cubicBezTo>
                    <a:pt x="35" y="25"/>
                    <a:pt x="32" y="24"/>
                    <a:pt x="33" y="22"/>
                  </a:cubicBezTo>
                  <a:cubicBezTo>
                    <a:pt x="35" y="20"/>
                    <a:pt x="34" y="17"/>
                    <a:pt x="34" y="14"/>
                  </a:cubicBezTo>
                  <a:cubicBezTo>
                    <a:pt x="34" y="11"/>
                    <a:pt x="32" y="9"/>
                    <a:pt x="31" y="9"/>
                  </a:cubicBezTo>
                  <a:cubicBezTo>
                    <a:pt x="29" y="8"/>
                    <a:pt x="31" y="1"/>
                    <a:pt x="31" y="1"/>
                  </a:cubicBezTo>
                  <a:cubicBezTo>
                    <a:pt x="25" y="0"/>
                    <a:pt x="25" y="0"/>
                    <a:pt x="25" y="0"/>
                  </a:cubicBezTo>
                  <a:cubicBezTo>
                    <a:pt x="24" y="2"/>
                    <a:pt x="24" y="2"/>
                    <a:pt x="24" y="2"/>
                  </a:cubicBezTo>
                  <a:cubicBezTo>
                    <a:pt x="24" y="2"/>
                    <a:pt x="13" y="0"/>
                    <a:pt x="11" y="1"/>
                  </a:cubicBezTo>
                  <a:cubicBezTo>
                    <a:pt x="10" y="2"/>
                    <a:pt x="8" y="4"/>
                    <a:pt x="8" y="6"/>
                  </a:cubicBezTo>
                  <a:cubicBezTo>
                    <a:pt x="8" y="8"/>
                    <a:pt x="10" y="10"/>
                    <a:pt x="9" y="11"/>
                  </a:cubicBezTo>
                  <a:cubicBezTo>
                    <a:pt x="9" y="13"/>
                    <a:pt x="8" y="17"/>
                    <a:pt x="8" y="17"/>
                  </a:cubicBezTo>
                  <a:cubicBezTo>
                    <a:pt x="8" y="17"/>
                    <a:pt x="10" y="21"/>
                    <a:pt x="9" y="23"/>
                  </a:cubicBezTo>
                  <a:cubicBezTo>
                    <a:pt x="8" y="25"/>
                    <a:pt x="11" y="26"/>
                    <a:pt x="11" y="29"/>
                  </a:cubicBezTo>
                  <a:cubicBezTo>
                    <a:pt x="11" y="32"/>
                    <a:pt x="10" y="36"/>
                    <a:pt x="10" y="36"/>
                  </a:cubicBezTo>
                  <a:cubicBezTo>
                    <a:pt x="10" y="36"/>
                    <a:pt x="8" y="38"/>
                    <a:pt x="8" y="41"/>
                  </a:cubicBezTo>
                  <a:cubicBezTo>
                    <a:pt x="7" y="44"/>
                    <a:pt x="6" y="45"/>
                    <a:pt x="5" y="48"/>
                  </a:cubicBezTo>
                  <a:cubicBezTo>
                    <a:pt x="5" y="50"/>
                    <a:pt x="2" y="54"/>
                    <a:pt x="2" y="54"/>
                  </a:cubicBezTo>
                  <a:cubicBezTo>
                    <a:pt x="1" y="60"/>
                    <a:pt x="1" y="60"/>
                    <a:pt x="1" y="60"/>
                  </a:cubicBezTo>
                  <a:cubicBezTo>
                    <a:pt x="1" y="67"/>
                    <a:pt x="1" y="67"/>
                    <a:pt x="1" y="67"/>
                  </a:cubicBezTo>
                  <a:cubicBezTo>
                    <a:pt x="1" y="67"/>
                    <a:pt x="3" y="70"/>
                    <a:pt x="2" y="71"/>
                  </a:cubicBezTo>
                  <a:cubicBezTo>
                    <a:pt x="1" y="73"/>
                    <a:pt x="0" y="76"/>
                    <a:pt x="0" y="76"/>
                  </a:cubicBezTo>
                  <a:cubicBezTo>
                    <a:pt x="2" y="76"/>
                    <a:pt x="4" y="77"/>
                    <a:pt x="6" y="76"/>
                  </a:cubicBezTo>
                  <a:cubicBezTo>
                    <a:pt x="8" y="76"/>
                    <a:pt x="10" y="73"/>
                    <a:pt x="12" y="73"/>
                  </a:cubicBezTo>
                  <a:cubicBezTo>
                    <a:pt x="14" y="72"/>
                    <a:pt x="15" y="73"/>
                    <a:pt x="18" y="72"/>
                  </a:cubicBezTo>
                  <a:cubicBezTo>
                    <a:pt x="19" y="72"/>
                    <a:pt x="21" y="69"/>
                    <a:pt x="22" y="69"/>
                  </a:cubicBezTo>
                  <a:cubicBezTo>
                    <a:pt x="25" y="68"/>
                    <a:pt x="27" y="69"/>
                    <a:pt x="30" y="69"/>
                  </a:cubicBezTo>
                  <a:cubicBezTo>
                    <a:pt x="30" y="69"/>
                    <a:pt x="33" y="67"/>
                    <a:pt x="33" y="67"/>
                  </a:cubicBezTo>
                  <a:cubicBezTo>
                    <a:pt x="34" y="66"/>
                    <a:pt x="36" y="67"/>
                    <a:pt x="37" y="67"/>
                  </a:cubicBezTo>
                  <a:cubicBezTo>
                    <a:pt x="37" y="66"/>
                    <a:pt x="37" y="64"/>
                    <a:pt x="37" y="63"/>
                  </a:cubicBezTo>
                  <a:cubicBezTo>
                    <a:pt x="37" y="63"/>
                    <a:pt x="35" y="62"/>
                    <a:pt x="35" y="61"/>
                  </a:cubicBezTo>
                  <a:cubicBezTo>
                    <a:pt x="35" y="62"/>
                    <a:pt x="37" y="61"/>
                    <a:pt x="38" y="61"/>
                  </a:cubicBezTo>
                  <a:cubicBezTo>
                    <a:pt x="38" y="61"/>
                    <a:pt x="39" y="64"/>
                    <a:pt x="39" y="65"/>
                  </a:cubicBezTo>
                  <a:cubicBezTo>
                    <a:pt x="39" y="65"/>
                    <a:pt x="41" y="65"/>
                    <a:pt x="41" y="65"/>
                  </a:cubicBezTo>
                  <a:lnTo>
                    <a:pt x="41" y="64"/>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93" name="Freeform 234">
              <a:extLst>
                <a:ext uri="{FF2B5EF4-FFF2-40B4-BE49-F238E27FC236}">
                  <a16:creationId xmlns:a16="http://schemas.microsoft.com/office/drawing/2014/main" id="{0E8FDC0C-10FF-E484-FEC3-F525E6E5707F}"/>
                </a:ext>
              </a:extLst>
            </p:cNvPr>
            <p:cNvSpPr>
              <a:spLocks/>
            </p:cNvSpPr>
            <p:nvPr/>
          </p:nvSpPr>
          <p:spPr bwMode="auto">
            <a:xfrm>
              <a:off x="6142926" y="1990107"/>
              <a:ext cx="271258" cy="357490"/>
            </a:xfrm>
            <a:custGeom>
              <a:avLst/>
              <a:gdLst>
                <a:gd name="T0" fmla="*/ 72 w 77"/>
                <a:gd name="T1" fmla="*/ 14 h 101"/>
                <a:gd name="T2" fmla="*/ 68 w 77"/>
                <a:gd name="T3" fmla="*/ 13 h 101"/>
                <a:gd name="T4" fmla="*/ 59 w 77"/>
                <a:gd name="T5" fmla="*/ 10 h 101"/>
                <a:gd name="T6" fmla="*/ 53 w 77"/>
                <a:gd name="T7" fmla="*/ 15 h 101"/>
                <a:gd name="T8" fmla="*/ 53 w 77"/>
                <a:gd name="T9" fmla="*/ 18 h 101"/>
                <a:gd name="T10" fmla="*/ 48 w 77"/>
                <a:gd name="T11" fmla="*/ 13 h 101"/>
                <a:gd name="T12" fmla="*/ 42 w 77"/>
                <a:gd name="T13" fmla="*/ 14 h 101"/>
                <a:gd name="T14" fmla="*/ 40 w 77"/>
                <a:gd name="T15" fmla="*/ 6 h 101"/>
                <a:gd name="T16" fmla="*/ 39 w 77"/>
                <a:gd name="T17" fmla="*/ 3 h 101"/>
                <a:gd name="T18" fmla="*/ 40 w 77"/>
                <a:gd name="T19" fmla="*/ 1 h 101"/>
                <a:gd name="T20" fmla="*/ 36 w 77"/>
                <a:gd name="T21" fmla="*/ 2 h 101"/>
                <a:gd name="T22" fmla="*/ 28 w 77"/>
                <a:gd name="T23" fmla="*/ 1 h 101"/>
                <a:gd name="T24" fmla="*/ 28 w 77"/>
                <a:gd name="T25" fmla="*/ 5 h 101"/>
                <a:gd name="T26" fmla="*/ 30 w 77"/>
                <a:gd name="T27" fmla="*/ 8 h 101"/>
                <a:gd name="T28" fmla="*/ 28 w 77"/>
                <a:gd name="T29" fmla="*/ 19 h 101"/>
                <a:gd name="T30" fmla="*/ 24 w 77"/>
                <a:gd name="T31" fmla="*/ 22 h 101"/>
                <a:gd name="T32" fmla="*/ 18 w 77"/>
                <a:gd name="T33" fmla="*/ 30 h 101"/>
                <a:gd name="T34" fmla="*/ 15 w 77"/>
                <a:gd name="T35" fmla="*/ 39 h 101"/>
                <a:gd name="T36" fmla="*/ 8 w 77"/>
                <a:gd name="T37" fmla="*/ 44 h 101"/>
                <a:gd name="T38" fmla="*/ 0 w 77"/>
                <a:gd name="T39" fmla="*/ 55 h 101"/>
                <a:gd name="T40" fmla="*/ 3 w 77"/>
                <a:gd name="T41" fmla="*/ 60 h 101"/>
                <a:gd name="T42" fmla="*/ 5 w 77"/>
                <a:gd name="T43" fmla="*/ 68 h 101"/>
                <a:gd name="T44" fmla="*/ 6 w 77"/>
                <a:gd name="T45" fmla="*/ 76 h 101"/>
                <a:gd name="T46" fmla="*/ 18 w 77"/>
                <a:gd name="T47" fmla="*/ 79 h 101"/>
                <a:gd name="T48" fmla="*/ 21 w 77"/>
                <a:gd name="T49" fmla="*/ 85 h 101"/>
                <a:gd name="T50" fmla="*/ 21 w 77"/>
                <a:gd name="T51" fmla="*/ 98 h 101"/>
                <a:gd name="T52" fmla="*/ 29 w 77"/>
                <a:gd name="T53" fmla="*/ 95 h 101"/>
                <a:gd name="T54" fmla="*/ 39 w 77"/>
                <a:gd name="T55" fmla="*/ 101 h 101"/>
                <a:gd name="T56" fmla="*/ 48 w 77"/>
                <a:gd name="T57" fmla="*/ 97 h 101"/>
                <a:gd name="T58" fmla="*/ 57 w 77"/>
                <a:gd name="T59" fmla="*/ 95 h 101"/>
                <a:gd name="T60" fmla="*/ 63 w 77"/>
                <a:gd name="T61" fmla="*/ 94 h 101"/>
                <a:gd name="T62" fmla="*/ 63 w 77"/>
                <a:gd name="T63" fmla="*/ 88 h 101"/>
                <a:gd name="T64" fmla="*/ 70 w 77"/>
                <a:gd name="T65" fmla="*/ 81 h 101"/>
                <a:gd name="T66" fmla="*/ 62 w 77"/>
                <a:gd name="T67" fmla="*/ 75 h 101"/>
                <a:gd name="T68" fmla="*/ 57 w 77"/>
                <a:gd name="T69" fmla="*/ 64 h 101"/>
                <a:gd name="T70" fmla="*/ 63 w 77"/>
                <a:gd name="T71" fmla="*/ 58 h 101"/>
                <a:gd name="T72" fmla="*/ 74 w 77"/>
                <a:gd name="T73" fmla="*/ 51 h 101"/>
                <a:gd name="T74" fmla="*/ 77 w 77"/>
                <a:gd name="T75" fmla="*/ 42 h 101"/>
                <a:gd name="T76" fmla="*/ 76 w 77"/>
                <a:gd name="T77" fmla="*/ 31 h 101"/>
                <a:gd name="T78" fmla="*/ 75 w 77"/>
                <a:gd name="T79" fmla="*/ 1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101">
                  <a:moveTo>
                    <a:pt x="75" y="15"/>
                  </a:moveTo>
                  <a:cubicBezTo>
                    <a:pt x="74" y="15"/>
                    <a:pt x="73" y="14"/>
                    <a:pt x="72" y="14"/>
                  </a:cubicBezTo>
                  <a:cubicBezTo>
                    <a:pt x="72" y="14"/>
                    <a:pt x="72" y="13"/>
                    <a:pt x="72" y="13"/>
                  </a:cubicBezTo>
                  <a:cubicBezTo>
                    <a:pt x="70" y="12"/>
                    <a:pt x="69" y="13"/>
                    <a:pt x="68" y="13"/>
                  </a:cubicBezTo>
                  <a:cubicBezTo>
                    <a:pt x="67" y="12"/>
                    <a:pt x="65" y="11"/>
                    <a:pt x="65" y="11"/>
                  </a:cubicBezTo>
                  <a:cubicBezTo>
                    <a:pt x="63" y="10"/>
                    <a:pt x="61" y="10"/>
                    <a:pt x="59" y="10"/>
                  </a:cubicBezTo>
                  <a:cubicBezTo>
                    <a:pt x="58" y="11"/>
                    <a:pt x="57" y="14"/>
                    <a:pt x="56" y="15"/>
                  </a:cubicBezTo>
                  <a:cubicBezTo>
                    <a:pt x="56" y="15"/>
                    <a:pt x="54" y="14"/>
                    <a:pt x="53" y="15"/>
                  </a:cubicBezTo>
                  <a:cubicBezTo>
                    <a:pt x="53" y="15"/>
                    <a:pt x="53" y="16"/>
                    <a:pt x="52" y="17"/>
                  </a:cubicBezTo>
                  <a:cubicBezTo>
                    <a:pt x="52" y="17"/>
                    <a:pt x="54" y="17"/>
                    <a:pt x="53" y="18"/>
                  </a:cubicBezTo>
                  <a:cubicBezTo>
                    <a:pt x="52" y="17"/>
                    <a:pt x="48" y="17"/>
                    <a:pt x="48" y="16"/>
                  </a:cubicBezTo>
                  <a:cubicBezTo>
                    <a:pt x="47" y="16"/>
                    <a:pt x="48" y="14"/>
                    <a:pt x="48" y="13"/>
                  </a:cubicBezTo>
                  <a:cubicBezTo>
                    <a:pt x="46" y="13"/>
                    <a:pt x="46" y="13"/>
                    <a:pt x="46" y="13"/>
                  </a:cubicBezTo>
                  <a:cubicBezTo>
                    <a:pt x="45" y="13"/>
                    <a:pt x="43" y="14"/>
                    <a:pt x="42" y="14"/>
                  </a:cubicBezTo>
                  <a:cubicBezTo>
                    <a:pt x="42" y="13"/>
                    <a:pt x="40" y="10"/>
                    <a:pt x="40" y="9"/>
                  </a:cubicBezTo>
                  <a:cubicBezTo>
                    <a:pt x="39" y="8"/>
                    <a:pt x="40" y="7"/>
                    <a:pt x="40" y="6"/>
                  </a:cubicBezTo>
                  <a:cubicBezTo>
                    <a:pt x="39" y="6"/>
                    <a:pt x="37" y="5"/>
                    <a:pt x="37" y="5"/>
                  </a:cubicBezTo>
                  <a:cubicBezTo>
                    <a:pt x="37" y="5"/>
                    <a:pt x="40" y="3"/>
                    <a:pt x="39" y="3"/>
                  </a:cubicBezTo>
                  <a:cubicBezTo>
                    <a:pt x="39" y="3"/>
                    <a:pt x="41" y="2"/>
                    <a:pt x="41" y="1"/>
                  </a:cubicBezTo>
                  <a:cubicBezTo>
                    <a:pt x="41" y="1"/>
                    <a:pt x="41" y="0"/>
                    <a:pt x="40" y="1"/>
                  </a:cubicBezTo>
                  <a:cubicBezTo>
                    <a:pt x="40" y="1"/>
                    <a:pt x="40" y="1"/>
                    <a:pt x="39" y="2"/>
                  </a:cubicBezTo>
                  <a:cubicBezTo>
                    <a:pt x="38" y="2"/>
                    <a:pt x="37" y="2"/>
                    <a:pt x="36" y="2"/>
                  </a:cubicBezTo>
                  <a:cubicBezTo>
                    <a:pt x="36" y="1"/>
                    <a:pt x="36" y="2"/>
                    <a:pt x="37" y="1"/>
                  </a:cubicBezTo>
                  <a:cubicBezTo>
                    <a:pt x="28" y="1"/>
                    <a:pt x="28" y="1"/>
                    <a:pt x="28" y="1"/>
                  </a:cubicBezTo>
                  <a:cubicBezTo>
                    <a:pt x="27" y="2"/>
                    <a:pt x="27" y="4"/>
                    <a:pt x="27" y="5"/>
                  </a:cubicBezTo>
                  <a:cubicBezTo>
                    <a:pt x="28" y="5"/>
                    <a:pt x="28" y="5"/>
                    <a:pt x="28" y="5"/>
                  </a:cubicBezTo>
                  <a:cubicBezTo>
                    <a:pt x="29" y="6"/>
                    <a:pt x="28" y="7"/>
                    <a:pt x="29" y="8"/>
                  </a:cubicBezTo>
                  <a:cubicBezTo>
                    <a:pt x="30" y="8"/>
                    <a:pt x="30" y="8"/>
                    <a:pt x="30" y="8"/>
                  </a:cubicBezTo>
                  <a:cubicBezTo>
                    <a:pt x="31" y="15"/>
                    <a:pt x="28" y="13"/>
                    <a:pt x="32" y="19"/>
                  </a:cubicBezTo>
                  <a:cubicBezTo>
                    <a:pt x="30" y="19"/>
                    <a:pt x="29" y="19"/>
                    <a:pt x="28" y="19"/>
                  </a:cubicBezTo>
                  <a:cubicBezTo>
                    <a:pt x="27" y="23"/>
                    <a:pt x="27" y="22"/>
                    <a:pt x="26" y="25"/>
                  </a:cubicBezTo>
                  <a:cubicBezTo>
                    <a:pt x="25" y="24"/>
                    <a:pt x="24" y="23"/>
                    <a:pt x="24" y="22"/>
                  </a:cubicBezTo>
                  <a:cubicBezTo>
                    <a:pt x="18" y="24"/>
                    <a:pt x="14" y="24"/>
                    <a:pt x="19" y="31"/>
                  </a:cubicBezTo>
                  <a:cubicBezTo>
                    <a:pt x="18" y="30"/>
                    <a:pt x="18" y="30"/>
                    <a:pt x="18" y="30"/>
                  </a:cubicBezTo>
                  <a:cubicBezTo>
                    <a:pt x="18" y="30"/>
                    <a:pt x="18" y="37"/>
                    <a:pt x="16" y="37"/>
                  </a:cubicBezTo>
                  <a:cubicBezTo>
                    <a:pt x="14" y="36"/>
                    <a:pt x="13" y="38"/>
                    <a:pt x="15" y="39"/>
                  </a:cubicBezTo>
                  <a:cubicBezTo>
                    <a:pt x="17" y="41"/>
                    <a:pt x="12" y="42"/>
                    <a:pt x="12" y="42"/>
                  </a:cubicBezTo>
                  <a:cubicBezTo>
                    <a:pt x="12" y="42"/>
                    <a:pt x="12" y="46"/>
                    <a:pt x="8" y="44"/>
                  </a:cubicBezTo>
                  <a:cubicBezTo>
                    <a:pt x="3" y="42"/>
                    <a:pt x="4" y="44"/>
                    <a:pt x="3" y="46"/>
                  </a:cubicBezTo>
                  <a:cubicBezTo>
                    <a:pt x="2" y="49"/>
                    <a:pt x="0" y="55"/>
                    <a:pt x="0" y="55"/>
                  </a:cubicBezTo>
                  <a:cubicBezTo>
                    <a:pt x="0" y="55"/>
                    <a:pt x="2" y="57"/>
                    <a:pt x="4" y="57"/>
                  </a:cubicBezTo>
                  <a:cubicBezTo>
                    <a:pt x="5" y="57"/>
                    <a:pt x="0" y="58"/>
                    <a:pt x="3" y="60"/>
                  </a:cubicBezTo>
                  <a:cubicBezTo>
                    <a:pt x="6" y="61"/>
                    <a:pt x="4" y="66"/>
                    <a:pt x="4" y="66"/>
                  </a:cubicBezTo>
                  <a:cubicBezTo>
                    <a:pt x="4" y="66"/>
                    <a:pt x="4" y="65"/>
                    <a:pt x="5" y="68"/>
                  </a:cubicBezTo>
                  <a:cubicBezTo>
                    <a:pt x="7" y="71"/>
                    <a:pt x="8" y="68"/>
                    <a:pt x="6" y="71"/>
                  </a:cubicBezTo>
                  <a:cubicBezTo>
                    <a:pt x="4" y="75"/>
                    <a:pt x="6" y="76"/>
                    <a:pt x="6" y="76"/>
                  </a:cubicBezTo>
                  <a:cubicBezTo>
                    <a:pt x="6" y="76"/>
                    <a:pt x="12" y="74"/>
                    <a:pt x="13" y="77"/>
                  </a:cubicBezTo>
                  <a:cubicBezTo>
                    <a:pt x="15" y="80"/>
                    <a:pt x="15" y="78"/>
                    <a:pt x="18" y="79"/>
                  </a:cubicBezTo>
                  <a:cubicBezTo>
                    <a:pt x="20" y="79"/>
                    <a:pt x="22" y="79"/>
                    <a:pt x="22" y="79"/>
                  </a:cubicBezTo>
                  <a:cubicBezTo>
                    <a:pt x="22" y="79"/>
                    <a:pt x="23" y="83"/>
                    <a:pt x="21" y="85"/>
                  </a:cubicBezTo>
                  <a:cubicBezTo>
                    <a:pt x="20" y="87"/>
                    <a:pt x="20" y="88"/>
                    <a:pt x="21" y="90"/>
                  </a:cubicBezTo>
                  <a:cubicBezTo>
                    <a:pt x="21" y="92"/>
                    <a:pt x="19" y="95"/>
                    <a:pt x="21" y="98"/>
                  </a:cubicBezTo>
                  <a:cubicBezTo>
                    <a:pt x="21" y="98"/>
                    <a:pt x="24" y="97"/>
                    <a:pt x="25" y="96"/>
                  </a:cubicBezTo>
                  <a:cubicBezTo>
                    <a:pt x="26" y="96"/>
                    <a:pt x="26" y="93"/>
                    <a:pt x="29" y="95"/>
                  </a:cubicBezTo>
                  <a:cubicBezTo>
                    <a:pt x="32" y="96"/>
                    <a:pt x="33" y="97"/>
                    <a:pt x="33" y="97"/>
                  </a:cubicBezTo>
                  <a:cubicBezTo>
                    <a:pt x="39" y="101"/>
                    <a:pt x="39" y="101"/>
                    <a:pt x="39" y="101"/>
                  </a:cubicBezTo>
                  <a:cubicBezTo>
                    <a:pt x="40" y="100"/>
                    <a:pt x="41" y="98"/>
                    <a:pt x="43" y="98"/>
                  </a:cubicBezTo>
                  <a:cubicBezTo>
                    <a:pt x="46" y="98"/>
                    <a:pt x="46" y="97"/>
                    <a:pt x="48" y="97"/>
                  </a:cubicBezTo>
                  <a:cubicBezTo>
                    <a:pt x="50" y="97"/>
                    <a:pt x="50" y="95"/>
                    <a:pt x="51" y="94"/>
                  </a:cubicBezTo>
                  <a:cubicBezTo>
                    <a:pt x="52" y="93"/>
                    <a:pt x="55" y="95"/>
                    <a:pt x="57" y="95"/>
                  </a:cubicBezTo>
                  <a:cubicBezTo>
                    <a:pt x="59" y="94"/>
                    <a:pt x="59" y="96"/>
                    <a:pt x="61" y="97"/>
                  </a:cubicBezTo>
                  <a:cubicBezTo>
                    <a:pt x="63" y="98"/>
                    <a:pt x="63" y="97"/>
                    <a:pt x="63" y="94"/>
                  </a:cubicBezTo>
                  <a:cubicBezTo>
                    <a:pt x="63" y="91"/>
                    <a:pt x="60" y="90"/>
                    <a:pt x="60" y="90"/>
                  </a:cubicBezTo>
                  <a:cubicBezTo>
                    <a:pt x="60" y="90"/>
                    <a:pt x="61" y="89"/>
                    <a:pt x="63" y="88"/>
                  </a:cubicBezTo>
                  <a:cubicBezTo>
                    <a:pt x="66" y="88"/>
                    <a:pt x="67" y="88"/>
                    <a:pt x="66" y="85"/>
                  </a:cubicBezTo>
                  <a:cubicBezTo>
                    <a:pt x="66" y="82"/>
                    <a:pt x="70" y="81"/>
                    <a:pt x="70" y="81"/>
                  </a:cubicBezTo>
                  <a:cubicBezTo>
                    <a:pt x="67" y="78"/>
                    <a:pt x="67" y="78"/>
                    <a:pt x="67" y="78"/>
                  </a:cubicBezTo>
                  <a:cubicBezTo>
                    <a:pt x="65" y="76"/>
                    <a:pt x="62" y="78"/>
                    <a:pt x="62" y="75"/>
                  </a:cubicBezTo>
                  <a:cubicBezTo>
                    <a:pt x="62" y="72"/>
                    <a:pt x="62" y="71"/>
                    <a:pt x="60" y="69"/>
                  </a:cubicBezTo>
                  <a:cubicBezTo>
                    <a:pt x="59" y="67"/>
                    <a:pt x="59" y="67"/>
                    <a:pt x="57" y="64"/>
                  </a:cubicBezTo>
                  <a:cubicBezTo>
                    <a:pt x="56" y="61"/>
                    <a:pt x="56" y="61"/>
                    <a:pt x="58" y="61"/>
                  </a:cubicBezTo>
                  <a:cubicBezTo>
                    <a:pt x="60" y="60"/>
                    <a:pt x="62" y="61"/>
                    <a:pt x="63" y="58"/>
                  </a:cubicBezTo>
                  <a:cubicBezTo>
                    <a:pt x="64" y="56"/>
                    <a:pt x="65" y="56"/>
                    <a:pt x="68" y="55"/>
                  </a:cubicBezTo>
                  <a:cubicBezTo>
                    <a:pt x="71" y="53"/>
                    <a:pt x="74" y="51"/>
                    <a:pt x="74" y="51"/>
                  </a:cubicBezTo>
                  <a:cubicBezTo>
                    <a:pt x="77" y="53"/>
                    <a:pt x="77" y="53"/>
                    <a:pt x="77" y="53"/>
                  </a:cubicBezTo>
                  <a:cubicBezTo>
                    <a:pt x="77" y="53"/>
                    <a:pt x="77" y="44"/>
                    <a:pt x="77" y="42"/>
                  </a:cubicBezTo>
                  <a:cubicBezTo>
                    <a:pt x="77" y="40"/>
                    <a:pt x="75" y="40"/>
                    <a:pt x="75" y="37"/>
                  </a:cubicBezTo>
                  <a:cubicBezTo>
                    <a:pt x="75" y="34"/>
                    <a:pt x="76" y="31"/>
                    <a:pt x="76" y="31"/>
                  </a:cubicBezTo>
                  <a:cubicBezTo>
                    <a:pt x="76" y="31"/>
                    <a:pt x="72" y="27"/>
                    <a:pt x="73" y="25"/>
                  </a:cubicBezTo>
                  <a:cubicBezTo>
                    <a:pt x="75" y="23"/>
                    <a:pt x="75" y="15"/>
                    <a:pt x="75" y="1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94" name="Freeform 235">
              <a:extLst>
                <a:ext uri="{FF2B5EF4-FFF2-40B4-BE49-F238E27FC236}">
                  <a16:creationId xmlns:a16="http://schemas.microsoft.com/office/drawing/2014/main" id="{33F05525-0D65-1044-BA44-122B2F55C71A}"/>
                </a:ext>
              </a:extLst>
            </p:cNvPr>
            <p:cNvSpPr>
              <a:spLocks/>
            </p:cNvSpPr>
            <p:nvPr/>
          </p:nvSpPr>
          <p:spPr bwMode="auto">
            <a:xfrm>
              <a:off x="6142926" y="1990107"/>
              <a:ext cx="271258" cy="357490"/>
            </a:xfrm>
            <a:custGeom>
              <a:avLst/>
              <a:gdLst>
                <a:gd name="T0" fmla="*/ 72 w 77"/>
                <a:gd name="T1" fmla="*/ 14 h 101"/>
                <a:gd name="T2" fmla="*/ 68 w 77"/>
                <a:gd name="T3" fmla="*/ 13 h 101"/>
                <a:gd name="T4" fmla="*/ 59 w 77"/>
                <a:gd name="T5" fmla="*/ 10 h 101"/>
                <a:gd name="T6" fmla="*/ 53 w 77"/>
                <a:gd name="T7" fmla="*/ 15 h 101"/>
                <a:gd name="T8" fmla="*/ 53 w 77"/>
                <a:gd name="T9" fmla="*/ 18 h 101"/>
                <a:gd name="T10" fmla="*/ 48 w 77"/>
                <a:gd name="T11" fmla="*/ 13 h 101"/>
                <a:gd name="T12" fmla="*/ 42 w 77"/>
                <a:gd name="T13" fmla="*/ 14 h 101"/>
                <a:gd name="T14" fmla="*/ 40 w 77"/>
                <a:gd name="T15" fmla="*/ 6 h 101"/>
                <a:gd name="T16" fmla="*/ 39 w 77"/>
                <a:gd name="T17" fmla="*/ 3 h 101"/>
                <a:gd name="T18" fmla="*/ 40 w 77"/>
                <a:gd name="T19" fmla="*/ 1 h 101"/>
                <a:gd name="T20" fmla="*/ 36 w 77"/>
                <a:gd name="T21" fmla="*/ 2 h 101"/>
                <a:gd name="T22" fmla="*/ 28 w 77"/>
                <a:gd name="T23" fmla="*/ 1 h 101"/>
                <a:gd name="T24" fmla="*/ 28 w 77"/>
                <a:gd name="T25" fmla="*/ 5 h 101"/>
                <a:gd name="T26" fmla="*/ 30 w 77"/>
                <a:gd name="T27" fmla="*/ 8 h 101"/>
                <a:gd name="T28" fmla="*/ 28 w 77"/>
                <a:gd name="T29" fmla="*/ 19 h 101"/>
                <a:gd name="T30" fmla="*/ 24 w 77"/>
                <a:gd name="T31" fmla="*/ 22 h 101"/>
                <a:gd name="T32" fmla="*/ 18 w 77"/>
                <a:gd name="T33" fmla="*/ 30 h 101"/>
                <a:gd name="T34" fmla="*/ 15 w 77"/>
                <a:gd name="T35" fmla="*/ 39 h 101"/>
                <a:gd name="T36" fmla="*/ 8 w 77"/>
                <a:gd name="T37" fmla="*/ 44 h 101"/>
                <a:gd name="T38" fmla="*/ 0 w 77"/>
                <a:gd name="T39" fmla="*/ 55 h 101"/>
                <a:gd name="T40" fmla="*/ 3 w 77"/>
                <a:gd name="T41" fmla="*/ 60 h 101"/>
                <a:gd name="T42" fmla="*/ 5 w 77"/>
                <a:gd name="T43" fmla="*/ 68 h 101"/>
                <a:gd name="T44" fmla="*/ 6 w 77"/>
                <a:gd name="T45" fmla="*/ 76 h 101"/>
                <a:gd name="T46" fmla="*/ 18 w 77"/>
                <a:gd name="T47" fmla="*/ 79 h 101"/>
                <a:gd name="T48" fmla="*/ 21 w 77"/>
                <a:gd name="T49" fmla="*/ 85 h 101"/>
                <a:gd name="T50" fmla="*/ 21 w 77"/>
                <a:gd name="T51" fmla="*/ 98 h 101"/>
                <a:gd name="T52" fmla="*/ 29 w 77"/>
                <a:gd name="T53" fmla="*/ 95 h 101"/>
                <a:gd name="T54" fmla="*/ 39 w 77"/>
                <a:gd name="T55" fmla="*/ 101 h 101"/>
                <a:gd name="T56" fmla="*/ 48 w 77"/>
                <a:gd name="T57" fmla="*/ 97 h 101"/>
                <a:gd name="T58" fmla="*/ 57 w 77"/>
                <a:gd name="T59" fmla="*/ 95 h 101"/>
                <a:gd name="T60" fmla="*/ 63 w 77"/>
                <a:gd name="T61" fmla="*/ 94 h 101"/>
                <a:gd name="T62" fmla="*/ 63 w 77"/>
                <a:gd name="T63" fmla="*/ 88 h 101"/>
                <a:gd name="T64" fmla="*/ 70 w 77"/>
                <a:gd name="T65" fmla="*/ 81 h 101"/>
                <a:gd name="T66" fmla="*/ 62 w 77"/>
                <a:gd name="T67" fmla="*/ 75 h 101"/>
                <a:gd name="T68" fmla="*/ 57 w 77"/>
                <a:gd name="T69" fmla="*/ 64 h 101"/>
                <a:gd name="T70" fmla="*/ 63 w 77"/>
                <a:gd name="T71" fmla="*/ 58 h 101"/>
                <a:gd name="T72" fmla="*/ 74 w 77"/>
                <a:gd name="T73" fmla="*/ 51 h 101"/>
                <a:gd name="T74" fmla="*/ 77 w 77"/>
                <a:gd name="T75" fmla="*/ 42 h 101"/>
                <a:gd name="T76" fmla="*/ 76 w 77"/>
                <a:gd name="T77" fmla="*/ 31 h 101"/>
                <a:gd name="T78" fmla="*/ 75 w 77"/>
                <a:gd name="T79" fmla="*/ 1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101">
                  <a:moveTo>
                    <a:pt x="75" y="15"/>
                  </a:moveTo>
                  <a:cubicBezTo>
                    <a:pt x="74" y="15"/>
                    <a:pt x="73" y="14"/>
                    <a:pt x="72" y="14"/>
                  </a:cubicBezTo>
                  <a:cubicBezTo>
                    <a:pt x="72" y="14"/>
                    <a:pt x="72" y="13"/>
                    <a:pt x="72" y="13"/>
                  </a:cubicBezTo>
                  <a:cubicBezTo>
                    <a:pt x="70" y="12"/>
                    <a:pt x="69" y="13"/>
                    <a:pt x="68" y="13"/>
                  </a:cubicBezTo>
                  <a:cubicBezTo>
                    <a:pt x="67" y="12"/>
                    <a:pt x="65" y="11"/>
                    <a:pt x="65" y="11"/>
                  </a:cubicBezTo>
                  <a:cubicBezTo>
                    <a:pt x="63" y="10"/>
                    <a:pt x="61" y="10"/>
                    <a:pt x="59" y="10"/>
                  </a:cubicBezTo>
                  <a:cubicBezTo>
                    <a:pt x="58" y="11"/>
                    <a:pt x="57" y="14"/>
                    <a:pt x="56" y="15"/>
                  </a:cubicBezTo>
                  <a:cubicBezTo>
                    <a:pt x="56" y="15"/>
                    <a:pt x="54" y="14"/>
                    <a:pt x="53" y="15"/>
                  </a:cubicBezTo>
                  <a:cubicBezTo>
                    <a:pt x="53" y="15"/>
                    <a:pt x="53" y="16"/>
                    <a:pt x="52" y="17"/>
                  </a:cubicBezTo>
                  <a:cubicBezTo>
                    <a:pt x="52" y="17"/>
                    <a:pt x="54" y="17"/>
                    <a:pt x="53" y="18"/>
                  </a:cubicBezTo>
                  <a:cubicBezTo>
                    <a:pt x="52" y="17"/>
                    <a:pt x="48" y="17"/>
                    <a:pt x="48" y="16"/>
                  </a:cubicBezTo>
                  <a:cubicBezTo>
                    <a:pt x="47" y="16"/>
                    <a:pt x="48" y="14"/>
                    <a:pt x="48" y="13"/>
                  </a:cubicBezTo>
                  <a:cubicBezTo>
                    <a:pt x="46" y="13"/>
                    <a:pt x="46" y="13"/>
                    <a:pt x="46" y="13"/>
                  </a:cubicBezTo>
                  <a:cubicBezTo>
                    <a:pt x="45" y="13"/>
                    <a:pt x="43" y="14"/>
                    <a:pt x="42" y="14"/>
                  </a:cubicBezTo>
                  <a:cubicBezTo>
                    <a:pt x="42" y="13"/>
                    <a:pt x="40" y="10"/>
                    <a:pt x="40" y="9"/>
                  </a:cubicBezTo>
                  <a:cubicBezTo>
                    <a:pt x="39" y="8"/>
                    <a:pt x="40" y="7"/>
                    <a:pt x="40" y="6"/>
                  </a:cubicBezTo>
                  <a:cubicBezTo>
                    <a:pt x="39" y="6"/>
                    <a:pt x="37" y="5"/>
                    <a:pt x="37" y="5"/>
                  </a:cubicBezTo>
                  <a:cubicBezTo>
                    <a:pt x="37" y="5"/>
                    <a:pt x="40" y="3"/>
                    <a:pt x="39" y="3"/>
                  </a:cubicBezTo>
                  <a:cubicBezTo>
                    <a:pt x="39" y="3"/>
                    <a:pt x="41" y="2"/>
                    <a:pt x="41" y="1"/>
                  </a:cubicBezTo>
                  <a:cubicBezTo>
                    <a:pt x="41" y="1"/>
                    <a:pt x="41" y="0"/>
                    <a:pt x="40" y="1"/>
                  </a:cubicBezTo>
                  <a:cubicBezTo>
                    <a:pt x="40" y="1"/>
                    <a:pt x="40" y="1"/>
                    <a:pt x="39" y="2"/>
                  </a:cubicBezTo>
                  <a:cubicBezTo>
                    <a:pt x="38" y="2"/>
                    <a:pt x="37" y="2"/>
                    <a:pt x="36" y="2"/>
                  </a:cubicBezTo>
                  <a:cubicBezTo>
                    <a:pt x="36" y="1"/>
                    <a:pt x="36" y="2"/>
                    <a:pt x="37" y="1"/>
                  </a:cubicBezTo>
                  <a:cubicBezTo>
                    <a:pt x="28" y="1"/>
                    <a:pt x="28" y="1"/>
                    <a:pt x="28" y="1"/>
                  </a:cubicBezTo>
                  <a:cubicBezTo>
                    <a:pt x="27" y="2"/>
                    <a:pt x="27" y="4"/>
                    <a:pt x="27" y="5"/>
                  </a:cubicBezTo>
                  <a:cubicBezTo>
                    <a:pt x="28" y="5"/>
                    <a:pt x="28" y="5"/>
                    <a:pt x="28" y="5"/>
                  </a:cubicBezTo>
                  <a:cubicBezTo>
                    <a:pt x="29" y="6"/>
                    <a:pt x="28" y="7"/>
                    <a:pt x="29" y="8"/>
                  </a:cubicBezTo>
                  <a:cubicBezTo>
                    <a:pt x="30" y="8"/>
                    <a:pt x="30" y="8"/>
                    <a:pt x="30" y="8"/>
                  </a:cubicBezTo>
                  <a:cubicBezTo>
                    <a:pt x="31" y="15"/>
                    <a:pt x="28" y="13"/>
                    <a:pt x="32" y="19"/>
                  </a:cubicBezTo>
                  <a:cubicBezTo>
                    <a:pt x="30" y="19"/>
                    <a:pt x="29" y="19"/>
                    <a:pt x="28" y="19"/>
                  </a:cubicBezTo>
                  <a:cubicBezTo>
                    <a:pt x="27" y="23"/>
                    <a:pt x="27" y="22"/>
                    <a:pt x="26" y="25"/>
                  </a:cubicBezTo>
                  <a:cubicBezTo>
                    <a:pt x="25" y="24"/>
                    <a:pt x="24" y="23"/>
                    <a:pt x="24" y="22"/>
                  </a:cubicBezTo>
                  <a:cubicBezTo>
                    <a:pt x="18" y="24"/>
                    <a:pt x="14" y="24"/>
                    <a:pt x="19" y="31"/>
                  </a:cubicBezTo>
                  <a:cubicBezTo>
                    <a:pt x="18" y="30"/>
                    <a:pt x="18" y="30"/>
                    <a:pt x="18" y="30"/>
                  </a:cubicBezTo>
                  <a:cubicBezTo>
                    <a:pt x="18" y="30"/>
                    <a:pt x="18" y="37"/>
                    <a:pt x="16" y="37"/>
                  </a:cubicBezTo>
                  <a:cubicBezTo>
                    <a:pt x="14" y="36"/>
                    <a:pt x="13" y="38"/>
                    <a:pt x="15" y="39"/>
                  </a:cubicBezTo>
                  <a:cubicBezTo>
                    <a:pt x="17" y="41"/>
                    <a:pt x="12" y="42"/>
                    <a:pt x="12" y="42"/>
                  </a:cubicBezTo>
                  <a:cubicBezTo>
                    <a:pt x="12" y="42"/>
                    <a:pt x="12" y="46"/>
                    <a:pt x="8" y="44"/>
                  </a:cubicBezTo>
                  <a:cubicBezTo>
                    <a:pt x="3" y="42"/>
                    <a:pt x="4" y="44"/>
                    <a:pt x="3" y="46"/>
                  </a:cubicBezTo>
                  <a:cubicBezTo>
                    <a:pt x="2" y="49"/>
                    <a:pt x="0" y="55"/>
                    <a:pt x="0" y="55"/>
                  </a:cubicBezTo>
                  <a:cubicBezTo>
                    <a:pt x="0" y="55"/>
                    <a:pt x="2" y="57"/>
                    <a:pt x="4" y="57"/>
                  </a:cubicBezTo>
                  <a:cubicBezTo>
                    <a:pt x="5" y="57"/>
                    <a:pt x="0" y="58"/>
                    <a:pt x="3" y="60"/>
                  </a:cubicBezTo>
                  <a:cubicBezTo>
                    <a:pt x="6" y="61"/>
                    <a:pt x="4" y="66"/>
                    <a:pt x="4" y="66"/>
                  </a:cubicBezTo>
                  <a:cubicBezTo>
                    <a:pt x="4" y="66"/>
                    <a:pt x="4" y="65"/>
                    <a:pt x="5" y="68"/>
                  </a:cubicBezTo>
                  <a:cubicBezTo>
                    <a:pt x="7" y="71"/>
                    <a:pt x="8" y="68"/>
                    <a:pt x="6" y="71"/>
                  </a:cubicBezTo>
                  <a:cubicBezTo>
                    <a:pt x="4" y="75"/>
                    <a:pt x="6" y="76"/>
                    <a:pt x="6" y="76"/>
                  </a:cubicBezTo>
                  <a:cubicBezTo>
                    <a:pt x="6" y="76"/>
                    <a:pt x="12" y="74"/>
                    <a:pt x="13" y="77"/>
                  </a:cubicBezTo>
                  <a:cubicBezTo>
                    <a:pt x="15" y="80"/>
                    <a:pt x="15" y="78"/>
                    <a:pt x="18" y="79"/>
                  </a:cubicBezTo>
                  <a:cubicBezTo>
                    <a:pt x="20" y="79"/>
                    <a:pt x="22" y="79"/>
                    <a:pt x="22" y="79"/>
                  </a:cubicBezTo>
                  <a:cubicBezTo>
                    <a:pt x="22" y="79"/>
                    <a:pt x="23" y="83"/>
                    <a:pt x="21" y="85"/>
                  </a:cubicBezTo>
                  <a:cubicBezTo>
                    <a:pt x="20" y="87"/>
                    <a:pt x="20" y="88"/>
                    <a:pt x="21" y="90"/>
                  </a:cubicBezTo>
                  <a:cubicBezTo>
                    <a:pt x="21" y="92"/>
                    <a:pt x="19" y="95"/>
                    <a:pt x="21" y="98"/>
                  </a:cubicBezTo>
                  <a:cubicBezTo>
                    <a:pt x="21" y="98"/>
                    <a:pt x="24" y="97"/>
                    <a:pt x="25" y="96"/>
                  </a:cubicBezTo>
                  <a:cubicBezTo>
                    <a:pt x="26" y="96"/>
                    <a:pt x="26" y="93"/>
                    <a:pt x="29" y="95"/>
                  </a:cubicBezTo>
                  <a:cubicBezTo>
                    <a:pt x="32" y="96"/>
                    <a:pt x="33" y="97"/>
                    <a:pt x="33" y="97"/>
                  </a:cubicBezTo>
                  <a:cubicBezTo>
                    <a:pt x="39" y="101"/>
                    <a:pt x="39" y="101"/>
                    <a:pt x="39" y="101"/>
                  </a:cubicBezTo>
                  <a:cubicBezTo>
                    <a:pt x="40" y="100"/>
                    <a:pt x="41" y="98"/>
                    <a:pt x="43" y="98"/>
                  </a:cubicBezTo>
                  <a:cubicBezTo>
                    <a:pt x="46" y="98"/>
                    <a:pt x="46" y="97"/>
                    <a:pt x="48" y="97"/>
                  </a:cubicBezTo>
                  <a:cubicBezTo>
                    <a:pt x="50" y="97"/>
                    <a:pt x="50" y="95"/>
                    <a:pt x="51" y="94"/>
                  </a:cubicBezTo>
                  <a:cubicBezTo>
                    <a:pt x="52" y="93"/>
                    <a:pt x="55" y="95"/>
                    <a:pt x="57" y="95"/>
                  </a:cubicBezTo>
                  <a:cubicBezTo>
                    <a:pt x="59" y="94"/>
                    <a:pt x="59" y="96"/>
                    <a:pt x="61" y="97"/>
                  </a:cubicBezTo>
                  <a:cubicBezTo>
                    <a:pt x="63" y="98"/>
                    <a:pt x="63" y="97"/>
                    <a:pt x="63" y="94"/>
                  </a:cubicBezTo>
                  <a:cubicBezTo>
                    <a:pt x="63" y="91"/>
                    <a:pt x="60" y="90"/>
                    <a:pt x="60" y="90"/>
                  </a:cubicBezTo>
                  <a:cubicBezTo>
                    <a:pt x="60" y="90"/>
                    <a:pt x="61" y="89"/>
                    <a:pt x="63" y="88"/>
                  </a:cubicBezTo>
                  <a:cubicBezTo>
                    <a:pt x="66" y="88"/>
                    <a:pt x="67" y="88"/>
                    <a:pt x="66" y="85"/>
                  </a:cubicBezTo>
                  <a:cubicBezTo>
                    <a:pt x="66" y="82"/>
                    <a:pt x="70" y="81"/>
                    <a:pt x="70" y="81"/>
                  </a:cubicBezTo>
                  <a:cubicBezTo>
                    <a:pt x="67" y="78"/>
                    <a:pt x="67" y="78"/>
                    <a:pt x="67" y="78"/>
                  </a:cubicBezTo>
                  <a:cubicBezTo>
                    <a:pt x="65" y="76"/>
                    <a:pt x="62" y="78"/>
                    <a:pt x="62" y="75"/>
                  </a:cubicBezTo>
                  <a:cubicBezTo>
                    <a:pt x="62" y="72"/>
                    <a:pt x="62" y="71"/>
                    <a:pt x="60" y="69"/>
                  </a:cubicBezTo>
                  <a:cubicBezTo>
                    <a:pt x="59" y="67"/>
                    <a:pt x="59" y="67"/>
                    <a:pt x="57" y="64"/>
                  </a:cubicBezTo>
                  <a:cubicBezTo>
                    <a:pt x="56" y="61"/>
                    <a:pt x="56" y="61"/>
                    <a:pt x="58" y="61"/>
                  </a:cubicBezTo>
                  <a:cubicBezTo>
                    <a:pt x="60" y="60"/>
                    <a:pt x="62" y="61"/>
                    <a:pt x="63" y="58"/>
                  </a:cubicBezTo>
                  <a:cubicBezTo>
                    <a:pt x="64" y="56"/>
                    <a:pt x="65" y="56"/>
                    <a:pt x="68" y="55"/>
                  </a:cubicBezTo>
                  <a:cubicBezTo>
                    <a:pt x="71" y="53"/>
                    <a:pt x="74" y="51"/>
                    <a:pt x="74" y="51"/>
                  </a:cubicBezTo>
                  <a:cubicBezTo>
                    <a:pt x="77" y="53"/>
                    <a:pt x="77" y="53"/>
                    <a:pt x="77" y="53"/>
                  </a:cubicBezTo>
                  <a:cubicBezTo>
                    <a:pt x="77" y="53"/>
                    <a:pt x="77" y="44"/>
                    <a:pt x="77" y="42"/>
                  </a:cubicBezTo>
                  <a:cubicBezTo>
                    <a:pt x="77" y="40"/>
                    <a:pt x="75" y="40"/>
                    <a:pt x="75" y="37"/>
                  </a:cubicBezTo>
                  <a:cubicBezTo>
                    <a:pt x="75" y="34"/>
                    <a:pt x="76" y="31"/>
                    <a:pt x="76" y="31"/>
                  </a:cubicBezTo>
                  <a:cubicBezTo>
                    <a:pt x="76" y="31"/>
                    <a:pt x="72" y="27"/>
                    <a:pt x="73" y="25"/>
                  </a:cubicBezTo>
                  <a:cubicBezTo>
                    <a:pt x="75" y="23"/>
                    <a:pt x="75" y="15"/>
                    <a:pt x="75" y="1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95" name="Freeform 236">
              <a:extLst>
                <a:ext uri="{FF2B5EF4-FFF2-40B4-BE49-F238E27FC236}">
                  <a16:creationId xmlns:a16="http://schemas.microsoft.com/office/drawing/2014/main" id="{3C89FAFE-422A-2619-2612-834A4081F15D}"/>
                </a:ext>
              </a:extLst>
            </p:cNvPr>
            <p:cNvSpPr>
              <a:spLocks/>
            </p:cNvSpPr>
            <p:nvPr/>
          </p:nvSpPr>
          <p:spPr bwMode="auto">
            <a:xfrm>
              <a:off x="7190234" y="2498497"/>
              <a:ext cx="217366" cy="120362"/>
            </a:xfrm>
            <a:custGeom>
              <a:avLst/>
              <a:gdLst>
                <a:gd name="T0" fmla="*/ 0 w 62"/>
                <a:gd name="T1" fmla="*/ 8 h 34"/>
                <a:gd name="T2" fmla="*/ 2 w 62"/>
                <a:gd name="T3" fmla="*/ 10 h 34"/>
                <a:gd name="T4" fmla="*/ 5 w 62"/>
                <a:gd name="T5" fmla="*/ 10 h 34"/>
                <a:gd name="T6" fmla="*/ 7 w 62"/>
                <a:gd name="T7" fmla="*/ 12 h 34"/>
                <a:gd name="T8" fmla="*/ 12 w 62"/>
                <a:gd name="T9" fmla="*/ 16 h 34"/>
                <a:gd name="T10" fmla="*/ 14 w 62"/>
                <a:gd name="T11" fmla="*/ 27 h 34"/>
                <a:gd name="T12" fmla="*/ 14 w 62"/>
                <a:gd name="T13" fmla="*/ 28 h 34"/>
                <a:gd name="T14" fmla="*/ 17 w 62"/>
                <a:gd name="T15" fmla="*/ 29 h 34"/>
                <a:gd name="T16" fmla="*/ 22 w 62"/>
                <a:gd name="T17" fmla="*/ 29 h 34"/>
                <a:gd name="T18" fmla="*/ 26 w 62"/>
                <a:gd name="T19" fmla="*/ 31 h 34"/>
                <a:gd name="T20" fmla="*/ 31 w 62"/>
                <a:gd name="T21" fmla="*/ 30 h 34"/>
                <a:gd name="T22" fmla="*/ 32 w 62"/>
                <a:gd name="T23" fmla="*/ 32 h 34"/>
                <a:gd name="T24" fmla="*/ 34 w 62"/>
                <a:gd name="T25" fmla="*/ 32 h 34"/>
                <a:gd name="T26" fmla="*/ 34 w 62"/>
                <a:gd name="T27" fmla="*/ 33 h 34"/>
                <a:gd name="T28" fmla="*/ 41 w 62"/>
                <a:gd name="T29" fmla="*/ 32 h 34"/>
                <a:gd name="T30" fmla="*/ 46 w 62"/>
                <a:gd name="T31" fmla="*/ 32 h 34"/>
                <a:gd name="T32" fmla="*/ 49 w 62"/>
                <a:gd name="T33" fmla="*/ 28 h 34"/>
                <a:gd name="T34" fmla="*/ 52 w 62"/>
                <a:gd name="T35" fmla="*/ 27 h 34"/>
                <a:gd name="T36" fmla="*/ 56 w 62"/>
                <a:gd name="T37" fmla="*/ 30 h 34"/>
                <a:gd name="T38" fmla="*/ 61 w 62"/>
                <a:gd name="T39" fmla="*/ 32 h 34"/>
                <a:gd name="T40" fmla="*/ 59 w 62"/>
                <a:gd name="T41" fmla="*/ 28 h 34"/>
                <a:gd name="T42" fmla="*/ 62 w 62"/>
                <a:gd name="T43" fmla="*/ 25 h 34"/>
                <a:gd name="T44" fmla="*/ 59 w 62"/>
                <a:gd name="T45" fmla="*/ 21 h 34"/>
                <a:gd name="T46" fmla="*/ 54 w 62"/>
                <a:gd name="T47" fmla="*/ 21 h 34"/>
                <a:gd name="T48" fmla="*/ 54 w 62"/>
                <a:gd name="T49" fmla="*/ 17 h 34"/>
                <a:gd name="T50" fmla="*/ 50 w 62"/>
                <a:gd name="T51" fmla="*/ 15 h 34"/>
                <a:gd name="T52" fmla="*/ 47 w 62"/>
                <a:gd name="T53" fmla="*/ 11 h 34"/>
                <a:gd name="T54" fmla="*/ 42 w 62"/>
                <a:gd name="T55" fmla="*/ 10 h 34"/>
                <a:gd name="T56" fmla="*/ 39 w 62"/>
                <a:gd name="T57" fmla="*/ 11 h 34"/>
                <a:gd name="T58" fmla="*/ 32 w 62"/>
                <a:gd name="T59" fmla="*/ 12 h 34"/>
                <a:gd name="T60" fmla="*/ 25 w 62"/>
                <a:gd name="T61" fmla="*/ 7 h 34"/>
                <a:gd name="T62" fmla="*/ 21 w 62"/>
                <a:gd name="T63" fmla="*/ 4 h 34"/>
                <a:gd name="T64" fmla="*/ 14 w 62"/>
                <a:gd name="T65" fmla="*/ 4 h 34"/>
                <a:gd name="T66" fmla="*/ 8 w 62"/>
                <a:gd name="T67" fmla="*/ 2 h 34"/>
                <a:gd name="T68" fmla="*/ 2 w 62"/>
                <a:gd name="T69" fmla="*/ 2 h 34"/>
                <a:gd name="T70" fmla="*/ 0 w 62"/>
                <a:gd name="T7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34">
                  <a:moveTo>
                    <a:pt x="0" y="8"/>
                  </a:moveTo>
                  <a:cubicBezTo>
                    <a:pt x="1" y="8"/>
                    <a:pt x="2" y="9"/>
                    <a:pt x="2" y="10"/>
                  </a:cubicBezTo>
                  <a:cubicBezTo>
                    <a:pt x="3" y="10"/>
                    <a:pt x="4" y="9"/>
                    <a:pt x="5" y="10"/>
                  </a:cubicBezTo>
                  <a:cubicBezTo>
                    <a:pt x="5" y="10"/>
                    <a:pt x="6" y="12"/>
                    <a:pt x="7" y="12"/>
                  </a:cubicBezTo>
                  <a:cubicBezTo>
                    <a:pt x="8" y="13"/>
                    <a:pt x="12" y="15"/>
                    <a:pt x="12" y="16"/>
                  </a:cubicBezTo>
                  <a:cubicBezTo>
                    <a:pt x="13" y="17"/>
                    <a:pt x="15" y="24"/>
                    <a:pt x="14" y="27"/>
                  </a:cubicBezTo>
                  <a:cubicBezTo>
                    <a:pt x="14" y="28"/>
                    <a:pt x="14" y="28"/>
                    <a:pt x="14" y="28"/>
                  </a:cubicBezTo>
                  <a:cubicBezTo>
                    <a:pt x="14" y="28"/>
                    <a:pt x="15" y="30"/>
                    <a:pt x="17" y="29"/>
                  </a:cubicBezTo>
                  <a:cubicBezTo>
                    <a:pt x="19" y="28"/>
                    <a:pt x="20" y="29"/>
                    <a:pt x="22" y="29"/>
                  </a:cubicBezTo>
                  <a:cubicBezTo>
                    <a:pt x="24" y="29"/>
                    <a:pt x="26" y="31"/>
                    <a:pt x="26" y="31"/>
                  </a:cubicBezTo>
                  <a:cubicBezTo>
                    <a:pt x="26" y="31"/>
                    <a:pt x="28" y="31"/>
                    <a:pt x="31" y="30"/>
                  </a:cubicBezTo>
                  <a:cubicBezTo>
                    <a:pt x="33" y="29"/>
                    <a:pt x="32" y="32"/>
                    <a:pt x="32" y="32"/>
                  </a:cubicBezTo>
                  <a:cubicBezTo>
                    <a:pt x="34" y="32"/>
                    <a:pt x="34" y="32"/>
                    <a:pt x="34" y="32"/>
                  </a:cubicBezTo>
                  <a:cubicBezTo>
                    <a:pt x="34" y="33"/>
                    <a:pt x="34" y="33"/>
                    <a:pt x="34" y="33"/>
                  </a:cubicBezTo>
                  <a:cubicBezTo>
                    <a:pt x="34" y="33"/>
                    <a:pt x="39" y="32"/>
                    <a:pt x="41" y="32"/>
                  </a:cubicBezTo>
                  <a:cubicBezTo>
                    <a:pt x="42" y="32"/>
                    <a:pt x="46" y="32"/>
                    <a:pt x="46" y="32"/>
                  </a:cubicBezTo>
                  <a:cubicBezTo>
                    <a:pt x="46" y="32"/>
                    <a:pt x="48" y="30"/>
                    <a:pt x="49" y="28"/>
                  </a:cubicBezTo>
                  <a:cubicBezTo>
                    <a:pt x="50" y="26"/>
                    <a:pt x="50" y="27"/>
                    <a:pt x="52" y="27"/>
                  </a:cubicBezTo>
                  <a:cubicBezTo>
                    <a:pt x="55" y="27"/>
                    <a:pt x="56" y="30"/>
                    <a:pt x="56" y="30"/>
                  </a:cubicBezTo>
                  <a:cubicBezTo>
                    <a:pt x="56" y="30"/>
                    <a:pt x="60" y="34"/>
                    <a:pt x="61" y="32"/>
                  </a:cubicBezTo>
                  <a:cubicBezTo>
                    <a:pt x="62" y="31"/>
                    <a:pt x="61" y="29"/>
                    <a:pt x="59" y="28"/>
                  </a:cubicBezTo>
                  <a:cubicBezTo>
                    <a:pt x="58" y="26"/>
                    <a:pt x="62" y="25"/>
                    <a:pt x="62" y="25"/>
                  </a:cubicBezTo>
                  <a:cubicBezTo>
                    <a:pt x="62" y="25"/>
                    <a:pt x="60" y="23"/>
                    <a:pt x="59" y="21"/>
                  </a:cubicBezTo>
                  <a:cubicBezTo>
                    <a:pt x="58" y="20"/>
                    <a:pt x="56" y="21"/>
                    <a:pt x="54" y="21"/>
                  </a:cubicBezTo>
                  <a:cubicBezTo>
                    <a:pt x="52" y="20"/>
                    <a:pt x="55" y="17"/>
                    <a:pt x="54" y="17"/>
                  </a:cubicBezTo>
                  <a:cubicBezTo>
                    <a:pt x="52" y="16"/>
                    <a:pt x="52" y="16"/>
                    <a:pt x="50" y="15"/>
                  </a:cubicBezTo>
                  <a:cubicBezTo>
                    <a:pt x="48" y="14"/>
                    <a:pt x="48" y="12"/>
                    <a:pt x="47" y="11"/>
                  </a:cubicBezTo>
                  <a:cubicBezTo>
                    <a:pt x="46" y="9"/>
                    <a:pt x="45" y="9"/>
                    <a:pt x="42" y="10"/>
                  </a:cubicBezTo>
                  <a:cubicBezTo>
                    <a:pt x="40" y="11"/>
                    <a:pt x="40" y="13"/>
                    <a:pt x="39" y="11"/>
                  </a:cubicBezTo>
                  <a:cubicBezTo>
                    <a:pt x="37" y="9"/>
                    <a:pt x="35" y="12"/>
                    <a:pt x="32" y="12"/>
                  </a:cubicBezTo>
                  <a:cubicBezTo>
                    <a:pt x="29" y="12"/>
                    <a:pt x="28" y="8"/>
                    <a:pt x="25" y="7"/>
                  </a:cubicBezTo>
                  <a:cubicBezTo>
                    <a:pt x="23" y="5"/>
                    <a:pt x="23" y="4"/>
                    <a:pt x="21" y="4"/>
                  </a:cubicBezTo>
                  <a:cubicBezTo>
                    <a:pt x="19" y="4"/>
                    <a:pt x="17" y="5"/>
                    <a:pt x="14" y="4"/>
                  </a:cubicBezTo>
                  <a:cubicBezTo>
                    <a:pt x="11" y="3"/>
                    <a:pt x="9" y="3"/>
                    <a:pt x="8" y="2"/>
                  </a:cubicBezTo>
                  <a:cubicBezTo>
                    <a:pt x="7" y="0"/>
                    <a:pt x="4" y="1"/>
                    <a:pt x="2" y="2"/>
                  </a:cubicBezTo>
                  <a:cubicBezTo>
                    <a:pt x="0" y="3"/>
                    <a:pt x="0" y="8"/>
                    <a:pt x="0" y="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96" name="Freeform 237">
              <a:extLst>
                <a:ext uri="{FF2B5EF4-FFF2-40B4-BE49-F238E27FC236}">
                  <a16:creationId xmlns:a16="http://schemas.microsoft.com/office/drawing/2014/main" id="{5F13ECC7-2665-D204-0A32-18F2BC142E45}"/>
                </a:ext>
              </a:extLst>
            </p:cNvPr>
            <p:cNvSpPr>
              <a:spLocks/>
            </p:cNvSpPr>
            <p:nvPr/>
          </p:nvSpPr>
          <p:spPr bwMode="auto">
            <a:xfrm>
              <a:off x="7190234" y="2498497"/>
              <a:ext cx="217366" cy="120362"/>
            </a:xfrm>
            <a:custGeom>
              <a:avLst/>
              <a:gdLst>
                <a:gd name="T0" fmla="*/ 0 w 62"/>
                <a:gd name="T1" fmla="*/ 8 h 34"/>
                <a:gd name="T2" fmla="*/ 2 w 62"/>
                <a:gd name="T3" fmla="*/ 10 h 34"/>
                <a:gd name="T4" fmla="*/ 5 w 62"/>
                <a:gd name="T5" fmla="*/ 10 h 34"/>
                <a:gd name="T6" fmla="*/ 7 w 62"/>
                <a:gd name="T7" fmla="*/ 12 h 34"/>
                <a:gd name="T8" fmla="*/ 12 w 62"/>
                <a:gd name="T9" fmla="*/ 16 h 34"/>
                <a:gd name="T10" fmla="*/ 14 w 62"/>
                <a:gd name="T11" fmla="*/ 27 h 34"/>
                <a:gd name="T12" fmla="*/ 14 w 62"/>
                <a:gd name="T13" fmla="*/ 28 h 34"/>
                <a:gd name="T14" fmla="*/ 17 w 62"/>
                <a:gd name="T15" fmla="*/ 29 h 34"/>
                <a:gd name="T16" fmla="*/ 22 w 62"/>
                <a:gd name="T17" fmla="*/ 29 h 34"/>
                <a:gd name="T18" fmla="*/ 26 w 62"/>
                <a:gd name="T19" fmla="*/ 31 h 34"/>
                <a:gd name="T20" fmla="*/ 31 w 62"/>
                <a:gd name="T21" fmla="*/ 30 h 34"/>
                <a:gd name="T22" fmla="*/ 32 w 62"/>
                <a:gd name="T23" fmla="*/ 32 h 34"/>
                <a:gd name="T24" fmla="*/ 34 w 62"/>
                <a:gd name="T25" fmla="*/ 32 h 34"/>
                <a:gd name="T26" fmla="*/ 34 w 62"/>
                <a:gd name="T27" fmla="*/ 33 h 34"/>
                <a:gd name="T28" fmla="*/ 41 w 62"/>
                <a:gd name="T29" fmla="*/ 32 h 34"/>
                <a:gd name="T30" fmla="*/ 46 w 62"/>
                <a:gd name="T31" fmla="*/ 32 h 34"/>
                <a:gd name="T32" fmla="*/ 49 w 62"/>
                <a:gd name="T33" fmla="*/ 28 h 34"/>
                <a:gd name="T34" fmla="*/ 52 w 62"/>
                <a:gd name="T35" fmla="*/ 27 h 34"/>
                <a:gd name="T36" fmla="*/ 56 w 62"/>
                <a:gd name="T37" fmla="*/ 30 h 34"/>
                <a:gd name="T38" fmla="*/ 61 w 62"/>
                <a:gd name="T39" fmla="*/ 32 h 34"/>
                <a:gd name="T40" fmla="*/ 59 w 62"/>
                <a:gd name="T41" fmla="*/ 28 h 34"/>
                <a:gd name="T42" fmla="*/ 62 w 62"/>
                <a:gd name="T43" fmla="*/ 25 h 34"/>
                <a:gd name="T44" fmla="*/ 59 w 62"/>
                <a:gd name="T45" fmla="*/ 21 h 34"/>
                <a:gd name="T46" fmla="*/ 54 w 62"/>
                <a:gd name="T47" fmla="*/ 21 h 34"/>
                <a:gd name="T48" fmla="*/ 54 w 62"/>
                <a:gd name="T49" fmla="*/ 17 h 34"/>
                <a:gd name="T50" fmla="*/ 50 w 62"/>
                <a:gd name="T51" fmla="*/ 15 h 34"/>
                <a:gd name="T52" fmla="*/ 47 w 62"/>
                <a:gd name="T53" fmla="*/ 11 h 34"/>
                <a:gd name="T54" fmla="*/ 42 w 62"/>
                <a:gd name="T55" fmla="*/ 10 h 34"/>
                <a:gd name="T56" fmla="*/ 39 w 62"/>
                <a:gd name="T57" fmla="*/ 11 h 34"/>
                <a:gd name="T58" fmla="*/ 32 w 62"/>
                <a:gd name="T59" fmla="*/ 12 h 34"/>
                <a:gd name="T60" fmla="*/ 25 w 62"/>
                <a:gd name="T61" fmla="*/ 7 h 34"/>
                <a:gd name="T62" fmla="*/ 21 w 62"/>
                <a:gd name="T63" fmla="*/ 4 h 34"/>
                <a:gd name="T64" fmla="*/ 14 w 62"/>
                <a:gd name="T65" fmla="*/ 4 h 34"/>
                <a:gd name="T66" fmla="*/ 8 w 62"/>
                <a:gd name="T67" fmla="*/ 2 h 34"/>
                <a:gd name="T68" fmla="*/ 2 w 62"/>
                <a:gd name="T69" fmla="*/ 2 h 34"/>
                <a:gd name="T70" fmla="*/ 0 w 62"/>
                <a:gd name="T71"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34">
                  <a:moveTo>
                    <a:pt x="0" y="8"/>
                  </a:moveTo>
                  <a:cubicBezTo>
                    <a:pt x="1" y="8"/>
                    <a:pt x="2" y="9"/>
                    <a:pt x="2" y="10"/>
                  </a:cubicBezTo>
                  <a:cubicBezTo>
                    <a:pt x="3" y="10"/>
                    <a:pt x="4" y="9"/>
                    <a:pt x="5" y="10"/>
                  </a:cubicBezTo>
                  <a:cubicBezTo>
                    <a:pt x="5" y="10"/>
                    <a:pt x="6" y="12"/>
                    <a:pt x="7" y="12"/>
                  </a:cubicBezTo>
                  <a:cubicBezTo>
                    <a:pt x="8" y="13"/>
                    <a:pt x="12" y="15"/>
                    <a:pt x="12" y="16"/>
                  </a:cubicBezTo>
                  <a:cubicBezTo>
                    <a:pt x="13" y="17"/>
                    <a:pt x="15" y="24"/>
                    <a:pt x="14" y="27"/>
                  </a:cubicBezTo>
                  <a:cubicBezTo>
                    <a:pt x="14" y="28"/>
                    <a:pt x="14" y="28"/>
                    <a:pt x="14" y="28"/>
                  </a:cubicBezTo>
                  <a:cubicBezTo>
                    <a:pt x="14" y="28"/>
                    <a:pt x="15" y="30"/>
                    <a:pt x="17" y="29"/>
                  </a:cubicBezTo>
                  <a:cubicBezTo>
                    <a:pt x="19" y="28"/>
                    <a:pt x="20" y="29"/>
                    <a:pt x="22" y="29"/>
                  </a:cubicBezTo>
                  <a:cubicBezTo>
                    <a:pt x="24" y="29"/>
                    <a:pt x="26" y="31"/>
                    <a:pt x="26" y="31"/>
                  </a:cubicBezTo>
                  <a:cubicBezTo>
                    <a:pt x="26" y="31"/>
                    <a:pt x="28" y="31"/>
                    <a:pt x="31" y="30"/>
                  </a:cubicBezTo>
                  <a:cubicBezTo>
                    <a:pt x="33" y="29"/>
                    <a:pt x="32" y="32"/>
                    <a:pt x="32" y="32"/>
                  </a:cubicBezTo>
                  <a:cubicBezTo>
                    <a:pt x="34" y="32"/>
                    <a:pt x="34" y="32"/>
                    <a:pt x="34" y="32"/>
                  </a:cubicBezTo>
                  <a:cubicBezTo>
                    <a:pt x="34" y="33"/>
                    <a:pt x="34" y="33"/>
                    <a:pt x="34" y="33"/>
                  </a:cubicBezTo>
                  <a:cubicBezTo>
                    <a:pt x="34" y="33"/>
                    <a:pt x="39" y="32"/>
                    <a:pt x="41" y="32"/>
                  </a:cubicBezTo>
                  <a:cubicBezTo>
                    <a:pt x="42" y="32"/>
                    <a:pt x="46" y="32"/>
                    <a:pt x="46" y="32"/>
                  </a:cubicBezTo>
                  <a:cubicBezTo>
                    <a:pt x="46" y="32"/>
                    <a:pt x="48" y="30"/>
                    <a:pt x="49" y="28"/>
                  </a:cubicBezTo>
                  <a:cubicBezTo>
                    <a:pt x="50" y="26"/>
                    <a:pt x="50" y="27"/>
                    <a:pt x="52" y="27"/>
                  </a:cubicBezTo>
                  <a:cubicBezTo>
                    <a:pt x="55" y="27"/>
                    <a:pt x="56" y="30"/>
                    <a:pt x="56" y="30"/>
                  </a:cubicBezTo>
                  <a:cubicBezTo>
                    <a:pt x="56" y="30"/>
                    <a:pt x="60" y="34"/>
                    <a:pt x="61" y="32"/>
                  </a:cubicBezTo>
                  <a:cubicBezTo>
                    <a:pt x="62" y="31"/>
                    <a:pt x="61" y="29"/>
                    <a:pt x="59" y="28"/>
                  </a:cubicBezTo>
                  <a:cubicBezTo>
                    <a:pt x="58" y="26"/>
                    <a:pt x="62" y="25"/>
                    <a:pt x="62" y="25"/>
                  </a:cubicBezTo>
                  <a:cubicBezTo>
                    <a:pt x="62" y="25"/>
                    <a:pt x="60" y="23"/>
                    <a:pt x="59" y="21"/>
                  </a:cubicBezTo>
                  <a:cubicBezTo>
                    <a:pt x="58" y="20"/>
                    <a:pt x="56" y="21"/>
                    <a:pt x="54" y="21"/>
                  </a:cubicBezTo>
                  <a:cubicBezTo>
                    <a:pt x="52" y="20"/>
                    <a:pt x="55" y="17"/>
                    <a:pt x="54" y="17"/>
                  </a:cubicBezTo>
                  <a:cubicBezTo>
                    <a:pt x="52" y="16"/>
                    <a:pt x="52" y="16"/>
                    <a:pt x="50" y="15"/>
                  </a:cubicBezTo>
                  <a:cubicBezTo>
                    <a:pt x="48" y="14"/>
                    <a:pt x="48" y="12"/>
                    <a:pt x="47" y="11"/>
                  </a:cubicBezTo>
                  <a:cubicBezTo>
                    <a:pt x="46" y="9"/>
                    <a:pt x="45" y="9"/>
                    <a:pt x="42" y="10"/>
                  </a:cubicBezTo>
                  <a:cubicBezTo>
                    <a:pt x="40" y="11"/>
                    <a:pt x="40" y="13"/>
                    <a:pt x="39" y="11"/>
                  </a:cubicBezTo>
                  <a:cubicBezTo>
                    <a:pt x="37" y="9"/>
                    <a:pt x="35" y="12"/>
                    <a:pt x="32" y="12"/>
                  </a:cubicBezTo>
                  <a:cubicBezTo>
                    <a:pt x="29" y="12"/>
                    <a:pt x="28" y="8"/>
                    <a:pt x="25" y="7"/>
                  </a:cubicBezTo>
                  <a:cubicBezTo>
                    <a:pt x="23" y="5"/>
                    <a:pt x="23" y="4"/>
                    <a:pt x="21" y="4"/>
                  </a:cubicBezTo>
                  <a:cubicBezTo>
                    <a:pt x="19" y="4"/>
                    <a:pt x="17" y="5"/>
                    <a:pt x="14" y="4"/>
                  </a:cubicBezTo>
                  <a:cubicBezTo>
                    <a:pt x="11" y="3"/>
                    <a:pt x="9" y="3"/>
                    <a:pt x="8" y="2"/>
                  </a:cubicBezTo>
                  <a:cubicBezTo>
                    <a:pt x="7" y="0"/>
                    <a:pt x="4" y="1"/>
                    <a:pt x="2" y="2"/>
                  </a:cubicBezTo>
                  <a:cubicBezTo>
                    <a:pt x="0" y="3"/>
                    <a:pt x="0" y="8"/>
                    <a:pt x="0" y="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97" name="Freeform 238">
              <a:extLst>
                <a:ext uri="{FF2B5EF4-FFF2-40B4-BE49-F238E27FC236}">
                  <a16:creationId xmlns:a16="http://schemas.microsoft.com/office/drawing/2014/main" id="{A4328A7E-6DBB-C451-828F-FB4672FDD373}"/>
                </a:ext>
              </a:extLst>
            </p:cNvPr>
            <p:cNvSpPr>
              <a:spLocks/>
            </p:cNvSpPr>
            <p:nvPr/>
          </p:nvSpPr>
          <p:spPr bwMode="auto">
            <a:xfrm>
              <a:off x="5460291" y="3703901"/>
              <a:ext cx="98803" cy="35928"/>
            </a:xfrm>
            <a:custGeom>
              <a:avLst/>
              <a:gdLst>
                <a:gd name="T0" fmla="*/ 0 w 28"/>
                <a:gd name="T1" fmla="*/ 10 h 10"/>
                <a:gd name="T2" fmla="*/ 7 w 28"/>
                <a:gd name="T3" fmla="*/ 9 h 10"/>
                <a:gd name="T4" fmla="*/ 11 w 28"/>
                <a:gd name="T5" fmla="*/ 7 h 10"/>
                <a:gd name="T6" fmla="*/ 24 w 28"/>
                <a:gd name="T7" fmla="*/ 7 h 10"/>
                <a:gd name="T8" fmla="*/ 28 w 28"/>
                <a:gd name="T9" fmla="*/ 3 h 10"/>
                <a:gd name="T10" fmla="*/ 25 w 28"/>
                <a:gd name="T11" fmla="*/ 1 h 10"/>
                <a:gd name="T12" fmla="*/ 19 w 28"/>
                <a:gd name="T13" fmla="*/ 1 h 10"/>
                <a:gd name="T14" fmla="*/ 11 w 28"/>
                <a:gd name="T15" fmla="*/ 1 h 10"/>
                <a:gd name="T16" fmla="*/ 8 w 28"/>
                <a:gd name="T17" fmla="*/ 2 h 10"/>
                <a:gd name="T18" fmla="*/ 4 w 28"/>
                <a:gd name="T19" fmla="*/ 3 h 10"/>
                <a:gd name="T20" fmla="*/ 0 w 28"/>
                <a:gd name="T21" fmla="*/ 4 h 10"/>
                <a:gd name="T22" fmla="*/ 1 w 28"/>
                <a:gd name="T23" fmla="*/ 5 h 10"/>
                <a:gd name="T24" fmla="*/ 1 w 28"/>
                <a:gd name="T25" fmla="*/ 6 h 10"/>
                <a:gd name="T26" fmla="*/ 0 w 28"/>
                <a:gd name="T27" fmla="*/ 7 h 10"/>
                <a:gd name="T28" fmla="*/ 0 w 28"/>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0">
                  <a:moveTo>
                    <a:pt x="0" y="10"/>
                  </a:moveTo>
                  <a:cubicBezTo>
                    <a:pt x="7" y="9"/>
                    <a:pt x="7" y="9"/>
                    <a:pt x="7" y="9"/>
                  </a:cubicBezTo>
                  <a:cubicBezTo>
                    <a:pt x="7" y="9"/>
                    <a:pt x="8" y="7"/>
                    <a:pt x="11" y="7"/>
                  </a:cubicBezTo>
                  <a:cubicBezTo>
                    <a:pt x="14" y="7"/>
                    <a:pt x="22" y="7"/>
                    <a:pt x="24" y="7"/>
                  </a:cubicBezTo>
                  <a:cubicBezTo>
                    <a:pt x="27" y="7"/>
                    <a:pt x="28" y="6"/>
                    <a:pt x="28" y="3"/>
                  </a:cubicBezTo>
                  <a:cubicBezTo>
                    <a:pt x="28" y="0"/>
                    <a:pt x="27" y="1"/>
                    <a:pt x="25" y="1"/>
                  </a:cubicBezTo>
                  <a:cubicBezTo>
                    <a:pt x="19" y="1"/>
                    <a:pt x="19" y="1"/>
                    <a:pt x="19" y="1"/>
                  </a:cubicBezTo>
                  <a:cubicBezTo>
                    <a:pt x="17" y="1"/>
                    <a:pt x="13" y="3"/>
                    <a:pt x="11" y="1"/>
                  </a:cubicBezTo>
                  <a:cubicBezTo>
                    <a:pt x="9" y="0"/>
                    <a:pt x="11" y="0"/>
                    <a:pt x="8" y="2"/>
                  </a:cubicBezTo>
                  <a:cubicBezTo>
                    <a:pt x="6" y="3"/>
                    <a:pt x="6" y="3"/>
                    <a:pt x="4" y="3"/>
                  </a:cubicBezTo>
                  <a:cubicBezTo>
                    <a:pt x="2" y="3"/>
                    <a:pt x="0" y="4"/>
                    <a:pt x="0" y="4"/>
                  </a:cubicBezTo>
                  <a:cubicBezTo>
                    <a:pt x="1" y="5"/>
                    <a:pt x="1" y="5"/>
                    <a:pt x="1" y="5"/>
                  </a:cubicBezTo>
                  <a:cubicBezTo>
                    <a:pt x="1" y="6"/>
                    <a:pt x="1" y="6"/>
                    <a:pt x="1" y="6"/>
                  </a:cubicBezTo>
                  <a:cubicBezTo>
                    <a:pt x="1" y="8"/>
                    <a:pt x="1" y="7"/>
                    <a:pt x="0" y="7"/>
                  </a:cubicBezTo>
                  <a:cubicBezTo>
                    <a:pt x="0" y="8"/>
                    <a:pt x="0" y="9"/>
                    <a:pt x="0" y="1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98" name="Freeform 239">
              <a:extLst>
                <a:ext uri="{FF2B5EF4-FFF2-40B4-BE49-F238E27FC236}">
                  <a16:creationId xmlns:a16="http://schemas.microsoft.com/office/drawing/2014/main" id="{47F8D5A2-A871-737C-4C75-D309BD8AAEA1}"/>
                </a:ext>
              </a:extLst>
            </p:cNvPr>
            <p:cNvSpPr>
              <a:spLocks/>
            </p:cNvSpPr>
            <p:nvPr/>
          </p:nvSpPr>
          <p:spPr bwMode="auto">
            <a:xfrm>
              <a:off x="5460291" y="3703901"/>
              <a:ext cx="98803" cy="35928"/>
            </a:xfrm>
            <a:custGeom>
              <a:avLst/>
              <a:gdLst>
                <a:gd name="T0" fmla="*/ 0 w 28"/>
                <a:gd name="T1" fmla="*/ 10 h 10"/>
                <a:gd name="T2" fmla="*/ 7 w 28"/>
                <a:gd name="T3" fmla="*/ 9 h 10"/>
                <a:gd name="T4" fmla="*/ 11 w 28"/>
                <a:gd name="T5" fmla="*/ 7 h 10"/>
                <a:gd name="T6" fmla="*/ 24 w 28"/>
                <a:gd name="T7" fmla="*/ 7 h 10"/>
                <a:gd name="T8" fmla="*/ 28 w 28"/>
                <a:gd name="T9" fmla="*/ 3 h 10"/>
                <a:gd name="T10" fmla="*/ 25 w 28"/>
                <a:gd name="T11" fmla="*/ 1 h 10"/>
                <a:gd name="T12" fmla="*/ 19 w 28"/>
                <a:gd name="T13" fmla="*/ 1 h 10"/>
                <a:gd name="T14" fmla="*/ 11 w 28"/>
                <a:gd name="T15" fmla="*/ 1 h 10"/>
                <a:gd name="T16" fmla="*/ 8 w 28"/>
                <a:gd name="T17" fmla="*/ 2 h 10"/>
                <a:gd name="T18" fmla="*/ 4 w 28"/>
                <a:gd name="T19" fmla="*/ 3 h 10"/>
                <a:gd name="T20" fmla="*/ 0 w 28"/>
                <a:gd name="T21" fmla="*/ 4 h 10"/>
                <a:gd name="T22" fmla="*/ 1 w 28"/>
                <a:gd name="T23" fmla="*/ 5 h 10"/>
                <a:gd name="T24" fmla="*/ 1 w 28"/>
                <a:gd name="T25" fmla="*/ 6 h 10"/>
                <a:gd name="T26" fmla="*/ 0 w 28"/>
                <a:gd name="T27" fmla="*/ 7 h 10"/>
                <a:gd name="T28" fmla="*/ 0 w 28"/>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0">
                  <a:moveTo>
                    <a:pt x="0" y="10"/>
                  </a:moveTo>
                  <a:cubicBezTo>
                    <a:pt x="7" y="9"/>
                    <a:pt x="7" y="9"/>
                    <a:pt x="7" y="9"/>
                  </a:cubicBezTo>
                  <a:cubicBezTo>
                    <a:pt x="7" y="9"/>
                    <a:pt x="8" y="7"/>
                    <a:pt x="11" y="7"/>
                  </a:cubicBezTo>
                  <a:cubicBezTo>
                    <a:pt x="14" y="7"/>
                    <a:pt x="22" y="7"/>
                    <a:pt x="24" y="7"/>
                  </a:cubicBezTo>
                  <a:cubicBezTo>
                    <a:pt x="27" y="7"/>
                    <a:pt x="28" y="6"/>
                    <a:pt x="28" y="3"/>
                  </a:cubicBezTo>
                  <a:cubicBezTo>
                    <a:pt x="28" y="0"/>
                    <a:pt x="27" y="1"/>
                    <a:pt x="25" y="1"/>
                  </a:cubicBezTo>
                  <a:cubicBezTo>
                    <a:pt x="19" y="1"/>
                    <a:pt x="19" y="1"/>
                    <a:pt x="19" y="1"/>
                  </a:cubicBezTo>
                  <a:cubicBezTo>
                    <a:pt x="17" y="1"/>
                    <a:pt x="13" y="3"/>
                    <a:pt x="11" y="1"/>
                  </a:cubicBezTo>
                  <a:cubicBezTo>
                    <a:pt x="9" y="0"/>
                    <a:pt x="11" y="0"/>
                    <a:pt x="8" y="2"/>
                  </a:cubicBezTo>
                  <a:cubicBezTo>
                    <a:pt x="6" y="3"/>
                    <a:pt x="6" y="3"/>
                    <a:pt x="4" y="3"/>
                  </a:cubicBezTo>
                  <a:cubicBezTo>
                    <a:pt x="2" y="3"/>
                    <a:pt x="0" y="4"/>
                    <a:pt x="0" y="4"/>
                  </a:cubicBezTo>
                  <a:cubicBezTo>
                    <a:pt x="1" y="5"/>
                    <a:pt x="1" y="5"/>
                    <a:pt x="1" y="5"/>
                  </a:cubicBezTo>
                  <a:cubicBezTo>
                    <a:pt x="1" y="6"/>
                    <a:pt x="1" y="6"/>
                    <a:pt x="1" y="6"/>
                  </a:cubicBezTo>
                  <a:cubicBezTo>
                    <a:pt x="1" y="8"/>
                    <a:pt x="1" y="7"/>
                    <a:pt x="0" y="7"/>
                  </a:cubicBezTo>
                  <a:cubicBezTo>
                    <a:pt x="0" y="8"/>
                    <a:pt x="0" y="9"/>
                    <a:pt x="0" y="1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399" name="Freeform 240">
              <a:extLst>
                <a:ext uri="{FF2B5EF4-FFF2-40B4-BE49-F238E27FC236}">
                  <a16:creationId xmlns:a16="http://schemas.microsoft.com/office/drawing/2014/main" id="{5F669F34-D306-EE4D-E627-18F2CBEDD818}"/>
                </a:ext>
              </a:extLst>
            </p:cNvPr>
            <p:cNvSpPr>
              <a:spLocks/>
            </p:cNvSpPr>
            <p:nvPr/>
          </p:nvSpPr>
          <p:spPr bwMode="auto">
            <a:xfrm>
              <a:off x="6234544" y="4127859"/>
              <a:ext cx="183234" cy="246111"/>
            </a:xfrm>
            <a:custGeom>
              <a:avLst/>
              <a:gdLst>
                <a:gd name="T0" fmla="*/ 20 w 52"/>
                <a:gd name="T1" fmla="*/ 70 h 70"/>
                <a:gd name="T2" fmla="*/ 23 w 52"/>
                <a:gd name="T3" fmla="*/ 65 h 70"/>
                <a:gd name="T4" fmla="*/ 28 w 52"/>
                <a:gd name="T5" fmla="*/ 67 h 70"/>
                <a:gd name="T6" fmla="*/ 30 w 52"/>
                <a:gd name="T7" fmla="*/ 63 h 70"/>
                <a:gd name="T8" fmla="*/ 28 w 52"/>
                <a:gd name="T9" fmla="*/ 56 h 70"/>
                <a:gd name="T10" fmla="*/ 28 w 52"/>
                <a:gd name="T11" fmla="*/ 54 h 70"/>
                <a:gd name="T12" fmla="*/ 34 w 52"/>
                <a:gd name="T13" fmla="*/ 52 h 70"/>
                <a:gd name="T14" fmla="*/ 34 w 52"/>
                <a:gd name="T15" fmla="*/ 48 h 70"/>
                <a:gd name="T16" fmla="*/ 37 w 52"/>
                <a:gd name="T17" fmla="*/ 51 h 70"/>
                <a:gd name="T18" fmla="*/ 43 w 52"/>
                <a:gd name="T19" fmla="*/ 50 h 70"/>
                <a:gd name="T20" fmla="*/ 47 w 52"/>
                <a:gd name="T21" fmla="*/ 55 h 70"/>
                <a:gd name="T22" fmla="*/ 50 w 52"/>
                <a:gd name="T23" fmla="*/ 50 h 70"/>
                <a:gd name="T24" fmla="*/ 48 w 52"/>
                <a:gd name="T25" fmla="*/ 45 h 70"/>
                <a:gd name="T26" fmla="*/ 48 w 52"/>
                <a:gd name="T27" fmla="*/ 40 h 70"/>
                <a:gd name="T28" fmla="*/ 47 w 52"/>
                <a:gd name="T29" fmla="*/ 36 h 70"/>
                <a:gd name="T30" fmla="*/ 47 w 52"/>
                <a:gd name="T31" fmla="*/ 31 h 70"/>
                <a:gd name="T32" fmla="*/ 43 w 52"/>
                <a:gd name="T33" fmla="*/ 27 h 70"/>
                <a:gd name="T34" fmla="*/ 45 w 52"/>
                <a:gd name="T35" fmla="*/ 26 h 70"/>
                <a:gd name="T36" fmla="*/ 44 w 52"/>
                <a:gd name="T37" fmla="*/ 21 h 70"/>
                <a:gd name="T38" fmla="*/ 47 w 52"/>
                <a:gd name="T39" fmla="*/ 19 h 70"/>
                <a:gd name="T40" fmla="*/ 52 w 52"/>
                <a:gd name="T41" fmla="*/ 19 h 70"/>
                <a:gd name="T42" fmla="*/ 52 w 52"/>
                <a:gd name="T43" fmla="*/ 12 h 70"/>
                <a:gd name="T44" fmla="*/ 47 w 52"/>
                <a:gd name="T45" fmla="*/ 11 h 70"/>
                <a:gd name="T46" fmla="*/ 42 w 52"/>
                <a:gd name="T47" fmla="*/ 11 h 70"/>
                <a:gd name="T48" fmla="*/ 41 w 52"/>
                <a:gd name="T49" fmla="*/ 8 h 70"/>
                <a:gd name="T50" fmla="*/ 41 w 52"/>
                <a:gd name="T51" fmla="*/ 1 h 70"/>
                <a:gd name="T52" fmla="*/ 35 w 52"/>
                <a:gd name="T53" fmla="*/ 1 h 70"/>
                <a:gd name="T54" fmla="*/ 30 w 52"/>
                <a:gd name="T55" fmla="*/ 2 h 70"/>
                <a:gd name="T56" fmla="*/ 25 w 52"/>
                <a:gd name="T57" fmla="*/ 3 h 70"/>
                <a:gd name="T58" fmla="*/ 24 w 52"/>
                <a:gd name="T59" fmla="*/ 15 h 70"/>
                <a:gd name="T60" fmla="*/ 7 w 52"/>
                <a:gd name="T61" fmla="*/ 14 h 70"/>
                <a:gd name="T62" fmla="*/ 6 w 52"/>
                <a:gd name="T63" fmla="*/ 16 h 70"/>
                <a:gd name="T64" fmla="*/ 6 w 52"/>
                <a:gd name="T65" fmla="*/ 19 h 70"/>
                <a:gd name="T66" fmla="*/ 8 w 52"/>
                <a:gd name="T67" fmla="*/ 21 h 70"/>
                <a:gd name="T68" fmla="*/ 8 w 52"/>
                <a:gd name="T69" fmla="*/ 26 h 70"/>
                <a:gd name="T70" fmla="*/ 4 w 52"/>
                <a:gd name="T71" fmla="*/ 26 h 70"/>
                <a:gd name="T72" fmla="*/ 5 w 52"/>
                <a:gd name="T73" fmla="*/ 28 h 70"/>
                <a:gd name="T74" fmla="*/ 4 w 52"/>
                <a:gd name="T75" fmla="*/ 30 h 70"/>
                <a:gd name="T76" fmla="*/ 6 w 52"/>
                <a:gd name="T77" fmla="*/ 32 h 70"/>
                <a:gd name="T78" fmla="*/ 3 w 52"/>
                <a:gd name="T79" fmla="*/ 40 h 70"/>
                <a:gd name="T80" fmla="*/ 0 w 52"/>
                <a:gd name="T81" fmla="*/ 40 h 70"/>
                <a:gd name="T82" fmla="*/ 0 w 52"/>
                <a:gd name="T83" fmla="*/ 43 h 70"/>
                <a:gd name="T84" fmla="*/ 3 w 52"/>
                <a:gd name="T85" fmla="*/ 43 h 70"/>
                <a:gd name="T86" fmla="*/ 3 w 52"/>
                <a:gd name="T87" fmla="*/ 47 h 70"/>
                <a:gd name="T88" fmla="*/ 6 w 52"/>
                <a:gd name="T89" fmla="*/ 47 h 70"/>
                <a:gd name="T90" fmla="*/ 6 w 52"/>
                <a:gd name="T91" fmla="*/ 49 h 70"/>
                <a:gd name="T92" fmla="*/ 8 w 52"/>
                <a:gd name="T93" fmla="*/ 50 h 70"/>
                <a:gd name="T94" fmla="*/ 4 w 52"/>
                <a:gd name="T95" fmla="*/ 50 h 70"/>
                <a:gd name="T96" fmla="*/ 4 w 52"/>
                <a:gd name="T97" fmla="*/ 52 h 70"/>
                <a:gd name="T98" fmla="*/ 18 w 52"/>
                <a:gd name="T99" fmla="*/ 64 h 70"/>
                <a:gd name="T100" fmla="*/ 18 w 52"/>
                <a:gd name="T101" fmla="*/ 69 h 70"/>
                <a:gd name="T102" fmla="*/ 20 w 52"/>
                <a:gd name="T10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70">
                  <a:moveTo>
                    <a:pt x="20" y="70"/>
                  </a:moveTo>
                  <a:cubicBezTo>
                    <a:pt x="20" y="70"/>
                    <a:pt x="21" y="65"/>
                    <a:pt x="23" y="65"/>
                  </a:cubicBezTo>
                  <a:cubicBezTo>
                    <a:pt x="25" y="65"/>
                    <a:pt x="25" y="66"/>
                    <a:pt x="28" y="67"/>
                  </a:cubicBezTo>
                  <a:cubicBezTo>
                    <a:pt x="31" y="68"/>
                    <a:pt x="30" y="66"/>
                    <a:pt x="30" y="63"/>
                  </a:cubicBezTo>
                  <a:cubicBezTo>
                    <a:pt x="29" y="60"/>
                    <a:pt x="26" y="58"/>
                    <a:pt x="28" y="56"/>
                  </a:cubicBezTo>
                  <a:cubicBezTo>
                    <a:pt x="29" y="55"/>
                    <a:pt x="30" y="57"/>
                    <a:pt x="28" y="54"/>
                  </a:cubicBezTo>
                  <a:cubicBezTo>
                    <a:pt x="27" y="50"/>
                    <a:pt x="32" y="53"/>
                    <a:pt x="34" y="52"/>
                  </a:cubicBezTo>
                  <a:cubicBezTo>
                    <a:pt x="36" y="51"/>
                    <a:pt x="32" y="48"/>
                    <a:pt x="34" y="48"/>
                  </a:cubicBezTo>
                  <a:cubicBezTo>
                    <a:pt x="37" y="49"/>
                    <a:pt x="37" y="51"/>
                    <a:pt x="37" y="51"/>
                  </a:cubicBezTo>
                  <a:cubicBezTo>
                    <a:pt x="37" y="51"/>
                    <a:pt x="41" y="49"/>
                    <a:pt x="43" y="50"/>
                  </a:cubicBezTo>
                  <a:cubicBezTo>
                    <a:pt x="45" y="50"/>
                    <a:pt x="45" y="53"/>
                    <a:pt x="47" y="55"/>
                  </a:cubicBezTo>
                  <a:cubicBezTo>
                    <a:pt x="49" y="56"/>
                    <a:pt x="49" y="55"/>
                    <a:pt x="50" y="50"/>
                  </a:cubicBezTo>
                  <a:cubicBezTo>
                    <a:pt x="51" y="46"/>
                    <a:pt x="50" y="46"/>
                    <a:pt x="48" y="45"/>
                  </a:cubicBezTo>
                  <a:cubicBezTo>
                    <a:pt x="46" y="44"/>
                    <a:pt x="50" y="42"/>
                    <a:pt x="48" y="40"/>
                  </a:cubicBezTo>
                  <a:cubicBezTo>
                    <a:pt x="47" y="38"/>
                    <a:pt x="46" y="39"/>
                    <a:pt x="47" y="36"/>
                  </a:cubicBezTo>
                  <a:cubicBezTo>
                    <a:pt x="48" y="33"/>
                    <a:pt x="47" y="32"/>
                    <a:pt x="47" y="31"/>
                  </a:cubicBezTo>
                  <a:cubicBezTo>
                    <a:pt x="47" y="30"/>
                    <a:pt x="45" y="28"/>
                    <a:pt x="43" y="27"/>
                  </a:cubicBezTo>
                  <a:cubicBezTo>
                    <a:pt x="42" y="26"/>
                    <a:pt x="45" y="26"/>
                    <a:pt x="45" y="26"/>
                  </a:cubicBezTo>
                  <a:cubicBezTo>
                    <a:pt x="45" y="26"/>
                    <a:pt x="44" y="23"/>
                    <a:pt x="44" y="21"/>
                  </a:cubicBezTo>
                  <a:cubicBezTo>
                    <a:pt x="44" y="19"/>
                    <a:pt x="45" y="19"/>
                    <a:pt x="47" y="19"/>
                  </a:cubicBezTo>
                  <a:cubicBezTo>
                    <a:pt x="50" y="18"/>
                    <a:pt x="52" y="19"/>
                    <a:pt x="52" y="19"/>
                  </a:cubicBezTo>
                  <a:cubicBezTo>
                    <a:pt x="52" y="12"/>
                    <a:pt x="52" y="12"/>
                    <a:pt x="52" y="12"/>
                  </a:cubicBezTo>
                  <a:cubicBezTo>
                    <a:pt x="52" y="12"/>
                    <a:pt x="49" y="11"/>
                    <a:pt x="47" y="11"/>
                  </a:cubicBezTo>
                  <a:cubicBezTo>
                    <a:pt x="45" y="11"/>
                    <a:pt x="44" y="10"/>
                    <a:pt x="42" y="11"/>
                  </a:cubicBezTo>
                  <a:cubicBezTo>
                    <a:pt x="40" y="12"/>
                    <a:pt x="42" y="9"/>
                    <a:pt x="41" y="8"/>
                  </a:cubicBezTo>
                  <a:cubicBezTo>
                    <a:pt x="41" y="6"/>
                    <a:pt x="41" y="1"/>
                    <a:pt x="41" y="1"/>
                  </a:cubicBezTo>
                  <a:cubicBezTo>
                    <a:pt x="41" y="1"/>
                    <a:pt x="38" y="0"/>
                    <a:pt x="35" y="1"/>
                  </a:cubicBezTo>
                  <a:cubicBezTo>
                    <a:pt x="32" y="3"/>
                    <a:pt x="31" y="1"/>
                    <a:pt x="30" y="2"/>
                  </a:cubicBezTo>
                  <a:cubicBezTo>
                    <a:pt x="28" y="3"/>
                    <a:pt x="25" y="3"/>
                    <a:pt x="25" y="3"/>
                  </a:cubicBezTo>
                  <a:cubicBezTo>
                    <a:pt x="24" y="15"/>
                    <a:pt x="24" y="15"/>
                    <a:pt x="24" y="15"/>
                  </a:cubicBezTo>
                  <a:cubicBezTo>
                    <a:pt x="7" y="14"/>
                    <a:pt x="7" y="14"/>
                    <a:pt x="7" y="14"/>
                  </a:cubicBezTo>
                  <a:cubicBezTo>
                    <a:pt x="7" y="15"/>
                    <a:pt x="6" y="15"/>
                    <a:pt x="6" y="16"/>
                  </a:cubicBezTo>
                  <a:cubicBezTo>
                    <a:pt x="7" y="17"/>
                    <a:pt x="5" y="18"/>
                    <a:pt x="6" y="19"/>
                  </a:cubicBezTo>
                  <a:cubicBezTo>
                    <a:pt x="6" y="19"/>
                    <a:pt x="8" y="21"/>
                    <a:pt x="8" y="21"/>
                  </a:cubicBezTo>
                  <a:cubicBezTo>
                    <a:pt x="8" y="23"/>
                    <a:pt x="8" y="24"/>
                    <a:pt x="8" y="26"/>
                  </a:cubicBezTo>
                  <a:cubicBezTo>
                    <a:pt x="7" y="26"/>
                    <a:pt x="5" y="25"/>
                    <a:pt x="4" y="26"/>
                  </a:cubicBezTo>
                  <a:cubicBezTo>
                    <a:pt x="4" y="26"/>
                    <a:pt x="5" y="27"/>
                    <a:pt x="5" y="28"/>
                  </a:cubicBezTo>
                  <a:cubicBezTo>
                    <a:pt x="7" y="27"/>
                    <a:pt x="8" y="29"/>
                    <a:pt x="4" y="30"/>
                  </a:cubicBezTo>
                  <a:cubicBezTo>
                    <a:pt x="4" y="30"/>
                    <a:pt x="6" y="31"/>
                    <a:pt x="6" y="32"/>
                  </a:cubicBezTo>
                  <a:cubicBezTo>
                    <a:pt x="6" y="33"/>
                    <a:pt x="4" y="38"/>
                    <a:pt x="3" y="40"/>
                  </a:cubicBezTo>
                  <a:cubicBezTo>
                    <a:pt x="2" y="40"/>
                    <a:pt x="1" y="40"/>
                    <a:pt x="0" y="40"/>
                  </a:cubicBezTo>
                  <a:cubicBezTo>
                    <a:pt x="0" y="40"/>
                    <a:pt x="1" y="42"/>
                    <a:pt x="0" y="43"/>
                  </a:cubicBezTo>
                  <a:cubicBezTo>
                    <a:pt x="1" y="43"/>
                    <a:pt x="1" y="43"/>
                    <a:pt x="3" y="43"/>
                  </a:cubicBezTo>
                  <a:cubicBezTo>
                    <a:pt x="3" y="45"/>
                    <a:pt x="2" y="46"/>
                    <a:pt x="3" y="47"/>
                  </a:cubicBezTo>
                  <a:cubicBezTo>
                    <a:pt x="3" y="47"/>
                    <a:pt x="6" y="47"/>
                    <a:pt x="6" y="47"/>
                  </a:cubicBezTo>
                  <a:cubicBezTo>
                    <a:pt x="6" y="47"/>
                    <a:pt x="6" y="48"/>
                    <a:pt x="6" y="49"/>
                  </a:cubicBezTo>
                  <a:cubicBezTo>
                    <a:pt x="8" y="48"/>
                    <a:pt x="7" y="50"/>
                    <a:pt x="8" y="50"/>
                  </a:cubicBezTo>
                  <a:cubicBezTo>
                    <a:pt x="7" y="50"/>
                    <a:pt x="5" y="50"/>
                    <a:pt x="4" y="50"/>
                  </a:cubicBezTo>
                  <a:cubicBezTo>
                    <a:pt x="4" y="50"/>
                    <a:pt x="4" y="52"/>
                    <a:pt x="4" y="52"/>
                  </a:cubicBezTo>
                  <a:cubicBezTo>
                    <a:pt x="5" y="53"/>
                    <a:pt x="18" y="64"/>
                    <a:pt x="18" y="64"/>
                  </a:cubicBezTo>
                  <a:cubicBezTo>
                    <a:pt x="19" y="66"/>
                    <a:pt x="17" y="67"/>
                    <a:pt x="18" y="69"/>
                  </a:cubicBezTo>
                  <a:cubicBezTo>
                    <a:pt x="19" y="70"/>
                    <a:pt x="19" y="70"/>
                    <a:pt x="20" y="7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00" name="Freeform 241">
              <a:extLst>
                <a:ext uri="{FF2B5EF4-FFF2-40B4-BE49-F238E27FC236}">
                  <a16:creationId xmlns:a16="http://schemas.microsoft.com/office/drawing/2014/main" id="{539AB212-A926-B02B-F83F-B4A503CCD953}"/>
                </a:ext>
              </a:extLst>
            </p:cNvPr>
            <p:cNvSpPr>
              <a:spLocks/>
            </p:cNvSpPr>
            <p:nvPr/>
          </p:nvSpPr>
          <p:spPr bwMode="auto">
            <a:xfrm>
              <a:off x="6234544" y="4127859"/>
              <a:ext cx="183234" cy="246111"/>
            </a:xfrm>
            <a:custGeom>
              <a:avLst/>
              <a:gdLst>
                <a:gd name="T0" fmla="*/ 20 w 52"/>
                <a:gd name="T1" fmla="*/ 70 h 70"/>
                <a:gd name="T2" fmla="*/ 23 w 52"/>
                <a:gd name="T3" fmla="*/ 65 h 70"/>
                <a:gd name="T4" fmla="*/ 28 w 52"/>
                <a:gd name="T5" fmla="*/ 67 h 70"/>
                <a:gd name="T6" fmla="*/ 30 w 52"/>
                <a:gd name="T7" fmla="*/ 63 h 70"/>
                <a:gd name="T8" fmla="*/ 28 w 52"/>
                <a:gd name="T9" fmla="*/ 56 h 70"/>
                <a:gd name="T10" fmla="*/ 28 w 52"/>
                <a:gd name="T11" fmla="*/ 54 h 70"/>
                <a:gd name="T12" fmla="*/ 34 w 52"/>
                <a:gd name="T13" fmla="*/ 52 h 70"/>
                <a:gd name="T14" fmla="*/ 34 w 52"/>
                <a:gd name="T15" fmla="*/ 48 h 70"/>
                <a:gd name="T16" fmla="*/ 37 w 52"/>
                <a:gd name="T17" fmla="*/ 51 h 70"/>
                <a:gd name="T18" fmla="*/ 43 w 52"/>
                <a:gd name="T19" fmla="*/ 50 h 70"/>
                <a:gd name="T20" fmla="*/ 47 w 52"/>
                <a:gd name="T21" fmla="*/ 55 h 70"/>
                <a:gd name="T22" fmla="*/ 50 w 52"/>
                <a:gd name="T23" fmla="*/ 50 h 70"/>
                <a:gd name="T24" fmla="*/ 48 w 52"/>
                <a:gd name="T25" fmla="*/ 45 h 70"/>
                <a:gd name="T26" fmla="*/ 48 w 52"/>
                <a:gd name="T27" fmla="*/ 40 h 70"/>
                <a:gd name="T28" fmla="*/ 47 w 52"/>
                <a:gd name="T29" fmla="*/ 36 h 70"/>
                <a:gd name="T30" fmla="*/ 47 w 52"/>
                <a:gd name="T31" fmla="*/ 31 h 70"/>
                <a:gd name="T32" fmla="*/ 43 w 52"/>
                <a:gd name="T33" fmla="*/ 27 h 70"/>
                <a:gd name="T34" fmla="*/ 45 w 52"/>
                <a:gd name="T35" fmla="*/ 26 h 70"/>
                <a:gd name="T36" fmla="*/ 44 w 52"/>
                <a:gd name="T37" fmla="*/ 21 h 70"/>
                <a:gd name="T38" fmla="*/ 47 w 52"/>
                <a:gd name="T39" fmla="*/ 19 h 70"/>
                <a:gd name="T40" fmla="*/ 52 w 52"/>
                <a:gd name="T41" fmla="*/ 19 h 70"/>
                <a:gd name="T42" fmla="*/ 52 w 52"/>
                <a:gd name="T43" fmla="*/ 12 h 70"/>
                <a:gd name="T44" fmla="*/ 47 w 52"/>
                <a:gd name="T45" fmla="*/ 11 h 70"/>
                <a:gd name="T46" fmla="*/ 42 w 52"/>
                <a:gd name="T47" fmla="*/ 11 h 70"/>
                <a:gd name="T48" fmla="*/ 41 w 52"/>
                <a:gd name="T49" fmla="*/ 8 h 70"/>
                <a:gd name="T50" fmla="*/ 41 w 52"/>
                <a:gd name="T51" fmla="*/ 1 h 70"/>
                <a:gd name="T52" fmla="*/ 35 w 52"/>
                <a:gd name="T53" fmla="*/ 1 h 70"/>
                <a:gd name="T54" fmla="*/ 30 w 52"/>
                <a:gd name="T55" fmla="*/ 2 h 70"/>
                <a:gd name="T56" fmla="*/ 25 w 52"/>
                <a:gd name="T57" fmla="*/ 3 h 70"/>
                <a:gd name="T58" fmla="*/ 24 w 52"/>
                <a:gd name="T59" fmla="*/ 15 h 70"/>
                <a:gd name="T60" fmla="*/ 7 w 52"/>
                <a:gd name="T61" fmla="*/ 14 h 70"/>
                <a:gd name="T62" fmla="*/ 6 w 52"/>
                <a:gd name="T63" fmla="*/ 16 h 70"/>
                <a:gd name="T64" fmla="*/ 6 w 52"/>
                <a:gd name="T65" fmla="*/ 19 h 70"/>
                <a:gd name="T66" fmla="*/ 8 w 52"/>
                <a:gd name="T67" fmla="*/ 21 h 70"/>
                <a:gd name="T68" fmla="*/ 8 w 52"/>
                <a:gd name="T69" fmla="*/ 26 h 70"/>
                <a:gd name="T70" fmla="*/ 4 w 52"/>
                <a:gd name="T71" fmla="*/ 26 h 70"/>
                <a:gd name="T72" fmla="*/ 5 w 52"/>
                <a:gd name="T73" fmla="*/ 28 h 70"/>
                <a:gd name="T74" fmla="*/ 4 w 52"/>
                <a:gd name="T75" fmla="*/ 30 h 70"/>
                <a:gd name="T76" fmla="*/ 6 w 52"/>
                <a:gd name="T77" fmla="*/ 32 h 70"/>
                <a:gd name="T78" fmla="*/ 3 w 52"/>
                <a:gd name="T79" fmla="*/ 40 h 70"/>
                <a:gd name="T80" fmla="*/ 0 w 52"/>
                <a:gd name="T81" fmla="*/ 40 h 70"/>
                <a:gd name="T82" fmla="*/ 0 w 52"/>
                <a:gd name="T83" fmla="*/ 43 h 70"/>
                <a:gd name="T84" fmla="*/ 3 w 52"/>
                <a:gd name="T85" fmla="*/ 43 h 70"/>
                <a:gd name="T86" fmla="*/ 3 w 52"/>
                <a:gd name="T87" fmla="*/ 47 h 70"/>
                <a:gd name="T88" fmla="*/ 6 w 52"/>
                <a:gd name="T89" fmla="*/ 47 h 70"/>
                <a:gd name="T90" fmla="*/ 6 w 52"/>
                <a:gd name="T91" fmla="*/ 49 h 70"/>
                <a:gd name="T92" fmla="*/ 8 w 52"/>
                <a:gd name="T93" fmla="*/ 50 h 70"/>
                <a:gd name="T94" fmla="*/ 4 w 52"/>
                <a:gd name="T95" fmla="*/ 50 h 70"/>
                <a:gd name="T96" fmla="*/ 4 w 52"/>
                <a:gd name="T97" fmla="*/ 52 h 70"/>
                <a:gd name="T98" fmla="*/ 18 w 52"/>
                <a:gd name="T99" fmla="*/ 64 h 70"/>
                <a:gd name="T100" fmla="*/ 18 w 52"/>
                <a:gd name="T101" fmla="*/ 69 h 70"/>
                <a:gd name="T102" fmla="*/ 20 w 52"/>
                <a:gd name="T10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70">
                  <a:moveTo>
                    <a:pt x="20" y="70"/>
                  </a:moveTo>
                  <a:cubicBezTo>
                    <a:pt x="20" y="70"/>
                    <a:pt x="21" y="65"/>
                    <a:pt x="23" y="65"/>
                  </a:cubicBezTo>
                  <a:cubicBezTo>
                    <a:pt x="25" y="65"/>
                    <a:pt x="25" y="66"/>
                    <a:pt x="28" y="67"/>
                  </a:cubicBezTo>
                  <a:cubicBezTo>
                    <a:pt x="31" y="68"/>
                    <a:pt x="30" y="66"/>
                    <a:pt x="30" y="63"/>
                  </a:cubicBezTo>
                  <a:cubicBezTo>
                    <a:pt x="29" y="60"/>
                    <a:pt x="26" y="58"/>
                    <a:pt x="28" y="56"/>
                  </a:cubicBezTo>
                  <a:cubicBezTo>
                    <a:pt x="29" y="55"/>
                    <a:pt x="30" y="57"/>
                    <a:pt x="28" y="54"/>
                  </a:cubicBezTo>
                  <a:cubicBezTo>
                    <a:pt x="27" y="50"/>
                    <a:pt x="32" y="53"/>
                    <a:pt x="34" y="52"/>
                  </a:cubicBezTo>
                  <a:cubicBezTo>
                    <a:pt x="36" y="51"/>
                    <a:pt x="32" y="48"/>
                    <a:pt x="34" y="48"/>
                  </a:cubicBezTo>
                  <a:cubicBezTo>
                    <a:pt x="37" y="49"/>
                    <a:pt x="37" y="51"/>
                    <a:pt x="37" y="51"/>
                  </a:cubicBezTo>
                  <a:cubicBezTo>
                    <a:pt x="37" y="51"/>
                    <a:pt x="41" y="49"/>
                    <a:pt x="43" y="50"/>
                  </a:cubicBezTo>
                  <a:cubicBezTo>
                    <a:pt x="45" y="50"/>
                    <a:pt x="45" y="53"/>
                    <a:pt x="47" y="55"/>
                  </a:cubicBezTo>
                  <a:cubicBezTo>
                    <a:pt x="49" y="56"/>
                    <a:pt x="49" y="55"/>
                    <a:pt x="50" y="50"/>
                  </a:cubicBezTo>
                  <a:cubicBezTo>
                    <a:pt x="51" y="46"/>
                    <a:pt x="50" y="46"/>
                    <a:pt x="48" y="45"/>
                  </a:cubicBezTo>
                  <a:cubicBezTo>
                    <a:pt x="46" y="44"/>
                    <a:pt x="50" y="42"/>
                    <a:pt x="48" y="40"/>
                  </a:cubicBezTo>
                  <a:cubicBezTo>
                    <a:pt x="47" y="38"/>
                    <a:pt x="46" y="39"/>
                    <a:pt x="47" y="36"/>
                  </a:cubicBezTo>
                  <a:cubicBezTo>
                    <a:pt x="48" y="33"/>
                    <a:pt x="47" y="32"/>
                    <a:pt x="47" y="31"/>
                  </a:cubicBezTo>
                  <a:cubicBezTo>
                    <a:pt x="47" y="30"/>
                    <a:pt x="45" y="28"/>
                    <a:pt x="43" y="27"/>
                  </a:cubicBezTo>
                  <a:cubicBezTo>
                    <a:pt x="42" y="26"/>
                    <a:pt x="45" y="26"/>
                    <a:pt x="45" y="26"/>
                  </a:cubicBezTo>
                  <a:cubicBezTo>
                    <a:pt x="45" y="26"/>
                    <a:pt x="44" y="23"/>
                    <a:pt x="44" y="21"/>
                  </a:cubicBezTo>
                  <a:cubicBezTo>
                    <a:pt x="44" y="19"/>
                    <a:pt x="45" y="19"/>
                    <a:pt x="47" y="19"/>
                  </a:cubicBezTo>
                  <a:cubicBezTo>
                    <a:pt x="50" y="18"/>
                    <a:pt x="52" y="19"/>
                    <a:pt x="52" y="19"/>
                  </a:cubicBezTo>
                  <a:cubicBezTo>
                    <a:pt x="52" y="12"/>
                    <a:pt x="52" y="12"/>
                    <a:pt x="52" y="12"/>
                  </a:cubicBezTo>
                  <a:cubicBezTo>
                    <a:pt x="52" y="12"/>
                    <a:pt x="49" y="11"/>
                    <a:pt x="47" y="11"/>
                  </a:cubicBezTo>
                  <a:cubicBezTo>
                    <a:pt x="45" y="11"/>
                    <a:pt x="44" y="10"/>
                    <a:pt x="42" y="11"/>
                  </a:cubicBezTo>
                  <a:cubicBezTo>
                    <a:pt x="40" y="12"/>
                    <a:pt x="42" y="9"/>
                    <a:pt x="41" y="8"/>
                  </a:cubicBezTo>
                  <a:cubicBezTo>
                    <a:pt x="41" y="6"/>
                    <a:pt x="41" y="1"/>
                    <a:pt x="41" y="1"/>
                  </a:cubicBezTo>
                  <a:cubicBezTo>
                    <a:pt x="41" y="1"/>
                    <a:pt x="38" y="0"/>
                    <a:pt x="35" y="1"/>
                  </a:cubicBezTo>
                  <a:cubicBezTo>
                    <a:pt x="32" y="3"/>
                    <a:pt x="31" y="1"/>
                    <a:pt x="30" y="2"/>
                  </a:cubicBezTo>
                  <a:cubicBezTo>
                    <a:pt x="28" y="3"/>
                    <a:pt x="25" y="3"/>
                    <a:pt x="25" y="3"/>
                  </a:cubicBezTo>
                  <a:cubicBezTo>
                    <a:pt x="24" y="15"/>
                    <a:pt x="24" y="15"/>
                    <a:pt x="24" y="15"/>
                  </a:cubicBezTo>
                  <a:cubicBezTo>
                    <a:pt x="7" y="14"/>
                    <a:pt x="7" y="14"/>
                    <a:pt x="7" y="14"/>
                  </a:cubicBezTo>
                  <a:cubicBezTo>
                    <a:pt x="7" y="15"/>
                    <a:pt x="6" y="15"/>
                    <a:pt x="6" y="16"/>
                  </a:cubicBezTo>
                  <a:cubicBezTo>
                    <a:pt x="7" y="17"/>
                    <a:pt x="5" y="18"/>
                    <a:pt x="6" y="19"/>
                  </a:cubicBezTo>
                  <a:cubicBezTo>
                    <a:pt x="6" y="19"/>
                    <a:pt x="8" y="21"/>
                    <a:pt x="8" y="21"/>
                  </a:cubicBezTo>
                  <a:cubicBezTo>
                    <a:pt x="8" y="23"/>
                    <a:pt x="8" y="24"/>
                    <a:pt x="8" y="26"/>
                  </a:cubicBezTo>
                  <a:cubicBezTo>
                    <a:pt x="7" y="26"/>
                    <a:pt x="5" y="25"/>
                    <a:pt x="4" y="26"/>
                  </a:cubicBezTo>
                  <a:cubicBezTo>
                    <a:pt x="4" y="26"/>
                    <a:pt x="5" y="27"/>
                    <a:pt x="5" y="28"/>
                  </a:cubicBezTo>
                  <a:cubicBezTo>
                    <a:pt x="7" y="27"/>
                    <a:pt x="8" y="29"/>
                    <a:pt x="4" y="30"/>
                  </a:cubicBezTo>
                  <a:cubicBezTo>
                    <a:pt x="4" y="30"/>
                    <a:pt x="6" y="31"/>
                    <a:pt x="6" y="32"/>
                  </a:cubicBezTo>
                  <a:cubicBezTo>
                    <a:pt x="6" y="33"/>
                    <a:pt x="4" y="38"/>
                    <a:pt x="3" y="40"/>
                  </a:cubicBezTo>
                  <a:cubicBezTo>
                    <a:pt x="2" y="40"/>
                    <a:pt x="1" y="40"/>
                    <a:pt x="0" y="40"/>
                  </a:cubicBezTo>
                  <a:cubicBezTo>
                    <a:pt x="0" y="40"/>
                    <a:pt x="1" y="42"/>
                    <a:pt x="0" y="43"/>
                  </a:cubicBezTo>
                  <a:cubicBezTo>
                    <a:pt x="1" y="43"/>
                    <a:pt x="1" y="43"/>
                    <a:pt x="3" y="43"/>
                  </a:cubicBezTo>
                  <a:cubicBezTo>
                    <a:pt x="3" y="45"/>
                    <a:pt x="2" y="46"/>
                    <a:pt x="3" y="47"/>
                  </a:cubicBezTo>
                  <a:cubicBezTo>
                    <a:pt x="3" y="47"/>
                    <a:pt x="6" y="47"/>
                    <a:pt x="6" y="47"/>
                  </a:cubicBezTo>
                  <a:cubicBezTo>
                    <a:pt x="6" y="47"/>
                    <a:pt x="6" y="48"/>
                    <a:pt x="6" y="49"/>
                  </a:cubicBezTo>
                  <a:cubicBezTo>
                    <a:pt x="8" y="48"/>
                    <a:pt x="7" y="50"/>
                    <a:pt x="8" y="50"/>
                  </a:cubicBezTo>
                  <a:cubicBezTo>
                    <a:pt x="7" y="50"/>
                    <a:pt x="5" y="50"/>
                    <a:pt x="4" y="50"/>
                  </a:cubicBezTo>
                  <a:cubicBezTo>
                    <a:pt x="4" y="50"/>
                    <a:pt x="4" y="52"/>
                    <a:pt x="4" y="52"/>
                  </a:cubicBezTo>
                  <a:cubicBezTo>
                    <a:pt x="5" y="53"/>
                    <a:pt x="18" y="64"/>
                    <a:pt x="18" y="64"/>
                  </a:cubicBezTo>
                  <a:cubicBezTo>
                    <a:pt x="19" y="66"/>
                    <a:pt x="17" y="67"/>
                    <a:pt x="18" y="69"/>
                  </a:cubicBezTo>
                  <a:cubicBezTo>
                    <a:pt x="19" y="70"/>
                    <a:pt x="19" y="70"/>
                    <a:pt x="20" y="7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01" name="Freeform 242">
              <a:extLst>
                <a:ext uri="{FF2B5EF4-FFF2-40B4-BE49-F238E27FC236}">
                  <a16:creationId xmlns:a16="http://schemas.microsoft.com/office/drawing/2014/main" id="{C92F26F9-464F-CE75-1B7B-751576944F82}"/>
                </a:ext>
              </a:extLst>
            </p:cNvPr>
            <p:cNvSpPr>
              <a:spLocks/>
            </p:cNvSpPr>
            <p:nvPr/>
          </p:nvSpPr>
          <p:spPr bwMode="auto">
            <a:xfrm>
              <a:off x="4305201" y="3996719"/>
              <a:ext cx="98803" cy="179644"/>
            </a:xfrm>
            <a:custGeom>
              <a:avLst/>
              <a:gdLst>
                <a:gd name="T0" fmla="*/ 5 w 28"/>
                <a:gd name="T1" fmla="*/ 1 h 51"/>
                <a:gd name="T2" fmla="*/ 5 w 28"/>
                <a:gd name="T3" fmla="*/ 3 h 51"/>
                <a:gd name="T4" fmla="*/ 4 w 28"/>
                <a:gd name="T5" fmla="*/ 6 h 51"/>
                <a:gd name="T6" fmla="*/ 0 w 28"/>
                <a:gd name="T7" fmla="*/ 13 h 51"/>
                <a:gd name="T8" fmla="*/ 1 w 28"/>
                <a:gd name="T9" fmla="*/ 24 h 51"/>
                <a:gd name="T10" fmla="*/ 5 w 28"/>
                <a:gd name="T11" fmla="*/ 31 h 51"/>
                <a:gd name="T12" fmla="*/ 4 w 28"/>
                <a:gd name="T13" fmla="*/ 39 h 51"/>
                <a:gd name="T14" fmla="*/ 0 w 28"/>
                <a:gd name="T15" fmla="*/ 45 h 51"/>
                <a:gd name="T16" fmla="*/ 3 w 28"/>
                <a:gd name="T17" fmla="*/ 50 h 51"/>
                <a:gd name="T18" fmla="*/ 8 w 28"/>
                <a:gd name="T19" fmla="*/ 48 h 51"/>
                <a:gd name="T20" fmla="*/ 13 w 28"/>
                <a:gd name="T21" fmla="*/ 47 h 51"/>
                <a:gd name="T22" fmla="*/ 16 w 28"/>
                <a:gd name="T23" fmla="*/ 50 h 51"/>
                <a:gd name="T24" fmla="*/ 21 w 28"/>
                <a:gd name="T25" fmla="*/ 42 h 51"/>
                <a:gd name="T26" fmla="*/ 23 w 28"/>
                <a:gd name="T27" fmla="*/ 33 h 51"/>
                <a:gd name="T28" fmla="*/ 24 w 28"/>
                <a:gd name="T29" fmla="*/ 27 h 51"/>
                <a:gd name="T30" fmla="*/ 28 w 28"/>
                <a:gd name="T31" fmla="*/ 20 h 51"/>
                <a:gd name="T32" fmla="*/ 27 w 28"/>
                <a:gd name="T33" fmla="*/ 16 h 51"/>
                <a:gd name="T34" fmla="*/ 25 w 28"/>
                <a:gd name="T35" fmla="*/ 16 h 51"/>
                <a:gd name="T36" fmla="*/ 23 w 28"/>
                <a:gd name="T37" fmla="*/ 13 h 51"/>
                <a:gd name="T38" fmla="*/ 21 w 28"/>
                <a:gd name="T39" fmla="*/ 13 h 51"/>
                <a:gd name="T40" fmla="*/ 18 w 28"/>
                <a:gd name="T41" fmla="*/ 6 h 51"/>
                <a:gd name="T42" fmla="*/ 11 w 28"/>
                <a:gd name="T43" fmla="*/ 3 h 51"/>
                <a:gd name="T44" fmla="*/ 6 w 28"/>
                <a:gd name="T45" fmla="*/ 3 h 51"/>
                <a:gd name="T46" fmla="*/ 5 w 28"/>
                <a:gd name="T47" fmla="*/ 0 h 51"/>
                <a:gd name="T48" fmla="*/ 5 w 28"/>
                <a:gd name="T4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51">
                  <a:moveTo>
                    <a:pt x="5" y="1"/>
                  </a:moveTo>
                  <a:cubicBezTo>
                    <a:pt x="5" y="2"/>
                    <a:pt x="5" y="2"/>
                    <a:pt x="5" y="3"/>
                  </a:cubicBezTo>
                  <a:cubicBezTo>
                    <a:pt x="4" y="4"/>
                    <a:pt x="4" y="6"/>
                    <a:pt x="4" y="6"/>
                  </a:cubicBezTo>
                  <a:cubicBezTo>
                    <a:pt x="0" y="13"/>
                    <a:pt x="0" y="13"/>
                    <a:pt x="0" y="13"/>
                  </a:cubicBezTo>
                  <a:cubicBezTo>
                    <a:pt x="0" y="13"/>
                    <a:pt x="1" y="21"/>
                    <a:pt x="1" y="24"/>
                  </a:cubicBezTo>
                  <a:cubicBezTo>
                    <a:pt x="1" y="27"/>
                    <a:pt x="5" y="31"/>
                    <a:pt x="5" y="31"/>
                  </a:cubicBezTo>
                  <a:cubicBezTo>
                    <a:pt x="5" y="31"/>
                    <a:pt x="5" y="35"/>
                    <a:pt x="4" y="39"/>
                  </a:cubicBezTo>
                  <a:cubicBezTo>
                    <a:pt x="2" y="42"/>
                    <a:pt x="0" y="45"/>
                    <a:pt x="0" y="45"/>
                  </a:cubicBezTo>
                  <a:cubicBezTo>
                    <a:pt x="0" y="45"/>
                    <a:pt x="1" y="48"/>
                    <a:pt x="3" y="50"/>
                  </a:cubicBezTo>
                  <a:cubicBezTo>
                    <a:pt x="5" y="51"/>
                    <a:pt x="8" y="48"/>
                    <a:pt x="8" y="48"/>
                  </a:cubicBezTo>
                  <a:cubicBezTo>
                    <a:pt x="13" y="47"/>
                    <a:pt x="13" y="47"/>
                    <a:pt x="13" y="47"/>
                  </a:cubicBezTo>
                  <a:cubicBezTo>
                    <a:pt x="16" y="50"/>
                    <a:pt x="16" y="50"/>
                    <a:pt x="16" y="50"/>
                  </a:cubicBezTo>
                  <a:cubicBezTo>
                    <a:pt x="16" y="50"/>
                    <a:pt x="21" y="44"/>
                    <a:pt x="21" y="42"/>
                  </a:cubicBezTo>
                  <a:cubicBezTo>
                    <a:pt x="22" y="41"/>
                    <a:pt x="23" y="33"/>
                    <a:pt x="23" y="33"/>
                  </a:cubicBezTo>
                  <a:cubicBezTo>
                    <a:pt x="24" y="27"/>
                    <a:pt x="24" y="27"/>
                    <a:pt x="24" y="27"/>
                  </a:cubicBezTo>
                  <a:cubicBezTo>
                    <a:pt x="24" y="27"/>
                    <a:pt x="27" y="23"/>
                    <a:pt x="28" y="20"/>
                  </a:cubicBezTo>
                  <a:cubicBezTo>
                    <a:pt x="27" y="19"/>
                    <a:pt x="27" y="17"/>
                    <a:pt x="27" y="16"/>
                  </a:cubicBezTo>
                  <a:cubicBezTo>
                    <a:pt x="26" y="16"/>
                    <a:pt x="25" y="16"/>
                    <a:pt x="25" y="16"/>
                  </a:cubicBezTo>
                  <a:cubicBezTo>
                    <a:pt x="24" y="16"/>
                    <a:pt x="23" y="13"/>
                    <a:pt x="23" y="13"/>
                  </a:cubicBezTo>
                  <a:cubicBezTo>
                    <a:pt x="21" y="13"/>
                    <a:pt x="21" y="13"/>
                    <a:pt x="21" y="13"/>
                  </a:cubicBezTo>
                  <a:cubicBezTo>
                    <a:pt x="20" y="11"/>
                    <a:pt x="20" y="7"/>
                    <a:pt x="18" y="6"/>
                  </a:cubicBezTo>
                  <a:cubicBezTo>
                    <a:pt x="18" y="6"/>
                    <a:pt x="11" y="3"/>
                    <a:pt x="11" y="3"/>
                  </a:cubicBezTo>
                  <a:cubicBezTo>
                    <a:pt x="9" y="2"/>
                    <a:pt x="7" y="4"/>
                    <a:pt x="6" y="3"/>
                  </a:cubicBezTo>
                  <a:cubicBezTo>
                    <a:pt x="5" y="3"/>
                    <a:pt x="5" y="0"/>
                    <a:pt x="5" y="0"/>
                  </a:cubicBezTo>
                  <a:lnTo>
                    <a:pt x="5" y="1"/>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02" name="Freeform 243">
              <a:extLst>
                <a:ext uri="{FF2B5EF4-FFF2-40B4-BE49-F238E27FC236}">
                  <a16:creationId xmlns:a16="http://schemas.microsoft.com/office/drawing/2014/main" id="{C539A24F-47CC-A12F-AA4B-4D6C8090D552}"/>
                </a:ext>
              </a:extLst>
            </p:cNvPr>
            <p:cNvSpPr>
              <a:spLocks/>
            </p:cNvSpPr>
            <p:nvPr/>
          </p:nvSpPr>
          <p:spPr bwMode="auto">
            <a:xfrm>
              <a:off x="4305201" y="3996719"/>
              <a:ext cx="98803" cy="179644"/>
            </a:xfrm>
            <a:custGeom>
              <a:avLst/>
              <a:gdLst>
                <a:gd name="T0" fmla="*/ 5 w 28"/>
                <a:gd name="T1" fmla="*/ 1 h 51"/>
                <a:gd name="T2" fmla="*/ 5 w 28"/>
                <a:gd name="T3" fmla="*/ 3 h 51"/>
                <a:gd name="T4" fmla="*/ 4 w 28"/>
                <a:gd name="T5" fmla="*/ 6 h 51"/>
                <a:gd name="T6" fmla="*/ 0 w 28"/>
                <a:gd name="T7" fmla="*/ 13 h 51"/>
                <a:gd name="T8" fmla="*/ 1 w 28"/>
                <a:gd name="T9" fmla="*/ 24 h 51"/>
                <a:gd name="T10" fmla="*/ 5 w 28"/>
                <a:gd name="T11" fmla="*/ 31 h 51"/>
                <a:gd name="T12" fmla="*/ 4 w 28"/>
                <a:gd name="T13" fmla="*/ 39 h 51"/>
                <a:gd name="T14" fmla="*/ 0 w 28"/>
                <a:gd name="T15" fmla="*/ 45 h 51"/>
                <a:gd name="T16" fmla="*/ 3 w 28"/>
                <a:gd name="T17" fmla="*/ 50 h 51"/>
                <a:gd name="T18" fmla="*/ 8 w 28"/>
                <a:gd name="T19" fmla="*/ 48 h 51"/>
                <a:gd name="T20" fmla="*/ 13 w 28"/>
                <a:gd name="T21" fmla="*/ 47 h 51"/>
                <a:gd name="T22" fmla="*/ 16 w 28"/>
                <a:gd name="T23" fmla="*/ 50 h 51"/>
                <a:gd name="T24" fmla="*/ 21 w 28"/>
                <a:gd name="T25" fmla="*/ 42 h 51"/>
                <a:gd name="T26" fmla="*/ 23 w 28"/>
                <a:gd name="T27" fmla="*/ 33 h 51"/>
                <a:gd name="T28" fmla="*/ 24 w 28"/>
                <a:gd name="T29" fmla="*/ 27 h 51"/>
                <a:gd name="T30" fmla="*/ 28 w 28"/>
                <a:gd name="T31" fmla="*/ 20 h 51"/>
                <a:gd name="T32" fmla="*/ 27 w 28"/>
                <a:gd name="T33" fmla="*/ 16 h 51"/>
                <a:gd name="T34" fmla="*/ 25 w 28"/>
                <a:gd name="T35" fmla="*/ 16 h 51"/>
                <a:gd name="T36" fmla="*/ 23 w 28"/>
                <a:gd name="T37" fmla="*/ 13 h 51"/>
                <a:gd name="T38" fmla="*/ 21 w 28"/>
                <a:gd name="T39" fmla="*/ 13 h 51"/>
                <a:gd name="T40" fmla="*/ 18 w 28"/>
                <a:gd name="T41" fmla="*/ 6 h 51"/>
                <a:gd name="T42" fmla="*/ 11 w 28"/>
                <a:gd name="T43" fmla="*/ 3 h 51"/>
                <a:gd name="T44" fmla="*/ 6 w 28"/>
                <a:gd name="T45" fmla="*/ 3 h 51"/>
                <a:gd name="T46" fmla="*/ 5 w 28"/>
                <a:gd name="T47" fmla="*/ 0 h 51"/>
                <a:gd name="T48" fmla="*/ 5 w 28"/>
                <a:gd name="T49" fmla="*/ 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51">
                  <a:moveTo>
                    <a:pt x="5" y="1"/>
                  </a:moveTo>
                  <a:cubicBezTo>
                    <a:pt x="5" y="2"/>
                    <a:pt x="5" y="2"/>
                    <a:pt x="5" y="3"/>
                  </a:cubicBezTo>
                  <a:cubicBezTo>
                    <a:pt x="4" y="4"/>
                    <a:pt x="4" y="6"/>
                    <a:pt x="4" y="6"/>
                  </a:cubicBezTo>
                  <a:cubicBezTo>
                    <a:pt x="0" y="13"/>
                    <a:pt x="0" y="13"/>
                    <a:pt x="0" y="13"/>
                  </a:cubicBezTo>
                  <a:cubicBezTo>
                    <a:pt x="0" y="13"/>
                    <a:pt x="1" y="21"/>
                    <a:pt x="1" y="24"/>
                  </a:cubicBezTo>
                  <a:cubicBezTo>
                    <a:pt x="1" y="27"/>
                    <a:pt x="5" y="31"/>
                    <a:pt x="5" y="31"/>
                  </a:cubicBezTo>
                  <a:cubicBezTo>
                    <a:pt x="5" y="31"/>
                    <a:pt x="5" y="35"/>
                    <a:pt x="4" y="39"/>
                  </a:cubicBezTo>
                  <a:cubicBezTo>
                    <a:pt x="2" y="42"/>
                    <a:pt x="0" y="45"/>
                    <a:pt x="0" y="45"/>
                  </a:cubicBezTo>
                  <a:cubicBezTo>
                    <a:pt x="0" y="45"/>
                    <a:pt x="1" y="48"/>
                    <a:pt x="3" y="50"/>
                  </a:cubicBezTo>
                  <a:cubicBezTo>
                    <a:pt x="5" y="51"/>
                    <a:pt x="8" y="48"/>
                    <a:pt x="8" y="48"/>
                  </a:cubicBezTo>
                  <a:cubicBezTo>
                    <a:pt x="13" y="47"/>
                    <a:pt x="13" y="47"/>
                    <a:pt x="13" y="47"/>
                  </a:cubicBezTo>
                  <a:cubicBezTo>
                    <a:pt x="16" y="50"/>
                    <a:pt x="16" y="50"/>
                    <a:pt x="16" y="50"/>
                  </a:cubicBezTo>
                  <a:cubicBezTo>
                    <a:pt x="16" y="50"/>
                    <a:pt x="21" y="44"/>
                    <a:pt x="21" y="42"/>
                  </a:cubicBezTo>
                  <a:cubicBezTo>
                    <a:pt x="22" y="41"/>
                    <a:pt x="23" y="33"/>
                    <a:pt x="23" y="33"/>
                  </a:cubicBezTo>
                  <a:cubicBezTo>
                    <a:pt x="24" y="27"/>
                    <a:pt x="24" y="27"/>
                    <a:pt x="24" y="27"/>
                  </a:cubicBezTo>
                  <a:cubicBezTo>
                    <a:pt x="24" y="27"/>
                    <a:pt x="27" y="23"/>
                    <a:pt x="28" y="20"/>
                  </a:cubicBezTo>
                  <a:cubicBezTo>
                    <a:pt x="27" y="19"/>
                    <a:pt x="27" y="17"/>
                    <a:pt x="27" y="16"/>
                  </a:cubicBezTo>
                  <a:cubicBezTo>
                    <a:pt x="26" y="16"/>
                    <a:pt x="25" y="16"/>
                    <a:pt x="25" y="16"/>
                  </a:cubicBezTo>
                  <a:cubicBezTo>
                    <a:pt x="24" y="16"/>
                    <a:pt x="23" y="13"/>
                    <a:pt x="23" y="13"/>
                  </a:cubicBezTo>
                  <a:cubicBezTo>
                    <a:pt x="21" y="13"/>
                    <a:pt x="21" y="13"/>
                    <a:pt x="21" y="13"/>
                  </a:cubicBezTo>
                  <a:cubicBezTo>
                    <a:pt x="20" y="11"/>
                    <a:pt x="20" y="7"/>
                    <a:pt x="18" y="6"/>
                  </a:cubicBezTo>
                  <a:cubicBezTo>
                    <a:pt x="18" y="6"/>
                    <a:pt x="11" y="3"/>
                    <a:pt x="11" y="3"/>
                  </a:cubicBezTo>
                  <a:cubicBezTo>
                    <a:pt x="9" y="2"/>
                    <a:pt x="7" y="4"/>
                    <a:pt x="6" y="3"/>
                  </a:cubicBezTo>
                  <a:cubicBezTo>
                    <a:pt x="5" y="3"/>
                    <a:pt x="5" y="0"/>
                    <a:pt x="5" y="0"/>
                  </a:cubicBezTo>
                  <a:lnTo>
                    <a:pt x="5" y="1"/>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03" name="Freeform 244">
              <a:extLst>
                <a:ext uri="{FF2B5EF4-FFF2-40B4-BE49-F238E27FC236}">
                  <a16:creationId xmlns:a16="http://schemas.microsoft.com/office/drawing/2014/main" id="{535F94D5-9ECA-C623-D10B-55D686AA22B4}"/>
                </a:ext>
              </a:extLst>
            </p:cNvPr>
            <p:cNvSpPr>
              <a:spLocks noEditPoints="1"/>
            </p:cNvSpPr>
            <p:nvPr/>
          </p:nvSpPr>
          <p:spPr bwMode="auto">
            <a:xfrm>
              <a:off x="5823166" y="2171546"/>
              <a:ext cx="5252700" cy="2942552"/>
            </a:xfrm>
            <a:custGeom>
              <a:avLst/>
              <a:gdLst>
                <a:gd name="T0" fmla="*/ 1458 w 1491"/>
                <a:gd name="T1" fmla="*/ 814 h 835"/>
                <a:gd name="T2" fmla="*/ 1471 w 1491"/>
                <a:gd name="T3" fmla="*/ 831 h 835"/>
                <a:gd name="T4" fmla="*/ 1482 w 1491"/>
                <a:gd name="T5" fmla="*/ 834 h 835"/>
                <a:gd name="T6" fmla="*/ 1476 w 1491"/>
                <a:gd name="T7" fmla="*/ 826 h 835"/>
                <a:gd name="T8" fmla="*/ 1470 w 1491"/>
                <a:gd name="T9" fmla="*/ 822 h 835"/>
                <a:gd name="T10" fmla="*/ 1457 w 1491"/>
                <a:gd name="T11" fmla="*/ 809 h 835"/>
                <a:gd name="T12" fmla="*/ 1482 w 1491"/>
                <a:gd name="T13" fmla="*/ 821 h 835"/>
                <a:gd name="T14" fmla="*/ 1488 w 1491"/>
                <a:gd name="T15" fmla="*/ 826 h 835"/>
                <a:gd name="T16" fmla="*/ 517 w 1491"/>
                <a:gd name="T17" fmla="*/ 815 h 835"/>
                <a:gd name="T18" fmla="*/ 519 w 1491"/>
                <a:gd name="T19" fmla="*/ 815 h 835"/>
                <a:gd name="T20" fmla="*/ 65 w 1491"/>
                <a:gd name="T21" fmla="*/ 112 h 835"/>
                <a:gd name="T22" fmla="*/ 50 w 1491"/>
                <a:gd name="T23" fmla="*/ 109 h 835"/>
                <a:gd name="T24" fmla="*/ 34 w 1491"/>
                <a:gd name="T25" fmla="*/ 105 h 835"/>
                <a:gd name="T26" fmla="*/ 33 w 1491"/>
                <a:gd name="T27" fmla="*/ 97 h 835"/>
                <a:gd name="T28" fmla="*/ 36 w 1491"/>
                <a:gd name="T29" fmla="*/ 85 h 835"/>
                <a:gd name="T30" fmla="*/ 36 w 1491"/>
                <a:gd name="T31" fmla="*/ 77 h 835"/>
                <a:gd name="T32" fmla="*/ 33 w 1491"/>
                <a:gd name="T33" fmla="*/ 68 h 835"/>
                <a:gd name="T34" fmla="*/ 23 w 1491"/>
                <a:gd name="T35" fmla="*/ 56 h 835"/>
                <a:gd name="T36" fmla="*/ 19 w 1491"/>
                <a:gd name="T37" fmla="*/ 52 h 835"/>
                <a:gd name="T38" fmla="*/ 18 w 1491"/>
                <a:gd name="T39" fmla="*/ 49 h 835"/>
                <a:gd name="T40" fmla="*/ 14 w 1491"/>
                <a:gd name="T41" fmla="*/ 50 h 835"/>
                <a:gd name="T42" fmla="*/ 8 w 1491"/>
                <a:gd name="T43" fmla="*/ 43 h 835"/>
                <a:gd name="T44" fmla="*/ 2 w 1491"/>
                <a:gd name="T45" fmla="*/ 41 h 835"/>
                <a:gd name="T46" fmla="*/ 5 w 1491"/>
                <a:gd name="T47" fmla="*/ 38 h 835"/>
                <a:gd name="T48" fmla="*/ 4 w 1491"/>
                <a:gd name="T49" fmla="*/ 33 h 835"/>
                <a:gd name="T50" fmla="*/ 16 w 1491"/>
                <a:gd name="T51" fmla="*/ 35 h 835"/>
                <a:gd name="T52" fmla="*/ 22 w 1491"/>
                <a:gd name="T53" fmla="*/ 33 h 835"/>
                <a:gd name="T54" fmla="*/ 31 w 1491"/>
                <a:gd name="T55" fmla="*/ 31 h 835"/>
                <a:gd name="T56" fmla="*/ 26 w 1491"/>
                <a:gd name="T57" fmla="*/ 18 h 835"/>
                <a:gd name="T58" fmla="*/ 45 w 1491"/>
                <a:gd name="T59" fmla="*/ 17 h 835"/>
                <a:gd name="T60" fmla="*/ 56 w 1491"/>
                <a:gd name="T61" fmla="*/ 5 h 835"/>
                <a:gd name="T62" fmla="*/ 63 w 1491"/>
                <a:gd name="T63" fmla="*/ 3 h 835"/>
                <a:gd name="T64" fmla="*/ 70 w 1491"/>
                <a:gd name="T65" fmla="*/ 10 h 835"/>
                <a:gd name="T66" fmla="*/ 80 w 1491"/>
                <a:gd name="T67" fmla="*/ 17 h 835"/>
                <a:gd name="T68" fmla="*/ 88 w 1491"/>
                <a:gd name="T69" fmla="*/ 21 h 835"/>
                <a:gd name="T70" fmla="*/ 94 w 1491"/>
                <a:gd name="T71" fmla="*/ 24 h 835"/>
                <a:gd name="T72" fmla="*/ 109 w 1491"/>
                <a:gd name="T73" fmla="*/ 28 h 835"/>
                <a:gd name="T74" fmla="*/ 112 w 1491"/>
                <a:gd name="T75" fmla="*/ 39 h 835"/>
                <a:gd name="T76" fmla="*/ 108 w 1491"/>
                <a:gd name="T77" fmla="*/ 50 h 835"/>
                <a:gd name="T78" fmla="*/ 95 w 1491"/>
                <a:gd name="T79" fmla="*/ 64 h 835"/>
                <a:gd name="T80" fmla="*/ 104 w 1491"/>
                <a:gd name="T81" fmla="*/ 71 h 835"/>
                <a:gd name="T82" fmla="*/ 102 w 1491"/>
                <a:gd name="T83" fmla="*/ 79 h 835"/>
                <a:gd name="T84" fmla="*/ 106 w 1491"/>
                <a:gd name="T85" fmla="*/ 92 h 835"/>
                <a:gd name="T86" fmla="*/ 104 w 1491"/>
                <a:gd name="T87" fmla="*/ 97 h 835"/>
                <a:gd name="T88" fmla="*/ 102 w 1491"/>
                <a:gd name="T89" fmla="*/ 98 h 835"/>
                <a:gd name="T90" fmla="*/ 95 w 1491"/>
                <a:gd name="T91" fmla="*/ 104 h 835"/>
                <a:gd name="T92" fmla="*/ 87 w 1491"/>
                <a:gd name="T93" fmla="*/ 99 h 835"/>
                <a:gd name="T94" fmla="*/ 74 w 1491"/>
                <a:gd name="T95" fmla="*/ 103 h 835"/>
                <a:gd name="T96" fmla="*/ 123 w 1491"/>
                <a:gd name="T97" fmla="*/ 103 h 835"/>
                <a:gd name="T98" fmla="*/ 117 w 1491"/>
                <a:gd name="T99" fmla="*/ 119 h 835"/>
                <a:gd name="T100" fmla="*/ 125 w 1491"/>
                <a:gd name="T101" fmla="*/ 105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1" h="835">
                  <a:moveTo>
                    <a:pt x="1457" y="809"/>
                  </a:moveTo>
                  <a:cubicBezTo>
                    <a:pt x="1457" y="809"/>
                    <a:pt x="1457" y="812"/>
                    <a:pt x="1457" y="813"/>
                  </a:cubicBezTo>
                  <a:cubicBezTo>
                    <a:pt x="1458" y="814"/>
                    <a:pt x="1458" y="814"/>
                    <a:pt x="1458" y="814"/>
                  </a:cubicBezTo>
                  <a:cubicBezTo>
                    <a:pt x="1459" y="817"/>
                    <a:pt x="1461" y="822"/>
                    <a:pt x="1464" y="824"/>
                  </a:cubicBezTo>
                  <a:cubicBezTo>
                    <a:pt x="1465" y="824"/>
                    <a:pt x="1466" y="825"/>
                    <a:pt x="1467" y="825"/>
                  </a:cubicBezTo>
                  <a:cubicBezTo>
                    <a:pt x="1468" y="827"/>
                    <a:pt x="1468" y="830"/>
                    <a:pt x="1471" y="831"/>
                  </a:cubicBezTo>
                  <a:cubicBezTo>
                    <a:pt x="1472" y="832"/>
                    <a:pt x="1474" y="832"/>
                    <a:pt x="1475" y="832"/>
                  </a:cubicBezTo>
                  <a:cubicBezTo>
                    <a:pt x="1476" y="833"/>
                    <a:pt x="1478" y="835"/>
                    <a:pt x="1479" y="835"/>
                  </a:cubicBezTo>
                  <a:cubicBezTo>
                    <a:pt x="1481" y="835"/>
                    <a:pt x="1481" y="834"/>
                    <a:pt x="1482" y="834"/>
                  </a:cubicBezTo>
                  <a:cubicBezTo>
                    <a:pt x="1483" y="835"/>
                    <a:pt x="1483" y="833"/>
                    <a:pt x="1483" y="833"/>
                  </a:cubicBezTo>
                  <a:cubicBezTo>
                    <a:pt x="1481" y="832"/>
                    <a:pt x="1478" y="830"/>
                    <a:pt x="1477" y="828"/>
                  </a:cubicBezTo>
                  <a:cubicBezTo>
                    <a:pt x="1476" y="827"/>
                    <a:pt x="1476" y="826"/>
                    <a:pt x="1476" y="826"/>
                  </a:cubicBezTo>
                  <a:cubicBezTo>
                    <a:pt x="1474" y="825"/>
                    <a:pt x="1472" y="826"/>
                    <a:pt x="1471" y="824"/>
                  </a:cubicBezTo>
                  <a:cubicBezTo>
                    <a:pt x="1470" y="824"/>
                    <a:pt x="1471" y="823"/>
                    <a:pt x="1471" y="822"/>
                  </a:cubicBezTo>
                  <a:cubicBezTo>
                    <a:pt x="1470" y="822"/>
                    <a:pt x="1470" y="822"/>
                    <a:pt x="1470" y="822"/>
                  </a:cubicBezTo>
                  <a:cubicBezTo>
                    <a:pt x="1469" y="822"/>
                    <a:pt x="1462" y="814"/>
                    <a:pt x="1461" y="813"/>
                  </a:cubicBezTo>
                  <a:cubicBezTo>
                    <a:pt x="1461" y="812"/>
                    <a:pt x="1462" y="810"/>
                    <a:pt x="1461" y="810"/>
                  </a:cubicBezTo>
                  <a:cubicBezTo>
                    <a:pt x="1461" y="809"/>
                    <a:pt x="1458" y="809"/>
                    <a:pt x="1457" y="809"/>
                  </a:cubicBezTo>
                  <a:close/>
                  <a:moveTo>
                    <a:pt x="1481" y="816"/>
                  </a:moveTo>
                  <a:cubicBezTo>
                    <a:pt x="1480" y="816"/>
                    <a:pt x="1480" y="820"/>
                    <a:pt x="1480" y="821"/>
                  </a:cubicBezTo>
                  <a:cubicBezTo>
                    <a:pt x="1481" y="821"/>
                    <a:pt x="1482" y="821"/>
                    <a:pt x="1482" y="821"/>
                  </a:cubicBezTo>
                  <a:cubicBezTo>
                    <a:pt x="1483" y="819"/>
                    <a:pt x="1483" y="819"/>
                    <a:pt x="1483" y="819"/>
                  </a:cubicBezTo>
                  <a:cubicBezTo>
                    <a:pt x="1482" y="818"/>
                    <a:pt x="1481" y="816"/>
                    <a:pt x="1481" y="816"/>
                  </a:cubicBezTo>
                  <a:close/>
                  <a:moveTo>
                    <a:pt x="1488" y="826"/>
                  </a:moveTo>
                  <a:cubicBezTo>
                    <a:pt x="1489" y="828"/>
                    <a:pt x="1489" y="828"/>
                    <a:pt x="1489" y="828"/>
                  </a:cubicBezTo>
                  <a:cubicBezTo>
                    <a:pt x="1490" y="828"/>
                    <a:pt x="1491" y="826"/>
                    <a:pt x="1488" y="826"/>
                  </a:cubicBezTo>
                  <a:close/>
                  <a:moveTo>
                    <a:pt x="517" y="815"/>
                  </a:moveTo>
                  <a:cubicBezTo>
                    <a:pt x="517" y="815"/>
                    <a:pt x="516" y="815"/>
                    <a:pt x="515" y="816"/>
                  </a:cubicBezTo>
                  <a:cubicBezTo>
                    <a:pt x="516" y="817"/>
                    <a:pt x="516" y="817"/>
                    <a:pt x="516" y="819"/>
                  </a:cubicBezTo>
                  <a:cubicBezTo>
                    <a:pt x="522" y="819"/>
                    <a:pt x="523" y="820"/>
                    <a:pt x="519" y="815"/>
                  </a:cubicBezTo>
                  <a:cubicBezTo>
                    <a:pt x="519" y="815"/>
                    <a:pt x="517" y="815"/>
                    <a:pt x="517" y="815"/>
                  </a:cubicBezTo>
                  <a:close/>
                  <a:moveTo>
                    <a:pt x="70" y="109"/>
                  </a:moveTo>
                  <a:cubicBezTo>
                    <a:pt x="66" y="109"/>
                    <a:pt x="68" y="112"/>
                    <a:pt x="65" y="112"/>
                  </a:cubicBezTo>
                  <a:cubicBezTo>
                    <a:pt x="62" y="112"/>
                    <a:pt x="60" y="113"/>
                    <a:pt x="59" y="111"/>
                  </a:cubicBezTo>
                  <a:cubicBezTo>
                    <a:pt x="58" y="109"/>
                    <a:pt x="56" y="111"/>
                    <a:pt x="56" y="111"/>
                  </a:cubicBezTo>
                  <a:cubicBezTo>
                    <a:pt x="56" y="111"/>
                    <a:pt x="53" y="111"/>
                    <a:pt x="50" y="109"/>
                  </a:cubicBezTo>
                  <a:cubicBezTo>
                    <a:pt x="47" y="108"/>
                    <a:pt x="46" y="110"/>
                    <a:pt x="44" y="110"/>
                  </a:cubicBezTo>
                  <a:cubicBezTo>
                    <a:pt x="42" y="110"/>
                    <a:pt x="42" y="107"/>
                    <a:pt x="39" y="107"/>
                  </a:cubicBezTo>
                  <a:cubicBezTo>
                    <a:pt x="36" y="107"/>
                    <a:pt x="37" y="106"/>
                    <a:pt x="34" y="105"/>
                  </a:cubicBezTo>
                  <a:cubicBezTo>
                    <a:pt x="31" y="105"/>
                    <a:pt x="30" y="106"/>
                    <a:pt x="30" y="104"/>
                  </a:cubicBezTo>
                  <a:cubicBezTo>
                    <a:pt x="30" y="102"/>
                    <a:pt x="28" y="100"/>
                    <a:pt x="28" y="100"/>
                  </a:cubicBezTo>
                  <a:cubicBezTo>
                    <a:pt x="30" y="100"/>
                    <a:pt x="32" y="99"/>
                    <a:pt x="33" y="97"/>
                  </a:cubicBezTo>
                  <a:cubicBezTo>
                    <a:pt x="34" y="95"/>
                    <a:pt x="33" y="92"/>
                    <a:pt x="34" y="90"/>
                  </a:cubicBezTo>
                  <a:cubicBezTo>
                    <a:pt x="34" y="89"/>
                    <a:pt x="35" y="87"/>
                    <a:pt x="36" y="87"/>
                  </a:cubicBezTo>
                  <a:cubicBezTo>
                    <a:pt x="36" y="86"/>
                    <a:pt x="35" y="85"/>
                    <a:pt x="36" y="85"/>
                  </a:cubicBezTo>
                  <a:cubicBezTo>
                    <a:pt x="36" y="85"/>
                    <a:pt x="35" y="84"/>
                    <a:pt x="34" y="84"/>
                  </a:cubicBezTo>
                  <a:cubicBezTo>
                    <a:pt x="34" y="82"/>
                    <a:pt x="34" y="80"/>
                    <a:pt x="34" y="78"/>
                  </a:cubicBezTo>
                  <a:cubicBezTo>
                    <a:pt x="34" y="78"/>
                    <a:pt x="35" y="77"/>
                    <a:pt x="36" y="77"/>
                  </a:cubicBezTo>
                  <a:cubicBezTo>
                    <a:pt x="35" y="76"/>
                    <a:pt x="35" y="76"/>
                    <a:pt x="34" y="75"/>
                  </a:cubicBezTo>
                  <a:cubicBezTo>
                    <a:pt x="35" y="74"/>
                    <a:pt x="35" y="69"/>
                    <a:pt x="34" y="67"/>
                  </a:cubicBezTo>
                  <a:cubicBezTo>
                    <a:pt x="34" y="67"/>
                    <a:pt x="33" y="68"/>
                    <a:pt x="33" y="68"/>
                  </a:cubicBezTo>
                  <a:cubicBezTo>
                    <a:pt x="33" y="68"/>
                    <a:pt x="32" y="66"/>
                    <a:pt x="32" y="66"/>
                  </a:cubicBezTo>
                  <a:cubicBezTo>
                    <a:pt x="29" y="64"/>
                    <a:pt x="24" y="63"/>
                    <a:pt x="23" y="60"/>
                  </a:cubicBezTo>
                  <a:cubicBezTo>
                    <a:pt x="23" y="59"/>
                    <a:pt x="23" y="57"/>
                    <a:pt x="23" y="56"/>
                  </a:cubicBezTo>
                  <a:cubicBezTo>
                    <a:pt x="21" y="58"/>
                    <a:pt x="23" y="53"/>
                    <a:pt x="23" y="53"/>
                  </a:cubicBezTo>
                  <a:cubicBezTo>
                    <a:pt x="22" y="53"/>
                    <a:pt x="21" y="53"/>
                    <a:pt x="20" y="53"/>
                  </a:cubicBezTo>
                  <a:cubicBezTo>
                    <a:pt x="19" y="52"/>
                    <a:pt x="19" y="52"/>
                    <a:pt x="19" y="52"/>
                  </a:cubicBezTo>
                  <a:cubicBezTo>
                    <a:pt x="19" y="52"/>
                    <a:pt x="20" y="51"/>
                    <a:pt x="20" y="50"/>
                  </a:cubicBezTo>
                  <a:cubicBezTo>
                    <a:pt x="19" y="50"/>
                    <a:pt x="17" y="50"/>
                    <a:pt x="16" y="50"/>
                  </a:cubicBezTo>
                  <a:cubicBezTo>
                    <a:pt x="17" y="50"/>
                    <a:pt x="16" y="48"/>
                    <a:pt x="18" y="49"/>
                  </a:cubicBezTo>
                  <a:cubicBezTo>
                    <a:pt x="18" y="48"/>
                    <a:pt x="18" y="47"/>
                    <a:pt x="19" y="47"/>
                  </a:cubicBezTo>
                  <a:cubicBezTo>
                    <a:pt x="18" y="47"/>
                    <a:pt x="18" y="46"/>
                    <a:pt x="17" y="46"/>
                  </a:cubicBezTo>
                  <a:cubicBezTo>
                    <a:pt x="16" y="47"/>
                    <a:pt x="15" y="49"/>
                    <a:pt x="14" y="50"/>
                  </a:cubicBezTo>
                  <a:cubicBezTo>
                    <a:pt x="12" y="47"/>
                    <a:pt x="12" y="46"/>
                    <a:pt x="10" y="44"/>
                  </a:cubicBezTo>
                  <a:cubicBezTo>
                    <a:pt x="9" y="44"/>
                    <a:pt x="9" y="45"/>
                    <a:pt x="8" y="45"/>
                  </a:cubicBezTo>
                  <a:cubicBezTo>
                    <a:pt x="8" y="44"/>
                    <a:pt x="8" y="44"/>
                    <a:pt x="8" y="43"/>
                  </a:cubicBezTo>
                  <a:cubicBezTo>
                    <a:pt x="6" y="43"/>
                    <a:pt x="4" y="43"/>
                    <a:pt x="1" y="43"/>
                  </a:cubicBezTo>
                  <a:cubicBezTo>
                    <a:pt x="0" y="42"/>
                    <a:pt x="0" y="42"/>
                    <a:pt x="0" y="42"/>
                  </a:cubicBezTo>
                  <a:cubicBezTo>
                    <a:pt x="2" y="41"/>
                    <a:pt x="2" y="41"/>
                    <a:pt x="2" y="41"/>
                  </a:cubicBezTo>
                  <a:cubicBezTo>
                    <a:pt x="2" y="41"/>
                    <a:pt x="2" y="39"/>
                    <a:pt x="2" y="39"/>
                  </a:cubicBezTo>
                  <a:cubicBezTo>
                    <a:pt x="3" y="39"/>
                    <a:pt x="2" y="39"/>
                    <a:pt x="4" y="39"/>
                  </a:cubicBezTo>
                  <a:cubicBezTo>
                    <a:pt x="5" y="38"/>
                    <a:pt x="5" y="38"/>
                    <a:pt x="5" y="38"/>
                  </a:cubicBezTo>
                  <a:cubicBezTo>
                    <a:pt x="4" y="37"/>
                    <a:pt x="2" y="37"/>
                    <a:pt x="1" y="36"/>
                  </a:cubicBezTo>
                  <a:cubicBezTo>
                    <a:pt x="1" y="35"/>
                    <a:pt x="1" y="35"/>
                    <a:pt x="1" y="35"/>
                  </a:cubicBezTo>
                  <a:cubicBezTo>
                    <a:pt x="2" y="34"/>
                    <a:pt x="3" y="33"/>
                    <a:pt x="4" y="33"/>
                  </a:cubicBezTo>
                  <a:cubicBezTo>
                    <a:pt x="6" y="32"/>
                    <a:pt x="8" y="34"/>
                    <a:pt x="9" y="33"/>
                  </a:cubicBezTo>
                  <a:cubicBezTo>
                    <a:pt x="10" y="31"/>
                    <a:pt x="10" y="31"/>
                    <a:pt x="10" y="31"/>
                  </a:cubicBezTo>
                  <a:cubicBezTo>
                    <a:pt x="15" y="30"/>
                    <a:pt x="15" y="33"/>
                    <a:pt x="16" y="35"/>
                  </a:cubicBezTo>
                  <a:cubicBezTo>
                    <a:pt x="18" y="35"/>
                    <a:pt x="18" y="35"/>
                    <a:pt x="18" y="35"/>
                  </a:cubicBezTo>
                  <a:cubicBezTo>
                    <a:pt x="18" y="35"/>
                    <a:pt x="19" y="33"/>
                    <a:pt x="19" y="33"/>
                  </a:cubicBezTo>
                  <a:cubicBezTo>
                    <a:pt x="21" y="32"/>
                    <a:pt x="21" y="34"/>
                    <a:pt x="22" y="33"/>
                  </a:cubicBezTo>
                  <a:cubicBezTo>
                    <a:pt x="23" y="32"/>
                    <a:pt x="23" y="32"/>
                    <a:pt x="23" y="32"/>
                  </a:cubicBezTo>
                  <a:cubicBezTo>
                    <a:pt x="26" y="33"/>
                    <a:pt x="26" y="32"/>
                    <a:pt x="30" y="33"/>
                  </a:cubicBezTo>
                  <a:cubicBezTo>
                    <a:pt x="30" y="32"/>
                    <a:pt x="32" y="32"/>
                    <a:pt x="31" y="31"/>
                  </a:cubicBezTo>
                  <a:cubicBezTo>
                    <a:pt x="31" y="31"/>
                    <a:pt x="29" y="30"/>
                    <a:pt x="29" y="30"/>
                  </a:cubicBezTo>
                  <a:cubicBezTo>
                    <a:pt x="28" y="28"/>
                    <a:pt x="29" y="26"/>
                    <a:pt x="29" y="24"/>
                  </a:cubicBezTo>
                  <a:cubicBezTo>
                    <a:pt x="29" y="23"/>
                    <a:pt x="27" y="20"/>
                    <a:pt x="26" y="18"/>
                  </a:cubicBezTo>
                  <a:cubicBezTo>
                    <a:pt x="32" y="17"/>
                    <a:pt x="31" y="17"/>
                    <a:pt x="32" y="23"/>
                  </a:cubicBezTo>
                  <a:cubicBezTo>
                    <a:pt x="36" y="22"/>
                    <a:pt x="41" y="22"/>
                    <a:pt x="45" y="21"/>
                  </a:cubicBezTo>
                  <a:cubicBezTo>
                    <a:pt x="45" y="19"/>
                    <a:pt x="45" y="20"/>
                    <a:pt x="45" y="17"/>
                  </a:cubicBezTo>
                  <a:cubicBezTo>
                    <a:pt x="47" y="16"/>
                    <a:pt x="51" y="13"/>
                    <a:pt x="53" y="13"/>
                  </a:cubicBezTo>
                  <a:cubicBezTo>
                    <a:pt x="54" y="13"/>
                    <a:pt x="55" y="14"/>
                    <a:pt x="56" y="13"/>
                  </a:cubicBezTo>
                  <a:cubicBezTo>
                    <a:pt x="55" y="13"/>
                    <a:pt x="55" y="7"/>
                    <a:pt x="56" y="5"/>
                  </a:cubicBezTo>
                  <a:cubicBezTo>
                    <a:pt x="55" y="6"/>
                    <a:pt x="56" y="2"/>
                    <a:pt x="56" y="2"/>
                  </a:cubicBezTo>
                  <a:cubicBezTo>
                    <a:pt x="58" y="1"/>
                    <a:pt x="59" y="0"/>
                    <a:pt x="61" y="0"/>
                  </a:cubicBezTo>
                  <a:cubicBezTo>
                    <a:pt x="63" y="3"/>
                    <a:pt x="63" y="3"/>
                    <a:pt x="63" y="3"/>
                  </a:cubicBezTo>
                  <a:cubicBezTo>
                    <a:pt x="63" y="3"/>
                    <a:pt x="65" y="2"/>
                    <a:pt x="65" y="4"/>
                  </a:cubicBezTo>
                  <a:cubicBezTo>
                    <a:pt x="66" y="6"/>
                    <a:pt x="66" y="7"/>
                    <a:pt x="66" y="7"/>
                  </a:cubicBezTo>
                  <a:cubicBezTo>
                    <a:pt x="66" y="7"/>
                    <a:pt x="68" y="7"/>
                    <a:pt x="70" y="10"/>
                  </a:cubicBezTo>
                  <a:cubicBezTo>
                    <a:pt x="73" y="13"/>
                    <a:pt x="74" y="11"/>
                    <a:pt x="74" y="11"/>
                  </a:cubicBezTo>
                  <a:cubicBezTo>
                    <a:pt x="74" y="11"/>
                    <a:pt x="74" y="12"/>
                    <a:pt x="76" y="14"/>
                  </a:cubicBezTo>
                  <a:cubicBezTo>
                    <a:pt x="78" y="16"/>
                    <a:pt x="79" y="16"/>
                    <a:pt x="80" y="17"/>
                  </a:cubicBezTo>
                  <a:cubicBezTo>
                    <a:pt x="82" y="18"/>
                    <a:pt x="84" y="14"/>
                    <a:pt x="84" y="17"/>
                  </a:cubicBezTo>
                  <a:cubicBezTo>
                    <a:pt x="84" y="20"/>
                    <a:pt x="84" y="20"/>
                    <a:pt x="86" y="20"/>
                  </a:cubicBezTo>
                  <a:cubicBezTo>
                    <a:pt x="88" y="20"/>
                    <a:pt x="88" y="21"/>
                    <a:pt x="88" y="21"/>
                  </a:cubicBezTo>
                  <a:cubicBezTo>
                    <a:pt x="92" y="20"/>
                    <a:pt x="92" y="20"/>
                    <a:pt x="92" y="20"/>
                  </a:cubicBezTo>
                  <a:cubicBezTo>
                    <a:pt x="92" y="21"/>
                    <a:pt x="93" y="21"/>
                    <a:pt x="93" y="21"/>
                  </a:cubicBezTo>
                  <a:cubicBezTo>
                    <a:pt x="93" y="21"/>
                    <a:pt x="92" y="24"/>
                    <a:pt x="94" y="24"/>
                  </a:cubicBezTo>
                  <a:cubicBezTo>
                    <a:pt x="95" y="24"/>
                    <a:pt x="97" y="25"/>
                    <a:pt x="97" y="25"/>
                  </a:cubicBezTo>
                  <a:cubicBezTo>
                    <a:pt x="97" y="25"/>
                    <a:pt x="103" y="23"/>
                    <a:pt x="104" y="26"/>
                  </a:cubicBezTo>
                  <a:cubicBezTo>
                    <a:pt x="106" y="29"/>
                    <a:pt x="106" y="27"/>
                    <a:pt x="109" y="28"/>
                  </a:cubicBezTo>
                  <a:cubicBezTo>
                    <a:pt x="111" y="28"/>
                    <a:pt x="113" y="28"/>
                    <a:pt x="113" y="28"/>
                  </a:cubicBezTo>
                  <a:cubicBezTo>
                    <a:pt x="113" y="28"/>
                    <a:pt x="114" y="32"/>
                    <a:pt x="112" y="34"/>
                  </a:cubicBezTo>
                  <a:cubicBezTo>
                    <a:pt x="111" y="36"/>
                    <a:pt x="111" y="37"/>
                    <a:pt x="112" y="39"/>
                  </a:cubicBezTo>
                  <a:cubicBezTo>
                    <a:pt x="112" y="41"/>
                    <a:pt x="110" y="44"/>
                    <a:pt x="112" y="47"/>
                  </a:cubicBezTo>
                  <a:cubicBezTo>
                    <a:pt x="112" y="47"/>
                    <a:pt x="111" y="49"/>
                    <a:pt x="110" y="48"/>
                  </a:cubicBezTo>
                  <a:cubicBezTo>
                    <a:pt x="108" y="46"/>
                    <a:pt x="108" y="50"/>
                    <a:pt x="108" y="50"/>
                  </a:cubicBezTo>
                  <a:cubicBezTo>
                    <a:pt x="108" y="50"/>
                    <a:pt x="109" y="51"/>
                    <a:pt x="106" y="51"/>
                  </a:cubicBezTo>
                  <a:cubicBezTo>
                    <a:pt x="103" y="52"/>
                    <a:pt x="101" y="56"/>
                    <a:pt x="99" y="58"/>
                  </a:cubicBezTo>
                  <a:cubicBezTo>
                    <a:pt x="98" y="60"/>
                    <a:pt x="96" y="62"/>
                    <a:pt x="95" y="64"/>
                  </a:cubicBezTo>
                  <a:cubicBezTo>
                    <a:pt x="94" y="66"/>
                    <a:pt x="92" y="71"/>
                    <a:pt x="96" y="68"/>
                  </a:cubicBezTo>
                  <a:cubicBezTo>
                    <a:pt x="99" y="65"/>
                    <a:pt x="99" y="68"/>
                    <a:pt x="99" y="68"/>
                  </a:cubicBezTo>
                  <a:cubicBezTo>
                    <a:pt x="99" y="70"/>
                    <a:pt x="104" y="69"/>
                    <a:pt x="104" y="71"/>
                  </a:cubicBezTo>
                  <a:cubicBezTo>
                    <a:pt x="105" y="73"/>
                    <a:pt x="107" y="72"/>
                    <a:pt x="107" y="72"/>
                  </a:cubicBezTo>
                  <a:cubicBezTo>
                    <a:pt x="105" y="76"/>
                    <a:pt x="105" y="76"/>
                    <a:pt x="105" y="76"/>
                  </a:cubicBezTo>
                  <a:cubicBezTo>
                    <a:pt x="105" y="76"/>
                    <a:pt x="104" y="79"/>
                    <a:pt x="102" y="79"/>
                  </a:cubicBezTo>
                  <a:cubicBezTo>
                    <a:pt x="99" y="79"/>
                    <a:pt x="99" y="84"/>
                    <a:pt x="102" y="84"/>
                  </a:cubicBezTo>
                  <a:cubicBezTo>
                    <a:pt x="104" y="84"/>
                    <a:pt x="101" y="90"/>
                    <a:pt x="102" y="91"/>
                  </a:cubicBezTo>
                  <a:cubicBezTo>
                    <a:pt x="103" y="92"/>
                    <a:pt x="107" y="90"/>
                    <a:pt x="106" y="92"/>
                  </a:cubicBezTo>
                  <a:cubicBezTo>
                    <a:pt x="105" y="94"/>
                    <a:pt x="106" y="92"/>
                    <a:pt x="104" y="94"/>
                  </a:cubicBezTo>
                  <a:cubicBezTo>
                    <a:pt x="103" y="96"/>
                    <a:pt x="105" y="96"/>
                    <a:pt x="105" y="97"/>
                  </a:cubicBezTo>
                  <a:cubicBezTo>
                    <a:pt x="104" y="97"/>
                    <a:pt x="104" y="97"/>
                    <a:pt x="104" y="97"/>
                  </a:cubicBezTo>
                  <a:cubicBezTo>
                    <a:pt x="103" y="95"/>
                    <a:pt x="103" y="95"/>
                    <a:pt x="103" y="95"/>
                  </a:cubicBezTo>
                  <a:cubicBezTo>
                    <a:pt x="101" y="96"/>
                    <a:pt x="101" y="96"/>
                    <a:pt x="101" y="96"/>
                  </a:cubicBezTo>
                  <a:cubicBezTo>
                    <a:pt x="102" y="98"/>
                    <a:pt x="102" y="98"/>
                    <a:pt x="102" y="98"/>
                  </a:cubicBezTo>
                  <a:cubicBezTo>
                    <a:pt x="102" y="98"/>
                    <a:pt x="101" y="102"/>
                    <a:pt x="100" y="103"/>
                  </a:cubicBezTo>
                  <a:cubicBezTo>
                    <a:pt x="99" y="103"/>
                    <a:pt x="98" y="102"/>
                    <a:pt x="97" y="103"/>
                  </a:cubicBezTo>
                  <a:cubicBezTo>
                    <a:pt x="95" y="104"/>
                    <a:pt x="95" y="104"/>
                    <a:pt x="95" y="104"/>
                  </a:cubicBezTo>
                  <a:cubicBezTo>
                    <a:pt x="92" y="104"/>
                    <a:pt x="92" y="101"/>
                    <a:pt x="91" y="101"/>
                  </a:cubicBezTo>
                  <a:cubicBezTo>
                    <a:pt x="90" y="100"/>
                    <a:pt x="89" y="101"/>
                    <a:pt x="89" y="101"/>
                  </a:cubicBezTo>
                  <a:cubicBezTo>
                    <a:pt x="88" y="100"/>
                    <a:pt x="88" y="99"/>
                    <a:pt x="87" y="99"/>
                  </a:cubicBezTo>
                  <a:cubicBezTo>
                    <a:pt x="86" y="98"/>
                    <a:pt x="87" y="100"/>
                    <a:pt x="85" y="100"/>
                  </a:cubicBezTo>
                  <a:cubicBezTo>
                    <a:pt x="84" y="100"/>
                    <a:pt x="82" y="97"/>
                    <a:pt x="79" y="98"/>
                  </a:cubicBezTo>
                  <a:cubicBezTo>
                    <a:pt x="77" y="98"/>
                    <a:pt x="75" y="102"/>
                    <a:pt x="74" y="103"/>
                  </a:cubicBezTo>
                  <a:cubicBezTo>
                    <a:pt x="73" y="103"/>
                    <a:pt x="72" y="103"/>
                    <a:pt x="71" y="103"/>
                  </a:cubicBezTo>
                  <a:cubicBezTo>
                    <a:pt x="71" y="106"/>
                    <a:pt x="70" y="107"/>
                    <a:pt x="70" y="109"/>
                  </a:cubicBezTo>
                  <a:close/>
                  <a:moveTo>
                    <a:pt x="123" y="103"/>
                  </a:moveTo>
                  <a:cubicBezTo>
                    <a:pt x="122" y="105"/>
                    <a:pt x="122" y="107"/>
                    <a:pt x="120" y="108"/>
                  </a:cubicBezTo>
                  <a:cubicBezTo>
                    <a:pt x="119" y="109"/>
                    <a:pt x="117" y="108"/>
                    <a:pt x="116" y="110"/>
                  </a:cubicBezTo>
                  <a:cubicBezTo>
                    <a:pt x="115" y="112"/>
                    <a:pt x="116" y="117"/>
                    <a:pt x="117" y="119"/>
                  </a:cubicBezTo>
                  <a:cubicBezTo>
                    <a:pt x="116" y="119"/>
                    <a:pt x="116" y="119"/>
                    <a:pt x="116" y="120"/>
                  </a:cubicBezTo>
                  <a:cubicBezTo>
                    <a:pt x="117" y="122"/>
                    <a:pt x="121" y="123"/>
                    <a:pt x="123" y="124"/>
                  </a:cubicBezTo>
                  <a:cubicBezTo>
                    <a:pt x="124" y="118"/>
                    <a:pt x="127" y="112"/>
                    <a:pt x="125" y="105"/>
                  </a:cubicBezTo>
                  <a:cubicBezTo>
                    <a:pt x="125" y="104"/>
                    <a:pt x="123" y="103"/>
                    <a:pt x="123" y="10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04" name="Freeform 245">
              <a:extLst>
                <a:ext uri="{FF2B5EF4-FFF2-40B4-BE49-F238E27FC236}">
                  <a16:creationId xmlns:a16="http://schemas.microsoft.com/office/drawing/2014/main" id="{FADC5707-FD55-FE6C-1A84-37637C0815D4}"/>
                </a:ext>
              </a:extLst>
            </p:cNvPr>
            <p:cNvSpPr>
              <a:spLocks noEditPoints="1"/>
            </p:cNvSpPr>
            <p:nvPr/>
          </p:nvSpPr>
          <p:spPr bwMode="auto">
            <a:xfrm>
              <a:off x="5823166" y="2171546"/>
              <a:ext cx="5252700" cy="2942552"/>
            </a:xfrm>
            <a:custGeom>
              <a:avLst/>
              <a:gdLst>
                <a:gd name="T0" fmla="*/ 1458 w 1491"/>
                <a:gd name="T1" fmla="*/ 814 h 835"/>
                <a:gd name="T2" fmla="*/ 1471 w 1491"/>
                <a:gd name="T3" fmla="*/ 831 h 835"/>
                <a:gd name="T4" fmla="*/ 1482 w 1491"/>
                <a:gd name="T5" fmla="*/ 834 h 835"/>
                <a:gd name="T6" fmla="*/ 1476 w 1491"/>
                <a:gd name="T7" fmla="*/ 826 h 835"/>
                <a:gd name="T8" fmla="*/ 1470 w 1491"/>
                <a:gd name="T9" fmla="*/ 822 h 835"/>
                <a:gd name="T10" fmla="*/ 1457 w 1491"/>
                <a:gd name="T11" fmla="*/ 809 h 835"/>
                <a:gd name="T12" fmla="*/ 1482 w 1491"/>
                <a:gd name="T13" fmla="*/ 821 h 835"/>
                <a:gd name="T14" fmla="*/ 1488 w 1491"/>
                <a:gd name="T15" fmla="*/ 826 h 835"/>
                <a:gd name="T16" fmla="*/ 517 w 1491"/>
                <a:gd name="T17" fmla="*/ 815 h 835"/>
                <a:gd name="T18" fmla="*/ 519 w 1491"/>
                <a:gd name="T19" fmla="*/ 815 h 835"/>
                <a:gd name="T20" fmla="*/ 65 w 1491"/>
                <a:gd name="T21" fmla="*/ 112 h 835"/>
                <a:gd name="T22" fmla="*/ 50 w 1491"/>
                <a:gd name="T23" fmla="*/ 109 h 835"/>
                <a:gd name="T24" fmla="*/ 34 w 1491"/>
                <a:gd name="T25" fmla="*/ 105 h 835"/>
                <a:gd name="T26" fmla="*/ 33 w 1491"/>
                <a:gd name="T27" fmla="*/ 97 h 835"/>
                <a:gd name="T28" fmla="*/ 36 w 1491"/>
                <a:gd name="T29" fmla="*/ 85 h 835"/>
                <a:gd name="T30" fmla="*/ 36 w 1491"/>
                <a:gd name="T31" fmla="*/ 77 h 835"/>
                <a:gd name="T32" fmla="*/ 33 w 1491"/>
                <a:gd name="T33" fmla="*/ 68 h 835"/>
                <a:gd name="T34" fmla="*/ 23 w 1491"/>
                <a:gd name="T35" fmla="*/ 56 h 835"/>
                <a:gd name="T36" fmla="*/ 19 w 1491"/>
                <a:gd name="T37" fmla="*/ 52 h 835"/>
                <a:gd name="T38" fmla="*/ 18 w 1491"/>
                <a:gd name="T39" fmla="*/ 49 h 835"/>
                <a:gd name="T40" fmla="*/ 14 w 1491"/>
                <a:gd name="T41" fmla="*/ 50 h 835"/>
                <a:gd name="T42" fmla="*/ 8 w 1491"/>
                <a:gd name="T43" fmla="*/ 43 h 835"/>
                <a:gd name="T44" fmla="*/ 2 w 1491"/>
                <a:gd name="T45" fmla="*/ 41 h 835"/>
                <a:gd name="T46" fmla="*/ 5 w 1491"/>
                <a:gd name="T47" fmla="*/ 38 h 835"/>
                <a:gd name="T48" fmla="*/ 4 w 1491"/>
                <a:gd name="T49" fmla="*/ 33 h 835"/>
                <a:gd name="T50" fmla="*/ 16 w 1491"/>
                <a:gd name="T51" fmla="*/ 35 h 835"/>
                <a:gd name="T52" fmla="*/ 22 w 1491"/>
                <a:gd name="T53" fmla="*/ 33 h 835"/>
                <a:gd name="T54" fmla="*/ 31 w 1491"/>
                <a:gd name="T55" fmla="*/ 31 h 835"/>
                <a:gd name="T56" fmla="*/ 26 w 1491"/>
                <a:gd name="T57" fmla="*/ 18 h 835"/>
                <a:gd name="T58" fmla="*/ 45 w 1491"/>
                <a:gd name="T59" fmla="*/ 17 h 835"/>
                <a:gd name="T60" fmla="*/ 56 w 1491"/>
                <a:gd name="T61" fmla="*/ 5 h 835"/>
                <a:gd name="T62" fmla="*/ 63 w 1491"/>
                <a:gd name="T63" fmla="*/ 3 h 835"/>
                <a:gd name="T64" fmla="*/ 70 w 1491"/>
                <a:gd name="T65" fmla="*/ 10 h 835"/>
                <a:gd name="T66" fmla="*/ 80 w 1491"/>
                <a:gd name="T67" fmla="*/ 17 h 835"/>
                <a:gd name="T68" fmla="*/ 88 w 1491"/>
                <a:gd name="T69" fmla="*/ 21 h 835"/>
                <a:gd name="T70" fmla="*/ 94 w 1491"/>
                <a:gd name="T71" fmla="*/ 24 h 835"/>
                <a:gd name="T72" fmla="*/ 109 w 1491"/>
                <a:gd name="T73" fmla="*/ 28 h 835"/>
                <a:gd name="T74" fmla="*/ 112 w 1491"/>
                <a:gd name="T75" fmla="*/ 39 h 835"/>
                <a:gd name="T76" fmla="*/ 108 w 1491"/>
                <a:gd name="T77" fmla="*/ 50 h 835"/>
                <a:gd name="T78" fmla="*/ 95 w 1491"/>
                <a:gd name="T79" fmla="*/ 64 h 835"/>
                <a:gd name="T80" fmla="*/ 104 w 1491"/>
                <a:gd name="T81" fmla="*/ 71 h 835"/>
                <a:gd name="T82" fmla="*/ 102 w 1491"/>
                <a:gd name="T83" fmla="*/ 79 h 835"/>
                <a:gd name="T84" fmla="*/ 106 w 1491"/>
                <a:gd name="T85" fmla="*/ 92 h 835"/>
                <a:gd name="T86" fmla="*/ 104 w 1491"/>
                <a:gd name="T87" fmla="*/ 97 h 835"/>
                <a:gd name="T88" fmla="*/ 102 w 1491"/>
                <a:gd name="T89" fmla="*/ 98 h 835"/>
                <a:gd name="T90" fmla="*/ 95 w 1491"/>
                <a:gd name="T91" fmla="*/ 104 h 835"/>
                <a:gd name="T92" fmla="*/ 87 w 1491"/>
                <a:gd name="T93" fmla="*/ 99 h 835"/>
                <a:gd name="T94" fmla="*/ 74 w 1491"/>
                <a:gd name="T95" fmla="*/ 103 h 835"/>
                <a:gd name="T96" fmla="*/ 123 w 1491"/>
                <a:gd name="T97" fmla="*/ 103 h 835"/>
                <a:gd name="T98" fmla="*/ 117 w 1491"/>
                <a:gd name="T99" fmla="*/ 119 h 835"/>
                <a:gd name="T100" fmla="*/ 125 w 1491"/>
                <a:gd name="T101" fmla="*/ 105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91" h="835">
                  <a:moveTo>
                    <a:pt x="1457" y="809"/>
                  </a:moveTo>
                  <a:cubicBezTo>
                    <a:pt x="1457" y="809"/>
                    <a:pt x="1457" y="812"/>
                    <a:pt x="1457" y="813"/>
                  </a:cubicBezTo>
                  <a:cubicBezTo>
                    <a:pt x="1458" y="814"/>
                    <a:pt x="1458" y="814"/>
                    <a:pt x="1458" y="814"/>
                  </a:cubicBezTo>
                  <a:cubicBezTo>
                    <a:pt x="1459" y="817"/>
                    <a:pt x="1461" y="822"/>
                    <a:pt x="1464" y="824"/>
                  </a:cubicBezTo>
                  <a:cubicBezTo>
                    <a:pt x="1465" y="824"/>
                    <a:pt x="1466" y="825"/>
                    <a:pt x="1467" y="825"/>
                  </a:cubicBezTo>
                  <a:cubicBezTo>
                    <a:pt x="1468" y="827"/>
                    <a:pt x="1468" y="830"/>
                    <a:pt x="1471" y="831"/>
                  </a:cubicBezTo>
                  <a:cubicBezTo>
                    <a:pt x="1472" y="832"/>
                    <a:pt x="1474" y="832"/>
                    <a:pt x="1475" y="832"/>
                  </a:cubicBezTo>
                  <a:cubicBezTo>
                    <a:pt x="1476" y="833"/>
                    <a:pt x="1478" y="835"/>
                    <a:pt x="1479" y="835"/>
                  </a:cubicBezTo>
                  <a:cubicBezTo>
                    <a:pt x="1481" y="835"/>
                    <a:pt x="1481" y="834"/>
                    <a:pt x="1482" y="834"/>
                  </a:cubicBezTo>
                  <a:cubicBezTo>
                    <a:pt x="1483" y="835"/>
                    <a:pt x="1483" y="833"/>
                    <a:pt x="1483" y="833"/>
                  </a:cubicBezTo>
                  <a:cubicBezTo>
                    <a:pt x="1481" y="832"/>
                    <a:pt x="1478" y="830"/>
                    <a:pt x="1477" y="828"/>
                  </a:cubicBezTo>
                  <a:cubicBezTo>
                    <a:pt x="1476" y="827"/>
                    <a:pt x="1476" y="826"/>
                    <a:pt x="1476" y="826"/>
                  </a:cubicBezTo>
                  <a:cubicBezTo>
                    <a:pt x="1474" y="825"/>
                    <a:pt x="1472" y="826"/>
                    <a:pt x="1471" y="824"/>
                  </a:cubicBezTo>
                  <a:cubicBezTo>
                    <a:pt x="1470" y="824"/>
                    <a:pt x="1471" y="823"/>
                    <a:pt x="1471" y="822"/>
                  </a:cubicBezTo>
                  <a:cubicBezTo>
                    <a:pt x="1470" y="822"/>
                    <a:pt x="1470" y="822"/>
                    <a:pt x="1470" y="822"/>
                  </a:cubicBezTo>
                  <a:cubicBezTo>
                    <a:pt x="1469" y="822"/>
                    <a:pt x="1462" y="814"/>
                    <a:pt x="1461" y="813"/>
                  </a:cubicBezTo>
                  <a:cubicBezTo>
                    <a:pt x="1461" y="812"/>
                    <a:pt x="1462" y="810"/>
                    <a:pt x="1461" y="810"/>
                  </a:cubicBezTo>
                  <a:cubicBezTo>
                    <a:pt x="1461" y="809"/>
                    <a:pt x="1458" y="809"/>
                    <a:pt x="1457" y="809"/>
                  </a:cubicBezTo>
                  <a:close/>
                  <a:moveTo>
                    <a:pt x="1481" y="816"/>
                  </a:moveTo>
                  <a:cubicBezTo>
                    <a:pt x="1480" y="816"/>
                    <a:pt x="1480" y="820"/>
                    <a:pt x="1480" y="821"/>
                  </a:cubicBezTo>
                  <a:cubicBezTo>
                    <a:pt x="1481" y="821"/>
                    <a:pt x="1482" y="821"/>
                    <a:pt x="1482" y="821"/>
                  </a:cubicBezTo>
                  <a:cubicBezTo>
                    <a:pt x="1483" y="819"/>
                    <a:pt x="1483" y="819"/>
                    <a:pt x="1483" y="819"/>
                  </a:cubicBezTo>
                  <a:cubicBezTo>
                    <a:pt x="1482" y="818"/>
                    <a:pt x="1481" y="816"/>
                    <a:pt x="1481" y="816"/>
                  </a:cubicBezTo>
                  <a:close/>
                  <a:moveTo>
                    <a:pt x="1488" y="826"/>
                  </a:moveTo>
                  <a:cubicBezTo>
                    <a:pt x="1489" y="828"/>
                    <a:pt x="1489" y="828"/>
                    <a:pt x="1489" y="828"/>
                  </a:cubicBezTo>
                  <a:cubicBezTo>
                    <a:pt x="1490" y="828"/>
                    <a:pt x="1491" y="826"/>
                    <a:pt x="1488" y="826"/>
                  </a:cubicBezTo>
                  <a:close/>
                  <a:moveTo>
                    <a:pt x="517" y="815"/>
                  </a:moveTo>
                  <a:cubicBezTo>
                    <a:pt x="517" y="815"/>
                    <a:pt x="516" y="815"/>
                    <a:pt x="515" y="816"/>
                  </a:cubicBezTo>
                  <a:cubicBezTo>
                    <a:pt x="516" y="817"/>
                    <a:pt x="516" y="817"/>
                    <a:pt x="516" y="819"/>
                  </a:cubicBezTo>
                  <a:cubicBezTo>
                    <a:pt x="522" y="819"/>
                    <a:pt x="523" y="820"/>
                    <a:pt x="519" y="815"/>
                  </a:cubicBezTo>
                  <a:cubicBezTo>
                    <a:pt x="519" y="815"/>
                    <a:pt x="517" y="815"/>
                    <a:pt x="517" y="815"/>
                  </a:cubicBezTo>
                  <a:close/>
                  <a:moveTo>
                    <a:pt x="70" y="109"/>
                  </a:moveTo>
                  <a:cubicBezTo>
                    <a:pt x="66" y="109"/>
                    <a:pt x="68" y="112"/>
                    <a:pt x="65" y="112"/>
                  </a:cubicBezTo>
                  <a:cubicBezTo>
                    <a:pt x="62" y="112"/>
                    <a:pt x="60" y="113"/>
                    <a:pt x="59" y="111"/>
                  </a:cubicBezTo>
                  <a:cubicBezTo>
                    <a:pt x="58" y="109"/>
                    <a:pt x="56" y="111"/>
                    <a:pt x="56" y="111"/>
                  </a:cubicBezTo>
                  <a:cubicBezTo>
                    <a:pt x="56" y="111"/>
                    <a:pt x="53" y="111"/>
                    <a:pt x="50" y="109"/>
                  </a:cubicBezTo>
                  <a:cubicBezTo>
                    <a:pt x="47" y="108"/>
                    <a:pt x="46" y="110"/>
                    <a:pt x="44" y="110"/>
                  </a:cubicBezTo>
                  <a:cubicBezTo>
                    <a:pt x="42" y="110"/>
                    <a:pt x="42" y="107"/>
                    <a:pt x="39" y="107"/>
                  </a:cubicBezTo>
                  <a:cubicBezTo>
                    <a:pt x="36" y="107"/>
                    <a:pt x="37" y="106"/>
                    <a:pt x="34" y="105"/>
                  </a:cubicBezTo>
                  <a:cubicBezTo>
                    <a:pt x="31" y="105"/>
                    <a:pt x="30" y="106"/>
                    <a:pt x="30" y="104"/>
                  </a:cubicBezTo>
                  <a:cubicBezTo>
                    <a:pt x="30" y="102"/>
                    <a:pt x="28" y="100"/>
                    <a:pt x="28" y="100"/>
                  </a:cubicBezTo>
                  <a:cubicBezTo>
                    <a:pt x="30" y="100"/>
                    <a:pt x="32" y="99"/>
                    <a:pt x="33" y="97"/>
                  </a:cubicBezTo>
                  <a:cubicBezTo>
                    <a:pt x="34" y="95"/>
                    <a:pt x="33" y="92"/>
                    <a:pt x="34" y="90"/>
                  </a:cubicBezTo>
                  <a:cubicBezTo>
                    <a:pt x="34" y="89"/>
                    <a:pt x="35" y="87"/>
                    <a:pt x="36" y="87"/>
                  </a:cubicBezTo>
                  <a:cubicBezTo>
                    <a:pt x="36" y="86"/>
                    <a:pt x="35" y="85"/>
                    <a:pt x="36" y="85"/>
                  </a:cubicBezTo>
                  <a:cubicBezTo>
                    <a:pt x="36" y="85"/>
                    <a:pt x="35" y="84"/>
                    <a:pt x="34" y="84"/>
                  </a:cubicBezTo>
                  <a:cubicBezTo>
                    <a:pt x="34" y="82"/>
                    <a:pt x="34" y="80"/>
                    <a:pt x="34" y="78"/>
                  </a:cubicBezTo>
                  <a:cubicBezTo>
                    <a:pt x="34" y="78"/>
                    <a:pt x="35" y="77"/>
                    <a:pt x="36" y="77"/>
                  </a:cubicBezTo>
                  <a:cubicBezTo>
                    <a:pt x="35" y="76"/>
                    <a:pt x="35" y="76"/>
                    <a:pt x="34" y="75"/>
                  </a:cubicBezTo>
                  <a:cubicBezTo>
                    <a:pt x="35" y="74"/>
                    <a:pt x="35" y="69"/>
                    <a:pt x="34" y="67"/>
                  </a:cubicBezTo>
                  <a:cubicBezTo>
                    <a:pt x="34" y="67"/>
                    <a:pt x="33" y="68"/>
                    <a:pt x="33" y="68"/>
                  </a:cubicBezTo>
                  <a:cubicBezTo>
                    <a:pt x="33" y="68"/>
                    <a:pt x="32" y="66"/>
                    <a:pt x="32" y="66"/>
                  </a:cubicBezTo>
                  <a:cubicBezTo>
                    <a:pt x="29" y="64"/>
                    <a:pt x="24" y="63"/>
                    <a:pt x="23" y="60"/>
                  </a:cubicBezTo>
                  <a:cubicBezTo>
                    <a:pt x="23" y="59"/>
                    <a:pt x="23" y="57"/>
                    <a:pt x="23" y="56"/>
                  </a:cubicBezTo>
                  <a:cubicBezTo>
                    <a:pt x="21" y="58"/>
                    <a:pt x="23" y="53"/>
                    <a:pt x="23" y="53"/>
                  </a:cubicBezTo>
                  <a:cubicBezTo>
                    <a:pt x="22" y="53"/>
                    <a:pt x="21" y="53"/>
                    <a:pt x="20" y="53"/>
                  </a:cubicBezTo>
                  <a:cubicBezTo>
                    <a:pt x="19" y="52"/>
                    <a:pt x="19" y="52"/>
                    <a:pt x="19" y="52"/>
                  </a:cubicBezTo>
                  <a:cubicBezTo>
                    <a:pt x="19" y="52"/>
                    <a:pt x="20" y="51"/>
                    <a:pt x="20" y="50"/>
                  </a:cubicBezTo>
                  <a:cubicBezTo>
                    <a:pt x="19" y="50"/>
                    <a:pt x="17" y="50"/>
                    <a:pt x="16" y="50"/>
                  </a:cubicBezTo>
                  <a:cubicBezTo>
                    <a:pt x="17" y="50"/>
                    <a:pt x="16" y="48"/>
                    <a:pt x="18" y="49"/>
                  </a:cubicBezTo>
                  <a:cubicBezTo>
                    <a:pt x="18" y="48"/>
                    <a:pt x="18" y="47"/>
                    <a:pt x="19" y="47"/>
                  </a:cubicBezTo>
                  <a:cubicBezTo>
                    <a:pt x="18" y="47"/>
                    <a:pt x="18" y="46"/>
                    <a:pt x="17" y="46"/>
                  </a:cubicBezTo>
                  <a:cubicBezTo>
                    <a:pt x="16" y="47"/>
                    <a:pt x="15" y="49"/>
                    <a:pt x="14" y="50"/>
                  </a:cubicBezTo>
                  <a:cubicBezTo>
                    <a:pt x="12" y="47"/>
                    <a:pt x="12" y="46"/>
                    <a:pt x="10" y="44"/>
                  </a:cubicBezTo>
                  <a:cubicBezTo>
                    <a:pt x="9" y="44"/>
                    <a:pt x="9" y="45"/>
                    <a:pt x="8" y="45"/>
                  </a:cubicBezTo>
                  <a:cubicBezTo>
                    <a:pt x="8" y="44"/>
                    <a:pt x="8" y="44"/>
                    <a:pt x="8" y="43"/>
                  </a:cubicBezTo>
                  <a:cubicBezTo>
                    <a:pt x="6" y="43"/>
                    <a:pt x="4" y="43"/>
                    <a:pt x="1" y="43"/>
                  </a:cubicBezTo>
                  <a:cubicBezTo>
                    <a:pt x="0" y="42"/>
                    <a:pt x="0" y="42"/>
                    <a:pt x="0" y="42"/>
                  </a:cubicBezTo>
                  <a:cubicBezTo>
                    <a:pt x="2" y="41"/>
                    <a:pt x="2" y="41"/>
                    <a:pt x="2" y="41"/>
                  </a:cubicBezTo>
                  <a:cubicBezTo>
                    <a:pt x="2" y="41"/>
                    <a:pt x="2" y="39"/>
                    <a:pt x="2" y="39"/>
                  </a:cubicBezTo>
                  <a:cubicBezTo>
                    <a:pt x="3" y="39"/>
                    <a:pt x="2" y="39"/>
                    <a:pt x="4" y="39"/>
                  </a:cubicBezTo>
                  <a:cubicBezTo>
                    <a:pt x="5" y="38"/>
                    <a:pt x="5" y="38"/>
                    <a:pt x="5" y="38"/>
                  </a:cubicBezTo>
                  <a:cubicBezTo>
                    <a:pt x="4" y="37"/>
                    <a:pt x="2" y="37"/>
                    <a:pt x="1" y="36"/>
                  </a:cubicBezTo>
                  <a:cubicBezTo>
                    <a:pt x="1" y="35"/>
                    <a:pt x="1" y="35"/>
                    <a:pt x="1" y="35"/>
                  </a:cubicBezTo>
                  <a:cubicBezTo>
                    <a:pt x="2" y="34"/>
                    <a:pt x="3" y="33"/>
                    <a:pt x="4" y="33"/>
                  </a:cubicBezTo>
                  <a:cubicBezTo>
                    <a:pt x="6" y="32"/>
                    <a:pt x="8" y="34"/>
                    <a:pt x="9" y="33"/>
                  </a:cubicBezTo>
                  <a:cubicBezTo>
                    <a:pt x="10" y="31"/>
                    <a:pt x="10" y="31"/>
                    <a:pt x="10" y="31"/>
                  </a:cubicBezTo>
                  <a:cubicBezTo>
                    <a:pt x="15" y="30"/>
                    <a:pt x="15" y="33"/>
                    <a:pt x="16" y="35"/>
                  </a:cubicBezTo>
                  <a:cubicBezTo>
                    <a:pt x="18" y="35"/>
                    <a:pt x="18" y="35"/>
                    <a:pt x="18" y="35"/>
                  </a:cubicBezTo>
                  <a:cubicBezTo>
                    <a:pt x="18" y="35"/>
                    <a:pt x="19" y="33"/>
                    <a:pt x="19" y="33"/>
                  </a:cubicBezTo>
                  <a:cubicBezTo>
                    <a:pt x="21" y="32"/>
                    <a:pt x="21" y="34"/>
                    <a:pt x="22" y="33"/>
                  </a:cubicBezTo>
                  <a:cubicBezTo>
                    <a:pt x="23" y="32"/>
                    <a:pt x="23" y="32"/>
                    <a:pt x="23" y="32"/>
                  </a:cubicBezTo>
                  <a:cubicBezTo>
                    <a:pt x="26" y="33"/>
                    <a:pt x="26" y="32"/>
                    <a:pt x="30" y="33"/>
                  </a:cubicBezTo>
                  <a:cubicBezTo>
                    <a:pt x="30" y="32"/>
                    <a:pt x="32" y="32"/>
                    <a:pt x="31" y="31"/>
                  </a:cubicBezTo>
                  <a:cubicBezTo>
                    <a:pt x="31" y="31"/>
                    <a:pt x="29" y="30"/>
                    <a:pt x="29" y="30"/>
                  </a:cubicBezTo>
                  <a:cubicBezTo>
                    <a:pt x="28" y="28"/>
                    <a:pt x="29" y="26"/>
                    <a:pt x="29" y="24"/>
                  </a:cubicBezTo>
                  <a:cubicBezTo>
                    <a:pt x="29" y="23"/>
                    <a:pt x="27" y="20"/>
                    <a:pt x="26" y="18"/>
                  </a:cubicBezTo>
                  <a:cubicBezTo>
                    <a:pt x="32" y="17"/>
                    <a:pt x="31" y="17"/>
                    <a:pt x="32" y="23"/>
                  </a:cubicBezTo>
                  <a:cubicBezTo>
                    <a:pt x="36" y="22"/>
                    <a:pt x="41" y="22"/>
                    <a:pt x="45" y="21"/>
                  </a:cubicBezTo>
                  <a:cubicBezTo>
                    <a:pt x="45" y="19"/>
                    <a:pt x="45" y="20"/>
                    <a:pt x="45" y="17"/>
                  </a:cubicBezTo>
                  <a:cubicBezTo>
                    <a:pt x="47" y="16"/>
                    <a:pt x="51" y="13"/>
                    <a:pt x="53" y="13"/>
                  </a:cubicBezTo>
                  <a:cubicBezTo>
                    <a:pt x="54" y="13"/>
                    <a:pt x="55" y="14"/>
                    <a:pt x="56" y="13"/>
                  </a:cubicBezTo>
                  <a:cubicBezTo>
                    <a:pt x="55" y="13"/>
                    <a:pt x="55" y="7"/>
                    <a:pt x="56" y="5"/>
                  </a:cubicBezTo>
                  <a:cubicBezTo>
                    <a:pt x="55" y="6"/>
                    <a:pt x="56" y="2"/>
                    <a:pt x="56" y="2"/>
                  </a:cubicBezTo>
                  <a:cubicBezTo>
                    <a:pt x="58" y="1"/>
                    <a:pt x="59" y="0"/>
                    <a:pt x="61" y="0"/>
                  </a:cubicBezTo>
                  <a:cubicBezTo>
                    <a:pt x="63" y="3"/>
                    <a:pt x="63" y="3"/>
                    <a:pt x="63" y="3"/>
                  </a:cubicBezTo>
                  <a:cubicBezTo>
                    <a:pt x="63" y="3"/>
                    <a:pt x="65" y="2"/>
                    <a:pt x="65" y="4"/>
                  </a:cubicBezTo>
                  <a:cubicBezTo>
                    <a:pt x="66" y="6"/>
                    <a:pt x="66" y="7"/>
                    <a:pt x="66" y="7"/>
                  </a:cubicBezTo>
                  <a:cubicBezTo>
                    <a:pt x="66" y="7"/>
                    <a:pt x="68" y="7"/>
                    <a:pt x="70" y="10"/>
                  </a:cubicBezTo>
                  <a:cubicBezTo>
                    <a:pt x="73" y="13"/>
                    <a:pt x="74" y="11"/>
                    <a:pt x="74" y="11"/>
                  </a:cubicBezTo>
                  <a:cubicBezTo>
                    <a:pt x="74" y="11"/>
                    <a:pt x="74" y="12"/>
                    <a:pt x="76" y="14"/>
                  </a:cubicBezTo>
                  <a:cubicBezTo>
                    <a:pt x="78" y="16"/>
                    <a:pt x="79" y="16"/>
                    <a:pt x="80" y="17"/>
                  </a:cubicBezTo>
                  <a:cubicBezTo>
                    <a:pt x="82" y="18"/>
                    <a:pt x="84" y="14"/>
                    <a:pt x="84" y="17"/>
                  </a:cubicBezTo>
                  <a:cubicBezTo>
                    <a:pt x="84" y="20"/>
                    <a:pt x="84" y="20"/>
                    <a:pt x="86" y="20"/>
                  </a:cubicBezTo>
                  <a:cubicBezTo>
                    <a:pt x="88" y="20"/>
                    <a:pt x="88" y="21"/>
                    <a:pt x="88" y="21"/>
                  </a:cubicBezTo>
                  <a:cubicBezTo>
                    <a:pt x="92" y="20"/>
                    <a:pt x="92" y="20"/>
                    <a:pt x="92" y="20"/>
                  </a:cubicBezTo>
                  <a:cubicBezTo>
                    <a:pt x="92" y="21"/>
                    <a:pt x="93" y="21"/>
                    <a:pt x="93" y="21"/>
                  </a:cubicBezTo>
                  <a:cubicBezTo>
                    <a:pt x="93" y="21"/>
                    <a:pt x="92" y="24"/>
                    <a:pt x="94" y="24"/>
                  </a:cubicBezTo>
                  <a:cubicBezTo>
                    <a:pt x="95" y="24"/>
                    <a:pt x="97" y="25"/>
                    <a:pt x="97" y="25"/>
                  </a:cubicBezTo>
                  <a:cubicBezTo>
                    <a:pt x="97" y="25"/>
                    <a:pt x="103" y="23"/>
                    <a:pt x="104" y="26"/>
                  </a:cubicBezTo>
                  <a:cubicBezTo>
                    <a:pt x="106" y="29"/>
                    <a:pt x="106" y="27"/>
                    <a:pt x="109" y="28"/>
                  </a:cubicBezTo>
                  <a:cubicBezTo>
                    <a:pt x="111" y="28"/>
                    <a:pt x="113" y="28"/>
                    <a:pt x="113" y="28"/>
                  </a:cubicBezTo>
                  <a:cubicBezTo>
                    <a:pt x="113" y="28"/>
                    <a:pt x="114" y="32"/>
                    <a:pt x="112" y="34"/>
                  </a:cubicBezTo>
                  <a:cubicBezTo>
                    <a:pt x="111" y="36"/>
                    <a:pt x="111" y="37"/>
                    <a:pt x="112" y="39"/>
                  </a:cubicBezTo>
                  <a:cubicBezTo>
                    <a:pt x="112" y="41"/>
                    <a:pt x="110" y="44"/>
                    <a:pt x="112" y="47"/>
                  </a:cubicBezTo>
                  <a:cubicBezTo>
                    <a:pt x="112" y="47"/>
                    <a:pt x="111" y="49"/>
                    <a:pt x="110" y="48"/>
                  </a:cubicBezTo>
                  <a:cubicBezTo>
                    <a:pt x="108" y="46"/>
                    <a:pt x="108" y="50"/>
                    <a:pt x="108" y="50"/>
                  </a:cubicBezTo>
                  <a:cubicBezTo>
                    <a:pt x="108" y="50"/>
                    <a:pt x="109" y="51"/>
                    <a:pt x="106" y="51"/>
                  </a:cubicBezTo>
                  <a:cubicBezTo>
                    <a:pt x="103" y="52"/>
                    <a:pt x="101" y="56"/>
                    <a:pt x="99" y="58"/>
                  </a:cubicBezTo>
                  <a:cubicBezTo>
                    <a:pt x="98" y="60"/>
                    <a:pt x="96" y="62"/>
                    <a:pt x="95" y="64"/>
                  </a:cubicBezTo>
                  <a:cubicBezTo>
                    <a:pt x="94" y="66"/>
                    <a:pt x="92" y="71"/>
                    <a:pt x="96" y="68"/>
                  </a:cubicBezTo>
                  <a:cubicBezTo>
                    <a:pt x="99" y="65"/>
                    <a:pt x="99" y="68"/>
                    <a:pt x="99" y="68"/>
                  </a:cubicBezTo>
                  <a:cubicBezTo>
                    <a:pt x="99" y="70"/>
                    <a:pt x="104" y="69"/>
                    <a:pt x="104" y="71"/>
                  </a:cubicBezTo>
                  <a:cubicBezTo>
                    <a:pt x="105" y="73"/>
                    <a:pt x="107" y="72"/>
                    <a:pt x="107" y="72"/>
                  </a:cubicBezTo>
                  <a:cubicBezTo>
                    <a:pt x="105" y="76"/>
                    <a:pt x="105" y="76"/>
                    <a:pt x="105" y="76"/>
                  </a:cubicBezTo>
                  <a:cubicBezTo>
                    <a:pt x="105" y="76"/>
                    <a:pt x="104" y="79"/>
                    <a:pt x="102" y="79"/>
                  </a:cubicBezTo>
                  <a:cubicBezTo>
                    <a:pt x="99" y="79"/>
                    <a:pt x="99" y="84"/>
                    <a:pt x="102" y="84"/>
                  </a:cubicBezTo>
                  <a:cubicBezTo>
                    <a:pt x="104" y="84"/>
                    <a:pt x="101" y="90"/>
                    <a:pt x="102" y="91"/>
                  </a:cubicBezTo>
                  <a:cubicBezTo>
                    <a:pt x="103" y="92"/>
                    <a:pt x="107" y="90"/>
                    <a:pt x="106" y="92"/>
                  </a:cubicBezTo>
                  <a:cubicBezTo>
                    <a:pt x="105" y="94"/>
                    <a:pt x="106" y="92"/>
                    <a:pt x="104" y="94"/>
                  </a:cubicBezTo>
                  <a:cubicBezTo>
                    <a:pt x="103" y="96"/>
                    <a:pt x="105" y="96"/>
                    <a:pt x="105" y="97"/>
                  </a:cubicBezTo>
                  <a:cubicBezTo>
                    <a:pt x="104" y="97"/>
                    <a:pt x="104" y="97"/>
                    <a:pt x="104" y="97"/>
                  </a:cubicBezTo>
                  <a:cubicBezTo>
                    <a:pt x="103" y="95"/>
                    <a:pt x="103" y="95"/>
                    <a:pt x="103" y="95"/>
                  </a:cubicBezTo>
                  <a:cubicBezTo>
                    <a:pt x="101" y="96"/>
                    <a:pt x="101" y="96"/>
                    <a:pt x="101" y="96"/>
                  </a:cubicBezTo>
                  <a:cubicBezTo>
                    <a:pt x="102" y="98"/>
                    <a:pt x="102" y="98"/>
                    <a:pt x="102" y="98"/>
                  </a:cubicBezTo>
                  <a:cubicBezTo>
                    <a:pt x="102" y="98"/>
                    <a:pt x="101" y="102"/>
                    <a:pt x="100" y="103"/>
                  </a:cubicBezTo>
                  <a:cubicBezTo>
                    <a:pt x="99" y="103"/>
                    <a:pt x="98" y="102"/>
                    <a:pt x="97" y="103"/>
                  </a:cubicBezTo>
                  <a:cubicBezTo>
                    <a:pt x="95" y="104"/>
                    <a:pt x="95" y="104"/>
                    <a:pt x="95" y="104"/>
                  </a:cubicBezTo>
                  <a:cubicBezTo>
                    <a:pt x="92" y="104"/>
                    <a:pt x="92" y="101"/>
                    <a:pt x="91" y="101"/>
                  </a:cubicBezTo>
                  <a:cubicBezTo>
                    <a:pt x="90" y="100"/>
                    <a:pt x="89" y="101"/>
                    <a:pt x="89" y="101"/>
                  </a:cubicBezTo>
                  <a:cubicBezTo>
                    <a:pt x="88" y="100"/>
                    <a:pt x="88" y="99"/>
                    <a:pt x="87" y="99"/>
                  </a:cubicBezTo>
                  <a:cubicBezTo>
                    <a:pt x="86" y="98"/>
                    <a:pt x="87" y="100"/>
                    <a:pt x="85" y="100"/>
                  </a:cubicBezTo>
                  <a:cubicBezTo>
                    <a:pt x="84" y="100"/>
                    <a:pt x="82" y="97"/>
                    <a:pt x="79" y="98"/>
                  </a:cubicBezTo>
                  <a:cubicBezTo>
                    <a:pt x="77" y="98"/>
                    <a:pt x="75" y="102"/>
                    <a:pt x="74" y="103"/>
                  </a:cubicBezTo>
                  <a:cubicBezTo>
                    <a:pt x="73" y="103"/>
                    <a:pt x="72" y="103"/>
                    <a:pt x="71" y="103"/>
                  </a:cubicBezTo>
                  <a:cubicBezTo>
                    <a:pt x="71" y="106"/>
                    <a:pt x="70" y="107"/>
                    <a:pt x="70" y="109"/>
                  </a:cubicBezTo>
                  <a:close/>
                  <a:moveTo>
                    <a:pt x="123" y="103"/>
                  </a:moveTo>
                  <a:cubicBezTo>
                    <a:pt x="122" y="105"/>
                    <a:pt x="122" y="107"/>
                    <a:pt x="120" y="108"/>
                  </a:cubicBezTo>
                  <a:cubicBezTo>
                    <a:pt x="119" y="109"/>
                    <a:pt x="117" y="108"/>
                    <a:pt x="116" y="110"/>
                  </a:cubicBezTo>
                  <a:cubicBezTo>
                    <a:pt x="115" y="112"/>
                    <a:pt x="116" y="117"/>
                    <a:pt x="117" y="119"/>
                  </a:cubicBezTo>
                  <a:cubicBezTo>
                    <a:pt x="116" y="119"/>
                    <a:pt x="116" y="119"/>
                    <a:pt x="116" y="120"/>
                  </a:cubicBezTo>
                  <a:cubicBezTo>
                    <a:pt x="117" y="122"/>
                    <a:pt x="121" y="123"/>
                    <a:pt x="123" y="124"/>
                  </a:cubicBezTo>
                  <a:cubicBezTo>
                    <a:pt x="124" y="118"/>
                    <a:pt x="127" y="112"/>
                    <a:pt x="125" y="105"/>
                  </a:cubicBezTo>
                  <a:cubicBezTo>
                    <a:pt x="125" y="104"/>
                    <a:pt x="123" y="103"/>
                    <a:pt x="123" y="10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05" name="Freeform 246">
              <a:extLst>
                <a:ext uri="{FF2B5EF4-FFF2-40B4-BE49-F238E27FC236}">
                  <a16:creationId xmlns:a16="http://schemas.microsoft.com/office/drawing/2014/main" id="{4A6570DE-5111-8BC5-6025-94D9F3762142}"/>
                </a:ext>
              </a:extLst>
            </p:cNvPr>
            <p:cNvSpPr>
              <a:spLocks noEditPoints="1"/>
            </p:cNvSpPr>
            <p:nvPr/>
          </p:nvSpPr>
          <p:spPr bwMode="auto">
            <a:xfrm>
              <a:off x="6559694" y="1183509"/>
              <a:ext cx="388025" cy="556894"/>
            </a:xfrm>
            <a:custGeom>
              <a:avLst/>
              <a:gdLst>
                <a:gd name="T0" fmla="*/ 47 w 110"/>
                <a:gd name="T1" fmla="*/ 68 h 158"/>
                <a:gd name="T2" fmla="*/ 51 w 110"/>
                <a:gd name="T3" fmla="*/ 70 h 158"/>
                <a:gd name="T4" fmla="*/ 52 w 110"/>
                <a:gd name="T5" fmla="*/ 78 h 158"/>
                <a:gd name="T6" fmla="*/ 51 w 110"/>
                <a:gd name="T7" fmla="*/ 84 h 158"/>
                <a:gd name="T8" fmla="*/ 47 w 110"/>
                <a:gd name="T9" fmla="*/ 85 h 158"/>
                <a:gd name="T10" fmla="*/ 43 w 110"/>
                <a:gd name="T11" fmla="*/ 92 h 158"/>
                <a:gd name="T12" fmla="*/ 40 w 110"/>
                <a:gd name="T13" fmla="*/ 99 h 158"/>
                <a:gd name="T14" fmla="*/ 31 w 110"/>
                <a:gd name="T15" fmla="*/ 105 h 158"/>
                <a:gd name="T16" fmla="*/ 30 w 110"/>
                <a:gd name="T17" fmla="*/ 108 h 158"/>
                <a:gd name="T18" fmla="*/ 25 w 110"/>
                <a:gd name="T19" fmla="*/ 112 h 158"/>
                <a:gd name="T20" fmla="*/ 21 w 110"/>
                <a:gd name="T21" fmla="*/ 118 h 158"/>
                <a:gd name="T22" fmla="*/ 23 w 110"/>
                <a:gd name="T23" fmla="*/ 123 h 158"/>
                <a:gd name="T24" fmla="*/ 23 w 110"/>
                <a:gd name="T25" fmla="*/ 129 h 158"/>
                <a:gd name="T26" fmla="*/ 21 w 110"/>
                <a:gd name="T27" fmla="*/ 133 h 158"/>
                <a:gd name="T28" fmla="*/ 22 w 110"/>
                <a:gd name="T29" fmla="*/ 141 h 158"/>
                <a:gd name="T30" fmla="*/ 25 w 110"/>
                <a:gd name="T31" fmla="*/ 141 h 158"/>
                <a:gd name="T32" fmla="*/ 27 w 110"/>
                <a:gd name="T33" fmla="*/ 147 h 158"/>
                <a:gd name="T34" fmla="*/ 29 w 110"/>
                <a:gd name="T35" fmla="*/ 146 h 158"/>
                <a:gd name="T36" fmla="*/ 29 w 110"/>
                <a:gd name="T37" fmla="*/ 151 h 158"/>
                <a:gd name="T38" fmla="*/ 34 w 110"/>
                <a:gd name="T39" fmla="*/ 151 h 158"/>
                <a:gd name="T40" fmla="*/ 36 w 110"/>
                <a:gd name="T41" fmla="*/ 156 h 158"/>
                <a:gd name="T42" fmla="*/ 41 w 110"/>
                <a:gd name="T43" fmla="*/ 158 h 158"/>
                <a:gd name="T44" fmla="*/ 49 w 110"/>
                <a:gd name="T45" fmla="*/ 155 h 158"/>
                <a:gd name="T46" fmla="*/ 59 w 110"/>
                <a:gd name="T47" fmla="*/ 147 h 158"/>
                <a:gd name="T48" fmla="*/ 64 w 110"/>
                <a:gd name="T49" fmla="*/ 147 h 158"/>
                <a:gd name="T50" fmla="*/ 67 w 110"/>
                <a:gd name="T51" fmla="*/ 146 h 158"/>
                <a:gd name="T52" fmla="*/ 69 w 110"/>
                <a:gd name="T53" fmla="*/ 145 h 158"/>
                <a:gd name="T54" fmla="*/ 73 w 110"/>
                <a:gd name="T55" fmla="*/ 146 h 158"/>
                <a:gd name="T56" fmla="*/ 99 w 110"/>
                <a:gd name="T57" fmla="*/ 126 h 158"/>
                <a:gd name="T58" fmla="*/ 110 w 110"/>
                <a:gd name="T59" fmla="*/ 110 h 158"/>
                <a:gd name="T60" fmla="*/ 102 w 110"/>
                <a:gd name="T61" fmla="*/ 104 h 158"/>
                <a:gd name="T62" fmla="*/ 101 w 110"/>
                <a:gd name="T63" fmla="*/ 93 h 158"/>
                <a:gd name="T64" fmla="*/ 99 w 110"/>
                <a:gd name="T65" fmla="*/ 88 h 158"/>
                <a:gd name="T66" fmla="*/ 94 w 110"/>
                <a:gd name="T67" fmla="*/ 80 h 158"/>
                <a:gd name="T68" fmla="*/ 94 w 110"/>
                <a:gd name="T69" fmla="*/ 72 h 158"/>
                <a:gd name="T70" fmla="*/ 94 w 110"/>
                <a:gd name="T71" fmla="*/ 65 h 158"/>
                <a:gd name="T72" fmla="*/ 90 w 110"/>
                <a:gd name="T73" fmla="*/ 54 h 158"/>
                <a:gd name="T74" fmla="*/ 91 w 110"/>
                <a:gd name="T75" fmla="*/ 50 h 158"/>
                <a:gd name="T76" fmla="*/ 94 w 110"/>
                <a:gd name="T77" fmla="*/ 39 h 158"/>
                <a:gd name="T78" fmla="*/ 85 w 110"/>
                <a:gd name="T79" fmla="*/ 28 h 158"/>
                <a:gd name="T80" fmla="*/ 81 w 110"/>
                <a:gd name="T81" fmla="*/ 25 h 158"/>
                <a:gd name="T82" fmla="*/ 85 w 110"/>
                <a:gd name="T83" fmla="*/ 13 h 158"/>
                <a:gd name="T84" fmla="*/ 77 w 110"/>
                <a:gd name="T85" fmla="*/ 3 h 158"/>
                <a:gd name="T86" fmla="*/ 62 w 110"/>
                <a:gd name="T87" fmla="*/ 7 h 158"/>
                <a:gd name="T88" fmla="*/ 58 w 110"/>
                <a:gd name="T89" fmla="*/ 14 h 158"/>
                <a:gd name="T90" fmla="*/ 57 w 110"/>
                <a:gd name="T91" fmla="*/ 22 h 158"/>
                <a:gd name="T92" fmla="*/ 48 w 110"/>
                <a:gd name="T93" fmla="*/ 28 h 158"/>
                <a:gd name="T94" fmla="*/ 41 w 110"/>
                <a:gd name="T95" fmla="*/ 23 h 158"/>
                <a:gd name="T96" fmla="*/ 30 w 110"/>
                <a:gd name="T97" fmla="*/ 23 h 158"/>
                <a:gd name="T98" fmla="*/ 20 w 110"/>
                <a:gd name="T99" fmla="*/ 16 h 158"/>
                <a:gd name="T100" fmla="*/ 13 w 110"/>
                <a:gd name="T101" fmla="*/ 17 h 158"/>
                <a:gd name="T102" fmla="*/ 21 w 110"/>
                <a:gd name="T103" fmla="*/ 25 h 158"/>
                <a:gd name="T104" fmla="*/ 35 w 110"/>
                <a:gd name="T105" fmla="*/ 33 h 158"/>
                <a:gd name="T106" fmla="*/ 39 w 110"/>
                <a:gd name="T107" fmla="*/ 44 h 158"/>
                <a:gd name="T108" fmla="*/ 42 w 110"/>
                <a:gd name="T109" fmla="*/ 47 h 158"/>
                <a:gd name="T110" fmla="*/ 43 w 110"/>
                <a:gd name="T111" fmla="*/ 60 h 158"/>
                <a:gd name="T112" fmla="*/ 45 w 110"/>
                <a:gd name="T113" fmla="*/ 68 h 158"/>
                <a:gd name="T114" fmla="*/ 5 w 110"/>
                <a:gd name="T115" fmla="*/ 153 h 158"/>
                <a:gd name="T116" fmla="*/ 7 w 110"/>
                <a:gd name="T117" fmla="*/ 158 h 158"/>
                <a:gd name="T118" fmla="*/ 5 w 110"/>
                <a:gd name="T119" fmla="*/ 152 h 158"/>
                <a:gd name="T120" fmla="*/ 47 w 110"/>
                <a:gd name="T121" fmla="*/ 79 h 158"/>
                <a:gd name="T122" fmla="*/ 47 w 110"/>
                <a:gd name="T123" fmla="*/ 7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 h="158">
                  <a:moveTo>
                    <a:pt x="45" y="68"/>
                  </a:moveTo>
                  <a:cubicBezTo>
                    <a:pt x="47" y="68"/>
                    <a:pt x="46" y="68"/>
                    <a:pt x="47" y="68"/>
                  </a:cubicBezTo>
                  <a:cubicBezTo>
                    <a:pt x="48" y="71"/>
                    <a:pt x="48" y="71"/>
                    <a:pt x="48" y="71"/>
                  </a:cubicBezTo>
                  <a:cubicBezTo>
                    <a:pt x="49" y="71"/>
                    <a:pt x="49" y="69"/>
                    <a:pt x="51" y="70"/>
                  </a:cubicBezTo>
                  <a:cubicBezTo>
                    <a:pt x="53" y="72"/>
                    <a:pt x="51" y="75"/>
                    <a:pt x="51" y="77"/>
                  </a:cubicBezTo>
                  <a:cubicBezTo>
                    <a:pt x="52" y="78"/>
                    <a:pt x="52" y="78"/>
                    <a:pt x="52" y="78"/>
                  </a:cubicBezTo>
                  <a:cubicBezTo>
                    <a:pt x="52" y="80"/>
                    <a:pt x="52" y="80"/>
                    <a:pt x="51" y="81"/>
                  </a:cubicBezTo>
                  <a:cubicBezTo>
                    <a:pt x="51" y="82"/>
                    <a:pt x="52" y="84"/>
                    <a:pt x="51" y="84"/>
                  </a:cubicBezTo>
                  <a:cubicBezTo>
                    <a:pt x="50" y="84"/>
                    <a:pt x="50" y="84"/>
                    <a:pt x="51" y="83"/>
                  </a:cubicBezTo>
                  <a:cubicBezTo>
                    <a:pt x="49" y="84"/>
                    <a:pt x="48" y="84"/>
                    <a:pt x="47" y="85"/>
                  </a:cubicBezTo>
                  <a:cubicBezTo>
                    <a:pt x="45" y="86"/>
                    <a:pt x="45" y="90"/>
                    <a:pt x="44" y="92"/>
                  </a:cubicBezTo>
                  <a:cubicBezTo>
                    <a:pt x="43" y="92"/>
                    <a:pt x="43" y="92"/>
                    <a:pt x="43" y="92"/>
                  </a:cubicBezTo>
                  <a:cubicBezTo>
                    <a:pt x="42" y="93"/>
                    <a:pt x="40" y="96"/>
                    <a:pt x="40" y="97"/>
                  </a:cubicBezTo>
                  <a:cubicBezTo>
                    <a:pt x="40" y="97"/>
                    <a:pt x="40" y="98"/>
                    <a:pt x="40" y="99"/>
                  </a:cubicBezTo>
                  <a:cubicBezTo>
                    <a:pt x="39" y="100"/>
                    <a:pt x="36" y="100"/>
                    <a:pt x="35" y="101"/>
                  </a:cubicBezTo>
                  <a:cubicBezTo>
                    <a:pt x="33" y="102"/>
                    <a:pt x="33" y="105"/>
                    <a:pt x="31" y="105"/>
                  </a:cubicBezTo>
                  <a:cubicBezTo>
                    <a:pt x="30" y="105"/>
                    <a:pt x="30" y="105"/>
                    <a:pt x="30" y="105"/>
                  </a:cubicBezTo>
                  <a:cubicBezTo>
                    <a:pt x="30" y="106"/>
                    <a:pt x="30" y="108"/>
                    <a:pt x="30" y="108"/>
                  </a:cubicBezTo>
                  <a:cubicBezTo>
                    <a:pt x="29" y="108"/>
                    <a:pt x="27" y="107"/>
                    <a:pt x="27" y="108"/>
                  </a:cubicBezTo>
                  <a:cubicBezTo>
                    <a:pt x="25" y="109"/>
                    <a:pt x="26" y="111"/>
                    <a:pt x="25" y="112"/>
                  </a:cubicBezTo>
                  <a:cubicBezTo>
                    <a:pt x="25" y="113"/>
                    <a:pt x="22" y="114"/>
                    <a:pt x="21" y="115"/>
                  </a:cubicBezTo>
                  <a:cubicBezTo>
                    <a:pt x="22" y="116"/>
                    <a:pt x="21" y="117"/>
                    <a:pt x="21" y="118"/>
                  </a:cubicBezTo>
                  <a:cubicBezTo>
                    <a:pt x="22" y="119"/>
                    <a:pt x="24" y="119"/>
                    <a:pt x="24" y="119"/>
                  </a:cubicBezTo>
                  <a:cubicBezTo>
                    <a:pt x="24" y="121"/>
                    <a:pt x="23" y="121"/>
                    <a:pt x="23" y="123"/>
                  </a:cubicBezTo>
                  <a:cubicBezTo>
                    <a:pt x="23" y="127"/>
                    <a:pt x="23" y="127"/>
                    <a:pt x="23" y="127"/>
                  </a:cubicBezTo>
                  <a:cubicBezTo>
                    <a:pt x="23" y="127"/>
                    <a:pt x="23" y="129"/>
                    <a:pt x="23" y="129"/>
                  </a:cubicBezTo>
                  <a:cubicBezTo>
                    <a:pt x="23" y="130"/>
                    <a:pt x="22" y="131"/>
                    <a:pt x="21" y="131"/>
                  </a:cubicBezTo>
                  <a:cubicBezTo>
                    <a:pt x="21" y="133"/>
                    <a:pt x="21" y="133"/>
                    <a:pt x="21" y="133"/>
                  </a:cubicBezTo>
                  <a:cubicBezTo>
                    <a:pt x="21" y="133"/>
                    <a:pt x="21" y="138"/>
                    <a:pt x="21" y="139"/>
                  </a:cubicBezTo>
                  <a:cubicBezTo>
                    <a:pt x="21" y="139"/>
                    <a:pt x="22" y="141"/>
                    <a:pt x="22" y="141"/>
                  </a:cubicBezTo>
                  <a:cubicBezTo>
                    <a:pt x="23" y="142"/>
                    <a:pt x="23" y="141"/>
                    <a:pt x="23" y="141"/>
                  </a:cubicBezTo>
                  <a:cubicBezTo>
                    <a:pt x="25" y="141"/>
                    <a:pt x="25" y="141"/>
                    <a:pt x="25" y="141"/>
                  </a:cubicBezTo>
                  <a:cubicBezTo>
                    <a:pt x="25" y="143"/>
                    <a:pt x="25" y="145"/>
                    <a:pt x="25" y="147"/>
                  </a:cubicBezTo>
                  <a:cubicBezTo>
                    <a:pt x="25" y="147"/>
                    <a:pt x="27" y="147"/>
                    <a:pt x="27" y="147"/>
                  </a:cubicBezTo>
                  <a:cubicBezTo>
                    <a:pt x="27" y="145"/>
                    <a:pt x="26" y="145"/>
                    <a:pt x="28" y="145"/>
                  </a:cubicBezTo>
                  <a:cubicBezTo>
                    <a:pt x="28" y="145"/>
                    <a:pt x="29" y="146"/>
                    <a:pt x="29" y="146"/>
                  </a:cubicBezTo>
                  <a:cubicBezTo>
                    <a:pt x="31" y="147"/>
                    <a:pt x="32" y="148"/>
                    <a:pt x="32" y="148"/>
                  </a:cubicBezTo>
                  <a:cubicBezTo>
                    <a:pt x="32" y="149"/>
                    <a:pt x="31" y="151"/>
                    <a:pt x="29" y="151"/>
                  </a:cubicBezTo>
                  <a:cubicBezTo>
                    <a:pt x="29" y="153"/>
                    <a:pt x="29" y="154"/>
                    <a:pt x="29" y="156"/>
                  </a:cubicBezTo>
                  <a:cubicBezTo>
                    <a:pt x="34" y="154"/>
                    <a:pt x="32" y="156"/>
                    <a:pt x="34" y="151"/>
                  </a:cubicBezTo>
                  <a:cubicBezTo>
                    <a:pt x="34" y="152"/>
                    <a:pt x="36" y="153"/>
                    <a:pt x="37" y="153"/>
                  </a:cubicBezTo>
                  <a:cubicBezTo>
                    <a:pt x="37" y="154"/>
                    <a:pt x="36" y="155"/>
                    <a:pt x="36" y="156"/>
                  </a:cubicBezTo>
                  <a:cubicBezTo>
                    <a:pt x="36" y="156"/>
                    <a:pt x="40" y="156"/>
                    <a:pt x="41" y="156"/>
                  </a:cubicBezTo>
                  <a:cubicBezTo>
                    <a:pt x="41" y="156"/>
                    <a:pt x="40" y="158"/>
                    <a:pt x="41" y="158"/>
                  </a:cubicBezTo>
                  <a:cubicBezTo>
                    <a:pt x="41" y="158"/>
                    <a:pt x="48" y="154"/>
                    <a:pt x="48" y="154"/>
                  </a:cubicBezTo>
                  <a:cubicBezTo>
                    <a:pt x="48" y="154"/>
                    <a:pt x="48" y="155"/>
                    <a:pt x="49" y="155"/>
                  </a:cubicBezTo>
                  <a:cubicBezTo>
                    <a:pt x="51" y="152"/>
                    <a:pt x="54" y="151"/>
                    <a:pt x="59" y="150"/>
                  </a:cubicBezTo>
                  <a:cubicBezTo>
                    <a:pt x="59" y="150"/>
                    <a:pt x="58" y="147"/>
                    <a:pt x="59" y="147"/>
                  </a:cubicBezTo>
                  <a:cubicBezTo>
                    <a:pt x="59" y="147"/>
                    <a:pt x="60" y="148"/>
                    <a:pt x="61" y="148"/>
                  </a:cubicBezTo>
                  <a:cubicBezTo>
                    <a:pt x="62" y="148"/>
                    <a:pt x="62" y="146"/>
                    <a:pt x="64" y="147"/>
                  </a:cubicBezTo>
                  <a:cubicBezTo>
                    <a:pt x="64" y="147"/>
                    <a:pt x="66" y="148"/>
                    <a:pt x="67" y="148"/>
                  </a:cubicBezTo>
                  <a:cubicBezTo>
                    <a:pt x="67" y="148"/>
                    <a:pt x="67" y="146"/>
                    <a:pt x="67" y="146"/>
                  </a:cubicBezTo>
                  <a:cubicBezTo>
                    <a:pt x="68" y="146"/>
                    <a:pt x="69" y="146"/>
                    <a:pt x="69" y="145"/>
                  </a:cubicBezTo>
                  <a:cubicBezTo>
                    <a:pt x="69" y="145"/>
                    <a:pt x="69" y="145"/>
                    <a:pt x="69" y="145"/>
                  </a:cubicBezTo>
                  <a:cubicBezTo>
                    <a:pt x="70" y="145"/>
                    <a:pt x="70" y="145"/>
                    <a:pt x="70" y="146"/>
                  </a:cubicBezTo>
                  <a:cubicBezTo>
                    <a:pt x="70" y="146"/>
                    <a:pt x="72" y="146"/>
                    <a:pt x="73" y="146"/>
                  </a:cubicBezTo>
                  <a:cubicBezTo>
                    <a:pt x="75" y="144"/>
                    <a:pt x="81" y="140"/>
                    <a:pt x="81" y="140"/>
                  </a:cubicBezTo>
                  <a:cubicBezTo>
                    <a:pt x="81" y="140"/>
                    <a:pt x="98" y="128"/>
                    <a:pt x="99" y="126"/>
                  </a:cubicBezTo>
                  <a:cubicBezTo>
                    <a:pt x="103" y="121"/>
                    <a:pt x="109" y="116"/>
                    <a:pt x="109" y="115"/>
                  </a:cubicBezTo>
                  <a:cubicBezTo>
                    <a:pt x="110" y="114"/>
                    <a:pt x="110" y="112"/>
                    <a:pt x="110" y="110"/>
                  </a:cubicBezTo>
                  <a:cubicBezTo>
                    <a:pt x="110" y="107"/>
                    <a:pt x="108" y="108"/>
                    <a:pt x="105" y="106"/>
                  </a:cubicBezTo>
                  <a:cubicBezTo>
                    <a:pt x="103" y="105"/>
                    <a:pt x="103" y="105"/>
                    <a:pt x="102" y="104"/>
                  </a:cubicBezTo>
                  <a:cubicBezTo>
                    <a:pt x="102" y="102"/>
                    <a:pt x="97" y="102"/>
                    <a:pt x="98" y="97"/>
                  </a:cubicBezTo>
                  <a:cubicBezTo>
                    <a:pt x="98" y="96"/>
                    <a:pt x="101" y="96"/>
                    <a:pt x="101" y="93"/>
                  </a:cubicBezTo>
                  <a:cubicBezTo>
                    <a:pt x="101" y="92"/>
                    <a:pt x="101" y="92"/>
                    <a:pt x="101" y="91"/>
                  </a:cubicBezTo>
                  <a:cubicBezTo>
                    <a:pt x="100" y="91"/>
                    <a:pt x="100" y="89"/>
                    <a:pt x="99" y="88"/>
                  </a:cubicBezTo>
                  <a:cubicBezTo>
                    <a:pt x="97" y="86"/>
                    <a:pt x="96" y="85"/>
                    <a:pt x="95" y="84"/>
                  </a:cubicBezTo>
                  <a:cubicBezTo>
                    <a:pt x="95" y="84"/>
                    <a:pt x="95" y="82"/>
                    <a:pt x="94" y="80"/>
                  </a:cubicBezTo>
                  <a:cubicBezTo>
                    <a:pt x="94" y="79"/>
                    <a:pt x="94" y="77"/>
                    <a:pt x="94" y="75"/>
                  </a:cubicBezTo>
                  <a:cubicBezTo>
                    <a:pt x="94" y="73"/>
                    <a:pt x="94" y="73"/>
                    <a:pt x="94" y="72"/>
                  </a:cubicBezTo>
                  <a:cubicBezTo>
                    <a:pt x="96" y="72"/>
                    <a:pt x="98" y="72"/>
                    <a:pt x="98" y="72"/>
                  </a:cubicBezTo>
                  <a:cubicBezTo>
                    <a:pt x="98" y="72"/>
                    <a:pt x="96" y="68"/>
                    <a:pt x="94" y="65"/>
                  </a:cubicBezTo>
                  <a:cubicBezTo>
                    <a:pt x="93" y="63"/>
                    <a:pt x="92" y="62"/>
                    <a:pt x="91" y="60"/>
                  </a:cubicBezTo>
                  <a:cubicBezTo>
                    <a:pt x="90" y="57"/>
                    <a:pt x="91" y="56"/>
                    <a:pt x="90" y="54"/>
                  </a:cubicBezTo>
                  <a:cubicBezTo>
                    <a:pt x="90" y="53"/>
                    <a:pt x="89" y="51"/>
                    <a:pt x="89" y="51"/>
                  </a:cubicBezTo>
                  <a:cubicBezTo>
                    <a:pt x="89" y="50"/>
                    <a:pt x="90" y="50"/>
                    <a:pt x="91" y="50"/>
                  </a:cubicBezTo>
                  <a:cubicBezTo>
                    <a:pt x="92" y="49"/>
                    <a:pt x="95" y="46"/>
                    <a:pt x="96" y="44"/>
                  </a:cubicBezTo>
                  <a:cubicBezTo>
                    <a:pt x="97" y="42"/>
                    <a:pt x="97" y="41"/>
                    <a:pt x="94" y="39"/>
                  </a:cubicBezTo>
                  <a:cubicBezTo>
                    <a:pt x="91" y="37"/>
                    <a:pt x="92" y="37"/>
                    <a:pt x="90" y="35"/>
                  </a:cubicBezTo>
                  <a:cubicBezTo>
                    <a:pt x="89" y="33"/>
                    <a:pt x="84" y="33"/>
                    <a:pt x="85" y="28"/>
                  </a:cubicBezTo>
                  <a:cubicBezTo>
                    <a:pt x="85" y="26"/>
                    <a:pt x="85" y="25"/>
                    <a:pt x="85" y="25"/>
                  </a:cubicBezTo>
                  <a:cubicBezTo>
                    <a:pt x="81" y="25"/>
                    <a:pt x="81" y="25"/>
                    <a:pt x="81" y="25"/>
                  </a:cubicBezTo>
                  <a:cubicBezTo>
                    <a:pt x="81" y="25"/>
                    <a:pt x="86" y="23"/>
                    <a:pt x="83" y="21"/>
                  </a:cubicBezTo>
                  <a:cubicBezTo>
                    <a:pt x="82" y="20"/>
                    <a:pt x="82" y="17"/>
                    <a:pt x="85" y="13"/>
                  </a:cubicBezTo>
                  <a:cubicBezTo>
                    <a:pt x="88" y="9"/>
                    <a:pt x="84" y="9"/>
                    <a:pt x="82" y="8"/>
                  </a:cubicBezTo>
                  <a:cubicBezTo>
                    <a:pt x="80" y="6"/>
                    <a:pt x="79" y="5"/>
                    <a:pt x="77" y="3"/>
                  </a:cubicBezTo>
                  <a:cubicBezTo>
                    <a:pt x="71" y="0"/>
                    <a:pt x="72" y="6"/>
                    <a:pt x="68" y="6"/>
                  </a:cubicBezTo>
                  <a:cubicBezTo>
                    <a:pt x="66" y="6"/>
                    <a:pt x="62" y="7"/>
                    <a:pt x="62" y="7"/>
                  </a:cubicBezTo>
                  <a:cubicBezTo>
                    <a:pt x="59" y="8"/>
                    <a:pt x="59" y="8"/>
                    <a:pt x="59" y="10"/>
                  </a:cubicBezTo>
                  <a:cubicBezTo>
                    <a:pt x="58" y="12"/>
                    <a:pt x="58" y="12"/>
                    <a:pt x="58" y="14"/>
                  </a:cubicBezTo>
                  <a:cubicBezTo>
                    <a:pt x="58" y="16"/>
                    <a:pt x="59" y="17"/>
                    <a:pt x="59" y="19"/>
                  </a:cubicBezTo>
                  <a:cubicBezTo>
                    <a:pt x="58" y="21"/>
                    <a:pt x="58" y="22"/>
                    <a:pt x="57" y="22"/>
                  </a:cubicBezTo>
                  <a:cubicBezTo>
                    <a:pt x="54" y="22"/>
                    <a:pt x="54" y="26"/>
                    <a:pt x="52" y="27"/>
                  </a:cubicBezTo>
                  <a:cubicBezTo>
                    <a:pt x="49" y="28"/>
                    <a:pt x="49" y="28"/>
                    <a:pt x="48" y="28"/>
                  </a:cubicBezTo>
                  <a:cubicBezTo>
                    <a:pt x="47" y="27"/>
                    <a:pt x="46" y="26"/>
                    <a:pt x="46" y="26"/>
                  </a:cubicBezTo>
                  <a:cubicBezTo>
                    <a:pt x="46" y="26"/>
                    <a:pt x="44" y="23"/>
                    <a:pt x="41" y="23"/>
                  </a:cubicBezTo>
                  <a:cubicBezTo>
                    <a:pt x="39" y="23"/>
                    <a:pt x="38" y="25"/>
                    <a:pt x="36" y="25"/>
                  </a:cubicBezTo>
                  <a:cubicBezTo>
                    <a:pt x="35" y="25"/>
                    <a:pt x="32" y="24"/>
                    <a:pt x="30" y="23"/>
                  </a:cubicBezTo>
                  <a:cubicBezTo>
                    <a:pt x="26" y="25"/>
                    <a:pt x="26" y="20"/>
                    <a:pt x="23" y="19"/>
                  </a:cubicBezTo>
                  <a:cubicBezTo>
                    <a:pt x="22" y="18"/>
                    <a:pt x="20" y="16"/>
                    <a:pt x="20" y="16"/>
                  </a:cubicBezTo>
                  <a:cubicBezTo>
                    <a:pt x="20" y="16"/>
                    <a:pt x="17" y="13"/>
                    <a:pt x="15" y="16"/>
                  </a:cubicBezTo>
                  <a:cubicBezTo>
                    <a:pt x="15" y="17"/>
                    <a:pt x="13" y="17"/>
                    <a:pt x="13" y="17"/>
                  </a:cubicBezTo>
                  <a:cubicBezTo>
                    <a:pt x="12" y="19"/>
                    <a:pt x="12" y="19"/>
                    <a:pt x="12" y="19"/>
                  </a:cubicBezTo>
                  <a:cubicBezTo>
                    <a:pt x="14" y="21"/>
                    <a:pt x="16" y="21"/>
                    <a:pt x="21" y="25"/>
                  </a:cubicBezTo>
                  <a:cubicBezTo>
                    <a:pt x="22" y="26"/>
                    <a:pt x="22" y="27"/>
                    <a:pt x="26" y="29"/>
                  </a:cubicBezTo>
                  <a:cubicBezTo>
                    <a:pt x="29" y="30"/>
                    <a:pt x="34" y="30"/>
                    <a:pt x="35" y="33"/>
                  </a:cubicBezTo>
                  <a:cubicBezTo>
                    <a:pt x="36" y="35"/>
                    <a:pt x="38" y="35"/>
                    <a:pt x="39" y="36"/>
                  </a:cubicBezTo>
                  <a:cubicBezTo>
                    <a:pt x="41" y="37"/>
                    <a:pt x="38" y="41"/>
                    <a:pt x="39" y="44"/>
                  </a:cubicBezTo>
                  <a:cubicBezTo>
                    <a:pt x="40" y="45"/>
                    <a:pt x="41" y="43"/>
                    <a:pt x="42" y="44"/>
                  </a:cubicBezTo>
                  <a:cubicBezTo>
                    <a:pt x="42" y="45"/>
                    <a:pt x="42" y="47"/>
                    <a:pt x="42" y="47"/>
                  </a:cubicBezTo>
                  <a:cubicBezTo>
                    <a:pt x="41" y="50"/>
                    <a:pt x="39" y="50"/>
                    <a:pt x="41" y="54"/>
                  </a:cubicBezTo>
                  <a:cubicBezTo>
                    <a:pt x="42" y="57"/>
                    <a:pt x="43" y="58"/>
                    <a:pt x="43" y="60"/>
                  </a:cubicBezTo>
                  <a:cubicBezTo>
                    <a:pt x="43" y="61"/>
                    <a:pt x="41" y="61"/>
                    <a:pt x="42" y="64"/>
                  </a:cubicBezTo>
                  <a:cubicBezTo>
                    <a:pt x="43" y="65"/>
                    <a:pt x="45" y="68"/>
                    <a:pt x="45" y="68"/>
                  </a:cubicBezTo>
                  <a:close/>
                  <a:moveTo>
                    <a:pt x="3" y="151"/>
                  </a:moveTo>
                  <a:cubicBezTo>
                    <a:pt x="2" y="151"/>
                    <a:pt x="5" y="153"/>
                    <a:pt x="5" y="153"/>
                  </a:cubicBezTo>
                  <a:cubicBezTo>
                    <a:pt x="0" y="155"/>
                    <a:pt x="3" y="155"/>
                    <a:pt x="7" y="157"/>
                  </a:cubicBezTo>
                  <a:cubicBezTo>
                    <a:pt x="7" y="157"/>
                    <a:pt x="7" y="157"/>
                    <a:pt x="7" y="158"/>
                  </a:cubicBezTo>
                  <a:cubicBezTo>
                    <a:pt x="8" y="157"/>
                    <a:pt x="8" y="157"/>
                    <a:pt x="9" y="157"/>
                  </a:cubicBezTo>
                  <a:cubicBezTo>
                    <a:pt x="7" y="153"/>
                    <a:pt x="9" y="154"/>
                    <a:pt x="5" y="152"/>
                  </a:cubicBezTo>
                  <a:cubicBezTo>
                    <a:pt x="4" y="151"/>
                    <a:pt x="5" y="150"/>
                    <a:pt x="3" y="151"/>
                  </a:cubicBezTo>
                  <a:close/>
                  <a:moveTo>
                    <a:pt x="47" y="79"/>
                  </a:moveTo>
                  <a:cubicBezTo>
                    <a:pt x="46" y="80"/>
                    <a:pt x="46" y="81"/>
                    <a:pt x="47" y="81"/>
                  </a:cubicBezTo>
                  <a:cubicBezTo>
                    <a:pt x="47" y="80"/>
                    <a:pt x="48" y="79"/>
                    <a:pt x="47" y="79"/>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06" name="Freeform 247">
              <a:extLst>
                <a:ext uri="{FF2B5EF4-FFF2-40B4-BE49-F238E27FC236}">
                  <a16:creationId xmlns:a16="http://schemas.microsoft.com/office/drawing/2014/main" id="{E222FB2D-6832-03C5-3870-97F537F3E736}"/>
                </a:ext>
              </a:extLst>
            </p:cNvPr>
            <p:cNvSpPr>
              <a:spLocks noEditPoints="1"/>
            </p:cNvSpPr>
            <p:nvPr/>
          </p:nvSpPr>
          <p:spPr bwMode="auto">
            <a:xfrm>
              <a:off x="6559694" y="1183509"/>
              <a:ext cx="388025" cy="556894"/>
            </a:xfrm>
            <a:custGeom>
              <a:avLst/>
              <a:gdLst>
                <a:gd name="T0" fmla="*/ 47 w 110"/>
                <a:gd name="T1" fmla="*/ 68 h 158"/>
                <a:gd name="T2" fmla="*/ 51 w 110"/>
                <a:gd name="T3" fmla="*/ 70 h 158"/>
                <a:gd name="T4" fmla="*/ 52 w 110"/>
                <a:gd name="T5" fmla="*/ 78 h 158"/>
                <a:gd name="T6" fmla="*/ 51 w 110"/>
                <a:gd name="T7" fmla="*/ 84 h 158"/>
                <a:gd name="T8" fmla="*/ 47 w 110"/>
                <a:gd name="T9" fmla="*/ 85 h 158"/>
                <a:gd name="T10" fmla="*/ 43 w 110"/>
                <a:gd name="T11" fmla="*/ 92 h 158"/>
                <a:gd name="T12" fmla="*/ 40 w 110"/>
                <a:gd name="T13" fmla="*/ 99 h 158"/>
                <a:gd name="T14" fmla="*/ 31 w 110"/>
                <a:gd name="T15" fmla="*/ 105 h 158"/>
                <a:gd name="T16" fmla="*/ 30 w 110"/>
                <a:gd name="T17" fmla="*/ 108 h 158"/>
                <a:gd name="T18" fmla="*/ 25 w 110"/>
                <a:gd name="T19" fmla="*/ 112 h 158"/>
                <a:gd name="T20" fmla="*/ 21 w 110"/>
                <a:gd name="T21" fmla="*/ 118 h 158"/>
                <a:gd name="T22" fmla="*/ 23 w 110"/>
                <a:gd name="T23" fmla="*/ 123 h 158"/>
                <a:gd name="T24" fmla="*/ 23 w 110"/>
                <a:gd name="T25" fmla="*/ 129 h 158"/>
                <a:gd name="T26" fmla="*/ 21 w 110"/>
                <a:gd name="T27" fmla="*/ 133 h 158"/>
                <a:gd name="T28" fmla="*/ 22 w 110"/>
                <a:gd name="T29" fmla="*/ 141 h 158"/>
                <a:gd name="T30" fmla="*/ 25 w 110"/>
                <a:gd name="T31" fmla="*/ 141 h 158"/>
                <a:gd name="T32" fmla="*/ 27 w 110"/>
                <a:gd name="T33" fmla="*/ 147 h 158"/>
                <a:gd name="T34" fmla="*/ 29 w 110"/>
                <a:gd name="T35" fmla="*/ 146 h 158"/>
                <a:gd name="T36" fmla="*/ 29 w 110"/>
                <a:gd name="T37" fmla="*/ 151 h 158"/>
                <a:gd name="T38" fmla="*/ 34 w 110"/>
                <a:gd name="T39" fmla="*/ 151 h 158"/>
                <a:gd name="T40" fmla="*/ 36 w 110"/>
                <a:gd name="T41" fmla="*/ 156 h 158"/>
                <a:gd name="T42" fmla="*/ 41 w 110"/>
                <a:gd name="T43" fmla="*/ 158 h 158"/>
                <a:gd name="T44" fmla="*/ 49 w 110"/>
                <a:gd name="T45" fmla="*/ 155 h 158"/>
                <a:gd name="T46" fmla="*/ 59 w 110"/>
                <a:gd name="T47" fmla="*/ 147 h 158"/>
                <a:gd name="T48" fmla="*/ 64 w 110"/>
                <a:gd name="T49" fmla="*/ 147 h 158"/>
                <a:gd name="T50" fmla="*/ 67 w 110"/>
                <a:gd name="T51" fmla="*/ 146 h 158"/>
                <a:gd name="T52" fmla="*/ 69 w 110"/>
                <a:gd name="T53" fmla="*/ 145 h 158"/>
                <a:gd name="T54" fmla="*/ 73 w 110"/>
                <a:gd name="T55" fmla="*/ 146 h 158"/>
                <a:gd name="T56" fmla="*/ 99 w 110"/>
                <a:gd name="T57" fmla="*/ 126 h 158"/>
                <a:gd name="T58" fmla="*/ 110 w 110"/>
                <a:gd name="T59" fmla="*/ 110 h 158"/>
                <a:gd name="T60" fmla="*/ 102 w 110"/>
                <a:gd name="T61" fmla="*/ 104 h 158"/>
                <a:gd name="T62" fmla="*/ 101 w 110"/>
                <a:gd name="T63" fmla="*/ 93 h 158"/>
                <a:gd name="T64" fmla="*/ 99 w 110"/>
                <a:gd name="T65" fmla="*/ 88 h 158"/>
                <a:gd name="T66" fmla="*/ 94 w 110"/>
                <a:gd name="T67" fmla="*/ 80 h 158"/>
                <a:gd name="T68" fmla="*/ 94 w 110"/>
                <a:gd name="T69" fmla="*/ 72 h 158"/>
                <a:gd name="T70" fmla="*/ 94 w 110"/>
                <a:gd name="T71" fmla="*/ 65 h 158"/>
                <a:gd name="T72" fmla="*/ 90 w 110"/>
                <a:gd name="T73" fmla="*/ 54 h 158"/>
                <a:gd name="T74" fmla="*/ 91 w 110"/>
                <a:gd name="T75" fmla="*/ 50 h 158"/>
                <a:gd name="T76" fmla="*/ 94 w 110"/>
                <a:gd name="T77" fmla="*/ 39 h 158"/>
                <a:gd name="T78" fmla="*/ 85 w 110"/>
                <a:gd name="T79" fmla="*/ 28 h 158"/>
                <a:gd name="T80" fmla="*/ 81 w 110"/>
                <a:gd name="T81" fmla="*/ 25 h 158"/>
                <a:gd name="T82" fmla="*/ 85 w 110"/>
                <a:gd name="T83" fmla="*/ 13 h 158"/>
                <a:gd name="T84" fmla="*/ 77 w 110"/>
                <a:gd name="T85" fmla="*/ 3 h 158"/>
                <a:gd name="T86" fmla="*/ 62 w 110"/>
                <a:gd name="T87" fmla="*/ 7 h 158"/>
                <a:gd name="T88" fmla="*/ 58 w 110"/>
                <a:gd name="T89" fmla="*/ 14 h 158"/>
                <a:gd name="T90" fmla="*/ 57 w 110"/>
                <a:gd name="T91" fmla="*/ 22 h 158"/>
                <a:gd name="T92" fmla="*/ 48 w 110"/>
                <a:gd name="T93" fmla="*/ 28 h 158"/>
                <a:gd name="T94" fmla="*/ 41 w 110"/>
                <a:gd name="T95" fmla="*/ 23 h 158"/>
                <a:gd name="T96" fmla="*/ 30 w 110"/>
                <a:gd name="T97" fmla="*/ 23 h 158"/>
                <a:gd name="T98" fmla="*/ 20 w 110"/>
                <a:gd name="T99" fmla="*/ 16 h 158"/>
                <a:gd name="T100" fmla="*/ 13 w 110"/>
                <a:gd name="T101" fmla="*/ 17 h 158"/>
                <a:gd name="T102" fmla="*/ 21 w 110"/>
                <a:gd name="T103" fmla="*/ 25 h 158"/>
                <a:gd name="T104" fmla="*/ 35 w 110"/>
                <a:gd name="T105" fmla="*/ 33 h 158"/>
                <a:gd name="T106" fmla="*/ 39 w 110"/>
                <a:gd name="T107" fmla="*/ 44 h 158"/>
                <a:gd name="T108" fmla="*/ 42 w 110"/>
                <a:gd name="T109" fmla="*/ 47 h 158"/>
                <a:gd name="T110" fmla="*/ 43 w 110"/>
                <a:gd name="T111" fmla="*/ 60 h 158"/>
                <a:gd name="T112" fmla="*/ 45 w 110"/>
                <a:gd name="T113" fmla="*/ 68 h 158"/>
                <a:gd name="T114" fmla="*/ 5 w 110"/>
                <a:gd name="T115" fmla="*/ 153 h 158"/>
                <a:gd name="T116" fmla="*/ 7 w 110"/>
                <a:gd name="T117" fmla="*/ 158 h 158"/>
                <a:gd name="T118" fmla="*/ 5 w 110"/>
                <a:gd name="T119" fmla="*/ 152 h 158"/>
                <a:gd name="T120" fmla="*/ 47 w 110"/>
                <a:gd name="T121" fmla="*/ 79 h 158"/>
                <a:gd name="T122" fmla="*/ 47 w 110"/>
                <a:gd name="T123" fmla="*/ 7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 h="158">
                  <a:moveTo>
                    <a:pt x="45" y="68"/>
                  </a:moveTo>
                  <a:cubicBezTo>
                    <a:pt x="47" y="68"/>
                    <a:pt x="46" y="68"/>
                    <a:pt x="47" y="68"/>
                  </a:cubicBezTo>
                  <a:cubicBezTo>
                    <a:pt x="48" y="71"/>
                    <a:pt x="48" y="71"/>
                    <a:pt x="48" y="71"/>
                  </a:cubicBezTo>
                  <a:cubicBezTo>
                    <a:pt x="49" y="71"/>
                    <a:pt x="49" y="69"/>
                    <a:pt x="51" y="70"/>
                  </a:cubicBezTo>
                  <a:cubicBezTo>
                    <a:pt x="53" y="72"/>
                    <a:pt x="51" y="75"/>
                    <a:pt x="51" y="77"/>
                  </a:cubicBezTo>
                  <a:cubicBezTo>
                    <a:pt x="52" y="78"/>
                    <a:pt x="52" y="78"/>
                    <a:pt x="52" y="78"/>
                  </a:cubicBezTo>
                  <a:cubicBezTo>
                    <a:pt x="52" y="80"/>
                    <a:pt x="52" y="80"/>
                    <a:pt x="51" y="81"/>
                  </a:cubicBezTo>
                  <a:cubicBezTo>
                    <a:pt x="51" y="82"/>
                    <a:pt x="52" y="84"/>
                    <a:pt x="51" y="84"/>
                  </a:cubicBezTo>
                  <a:cubicBezTo>
                    <a:pt x="50" y="84"/>
                    <a:pt x="50" y="84"/>
                    <a:pt x="51" y="83"/>
                  </a:cubicBezTo>
                  <a:cubicBezTo>
                    <a:pt x="49" y="84"/>
                    <a:pt x="48" y="84"/>
                    <a:pt x="47" y="85"/>
                  </a:cubicBezTo>
                  <a:cubicBezTo>
                    <a:pt x="45" y="86"/>
                    <a:pt x="45" y="90"/>
                    <a:pt x="44" y="92"/>
                  </a:cubicBezTo>
                  <a:cubicBezTo>
                    <a:pt x="43" y="92"/>
                    <a:pt x="43" y="92"/>
                    <a:pt x="43" y="92"/>
                  </a:cubicBezTo>
                  <a:cubicBezTo>
                    <a:pt x="42" y="93"/>
                    <a:pt x="40" y="96"/>
                    <a:pt x="40" y="97"/>
                  </a:cubicBezTo>
                  <a:cubicBezTo>
                    <a:pt x="40" y="97"/>
                    <a:pt x="40" y="98"/>
                    <a:pt x="40" y="99"/>
                  </a:cubicBezTo>
                  <a:cubicBezTo>
                    <a:pt x="39" y="100"/>
                    <a:pt x="36" y="100"/>
                    <a:pt x="35" y="101"/>
                  </a:cubicBezTo>
                  <a:cubicBezTo>
                    <a:pt x="33" y="102"/>
                    <a:pt x="33" y="105"/>
                    <a:pt x="31" y="105"/>
                  </a:cubicBezTo>
                  <a:cubicBezTo>
                    <a:pt x="30" y="105"/>
                    <a:pt x="30" y="105"/>
                    <a:pt x="30" y="105"/>
                  </a:cubicBezTo>
                  <a:cubicBezTo>
                    <a:pt x="30" y="106"/>
                    <a:pt x="30" y="108"/>
                    <a:pt x="30" y="108"/>
                  </a:cubicBezTo>
                  <a:cubicBezTo>
                    <a:pt x="29" y="108"/>
                    <a:pt x="27" y="107"/>
                    <a:pt x="27" y="108"/>
                  </a:cubicBezTo>
                  <a:cubicBezTo>
                    <a:pt x="25" y="109"/>
                    <a:pt x="26" y="111"/>
                    <a:pt x="25" y="112"/>
                  </a:cubicBezTo>
                  <a:cubicBezTo>
                    <a:pt x="25" y="113"/>
                    <a:pt x="22" y="114"/>
                    <a:pt x="21" y="115"/>
                  </a:cubicBezTo>
                  <a:cubicBezTo>
                    <a:pt x="22" y="116"/>
                    <a:pt x="21" y="117"/>
                    <a:pt x="21" y="118"/>
                  </a:cubicBezTo>
                  <a:cubicBezTo>
                    <a:pt x="22" y="119"/>
                    <a:pt x="24" y="119"/>
                    <a:pt x="24" y="119"/>
                  </a:cubicBezTo>
                  <a:cubicBezTo>
                    <a:pt x="24" y="121"/>
                    <a:pt x="23" y="121"/>
                    <a:pt x="23" y="123"/>
                  </a:cubicBezTo>
                  <a:cubicBezTo>
                    <a:pt x="23" y="127"/>
                    <a:pt x="23" y="127"/>
                    <a:pt x="23" y="127"/>
                  </a:cubicBezTo>
                  <a:cubicBezTo>
                    <a:pt x="23" y="127"/>
                    <a:pt x="23" y="129"/>
                    <a:pt x="23" y="129"/>
                  </a:cubicBezTo>
                  <a:cubicBezTo>
                    <a:pt x="23" y="130"/>
                    <a:pt x="22" y="131"/>
                    <a:pt x="21" y="131"/>
                  </a:cubicBezTo>
                  <a:cubicBezTo>
                    <a:pt x="21" y="133"/>
                    <a:pt x="21" y="133"/>
                    <a:pt x="21" y="133"/>
                  </a:cubicBezTo>
                  <a:cubicBezTo>
                    <a:pt x="21" y="133"/>
                    <a:pt x="21" y="138"/>
                    <a:pt x="21" y="139"/>
                  </a:cubicBezTo>
                  <a:cubicBezTo>
                    <a:pt x="21" y="139"/>
                    <a:pt x="22" y="141"/>
                    <a:pt x="22" y="141"/>
                  </a:cubicBezTo>
                  <a:cubicBezTo>
                    <a:pt x="23" y="142"/>
                    <a:pt x="23" y="141"/>
                    <a:pt x="23" y="141"/>
                  </a:cubicBezTo>
                  <a:cubicBezTo>
                    <a:pt x="25" y="141"/>
                    <a:pt x="25" y="141"/>
                    <a:pt x="25" y="141"/>
                  </a:cubicBezTo>
                  <a:cubicBezTo>
                    <a:pt x="25" y="143"/>
                    <a:pt x="25" y="145"/>
                    <a:pt x="25" y="147"/>
                  </a:cubicBezTo>
                  <a:cubicBezTo>
                    <a:pt x="25" y="147"/>
                    <a:pt x="27" y="147"/>
                    <a:pt x="27" y="147"/>
                  </a:cubicBezTo>
                  <a:cubicBezTo>
                    <a:pt x="27" y="145"/>
                    <a:pt x="26" y="145"/>
                    <a:pt x="28" y="145"/>
                  </a:cubicBezTo>
                  <a:cubicBezTo>
                    <a:pt x="28" y="145"/>
                    <a:pt x="29" y="146"/>
                    <a:pt x="29" y="146"/>
                  </a:cubicBezTo>
                  <a:cubicBezTo>
                    <a:pt x="31" y="147"/>
                    <a:pt x="32" y="148"/>
                    <a:pt x="32" y="148"/>
                  </a:cubicBezTo>
                  <a:cubicBezTo>
                    <a:pt x="32" y="149"/>
                    <a:pt x="31" y="151"/>
                    <a:pt x="29" y="151"/>
                  </a:cubicBezTo>
                  <a:cubicBezTo>
                    <a:pt x="29" y="153"/>
                    <a:pt x="29" y="154"/>
                    <a:pt x="29" y="156"/>
                  </a:cubicBezTo>
                  <a:cubicBezTo>
                    <a:pt x="34" y="154"/>
                    <a:pt x="32" y="156"/>
                    <a:pt x="34" y="151"/>
                  </a:cubicBezTo>
                  <a:cubicBezTo>
                    <a:pt x="34" y="152"/>
                    <a:pt x="36" y="153"/>
                    <a:pt x="37" y="153"/>
                  </a:cubicBezTo>
                  <a:cubicBezTo>
                    <a:pt x="37" y="154"/>
                    <a:pt x="36" y="155"/>
                    <a:pt x="36" y="156"/>
                  </a:cubicBezTo>
                  <a:cubicBezTo>
                    <a:pt x="36" y="156"/>
                    <a:pt x="40" y="156"/>
                    <a:pt x="41" y="156"/>
                  </a:cubicBezTo>
                  <a:cubicBezTo>
                    <a:pt x="41" y="156"/>
                    <a:pt x="40" y="158"/>
                    <a:pt x="41" y="158"/>
                  </a:cubicBezTo>
                  <a:cubicBezTo>
                    <a:pt x="41" y="158"/>
                    <a:pt x="48" y="154"/>
                    <a:pt x="48" y="154"/>
                  </a:cubicBezTo>
                  <a:cubicBezTo>
                    <a:pt x="48" y="154"/>
                    <a:pt x="48" y="155"/>
                    <a:pt x="49" y="155"/>
                  </a:cubicBezTo>
                  <a:cubicBezTo>
                    <a:pt x="51" y="152"/>
                    <a:pt x="54" y="151"/>
                    <a:pt x="59" y="150"/>
                  </a:cubicBezTo>
                  <a:cubicBezTo>
                    <a:pt x="59" y="150"/>
                    <a:pt x="58" y="147"/>
                    <a:pt x="59" y="147"/>
                  </a:cubicBezTo>
                  <a:cubicBezTo>
                    <a:pt x="59" y="147"/>
                    <a:pt x="60" y="148"/>
                    <a:pt x="61" y="148"/>
                  </a:cubicBezTo>
                  <a:cubicBezTo>
                    <a:pt x="62" y="148"/>
                    <a:pt x="62" y="146"/>
                    <a:pt x="64" y="147"/>
                  </a:cubicBezTo>
                  <a:cubicBezTo>
                    <a:pt x="64" y="147"/>
                    <a:pt x="66" y="148"/>
                    <a:pt x="67" y="148"/>
                  </a:cubicBezTo>
                  <a:cubicBezTo>
                    <a:pt x="67" y="148"/>
                    <a:pt x="67" y="146"/>
                    <a:pt x="67" y="146"/>
                  </a:cubicBezTo>
                  <a:cubicBezTo>
                    <a:pt x="68" y="146"/>
                    <a:pt x="69" y="146"/>
                    <a:pt x="69" y="145"/>
                  </a:cubicBezTo>
                  <a:cubicBezTo>
                    <a:pt x="69" y="145"/>
                    <a:pt x="69" y="145"/>
                    <a:pt x="69" y="145"/>
                  </a:cubicBezTo>
                  <a:cubicBezTo>
                    <a:pt x="70" y="145"/>
                    <a:pt x="70" y="145"/>
                    <a:pt x="70" y="146"/>
                  </a:cubicBezTo>
                  <a:cubicBezTo>
                    <a:pt x="70" y="146"/>
                    <a:pt x="72" y="146"/>
                    <a:pt x="73" y="146"/>
                  </a:cubicBezTo>
                  <a:cubicBezTo>
                    <a:pt x="75" y="144"/>
                    <a:pt x="81" y="140"/>
                    <a:pt x="81" y="140"/>
                  </a:cubicBezTo>
                  <a:cubicBezTo>
                    <a:pt x="81" y="140"/>
                    <a:pt x="98" y="128"/>
                    <a:pt x="99" y="126"/>
                  </a:cubicBezTo>
                  <a:cubicBezTo>
                    <a:pt x="103" y="121"/>
                    <a:pt x="109" y="116"/>
                    <a:pt x="109" y="115"/>
                  </a:cubicBezTo>
                  <a:cubicBezTo>
                    <a:pt x="110" y="114"/>
                    <a:pt x="110" y="112"/>
                    <a:pt x="110" y="110"/>
                  </a:cubicBezTo>
                  <a:cubicBezTo>
                    <a:pt x="110" y="107"/>
                    <a:pt x="108" y="108"/>
                    <a:pt x="105" y="106"/>
                  </a:cubicBezTo>
                  <a:cubicBezTo>
                    <a:pt x="103" y="105"/>
                    <a:pt x="103" y="105"/>
                    <a:pt x="102" y="104"/>
                  </a:cubicBezTo>
                  <a:cubicBezTo>
                    <a:pt x="102" y="102"/>
                    <a:pt x="97" y="102"/>
                    <a:pt x="98" y="97"/>
                  </a:cubicBezTo>
                  <a:cubicBezTo>
                    <a:pt x="98" y="96"/>
                    <a:pt x="101" y="96"/>
                    <a:pt x="101" y="93"/>
                  </a:cubicBezTo>
                  <a:cubicBezTo>
                    <a:pt x="101" y="92"/>
                    <a:pt x="101" y="92"/>
                    <a:pt x="101" y="91"/>
                  </a:cubicBezTo>
                  <a:cubicBezTo>
                    <a:pt x="100" y="91"/>
                    <a:pt x="100" y="89"/>
                    <a:pt x="99" y="88"/>
                  </a:cubicBezTo>
                  <a:cubicBezTo>
                    <a:pt x="97" y="86"/>
                    <a:pt x="96" y="85"/>
                    <a:pt x="95" y="84"/>
                  </a:cubicBezTo>
                  <a:cubicBezTo>
                    <a:pt x="95" y="84"/>
                    <a:pt x="95" y="82"/>
                    <a:pt x="94" y="80"/>
                  </a:cubicBezTo>
                  <a:cubicBezTo>
                    <a:pt x="94" y="79"/>
                    <a:pt x="94" y="77"/>
                    <a:pt x="94" y="75"/>
                  </a:cubicBezTo>
                  <a:cubicBezTo>
                    <a:pt x="94" y="73"/>
                    <a:pt x="94" y="73"/>
                    <a:pt x="94" y="72"/>
                  </a:cubicBezTo>
                  <a:cubicBezTo>
                    <a:pt x="96" y="72"/>
                    <a:pt x="98" y="72"/>
                    <a:pt x="98" y="72"/>
                  </a:cubicBezTo>
                  <a:cubicBezTo>
                    <a:pt x="98" y="72"/>
                    <a:pt x="96" y="68"/>
                    <a:pt x="94" y="65"/>
                  </a:cubicBezTo>
                  <a:cubicBezTo>
                    <a:pt x="93" y="63"/>
                    <a:pt x="92" y="62"/>
                    <a:pt x="91" y="60"/>
                  </a:cubicBezTo>
                  <a:cubicBezTo>
                    <a:pt x="90" y="57"/>
                    <a:pt x="91" y="56"/>
                    <a:pt x="90" y="54"/>
                  </a:cubicBezTo>
                  <a:cubicBezTo>
                    <a:pt x="90" y="53"/>
                    <a:pt x="89" y="51"/>
                    <a:pt x="89" y="51"/>
                  </a:cubicBezTo>
                  <a:cubicBezTo>
                    <a:pt x="89" y="50"/>
                    <a:pt x="90" y="50"/>
                    <a:pt x="91" y="50"/>
                  </a:cubicBezTo>
                  <a:cubicBezTo>
                    <a:pt x="92" y="49"/>
                    <a:pt x="95" y="46"/>
                    <a:pt x="96" y="44"/>
                  </a:cubicBezTo>
                  <a:cubicBezTo>
                    <a:pt x="97" y="42"/>
                    <a:pt x="97" y="41"/>
                    <a:pt x="94" y="39"/>
                  </a:cubicBezTo>
                  <a:cubicBezTo>
                    <a:pt x="91" y="37"/>
                    <a:pt x="92" y="37"/>
                    <a:pt x="90" y="35"/>
                  </a:cubicBezTo>
                  <a:cubicBezTo>
                    <a:pt x="89" y="33"/>
                    <a:pt x="84" y="33"/>
                    <a:pt x="85" y="28"/>
                  </a:cubicBezTo>
                  <a:cubicBezTo>
                    <a:pt x="85" y="26"/>
                    <a:pt x="85" y="25"/>
                    <a:pt x="85" y="25"/>
                  </a:cubicBezTo>
                  <a:cubicBezTo>
                    <a:pt x="81" y="25"/>
                    <a:pt x="81" y="25"/>
                    <a:pt x="81" y="25"/>
                  </a:cubicBezTo>
                  <a:cubicBezTo>
                    <a:pt x="81" y="25"/>
                    <a:pt x="86" y="23"/>
                    <a:pt x="83" y="21"/>
                  </a:cubicBezTo>
                  <a:cubicBezTo>
                    <a:pt x="82" y="20"/>
                    <a:pt x="82" y="17"/>
                    <a:pt x="85" y="13"/>
                  </a:cubicBezTo>
                  <a:cubicBezTo>
                    <a:pt x="88" y="9"/>
                    <a:pt x="84" y="9"/>
                    <a:pt x="82" y="8"/>
                  </a:cubicBezTo>
                  <a:cubicBezTo>
                    <a:pt x="80" y="6"/>
                    <a:pt x="79" y="5"/>
                    <a:pt x="77" y="3"/>
                  </a:cubicBezTo>
                  <a:cubicBezTo>
                    <a:pt x="71" y="0"/>
                    <a:pt x="72" y="6"/>
                    <a:pt x="68" y="6"/>
                  </a:cubicBezTo>
                  <a:cubicBezTo>
                    <a:pt x="66" y="6"/>
                    <a:pt x="62" y="7"/>
                    <a:pt x="62" y="7"/>
                  </a:cubicBezTo>
                  <a:cubicBezTo>
                    <a:pt x="59" y="8"/>
                    <a:pt x="59" y="8"/>
                    <a:pt x="59" y="10"/>
                  </a:cubicBezTo>
                  <a:cubicBezTo>
                    <a:pt x="58" y="12"/>
                    <a:pt x="58" y="12"/>
                    <a:pt x="58" y="14"/>
                  </a:cubicBezTo>
                  <a:cubicBezTo>
                    <a:pt x="58" y="16"/>
                    <a:pt x="59" y="17"/>
                    <a:pt x="59" y="19"/>
                  </a:cubicBezTo>
                  <a:cubicBezTo>
                    <a:pt x="58" y="21"/>
                    <a:pt x="58" y="22"/>
                    <a:pt x="57" y="22"/>
                  </a:cubicBezTo>
                  <a:cubicBezTo>
                    <a:pt x="54" y="22"/>
                    <a:pt x="54" y="26"/>
                    <a:pt x="52" y="27"/>
                  </a:cubicBezTo>
                  <a:cubicBezTo>
                    <a:pt x="49" y="28"/>
                    <a:pt x="49" y="28"/>
                    <a:pt x="48" y="28"/>
                  </a:cubicBezTo>
                  <a:cubicBezTo>
                    <a:pt x="47" y="27"/>
                    <a:pt x="46" y="26"/>
                    <a:pt x="46" y="26"/>
                  </a:cubicBezTo>
                  <a:cubicBezTo>
                    <a:pt x="46" y="26"/>
                    <a:pt x="44" y="23"/>
                    <a:pt x="41" y="23"/>
                  </a:cubicBezTo>
                  <a:cubicBezTo>
                    <a:pt x="39" y="23"/>
                    <a:pt x="38" y="25"/>
                    <a:pt x="36" y="25"/>
                  </a:cubicBezTo>
                  <a:cubicBezTo>
                    <a:pt x="35" y="25"/>
                    <a:pt x="32" y="24"/>
                    <a:pt x="30" y="23"/>
                  </a:cubicBezTo>
                  <a:cubicBezTo>
                    <a:pt x="26" y="25"/>
                    <a:pt x="26" y="20"/>
                    <a:pt x="23" y="19"/>
                  </a:cubicBezTo>
                  <a:cubicBezTo>
                    <a:pt x="22" y="18"/>
                    <a:pt x="20" y="16"/>
                    <a:pt x="20" y="16"/>
                  </a:cubicBezTo>
                  <a:cubicBezTo>
                    <a:pt x="20" y="16"/>
                    <a:pt x="17" y="13"/>
                    <a:pt x="15" y="16"/>
                  </a:cubicBezTo>
                  <a:cubicBezTo>
                    <a:pt x="15" y="17"/>
                    <a:pt x="13" y="17"/>
                    <a:pt x="13" y="17"/>
                  </a:cubicBezTo>
                  <a:cubicBezTo>
                    <a:pt x="12" y="19"/>
                    <a:pt x="12" y="19"/>
                    <a:pt x="12" y="19"/>
                  </a:cubicBezTo>
                  <a:cubicBezTo>
                    <a:pt x="14" y="21"/>
                    <a:pt x="16" y="21"/>
                    <a:pt x="21" y="25"/>
                  </a:cubicBezTo>
                  <a:cubicBezTo>
                    <a:pt x="22" y="26"/>
                    <a:pt x="22" y="27"/>
                    <a:pt x="26" y="29"/>
                  </a:cubicBezTo>
                  <a:cubicBezTo>
                    <a:pt x="29" y="30"/>
                    <a:pt x="34" y="30"/>
                    <a:pt x="35" y="33"/>
                  </a:cubicBezTo>
                  <a:cubicBezTo>
                    <a:pt x="36" y="35"/>
                    <a:pt x="38" y="35"/>
                    <a:pt x="39" y="36"/>
                  </a:cubicBezTo>
                  <a:cubicBezTo>
                    <a:pt x="41" y="37"/>
                    <a:pt x="38" y="41"/>
                    <a:pt x="39" y="44"/>
                  </a:cubicBezTo>
                  <a:cubicBezTo>
                    <a:pt x="40" y="45"/>
                    <a:pt x="41" y="43"/>
                    <a:pt x="42" y="44"/>
                  </a:cubicBezTo>
                  <a:cubicBezTo>
                    <a:pt x="42" y="45"/>
                    <a:pt x="42" y="47"/>
                    <a:pt x="42" y="47"/>
                  </a:cubicBezTo>
                  <a:cubicBezTo>
                    <a:pt x="41" y="50"/>
                    <a:pt x="39" y="50"/>
                    <a:pt x="41" y="54"/>
                  </a:cubicBezTo>
                  <a:cubicBezTo>
                    <a:pt x="42" y="57"/>
                    <a:pt x="43" y="58"/>
                    <a:pt x="43" y="60"/>
                  </a:cubicBezTo>
                  <a:cubicBezTo>
                    <a:pt x="43" y="61"/>
                    <a:pt x="41" y="61"/>
                    <a:pt x="42" y="64"/>
                  </a:cubicBezTo>
                  <a:cubicBezTo>
                    <a:pt x="43" y="65"/>
                    <a:pt x="45" y="68"/>
                    <a:pt x="45" y="68"/>
                  </a:cubicBezTo>
                  <a:close/>
                  <a:moveTo>
                    <a:pt x="3" y="151"/>
                  </a:moveTo>
                  <a:cubicBezTo>
                    <a:pt x="2" y="151"/>
                    <a:pt x="5" y="153"/>
                    <a:pt x="5" y="153"/>
                  </a:cubicBezTo>
                  <a:cubicBezTo>
                    <a:pt x="0" y="155"/>
                    <a:pt x="3" y="155"/>
                    <a:pt x="7" y="157"/>
                  </a:cubicBezTo>
                  <a:cubicBezTo>
                    <a:pt x="7" y="157"/>
                    <a:pt x="7" y="157"/>
                    <a:pt x="7" y="158"/>
                  </a:cubicBezTo>
                  <a:cubicBezTo>
                    <a:pt x="8" y="157"/>
                    <a:pt x="8" y="157"/>
                    <a:pt x="9" y="157"/>
                  </a:cubicBezTo>
                  <a:cubicBezTo>
                    <a:pt x="7" y="153"/>
                    <a:pt x="9" y="154"/>
                    <a:pt x="5" y="152"/>
                  </a:cubicBezTo>
                  <a:cubicBezTo>
                    <a:pt x="4" y="151"/>
                    <a:pt x="5" y="150"/>
                    <a:pt x="3" y="151"/>
                  </a:cubicBezTo>
                  <a:close/>
                  <a:moveTo>
                    <a:pt x="47" y="79"/>
                  </a:moveTo>
                  <a:cubicBezTo>
                    <a:pt x="46" y="80"/>
                    <a:pt x="46" y="81"/>
                    <a:pt x="47" y="81"/>
                  </a:cubicBezTo>
                  <a:cubicBezTo>
                    <a:pt x="47" y="80"/>
                    <a:pt x="48" y="79"/>
                    <a:pt x="47" y="79"/>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07" name="Freeform 248">
              <a:extLst>
                <a:ext uri="{FF2B5EF4-FFF2-40B4-BE49-F238E27FC236}">
                  <a16:creationId xmlns:a16="http://schemas.microsoft.com/office/drawing/2014/main" id="{013F1DF6-B2F1-5D0C-BA24-7E0D95E55D7B}"/>
                </a:ext>
              </a:extLst>
            </p:cNvPr>
            <p:cNvSpPr>
              <a:spLocks noEditPoints="1"/>
            </p:cNvSpPr>
            <p:nvPr/>
          </p:nvSpPr>
          <p:spPr bwMode="auto">
            <a:xfrm>
              <a:off x="11347124" y="4878767"/>
              <a:ext cx="91617" cy="80840"/>
            </a:xfrm>
            <a:custGeom>
              <a:avLst/>
              <a:gdLst>
                <a:gd name="T0" fmla="*/ 11 w 26"/>
                <a:gd name="T1" fmla="*/ 15 h 23"/>
                <a:gd name="T2" fmla="*/ 9 w 26"/>
                <a:gd name="T3" fmla="*/ 23 h 23"/>
                <a:gd name="T4" fmla="*/ 11 w 26"/>
                <a:gd name="T5" fmla="*/ 15 h 23"/>
                <a:gd name="T6" fmla="*/ 24 w 26"/>
                <a:gd name="T7" fmla="*/ 0 h 23"/>
                <a:gd name="T8" fmla="*/ 16 w 26"/>
                <a:gd name="T9" fmla="*/ 4 h 23"/>
                <a:gd name="T10" fmla="*/ 13 w 26"/>
                <a:gd name="T11" fmla="*/ 7 h 23"/>
                <a:gd name="T12" fmla="*/ 14 w 26"/>
                <a:gd name="T13" fmla="*/ 9 h 23"/>
                <a:gd name="T14" fmla="*/ 20 w 26"/>
                <a:gd name="T15" fmla="*/ 6 h 23"/>
                <a:gd name="T16" fmla="*/ 23 w 26"/>
                <a:gd name="T17" fmla="*/ 6 h 23"/>
                <a:gd name="T18" fmla="*/ 23 w 26"/>
                <a:gd name="T19" fmla="*/ 3 h 23"/>
                <a:gd name="T20" fmla="*/ 26 w 26"/>
                <a:gd name="T21" fmla="*/ 1 h 23"/>
                <a:gd name="T22" fmla="*/ 24 w 26"/>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3">
                  <a:moveTo>
                    <a:pt x="11" y="15"/>
                  </a:moveTo>
                  <a:cubicBezTo>
                    <a:pt x="4" y="15"/>
                    <a:pt x="0" y="22"/>
                    <a:pt x="9" y="23"/>
                  </a:cubicBezTo>
                  <a:cubicBezTo>
                    <a:pt x="16" y="23"/>
                    <a:pt x="17" y="16"/>
                    <a:pt x="11" y="15"/>
                  </a:cubicBezTo>
                  <a:close/>
                  <a:moveTo>
                    <a:pt x="24" y="0"/>
                  </a:moveTo>
                  <a:cubicBezTo>
                    <a:pt x="23" y="0"/>
                    <a:pt x="17" y="3"/>
                    <a:pt x="16" y="4"/>
                  </a:cubicBezTo>
                  <a:cubicBezTo>
                    <a:pt x="15" y="5"/>
                    <a:pt x="14" y="6"/>
                    <a:pt x="13" y="7"/>
                  </a:cubicBezTo>
                  <a:cubicBezTo>
                    <a:pt x="14" y="7"/>
                    <a:pt x="14" y="7"/>
                    <a:pt x="14" y="9"/>
                  </a:cubicBezTo>
                  <a:cubicBezTo>
                    <a:pt x="16" y="8"/>
                    <a:pt x="18" y="6"/>
                    <a:pt x="20" y="6"/>
                  </a:cubicBezTo>
                  <a:cubicBezTo>
                    <a:pt x="21" y="6"/>
                    <a:pt x="22" y="6"/>
                    <a:pt x="23" y="6"/>
                  </a:cubicBezTo>
                  <a:cubicBezTo>
                    <a:pt x="23" y="6"/>
                    <a:pt x="23" y="3"/>
                    <a:pt x="23" y="3"/>
                  </a:cubicBezTo>
                  <a:cubicBezTo>
                    <a:pt x="24" y="2"/>
                    <a:pt x="25" y="2"/>
                    <a:pt x="26" y="1"/>
                  </a:cubicBezTo>
                  <a:cubicBezTo>
                    <a:pt x="25" y="1"/>
                    <a:pt x="26" y="0"/>
                    <a:pt x="24"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08" name="Freeform 249">
              <a:extLst>
                <a:ext uri="{FF2B5EF4-FFF2-40B4-BE49-F238E27FC236}">
                  <a16:creationId xmlns:a16="http://schemas.microsoft.com/office/drawing/2014/main" id="{574EC6C3-2F2D-DF07-E77C-263D7D70D5E5}"/>
                </a:ext>
              </a:extLst>
            </p:cNvPr>
            <p:cNvSpPr>
              <a:spLocks noEditPoints="1"/>
            </p:cNvSpPr>
            <p:nvPr/>
          </p:nvSpPr>
          <p:spPr bwMode="auto">
            <a:xfrm>
              <a:off x="11347124" y="4878767"/>
              <a:ext cx="91617" cy="80840"/>
            </a:xfrm>
            <a:custGeom>
              <a:avLst/>
              <a:gdLst>
                <a:gd name="T0" fmla="*/ 11 w 26"/>
                <a:gd name="T1" fmla="*/ 15 h 23"/>
                <a:gd name="T2" fmla="*/ 9 w 26"/>
                <a:gd name="T3" fmla="*/ 23 h 23"/>
                <a:gd name="T4" fmla="*/ 11 w 26"/>
                <a:gd name="T5" fmla="*/ 15 h 23"/>
                <a:gd name="T6" fmla="*/ 24 w 26"/>
                <a:gd name="T7" fmla="*/ 0 h 23"/>
                <a:gd name="T8" fmla="*/ 16 w 26"/>
                <a:gd name="T9" fmla="*/ 4 h 23"/>
                <a:gd name="T10" fmla="*/ 13 w 26"/>
                <a:gd name="T11" fmla="*/ 7 h 23"/>
                <a:gd name="T12" fmla="*/ 14 w 26"/>
                <a:gd name="T13" fmla="*/ 9 h 23"/>
                <a:gd name="T14" fmla="*/ 20 w 26"/>
                <a:gd name="T15" fmla="*/ 6 h 23"/>
                <a:gd name="T16" fmla="*/ 23 w 26"/>
                <a:gd name="T17" fmla="*/ 6 h 23"/>
                <a:gd name="T18" fmla="*/ 23 w 26"/>
                <a:gd name="T19" fmla="*/ 3 h 23"/>
                <a:gd name="T20" fmla="*/ 26 w 26"/>
                <a:gd name="T21" fmla="*/ 1 h 23"/>
                <a:gd name="T22" fmla="*/ 24 w 26"/>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3">
                  <a:moveTo>
                    <a:pt x="11" y="15"/>
                  </a:moveTo>
                  <a:cubicBezTo>
                    <a:pt x="4" y="15"/>
                    <a:pt x="0" y="22"/>
                    <a:pt x="9" y="23"/>
                  </a:cubicBezTo>
                  <a:cubicBezTo>
                    <a:pt x="16" y="23"/>
                    <a:pt x="17" y="16"/>
                    <a:pt x="11" y="15"/>
                  </a:cubicBezTo>
                  <a:close/>
                  <a:moveTo>
                    <a:pt x="24" y="0"/>
                  </a:moveTo>
                  <a:cubicBezTo>
                    <a:pt x="23" y="0"/>
                    <a:pt x="17" y="3"/>
                    <a:pt x="16" y="4"/>
                  </a:cubicBezTo>
                  <a:cubicBezTo>
                    <a:pt x="15" y="5"/>
                    <a:pt x="14" y="6"/>
                    <a:pt x="13" y="7"/>
                  </a:cubicBezTo>
                  <a:cubicBezTo>
                    <a:pt x="14" y="7"/>
                    <a:pt x="14" y="7"/>
                    <a:pt x="14" y="9"/>
                  </a:cubicBezTo>
                  <a:cubicBezTo>
                    <a:pt x="16" y="8"/>
                    <a:pt x="18" y="6"/>
                    <a:pt x="20" y="6"/>
                  </a:cubicBezTo>
                  <a:cubicBezTo>
                    <a:pt x="21" y="6"/>
                    <a:pt x="22" y="6"/>
                    <a:pt x="23" y="6"/>
                  </a:cubicBezTo>
                  <a:cubicBezTo>
                    <a:pt x="23" y="6"/>
                    <a:pt x="23" y="3"/>
                    <a:pt x="23" y="3"/>
                  </a:cubicBezTo>
                  <a:cubicBezTo>
                    <a:pt x="24" y="2"/>
                    <a:pt x="25" y="2"/>
                    <a:pt x="26" y="1"/>
                  </a:cubicBezTo>
                  <a:cubicBezTo>
                    <a:pt x="25" y="1"/>
                    <a:pt x="26" y="0"/>
                    <a:pt x="24"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09" name="Freeform 250">
              <a:extLst>
                <a:ext uri="{FF2B5EF4-FFF2-40B4-BE49-F238E27FC236}">
                  <a16:creationId xmlns:a16="http://schemas.microsoft.com/office/drawing/2014/main" id="{00AA6E33-A48E-4154-5E90-0175438823E1}"/>
                </a:ext>
              </a:extLst>
            </p:cNvPr>
            <p:cNvSpPr>
              <a:spLocks noEditPoints="1"/>
            </p:cNvSpPr>
            <p:nvPr/>
          </p:nvSpPr>
          <p:spPr bwMode="auto">
            <a:xfrm>
              <a:off x="4093225" y="6308725"/>
              <a:ext cx="765271" cy="176050"/>
            </a:xfrm>
            <a:custGeom>
              <a:avLst/>
              <a:gdLst>
                <a:gd name="T0" fmla="*/ 210 w 217"/>
                <a:gd name="T1" fmla="*/ 43 h 50"/>
                <a:gd name="T2" fmla="*/ 210 w 217"/>
                <a:gd name="T3" fmla="*/ 45 h 50"/>
                <a:gd name="T4" fmla="*/ 214 w 217"/>
                <a:gd name="T5" fmla="*/ 48 h 50"/>
                <a:gd name="T6" fmla="*/ 215 w 217"/>
                <a:gd name="T7" fmla="*/ 48 h 50"/>
                <a:gd name="T8" fmla="*/ 216 w 217"/>
                <a:gd name="T9" fmla="*/ 44 h 50"/>
                <a:gd name="T10" fmla="*/ 210 w 217"/>
                <a:gd name="T11" fmla="*/ 43 h 50"/>
                <a:gd name="T12" fmla="*/ 23 w 217"/>
                <a:gd name="T13" fmla="*/ 0 h 50"/>
                <a:gd name="T14" fmla="*/ 19 w 217"/>
                <a:gd name="T15" fmla="*/ 3 h 50"/>
                <a:gd name="T16" fmla="*/ 19 w 217"/>
                <a:gd name="T17" fmla="*/ 4 h 50"/>
                <a:gd name="T18" fmla="*/ 19 w 217"/>
                <a:gd name="T19" fmla="*/ 6 h 50"/>
                <a:gd name="T20" fmla="*/ 17 w 217"/>
                <a:gd name="T21" fmla="*/ 6 h 50"/>
                <a:gd name="T22" fmla="*/ 14 w 217"/>
                <a:gd name="T23" fmla="*/ 11 h 50"/>
                <a:gd name="T24" fmla="*/ 13 w 217"/>
                <a:gd name="T25" fmla="*/ 12 h 50"/>
                <a:gd name="T26" fmla="*/ 13 w 217"/>
                <a:gd name="T27" fmla="*/ 13 h 50"/>
                <a:gd name="T28" fmla="*/ 17 w 217"/>
                <a:gd name="T29" fmla="*/ 15 h 50"/>
                <a:gd name="T30" fmla="*/ 16 w 217"/>
                <a:gd name="T31" fmla="*/ 14 h 50"/>
                <a:gd name="T32" fmla="*/ 16 w 217"/>
                <a:gd name="T33" fmla="*/ 13 h 50"/>
                <a:gd name="T34" fmla="*/ 17 w 217"/>
                <a:gd name="T35" fmla="*/ 11 h 50"/>
                <a:gd name="T36" fmla="*/ 23 w 217"/>
                <a:gd name="T37" fmla="*/ 12 h 50"/>
                <a:gd name="T38" fmla="*/ 21 w 217"/>
                <a:gd name="T39" fmla="*/ 8 h 50"/>
                <a:gd name="T40" fmla="*/ 28 w 217"/>
                <a:gd name="T41" fmla="*/ 7 h 50"/>
                <a:gd name="T42" fmla="*/ 29 w 217"/>
                <a:gd name="T43" fmla="*/ 6 h 50"/>
                <a:gd name="T44" fmla="*/ 32 w 217"/>
                <a:gd name="T45" fmla="*/ 7 h 50"/>
                <a:gd name="T46" fmla="*/ 33 w 217"/>
                <a:gd name="T47" fmla="*/ 5 h 50"/>
                <a:gd name="T48" fmla="*/ 30 w 217"/>
                <a:gd name="T49" fmla="*/ 5 h 50"/>
                <a:gd name="T50" fmla="*/ 30 w 217"/>
                <a:gd name="T51" fmla="*/ 2 h 50"/>
                <a:gd name="T52" fmla="*/ 29 w 217"/>
                <a:gd name="T53" fmla="*/ 3 h 50"/>
                <a:gd name="T54" fmla="*/ 26 w 217"/>
                <a:gd name="T55" fmla="*/ 5 h 50"/>
                <a:gd name="T56" fmla="*/ 25 w 217"/>
                <a:gd name="T57" fmla="*/ 3 h 50"/>
                <a:gd name="T58" fmla="*/ 25 w 217"/>
                <a:gd name="T59" fmla="*/ 2 h 50"/>
                <a:gd name="T60" fmla="*/ 25 w 217"/>
                <a:gd name="T61" fmla="*/ 1 h 50"/>
                <a:gd name="T62" fmla="*/ 23 w 217"/>
                <a:gd name="T63" fmla="*/ 0 h 50"/>
                <a:gd name="T64" fmla="*/ 6 w 217"/>
                <a:gd name="T65" fmla="*/ 0 h 50"/>
                <a:gd name="T66" fmla="*/ 7 w 217"/>
                <a:gd name="T67" fmla="*/ 3 h 50"/>
                <a:gd name="T68" fmla="*/ 5 w 217"/>
                <a:gd name="T69" fmla="*/ 5 h 50"/>
                <a:gd name="T70" fmla="*/ 7 w 217"/>
                <a:gd name="T71" fmla="*/ 5 h 50"/>
                <a:gd name="T72" fmla="*/ 7 w 217"/>
                <a:gd name="T73" fmla="*/ 7 h 50"/>
                <a:gd name="T74" fmla="*/ 4 w 217"/>
                <a:gd name="T75" fmla="*/ 13 h 50"/>
                <a:gd name="T76" fmla="*/ 7 w 217"/>
                <a:gd name="T77" fmla="*/ 10 h 50"/>
                <a:gd name="T78" fmla="*/ 7 w 217"/>
                <a:gd name="T79" fmla="*/ 9 h 50"/>
                <a:gd name="T80" fmla="*/ 9 w 217"/>
                <a:gd name="T81" fmla="*/ 9 h 50"/>
                <a:gd name="T82" fmla="*/ 11 w 217"/>
                <a:gd name="T83" fmla="*/ 9 h 50"/>
                <a:gd name="T84" fmla="*/ 13 w 217"/>
                <a:gd name="T85" fmla="*/ 5 h 50"/>
                <a:gd name="T86" fmla="*/ 15 w 217"/>
                <a:gd name="T87" fmla="*/ 5 h 50"/>
                <a:gd name="T88" fmla="*/ 17 w 217"/>
                <a:gd name="T89" fmla="*/ 1 h 50"/>
                <a:gd name="T90" fmla="*/ 6 w 217"/>
                <a:gd name="T9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 h="50">
                  <a:moveTo>
                    <a:pt x="210" y="43"/>
                  </a:moveTo>
                  <a:cubicBezTo>
                    <a:pt x="211" y="44"/>
                    <a:pt x="210" y="45"/>
                    <a:pt x="210" y="45"/>
                  </a:cubicBezTo>
                  <a:cubicBezTo>
                    <a:pt x="210" y="46"/>
                    <a:pt x="214" y="48"/>
                    <a:pt x="214" y="48"/>
                  </a:cubicBezTo>
                  <a:cubicBezTo>
                    <a:pt x="213" y="50"/>
                    <a:pt x="216" y="48"/>
                    <a:pt x="215" y="48"/>
                  </a:cubicBezTo>
                  <a:cubicBezTo>
                    <a:pt x="217" y="47"/>
                    <a:pt x="215" y="46"/>
                    <a:pt x="216" y="44"/>
                  </a:cubicBezTo>
                  <a:cubicBezTo>
                    <a:pt x="213" y="44"/>
                    <a:pt x="211" y="44"/>
                    <a:pt x="210" y="43"/>
                  </a:cubicBezTo>
                  <a:close/>
                  <a:moveTo>
                    <a:pt x="23" y="0"/>
                  </a:moveTo>
                  <a:cubicBezTo>
                    <a:pt x="22" y="0"/>
                    <a:pt x="19" y="2"/>
                    <a:pt x="19" y="3"/>
                  </a:cubicBezTo>
                  <a:cubicBezTo>
                    <a:pt x="19" y="4"/>
                    <a:pt x="19" y="4"/>
                    <a:pt x="19" y="4"/>
                  </a:cubicBezTo>
                  <a:cubicBezTo>
                    <a:pt x="19" y="4"/>
                    <a:pt x="20" y="5"/>
                    <a:pt x="19" y="6"/>
                  </a:cubicBezTo>
                  <a:cubicBezTo>
                    <a:pt x="19" y="6"/>
                    <a:pt x="18" y="6"/>
                    <a:pt x="17" y="6"/>
                  </a:cubicBezTo>
                  <a:cubicBezTo>
                    <a:pt x="16" y="7"/>
                    <a:pt x="15" y="9"/>
                    <a:pt x="14" y="11"/>
                  </a:cubicBezTo>
                  <a:cubicBezTo>
                    <a:pt x="13" y="10"/>
                    <a:pt x="14" y="12"/>
                    <a:pt x="13" y="12"/>
                  </a:cubicBezTo>
                  <a:cubicBezTo>
                    <a:pt x="12" y="11"/>
                    <a:pt x="13" y="13"/>
                    <a:pt x="13" y="13"/>
                  </a:cubicBezTo>
                  <a:cubicBezTo>
                    <a:pt x="15" y="14"/>
                    <a:pt x="16" y="14"/>
                    <a:pt x="17" y="15"/>
                  </a:cubicBezTo>
                  <a:cubicBezTo>
                    <a:pt x="18" y="14"/>
                    <a:pt x="16" y="14"/>
                    <a:pt x="16" y="14"/>
                  </a:cubicBezTo>
                  <a:cubicBezTo>
                    <a:pt x="16" y="13"/>
                    <a:pt x="16" y="13"/>
                    <a:pt x="16" y="13"/>
                  </a:cubicBezTo>
                  <a:cubicBezTo>
                    <a:pt x="18" y="13"/>
                    <a:pt x="17" y="12"/>
                    <a:pt x="17" y="11"/>
                  </a:cubicBezTo>
                  <a:cubicBezTo>
                    <a:pt x="19" y="11"/>
                    <a:pt x="21" y="12"/>
                    <a:pt x="23" y="12"/>
                  </a:cubicBezTo>
                  <a:cubicBezTo>
                    <a:pt x="22" y="10"/>
                    <a:pt x="22" y="10"/>
                    <a:pt x="21" y="8"/>
                  </a:cubicBezTo>
                  <a:cubicBezTo>
                    <a:pt x="25" y="9"/>
                    <a:pt x="24" y="10"/>
                    <a:pt x="28" y="7"/>
                  </a:cubicBezTo>
                  <a:cubicBezTo>
                    <a:pt x="29" y="6"/>
                    <a:pt x="29" y="6"/>
                    <a:pt x="29" y="6"/>
                  </a:cubicBezTo>
                  <a:cubicBezTo>
                    <a:pt x="29" y="6"/>
                    <a:pt x="31" y="7"/>
                    <a:pt x="32" y="7"/>
                  </a:cubicBezTo>
                  <a:cubicBezTo>
                    <a:pt x="33" y="5"/>
                    <a:pt x="33" y="5"/>
                    <a:pt x="33" y="5"/>
                  </a:cubicBezTo>
                  <a:cubicBezTo>
                    <a:pt x="32" y="5"/>
                    <a:pt x="31" y="5"/>
                    <a:pt x="30" y="5"/>
                  </a:cubicBezTo>
                  <a:cubicBezTo>
                    <a:pt x="30" y="5"/>
                    <a:pt x="30" y="2"/>
                    <a:pt x="30" y="2"/>
                  </a:cubicBezTo>
                  <a:cubicBezTo>
                    <a:pt x="30" y="2"/>
                    <a:pt x="28" y="2"/>
                    <a:pt x="29" y="3"/>
                  </a:cubicBezTo>
                  <a:cubicBezTo>
                    <a:pt x="28" y="4"/>
                    <a:pt x="27" y="4"/>
                    <a:pt x="26" y="5"/>
                  </a:cubicBezTo>
                  <a:cubicBezTo>
                    <a:pt x="26" y="4"/>
                    <a:pt x="25" y="4"/>
                    <a:pt x="25" y="3"/>
                  </a:cubicBezTo>
                  <a:cubicBezTo>
                    <a:pt x="24" y="2"/>
                    <a:pt x="25" y="2"/>
                    <a:pt x="25" y="2"/>
                  </a:cubicBezTo>
                  <a:cubicBezTo>
                    <a:pt x="25" y="1"/>
                    <a:pt x="25" y="1"/>
                    <a:pt x="25" y="1"/>
                  </a:cubicBezTo>
                  <a:cubicBezTo>
                    <a:pt x="24" y="0"/>
                    <a:pt x="24" y="1"/>
                    <a:pt x="23" y="0"/>
                  </a:cubicBezTo>
                  <a:close/>
                  <a:moveTo>
                    <a:pt x="6" y="0"/>
                  </a:moveTo>
                  <a:cubicBezTo>
                    <a:pt x="6" y="2"/>
                    <a:pt x="7" y="3"/>
                    <a:pt x="7" y="3"/>
                  </a:cubicBezTo>
                  <a:cubicBezTo>
                    <a:pt x="6" y="4"/>
                    <a:pt x="6" y="4"/>
                    <a:pt x="5" y="5"/>
                  </a:cubicBezTo>
                  <a:cubicBezTo>
                    <a:pt x="6" y="5"/>
                    <a:pt x="7" y="5"/>
                    <a:pt x="7" y="5"/>
                  </a:cubicBezTo>
                  <a:cubicBezTo>
                    <a:pt x="7" y="5"/>
                    <a:pt x="7" y="7"/>
                    <a:pt x="7" y="7"/>
                  </a:cubicBezTo>
                  <a:cubicBezTo>
                    <a:pt x="5" y="9"/>
                    <a:pt x="0" y="10"/>
                    <a:pt x="4" y="13"/>
                  </a:cubicBezTo>
                  <a:cubicBezTo>
                    <a:pt x="5" y="12"/>
                    <a:pt x="7" y="11"/>
                    <a:pt x="7" y="10"/>
                  </a:cubicBezTo>
                  <a:cubicBezTo>
                    <a:pt x="7" y="9"/>
                    <a:pt x="7" y="9"/>
                    <a:pt x="7" y="9"/>
                  </a:cubicBezTo>
                  <a:cubicBezTo>
                    <a:pt x="8" y="9"/>
                    <a:pt x="8" y="10"/>
                    <a:pt x="9" y="9"/>
                  </a:cubicBezTo>
                  <a:cubicBezTo>
                    <a:pt x="10" y="9"/>
                    <a:pt x="9" y="9"/>
                    <a:pt x="11" y="9"/>
                  </a:cubicBezTo>
                  <a:cubicBezTo>
                    <a:pt x="12" y="8"/>
                    <a:pt x="12" y="6"/>
                    <a:pt x="13" y="5"/>
                  </a:cubicBezTo>
                  <a:cubicBezTo>
                    <a:pt x="14" y="5"/>
                    <a:pt x="15" y="5"/>
                    <a:pt x="15" y="5"/>
                  </a:cubicBezTo>
                  <a:cubicBezTo>
                    <a:pt x="17" y="1"/>
                    <a:pt x="17" y="1"/>
                    <a:pt x="17" y="1"/>
                  </a:cubicBezTo>
                  <a:cubicBezTo>
                    <a:pt x="12" y="1"/>
                    <a:pt x="10" y="1"/>
                    <a:pt x="6"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10" name="Freeform 251">
              <a:extLst>
                <a:ext uri="{FF2B5EF4-FFF2-40B4-BE49-F238E27FC236}">
                  <a16:creationId xmlns:a16="http://schemas.microsoft.com/office/drawing/2014/main" id="{28155CF5-1D31-5FE1-6DBC-D958C6ABA224}"/>
                </a:ext>
              </a:extLst>
            </p:cNvPr>
            <p:cNvSpPr>
              <a:spLocks noEditPoints="1"/>
            </p:cNvSpPr>
            <p:nvPr/>
          </p:nvSpPr>
          <p:spPr bwMode="auto">
            <a:xfrm>
              <a:off x="4093225" y="6308725"/>
              <a:ext cx="765271" cy="176050"/>
            </a:xfrm>
            <a:custGeom>
              <a:avLst/>
              <a:gdLst>
                <a:gd name="T0" fmla="*/ 210 w 217"/>
                <a:gd name="T1" fmla="*/ 43 h 50"/>
                <a:gd name="T2" fmla="*/ 210 w 217"/>
                <a:gd name="T3" fmla="*/ 45 h 50"/>
                <a:gd name="T4" fmla="*/ 214 w 217"/>
                <a:gd name="T5" fmla="*/ 48 h 50"/>
                <a:gd name="T6" fmla="*/ 215 w 217"/>
                <a:gd name="T7" fmla="*/ 48 h 50"/>
                <a:gd name="T8" fmla="*/ 216 w 217"/>
                <a:gd name="T9" fmla="*/ 44 h 50"/>
                <a:gd name="T10" fmla="*/ 210 w 217"/>
                <a:gd name="T11" fmla="*/ 43 h 50"/>
                <a:gd name="T12" fmla="*/ 23 w 217"/>
                <a:gd name="T13" fmla="*/ 0 h 50"/>
                <a:gd name="T14" fmla="*/ 19 w 217"/>
                <a:gd name="T15" fmla="*/ 3 h 50"/>
                <a:gd name="T16" fmla="*/ 19 w 217"/>
                <a:gd name="T17" fmla="*/ 4 h 50"/>
                <a:gd name="T18" fmla="*/ 19 w 217"/>
                <a:gd name="T19" fmla="*/ 6 h 50"/>
                <a:gd name="T20" fmla="*/ 17 w 217"/>
                <a:gd name="T21" fmla="*/ 6 h 50"/>
                <a:gd name="T22" fmla="*/ 14 w 217"/>
                <a:gd name="T23" fmla="*/ 11 h 50"/>
                <a:gd name="T24" fmla="*/ 13 w 217"/>
                <a:gd name="T25" fmla="*/ 12 h 50"/>
                <a:gd name="T26" fmla="*/ 13 w 217"/>
                <a:gd name="T27" fmla="*/ 13 h 50"/>
                <a:gd name="T28" fmla="*/ 17 w 217"/>
                <a:gd name="T29" fmla="*/ 15 h 50"/>
                <a:gd name="T30" fmla="*/ 16 w 217"/>
                <a:gd name="T31" fmla="*/ 14 h 50"/>
                <a:gd name="T32" fmla="*/ 16 w 217"/>
                <a:gd name="T33" fmla="*/ 13 h 50"/>
                <a:gd name="T34" fmla="*/ 17 w 217"/>
                <a:gd name="T35" fmla="*/ 11 h 50"/>
                <a:gd name="T36" fmla="*/ 23 w 217"/>
                <a:gd name="T37" fmla="*/ 12 h 50"/>
                <a:gd name="T38" fmla="*/ 21 w 217"/>
                <a:gd name="T39" fmla="*/ 8 h 50"/>
                <a:gd name="T40" fmla="*/ 28 w 217"/>
                <a:gd name="T41" fmla="*/ 7 h 50"/>
                <a:gd name="T42" fmla="*/ 29 w 217"/>
                <a:gd name="T43" fmla="*/ 6 h 50"/>
                <a:gd name="T44" fmla="*/ 32 w 217"/>
                <a:gd name="T45" fmla="*/ 7 h 50"/>
                <a:gd name="T46" fmla="*/ 33 w 217"/>
                <a:gd name="T47" fmla="*/ 5 h 50"/>
                <a:gd name="T48" fmla="*/ 30 w 217"/>
                <a:gd name="T49" fmla="*/ 5 h 50"/>
                <a:gd name="T50" fmla="*/ 30 w 217"/>
                <a:gd name="T51" fmla="*/ 2 h 50"/>
                <a:gd name="T52" fmla="*/ 29 w 217"/>
                <a:gd name="T53" fmla="*/ 3 h 50"/>
                <a:gd name="T54" fmla="*/ 26 w 217"/>
                <a:gd name="T55" fmla="*/ 5 h 50"/>
                <a:gd name="T56" fmla="*/ 25 w 217"/>
                <a:gd name="T57" fmla="*/ 3 h 50"/>
                <a:gd name="T58" fmla="*/ 25 w 217"/>
                <a:gd name="T59" fmla="*/ 2 h 50"/>
                <a:gd name="T60" fmla="*/ 25 w 217"/>
                <a:gd name="T61" fmla="*/ 1 h 50"/>
                <a:gd name="T62" fmla="*/ 23 w 217"/>
                <a:gd name="T63" fmla="*/ 0 h 50"/>
                <a:gd name="T64" fmla="*/ 6 w 217"/>
                <a:gd name="T65" fmla="*/ 0 h 50"/>
                <a:gd name="T66" fmla="*/ 7 w 217"/>
                <a:gd name="T67" fmla="*/ 3 h 50"/>
                <a:gd name="T68" fmla="*/ 5 w 217"/>
                <a:gd name="T69" fmla="*/ 5 h 50"/>
                <a:gd name="T70" fmla="*/ 7 w 217"/>
                <a:gd name="T71" fmla="*/ 5 h 50"/>
                <a:gd name="T72" fmla="*/ 7 w 217"/>
                <a:gd name="T73" fmla="*/ 7 h 50"/>
                <a:gd name="T74" fmla="*/ 4 w 217"/>
                <a:gd name="T75" fmla="*/ 13 h 50"/>
                <a:gd name="T76" fmla="*/ 7 w 217"/>
                <a:gd name="T77" fmla="*/ 10 h 50"/>
                <a:gd name="T78" fmla="*/ 7 w 217"/>
                <a:gd name="T79" fmla="*/ 9 h 50"/>
                <a:gd name="T80" fmla="*/ 9 w 217"/>
                <a:gd name="T81" fmla="*/ 9 h 50"/>
                <a:gd name="T82" fmla="*/ 11 w 217"/>
                <a:gd name="T83" fmla="*/ 9 h 50"/>
                <a:gd name="T84" fmla="*/ 13 w 217"/>
                <a:gd name="T85" fmla="*/ 5 h 50"/>
                <a:gd name="T86" fmla="*/ 15 w 217"/>
                <a:gd name="T87" fmla="*/ 5 h 50"/>
                <a:gd name="T88" fmla="*/ 17 w 217"/>
                <a:gd name="T89" fmla="*/ 1 h 50"/>
                <a:gd name="T90" fmla="*/ 6 w 217"/>
                <a:gd name="T9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 h="50">
                  <a:moveTo>
                    <a:pt x="210" y="43"/>
                  </a:moveTo>
                  <a:cubicBezTo>
                    <a:pt x="211" y="44"/>
                    <a:pt x="210" y="45"/>
                    <a:pt x="210" y="45"/>
                  </a:cubicBezTo>
                  <a:cubicBezTo>
                    <a:pt x="210" y="46"/>
                    <a:pt x="214" y="48"/>
                    <a:pt x="214" y="48"/>
                  </a:cubicBezTo>
                  <a:cubicBezTo>
                    <a:pt x="213" y="50"/>
                    <a:pt x="216" y="48"/>
                    <a:pt x="215" y="48"/>
                  </a:cubicBezTo>
                  <a:cubicBezTo>
                    <a:pt x="217" y="47"/>
                    <a:pt x="215" y="46"/>
                    <a:pt x="216" y="44"/>
                  </a:cubicBezTo>
                  <a:cubicBezTo>
                    <a:pt x="213" y="44"/>
                    <a:pt x="211" y="44"/>
                    <a:pt x="210" y="43"/>
                  </a:cubicBezTo>
                  <a:close/>
                  <a:moveTo>
                    <a:pt x="23" y="0"/>
                  </a:moveTo>
                  <a:cubicBezTo>
                    <a:pt x="22" y="0"/>
                    <a:pt x="19" y="2"/>
                    <a:pt x="19" y="3"/>
                  </a:cubicBezTo>
                  <a:cubicBezTo>
                    <a:pt x="19" y="4"/>
                    <a:pt x="19" y="4"/>
                    <a:pt x="19" y="4"/>
                  </a:cubicBezTo>
                  <a:cubicBezTo>
                    <a:pt x="19" y="4"/>
                    <a:pt x="20" y="5"/>
                    <a:pt x="19" y="6"/>
                  </a:cubicBezTo>
                  <a:cubicBezTo>
                    <a:pt x="19" y="6"/>
                    <a:pt x="18" y="6"/>
                    <a:pt x="17" y="6"/>
                  </a:cubicBezTo>
                  <a:cubicBezTo>
                    <a:pt x="16" y="7"/>
                    <a:pt x="15" y="9"/>
                    <a:pt x="14" y="11"/>
                  </a:cubicBezTo>
                  <a:cubicBezTo>
                    <a:pt x="13" y="10"/>
                    <a:pt x="14" y="12"/>
                    <a:pt x="13" y="12"/>
                  </a:cubicBezTo>
                  <a:cubicBezTo>
                    <a:pt x="12" y="11"/>
                    <a:pt x="13" y="13"/>
                    <a:pt x="13" y="13"/>
                  </a:cubicBezTo>
                  <a:cubicBezTo>
                    <a:pt x="15" y="14"/>
                    <a:pt x="16" y="14"/>
                    <a:pt x="17" y="15"/>
                  </a:cubicBezTo>
                  <a:cubicBezTo>
                    <a:pt x="18" y="14"/>
                    <a:pt x="16" y="14"/>
                    <a:pt x="16" y="14"/>
                  </a:cubicBezTo>
                  <a:cubicBezTo>
                    <a:pt x="16" y="13"/>
                    <a:pt x="16" y="13"/>
                    <a:pt x="16" y="13"/>
                  </a:cubicBezTo>
                  <a:cubicBezTo>
                    <a:pt x="18" y="13"/>
                    <a:pt x="17" y="12"/>
                    <a:pt x="17" y="11"/>
                  </a:cubicBezTo>
                  <a:cubicBezTo>
                    <a:pt x="19" y="11"/>
                    <a:pt x="21" y="12"/>
                    <a:pt x="23" y="12"/>
                  </a:cubicBezTo>
                  <a:cubicBezTo>
                    <a:pt x="22" y="10"/>
                    <a:pt x="22" y="10"/>
                    <a:pt x="21" y="8"/>
                  </a:cubicBezTo>
                  <a:cubicBezTo>
                    <a:pt x="25" y="9"/>
                    <a:pt x="24" y="10"/>
                    <a:pt x="28" y="7"/>
                  </a:cubicBezTo>
                  <a:cubicBezTo>
                    <a:pt x="29" y="6"/>
                    <a:pt x="29" y="6"/>
                    <a:pt x="29" y="6"/>
                  </a:cubicBezTo>
                  <a:cubicBezTo>
                    <a:pt x="29" y="6"/>
                    <a:pt x="31" y="7"/>
                    <a:pt x="32" y="7"/>
                  </a:cubicBezTo>
                  <a:cubicBezTo>
                    <a:pt x="33" y="5"/>
                    <a:pt x="33" y="5"/>
                    <a:pt x="33" y="5"/>
                  </a:cubicBezTo>
                  <a:cubicBezTo>
                    <a:pt x="32" y="5"/>
                    <a:pt x="31" y="5"/>
                    <a:pt x="30" y="5"/>
                  </a:cubicBezTo>
                  <a:cubicBezTo>
                    <a:pt x="30" y="5"/>
                    <a:pt x="30" y="2"/>
                    <a:pt x="30" y="2"/>
                  </a:cubicBezTo>
                  <a:cubicBezTo>
                    <a:pt x="30" y="2"/>
                    <a:pt x="28" y="2"/>
                    <a:pt x="29" y="3"/>
                  </a:cubicBezTo>
                  <a:cubicBezTo>
                    <a:pt x="28" y="4"/>
                    <a:pt x="27" y="4"/>
                    <a:pt x="26" y="5"/>
                  </a:cubicBezTo>
                  <a:cubicBezTo>
                    <a:pt x="26" y="4"/>
                    <a:pt x="25" y="4"/>
                    <a:pt x="25" y="3"/>
                  </a:cubicBezTo>
                  <a:cubicBezTo>
                    <a:pt x="24" y="2"/>
                    <a:pt x="25" y="2"/>
                    <a:pt x="25" y="2"/>
                  </a:cubicBezTo>
                  <a:cubicBezTo>
                    <a:pt x="25" y="1"/>
                    <a:pt x="25" y="1"/>
                    <a:pt x="25" y="1"/>
                  </a:cubicBezTo>
                  <a:cubicBezTo>
                    <a:pt x="24" y="0"/>
                    <a:pt x="24" y="1"/>
                    <a:pt x="23" y="0"/>
                  </a:cubicBezTo>
                  <a:close/>
                  <a:moveTo>
                    <a:pt x="6" y="0"/>
                  </a:moveTo>
                  <a:cubicBezTo>
                    <a:pt x="6" y="2"/>
                    <a:pt x="7" y="3"/>
                    <a:pt x="7" y="3"/>
                  </a:cubicBezTo>
                  <a:cubicBezTo>
                    <a:pt x="6" y="4"/>
                    <a:pt x="6" y="4"/>
                    <a:pt x="5" y="5"/>
                  </a:cubicBezTo>
                  <a:cubicBezTo>
                    <a:pt x="6" y="5"/>
                    <a:pt x="7" y="5"/>
                    <a:pt x="7" y="5"/>
                  </a:cubicBezTo>
                  <a:cubicBezTo>
                    <a:pt x="7" y="5"/>
                    <a:pt x="7" y="7"/>
                    <a:pt x="7" y="7"/>
                  </a:cubicBezTo>
                  <a:cubicBezTo>
                    <a:pt x="5" y="9"/>
                    <a:pt x="0" y="10"/>
                    <a:pt x="4" y="13"/>
                  </a:cubicBezTo>
                  <a:cubicBezTo>
                    <a:pt x="5" y="12"/>
                    <a:pt x="7" y="11"/>
                    <a:pt x="7" y="10"/>
                  </a:cubicBezTo>
                  <a:cubicBezTo>
                    <a:pt x="7" y="9"/>
                    <a:pt x="7" y="9"/>
                    <a:pt x="7" y="9"/>
                  </a:cubicBezTo>
                  <a:cubicBezTo>
                    <a:pt x="8" y="9"/>
                    <a:pt x="8" y="10"/>
                    <a:pt x="9" y="9"/>
                  </a:cubicBezTo>
                  <a:cubicBezTo>
                    <a:pt x="10" y="9"/>
                    <a:pt x="9" y="9"/>
                    <a:pt x="11" y="9"/>
                  </a:cubicBezTo>
                  <a:cubicBezTo>
                    <a:pt x="12" y="8"/>
                    <a:pt x="12" y="6"/>
                    <a:pt x="13" y="5"/>
                  </a:cubicBezTo>
                  <a:cubicBezTo>
                    <a:pt x="14" y="5"/>
                    <a:pt x="15" y="5"/>
                    <a:pt x="15" y="5"/>
                  </a:cubicBezTo>
                  <a:cubicBezTo>
                    <a:pt x="17" y="1"/>
                    <a:pt x="17" y="1"/>
                    <a:pt x="17" y="1"/>
                  </a:cubicBezTo>
                  <a:cubicBezTo>
                    <a:pt x="12" y="1"/>
                    <a:pt x="10" y="1"/>
                    <a:pt x="6"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11" name="Freeform 252">
              <a:extLst>
                <a:ext uri="{FF2B5EF4-FFF2-40B4-BE49-F238E27FC236}">
                  <a16:creationId xmlns:a16="http://schemas.microsoft.com/office/drawing/2014/main" id="{152EE718-E005-6D29-C0CC-1219BBC8EEA9}"/>
                </a:ext>
              </a:extLst>
            </p:cNvPr>
            <p:cNvSpPr>
              <a:spLocks/>
            </p:cNvSpPr>
            <p:nvPr/>
          </p:nvSpPr>
          <p:spPr bwMode="auto">
            <a:xfrm>
              <a:off x="7087837" y="3795520"/>
              <a:ext cx="43114" cy="25150"/>
            </a:xfrm>
            <a:custGeom>
              <a:avLst/>
              <a:gdLst>
                <a:gd name="T0" fmla="*/ 7 w 12"/>
                <a:gd name="T1" fmla="*/ 1 h 7"/>
                <a:gd name="T2" fmla="*/ 5 w 12"/>
                <a:gd name="T3" fmla="*/ 7 h 7"/>
                <a:gd name="T4" fmla="*/ 7 w 12"/>
                <a:gd name="T5" fmla="*/ 1 h 7"/>
              </a:gdLst>
              <a:ahLst/>
              <a:cxnLst>
                <a:cxn ang="0">
                  <a:pos x="T0" y="T1"/>
                </a:cxn>
                <a:cxn ang="0">
                  <a:pos x="T2" y="T3"/>
                </a:cxn>
                <a:cxn ang="0">
                  <a:pos x="T4" y="T5"/>
                </a:cxn>
              </a:cxnLst>
              <a:rect l="0" t="0" r="r" b="b"/>
              <a:pathLst>
                <a:path w="12" h="7">
                  <a:moveTo>
                    <a:pt x="7" y="1"/>
                  </a:moveTo>
                  <a:cubicBezTo>
                    <a:pt x="12" y="2"/>
                    <a:pt x="5" y="7"/>
                    <a:pt x="5" y="7"/>
                  </a:cubicBezTo>
                  <a:cubicBezTo>
                    <a:pt x="2" y="5"/>
                    <a:pt x="0" y="0"/>
                    <a:pt x="7" y="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12" name="Freeform 253">
              <a:extLst>
                <a:ext uri="{FF2B5EF4-FFF2-40B4-BE49-F238E27FC236}">
                  <a16:creationId xmlns:a16="http://schemas.microsoft.com/office/drawing/2014/main" id="{F4524660-EB15-C4AB-97DB-DCF45536F1BF}"/>
                </a:ext>
              </a:extLst>
            </p:cNvPr>
            <p:cNvSpPr>
              <a:spLocks/>
            </p:cNvSpPr>
            <p:nvPr/>
          </p:nvSpPr>
          <p:spPr bwMode="auto">
            <a:xfrm>
              <a:off x="6960294" y="3666178"/>
              <a:ext cx="472456" cy="414976"/>
            </a:xfrm>
            <a:custGeom>
              <a:avLst/>
              <a:gdLst>
                <a:gd name="T0" fmla="*/ 89 w 134"/>
                <a:gd name="T1" fmla="*/ 45 h 118"/>
                <a:gd name="T2" fmla="*/ 87 w 134"/>
                <a:gd name="T3" fmla="*/ 49 h 118"/>
                <a:gd name="T4" fmla="*/ 90 w 134"/>
                <a:gd name="T5" fmla="*/ 54 h 118"/>
                <a:gd name="T6" fmla="*/ 93 w 134"/>
                <a:gd name="T7" fmla="*/ 59 h 118"/>
                <a:gd name="T8" fmla="*/ 99 w 134"/>
                <a:gd name="T9" fmla="*/ 63 h 118"/>
                <a:gd name="T10" fmla="*/ 122 w 134"/>
                <a:gd name="T11" fmla="*/ 74 h 118"/>
                <a:gd name="T12" fmla="*/ 134 w 134"/>
                <a:gd name="T13" fmla="*/ 74 h 118"/>
                <a:gd name="T14" fmla="*/ 112 w 134"/>
                <a:gd name="T15" fmla="*/ 108 h 118"/>
                <a:gd name="T16" fmla="*/ 101 w 134"/>
                <a:gd name="T17" fmla="*/ 109 h 118"/>
                <a:gd name="T18" fmla="*/ 97 w 134"/>
                <a:gd name="T19" fmla="*/ 111 h 118"/>
                <a:gd name="T20" fmla="*/ 89 w 134"/>
                <a:gd name="T21" fmla="*/ 112 h 118"/>
                <a:gd name="T22" fmla="*/ 87 w 134"/>
                <a:gd name="T23" fmla="*/ 114 h 118"/>
                <a:gd name="T24" fmla="*/ 77 w 134"/>
                <a:gd name="T25" fmla="*/ 115 h 118"/>
                <a:gd name="T26" fmla="*/ 75 w 134"/>
                <a:gd name="T27" fmla="*/ 111 h 118"/>
                <a:gd name="T28" fmla="*/ 69 w 134"/>
                <a:gd name="T29" fmla="*/ 114 h 118"/>
                <a:gd name="T30" fmla="*/ 66 w 134"/>
                <a:gd name="T31" fmla="*/ 117 h 118"/>
                <a:gd name="T32" fmla="*/ 61 w 134"/>
                <a:gd name="T33" fmla="*/ 117 h 118"/>
                <a:gd name="T34" fmla="*/ 56 w 134"/>
                <a:gd name="T35" fmla="*/ 116 h 118"/>
                <a:gd name="T36" fmla="*/ 49 w 134"/>
                <a:gd name="T37" fmla="*/ 115 h 118"/>
                <a:gd name="T38" fmla="*/ 43 w 134"/>
                <a:gd name="T39" fmla="*/ 115 h 118"/>
                <a:gd name="T40" fmla="*/ 37 w 134"/>
                <a:gd name="T41" fmla="*/ 116 h 118"/>
                <a:gd name="T42" fmla="*/ 31 w 134"/>
                <a:gd name="T43" fmla="*/ 115 h 118"/>
                <a:gd name="T44" fmla="*/ 30 w 134"/>
                <a:gd name="T45" fmla="*/ 113 h 118"/>
                <a:gd name="T46" fmla="*/ 28 w 134"/>
                <a:gd name="T47" fmla="*/ 108 h 118"/>
                <a:gd name="T48" fmla="*/ 26 w 134"/>
                <a:gd name="T49" fmla="*/ 108 h 118"/>
                <a:gd name="T50" fmla="*/ 21 w 134"/>
                <a:gd name="T51" fmla="*/ 104 h 118"/>
                <a:gd name="T52" fmla="*/ 17 w 134"/>
                <a:gd name="T53" fmla="*/ 95 h 118"/>
                <a:gd name="T54" fmla="*/ 15 w 134"/>
                <a:gd name="T55" fmla="*/ 91 h 118"/>
                <a:gd name="T56" fmla="*/ 11 w 134"/>
                <a:gd name="T57" fmla="*/ 86 h 118"/>
                <a:gd name="T58" fmla="*/ 6 w 134"/>
                <a:gd name="T59" fmla="*/ 82 h 118"/>
                <a:gd name="T60" fmla="*/ 1 w 134"/>
                <a:gd name="T61" fmla="*/ 81 h 118"/>
                <a:gd name="T62" fmla="*/ 2 w 134"/>
                <a:gd name="T63" fmla="*/ 76 h 118"/>
                <a:gd name="T64" fmla="*/ 5 w 134"/>
                <a:gd name="T65" fmla="*/ 75 h 118"/>
                <a:gd name="T66" fmla="*/ 9 w 134"/>
                <a:gd name="T67" fmla="*/ 74 h 118"/>
                <a:gd name="T68" fmla="*/ 10 w 134"/>
                <a:gd name="T69" fmla="*/ 68 h 118"/>
                <a:gd name="T70" fmla="*/ 11 w 134"/>
                <a:gd name="T71" fmla="*/ 59 h 118"/>
                <a:gd name="T72" fmla="*/ 15 w 134"/>
                <a:gd name="T73" fmla="*/ 48 h 118"/>
                <a:gd name="T74" fmla="*/ 15 w 134"/>
                <a:gd name="T75" fmla="*/ 43 h 118"/>
                <a:gd name="T76" fmla="*/ 19 w 134"/>
                <a:gd name="T77" fmla="*/ 40 h 118"/>
                <a:gd name="T78" fmla="*/ 22 w 134"/>
                <a:gd name="T79" fmla="*/ 37 h 118"/>
                <a:gd name="T80" fmla="*/ 25 w 134"/>
                <a:gd name="T81" fmla="*/ 32 h 118"/>
                <a:gd name="T82" fmla="*/ 27 w 134"/>
                <a:gd name="T83" fmla="*/ 24 h 118"/>
                <a:gd name="T84" fmla="*/ 32 w 134"/>
                <a:gd name="T85" fmla="*/ 16 h 118"/>
                <a:gd name="T86" fmla="*/ 36 w 134"/>
                <a:gd name="T87" fmla="*/ 9 h 118"/>
                <a:gd name="T88" fmla="*/ 41 w 134"/>
                <a:gd name="T89" fmla="*/ 7 h 118"/>
                <a:gd name="T90" fmla="*/ 45 w 134"/>
                <a:gd name="T91" fmla="*/ 7 h 118"/>
                <a:gd name="T92" fmla="*/ 47 w 134"/>
                <a:gd name="T93" fmla="*/ 10 h 118"/>
                <a:gd name="T94" fmla="*/ 49 w 134"/>
                <a:gd name="T95" fmla="*/ 2 h 118"/>
                <a:gd name="T96" fmla="*/ 52 w 134"/>
                <a:gd name="T97" fmla="*/ 2 h 118"/>
                <a:gd name="T98" fmla="*/ 57 w 134"/>
                <a:gd name="T99" fmla="*/ 7 h 118"/>
                <a:gd name="T100" fmla="*/ 61 w 134"/>
                <a:gd name="T101" fmla="*/ 7 h 118"/>
                <a:gd name="T102" fmla="*/ 71 w 134"/>
                <a:gd name="T103" fmla="*/ 10 h 118"/>
                <a:gd name="T104" fmla="*/ 77 w 134"/>
                <a:gd name="T105" fmla="*/ 17 h 118"/>
                <a:gd name="T106" fmla="*/ 80 w 134"/>
                <a:gd name="T107" fmla="*/ 24 h 118"/>
                <a:gd name="T108" fmla="*/ 84 w 134"/>
                <a:gd name="T109" fmla="*/ 27 h 118"/>
                <a:gd name="T110" fmla="*/ 80 w 134"/>
                <a:gd name="T111" fmla="*/ 36 h 118"/>
                <a:gd name="T112" fmla="*/ 78 w 134"/>
                <a:gd name="T113" fmla="*/ 43 h 118"/>
                <a:gd name="T114" fmla="*/ 83 w 134"/>
                <a:gd name="T115" fmla="*/ 46 h 118"/>
                <a:gd name="T116" fmla="*/ 86 w 134"/>
                <a:gd name="T117" fmla="*/ 45 h 118"/>
                <a:gd name="T118" fmla="*/ 89 w 134"/>
                <a:gd name="T119" fmla="*/ 4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18">
                  <a:moveTo>
                    <a:pt x="89" y="45"/>
                  </a:moveTo>
                  <a:cubicBezTo>
                    <a:pt x="87" y="49"/>
                    <a:pt x="87" y="49"/>
                    <a:pt x="87" y="49"/>
                  </a:cubicBezTo>
                  <a:cubicBezTo>
                    <a:pt x="87" y="49"/>
                    <a:pt x="89" y="52"/>
                    <a:pt x="90" y="54"/>
                  </a:cubicBezTo>
                  <a:cubicBezTo>
                    <a:pt x="92" y="56"/>
                    <a:pt x="91" y="57"/>
                    <a:pt x="93" y="59"/>
                  </a:cubicBezTo>
                  <a:cubicBezTo>
                    <a:pt x="95" y="60"/>
                    <a:pt x="96" y="62"/>
                    <a:pt x="99" y="63"/>
                  </a:cubicBezTo>
                  <a:cubicBezTo>
                    <a:pt x="103" y="65"/>
                    <a:pt x="122" y="74"/>
                    <a:pt x="122" y="74"/>
                  </a:cubicBezTo>
                  <a:cubicBezTo>
                    <a:pt x="134" y="74"/>
                    <a:pt x="134" y="74"/>
                    <a:pt x="134" y="74"/>
                  </a:cubicBezTo>
                  <a:cubicBezTo>
                    <a:pt x="112" y="108"/>
                    <a:pt x="112" y="108"/>
                    <a:pt x="112" y="108"/>
                  </a:cubicBezTo>
                  <a:cubicBezTo>
                    <a:pt x="101" y="109"/>
                    <a:pt x="101" y="109"/>
                    <a:pt x="101" y="109"/>
                  </a:cubicBezTo>
                  <a:cubicBezTo>
                    <a:pt x="97" y="111"/>
                    <a:pt x="97" y="111"/>
                    <a:pt x="97" y="111"/>
                  </a:cubicBezTo>
                  <a:cubicBezTo>
                    <a:pt x="89" y="112"/>
                    <a:pt x="89" y="112"/>
                    <a:pt x="89" y="112"/>
                  </a:cubicBezTo>
                  <a:cubicBezTo>
                    <a:pt x="87" y="114"/>
                    <a:pt x="87" y="114"/>
                    <a:pt x="87" y="114"/>
                  </a:cubicBezTo>
                  <a:cubicBezTo>
                    <a:pt x="87" y="114"/>
                    <a:pt x="79" y="116"/>
                    <a:pt x="77" y="115"/>
                  </a:cubicBezTo>
                  <a:cubicBezTo>
                    <a:pt x="75" y="114"/>
                    <a:pt x="75" y="111"/>
                    <a:pt x="75" y="111"/>
                  </a:cubicBezTo>
                  <a:cubicBezTo>
                    <a:pt x="75" y="111"/>
                    <a:pt x="72" y="115"/>
                    <a:pt x="69" y="114"/>
                  </a:cubicBezTo>
                  <a:cubicBezTo>
                    <a:pt x="67" y="112"/>
                    <a:pt x="66" y="117"/>
                    <a:pt x="66" y="117"/>
                  </a:cubicBezTo>
                  <a:cubicBezTo>
                    <a:pt x="66" y="117"/>
                    <a:pt x="63" y="117"/>
                    <a:pt x="61" y="117"/>
                  </a:cubicBezTo>
                  <a:cubicBezTo>
                    <a:pt x="59" y="117"/>
                    <a:pt x="57" y="118"/>
                    <a:pt x="56" y="116"/>
                  </a:cubicBezTo>
                  <a:cubicBezTo>
                    <a:pt x="55" y="115"/>
                    <a:pt x="49" y="115"/>
                    <a:pt x="49" y="115"/>
                  </a:cubicBezTo>
                  <a:cubicBezTo>
                    <a:pt x="49" y="115"/>
                    <a:pt x="45" y="117"/>
                    <a:pt x="43" y="115"/>
                  </a:cubicBezTo>
                  <a:cubicBezTo>
                    <a:pt x="41" y="114"/>
                    <a:pt x="38" y="116"/>
                    <a:pt x="37" y="116"/>
                  </a:cubicBezTo>
                  <a:cubicBezTo>
                    <a:pt x="36" y="116"/>
                    <a:pt x="31" y="115"/>
                    <a:pt x="31" y="115"/>
                  </a:cubicBezTo>
                  <a:cubicBezTo>
                    <a:pt x="30" y="113"/>
                    <a:pt x="30" y="113"/>
                    <a:pt x="30" y="113"/>
                  </a:cubicBezTo>
                  <a:cubicBezTo>
                    <a:pt x="30" y="113"/>
                    <a:pt x="30" y="108"/>
                    <a:pt x="28" y="108"/>
                  </a:cubicBezTo>
                  <a:cubicBezTo>
                    <a:pt x="27" y="108"/>
                    <a:pt x="27" y="108"/>
                    <a:pt x="26" y="108"/>
                  </a:cubicBezTo>
                  <a:cubicBezTo>
                    <a:pt x="24" y="108"/>
                    <a:pt x="21" y="107"/>
                    <a:pt x="21" y="104"/>
                  </a:cubicBezTo>
                  <a:cubicBezTo>
                    <a:pt x="20" y="101"/>
                    <a:pt x="17" y="98"/>
                    <a:pt x="17" y="95"/>
                  </a:cubicBezTo>
                  <a:cubicBezTo>
                    <a:pt x="17" y="92"/>
                    <a:pt x="16" y="92"/>
                    <a:pt x="15" y="91"/>
                  </a:cubicBezTo>
                  <a:cubicBezTo>
                    <a:pt x="13" y="89"/>
                    <a:pt x="12" y="88"/>
                    <a:pt x="11" y="86"/>
                  </a:cubicBezTo>
                  <a:cubicBezTo>
                    <a:pt x="9" y="83"/>
                    <a:pt x="8" y="83"/>
                    <a:pt x="6" y="82"/>
                  </a:cubicBezTo>
                  <a:cubicBezTo>
                    <a:pt x="5" y="82"/>
                    <a:pt x="0" y="83"/>
                    <a:pt x="1" y="81"/>
                  </a:cubicBezTo>
                  <a:cubicBezTo>
                    <a:pt x="1" y="79"/>
                    <a:pt x="2" y="76"/>
                    <a:pt x="2" y="76"/>
                  </a:cubicBezTo>
                  <a:cubicBezTo>
                    <a:pt x="2" y="76"/>
                    <a:pt x="2" y="76"/>
                    <a:pt x="5" y="75"/>
                  </a:cubicBezTo>
                  <a:cubicBezTo>
                    <a:pt x="8" y="75"/>
                    <a:pt x="9" y="74"/>
                    <a:pt x="9" y="74"/>
                  </a:cubicBezTo>
                  <a:cubicBezTo>
                    <a:pt x="9" y="74"/>
                    <a:pt x="10" y="70"/>
                    <a:pt x="10" y="68"/>
                  </a:cubicBezTo>
                  <a:cubicBezTo>
                    <a:pt x="10" y="67"/>
                    <a:pt x="11" y="61"/>
                    <a:pt x="11" y="59"/>
                  </a:cubicBezTo>
                  <a:cubicBezTo>
                    <a:pt x="10" y="57"/>
                    <a:pt x="15" y="52"/>
                    <a:pt x="15" y="48"/>
                  </a:cubicBezTo>
                  <a:cubicBezTo>
                    <a:pt x="15" y="45"/>
                    <a:pt x="15" y="43"/>
                    <a:pt x="15" y="43"/>
                  </a:cubicBezTo>
                  <a:cubicBezTo>
                    <a:pt x="15" y="43"/>
                    <a:pt x="17" y="41"/>
                    <a:pt x="19" y="40"/>
                  </a:cubicBezTo>
                  <a:cubicBezTo>
                    <a:pt x="21" y="39"/>
                    <a:pt x="22" y="39"/>
                    <a:pt x="22" y="37"/>
                  </a:cubicBezTo>
                  <a:cubicBezTo>
                    <a:pt x="23" y="35"/>
                    <a:pt x="24" y="34"/>
                    <a:pt x="25" y="32"/>
                  </a:cubicBezTo>
                  <a:cubicBezTo>
                    <a:pt x="26" y="29"/>
                    <a:pt x="27" y="27"/>
                    <a:pt x="27" y="24"/>
                  </a:cubicBezTo>
                  <a:cubicBezTo>
                    <a:pt x="27" y="20"/>
                    <a:pt x="31" y="18"/>
                    <a:pt x="32" y="16"/>
                  </a:cubicBezTo>
                  <a:cubicBezTo>
                    <a:pt x="33" y="13"/>
                    <a:pt x="36" y="9"/>
                    <a:pt x="36" y="9"/>
                  </a:cubicBezTo>
                  <a:cubicBezTo>
                    <a:pt x="41" y="7"/>
                    <a:pt x="41" y="7"/>
                    <a:pt x="41" y="7"/>
                  </a:cubicBezTo>
                  <a:cubicBezTo>
                    <a:pt x="41" y="7"/>
                    <a:pt x="45" y="6"/>
                    <a:pt x="45" y="7"/>
                  </a:cubicBezTo>
                  <a:cubicBezTo>
                    <a:pt x="46" y="9"/>
                    <a:pt x="47" y="10"/>
                    <a:pt x="47" y="10"/>
                  </a:cubicBezTo>
                  <a:cubicBezTo>
                    <a:pt x="49" y="2"/>
                    <a:pt x="49" y="2"/>
                    <a:pt x="49" y="2"/>
                  </a:cubicBezTo>
                  <a:cubicBezTo>
                    <a:pt x="49" y="2"/>
                    <a:pt x="50" y="0"/>
                    <a:pt x="52" y="2"/>
                  </a:cubicBezTo>
                  <a:cubicBezTo>
                    <a:pt x="54" y="3"/>
                    <a:pt x="56" y="7"/>
                    <a:pt x="57" y="7"/>
                  </a:cubicBezTo>
                  <a:cubicBezTo>
                    <a:pt x="59" y="7"/>
                    <a:pt x="60" y="5"/>
                    <a:pt x="61" y="7"/>
                  </a:cubicBezTo>
                  <a:cubicBezTo>
                    <a:pt x="62" y="9"/>
                    <a:pt x="68" y="9"/>
                    <a:pt x="71" y="10"/>
                  </a:cubicBezTo>
                  <a:cubicBezTo>
                    <a:pt x="73" y="11"/>
                    <a:pt x="74" y="14"/>
                    <a:pt x="77" y="17"/>
                  </a:cubicBezTo>
                  <a:cubicBezTo>
                    <a:pt x="79" y="19"/>
                    <a:pt x="79" y="22"/>
                    <a:pt x="80" y="24"/>
                  </a:cubicBezTo>
                  <a:cubicBezTo>
                    <a:pt x="81" y="25"/>
                    <a:pt x="84" y="27"/>
                    <a:pt x="84" y="27"/>
                  </a:cubicBezTo>
                  <a:cubicBezTo>
                    <a:pt x="84" y="27"/>
                    <a:pt x="79" y="33"/>
                    <a:pt x="80" y="36"/>
                  </a:cubicBezTo>
                  <a:cubicBezTo>
                    <a:pt x="80" y="38"/>
                    <a:pt x="77" y="41"/>
                    <a:pt x="78" y="43"/>
                  </a:cubicBezTo>
                  <a:cubicBezTo>
                    <a:pt x="78" y="45"/>
                    <a:pt x="81" y="46"/>
                    <a:pt x="83" y="46"/>
                  </a:cubicBezTo>
                  <a:cubicBezTo>
                    <a:pt x="85" y="46"/>
                    <a:pt x="86" y="45"/>
                    <a:pt x="86" y="45"/>
                  </a:cubicBezTo>
                  <a:lnTo>
                    <a:pt x="89" y="45"/>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13" name="Freeform 254">
              <a:extLst>
                <a:ext uri="{FF2B5EF4-FFF2-40B4-BE49-F238E27FC236}">
                  <a16:creationId xmlns:a16="http://schemas.microsoft.com/office/drawing/2014/main" id="{FE478060-0135-F9AC-A3C0-8284952AA6F7}"/>
                </a:ext>
              </a:extLst>
            </p:cNvPr>
            <p:cNvSpPr>
              <a:spLocks/>
            </p:cNvSpPr>
            <p:nvPr/>
          </p:nvSpPr>
          <p:spPr bwMode="auto">
            <a:xfrm>
              <a:off x="6960294" y="3666178"/>
              <a:ext cx="472456" cy="414976"/>
            </a:xfrm>
            <a:custGeom>
              <a:avLst/>
              <a:gdLst>
                <a:gd name="T0" fmla="*/ 89 w 134"/>
                <a:gd name="T1" fmla="*/ 45 h 118"/>
                <a:gd name="T2" fmla="*/ 87 w 134"/>
                <a:gd name="T3" fmla="*/ 49 h 118"/>
                <a:gd name="T4" fmla="*/ 90 w 134"/>
                <a:gd name="T5" fmla="*/ 54 h 118"/>
                <a:gd name="T6" fmla="*/ 93 w 134"/>
                <a:gd name="T7" fmla="*/ 59 h 118"/>
                <a:gd name="T8" fmla="*/ 99 w 134"/>
                <a:gd name="T9" fmla="*/ 63 h 118"/>
                <a:gd name="T10" fmla="*/ 122 w 134"/>
                <a:gd name="T11" fmla="*/ 74 h 118"/>
                <a:gd name="T12" fmla="*/ 134 w 134"/>
                <a:gd name="T13" fmla="*/ 74 h 118"/>
                <a:gd name="T14" fmla="*/ 112 w 134"/>
                <a:gd name="T15" fmla="*/ 108 h 118"/>
                <a:gd name="T16" fmla="*/ 101 w 134"/>
                <a:gd name="T17" fmla="*/ 109 h 118"/>
                <a:gd name="T18" fmla="*/ 97 w 134"/>
                <a:gd name="T19" fmla="*/ 111 h 118"/>
                <a:gd name="T20" fmla="*/ 89 w 134"/>
                <a:gd name="T21" fmla="*/ 112 h 118"/>
                <a:gd name="T22" fmla="*/ 87 w 134"/>
                <a:gd name="T23" fmla="*/ 114 h 118"/>
                <a:gd name="T24" fmla="*/ 77 w 134"/>
                <a:gd name="T25" fmla="*/ 115 h 118"/>
                <a:gd name="T26" fmla="*/ 75 w 134"/>
                <a:gd name="T27" fmla="*/ 111 h 118"/>
                <a:gd name="T28" fmla="*/ 69 w 134"/>
                <a:gd name="T29" fmla="*/ 114 h 118"/>
                <a:gd name="T30" fmla="*/ 66 w 134"/>
                <a:gd name="T31" fmla="*/ 117 h 118"/>
                <a:gd name="T32" fmla="*/ 61 w 134"/>
                <a:gd name="T33" fmla="*/ 117 h 118"/>
                <a:gd name="T34" fmla="*/ 56 w 134"/>
                <a:gd name="T35" fmla="*/ 116 h 118"/>
                <a:gd name="T36" fmla="*/ 49 w 134"/>
                <a:gd name="T37" fmla="*/ 115 h 118"/>
                <a:gd name="T38" fmla="*/ 43 w 134"/>
                <a:gd name="T39" fmla="*/ 115 h 118"/>
                <a:gd name="T40" fmla="*/ 37 w 134"/>
                <a:gd name="T41" fmla="*/ 116 h 118"/>
                <a:gd name="T42" fmla="*/ 31 w 134"/>
                <a:gd name="T43" fmla="*/ 115 h 118"/>
                <a:gd name="T44" fmla="*/ 30 w 134"/>
                <a:gd name="T45" fmla="*/ 113 h 118"/>
                <a:gd name="T46" fmla="*/ 28 w 134"/>
                <a:gd name="T47" fmla="*/ 108 h 118"/>
                <a:gd name="T48" fmla="*/ 26 w 134"/>
                <a:gd name="T49" fmla="*/ 108 h 118"/>
                <a:gd name="T50" fmla="*/ 21 w 134"/>
                <a:gd name="T51" fmla="*/ 104 h 118"/>
                <a:gd name="T52" fmla="*/ 17 w 134"/>
                <a:gd name="T53" fmla="*/ 95 h 118"/>
                <a:gd name="T54" fmla="*/ 15 w 134"/>
                <a:gd name="T55" fmla="*/ 91 h 118"/>
                <a:gd name="T56" fmla="*/ 11 w 134"/>
                <a:gd name="T57" fmla="*/ 86 h 118"/>
                <a:gd name="T58" fmla="*/ 6 w 134"/>
                <a:gd name="T59" fmla="*/ 82 h 118"/>
                <a:gd name="T60" fmla="*/ 1 w 134"/>
                <a:gd name="T61" fmla="*/ 81 h 118"/>
                <a:gd name="T62" fmla="*/ 2 w 134"/>
                <a:gd name="T63" fmla="*/ 76 h 118"/>
                <a:gd name="T64" fmla="*/ 5 w 134"/>
                <a:gd name="T65" fmla="*/ 75 h 118"/>
                <a:gd name="T66" fmla="*/ 9 w 134"/>
                <a:gd name="T67" fmla="*/ 74 h 118"/>
                <a:gd name="T68" fmla="*/ 10 w 134"/>
                <a:gd name="T69" fmla="*/ 68 h 118"/>
                <a:gd name="T70" fmla="*/ 11 w 134"/>
                <a:gd name="T71" fmla="*/ 59 h 118"/>
                <a:gd name="T72" fmla="*/ 15 w 134"/>
                <a:gd name="T73" fmla="*/ 48 h 118"/>
                <a:gd name="T74" fmla="*/ 15 w 134"/>
                <a:gd name="T75" fmla="*/ 43 h 118"/>
                <a:gd name="T76" fmla="*/ 19 w 134"/>
                <a:gd name="T77" fmla="*/ 40 h 118"/>
                <a:gd name="T78" fmla="*/ 22 w 134"/>
                <a:gd name="T79" fmla="*/ 37 h 118"/>
                <a:gd name="T80" fmla="*/ 25 w 134"/>
                <a:gd name="T81" fmla="*/ 32 h 118"/>
                <a:gd name="T82" fmla="*/ 27 w 134"/>
                <a:gd name="T83" fmla="*/ 24 h 118"/>
                <a:gd name="T84" fmla="*/ 32 w 134"/>
                <a:gd name="T85" fmla="*/ 16 h 118"/>
                <a:gd name="T86" fmla="*/ 36 w 134"/>
                <a:gd name="T87" fmla="*/ 9 h 118"/>
                <a:gd name="T88" fmla="*/ 41 w 134"/>
                <a:gd name="T89" fmla="*/ 7 h 118"/>
                <a:gd name="T90" fmla="*/ 45 w 134"/>
                <a:gd name="T91" fmla="*/ 7 h 118"/>
                <a:gd name="T92" fmla="*/ 47 w 134"/>
                <a:gd name="T93" fmla="*/ 10 h 118"/>
                <a:gd name="T94" fmla="*/ 49 w 134"/>
                <a:gd name="T95" fmla="*/ 2 h 118"/>
                <a:gd name="T96" fmla="*/ 52 w 134"/>
                <a:gd name="T97" fmla="*/ 2 h 118"/>
                <a:gd name="T98" fmla="*/ 57 w 134"/>
                <a:gd name="T99" fmla="*/ 7 h 118"/>
                <a:gd name="T100" fmla="*/ 61 w 134"/>
                <a:gd name="T101" fmla="*/ 7 h 118"/>
                <a:gd name="T102" fmla="*/ 71 w 134"/>
                <a:gd name="T103" fmla="*/ 10 h 118"/>
                <a:gd name="T104" fmla="*/ 77 w 134"/>
                <a:gd name="T105" fmla="*/ 17 h 118"/>
                <a:gd name="T106" fmla="*/ 80 w 134"/>
                <a:gd name="T107" fmla="*/ 24 h 118"/>
                <a:gd name="T108" fmla="*/ 84 w 134"/>
                <a:gd name="T109" fmla="*/ 27 h 118"/>
                <a:gd name="T110" fmla="*/ 80 w 134"/>
                <a:gd name="T111" fmla="*/ 36 h 118"/>
                <a:gd name="T112" fmla="*/ 78 w 134"/>
                <a:gd name="T113" fmla="*/ 43 h 118"/>
                <a:gd name="T114" fmla="*/ 83 w 134"/>
                <a:gd name="T115" fmla="*/ 46 h 118"/>
                <a:gd name="T116" fmla="*/ 86 w 134"/>
                <a:gd name="T117" fmla="*/ 45 h 118"/>
                <a:gd name="T118" fmla="*/ 89 w 134"/>
                <a:gd name="T119" fmla="*/ 4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4" h="118">
                  <a:moveTo>
                    <a:pt x="89" y="45"/>
                  </a:moveTo>
                  <a:cubicBezTo>
                    <a:pt x="87" y="49"/>
                    <a:pt x="87" y="49"/>
                    <a:pt x="87" y="49"/>
                  </a:cubicBezTo>
                  <a:cubicBezTo>
                    <a:pt x="87" y="49"/>
                    <a:pt x="89" y="52"/>
                    <a:pt x="90" y="54"/>
                  </a:cubicBezTo>
                  <a:cubicBezTo>
                    <a:pt x="92" y="56"/>
                    <a:pt x="91" y="57"/>
                    <a:pt x="93" y="59"/>
                  </a:cubicBezTo>
                  <a:cubicBezTo>
                    <a:pt x="95" y="60"/>
                    <a:pt x="96" y="62"/>
                    <a:pt x="99" y="63"/>
                  </a:cubicBezTo>
                  <a:cubicBezTo>
                    <a:pt x="103" y="65"/>
                    <a:pt x="122" y="74"/>
                    <a:pt x="122" y="74"/>
                  </a:cubicBezTo>
                  <a:cubicBezTo>
                    <a:pt x="134" y="74"/>
                    <a:pt x="134" y="74"/>
                    <a:pt x="134" y="74"/>
                  </a:cubicBezTo>
                  <a:cubicBezTo>
                    <a:pt x="112" y="108"/>
                    <a:pt x="112" y="108"/>
                    <a:pt x="112" y="108"/>
                  </a:cubicBezTo>
                  <a:cubicBezTo>
                    <a:pt x="101" y="109"/>
                    <a:pt x="101" y="109"/>
                    <a:pt x="101" y="109"/>
                  </a:cubicBezTo>
                  <a:cubicBezTo>
                    <a:pt x="97" y="111"/>
                    <a:pt x="97" y="111"/>
                    <a:pt x="97" y="111"/>
                  </a:cubicBezTo>
                  <a:cubicBezTo>
                    <a:pt x="89" y="112"/>
                    <a:pt x="89" y="112"/>
                    <a:pt x="89" y="112"/>
                  </a:cubicBezTo>
                  <a:cubicBezTo>
                    <a:pt x="87" y="114"/>
                    <a:pt x="87" y="114"/>
                    <a:pt x="87" y="114"/>
                  </a:cubicBezTo>
                  <a:cubicBezTo>
                    <a:pt x="87" y="114"/>
                    <a:pt x="79" y="116"/>
                    <a:pt x="77" y="115"/>
                  </a:cubicBezTo>
                  <a:cubicBezTo>
                    <a:pt x="75" y="114"/>
                    <a:pt x="75" y="111"/>
                    <a:pt x="75" y="111"/>
                  </a:cubicBezTo>
                  <a:cubicBezTo>
                    <a:pt x="75" y="111"/>
                    <a:pt x="72" y="115"/>
                    <a:pt x="69" y="114"/>
                  </a:cubicBezTo>
                  <a:cubicBezTo>
                    <a:pt x="67" y="112"/>
                    <a:pt x="66" y="117"/>
                    <a:pt x="66" y="117"/>
                  </a:cubicBezTo>
                  <a:cubicBezTo>
                    <a:pt x="66" y="117"/>
                    <a:pt x="63" y="117"/>
                    <a:pt x="61" y="117"/>
                  </a:cubicBezTo>
                  <a:cubicBezTo>
                    <a:pt x="59" y="117"/>
                    <a:pt x="57" y="118"/>
                    <a:pt x="56" y="116"/>
                  </a:cubicBezTo>
                  <a:cubicBezTo>
                    <a:pt x="55" y="115"/>
                    <a:pt x="49" y="115"/>
                    <a:pt x="49" y="115"/>
                  </a:cubicBezTo>
                  <a:cubicBezTo>
                    <a:pt x="49" y="115"/>
                    <a:pt x="45" y="117"/>
                    <a:pt x="43" y="115"/>
                  </a:cubicBezTo>
                  <a:cubicBezTo>
                    <a:pt x="41" y="114"/>
                    <a:pt x="38" y="116"/>
                    <a:pt x="37" y="116"/>
                  </a:cubicBezTo>
                  <a:cubicBezTo>
                    <a:pt x="36" y="116"/>
                    <a:pt x="31" y="115"/>
                    <a:pt x="31" y="115"/>
                  </a:cubicBezTo>
                  <a:cubicBezTo>
                    <a:pt x="30" y="113"/>
                    <a:pt x="30" y="113"/>
                    <a:pt x="30" y="113"/>
                  </a:cubicBezTo>
                  <a:cubicBezTo>
                    <a:pt x="30" y="113"/>
                    <a:pt x="30" y="108"/>
                    <a:pt x="28" y="108"/>
                  </a:cubicBezTo>
                  <a:cubicBezTo>
                    <a:pt x="27" y="108"/>
                    <a:pt x="27" y="108"/>
                    <a:pt x="26" y="108"/>
                  </a:cubicBezTo>
                  <a:cubicBezTo>
                    <a:pt x="24" y="108"/>
                    <a:pt x="21" y="107"/>
                    <a:pt x="21" y="104"/>
                  </a:cubicBezTo>
                  <a:cubicBezTo>
                    <a:pt x="20" y="101"/>
                    <a:pt x="17" y="98"/>
                    <a:pt x="17" y="95"/>
                  </a:cubicBezTo>
                  <a:cubicBezTo>
                    <a:pt x="17" y="92"/>
                    <a:pt x="16" y="92"/>
                    <a:pt x="15" y="91"/>
                  </a:cubicBezTo>
                  <a:cubicBezTo>
                    <a:pt x="13" y="89"/>
                    <a:pt x="12" y="88"/>
                    <a:pt x="11" y="86"/>
                  </a:cubicBezTo>
                  <a:cubicBezTo>
                    <a:pt x="9" y="83"/>
                    <a:pt x="8" y="83"/>
                    <a:pt x="6" y="82"/>
                  </a:cubicBezTo>
                  <a:cubicBezTo>
                    <a:pt x="5" y="82"/>
                    <a:pt x="0" y="83"/>
                    <a:pt x="1" y="81"/>
                  </a:cubicBezTo>
                  <a:cubicBezTo>
                    <a:pt x="1" y="79"/>
                    <a:pt x="2" y="76"/>
                    <a:pt x="2" y="76"/>
                  </a:cubicBezTo>
                  <a:cubicBezTo>
                    <a:pt x="2" y="76"/>
                    <a:pt x="2" y="76"/>
                    <a:pt x="5" y="75"/>
                  </a:cubicBezTo>
                  <a:cubicBezTo>
                    <a:pt x="8" y="75"/>
                    <a:pt x="9" y="74"/>
                    <a:pt x="9" y="74"/>
                  </a:cubicBezTo>
                  <a:cubicBezTo>
                    <a:pt x="9" y="74"/>
                    <a:pt x="10" y="70"/>
                    <a:pt x="10" y="68"/>
                  </a:cubicBezTo>
                  <a:cubicBezTo>
                    <a:pt x="10" y="67"/>
                    <a:pt x="11" y="61"/>
                    <a:pt x="11" y="59"/>
                  </a:cubicBezTo>
                  <a:cubicBezTo>
                    <a:pt x="10" y="57"/>
                    <a:pt x="15" y="52"/>
                    <a:pt x="15" y="48"/>
                  </a:cubicBezTo>
                  <a:cubicBezTo>
                    <a:pt x="15" y="45"/>
                    <a:pt x="15" y="43"/>
                    <a:pt x="15" y="43"/>
                  </a:cubicBezTo>
                  <a:cubicBezTo>
                    <a:pt x="15" y="43"/>
                    <a:pt x="17" y="41"/>
                    <a:pt x="19" y="40"/>
                  </a:cubicBezTo>
                  <a:cubicBezTo>
                    <a:pt x="21" y="39"/>
                    <a:pt x="22" y="39"/>
                    <a:pt x="22" y="37"/>
                  </a:cubicBezTo>
                  <a:cubicBezTo>
                    <a:pt x="23" y="35"/>
                    <a:pt x="24" y="34"/>
                    <a:pt x="25" y="32"/>
                  </a:cubicBezTo>
                  <a:cubicBezTo>
                    <a:pt x="26" y="29"/>
                    <a:pt x="27" y="27"/>
                    <a:pt x="27" y="24"/>
                  </a:cubicBezTo>
                  <a:cubicBezTo>
                    <a:pt x="27" y="20"/>
                    <a:pt x="31" y="18"/>
                    <a:pt x="32" y="16"/>
                  </a:cubicBezTo>
                  <a:cubicBezTo>
                    <a:pt x="33" y="13"/>
                    <a:pt x="36" y="9"/>
                    <a:pt x="36" y="9"/>
                  </a:cubicBezTo>
                  <a:cubicBezTo>
                    <a:pt x="41" y="7"/>
                    <a:pt x="41" y="7"/>
                    <a:pt x="41" y="7"/>
                  </a:cubicBezTo>
                  <a:cubicBezTo>
                    <a:pt x="41" y="7"/>
                    <a:pt x="45" y="6"/>
                    <a:pt x="45" y="7"/>
                  </a:cubicBezTo>
                  <a:cubicBezTo>
                    <a:pt x="46" y="9"/>
                    <a:pt x="47" y="10"/>
                    <a:pt x="47" y="10"/>
                  </a:cubicBezTo>
                  <a:cubicBezTo>
                    <a:pt x="49" y="2"/>
                    <a:pt x="49" y="2"/>
                    <a:pt x="49" y="2"/>
                  </a:cubicBezTo>
                  <a:cubicBezTo>
                    <a:pt x="49" y="2"/>
                    <a:pt x="50" y="0"/>
                    <a:pt x="52" y="2"/>
                  </a:cubicBezTo>
                  <a:cubicBezTo>
                    <a:pt x="54" y="3"/>
                    <a:pt x="56" y="7"/>
                    <a:pt x="57" y="7"/>
                  </a:cubicBezTo>
                  <a:cubicBezTo>
                    <a:pt x="59" y="7"/>
                    <a:pt x="60" y="5"/>
                    <a:pt x="61" y="7"/>
                  </a:cubicBezTo>
                  <a:cubicBezTo>
                    <a:pt x="62" y="9"/>
                    <a:pt x="68" y="9"/>
                    <a:pt x="71" y="10"/>
                  </a:cubicBezTo>
                  <a:cubicBezTo>
                    <a:pt x="73" y="11"/>
                    <a:pt x="74" y="14"/>
                    <a:pt x="77" y="17"/>
                  </a:cubicBezTo>
                  <a:cubicBezTo>
                    <a:pt x="79" y="19"/>
                    <a:pt x="79" y="22"/>
                    <a:pt x="80" y="24"/>
                  </a:cubicBezTo>
                  <a:cubicBezTo>
                    <a:pt x="81" y="25"/>
                    <a:pt x="84" y="27"/>
                    <a:pt x="84" y="27"/>
                  </a:cubicBezTo>
                  <a:cubicBezTo>
                    <a:pt x="84" y="27"/>
                    <a:pt x="79" y="33"/>
                    <a:pt x="80" y="36"/>
                  </a:cubicBezTo>
                  <a:cubicBezTo>
                    <a:pt x="80" y="38"/>
                    <a:pt x="77" y="41"/>
                    <a:pt x="78" y="43"/>
                  </a:cubicBezTo>
                  <a:cubicBezTo>
                    <a:pt x="78" y="45"/>
                    <a:pt x="81" y="46"/>
                    <a:pt x="83" y="46"/>
                  </a:cubicBezTo>
                  <a:cubicBezTo>
                    <a:pt x="85" y="46"/>
                    <a:pt x="86" y="45"/>
                    <a:pt x="86" y="45"/>
                  </a:cubicBezTo>
                  <a:lnTo>
                    <a:pt x="89" y="45"/>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14" name="Freeform 255">
              <a:extLst>
                <a:ext uri="{FF2B5EF4-FFF2-40B4-BE49-F238E27FC236}">
                  <a16:creationId xmlns:a16="http://schemas.microsoft.com/office/drawing/2014/main" id="{734A92C8-F05E-AA1E-C977-C29C8498AF1D}"/>
                </a:ext>
              </a:extLst>
            </p:cNvPr>
            <p:cNvSpPr>
              <a:spLocks noEditPoints="1"/>
            </p:cNvSpPr>
            <p:nvPr/>
          </p:nvSpPr>
          <p:spPr bwMode="auto">
            <a:xfrm>
              <a:off x="6636939" y="1754775"/>
              <a:ext cx="201197" cy="113176"/>
            </a:xfrm>
            <a:custGeom>
              <a:avLst/>
              <a:gdLst>
                <a:gd name="T0" fmla="*/ 54 w 57"/>
                <a:gd name="T1" fmla="*/ 11 h 32"/>
                <a:gd name="T2" fmla="*/ 55 w 57"/>
                <a:gd name="T3" fmla="*/ 10 h 32"/>
                <a:gd name="T4" fmla="*/ 57 w 57"/>
                <a:gd name="T5" fmla="*/ 6 h 32"/>
                <a:gd name="T6" fmla="*/ 55 w 57"/>
                <a:gd name="T7" fmla="*/ 3 h 32"/>
                <a:gd name="T8" fmla="*/ 48 w 57"/>
                <a:gd name="T9" fmla="*/ 0 h 32"/>
                <a:gd name="T10" fmla="*/ 46 w 57"/>
                <a:gd name="T11" fmla="*/ 0 h 32"/>
                <a:gd name="T12" fmla="*/ 45 w 57"/>
                <a:gd name="T13" fmla="*/ 3 h 32"/>
                <a:gd name="T14" fmla="*/ 37 w 57"/>
                <a:gd name="T15" fmla="*/ 3 h 32"/>
                <a:gd name="T16" fmla="*/ 35 w 57"/>
                <a:gd name="T17" fmla="*/ 1 h 32"/>
                <a:gd name="T18" fmla="*/ 33 w 57"/>
                <a:gd name="T19" fmla="*/ 4 h 32"/>
                <a:gd name="T20" fmla="*/ 18 w 57"/>
                <a:gd name="T21" fmla="*/ 7 h 32"/>
                <a:gd name="T22" fmla="*/ 18 w 57"/>
                <a:gd name="T23" fmla="*/ 19 h 32"/>
                <a:gd name="T24" fmla="*/ 21 w 57"/>
                <a:gd name="T25" fmla="*/ 19 h 32"/>
                <a:gd name="T26" fmla="*/ 20 w 57"/>
                <a:gd name="T27" fmla="*/ 25 h 32"/>
                <a:gd name="T28" fmla="*/ 26 w 57"/>
                <a:gd name="T29" fmla="*/ 25 h 32"/>
                <a:gd name="T30" fmla="*/ 28 w 57"/>
                <a:gd name="T31" fmla="*/ 24 h 32"/>
                <a:gd name="T32" fmla="*/ 34 w 57"/>
                <a:gd name="T33" fmla="*/ 25 h 32"/>
                <a:gd name="T34" fmla="*/ 37 w 57"/>
                <a:gd name="T35" fmla="*/ 28 h 32"/>
                <a:gd name="T36" fmla="*/ 39 w 57"/>
                <a:gd name="T37" fmla="*/ 28 h 32"/>
                <a:gd name="T38" fmla="*/ 42 w 57"/>
                <a:gd name="T39" fmla="*/ 32 h 32"/>
                <a:gd name="T40" fmla="*/ 46 w 57"/>
                <a:gd name="T41" fmla="*/ 31 h 32"/>
                <a:gd name="T42" fmla="*/ 48 w 57"/>
                <a:gd name="T43" fmla="*/ 26 h 32"/>
                <a:gd name="T44" fmla="*/ 52 w 57"/>
                <a:gd name="T45" fmla="*/ 22 h 32"/>
                <a:gd name="T46" fmla="*/ 52 w 57"/>
                <a:gd name="T47" fmla="*/ 20 h 32"/>
                <a:gd name="T48" fmla="*/ 50 w 57"/>
                <a:gd name="T49" fmla="*/ 18 h 32"/>
                <a:gd name="T50" fmla="*/ 49 w 57"/>
                <a:gd name="T51" fmla="*/ 11 h 32"/>
                <a:gd name="T52" fmla="*/ 51 w 57"/>
                <a:gd name="T53" fmla="*/ 10 h 32"/>
                <a:gd name="T54" fmla="*/ 53 w 57"/>
                <a:gd name="T55" fmla="*/ 10 h 32"/>
                <a:gd name="T56" fmla="*/ 54 w 57"/>
                <a:gd name="T57" fmla="*/ 11 h 32"/>
                <a:gd name="T58" fmla="*/ 3 w 57"/>
                <a:gd name="T59" fmla="*/ 25 h 32"/>
                <a:gd name="T60" fmla="*/ 3 w 57"/>
                <a:gd name="T61" fmla="*/ 27 h 32"/>
                <a:gd name="T62" fmla="*/ 3 w 57"/>
                <a:gd name="T63" fmla="*/ 25 h 32"/>
                <a:gd name="T64" fmla="*/ 7 w 57"/>
                <a:gd name="T65" fmla="*/ 15 h 32"/>
                <a:gd name="T66" fmla="*/ 2 w 57"/>
                <a:gd name="T67" fmla="*/ 18 h 32"/>
                <a:gd name="T68" fmla="*/ 1 w 57"/>
                <a:gd name="T69" fmla="*/ 16 h 32"/>
                <a:gd name="T70" fmla="*/ 3 w 57"/>
                <a:gd name="T71" fmla="*/ 23 h 32"/>
                <a:gd name="T72" fmla="*/ 5 w 57"/>
                <a:gd name="T73" fmla="*/ 24 h 32"/>
                <a:gd name="T74" fmla="*/ 7 w 57"/>
                <a:gd name="T75" fmla="*/ 22 h 32"/>
                <a:gd name="T76" fmla="*/ 10 w 57"/>
                <a:gd name="T77" fmla="*/ 22 h 32"/>
                <a:gd name="T78" fmla="*/ 13 w 57"/>
                <a:gd name="T79" fmla="*/ 16 h 32"/>
                <a:gd name="T80" fmla="*/ 7 w 57"/>
                <a:gd name="T81" fmla="*/ 15 h 32"/>
                <a:gd name="T82" fmla="*/ 8 w 57"/>
                <a:gd name="T83" fmla="*/ 6 h 32"/>
                <a:gd name="T84" fmla="*/ 7 w 57"/>
                <a:gd name="T85" fmla="*/ 8 h 32"/>
                <a:gd name="T86" fmla="*/ 4 w 57"/>
                <a:gd name="T87" fmla="*/ 9 h 32"/>
                <a:gd name="T88" fmla="*/ 6 w 57"/>
                <a:gd name="T89" fmla="*/ 10 h 32"/>
                <a:gd name="T90" fmla="*/ 7 w 57"/>
                <a:gd name="T91" fmla="*/ 12 h 32"/>
                <a:gd name="T92" fmla="*/ 8 w 57"/>
                <a:gd name="T93" fmla="*/ 12 h 32"/>
                <a:gd name="T94" fmla="*/ 9 w 57"/>
                <a:gd name="T95" fmla="*/ 11 h 32"/>
                <a:gd name="T96" fmla="*/ 10 w 57"/>
                <a:gd name="T97" fmla="*/ 9 h 32"/>
                <a:gd name="T98" fmla="*/ 8 w 57"/>
                <a:gd name="T9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 h="32">
                  <a:moveTo>
                    <a:pt x="54" y="11"/>
                  </a:moveTo>
                  <a:cubicBezTo>
                    <a:pt x="55" y="10"/>
                    <a:pt x="55" y="10"/>
                    <a:pt x="55" y="10"/>
                  </a:cubicBezTo>
                  <a:cubicBezTo>
                    <a:pt x="55" y="10"/>
                    <a:pt x="57" y="8"/>
                    <a:pt x="57" y="6"/>
                  </a:cubicBezTo>
                  <a:cubicBezTo>
                    <a:pt x="57" y="5"/>
                    <a:pt x="55" y="3"/>
                    <a:pt x="55" y="3"/>
                  </a:cubicBezTo>
                  <a:cubicBezTo>
                    <a:pt x="50" y="2"/>
                    <a:pt x="51" y="2"/>
                    <a:pt x="48" y="0"/>
                  </a:cubicBezTo>
                  <a:cubicBezTo>
                    <a:pt x="47" y="0"/>
                    <a:pt x="46" y="0"/>
                    <a:pt x="46" y="0"/>
                  </a:cubicBezTo>
                  <a:cubicBezTo>
                    <a:pt x="45" y="0"/>
                    <a:pt x="45" y="1"/>
                    <a:pt x="45" y="3"/>
                  </a:cubicBezTo>
                  <a:cubicBezTo>
                    <a:pt x="43" y="3"/>
                    <a:pt x="39" y="3"/>
                    <a:pt x="37" y="3"/>
                  </a:cubicBezTo>
                  <a:cubicBezTo>
                    <a:pt x="36" y="3"/>
                    <a:pt x="36" y="1"/>
                    <a:pt x="35" y="1"/>
                  </a:cubicBezTo>
                  <a:cubicBezTo>
                    <a:pt x="33" y="1"/>
                    <a:pt x="34" y="3"/>
                    <a:pt x="33" y="4"/>
                  </a:cubicBezTo>
                  <a:cubicBezTo>
                    <a:pt x="26" y="3"/>
                    <a:pt x="23" y="6"/>
                    <a:pt x="18" y="7"/>
                  </a:cubicBezTo>
                  <a:cubicBezTo>
                    <a:pt x="18" y="12"/>
                    <a:pt x="17" y="14"/>
                    <a:pt x="18" y="19"/>
                  </a:cubicBezTo>
                  <a:cubicBezTo>
                    <a:pt x="19" y="19"/>
                    <a:pt x="20" y="19"/>
                    <a:pt x="21" y="19"/>
                  </a:cubicBezTo>
                  <a:cubicBezTo>
                    <a:pt x="21" y="22"/>
                    <a:pt x="21" y="24"/>
                    <a:pt x="20" y="25"/>
                  </a:cubicBezTo>
                  <a:cubicBezTo>
                    <a:pt x="20" y="25"/>
                    <a:pt x="24" y="25"/>
                    <a:pt x="26" y="25"/>
                  </a:cubicBezTo>
                  <a:cubicBezTo>
                    <a:pt x="27" y="25"/>
                    <a:pt x="28" y="24"/>
                    <a:pt x="28" y="24"/>
                  </a:cubicBezTo>
                  <a:cubicBezTo>
                    <a:pt x="28" y="24"/>
                    <a:pt x="31" y="24"/>
                    <a:pt x="34" y="25"/>
                  </a:cubicBezTo>
                  <a:cubicBezTo>
                    <a:pt x="37" y="26"/>
                    <a:pt x="37" y="28"/>
                    <a:pt x="37" y="28"/>
                  </a:cubicBezTo>
                  <a:cubicBezTo>
                    <a:pt x="39" y="28"/>
                    <a:pt x="39" y="28"/>
                    <a:pt x="39" y="28"/>
                  </a:cubicBezTo>
                  <a:cubicBezTo>
                    <a:pt x="42" y="32"/>
                    <a:pt x="42" y="32"/>
                    <a:pt x="42" y="32"/>
                  </a:cubicBezTo>
                  <a:cubicBezTo>
                    <a:pt x="46" y="31"/>
                    <a:pt x="46" y="31"/>
                    <a:pt x="46" y="31"/>
                  </a:cubicBezTo>
                  <a:cubicBezTo>
                    <a:pt x="46" y="31"/>
                    <a:pt x="46" y="26"/>
                    <a:pt x="48" y="26"/>
                  </a:cubicBezTo>
                  <a:cubicBezTo>
                    <a:pt x="50" y="25"/>
                    <a:pt x="52" y="22"/>
                    <a:pt x="52" y="22"/>
                  </a:cubicBezTo>
                  <a:cubicBezTo>
                    <a:pt x="52" y="20"/>
                    <a:pt x="52" y="20"/>
                    <a:pt x="52" y="20"/>
                  </a:cubicBezTo>
                  <a:cubicBezTo>
                    <a:pt x="52" y="19"/>
                    <a:pt x="50" y="19"/>
                    <a:pt x="50" y="18"/>
                  </a:cubicBezTo>
                  <a:cubicBezTo>
                    <a:pt x="49" y="15"/>
                    <a:pt x="49" y="14"/>
                    <a:pt x="49" y="11"/>
                  </a:cubicBezTo>
                  <a:cubicBezTo>
                    <a:pt x="49" y="11"/>
                    <a:pt x="50" y="10"/>
                    <a:pt x="51" y="10"/>
                  </a:cubicBezTo>
                  <a:cubicBezTo>
                    <a:pt x="51" y="10"/>
                    <a:pt x="53" y="10"/>
                    <a:pt x="53" y="10"/>
                  </a:cubicBezTo>
                  <a:cubicBezTo>
                    <a:pt x="53" y="10"/>
                    <a:pt x="53" y="11"/>
                    <a:pt x="54" y="11"/>
                  </a:cubicBezTo>
                  <a:close/>
                  <a:moveTo>
                    <a:pt x="3" y="25"/>
                  </a:moveTo>
                  <a:cubicBezTo>
                    <a:pt x="2" y="25"/>
                    <a:pt x="3" y="27"/>
                    <a:pt x="3" y="27"/>
                  </a:cubicBezTo>
                  <a:cubicBezTo>
                    <a:pt x="3" y="27"/>
                    <a:pt x="5" y="24"/>
                    <a:pt x="3" y="25"/>
                  </a:cubicBezTo>
                  <a:close/>
                  <a:moveTo>
                    <a:pt x="7" y="15"/>
                  </a:moveTo>
                  <a:cubicBezTo>
                    <a:pt x="6" y="15"/>
                    <a:pt x="3" y="17"/>
                    <a:pt x="2" y="18"/>
                  </a:cubicBezTo>
                  <a:cubicBezTo>
                    <a:pt x="1" y="17"/>
                    <a:pt x="2" y="17"/>
                    <a:pt x="1" y="16"/>
                  </a:cubicBezTo>
                  <a:cubicBezTo>
                    <a:pt x="1" y="21"/>
                    <a:pt x="0" y="21"/>
                    <a:pt x="3" y="23"/>
                  </a:cubicBezTo>
                  <a:cubicBezTo>
                    <a:pt x="4" y="23"/>
                    <a:pt x="4" y="24"/>
                    <a:pt x="5" y="24"/>
                  </a:cubicBezTo>
                  <a:cubicBezTo>
                    <a:pt x="5" y="24"/>
                    <a:pt x="6" y="23"/>
                    <a:pt x="7" y="22"/>
                  </a:cubicBezTo>
                  <a:cubicBezTo>
                    <a:pt x="8" y="22"/>
                    <a:pt x="9" y="23"/>
                    <a:pt x="10" y="22"/>
                  </a:cubicBezTo>
                  <a:cubicBezTo>
                    <a:pt x="11" y="22"/>
                    <a:pt x="13" y="17"/>
                    <a:pt x="13" y="16"/>
                  </a:cubicBezTo>
                  <a:cubicBezTo>
                    <a:pt x="11" y="16"/>
                    <a:pt x="9" y="14"/>
                    <a:pt x="7" y="15"/>
                  </a:cubicBezTo>
                  <a:close/>
                  <a:moveTo>
                    <a:pt x="8" y="6"/>
                  </a:moveTo>
                  <a:cubicBezTo>
                    <a:pt x="7" y="6"/>
                    <a:pt x="7" y="8"/>
                    <a:pt x="7" y="8"/>
                  </a:cubicBezTo>
                  <a:cubicBezTo>
                    <a:pt x="6" y="8"/>
                    <a:pt x="4" y="8"/>
                    <a:pt x="4" y="9"/>
                  </a:cubicBezTo>
                  <a:cubicBezTo>
                    <a:pt x="5" y="9"/>
                    <a:pt x="5" y="9"/>
                    <a:pt x="6" y="10"/>
                  </a:cubicBezTo>
                  <a:cubicBezTo>
                    <a:pt x="6" y="10"/>
                    <a:pt x="6" y="12"/>
                    <a:pt x="7" y="12"/>
                  </a:cubicBezTo>
                  <a:cubicBezTo>
                    <a:pt x="8" y="12"/>
                    <a:pt x="8" y="12"/>
                    <a:pt x="8" y="12"/>
                  </a:cubicBezTo>
                  <a:cubicBezTo>
                    <a:pt x="8" y="12"/>
                    <a:pt x="8" y="11"/>
                    <a:pt x="9" y="11"/>
                  </a:cubicBezTo>
                  <a:cubicBezTo>
                    <a:pt x="10" y="9"/>
                    <a:pt x="10" y="9"/>
                    <a:pt x="10" y="9"/>
                  </a:cubicBezTo>
                  <a:lnTo>
                    <a:pt x="8" y="6"/>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15" name="Freeform 256">
              <a:extLst>
                <a:ext uri="{FF2B5EF4-FFF2-40B4-BE49-F238E27FC236}">
                  <a16:creationId xmlns:a16="http://schemas.microsoft.com/office/drawing/2014/main" id="{C202D44F-F43D-FD63-E657-70997D7A48F3}"/>
                </a:ext>
              </a:extLst>
            </p:cNvPr>
            <p:cNvSpPr>
              <a:spLocks noEditPoints="1"/>
            </p:cNvSpPr>
            <p:nvPr/>
          </p:nvSpPr>
          <p:spPr bwMode="auto">
            <a:xfrm>
              <a:off x="6636939" y="1754775"/>
              <a:ext cx="201197" cy="113176"/>
            </a:xfrm>
            <a:custGeom>
              <a:avLst/>
              <a:gdLst>
                <a:gd name="T0" fmla="*/ 54 w 57"/>
                <a:gd name="T1" fmla="*/ 11 h 32"/>
                <a:gd name="T2" fmla="*/ 55 w 57"/>
                <a:gd name="T3" fmla="*/ 10 h 32"/>
                <a:gd name="T4" fmla="*/ 57 w 57"/>
                <a:gd name="T5" fmla="*/ 6 h 32"/>
                <a:gd name="T6" fmla="*/ 55 w 57"/>
                <a:gd name="T7" fmla="*/ 3 h 32"/>
                <a:gd name="T8" fmla="*/ 48 w 57"/>
                <a:gd name="T9" fmla="*/ 0 h 32"/>
                <a:gd name="T10" fmla="*/ 46 w 57"/>
                <a:gd name="T11" fmla="*/ 0 h 32"/>
                <a:gd name="T12" fmla="*/ 45 w 57"/>
                <a:gd name="T13" fmla="*/ 3 h 32"/>
                <a:gd name="T14" fmla="*/ 37 w 57"/>
                <a:gd name="T15" fmla="*/ 3 h 32"/>
                <a:gd name="T16" fmla="*/ 35 w 57"/>
                <a:gd name="T17" fmla="*/ 1 h 32"/>
                <a:gd name="T18" fmla="*/ 33 w 57"/>
                <a:gd name="T19" fmla="*/ 4 h 32"/>
                <a:gd name="T20" fmla="*/ 18 w 57"/>
                <a:gd name="T21" fmla="*/ 7 h 32"/>
                <a:gd name="T22" fmla="*/ 18 w 57"/>
                <a:gd name="T23" fmla="*/ 19 h 32"/>
                <a:gd name="T24" fmla="*/ 21 w 57"/>
                <a:gd name="T25" fmla="*/ 19 h 32"/>
                <a:gd name="T26" fmla="*/ 20 w 57"/>
                <a:gd name="T27" fmla="*/ 25 h 32"/>
                <a:gd name="T28" fmla="*/ 26 w 57"/>
                <a:gd name="T29" fmla="*/ 25 h 32"/>
                <a:gd name="T30" fmla="*/ 28 w 57"/>
                <a:gd name="T31" fmla="*/ 24 h 32"/>
                <a:gd name="T32" fmla="*/ 34 w 57"/>
                <a:gd name="T33" fmla="*/ 25 h 32"/>
                <a:gd name="T34" fmla="*/ 37 w 57"/>
                <a:gd name="T35" fmla="*/ 28 h 32"/>
                <a:gd name="T36" fmla="*/ 39 w 57"/>
                <a:gd name="T37" fmla="*/ 28 h 32"/>
                <a:gd name="T38" fmla="*/ 42 w 57"/>
                <a:gd name="T39" fmla="*/ 32 h 32"/>
                <a:gd name="T40" fmla="*/ 46 w 57"/>
                <a:gd name="T41" fmla="*/ 31 h 32"/>
                <a:gd name="T42" fmla="*/ 48 w 57"/>
                <a:gd name="T43" fmla="*/ 26 h 32"/>
                <a:gd name="T44" fmla="*/ 52 w 57"/>
                <a:gd name="T45" fmla="*/ 22 h 32"/>
                <a:gd name="T46" fmla="*/ 52 w 57"/>
                <a:gd name="T47" fmla="*/ 20 h 32"/>
                <a:gd name="T48" fmla="*/ 50 w 57"/>
                <a:gd name="T49" fmla="*/ 18 h 32"/>
                <a:gd name="T50" fmla="*/ 49 w 57"/>
                <a:gd name="T51" fmla="*/ 11 h 32"/>
                <a:gd name="T52" fmla="*/ 51 w 57"/>
                <a:gd name="T53" fmla="*/ 10 h 32"/>
                <a:gd name="T54" fmla="*/ 53 w 57"/>
                <a:gd name="T55" fmla="*/ 10 h 32"/>
                <a:gd name="T56" fmla="*/ 54 w 57"/>
                <a:gd name="T57" fmla="*/ 11 h 32"/>
                <a:gd name="T58" fmla="*/ 3 w 57"/>
                <a:gd name="T59" fmla="*/ 25 h 32"/>
                <a:gd name="T60" fmla="*/ 3 w 57"/>
                <a:gd name="T61" fmla="*/ 27 h 32"/>
                <a:gd name="T62" fmla="*/ 3 w 57"/>
                <a:gd name="T63" fmla="*/ 25 h 32"/>
                <a:gd name="T64" fmla="*/ 7 w 57"/>
                <a:gd name="T65" fmla="*/ 15 h 32"/>
                <a:gd name="T66" fmla="*/ 2 w 57"/>
                <a:gd name="T67" fmla="*/ 18 h 32"/>
                <a:gd name="T68" fmla="*/ 1 w 57"/>
                <a:gd name="T69" fmla="*/ 16 h 32"/>
                <a:gd name="T70" fmla="*/ 3 w 57"/>
                <a:gd name="T71" fmla="*/ 23 h 32"/>
                <a:gd name="T72" fmla="*/ 5 w 57"/>
                <a:gd name="T73" fmla="*/ 24 h 32"/>
                <a:gd name="T74" fmla="*/ 7 w 57"/>
                <a:gd name="T75" fmla="*/ 22 h 32"/>
                <a:gd name="T76" fmla="*/ 10 w 57"/>
                <a:gd name="T77" fmla="*/ 22 h 32"/>
                <a:gd name="T78" fmla="*/ 13 w 57"/>
                <a:gd name="T79" fmla="*/ 16 h 32"/>
                <a:gd name="T80" fmla="*/ 7 w 57"/>
                <a:gd name="T81" fmla="*/ 15 h 32"/>
                <a:gd name="T82" fmla="*/ 8 w 57"/>
                <a:gd name="T83" fmla="*/ 6 h 32"/>
                <a:gd name="T84" fmla="*/ 7 w 57"/>
                <a:gd name="T85" fmla="*/ 8 h 32"/>
                <a:gd name="T86" fmla="*/ 4 w 57"/>
                <a:gd name="T87" fmla="*/ 9 h 32"/>
                <a:gd name="T88" fmla="*/ 6 w 57"/>
                <a:gd name="T89" fmla="*/ 10 h 32"/>
                <a:gd name="T90" fmla="*/ 7 w 57"/>
                <a:gd name="T91" fmla="*/ 12 h 32"/>
                <a:gd name="T92" fmla="*/ 8 w 57"/>
                <a:gd name="T93" fmla="*/ 12 h 32"/>
                <a:gd name="T94" fmla="*/ 9 w 57"/>
                <a:gd name="T95" fmla="*/ 11 h 32"/>
                <a:gd name="T96" fmla="*/ 10 w 57"/>
                <a:gd name="T97" fmla="*/ 9 h 32"/>
                <a:gd name="T98" fmla="*/ 8 w 57"/>
                <a:gd name="T9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 h="32">
                  <a:moveTo>
                    <a:pt x="54" y="11"/>
                  </a:moveTo>
                  <a:cubicBezTo>
                    <a:pt x="55" y="10"/>
                    <a:pt x="55" y="10"/>
                    <a:pt x="55" y="10"/>
                  </a:cubicBezTo>
                  <a:cubicBezTo>
                    <a:pt x="55" y="10"/>
                    <a:pt x="57" y="8"/>
                    <a:pt x="57" y="6"/>
                  </a:cubicBezTo>
                  <a:cubicBezTo>
                    <a:pt x="57" y="5"/>
                    <a:pt x="55" y="3"/>
                    <a:pt x="55" y="3"/>
                  </a:cubicBezTo>
                  <a:cubicBezTo>
                    <a:pt x="50" y="2"/>
                    <a:pt x="51" y="2"/>
                    <a:pt x="48" y="0"/>
                  </a:cubicBezTo>
                  <a:cubicBezTo>
                    <a:pt x="47" y="0"/>
                    <a:pt x="46" y="0"/>
                    <a:pt x="46" y="0"/>
                  </a:cubicBezTo>
                  <a:cubicBezTo>
                    <a:pt x="45" y="0"/>
                    <a:pt x="45" y="1"/>
                    <a:pt x="45" y="3"/>
                  </a:cubicBezTo>
                  <a:cubicBezTo>
                    <a:pt x="43" y="3"/>
                    <a:pt x="39" y="3"/>
                    <a:pt x="37" y="3"/>
                  </a:cubicBezTo>
                  <a:cubicBezTo>
                    <a:pt x="36" y="3"/>
                    <a:pt x="36" y="1"/>
                    <a:pt x="35" y="1"/>
                  </a:cubicBezTo>
                  <a:cubicBezTo>
                    <a:pt x="33" y="1"/>
                    <a:pt x="34" y="3"/>
                    <a:pt x="33" y="4"/>
                  </a:cubicBezTo>
                  <a:cubicBezTo>
                    <a:pt x="26" y="3"/>
                    <a:pt x="23" y="6"/>
                    <a:pt x="18" y="7"/>
                  </a:cubicBezTo>
                  <a:cubicBezTo>
                    <a:pt x="18" y="12"/>
                    <a:pt x="17" y="14"/>
                    <a:pt x="18" y="19"/>
                  </a:cubicBezTo>
                  <a:cubicBezTo>
                    <a:pt x="19" y="19"/>
                    <a:pt x="20" y="19"/>
                    <a:pt x="21" y="19"/>
                  </a:cubicBezTo>
                  <a:cubicBezTo>
                    <a:pt x="21" y="22"/>
                    <a:pt x="21" y="24"/>
                    <a:pt x="20" y="25"/>
                  </a:cubicBezTo>
                  <a:cubicBezTo>
                    <a:pt x="20" y="25"/>
                    <a:pt x="24" y="25"/>
                    <a:pt x="26" y="25"/>
                  </a:cubicBezTo>
                  <a:cubicBezTo>
                    <a:pt x="27" y="25"/>
                    <a:pt x="28" y="24"/>
                    <a:pt x="28" y="24"/>
                  </a:cubicBezTo>
                  <a:cubicBezTo>
                    <a:pt x="28" y="24"/>
                    <a:pt x="31" y="24"/>
                    <a:pt x="34" y="25"/>
                  </a:cubicBezTo>
                  <a:cubicBezTo>
                    <a:pt x="37" y="26"/>
                    <a:pt x="37" y="28"/>
                    <a:pt x="37" y="28"/>
                  </a:cubicBezTo>
                  <a:cubicBezTo>
                    <a:pt x="39" y="28"/>
                    <a:pt x="39" y="28"/>
                    <a:pt x="39" y="28"/>
                  </a:cubicBezTo>
                  <a:cubicBezTo>
                    <a:pt x="42" y="32"/>
                    <a:pt x="42" y="32"/>
                    <a:pt x="42" y="32"/>
                  </a:cubicBezTo>
                  <a:cubicBezTo>
                    <a:pt x="46" y="31"/>
                    <a:pt x="46" y="31"/>
                    <a:pt x="46" y="31"/>
                  </a:cubicBezTo>
                  <a:cubicBezTo>
                    <a:pt x="46" y="31"/>
                    <a:pt x="46" y="26"/>
                    <a:pt x="48" y="26"/>
                  </a:cubicBezTo>
                  <a:cubicBezTo>
                    <a:pt x="50" y="25"/>
                    <a:pt x="52" y="22"/>
                    <a:pt x="52" y="22"/>
                  </a:cubicBezTo>
                  <a:cubicBezTo>
                    <a:pt x="52" y="20"/>
                    <a:pt x="52" y="20"/>
                    <a:pt x="52" y="20"/>
                  </a:cubicBezTo>
                  <a:cubicBezTo>
                    <a:pt x="52" y="19"/>
                    <a:pt x="50" y="19"/>
                    <a:pt x="50" y="18"/>
                  </a:cubicBezTo>
                  <a:cubicBezTo>
                    <a:pt x="49" y="15"/>
                    <a:pt x="49" y="14"/>
                    <a:pt x="49" y="11"/>
                  </a:cubicBezTo>
                  <a:cubicBezTo>
                    <a:pt x="49" y="11"/>
                    <a:pt x="50" y="10"/>
                    <a:pt x="51" y="10"/>
                  </a:cubicBezTo>
                  <a:cubicBezTo>
                    <a:pt x="51" y="10"/>
                    <a:pt x="53" y="10"/>
                    <a:pt x="53" y="10"/>
                  </a:cubicBezTo>
                  <a:cubicBezTo>
                    <a:pt x="53" y="10"/>
                    <a:pt x="53" y="11"/>
                    <a:pt x="54" y="11"/>
                  </a:cubicBezTo>
                  <a:close/>
                  <a:moveTo>
                    <a:pt x="3" y="25"/>
                  </a:moveTo>
                  <a:cubicBezTo>
                    <a:pt x="2" y="25"/>
                    <a:pt x="3" y="27"/>
                    <a:pt x="3" y="27"/>
                  </a:cubicBezTo>
                  <a:cubicBezTo>
                    <a:pt x="3" y="27"/>
                    <a:pt x="5" y="24"/>
                    <a:pt x="3" y="25"/>
                  </a:cubicBezTo>
                  <a:close/>
                  <a:moveTo>
                    <a:pt x="7" y="15"/>
                  </a:moveTo>
                  <a:cubicBezTo>
                    <a:pt x="6" y="15"/>
                    <a:pt x="3" y="17"/>
                    <a:pt x="2" y="18"/>
                  </a:cubicBezTo>
                  <a:cubicBezTo>
                    <a:pt x="1" y="17"/>
                    <a:pt x="2" y="17"/>
                    <a:pt x="1" y="16"/>
                  </a:cubicBezTo>
                  <a:cubicBezTo>
                    <a:pt x="1" y="21"/>
                    <a:pt x="0" y="21"/>
                    <a:pt x="3" y="23"/>
                  </a:cubicBezTo>
                  <a:cubicBezTo>
                    <a:pt x="4" y="23"/>
                    <a:pt x="4" y="24"/>
                    <a:pt x="5" y="24"/>
                  </a:cubicBezTo>
                  <a:cubicBezTo>
                    <a:pt x="5" y="24"/>
                    <a:pt x="6" y="23"/>
                    <a:pt x="7" y="22"/>
                  </a:cubicBezTo>
                  <a:cubicBezTo>
                    <a:pt x="8" y="22"/>
                    <a:pt x="9" y="23"/>
                    <a:pt x="10" y="22"/>
                  </a:cubicBezTo>
                  <a:cubicBezTo>
                    <a:pt x="11" y="22"/>
                    <a:pt x="13" y="17"/>
                    <a:pt x="13" y="16"/>
                  </a:cubicBezTo>
                  <a:cubicBezTo>
                    <a:pt x="11" y="16"/>
                    <a:pt x="9" y="14"/>
                    <a:pt x="7" y="15"/>
                  </a:cubicBezTo>
                  <a:close/>
                  <a:moveTo>
                    <a:pt x="8" y="6"/>
                  </a:moveTo>
                  <a:cubicBezTo>
                    <a:pt x="7" y="6"/>
                    <a:pt x="7" y="8"/>
                    <a:pt x="7" y="8"/>
                  </a:cubicBezTo>
                  <a:cubicBezTo>
                    <a:pt x="6" y="8"/>
                    <a:pt x="4" y="8"/>
                    <a:pt x="4" y="9"/>
                  </a:cubicBezTo>
                  <a:cubicBezTo>
                    <a:pt x="5" y="9"/>
                    <a:pt x="5" y="9"/>
                    <a:pt x="6" y="10"/>
                  </a:cubicBezTo>
                  <a:cubicBezTo>
                    <a:pt x="6" y="10"/>
                    <a:pt x="6" y="12"/>
                    <a:pt x="7" y="12"/>
                  </a:cubicBezTo>
                  <a:cubicBezTo>
                    <a:pt x="8" y="12"/>
                    <a:pt x="8" y="12"/>
                    <a:pt x="8" y="12"/>
                  </a:cubicBezTo>
                  <a:cubicBezTo>
                    <a:pt x="8" y="12"/>
                    <a:pt x="8" y="11"/>
                    <a:pt x="9" y="11"/>
                  </a:cubicBezTo>
                  <a:cubicBezTo>
                    <a:pt x="10" y="9"/>
                    <a:pt x="10" y="9"/>
                    <a:pt x="10" y="9"/>
                  </a:cubicBezTo>
                  <a:lnTo>
                    <a:pt x="8" y="6"/>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16" name="Freeform 257">
              <a:extLst>
                <a:ext uri="{FF2B5EF4-FFF2-40B4-BE49-F238E27FC236}">
                  <a16:creationId xmlns:a16="http://schemas.microsoft.com/office/drawing/2014/main" id="{8FAC33FB-B4FF-FA56-B90E-6A05EB81F955}"/>
                </a:ext>
              </a:extLst>
            </p:cNvPr>
            <p:cNvSpPr>
              <a:spLocks/>
            </p:cNvSpPr>
            <p:nvPr/>
          </p:nvSpPr>
          <p:spPr bwMode="auto">
            <a:xfrm>
              <a:off x="7084244" y="3542223"/>
              <a:ext cx="197606" cy="219164"/>
            </a:xfrm>
            <a:custGeom>
              <a:avLst/>
              <a:gdLst>
                <a:gd name="T0" fmla="*/ 17 w 56"/>
                <a:gd name="T1" fmla="*/ 0 h 62"/>
                <a:gd name="T2" fmla="*/ 15 w 56"/>
                <a:gd name="T3" fmla="*/ 3 h 62"/>
                <a:gd name="T4" fmla="*/ 10 w 56"/>
                <a:gd name="T5" fmla="*/ 2 h 62"/>
                <a:gd name="T6" fmla="*/ 8 w 56"/>
                <a:gd name="T7" fmla="*/ 4 h 62"/>
                <a:gd name="T8" fmla="*/ 6 w 56"/>
                <a:gd name="T9" fmla="*/ 8 h 62"/>
                <a:gd name="T10" fmla="*/ 5 w 56"/>
                <a:gd name="T11" fmla="*/ 12 h 62"/>
                <a:gd name="T12" fmla="*/ 4 w 56"/>
                <a:gd name="T13" fmla="*/ 19 h 62"/>
                <a:gd name="T14" fmla="*/ 2 w 56"/>
                <a:gd name="T15" fmla="*/ 26 h 62"/>
                <a:gd name="T16" fmla="*/ 1 w 56"/>
                <a:gd name="T17" fmla="*/ 34 h 62"/>
                <a:gd name="T18" fmla="*/ 1 w 56"/>
                <a:gd name="T19" fmla="*/ 44 h 62"/>
                <a:gd name="T20" fmla="*/ 6 w 56"/>
                <a:gd name="T21" fmla="*/ 42 h 62"/>
                <a:gd name="T22" fmla="*/ 10 w 56"/>
                <a:gd name="T23" fmla="*/ 42 h 62"/>
                <a:gd name="T24" fmla="*/ 12 w 56"/>
                <a:gd name="T25" fmla="*/ 45 h 62"/>
                <a:gd name="T26" fmla="*/ 14 w 56"/>
                <a:gd name="T27" fmla="*/ 37 h 62"/>
                <a:gd name="T28" fmla="*/ 17 w 56"/>
                <a:gd name="T29" fmla="*/ 37 h 62"/>
                <a:gd name="T30" fmla="*/ 22 w 56"/>
                <a:gd name="T31" fmla="*/ 42 h 62"/>
                <a:gd name="T32" fmla="*/ 26 w 56"/>
                <a:gd name="T33" fmla="*/ 42 h 62"/>
                <a:gd name="T34" fmla="*/ 36 w 56"/>
                <a:gd name="T35" fmla="*/ 45 h 62"/>
                <a:gd name="T36" fmla="*/ 42 w 56"/>
                <a:gd name="T37" fmla="*/ 52 h 62"/>
                <a:gd name="T38" fmla="*/ 45 w 56"/>
                <a:gd name="T39" fmla="*/ 59 h 62"/>
                <a:gd name="T40" fmla="*/ 49 w 56"/>
                <a:gd name="T41" fmla="*/ 62 h 62"/>
                <a:gd name="T42" fmla="*/ 51 w 56"/>
                <a:gd name="T43" fmla="*/ 60 h 62"/>
                <a:gd name="T44" fmla="*/ 53 w 56"/>
                <a:gd name="T45" fmla="*/ 62 h 62"/>
                <a:gd name="T46" fmla="*/ 56 w 56"/>
                <a:gd name="T47" fmla="*/ 59 h 62"/>
                <a:gd name="T48" fmla="*/ 55 w 56"/>
                <a:gd name="T49" fmla="*/ 58 h 62"/>
                <a:gd name="T50" fmla="*/ 52 w 56"/>
                <a:gd name="T51" fmla="*/ 55 h 62"/>
                <a:gd name="T52" fmla="*/ 50 w 56"/>
                <a:gd name="T53" fmla="*/ 55 h 62"/>
                <a:gd name="T54" fmla="*/ 49 w 56"/>
                <a:gd name="T55" fmla="*/ 49 h 62"/>
                <a:gd name="T56" fmla="*/ 43 w 56"/>
                <a:gd name="T57" fmla="*/ 45 h 62"/>
                <a:gd name="T58" fmla="*/ 40 w 56"/>
                <a:gd name="T59" fmla="*/ 38 h 62"/>
                <a:gd name="T60" fmla="*/ 35 w 56"/>
                <a:gd name="T61" fmla="*/ 37 h 62"/>
                <a:gd name="T62" fmla="*/ 35 w 56"/>
                <a:gd name="T63" fmla="*/ 33 h 62"/>
                <a:gd name="T64" fmla="*/ 31 w 56"/>
                <a:gd name="T65" fmla="*/ 33 h 62"/>
                <a:gd name="T66" fmla="*/ 30 w 56"/>
                <a:gd name="T67" fmla="*/ 29 h 62"/>
                <a:gd name="T68" fmla="*/ 29 w 56"/>
                <a:gd name="T69" fmla="*/ 30 h 62"/>
                <a:gd name="T70" fmla="*/ 25 w 56"/>
                <a:gd name="T71" fmla="*/ 27 h 62"/>
                <a:gd name="T72" fmla="*/ 25 w 56"/>
                <a:gd name="T73" fmla="*/ 23 h 62"/>
                <a:gd name="T74" fmla="*/ 23 w 56"/>
                <a:gd name="T75" fmla="*/ 13 h 62"/>
                <a:gd name="T76" fmla="*/ 24 w 56"/>
                <a:gd name="T77" fmla="*/ 10 h 62"/>
                <a:gd name="T78" fmla="*/ 21 w 56"/>
                <a:gd name="T79" fmla="*/ 5 h 62"/>
                <a:gd name="T80" fmla="*/ 21 w 56"/>
                <a:gd name="T81" fmla="*/ 2 h 62"/>
                <a:gd name="T82" fmla="*/ 18 w 56"/>
                <a:gd name="T83" fmla="*/ 0 h 62"/>
                <a:gd name="T84" fmla="*/ 17 w 56"/>
                <a:gd name="T8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62">
                  <a:moveTo>
                    <a:pt x="17" y="0"/>
                  </a:moveTo>
                  <a:cubicBezTo>
                    <a:pt x="15" y="3"/>
                    <a:pt x="15" y="3"/>
                    <a:pt x="15" y="3"/>
                  </a:cubicBezTo>
                  <a:cubicBezTo>
                    <a:pt x="10" y="2"/>
                    <a:pt x="10" y="2"/>
                    <a:pt x="10" y="2"/>
                  </a:cubicBezTo>
                  <a:cubicBezTo>
                    <a:pt x="10" y="2"/>
                    <a:pt x="9" y="2"/>
                    <a:pt x="8" y="4"/>
                  </a:cubicBezTo>
                  <a:cubicBezTo>
                    <a:pt x="7" y="6"/>
                    <a:pt x="7" y="8"/>
                    <a:pt x="6" y="8"/>
                  </a:cubicBezTo>
                  <a:cubicBezTo>
                    <a:pt x="4" y="8"/>
                    <a:pt x="5" y="9"/>
                    <a:pt x="5" y="12"/>
                  </a:cubicBezTo>
                  <a:cubicBezTo>
                    <a:pt x="4" y="15"/>
                    <a:pt x="4" y="15"/>
                    <a:pt x="4" y="19"/>
                  </a:cubicBezTo>
                  <a:cubicBezTo>
                    <a:pt x="4" y="22"/>
                    <a:pt x="3" y="23"/>
                    <a:pt x="2" y="26"/>
                  </a:cubicBezTo>
                  <a:cubicBezTo>
                    <a:pt x="1" y="29"/>
                    <a:pt x="0" y="32"/>
                    <a:pt x="1" y="34"/>
                  </a:cubicBezTo>
                  <a:cubicBezTo>
                    <a:pt x="2" y="35"/>
                    <a:pt x="1" y="44"/>
                    <a:pt x="1" y="44"/>
                  </a:cubicBezTo>
                  <a:cubicBezTo>
                    <a:pt x="6" y="42"/>
                    <a:pt x="6" y="42"/>
                    <a:pt x="6" y="42"/>
                  </a:cubicBezTo>
                  <a:cubicBezTo>
                    <a:pt x="6" y="42"/>
                    <a:pt x="10" y="41"/>
                    <a:pt x="10" y="42"/>
                  </a:cubicBezTo>
                  <a:cubicBezTo>
                    <a:pt x="11" y="44"/>
                    <a:pt x="12" y="45"/>
                    <a:pt x="12" y="45"/>
                  </a:cubicBezTo>
                  <a:cubicBezTo>
                    <a:pt x="14" y="37"/>
                    <a:pt x="14" y="37"/>
                    <a:pt x="14" y="37"/>
                  </a:cubicBezTo>
                  <a:cubicBezTo>
                    <a:pt x="14" y="37"/>
                    <a:pt x="15" y="35"/>
                    <a:pt x="17" y="37"/>
                  </a:cubicBezTo>
                  <a:cubicBezTo>
                    <a:pt x="19" y="38"/>
                    <a:pt x="21" y="42"/>
                    <a:pt x="22" y="42"/>
                  </a:cubicBezTo>
                  <a:cubicBezTo>
                    <a:pt x="24" y="42"/>
                    <a:pt x="25" y="40"/>
                    <a:pt x="26" y="42"/>
                  </a:cubicBezTo>
                  <a:cubicBezTo>
                    <a:pt x="27" y="44"/>
                    <a:pt x="33" y="44"/>
                    <a:pt x="36" y="45"/>
                  </a:cubicBezTo>
                  <a:cubicBezTo>
                    <a:pt x="38" y="46"/>
                    <a:pt x="39" y="49"/>
                    <a:pt x="42" y="52"/>
                  </a:cubicBezTo>
                  <a:cubicBezTo>
                    <a:pt x="44" y="54"/>
                    <a:pt x="44" y="57"/>
                    <a:pt x="45" y="59"/>
                  </a:cubicBezTo>
                  <a:cubicBezTo>
                    <a:pt x="46" y="60"/>
                    <a:pt x="49" y="62"/>
                    <a:pt x="49" y="62"/>
                  </a:cubicBezTo>
                  <a:cubicBezTo>
                    <a:pt x="51" y="60"/>
                    <a:pt x="51" y="60"/>
                    <a:pt x="51" y="60"/>
                  </a:cubicBezTo>
                  <a:cubicBezTo>
                    <a:pt x="53" y="62"/>
                    <a:pt x="53" y="62"/>
                    <a:pt x="53" y="62"/>
                  </a:cubicBezTo>
                  <a:cubicBezTo>
                    <a:pt x="56" y="59"/>
                    <a:pt x="56" y="59"/>
                    <a:pt x="56" y="59"/>
                  </a:cubicBezTo>
                  <a:cubicBezTo>
                    <a:pt x="55" y="58"/>
                    <a:pt x="55" y="58"/>
                    <a:pt x="55" y="58"/>
                  </a:cubicBezTo>
                  <a:cubicBezTo>
                    <a:pt x="52" y="55"/>
                    <a:pt x="52" y="55"/>
                    <a:pt x="52" y="55"/>
                  </a:cubicBezTo>
                  <a:cubicBezTo>
                    <a:pt x="50" y="55"/>
                    <a:pt x="50" y="55"/>
                    <a:pt x="50" y="55"/>
                  </a:cubicBezTo>
                  <a:cubicBezTo>
                    <a:pt x="49" y="53"/>
                    <a:pt x="50" y="50"/>
                    <a:pt x="49" y="49"/>
                  </a:cubicBezTo>
                  <a:cubicBezTo>
                    <a:pt x="49" y="48"/>
                    <a:pt x="44" y="46"/>
                    <a:pt x="43" y="45"/>
                  </a:cubicBezTo>
                  <a:cubicBezTo>
                    <a:pt x="42" y="44"/>
                    <a:pt x="42" y="39"/>
                    <a:pt x="40" y="38"/>
                  </a:cubicBezTo>
                  <a:cubicBezTo>
                    <a:pt x="39" y="37"/>
                    <a:pt x="38" y="37"/>
                    <a:pt x="35" y="37"/>
                  </a:cubicBezTo>
                  <a:cubicBezTo>
                    <a:pt x="35" y="33"/>
                    <a:pt x="35" y="33"/>
                    <a:pt x="35" y="33"/>
                  </a:cubicBezTo>
                  <a:cubicBezTo>
                    <a:pt x="33" y="32"/>
                    <a:pt x="32" y="34"/>
                    <a:pt x="31" y="33"/>
                  </a:cubicBezTo>
                  <a:cubicBezTo>
                    <a:pt x="30" y="32"/>
                    <a:pt x="31" y="29"/>
                    <a:pt x="30" y="29"/>
                  </a:cubicBezTo>
                  <a:cubicBezTo>
                    <a:pt x="29" y="28"/>
                    <a:pt x="29" y="30"/>
                    <a:pt x="29" y="30"/>
                  </a:cubicBezTo>
                  <a:cubicBezTo>
                    <a:pt x="28" y="29"/>
                    <a:pt x="26" y="28"/>
                    <a:pt x="25" y="27"/>
                  </a:cubicBezTo>
                  <a:cubicBezTo>
                    <a:pt x="25" y="26"/>
                    <a:pt x="25" y="25"/>
                    <a:pt x="25" y="23"/>
                  </a:cubicBezTo>
                  <a:cubicBezTo>
                    <a:pt x="25" y="21"/>
                    <a:pt x="23" y="16"/>
                    <a:pt x="23" y="13"/>
                  </a:cubicBezTo>
                  <a:cubicBezTo>
                    <a:pt x="23" y="11"/>
                    <a:pt x="24" y="12"/>
                    <a:pt x="24" y="10"/>
                  </a:cubicBezTo>
                  <a:cubicBezTo>
                    <a:pt x="24" y="9"/>
                    <a:pt x="22" y="7"/>
                    <a:pt x="21" y="5"/>
                  </a:cubicBezTo>
                  <a:cubicBezTo>
                    <a:pt x="21" y="4"/>
                    <a:pt x="22" y="3"/>
                    <a:pt x="21" y="2"/>
                  </a:cubicBezTo>
                  <a:cubicBezTo>
                    <a:pt x="20" y="0"/>
                    <a:pt x="19" y="1"/>
                    <a:pt x="18" y="0"/>
                  </a:cubicBezTo>
                  <a:lnTo>
                    <a:pt x="17" y="0"/>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17" name="Freeform 258">
              <a:extLst>
                <a:ext uri="{FF2B5EF4-FFF2-40B4-BE49-F238E27FC236}">
                  <a16:creationId xmlns:a16="http://schemas.microsoft.com/office/drawing/2014/main" id="{2F780BCC-5160-B5F2-1965-24A9F2815435}"/>
                </a:ext>
              </a:extLst>
            </p:cNvPr>
            <p:cNvSpPr>
              <a:spLocks/>
            </p:cNvSpPr>
            <p:nvPr/>
          </p:nvSpPr>
          <p:spPr bwMode="auto">
            <a:xfrm>
              <a:off x="7084244" y="3542223"/>
              <a:ext cx="197606" cy="219164"/>
            </a:xfrm>
            <a:custGeom>
              <a:avLst/>
              <a:gdLst>
                <a:gd name="T0" fmla="*/ 17 w 56"/>
                <a:gd name="T1" fmla="*/ 0 h 62"/>
                <a:gd name="T2" fmla="*/ 15 w 56"/>
                <a:gd name="T3" fmla="*/ 3 h 62"/>
                <a:gd name="T4" fmla="*/ 10 w 56"/>
                <a:gd name="T5" fmla="*/ 2 h 62"/>
                <a:gd name="T6" fmla="*/ 8 w 56"/>
                <a:gd name="T7" fmla="*/ 4 h 62"/>
                <a:gd name="T8" fmla="*/ 6 w 56"/>
                <a:gd name="T9" fmla="*/ 8 h 62"/>
                <a:gd name="T10" fmla="*/ 5 w 56"/>
                <a:gd name="T11" fmla="*/ 12 h 62"/>
                <a:gd name="T12" fmla="*/ 4 w 56"/>
                <a:gd name="T13" fmla="*/ 19 h 62"/>
                <a:gd name="T14" fmla="*/ 2 w 56"/>
                <a:gd name="T15" fmla="*/ 26 h 62"/>
                <a:gd name="T16" fmla="*/ 1 w 56"/>
                <a:gd name="T17" fmla="*/ 34 h 62"/>
                <a:gd name="T18" fmla="*/ 1 w 56"/>
                <a:gd name="T19" fmla="*/ 44 h 62"/>
                <a:gd name="T20" fmla="*/ 6 w 56"/>
                <a:gd name="T21" fmla="*/ 42 h 62"/>
                <a:gd name="T22" fmla="*/ 10 w 56"/>
                <a:gd name="T23" fmla="*/ 42 h 62"/>
                <a:gd name="T24" fmla="*/ 12 w 56"/>
                <a:gd name="T25" fmla="*/ 45 h 62"/>
                <a:gd name="T26" fmla="*/ 14 w 56"/>
                <a:gd name="T27" fmla="*/ 37 h 62"/>
                <a:gd name="T28" fmla="*/ 17 w 56"/>
                <a:gd name="T29" fmla="*/ 37 h 62"/>
                <a:gd name="T30" fmla="*/ 22 w 56"/>
                <a:gd name="T31" fmla="*/ 42 h 62"/>
                <a:gd name="T32" fmla="*/ 26 w 56"/>
                <a:gd name="T33" fmla="*/ 42 h 62"/>
                <a:gd name="T34" fmla="*/ 36 w 56"/>
                <a:gd name="T35" fmla="*/ 45 h 62"/>
                <a:gd name="T36" fmla="*/ 42 w 56"/>
                <a:gd name="T37" fmla="*/ 52 h 62"/>
                <a:gd name="T38" fmla="*/ 45 w 56"/>
                <a:gd name="T39" fmla="*/ 59 h 62"/>
                <a:gd name="T40" fmla="*/ 49 w 56"/>
                <a:gd name="T41" fmla="*/ 62 h 62"/>
                <a:gd name="T42" fmla="*/ 51 w 56"/>
                <a:gd name="T43" fmla="*/ 60 h 62"/>
                <a:gd name="T44" fmla="*/ 53 w 56"/>
                <a:gd name="T45" fmla="*/ 62 h 62"/>
                <a:gd name="T46" fmla="*/ 56 w 56"/>
                <a:gd name="T47" fmla="*/ 59 h 62"/>
                <a:gd name="T48" fmla="*/ 55 w 56"/>
                <a:gd name="T49" fmla="*/ 58 h 62"/>
                <a:gd name="T50" fmla="*/ 52 w 56"/>
                <a:gd name="T51" fmla="*/ 55 h 62"/>
                <a:gd name="T52" fmla="*/ 50 w 56"/>
                <a:gd name="T53" fmla="*/ 55 h 62"/>
                <a:gd name="T54" fmla="*/ 49 w 56"/>
                <a:gd name="T55" fmla="*/ 49 h 62"/>
                <a:gd name="T56" fmla="*/ 43 w 56"/>
                <a:gd name="T57" fmla="*/ 45 h 62"/>
                <a:gd name="T58" fmla="*/ 40 w 56"/>
                <a:gd name="T59" fmla="*/ 38 h 62"/>
                <a:gd name="T60" fmla="*/ 35 w 56"/>
                <a:gd name="T61" fmla="*/ 37 h 62"/>
                <a:gd name="T62" fmla="*/ 35 w 56"/>
                <a:gd name="T63" fmla="*/ 33 h 62"/>
                <a:gd name="T64" fmla="*/ 31 w 56"/>
                <a:gd name="T65" fmla="*/ 33 h 62"/>
                <a:gd name="T66" fmla="*/ 30 w 56"/>
                <a:gd name="T67" fmla="*/ 29 h 62"/>
                <a:gd name="T68" fmla="*/ 29 w 56"/>
                <a:gd name="T69" fmla="*/ 30 h 62"/>
                <a:gd name="T70" fmla="*/ 25 w 56"/>
                <a:gd name="T71" fmla="*/ 27 h 62"/>
                <a:gd name="T72" fmla="*/ 25 w 56"/>
                <a:gd name="T73" fmla="*/ 23 h 62"/>
                <a:gd name="T74" fmla="*/ 23 w 56"/>
                <a:gd name="T75" fmla="*/ 13 h 62"/>
                <a:gd name="T76" fmla="*/ 24 w 56"/>
                <a:gd name="T77" fmla="*/ 10 h 62"/>
                <a:gd name="T78" fmla="*/ 21 w 56"/>
                <a:gd name="T79" fmla="*/ 5 h 62"/>
                <a:gd name="T80" fmla="*/ 21 w 56"/>
                <a:gd name="T81" fmla="*/ 2 h 62"/>
                <a:gd name="T82" fmla="*/ 18 w 56"/>
                <a:gd name="T83" fmla="*/ 0 h 62"/>
                <a:gd name="T84" fmla="*/ 17 w 56"/>
                <a:gd name="T8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62">
                  <a:moveTo>
                    <a:pt x="17" y="0"/>
                  </a:moveTo>
                  <a:cubicBezTo>
                    <a:pt x="15" y="3"/>
                    <a:pt x="15" y="3"/>
                    <a:pt x="15" y="3"/>
                  </a:cubicBezTo>
                  <a:cubicBezTo>
                    <a:pt x="10" y="2"/>
                    <a:pt x="10" y="2"/>
                    <a:pt x="10" y="2"/>
                  </a:cubicBezTo>
                  <a:cubicBezTo>
                    <a:pt x="10" y="2"/>
                    <a:pt x="9" y="2"/>
                    <a:pt x="8" y="4"/>
                  </a:cubicBezTo>
                  <a:cubicBezTo>
                    <a:pt x="7" y="6"/>
                    <a:pt x="7" y="8"/>
                    <a:pt x="6" y="8"/>
                  </a:cubicBezTo>
                  <a:cubicBezTo>
                    <a:pt x="4" y="8"/>
                    <a:pt x="5" y="9"/>
                    <a:pt x="5" y="12"/>
                  </a:cubicBezTo>
                  <a:cubicBezTo>
                    <a:pt x="4" y="15"/>
                    <a:pt x="4" y="15"/>
                    <a:pt x="4" y="19"/>
                  </a:cubicBezTo>
                  <a:cubicBezTo>
                    <a:pt x="4" y="22"/>
                    <a:pt x="3" y="23"/>
                    <a:pt x="2" y="26"/>
                  </a:cubicBezTo>
                  <a:cubicBezTo>
                    <a:pt x="1" y="29"/>
                    <a:pt x="0" y="32"/>
                    <a:pt x="1" y="34"/>
                  </a:cubicBezTo>
                  <a:cubicBezTo>
                    <a:pt x="2" y="35"/>
                    <a:pt x="1" y="44"/>
                    <a:pt x="1" y="44"/>
                  </a:cubicBezTo>
                  <a:cubicBezTo>
                    <a:pt x="6" y="42"/>
                    <a:pt x="6" y="42"/>
                    <a:pt x="6" y="42"/>
                  </a:cubicBezTo>
                  <a:cubicBezTo>
                    <a:pt x="6" y="42"/>
                    <a:pt x="10" y="41"/>
                    <a:pt x="10" y="42"/>
                  </a:cubicBezTo>
                  <a:cubicBezTo>
                    <a:pt x="11" y="44"/>
                    <a:pt x="12" y="45"/>
                    <a:pt x="12" y="45"/>
                  </a:cubicBezTo>
                  <a:cubicBezTo>
                    <a:pt x="14" y="37"/>
                    <a:pt x="14" y="37"/>
                    <a:pt x="14" y="37"/>
                  </a:cubicBezTo>
                  <a:cubicBezTo>
                    <a:pt x="14" y="37"/>
                    <a:pt x="15" y="35"/>
                    <a:pt x="17" y="37"/>
                  </a:cubicBezTo>
                  <a:cubicBezTo>
                    <a:pt x="19" y="38"/>
                    <a:pt x="21" y="42"/>
                    <a:pt x="22" y="42"/>
                  </a:cubicBezTo>
                  <a:cubicBezTo>
                    <a:pt x="24" y="42"/>
                    <a:pt x="25" y="40"/>
                    <a:pt x="26" y="42"/>
                  </a:cubicBezTo>
                  <a:cubicBezTo>
                    <a:pt x="27" y="44"/>
                    <a:pt x="33" y="44"/>
                    <a:pt x="36" y="45"/>
                  </a:cubicBezTo>
                  <a:cubicBezTo>
                    <a:pt x="38" y="46"/>
                    <a:pt x="39" y="49"/>
                    <a:pt x="42" y="52"/>
                  </a:cubicBezTo>
                  <a:cubicBezTo>
                    <a:pt x="44" y="54"/>
                    <a:pt x="44" y="57"/>
                    <a:pt x="45" y="59"/>
                  </a:cubicBezTo>
                  <a:cubicBezTo>
                    <a:pt x="46" y="60"/>
                    <a:pt x="49" y="62"/>
                    <a:pt x="49" y="62"/>
                  </a:cubicBezTo>
                  <a:cubicBezTo>
                    <a:pt x="51" y="60"/>
                    <a:pt x="51" y="60"/>
                    <a:pt x="51" y="60"/>
                  </a:cubicBezTo>
                  <a:cubicBezTo>
                    <a:pt x="53" y="62"/>
                    <a:pt x="53" y="62"/>
                    <a:pt x="53" y="62"/>
                  </a:cubicBezTo>
                  <a:cubicBezTo>
                    <a:pt x="56" y="59"/>
                    <a:pt x="56" y="59"/>
                    <a:pt x="56" y="59"/>
                  </a:cubicBezTo>
                  <a:cubicBezTo>
                    <a:pt x="55" y="58"/>
                    <a:pt x="55" y="58"/>
                    <a:pt x="55" y="58"/>
                  </a:cubicBezTo>
                  <a:cubicBezTo>
                    <a:pt x="52" y="55"/>
                    <a:pt x="52" y="55"/>
                    <a:pt x="52" y="55"/>
                  </a:cubicBezTo>
                  <a:cubicBezTo>
                    <a:pt x="50" y="55"/>
                    <a:pt x="50" y="55"/>
                    <a:pt x="50" y="55"/>
                  </a:cubicBezTo>
                  <a:cubicBezTo>
                    <a:pt x="49" y="53"/>
                    <a:pt x="50" y="50"/>
                    <a:pt x="49" y="49"/>
                  </a:cubicBezTo>
                  <a:cubicBezTo>
                    <a:pt x="49" y="48"/>
                    <a:pt x="44" y="46"/>
                    <a:pt x="43" y="45"/>
                  </a:cubicBezTo>
                  <a:cubicBezTo>
                    <a:pt x="42" y="44"/>
                    <a:pt x="42" y="39"/>
                    <a:pt x="40" y="38"/>
                  </a:cubicBezTo>
                  <a:cubicBezTo>
                    <a:pt x="39" y="37"/>
                    <a:pt x="38" y="37"/>
                    <a:pt x="35" y="37"/>
                  </a:cubicBezTo>
                  <a:cubicBezTo>
                    <a:pt x="35" y="33"/>
                    <a:pt x="35" y="33"/>
                    <a:pt x="35" y="33"/>
                  </a:cubicBezTo>
                  <a:cubicBezTo>
                    <a:pt x="33" y="32"/>
                    <a:pt x="32" y="34"/>
                    <a:pt x="31" y="33"/>
                  </a:cubicBezTo>
                  <a:cubicBezTo>
                    <a:pt x="30" y="32"/>
                    <a:pt x="31" y="29"/>
                    <a:pt x="30" y="29"/>
                  </a:cubicBezTo>
                  <a:cubicBezTo>
                    <a:pt x="29" y="28"/>
                    <a:pt x="29" y="30"/>
                    <a:pt x="29" y="30"/>
                  </a:cubicBezTo>
                  <a:cubicBezTo>
                    <a:pt x="28" y="29"/>
                    <a:pt x="26" y="28"/>
                    <a:pt x="25" y="27"/>
                  </a:cubicBezTo>
                  <a:cubicBezTo>
                    <a:pt x="25" y="26"/>
                    <a:pt x="25" y="25"/>
                    <a:pt x="25" y="23"/>
                  </a:cubicBezTo>
                  <a:cubicBezTo>
                    <a:pt x="25" y="21"/>
                    <a:pt x="23" y="16"/>
                    <a:pt x="23" y="13"/>
                  </a:cubicBezTo>
                  <a:cubicBezTo>
                    <a:pt x="23" y="11"/>
                    <a:pt x="24" y="12"/>
                    <a:pt x="24" y="10"/>
                  </a:cubicBezTo>
                  <a:cubicBezTo>
                    <a:pt x="24" y="9"/>
                    <a:pt x="22" y="7"/>
                    <a:pt x="21" y="5"/>
                  </a:cubicBezTo>
                  <a:cubicBezTo>
                    <a:pt x="21" y="4"/>
                    <a:pt x="22" y="3"/>
                    <a:pt x="21" y="2"/>
                  </a:cubicBezTo>
                  <a:cubicBezTo>
                    <a:pt x="20" y="0"/>
                    <a:pt x="19" y="1"/>
                    <a:pt x="18" y="0"/>
                  </a:cubicBezTo>
                  <a:lnTo>
                    <a:pt x="17" y="0"/>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18" name="Freeform 259">
              <a:extLst>
                <a:ext uri="{FF2B5EF4-FFF2-40B4-BE49-F238E27FC236}">
                  <a16:creationId xmlns:a16="http://schemas.microsoft.com/office/drawing/2014/main" id="{E3230DA9-7630-ABD7-E06A-D4783929EB4A}"/>
                </a:ext>
              </a:extLst>
            </p:cNvPr>
            <p:cNvSpPr>
              <a:spLocks noEditPoints="1"/>
            </p:cNvSpPr>
            <p:nvPr/>
          </p:nvSpPr>
          <p:spPr bwMode="auto">
            <a:xfrm>
              <a:off x="6221969" y="4084744"/>
              <a:ext cx="100600" cy="95211"/>
            </a:xfrm>
            <a:custGeom>
              <a:avLst/>
              <a:gdLst>
                <a:gd name="T0" fmla="*/ 14 w 29"/>
                <a:gd name="T1" fmla="*/ 15 h 27"/>
                <a:gd name="T2" fmla="*/ 14 w 29"/>
                <a:gd name="T3" fmla="*/ 17 h 27"/>
                <a:gd name="T4" fmla="*/ 12 w 29"/>
                <a:gd name="T5" fmla="*/ 18 h 27"/>
                <a:gd name="T6" fmla="*/ 13 w 29"/>
                <a:gd name="T7" fmla="*/ 23 h 27"/>
                <a:gd name="T8" fmla="*/ 11 w 29"/>
                <a:gd name="T9" fmla="*/ 26 h 27"/>
                <a:gd name="T10" fmla="*/ 28 w 29"/>
                <a:gd name="T11" fmla="*/ 27 h 27"/>
                <a:gd name="T12" fmla="*/ 29 w 29"/>
                <a:gd name="T13" fmla="*/ 15 h 27"/>
                <a:gd name="T14" fmla="*/ 14 w 29"/>
                <a:gd name="T15" fmla="*/ 15 h 27"/>
                <a:gd name="T16" fmla="*/ 2 w 29"/>
                <a:gd name="T17" fmla="*/ 0 h 27"/>
                <a:gd name="T18" fmla="*/ 0 w 29"/>
                <a:gd name="T19" fmla="*/ 3 h 27"/>
                <a:gd name="T20" fmla="*/ 2 w 29"/>
                <a:gd name="T21" fmla="*/ 4 h 27"/>
                <a:gd name="T22" fmla="*/ 4 w 29"/>
                <a:gd name="T23" fmla="*/ 4 h 27"/>
                <a:gd name="T24" fmla="*/ 4 w 29"/>
                <a:gd name="T25" fmla="*/ 0 h 27"/>
                <a:gd name="T26" fmla="*/ 2 w 29"/>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7">
                  <a:moveTo>
                    <a:pt x="14" y="15"/>
                  </a:moveTo>
                  <a:cubicBezTo>
                    <a:pt x="14" y="16"/>
                    <a:pt x="14" y="17"/>
                    <a:pt x="14" y="17"/>
                  </a:cubicBezTo>
                  <a:cubicBezTo>
                    <a:pt x="12" y="18"/>
                    <a:pt x="12" y="18"/>
                    <a:pt x="12" y="18"/>
                  </a:cubicBezTo>
                  <a:cubicBezTo>
                    <a:pt x="12" y="19"/>
                    <a:pt x="13" y="21"/>
                    <a:pt x="13" y="23"/>
                  </a:cubicBezTo>
                  <a:cubicBezTo>
                    <a:pt x="13" y="24"/>
                    <a:pt x="12" y="25"/>
                    <a:pt x="11" y="26"/>
                  </a:cubicBezTo>
                  <a:cubicBezTo>
                    <a:pt x="28" y="27"/>
                    <a:pt x="28" y="27"/>
                    <a:pt x="28" y="27"/>
                  </a:cubicBezTo>
                  <a:cubicBezTo>
                    <a:pt x="29" y="15"/>
                    <a:pt x="29" y="15"/>
                    <a:pt x="29" y="15"/>
                  </a:cubicBezTo>
                  <a:lnTo>
                    <a:pt x="14" y="15"/>
                  </a:lnTo>
                  <a:close/>
                  <a:moveTo>
                    <a:pt x="2" y="0"/>
                  </a:moveTo>
                  <a:cubicBezTo>
                    <a:pt x="2" y="1"/>
                    <a:pt x="1" y="2"/>
                    <a:pt x="0" y="3"/>
                  </a:cubicBezTo>
                  <a:cubicBezTo>
                    <a:pt x="2" y="4"/>
                    <a:pt x="2" y="4"/>
                    <a:pt x="2" y="4"/>
                  </a:cubicBezTo>
                  <a:cubicBezTo>
                    <a:pt x="2" y="4"/>
                    <a:pt x="3" y="4"/>
                    <a:pt x="4" y="4"/>
                  </a:cubicBezTo>
                  <a:cubicBezTo>
                    <a:pt x="4" y="3"/>
                    <a:pt x="4" y="2"/>
                    <a:pt x="4" y="0"/>
                  </a:cubicBezTo>
                  <a:cubicBezTo>
                    <a:pt x="4" y="0"/>
                    <a:pt x="3" y="1"/>
                    <a:pt x="2"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19" name="Freeform 260">
              <a:extLst>
                <a:ext uri="{FF2B5EF4-FFF2-40B4-BE49-F238E27FC236}">
                  <a16:creationId xmlns:a16="http://schemas.microsoft.com/office/drawing/2014/main" id="{F6191503-4AE3-B5E8-A465-6C5F2F9DBEDA}"/>
                </a:ext>
              </a:extLst>
            </p:cNvPr>
            <p:cNvSpPr>
              <a:spLocks noEditPoints="1"/>
            </p:cNvSpPr>
            <p:nvPr/>
          </p:nvSpPr>
          <p:spPr bwMode="auto">
            <a:xfrm>
              <a:off x="6221969" y="4084744"/>
              <a:ext cx="100600" cy="95211"/>
            </a:xfrm>
            <a:custGeom>
              <a:avLst/>
              <a:gdLst>
                <a:gd name="T0" fmla="*/ 14 w 29"/>
                <a:gd name="T1" fmla="*/ 15 h 27"/>
                <a:gd name="T2" fmla="*/ 14 w 29"/>
                <a:gd name="T3" fmla="*/ 17 h 27"/>
                <a:gd name="T4" fmla="*/ 12 w 29"/>
                <a:gd name="T5" fmla="*/ 18 h 27"/>
                <a:gd name="T6" fmla="*/ 13 w 29"/>
                <a:gd name="T7" fmla="*/ 23 h 27"/>
                <a:gd name="T8" fmla="*/ 11 w 29"/>
                <a:gd name="T9" fmla="*/ 26 h 27"/>
                <a:gd name="T10" fmla="*/ 28 w 29"/>
                <a:gd name="T11" fmla="*/ 27 h 27"/>
                <a:gd name="T12" fmla="*/ 29 w 29"/>
                <a:gd name="T13" fmla="*/ 15 h 27"/>
                <a:gd name="T14" fmla="*/ 14 w 29"/>
                <a:gd name="T15" fmla="*/ 15 h 27"/>
                <a:gd name="T16" fmla="*/ 2 w 29"/>
                <a:gd name="T17" fmla="*/ 0 h 27"/>
                <a:gd name="T18" fmla="*/ 0 w 29"/>
                <a:gd name="T19" fmla="*/ 3 h 27"/>
                <a:gd name="T20" fmla="*/ 2 w 29"/>
                <a:gd name="T21" fmla="*/ 4 h 27"/>
                <a:gd name="T22" fmla="*/ 4 w 29"/>
                <a:gd name="T23" fmla="*/ 4 h 27"/>
                <a:gd name="T24" fmla="*/ 4 w 29"/>
                <a:gd name="T25" fmla="*/ 0 h 27"/>
                <a:gd name="T26" fmla="*/ 2 w 29"/>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7">
                  <a:moveTo>
                    <a:pt x="14" y="15"/>
                  </a:moveTo>
                  <a:cubicBezTo>
                    <a:pt x="14" y="16"/>
                    <a:pt x="14" y="17"/>
                    <a:pt x="14" y="17"/>
                  </a:cubicBezTo>
                  <a:cubicBezTo>
                    <a:pt x="12" y="18"/>
                    <a:pt x="12" y="18"/>
                    <a:pt x="12" y="18"/>
                  </a:cubicBezTo>
                  <a:cubicBezTo>
                    <a:pt x="12" y="19"/>
                    <a:pt x="13" y="21"/>
                    <a:pt x="13" y="23"/>
                  </a:cubicBezTo>
                  <a:cubicBezTo>
                    <a:pt x="13" y="24"/>
                    <a:pt x="12" y="25"/>
                    <a:pt x="11" y="26"/>
                  </a:cubicBezTo>
                  <a:cubicBezTo>
                    <a:pt x="28" y="27"/>
                    <a:pt x="28" y="27"/>
                    <a:pt x="28" y="27"/>
                  </a:cubicBezTo>
                  <a:cubicBezTo>
                    <a:pt x="29" y="15"/>
                    <a:pt x="29" y="15"/>
                    <a:pt x="29" y="15"/>
                  </a:cubicBezTo>
                  <a:lnTo>
                    <a:pt x="14" y="15"/>
                  </a:lnTo>
                  <a:close/>
                  <a:moveTo>
                    <a:pt x="2" y="0"/>
                  </a:moveTo>
                  <a:cubicBezTo>
                    <a:pt x="2" y="1"/>
                    <a:pt x="1" y="2"/>
                    <a:pt x="0" y="3"/>
                  </a:cubicBezTo>
                  <a:cubicBezTo>
                    <a:pt x="2" y="4"/>
                    <a:pt x="2" y="4"/>
                    <a:pt x="2" y="4"/>
                  </a:cubicBezTo>
                  <a:cubicBezTo>
                    <a:pt x="2" y="4"/>
                    <a:pt x="3" y="4"/>
                    <a:pt x="4" y="4"/>
                  </a:cubicBezTo>
                  <a:cubicBezTo>
                    <a:pt x="4" y="3"/>
                    <a:pt x="4" y="2"/>
                    <a:pt x="4" y="0"/>
                  </a:cubicBezTo>
                  <a:cubicBezTo>
                    <a:pt x="4" y="0"/>
                    <a:pt x="3" y="1"/>
                    <a:pt x="2"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20" name="Freeform 261">
              <a:extLst>
                <a:ext uri="{FF2B5EF4-FFF2-40B4-BE49-F238E27FC236}">
                  <a16:creationId xmlns:a16="http://schemas.microsoft.com/office/drawing/2014/main" id="{0A7EE02B-28F1-7A5C-D1F7-45430A8D495F}"/>
                </a:ext>
              </a:extLst>
            </p:cNvPr>
            <p:cNvSpPr>
              <a:spLocks/>
            </p:cNvSpPr>
            <p:nvPr/>
          </p:nvSpPr>
          <p:spPr bwMode="auto">
            <a:xfrm>
              <a:off x="3220170" y="3675158"/>
              <a:ext cx="91617" cy="53893"/>
            </a:xfrm>
            <a:custGeom>
              <a:avLst/>
              <a:gdLst>
                <a:gd name="T0" fmla="*/ 1 w 26"/>
                <a:gd name="T1" fmla="*/ 8 h 15"/>
                <a:gd name="T2" fmla="*/ 6 w 26"/>
                <a:gd name="T3" fmla="*/ 11 h 15"/>
                <a:gd name="T4" fmla="*/ 7 w 26"/>
                <a:gd name="T5" fmla="*/ 13 h 15"/>
                <a:gd name="T6" fmla="*/ 14 w 26"/>
                <a:gd name="T7" fmla="*/ 13 h 15"/>
                <a:gd name="T8" fmla="*/ 23 w 26"/>
                <a:gd name="T9" fmla="*/ 15 h 15"/>
                <a:gd name="T10" fmla="*/ 25 w 26"/>
                <a:gd name="T11" fmla="*/ 13 h 15"/>
                <a:gd name="T12" fmla="*/ 26 w 26"/>
                <a:gd name="T13" fmla="*/ 13 h 15"/>
                <a:gd name="T14" fmla="*/ 26 w 26"/>
                <a:gd name="T15" fmla="*/ 7 h 15"/>
                <a:gd name="T16" fmla="*/ 23 w 26"/>
                <a:gd name="T17" fmla="*/ 5 h 15"/>
                <a:gd name="T18" fmla="*/ 18 w 26"/>
                <a:gd name="T19" fmla="*/ 3 h 15"/>
                <a:gd name="T20" fmla="*/ 9 w 26"/>
                <a:gd name="T21" fmla="*/ 0 h 15"/>
                <a:gd name="T22" fmla="*/ 5 w 26"/>
                <a:gd name="T23" fmla="*/ 5 h 15"/>
                <a:gd name="T24" fmla="*/ 1 w 26"/>
                <a:gd name="T2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5">
                  <a:moveTo>
                    <a:pt x="1" y="8"/>
                  </a:moveTo>
                  <a:cubicBezTo>
                    <a:pt x="3" y="9"/>
                    <a:pt x="5" y="9"/>
                    <a:pt x="6" y="11"/>
                  </a:cubicBezTo>
                  <a:cubicBezTo>
                    <a:pt x="7" y="11"/>
                    <a:pt x="6" y="13"/>
                    <a:pt x="7" y="13"/>
                  </a:cubicBezTo>
                  <a:cubicBezTo>
                    <a:pt x="9" y="14"/>
                    <a:pt x="12" y="12"/>
                    <a:pt x="14" y="13"/>
                  </a:cubicBezTo>
                  <a:cubicBezTo>
                    <a:pt x="16" y="13"/>
                    <a:pt x="20" y="14"/>
                    <a:pt x="23" y="15"/>
                  </a:cubicBezTo>
                  <a:cubicBezTo>
                    <a:pt x="24" y="15"/>
                    <a:pt x="25" y="13"/>
                    <a:pt x="25" y="13"/>
                  </a:cubicBezTo>
                  <a:cubicBezTo>
                    <a:pt x="25" y="12"/>
                    <a:pt x="26" y="12"/>
                    <a:pt x="26" y="13"/>
                  </a:cubicBezTo>
                  <a:cubicBezTo>
                    <a:pt x="26" y="7"/>
                    <a:pt x="26" y="7"/>
                    <a:pt x="26" y="7"/>
                  </a:cubicBezTo>
                  <a:cubicBezTo>
                    <a:pt x="26" y="7"/>
                    <a:pt x="26" y="6"/>
                    <a:pt x="23" y="5"/>
                  </a:cubicBezTo>
                  <a:cubicBezTo>
                    <a:pt x="19" y="5"/>
                    <a:pt x="20" y="4"/>
                    <a:pt x="18" y="3"/>
                  </a:cubicBezTo>
                  <a:cubicBezTo>
                    <a:pt x="16" y="2"/>
                    <a:pt x="9" y="0"/>
                    <a:pt x="9" y="0"/>
                  </a:cubicBezTo>
                  <a:cubicBezTo>
                    <a:pt x="9" y="0"/>
                    <a:pt x="5" y="3"/>
                    <a:pt x="5" y="5"/>
                  </a:cubicBezTo>
                  <a:cubicBezTo>
                    <a:pt x="6" y="7"/>
                    <a:pt x="0" y="5"/>
                    <a:pt x="1" y="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21" name="Freeform 262">
              <a:extLst>
                <a:ext uri="{FF2B5EF4-FFF2-40B4-BE49-F238E27FC236}">
                  <a16:creationId xmlns:a16="http://schemas.microsoft.com/office/drawing/2014/main" id="{D20452BD-9124-13A8-899C-C76E07FD698E}"/>
                </a:ext>
              </a:extLst>
            </p:cNvPr>
            <p:cNvSpPr>
              <a:spLocks/>
            </p:cNvSpPr>
            <p:nvPr/>
          </p:nvSpPr>
          <p:spPr bwMode="auto">
            <a:xfrm>
              <a:off x="3220170" y="3675158"/>
              <a:ext cx="91617" cy="53893"/>
            </a:xfrm>
            <a:custGeom>
              <a:avLst/>
              <a:gdLst>
                <a:gd name="T0" fmla="*/ 1 w 26"/>
                <a:gd name="T1" fmla="*/ 8 h 15"/>
                <a:gd name="T2" fmla="*/ 6 w 26"/>
                <a:gd name="T3" fmla="*/ 11 h 15"/>
                <a:gd name="T4" fmla="*/ 7 w 26"/>
                <a:gd name="T5" fmla="*/ 13 h 15"/>
                <a:gd name="T6" fmla="*/ 14 w 26"/>
                <a:gd name="T7" fmla="*/ 13 h 15"/>
                <a:gd name="T8" fmla="*/ 23 w 26"/>
                <a:gd name="T9" fmla="*/ 15 h 15"/>
                <a:gd name="T10" fmla="*/ 25 w 26"/>
                <a:gd name="T11" fmla="*/ 13 h 15"/>
                <a:gd name="T12" fmla="*/ 26 w 26"/>
                <a:gd name="T13" fmla="*/ 13 h 15"/>
                <a:gd name="T14" fmla="*/ 26 w 26"/>
                <a:gd name="T15" fmla="*/ 7 h 15"/>
                <a:gd name="T16" fmla="*/ 23 w 26"/>
                <a:gd name="T17" fmla="*/ 5 h 15"/>
                <a:gd name="T18" fmla="*/ 18 w 26"/>
                <a:gd name="T19" fmla="*/ 3 h 15"/>
                <a:gd name="T20" fmla="*/ 9 w 26"/>
                <a:gd name="T21" fmla="*/ 0 h 15"/>
                <a:gd name="T22" fmla="*/ 5 w 26"/>
                <a:gd name="T23" fmla="*/ 5 h 15"/>
                <a:gd name="T24" fmla="*/ 1 w 26"/>
                <a:gd name="T2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5">
                  <a:moveTo>
                    <a:pt x="1" y="8"/>
                  </a:moveTo>
                  <a:cubicBezTo>
                    <a:pt x="3" y="9"/>
                    <a:pt x="5" y="9"/>
                    <a:pt x="6" y="11"/>
                  </a:cubicBezTo>
                  <a:cubicBezTo>
                    <a:pt x="7" y="11"/>
                    <a:pt x="6" y="13"/>
                    <a:pt x="7" y="13"/>
                  </a:cubicBezTo>
                  <a:cubicBezTo>
                    <a:pt x="9" y="14"/>
                    <a:pt x="12" y="12"/>
                    <a:pt x="14" y="13"/>
                  </a:cubicBezTo>
                  <a:cubicBezTo>
                    <a:pt x="16" y="13"/>
                    <a:pt x="20" y="14"/>
                    <a:pt x="23" y="15"/>
                  </a:cubicBezTo>
                  <a:cubicBezTo>
                    <a:pt x="24" y="15"/>
                    <a:pt x="25" y="13"/>
                    <a:pt x="25" y="13"/>
                  </a:cubicBezTo>
                  <a:cubicBezTo>
                    <a:pt x="25" y="12"/>
                    <a:pt x="26" y="12"/>
                    <a:pt x="26" y="13"/>
                  </a:cubicBezTo>
                  <a:cubicBezTo>
                    <a:pt x="26" y="7"/>
                    <a:pt x="26" y="7"/>
                    <a:pt x="26" y="7"/>
                  </a:cubicBezTo>
                  <a:cubicBezTo>
                    <a:pt x="26" y="7"/>
                    <a:pt x="26" y="6"/>
                    <a:pt x="23" y="5"/>
                  </a:cubicBezTo>
                  <a:cubicBezTo>
                    <a:pt x="19" y="5"/>
                    <a:pt x="20" y="4"/>
                    <a:pt x="18" y="3"/>
                  </a:cubicBezTo>
                  <a:cubicBezTo>
                    <a:pt x="16" y="2"/>
                    <a:pt x="9" y="0"/>
                    <a:pt x="9" y="0"/>
                  </a:cubicBezTo>
                  <a:cubicBezTo>
                    <a:pt x="9" y="0"/>
                    <a:pt x="5" y="3"/>
                    <a:pt x="5" y="5"/>
                  </a:cubicBezTo>
                  <a:cubicBezTo>
                    <a:pt x="6" y="7"/>
                    <a:pt x="0" y="5"/>
                    <a:pt x="1" y="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22" name="Freeform 263">
              <a:extLst>
                <a:ext uri="{FF2B5EF4-FFF2-40B4-BE49-F238E27FC236}">
                  <a16:creationId xmlns:a16="http://schemas.microsoft.com/office/drawing/2014/main" id="{4B347E93-1880-2818-AB5F-61F4BC8A99A9}"/>
                </a:ext>
              </a:extLst>
            </p:cNvPr>
            <p:cNvSpPr>
              <a:spLocks noEditPoints="1"/>
            </p:cNvSpPr>
            <p:nvPr/>
          </p:nvSpPr>
          <p:spPr bwMode="auto">
            <a:xfrm>
              <a:off x="6721370" y="3003293"/>
              <a:ext cx="341318" cy="389826"/>
            </a:xfrm>
            <a:custGeom>
              <a:avLst/>
              <a:gdLst>
                <a:gd name="T0" fmla="*/ 95 w 97"/>
                <a:gd name="T1" fmla="*/ 95 h 111"/>
                <a:gd name="T2" fmla="*/ 97 w 97"/>
                <a:gd name="T3" fmla="*/ 87 h 111"/>
                <a:gd name="T4" fmla="*/ 94 w 97"/>
                <a:gd name="T5" fmla="*/ 82 h 111"/>
                <a:gd name="T6" fmla="*/ 86 w 97"/>
                <a:gd name="T7" fmla="*/ 70 h 111"/>
                <a:gd name="T8" fmla="*/ 82 w 97"/>
                <a:gd name="T9" fmla="*/ 57 h 111"/>
                <a:gd name="T10" fmla="*/ 80 w 97"/>
                <a:gd name="T11" fmla="*/ 51 h 111"/>
                <a:gd name="T12" fmla="*/ 77 w 97"/>
                <a:gd name="T13" fmla="*/ 43 h 111"/>
                <a:gd name="T14" fmla="*/ 70 w 97"/>
                <a:gd name="T15" fmla="*/ 33 h 111"/>
                <a:gd name="T16" fmla="*/ 75 w 97"/>
                <a:gd name="T17" fmla="*/ 34 h 111"/>
                <a:gd name="T18" fmla="*/ 82 w 97"/>
                <a:gd name="T19" fmla="*/ 45 h 111"/>
                <a:gd name="T20" fmla="*/ 88 w 97"/>
                <a:gd name="T21" fmla="*/ 38 h 111"/>
                <a:gd name="T22" fmla="*/ 89 w 97"/>
                <a:gd name="T23" fmla="*/ 29 h 111"/>
                <a:gd name="T24" fmla="*/ 86 w 97"/>
                <a:gd name="T25" fmla="*/ 9 h 111"/>
                <a:gd name="T26" fmla="*/ 80 w 97"/>
                <a:gd name="T27" fmla="*/ 8 h 111"/>
                <a:gd name="T28" fmla="*/ 71 w 97"/>
                <a:gd name="T29" fmla="*/ 8 h 111"/>
                <a:gd name="T30" fmla="*/ 66 w 97"/>
                <a:gd name="T31" fmla="*/ 9 h 111"/>
                <a:gd name="T32" fmla="*/ 63 w 97"/>
                <a:gd name="T33" fmla="*/ 8 h 111"/>
                <a:gd name="T34" fmla="*/ 61 w 97"/>
                <a:gd name="T35" fmla="*/ 6 h 111"/>
                <a:gd name="T36" fmla="*/ 59 w 97"/>
                <a:gd name="T37" fmla="*/ 11 h 111"/>
                <a:gd name="T38" fmla="*/ 58 w 97"/>
                <a:gd name="T39" fmla="*/ 8 h 111"/>
                <a:gd name="T40" fmla="*/ 49 w 97"/>
                <a:gd name="T41" fmla="*/ 12 h 111"/>
                <a:gd name="T42" fmla="*/ 39 w 97"/>
                <a:gd name="T43" fmla="*/ 12 h 111"/>
                <a:gd name="T44" fmla="*/ 26 w 97"/>
                <a:gd name="T45" fmla="*/ 10 h 111"/>
                <a:gd name="T46" fmla="*/ 20 w 97"/>
                <a:gd name="T47" fmla="*/ 7 h 111"/>
                <a:gd name="T48" fmla="*/ 7 w 97"/>
                <a:gd name="T49" fmla="*/ 5 h 111"/>
                <a:gd name="T50" fmla="*/ 1 w 97"/>
                <a:gd name="T51" fmla="*/ 1 h 111"/>
                <a:gd name="T52" fmla="*/ 3 w 97"/>
                <a:gd name="T53" fmla="*/ 16 h 111"/>
                <a:gd name="T54" fmla="*/ 3 w 97"/>
                <a:gd name="T55" fmla="*/ 28 h 111"/>
                <a:gd name="T56" fmla="*/ 5 w 97"/>
                <a:gd name="T57" fmla="*/ 108 h 111"/>
                <a:gd name="T58" fmla="*/ 69 w 97"/>
                <a:gd name="T59" fmla="*/ 107 h 111"/>
                <a:gd name="T60" fmla="*/ 78 w 97"/>
                <a:gd name="T61" fmla="*/ 109 h 111"/>
                <a:gd name="T62" fmla="*/ 82 w 97"/>
                <a:gd name="T63" fmla="*/ 110 h 111"/>
                <a:gd name="T64" fmla="*/ 86 w 97"/>
                <a:gd name="T65" fmla="*/ 104 h 111"/>
                <a:gd name="T66" fmla="*/ 91 w 97"/>
                <a:gd name="T67" fmla="*/ 98 h 111"/>
                <a:gd name="T68" fmla="*/ 70 w 97"/>
                <a:gd name="T69" fmla="*/ 24 h 111"/>
                <a:gd name="T70" fmla="*/ 70 w 97"/>
                <a:gd name="T71" fmla="*/ 2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11">
                  <a:moveTo>
                    <a:pt x="96" y="96"/>
                  </a:moveTo>
                  <a:cubicBezTo>
                    <a:pt x="96" y="96"/>
                    <a:pt x="95" y="95"/>
                    <a:pt x="95" y="95"/>
                  </a:cubicBezTo>
                  <a:cubicBezTo>
                    <a:pt x="94" y="92"/>
                    <a:pt x="95" y="90"/>
                    <a:pt x="94" y="87"/>
                  </a:cubicBezTo>
                  <a:cubicBezTo>
                    <a:pt x="96" y="87"/>
                    <a:pt x="96" y="87"/>
                    <a:pt x="97" y="87"/>
                  </a:cubicBezTo>
                  <a:cubicBezTo>
                    <a:pt x="97" y="86"/>
                    <a:pt x="95" y="85"/>
                    <a:pt x="94" y="85"/>
                  </a:cubicBezTo>
                  <a:cubicBezTo>
                    <a:pt x="94" y="84"/>
                    <a:pt x="94" y="83"/>
                    <a:pt x="94" y="82"/>
                  </a:cubicBezTo>
                  <a:cubicBezTo>
                    <a:pt x="94" y="80"/>
                    <a:pt x="90" y="73"/>
                    <a:pt x="89" y="71"/>
                  </a:cubicBezTo>
                  <a:cubicBezTo>
                    <a:pt x="88" y="70"/>
                    <a:pt x="87" y="71"/>
                    <a:pt x="86" y="70"/>
                  </a:cubicBezTo>
                  <a:cubicBezTo>
                    <a:pt x="86" y="70"/>
                    <a:pt x="84" y="65"/>
                    <a:pt x="84" y="65"/>
                  </a:cubicBezTo>
                  <a:cubicBezTo>
                    <a:pt x="82" y="62"/>
                    <a:pt x="83" y="60"/>
                    <a:pt x="82" y="57"/>
                  </a:cubicBezTo>
                  <a:cubicBezTo>
                    <a:pt x="81" y="56"/>
                    <a:pt x="80" y="54"/>
                    <a:pt x="80" y="53"/>
                  </a:cubicBezTo>
                  <a:cubicBezTo>
                    <a:pt x="80" y="53"/>
                    <a:pt x="80" y="52"/>
                    <a:pt x="80" y="51"/>
                  </a:cubicBezTo>
                  <a:cubicBezTo>
                    <a:pt x="79" y="51"/>
                    <a:pt x="78" y="51"/>
                    <a:pt x="78" y="51"/>
                  </a:cubicBezTo>
                  <a:cubicBezTo>
                    <a:pt x="76" y="48"/>
                    <a:pt x="78" y="45"/>
                    <a:pt x="77" y="43"/>
                  </a:cubicBezTo>
                  <a:cubicBezTo>
                    <a:pt x="77" y="43"/>
                    <a:pt x="75" y="42"/>
                    <a:pt x="75" y="42"/>
                  </a:cubicBezTo>
                  <a:cubicBezTo>
                    <a:pt x="74" y="40"/>
                    <a:pt x="70" y="35"/>
                    <a:pt x="70" y="33"/>
                  </a:cubicBezTo>
                  <a:cubicBezTo>
                    <a:pt x="70" y="32"/>
                    <a:pt x="71" y="30"/>
                    <a:pt x="70" y="29"/>
                  </a:cubicBezTo>
                  <a:cubicBezTo>
                    <a:pt x="72" y="31"/>
                    <a:pt x="74" y="32"/>
                    <a:pt x="75" y="34"/>
                  </a:cubicBezTo>
                  <a:cubicBezTo>
                    <a:pt x="76" y="36"/>
                    <a:pt x="75" y="38"/>
                    <a:pt x="76" y="40"/>
                  </a:cubicBezTo>
                  <a:cubicBezTo>
                    <a:pt x="77" y="41"/>
                    <a:pt x="81" y="45"/>
                    <a:pt x="82" y="45"/>
                  </a:cubicBezTo>
                  <a:cubicBezTo>
                    <a:pt x="83" y="46"/>
                    <a:pt x="84" y="45"/>
                    <a:pt x="85" y="45"/>
                  </a:cubicBezTo>
                  <a:cubicBezTo>
                    <a:pt x="86" y="43"/>
                    <a:pt x="87" y="40"/>
                    <a:pt x="88" y="38"/>
                  </a:cubicBezTo>
                  <a:cubicBezTo>
                    <a:pt x="89" y="35"/>
                    <a:pt x="89" y="34"/>
                    <a:pt x="90" y="32"/>
                  </a:cubicBezTo>
                  <a:cubicBezTo>
                    <a:pt x="89" y="31"/>
                    <a:pt x="89" y="29"/>
                    <a:pt x="89" y="29"/>
                  </a:cubicBezTo>
                  <a:cubicBezTo>
                    <a:pt x="87" y="14"/>
                    <a:pt x="87" y="14"/>
                    <a:pt x="87" y="14"/>
                  </a:cubicBezTo>
                  <a:cubicBezTo>
                    <a:pt x="86" y="9"/>
                    <a:pt x="86" y="9"/>
                    <a:pt x="86" y="9"/>
                  </a:cubicBezTo>
                  <a:cubicBezTo>
                    <a:pt x="85" y="8"/>
                    <a:pt x="85" y="8"/>
                    <a:pt x="85" y="8"/>
                  </a:cubicBezTo>
                  <a:cubicBezTo>
                    <a:pt x="84" y="9"/>
                    <a:pt x="82" y="8"/>
                    <a:pt x="80" y="8"/>
                  </a:cubicBezTo>
                  <a:cubicBezTo>
                    <a:pt x="79" y="8"/>
                    <a:pt x="76" y="11"/>
                    <a:pt x="74" y="10"/>
                  </a:cubicBezTo>
                  <a:cubicBezTo>
                    <a:pt x="74" y="10"/>
                    <a:pt x="75" y="8"/>
                    <a:pt x="71" y="8"/>
                  </a:cubicBezTo>
                  <a:cubicBezTo>
                    <a:pt x="70" y="8"/>
                    <a:pt x="67" y="11"/>
                    <a:pt x="66" y="11"/>
                  </a:cubicBezTo>
                  <a:cubicBezTo>
                    <a:pt x="66" y="9"/>
                    <a:pt x="66" y="9"/>
                    <a:pt x="66" y="9"/>
                  </a:cubicBezTo>
                  <a:cubicBezTo>
                    <a:pt x="65" y="9"/>
                    <a:pt x="63" y="10"/>
                    <a:pt x="62" y="9"/>
                  </a:cubicBezTo>
                  <a:cubicBezTo>
                    <a:pt x="63" y="9"/>
                    <a:pt x="62" y="8"/>
                    <a:pt x="63" y="8"/>
                  </a:cubicBezTo>
                  <a:cubicBezTo>
                    <a:pt x="63" y="7"/>
                    <a:pt x="63" y="7"/>
                    <a:pt x="63" y="7"/>
                  </a:cubicBezTo>
                  <a:cubicBezTo>
                    <a:pt x="62" y="7"/>
                    <a:pt x="61" y="6"/>
                    <a:pt x="61" y="6"/>
                  </a:cubicBezTo>
                  <a:cubicBezTo>
                    <a:pt x="59" y="6"/>
                    <a:pt x="57" y="7"/>
                    <a:pt x="59" y="8"/>
                  </a:cubicBezTo>
                  <a:cubicBezTo>
                    <a:pt x="60" y="9"/>
                    <a:pt x="59" y="11"/>
                    <a:pt x="59" y="11"/>
                  </a:cubicBezTo>
                  <a:cubicBezTo>
                    <a:pt x="57" y="11"/>
                    <a:pt x="57" y="11"/>
                    <a:pt x="57" y="11"/>
                  </a:cubicBezTo>
                  <a:cubicBezTo>
                    <a:pt x="56" y="10"/>
                    <a:pt x="58" y="8"/>
                    <a:pt x="58" y="8"/>
                  </a:cubicBezTo>
                  <a:cubicBezTo>
                    <a:pt x="54" y="9"/>
                    <a:pt x="54" y="9"/>
                    <a:pt x="50" y="8"/>
                  </a:cubicBezTo>
                  <a:cubicBezTo>
                    <a:pt x="50" y="8"/>
                    <a:pt x="49" y="12"/>
                    <a:pt x="49" y="12"/>
                  </a:cubicBezTo>
                  <a:cubicBezTo>
                    <a:pt x="47" y="12"/>
                    <a:pt x="47" y="11"/>
                    <a:pt x="44" y="11"/>
                  </a:cubicBezTo>
                  <a:cubicBezTo>
                    <a:pt x="43" y="11"/>
                    <a:pt x="42" y="13"/>
                    <a:pt x="39" y="12"/>
                  </a:cubicBezTo>
                  <a:cubicBezTo>
                    <a:pt x="39" y="12"/>
                    <a:pt x="37" y="10"/>
                    <a:pt x="36" y="9"/>
                  </a:cubicBezTo>
                  <a:cubicBezTo>
                    <a:pt x="33" y="9"/>
                    <a:pt x="29" y="11"/>
                    <a:pt x="26" y="10"/>
                  </a:cubicBezTo>
                  <a:cubicBezTo>
                    <a:pt x="25" y="9"/>
                    <a:pt x="25" y="9"/>
                    <a:pt x="25" y="9"/>
                  </a:cubicBezTo>
                  <a:cubicBezTo>
                    <a:pt x="23" y="8"/>
                    <a:pt x="22" y="8"/>
                    <a:pt x="20" y="7"/>
                  </a:cubicBezTo>
                  <a:cubicBezTo>
                    <a:pt x="19" y="7"/>
                    <a:pt x="19" y="6"/>
                    <a:pt x="19" y="5"/>
                  </a:cubicBezTo>
                  <a:cubicBezTo>
                    <a:pt x="15" y="4"/>
                    <a:pt x="11" y="5"/>
                    <a:pt x="7" y="5"/>
                  </a:cubicBezTo>
                  <a:cubicBezTo>
                    <a:pt x="5" y="1"/>
                    <a:pt x="5" y="1"/>
                    <a:pt x="5" y="1"/>
                  </a:cubicBezTo>
                  <a:cubicBezTo>
                    <a:pt x="4" y="0"/>
                    <a:pt x="2" y="1"/>
                    <a:pt x="1" y="1"/>
                  </a:cubicBezTo>
                  <a:cubicBezTo>
                    <a:pt x="1" y="1"/>
                    <a:pt x="0" y="6"/>
                    <a:pt x="1" y="8"/>
                  </a:cubicBezTo>
                  <a:cubicBezTo>
                    <a:pt x="2" y="10"/>
                    <a:pt x="5" y="14"/>
                    <a:pt x="3" y="16"/>
                  </a:cubicBezTo>
                  <a:cubicBezTo>
                    <a:pt x="1" y="18"/>
                    <a:pt x="1" y="19"/>
                    <a:pt x="1" y="22"/>
                  </a:cubicBezTo>
                  <a:cubicBezTo>
                    <a:pt x="2" y="26"/>
                    <a:pt x="1" y="26"/>
                    <a:pt x="3" y="28"/>
                  </a:cubicBezTo>
                  <a:cubicBezTo>
                    <a:pt x="4" y="29"/>
                    <a:pt x="4" y="30"/>
                    <a:pt x="4" y="30"/>
                  </a:cubicBezTo>
                  <a:cubicBezTo>
                    <a:pt x="5" y="108"/>
                    <a:pt x="5" y="108"/>
                    <a:pt x="5" y="108"/>
                  </a:cubicBezTo>
                  <a:cubicBezTo>
                    <a:pt x="67" y="109"/>
                    <a:pt x="67" y="109"/>
                    <a:pt x="67" y="109"/>
                  </a:cubicBezTo>
                  <a:cubicBezTo>
                    <a:pt x="69" y="107"/>
                    <a:pt x="69" y="107"/>
                    <a:pt x="69" y="107"/>
                  </a:cubicBezTo>
                  <a:cubicBezTo>
                    <a:pt x="70" y="109"/>
                    <a:pt x="70" y="109"/>
                    <a:pt x="70" y="109"/>
                  </a:cubicBezTo>
                  <a:cubicBezTo>
                    <a:pt x="78" y="109"/>
                    <a:pt x="78" y="109"/>
                    <a:pt x="78" y="109"/>
                  </a:cubicBezTo>
                  <a:cubicBezTo>
                    <a:pt x="79" y="111"/>
                    <a:pt x="79" y="111"/>
                    <a:pt x="79" y="111"/>
                  </a:cubicBezTo>
                  <a:cubicBezTo>
                    <a:pt x="82" y="110"/>
                    <a:pt x="82" y="110"/>
                    <a:pt x="82" y="110"/>
                  </a:cubicBezTo>
                  <a:cubicBezTo>
                    <a:pt x="83" y="105"/>
                    <a:pt x="83" y="105"/>
                    <a:pt x="83" y="105"/>
                  </a:cubicBezTo>
                  <a:cubicBezTo>
                    <a:pt x="86" y="104"/>
                    <a:pt x="86" y="104"/>
                    <a:pt x="86" y="104"/>
                  </a:cubicBezTo>
                  <a:cubicBezTo>
                    <a:pt x="88" y="98"/>
                    <a:pt x="88" y="98"/>
                    <a:pt x="88" y="98"/>
                  </a:cubicBezTo>
                  <a:cubicBezTo>
                    <a:pt x="91" y="98"/>
                    <a:pt x="91" y="98"/>
                    <a:pt x="91" y="98"/>
                  </a:cubicBezTo>
                  <a:lnTo>
                    <a:pt x="96" y="96"/>
                  </a:lnTo>
                  <a:close/>
                  <a:moveTo>
                    <a:pt x="70" y="24"/>
                  </a:moveTo>
                  <a:cubicBezTo>
                    <a:pt x="69" y="24"/>
                    <a:pt x="70" y="27"/>
                    <a:pt x="70" y="27"/>
                  </a:cubicBezTo>
                  <a:cubicBezTo>
                    <a:pt x="69" y="27"/>
                    <a:pt x="69" y="24"/>
                    <a:pt x="70" y="2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23" name="Freeform 264">
              <a:extLst>
                <a:ext uri="{FF2B5EF4-FFF2-40B4-BE49-F238E27FC236}">
                  <a16:creationId xmlns:a16="http://schemas.microsoft.com/office/drawing/2014/main" id="{2F60AD11-488C-C366-2399-0F5CB3360C73}"/>
                </a:ext>
              </a:extLst>
            </p:cNvPr>
            <p:cNvSpPr>
              <a:spLocks noEditPoints="1"/>
            </p:cNvSpPr>
            <p:nvPr/>
          </p:nvSpPr>
          <p:spPr bwMode="auto">
            <a:xfrm>
              <a:off x="6721370" y="3003293"/>
              <a:ext cx="341318" cy="389826"/>
            </a:xfrm>
            <a:custGeom>
              <a:avLst/>
              <a:gdLst>
                <a:gd name="T0" fmla="*/ 95 w 97"/>
                <a:gd name="T1" fmla="*/ 95 h 111"/>
                <a:gd name="T2" fmla="*/ 97 w 97"/>
                <a:gd name="T3" fmla="*/ 87 h 111"/>
                <a:gd name="T4" fmla="*/ 94 w 97"/>
                <a:gd name="T5" fmla="*/ 82 h 111"/>
                <a:gd name="T6" fmla="*/ 86 w 97"/>
                <a:gd name="T7" fmla="*/ 70 h 111"/>
                <a:gd name="T8" fmla="*/ 82 w 97"/>
                <a:gd name="T9" fmla="*/ 57 h 111"/>
                <a:gd name="T10" fmla="*/ 80 w 97"/>
                <a:gd name="T11" fmla="*/ 51 h 111"/>
                <a:gd name="T12" fmla="*/ 77 w 97"/>
                <a:gd name="T13" fmla="*/ 43 h 111"/>
                <a:gd name="T14" fmla="*/ 70 w 97"/>
                <a:gd name="T15" fmla="*/ 33 h 111"/>
                <a:gd name="T16" fmla="*/ 75 w 97"/>
                <a:gd name="T17" fmla="*/ 34 h 111"/>
                <a:gd name="T18" fmla="*/ 82 w 97"/>
                <a:gd name="T19" fmla="*/ 45 h 111"/>
                <a:gd name="T20" fmla="*/ 88 w 97"/>
                <a:gd name="T21" fmla="*/ 38 h 111"/>
                <a:gd name="T22" fmla="*/ 89 w 97"/>
                <a:gd name="T23" fmla="*/ 29 h 111"/>
                <a:gd name="T24" fmla="*/ 86 w 97"/>
                <a:gd name="T25" fmla="*/ 9 h 111"/>
                <a:gd name="T26" fmla="*/ 80 w 97"/>
                <a:gd name="T27" fmla="*/ 8 h 111"/>
                <a:gd name="T28" fmla="*/ 71 w 97"/>
                <a:gd name="T29" fmla="*/ 8 h 111"/>
                <a:gd name="T30" fmla="*/ 66 w 97"/>
                <a:gd name="T31" fmla="*/ 9 h 111"/>
                <a:gd name="T32" fmla="*/ 63 w 97"/>
                <a:gd name="T33" fmla="*/ 8 h 111"/>
                <a:gd name="T34" fmla="*/ 61 w 97"/>
                <a:gd name="T35" fmla="*/ 6 h 111"/>
                <a:gd name="T36" fmla="*/ 59 w 97"/>
                <a:gd name="T37" fmla="*/ 11 h 111"/>
                <a:gd name="T38" fmla="*/ 58 w 97"/>
                <a:gd name="T39" fmla="*/ 8 h 111"/>
                <a:gd name="T40" fmla="*/ 49 w 97"/>
                <a:gd name="T41" fmla="*/ 12 h 111"/>
                <a:gd name="T42" fmla="*/ 39 w 97"/>
                <a:gd name="T43" fmla="*/ 12 h 111"/>
                <a:gd name="T44" fmla="*/ 26 w 97"/>
                <a:gd name="T45" fmla="*/ 10 h 111"/>
                <a:gd name="T46" fmla="*/ 20 w 97"/>
                <a:gd name="T47" fmla="*/ 7 h 111"/>
                <a:gd name="T48" fmla="*/ 7 w 97"/>
                <a:gd name="T49" fmla="*/ 5 h 111"/>
                <a:gd name="T50" fmla="*/ 1 w 97"/>
                <a:gd name="T51" fmla="*/ 1 h 111"/>
                <a:gd name="T52" fmla="*/ 3 w 97"/>
                <a:gd name="T53" fmla="*/ 16 h 111"/>
                <a:gd name="T54" fmla="*/ 3 w 97"/>
                <a:gd name="T55" fmla="*/ 28 h 111"/>
                <a:gd name="T56" fmla="*/ 5 w 97"/>
                <a:gd name="T57" fmla="*/ 108 h 111"/>
                <a:gd name="T58" fmla="*/ 69 w 97"/>
                <a:gd name="T59" fmla="*/ 107 h 111"/>
                <a:gd name="T60" fmla="*/ 78 w 97"/>
                <a:gd name="T61" fmla="*/ 109 h 111"/>
                <a:gd name="T62" fmla="*/ 82 w 97"/>
                <a:gd name="T63" fmla="*/ 110 h 111"/>
                <a:gd name="T64" fmla="*/ 86 w 97"/>
                <a:gd name="T65" fmla="*/ 104 h 111"/>
                <a:gd name="T66" fmla="*/ 91 w 97"/>
                <a:gd name="T67" fmla="*/ 98 h 111"/>
                <a:gd name="T68" fmla="*/ 70 w 97"/>
                <a:gd name="T69" fmla="*/ 24 h 111"/>
                <a:gd name="T70" fmla="*/ 70 w 97"/>
                <a:gd name="T71" fmla="*/ 2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11">
                  <a:moveTo>
                    <a:pt x="96" y="96"/>
                  </a:moveTo>
                  <a:cubicBezTo>
                    <a:pt x="96" y="96"/>
                    <a:pt x="95" y="95"/>
                    <a:pt x="95" y="95"/>
                  </a:cubicBezTo>
                  <a:cubicBezTo>
                    <a:pt x="94" y="92"/>
                    <a:pt x="95" y="90"/>
                    <a:pt x="94" y="87"/>
                  </a:cubicBezTo>
                  <a:cubicBezTo>
                    <a:pt x="96" y="87"/>
                    <a:pt x="96" y="87"/>
                    <a:pt x="97" y="87"/>
                  </a:cubicBezTo>
                  <a:cubicBezTo>
                    <a:pt x="97" y="86"/>
                    <a:pt x="95" y="85"/>
                    <a:pt x="94" y="85"/>
                  </a:cubicBezTo>
                  <a:cubicBezTo>
                    <a:pt x="94" y="84"/>
                    <a:pt x="94" y="83"/>
                    <a:pt x="94" y="82"/>
                  </a:cubicBezTo>
                  <a:cubicBezTo>
                    <a:pt x="94" y="80"/>
                    <a:pt x="90" y="73"/>
                    <a:pt x="89" y="71"/>
                  </a:cubicBezTo>
                  <a:cubicBezTo>
                    <a:pt x="88" y="70"/>
                    <a:pt x="87" y="71"/>
                    <a:pt x="86" y="70"/>
                  </a:cubicBezTo>
                  <a:cubicBezTo>
                    <a:pt x="86" y="70"/>
                    <a:pt x="84" y="65"/>
                    <a:pt x="84" y="65"/>
                  </a:cubicBezTo>
                  <a:cubicBezTo>
                    <a:pt x="82" y="62"/>
                    <a:pt x="83" y="60"/>
                    <a:pt x="82" y="57"/>
                  </a:cubicBezTo>
                  <a:cubicBezTo>
                    <a:pt x="81" y="56"/>
                    <a:pt x="80" y="54"/>
                    <a:pt x="80" y="53"/>
                  </a:cubicBezTo>
                  <a:cubicBezTo>
                    <a:pt x="80" y="53"/>
                    <a:pt x="80" y="52"/>
                    <a:pt x="80" y="51"/>
                  </a:cubicBezTo>
                  <a:cubicBezTo>
                    <a:pt x="79" y="51"/>
                    <a:pt x="78" y="51"/>
                    <a:pt x="78" y="51"/>
                  </a:cubicBezTo>
                  <a:cubicBezTo>
                    <a:pt x="76" y="48"/>
                    <a:pt x="78" y="45"/>
                    <a:pt x="77" y="43"/>
                  </a:cubicBezTo>
                  <a:cubicBezTo>
                    <a:pt x="77" y="43"/>
                    <a:pt x="75" y="42"/>
                    <a:pt x="75" y="42"/>
                  </a:cubicBezTo>
                  <a:cubicBezTo>
                    <a:pt x="74" y="40"/>
                    <a:pt x="70" y="35"/>
                    <a:pt x="70" y="33"/>
                  </a:cubicBezTo>
                  <a:cubicBezTo>
                    <a:pt x="70" y="32"/>
                    <a:pt x="71" y="30"/>
                    <a:pt x="70" y="29"/>
                  </a:cubicBezTo>
                  <a:cubicBezTo>
                    <a:pt x="72" y="31"/>
                    <a:pt x="74" y="32"/>
                    <a:pt x="75" y="34"/>
                  </a:cubicBezTo>
                  <a:cubicBezTo>
                    <a:pt x="76" y="36"/>
                    <a:pt x="75" y="38"/>
                    <a:pt x="76" y="40"/>
                  </a:cubicBezTo>
                  <a:cubicBezTo>
                    <a:pt x="77" y="41"/>
                    <a:pt x="81" y="45"/>
                    <a:pt x="82" y="45"/>
                  </a:cubicBezTo>
                  <a:cubicBezTo>
                    <a:pt x="83" y="46"/>
                    <a:pt x="84" y="45"/>
                    <a:pt x="85" y="45"/>
                  </a:cubicBezTo>
                  <a:cubicBezTo>
                    <a:pt x="86" y="43"/>
                    <a:pt x="87" y="40"/>
                    <a:pt x="88" y="38"/>
                  </a:cubicBezTo>
                  <a:cubicBezTo>
                    <a:pt x="89" y="35"/>
                    <a:pt x="89" y="34"/>
                    <a:pt x="90" y="32"/>
                  </a:cubicBezTo>
                  <a:cubicBezTo>
                    <a:pt x="89" y="31"/>
                    <a:pt x="89" y="29"/>
                    <a:pt x="89" y="29"/>
                  </a:cubicBezTo>
                  <a:cubicBezTo>
                    <a:pt x="87" y="14"/>
                    <a:pt x="87" y="14"/>
                    <a:pt x="87" y="14"/>
                  </a:cubicBezTo>
                  <a:cubicBezTo>
                    <a:pt x="86" y="9"/>
                    <a:pt x="86" y="9"/>
                    <a:pt x="86" y="9"/>
                  </a:cubicBezTo>
                  <a:cubicBezTo>
                    <a:pt x="85" y="8"/>
                    <a:pt x="85" y="8"/>
                    <a:pt x="85" y="8"/>
                  </a:cubicBezTo>
                  <a:cubicBezTo>
                    <a:pt x="84" y="9"/>
                    <a:pt x="82" y="8"/>
                    <a:pt x="80" y="8"/>
                  </a:cubicBezTo>
                  <a:cubicBezTo>
                    <a:pt x="79" y="8"/>
                    <a:pt x="76" y="11"/>
                    <a:pt x="74" y="10"/>
                  </a:cubicBezTo>
                  <a:cubicBezTo>
                    <a:pt x="74" y="10"/>
                    <a:pt x="75" y="8"/>
                    <a:pt x="71" y="8"/>
                  </a:cubicBezTo>
                  <a:cubicBezTo>
                    <a:pt x="70" y="8"/>
                    <a:pt x="67" y="11"/>
                    <a:pt x="66" y="11"/>
                  </a:cubicBezTo>
                  <a:cubicBezTo>
                    <a:pt x="66" y="9"/>
                    <a:pt x="66" y="9"/>
                    <a:pt x="66" y="9"/>
                  </a:cubicBezTo>
                  <a:cubicBezTo>
                    <a:pt x="65" y="9"/>
                    <a:pt x="63" y="10"/>
                    <a:pt x="62" y="9"/>
                  </a:cubicBezTo>
                  <a:cubicBezTo>
                    <a:pt x="63" y="9"/>
                    <a:pt x="62" y="8"/>
                    <a:pt x="63" y="8"/>
                  </a:cubicBezTo>
                  <a:cubicBezTo>
                    <a:pt x="63" y="7"/>
                    <a:pt x="63" y="7"/>
                    <a:pt x="63" y="7"/>
                  </a:cubicBezTo>
                  <a:cubicBezTo>
                    <a:pt x="62" y="7"/>
                    <a:pt x="61" y="6"/>
                    <a:pt x="61" y="6"/>
                  </a:cubicBezTo>
                  <a:cubicBezTo>
                    <a:pt x="59" y="6"/>
                    <a:pt x="57" y="7"/>
                    <a:pt x="59" y="8"/>
                  </a:cubicBezTo>
                  <a:cubicBezTo>
                    <a:pt x="60" y="9"/>
                    <a:pt x="59" y="11"/>
                    <a:pt x="59" y="11"/>
                  </a:cubicBezTo>
                  <a:cubicBezTo>
                    <a:pt x="57" y="11"/>
                    <a:pt x="57" y="11"/>
                    <a:pt x="57" y="11"/>
                  </a:cubicBezTo>
                  <a:cubicBezTo>
                    <a:pt x="56" y="10"/>
                    <a:pt x="58" y="8"/>
                    <a:pt x="58" y="8"/>
                  </a:cubicBezTo>
                  <a:cubicBezTo>
                    <a:pt x="54" y="9"/>
                    <a:pt x="54" y="9"/>
                    <a:pt x="50" y="8"/>
                  </a:cubicBezTo>
                  <a:cubicBezTo>
                    <a:pt x="50" y="8"/>
                    <a:pt x="49" y="12"/>
                    <a:pt x="49" y="12"/>
                  </a:cubicBezTo>
                  <a:cubicBezTo>
                    <a:pt x="47" y="12"/>
                    <a:pt x="47" y="11"/>
                    <a:pt x="44" y="11"/>
                  </a:cubicBezTo>
                  <a:cubicBezTo>
                    <a:pt x="43" y="11"/>
                    <a:pt x="42" y="13"/>
                    <a:pt x="39" y="12"/>
                  </a:cubicBezTo>
                  <a:cubicBezTo>
                    <a:pt x="39" y="12"/>
                    <a:pt x="37" y="10"/>
                    <a:pt x="36" y="9"/>
                  </a:cubicBezTo>
                  <a:cubicBezTo>
                    <a:pt x="33" y="9"/>
                    <a:pt x="29" y="11"/>
                    <a:pt x="26" y="10"/>
                  </a:cubicBezTo>
                  <a:cubicBezTo>
                    <a:pt x="25" y="9"/>
                    <a:pt x="25" y="9"/>
                    <a:pt x="25" y="9"/>
                  </a:cubicBezTo>
                  <a:cubicBezTo>
                    <a:pt x="23" y="8"/>
                    <a:pt x="22" y="8"/>
                    <a:pt x="20" y="7"/>
                  </a:cubicBezTo>
                  <a:cubicBezTo>
                    <a:pt x="19" y="7"/>
                    <a:pt x="19" y="6"/>
                    <a:pt x="19" y="5"/>
                  </a:cubicBezTo>
                  <a:cubicBezTo>
                    <a:pt x="15" y="4"/>
                    <a:pt x="11" y="5"/>
                    <a:pt x="7" y="5"/>
                  </a:cubicBezTo>
                  <a:cubicBezTo>
                    <a:pt x="5" y="1"/>
                    <a:pt x="5" y="1"/>
                    <a:pt x="5" y="1"/>
                  </a:cubicBezTo>
                  <a:cubicBezTo>
                    <a:pt x="4" y="0"/>
                    <a:pt x="2" y="1"/>
                    <a:pt x="1" y="1"/>
                  </a:cubicBezTo>
                  <a:cubicBezTo>
                    <a:pt x="1" y="1"/>
                    <a:pt x="0" y="6"/>
                    <a:pt x="1" y="8"/>
                  </a:cubicBezTo>
                  <a:cubicBezTo>
                    <a:pt x="2" y="10"/>
                    <a:pt x="5" y="14"/>
                    <a:pt x="3" y="16"/>
                  </a:cubicBezTo>
                  <a:cubicBezTo>
                    <a:pt x="1" y="18"/>
                    <a:pt x="1" y="19"/>
                    <a:pt x="1" y="22"/>
                  </a:cubicBezTo>
                  <a:cubicBezTo>
                    <a:pt x="2" y="26"/>
                    <a:pt x="1" y="26"/>
                    <a:pt x="3" y="28"/>
                  </a:cubicBezTo>
                  <a:cubicBezTo>
                    <a:pt x="4" y="29"/>
                    <a:pt x="4" y="30"/>
                    <a:pt x="4" y="30"/>
                  </a:cubicBezTo>
                  <a:cubicBezTo>
                    <a:pt x="5" y="108"/>
                    <a:pt x="5" y="108"/>
                    <a:pt x="5" y="108"/>
                  </a:cubicBezTo>
                  <a:cubicBezTo>
                    <a:pt x="67" y="109"/>
                    <a:pt x="67" y="109"/>
                    <a:pt x="67" y="109"/>
                  </a:cubicBezTo>
                  <a:cubicBezTo>
                    <a:pt x="69" y="107"/>
                    <a:pt x="69" y="107"/>
                    <a:pt x="69" y="107"/>
                  </a:cubicBezTo>
                  <a:cubicBezTo>
                    <a:pt x="70" y="109"/>
                    <a:pt x="70" y="109"/>
                    <a:pt x="70" y="109"/>
                  </a:cubicBezTo>
                  <a:cubicBezTo>
                    <a:pt x="78" y="109"/>
                    <a:pt x="78" y="109"/>
                    <a:pt x="78" y="109"/>
                  </a:cubicBezTo>
                  <a:cubicBezTo>
                    <a:pt x="79" y="111"/>
                    <a:pt x="79" y="111"/>
                    <a:pt x="79" y="111"/>
                  </a:cubicBezTo>
                  <a:cubicBezTo>
                    <a:pt x="82" y="110"/>
                    <a:pt x="82" y="110"/>
                    <a:pt x="82" y="110"/>
                  </a:cubicBezTo>
                  <a:cubicBezTo>
                    <a:pt x="83" y="105"/>
                    <a:pt x="83" y="105"/>
                    <a:pt x="83" y="105"/>
                  </a:cubicBezTo>
                  <a:cubicBezTo>
                    <a:pt x="86" y="104"/>
                    <a:pt x="86" y="104"/>
                    <a:pt x="86" y="104"/>
                  </a:cubicBezTo>
                  <a:cubicBezTo>
                    <a:pt x="88" y="98"/>
                    <a:pt x="88" y="98"/>
                    <a:pt x="88" y="98"/>
                  </a:cubicBezTo>
                  <a:cubicBezTo>
                    <a:pt x="91" y="98"/>
                    <a:pt x="91" y="98"/>
                    <a:pt x="91" y="98"/>
                  </a:cubicBezTo>
                  <a:lnTo>
                    <a:pt x="96" y="96"/>
                  </a:lnTo>
                  <a:close/>
                  <a:moveTo>
                    <a:pt x="70" y="24"/>
                  </a:moveTo>
                  <a:cubicBezTo>
                    <a:pt x="69" y="24"/>
                    <a:pt x="70" y="27"/>
                    <a:pt x="70" y="27"/>
                  </a:cubicBezTo>
                  <a:cubicBezTo>
                    <a:pt x="69" y="27"/>
                    <a:pt x="69" y="24"/>
                    <a:pt x="70" y="2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24" name="Freeform 265">
              <a:extLst>
                <a:ext uri="{FF2B5EF4-FFF2-40B4-BE49-F238E27FC236}">
                  <a16:creationId xmlns:a16="http://schemas.microsoft.com/office/drawing/2014/main" id="{0BB57ADF-7B0E-7D1B-ED5C-FF882C0C4067}"/>
                </a:ext>
              </a:extLst>
            </p:cNvPr>
            <p:cNvSpPr>
              <a:spLocks noEditPoints="1"/>
            </p:cNvSpPr>
            <p:nvPr/>
          </p:nvSpPr>
          <p:spPr bwMode="auto">
            <a:xfrm>
              <a:off x="3142923" y="4179955"/>
              <a:ext cx="528144" cy="253297"/>
            </a:xfrm>
            <a:custGeom>
              <a:avLst/>
              <a:gdLst>
                <a:gd name="T0" fmla="*/ 10 w 150"/>
                <a:gd name="T1" fmla="*/ 19 h 72"/>
                <a:gd name="T2" fmla="*/ 10 w 150"/>
                <a:gd name="T3" fmla="*/ 20 h 72"/>
                <a:gd name="T4" fmla="*/ 10 w 150"/>
                <a:gd name="T5" fmla="*/ 19 h 72"/>
                <a:gd name="T6" fmla="*/ 119 w 150"/>
                <a:gd name="T7" fmla="*/ 0 h 72"/>
                <a:gd name="T8" fmla="*/ 111 w 150"/>
                <a:gd name="T9" fmla="*/ 5 h 72"/>
                <a:gd name="T10" fmla="*/ 111 w 150"/>
                <a:gd name="T11" fmla="*/ 8 h 72"/>
                <a:gd name="T12" fmla="*/ 113 w 150"/>
                <a:gd name="T13" fmla="*/ 14 h 72"/>
                <a:gd name="T14" fmla="*/ 109 w 150"/>
                <a:gd name="T15" fmla="*/ 26 h 72"/>
                <a:gd name="T16" fmla="*/ 107 w 150"/>
                <a:gd name="T17" fmla="*/ 26 h 72"/>
                <a:gd name="T18" fmla="*/ 107 w 150"/>
                <a:gd name="T19" fmla="*/ 27 h 72"/>
                <a:gd name="T20" fmla="*/ 104 w 150"/>
                <a:gd name="T21" fmla="*/ 29 h 72"/>
                <a:gd name="T22" fmla="*/ 104 w 150"/>
                <a:gd name="T23" fmla="*/ 31 h 72"/>
                <a:gd name="T24" fmla="*/ 106 w 150"/>
                <a:gd name="T25" fmla="*/ 32 h 72"/>
                <a:gd name="T26" fmla="*/ 105 w 150"/>
                <a:gd name="T27" fmla="*/ 34 h 72"/>
                <a:gd name="T28" fmla="*/ 103 w 150"/>
                <a:gd name="T29" fmla="*/ 36 h 72"/>
                <a:gd name="T30" fmla="*/ 105 w 150"/>
                <a:gd name="T31" fmla="*/ 40 h 72"/>
                <a:gd name="T32" fmla="*/ 106 w 150"/>
                <a:gd name="T33" fmla="*/ 40 h 72"/>
                <a:gd name="T34" fmla="*/ 106 w 150"/>
                <a:gd name="T35" fmla="*/ 43 h 72"/>
                <a:gd name="T36" fmla="*/ 104 w 150"/>
                <a:gd name="T37" fmla="*/ 43 h 72"/>
                <a:gd name="T38" fmla="*/ 103 w 150"/>
                <a:gd name="T39" fmla="*/ 45 h 72"/>
                <a:gd name="T40" fmla="*/ 107 w 150"/>
                <a:gd name="T41" fmla="*/ 47 h 72"/>
                <a:gd name="T42" fmla="*/ 111 w 150"/>
                <a:gd name="T43" fmla="*/ 47 h 72"/>
                <a:gd name="T44" fmla="*/ 112 w 150"/>
                <a:gd name="T45" fmla="*/ 46 h 72"/>
                <a:gd name="T46" fmla="*/ 113 w 150"/>
                <a:gd name="T47" fmla="*/ 45 h 72"/>
                <a:gd name="T48" fmla="*/ 113 w 150"/>
                <a:gd name="T49" fmla="*/ 48 h 72"/>
                <a:gd name="T50" fmla="*/ 111 w 150"/>
                <a:gd name="T51" fmla="*/ 48 h 72"/>
                <a:gd name="T52" fmla="*/ 110 w 150"/>
                <a:gd name="T53" fmla="*/ 51 h 72"/>
                <a:gd name="T54" fmla="*/ 111 w 150"/>
                <a:gd name="T55" fmla="*/ 52 h 72"/>
                <a:gd name="T56" fmla="*/ 106 w 150"/>
                <a:gd name="T57" fmla="*/ 57 h 72"/>
                <a:gd name="T58" fmla="*/ 107 w 150"/>
                <a:gd name="T59" fmla="*/ 60 h 72"/>
                <a:gd name="T60" fmla="*/ 108 w 150"/>
                <a:gd name="T61" fmla="*/ 61 h 72"/>
                <a:gd name="T62" fmla="*/ 104 w 150"/>
                <a:gd name="T63" fmla="*/ 64 h 72"/>
                <a:gd name="T64" fmla="*/ 108 w 150"/>
                <a:gd name="T65" fmla="*/ 67 h 72"/>
                <a:gd name="T66" fmla="*/ 112 w 150"/>
                <a:gd name="T67" fmla="*/ 65 h 72"/>
                <a:gd name="T68" fmla="*/ 114 w 150"/>
                <a:gd name="T69" fmla="*/ 70 h 72"/>
                <a:gd name="T70" fmla="*/ 117 w 150"/>
                <a:gd name="T71" fmla="*/ 71 h 72"/>
                <a:gd name="T72" fmla="*/ 121 w 150"/>
                <a:gd name="T73" fmla="*/ 67 h 72"/>
                <a:gd name="T74" fmla="*/ 127 w 150"/>
                <a:gd name="T75" fmla="*/ 57 h 72"/>
                <a:gd name="T76" fmla="*/ 130 w 150"/>
                <a:gd name="T77" fmla="*/ 52 h 72"/>
                <a:gd name="T78" fmla="*/ 141 w 150"/>
                <a:gd name="T79" fmla="*/ 45 h 72"/>
                <a:gd name="T80" fmla="*/ 148 w 150"/>
                <a:gd name="T81" fmla="*/ 34 h 72"/>
                <a:gd name="T82" fmla="*/ 149 w 150"/>
                <a:gd name="T83" fmla="*/ 34 h 72"/>
                <a:gd name="T84" fmla="*/ 149 w 150"/>
                <a:gd name="T85" fmla="*/ 28 h 72"/>
                <a:gd name="T86" fmla="*/ 148 w 150"/>
                <a:gd name="T87" fmla="*/ 23 h 72"/>
                <a:gd name="T88" fmla="*/ 145 w 150"/>
                <a:gd name="T89" fmla="*/ 21 h 72"/>
                <a:gd name="T90" fmla="*/ 149 w 150"/>
                <a:gd name="T91" fmla="*/ 18 h 72"/>
                <a:gd name="T92" fmla="*/ 143 w 150"/>
                <a:gd name="T93" fmla="*/ 15 h 72"/>
                <a:gd name="T94" fmla="*/ 140 w 150"/>
                <a:gd name="T95" fmla="*/ 15 h 72"/>
                <a:gd name="T96" fmla="*/ 132 w 150"/>
                <a:gd name="T97" fmla="*/ 14 h 72"/>
                <a:gd name="T98" fmla="*/ 130 w 150"/>
                <a:gd name="T99" fmla="*/ 11 h 72"/>
                <a:gd name="T100" fmla="*/ 128 w 150"/>
                <a:gd name="T101" fmla="*/ 7 h 72"/>
                <a:gd name="T102" fmla="*/ 122 w 150"/>
                <a:gd name="T103" fmla="*/ 5 h 72"/>
                <a:gd name="T104" fmla="*/ 120 w 150"/>
                <a:gd name="T105" fmla="*/ 0 h 72"/>
                <a:gd name="T106" fmla="*/ 119 w 150"/>
                <a:gd name="T107" fmla="*/ 0 h 72"/>
                <a:gd name="T108" fmla="*/ 2 w 150"/>
                <a:gd name="T109" fmla="*/ 15 h 72"/>
                <a:gd name="T110" fmla="*/ 6 w 150"/>
                <a:gd name="T111" fmla="*/ 24 h 72"/>
                <a:gd name="T112" fmla="*/ 2 w 150"/>
                <a:gd name="T113" fmla="*/ 26 h 72"/>
                <a:gd name="T114" fmla="*/ 2 w 150"/>
                <a:gd name="T115" fmla="*/ 27 h 72"/>
                <a:gd name="T116" fmla="*/ 6 w 150"/>
                <a:gd name="T117" fmla="*/ 27 h 72"/>
                <a:gd name="T118" fmla="*/ 7 w 150"/>
                <a:gd name="T119" fmla="*/ 20 h 72"/>
                <a:gd name="T120" fmla="*/ 6 w 150"/>
                <a:gd name="T121" fmla="*/ 20 h 72"/>
                <a:gd name="T122" fmla="*/ 4 w 150"/>
                <a:gd name="T123" fmla="*/ 15 h 72"/>
                <a:gd name="T124" fmla="*/ 2 w 150"/>
                <a:gd name="T1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 h="72">
                  <a:moveTo>
                    <a:pt x="10" y="19"/>
                  </a:moveTo>
                  <a:cubicBezTo>
                    <a:pt x="9" y="19"/>
                    <a:pt x="10" y="20"/>
                    <a:pt x="10" y="20"/>
                  </a:cubicBezTo>
                  <a:cubicBezTo>
                    <a:pt x="10" y="20"/>
                    <a:pt x="12" y="19"/>
                    <a:pt x="10" y="19"/>
                  </a:cubicBezTo>
                  <a:close/>
                  <a:moveTo>
                    <a:pt x="119" y="0"/>
                  </a:moveTo>
                  <a:cubicBezTo>
                    <a:pt x="117" y="2"/>
                    <a:pt x="114" y="4"/>
                    <a:pt x="111" y="5"/>
                  </a:cubicBezTo>
                  <a:cubicBezTo>
                    <a:pt x="111" y="7"/>
                    <a:pt x="111" y="7"/>
                    <a:pt x="111" y="8"/>
                  </a:cubicBezTo>
                  <a:cubicBezTo>
                    <a:pt x="111" y="8"/>
                    <a:pt x="112" y="12"/>
                    <a:pt x="113" y="14"/>
                  </a:cubicBezTo>
                  <a:cubicBezTo>
                    <a:pt x="108" y="17"/>
                    <a:pt x="106" y="20"/>
                    <a:pt x="109" y="26"/>
                  </a:cubicBezTo>
                  <a:cubicBezTo>
                    <a:pt x="109" y="26"/>
                    <a:pt x="108" y="26"/>
                    <a:pt x="107" y="26"/>
                  </a:cubicBezTo>
                  <a:cubicBezTo>
                    <a:pt x="107" y="27"/>
                    <a:pt x="107" y="27"/>
                    <a:pt x="107" y="27"/>
                  </a:cubicBezTo>
                  <a:cubicBezTo>
                    <a:pt x="107" y="28"/>
                    <a:pt x="105" y="29"/>
                    <a:pt x="104" y="29"/>
                  </a:cubicBezTo>
                  <a:cubicBezTo>
                    <a:pt x="104" y="30"/>
                    <a:pt x="104" y="30"/>
                    <a:pt x="104" y="31"/>
                  </a:cubicBezTo>
                  <a:cubicBezTo>
                    <a:pt x="104" y="31"/>
                    <a:pt x="106" y="32"/>
                    <a:pt x="106" y="32"/>
                  </a:cubicBezTo>
                  <a:cubicBezTo>
                    <a:pt x="106" y="32"/>
                    <a:pt x="106" y="36"/>
                    <a:pt x="105" y="34"/>
                  </a:cubicBezTo>
                  <a:cubicBezTo>
                    <a:pt x="105" y="35"/>
                    <a:pt x="104" y="36"/>
                    <a:pt x="103" y="36"/>
                  </a:cubicBezTo>
                  <a:cubicBezTo>
                    <a:pt x="105" y="40"/>
                    <a:pt x="105" y="40"/>
                    <a:pt x="105" y="40"/>
                  </a:cubicBezTo>
                  <a:cubicBezTo>
                    <a:pt x="106" y="40"/>
                    <a:pt x="106" y="40"/>
                    <a:pt x="106" y="40"/>
                  </a:cubicBezTo>
                  <a:cubicBezTo>
                    <a:pt x="106" y="41"/>
                    <a:pt x="106" y="42"/>
                    <a:pt x="106" y="43"/>
                  </a:cubicBezTo>
                  <a:cubicBezTo>
                    <a:pt x="106" y="43"/>
                    <a:pt x="104" y="43"/>
                    <a:pt x="104" y="43"/>
                  </a:cubicBezTo>
                  <a:cubicBezTo>
                    <a:pt x="103" y="43"/>
                    <a:pt x="103" y="45"/>
                    <a:pt x="103" y="45"/>
                  </a:cubicBezTo>
                  <a:cubicBezTo>
                    <a:pt x="104" y="46"/>
                    <a:pt x="105" y="46"/>
                    <a:pt x="107" y="47"/>
                  </a:cubicBezTo>
                  <a:cubicBezTo>
                    <a:pt x="110" y="49"/>
                    <a:pt x="108" y="49"/>
                    <a:pt x="111" y="47"/>
                  </a:cubicBezTo>
                  <a:cubicBezTo>
                    <a:pt x="112" y="47"/>
                    <a:pt x="112" y="47"/>
                    <a:pt x="112" y="46"/>
                  </a:cubicBezTo>
                  <a:cubicBezTo>
                    <a:pt x="112" y="46"/>
                    <a:pt x="113" y="45"/>
                    <a:pt x="113" y="45"/>
                  </a:cubicBezTo>
                  <a:cubicBezTo>
                    <a:pt x="113" y="45"/>
                    <a:pt x="113" y="48"/>
                    <a:pt x="113" y="48"/>
                  </a:cubicBezTo>
                  <a:cubicBezTo>
                    <a:pt x="113" y="48"/>
                    <a:pt x="111" y="48"/>
                    <a:pt x="111" y="48"/>
                  </a:cubicBezTo>
                  <a:cubicBezTo>
                    <a:pt x="110" y="49"/>
                    <a:pt x="110" y="51"/>
                    <a:pt x="110" y="51"/>
                  </a:cubicBezTo>
                  <a:cubicBezTo>
                    <a:pt x="111" y="50"/>
                    <a:pt x="111" y="52"/>
                    <a:pt x="111" y="52"/>
                  </a:cubicBezTo>
                  <a:cubicBezTo>
                    <a:pt x="109" y="54"/>
                    <a:pt x="108" y="55"/>
                    <a:pt x="106" y="57"/>
                  </a:cubicBezTo>
                  <a:cubicBezTo>
                    <a:pt x="107" y="60"/>
                    <a:pt x="107" y="60"/>
                    <a:pt x="107" y="60"/>
                  </a:cubicBezTo>
                  <a:cubicBezTo>
                    <a:pt x="108" y="61"/>
                    <a:pt x="108" y="61"/>
                    <a:pt x="108" y="61"/>
                  </a:cubicBezTo>
                  <a:cubicBezTo>
                    <a:pt x="104" y="64"/>
                    <a:pt x="104" y="64"/>
                    <a:pt x="104" y="64"/>
                  </a:cubicBezTo>
                  <a:cubicBezTo>
                    <a:pt x="104" y="64"/>
                    <a:pt x="106" y="67"/>
                    <a:pt x="108" y="67"/>
                  </a:cubicBezTo>
                  <a:cubicBezTo>
                    <a:pt x="110" y="67"/>
                    <a:pt x="112" y="65"/>
                    <a:pt x="112" y="65"/>
                  </a:cubicBezTo>
                  <a:cubicBezTo>
                    <a:pt x="112" y="65"/>
                    <a:pt x="113" y="67"/>
                    <a:pt x="114" y="70"/>
                  </a:cubicBezTo>
                  <a:cubicBezTo>
                    <a:pt x="115" y="72"/>
                    <a:pt x="117" y="71"/>
                    <a:pt x="117" y="71"/>
                  </a:cubicBezTo>
                  <a:cubicBezTo>
                    <a:pt x="117" y="71"/>
                    <a:pt x="120" y="70"/>
                    <a:pt x="121" y="67"/>
                  </a:cubicBezTo>
                  <a:cubicBezTo>
                    <a:pt x="123" y="61"/>
                    <a:pt x="125" y="60"/>
                    <a:pt x="127" y="57"/>
                  </a:cubicBezTo>
                  <a:cubicBezTo>
                    <a:pt x="129" y="55"/>
                    <a:pt x="129" y="54"/>
                    <a:pt x="130" y="52"/>
                  </a:cubicBezTo>
                  <a:cubicBezTo>
                    <a:pt x="132" y="51"/>
                    <a:pt x="135" y="49"/>
                    <a:pt x="141" y="45"/>
                  </a:cubicBezTo>
                  <a:cubicBezTo>
                    <a:pt x="148" y="41"/>
                    <a:pt x="148" y="34"/>
                    <a:pt x="148" y="34"/>
                  </a:cubicBezTo>
                  <a:cubicBezTo>
                    <a:pt x="149" y="34"/>
                    <a:pt x="149" y="34"/>
                    <a:pt x="149" y="34"/>
                  </a:cubicBezTo>
                  <a:cubicBezTo>
                    <a:pt x="149" y="34"/>
                    <a:pt x="150" y="31"/>
                    <a:pt x="149" y="28"/>
                  </a:cubicBezTo>
                  <a:cubicBezTo>
                    <a:pt x="148" y="25"/>
                    <a:pt x="148" y="23"/>
                    <a:pt x="148" y="23"/>
                  </a:cubicBezTo>
                  <a:cubicBezTo>
                    <a:pt x="145" y="21"/>
                    <a:pt x="145" y="21"/>
                    <a:pt x="145" y="21"/>
                  </a:cubicBezTo>
                  <a:cubicBezTo>
                    <a:pt x="149" y="18"/>
                    <a:pt x="149" y="18"/>
                    <a:pt x="149" y="18"/>
                  </a:cubicBezTo>
                  <a:cubicBezTo>
                    <a:pt x="149" y="18"/>
                    <a:pt x="144" y="17"/>
                    <a:pt x="143" y="15"/>
                  </a:cubicBezTo>
                  <a:cubicBezTo>
                    <a:pt x="141" y="12"/>
                    <a:pt x="140" y="15"/>
                    <a:pt x="140" y="15"/>
                  </a:cubicBezTo>
                  <a:cubicBezTo>
                    <a:pt x="132" y="14"/>
                    <a:pt x="132" y="14"/>
                    <a:pt x="132" y="14"/>
                  </a:cubicBezTo>
                  <a:cubicBezTo>
                    <a:pt x="132" y="14"/>
                    <a:pt x="130" y="12"/>
                    <a:pt x="130" y="11"/>
                  </a:cubicBezTo>
                  <a:cubicBezTo>
                    <a:pt x="129" y="9"/>
                    <a:pt x="128" y="7"/>
                    <a:pt x="128" y="7"/>
                  </a:cubicBezTo>
                  <a:cubicBezTo>
                    <a:pt x="128" y="7"/>
                    <a:pt x="124" y="6"/>
                    <a:pt x="122" y="5"/>
                  </a:cubicBezTo>
                  <a:cubicBezTo>
                    <a:pt x="120" y="3"/>
                    <a:pt x="120" y="0"/>
                    <a:pt x="120" y="0"/>
                  </a:cubicBezTo>
                  <a:lnTo>
                    <a:pt x="119" y="0"/>
                  </a:lnTo>
                  <a:close/>
                  <a:moveTo>
                    <a:pt x="2" y="15"/>
                  </a:moveTo>
                  <a:cubicBezTo>
                    <a:pt x="4" y="19"/>
                    <a:pt x="4" y="21"/>
                    <a:pt x="6" y="24"/>
                  </a:cubicBezTo>
                  <a:cubicBezTo>
                    <a:pt x="4" y="25"/>
                    <a:pt x="3" y="26"/>
                    <a:pt x="2" y="26"/>
                  </a:cubicBezTo>
                  <a:cubicBezTo>
                    <a:pt x="0" y="27"/>
                    <a:pt x="2" y="27"/>
                    <a:pt x="2" y="27"/>
                  </a:cubicBezTo>
                  <a:cubicBezTo>
                    <a:pt x="2" y="27"/>
                    <a:pt x="4" y="28"/>
                    <a:pt x="6" y="27"/>
                  </a:cubicBezTo>
                  <a:cubicBezTo>
                    <a:pt x="10" y="26"/>
                    <a:pt x="8" y="24"/>
                    <a:pt x="7" y="20"/>
                  </a:cubicBezTo>
                  <a:cubicBezTo>
                    <a:pt x="6" y="20"/>
                    <a:pt x="6" y="20"/>
                    <a:pt x="6" y="20"/>
                  </a:cubicBezTo>
                  <a:cubicBezTo>
                    <a:pt x="5" y="19"/>
                    <a:pt x="5" y="17"/>
                    <a:pt x="4" y="15"/>
                  </a:cubicBezTo>
                  <a:cubicBezTo>
                    <a:pt x="4" y="15"/>
                    <a:pt x="2" y="15"/>
                    <a:pt x="2" y="1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25" name="Freeform 266">
              <a:extLst>
                <a:ext uri="{FF2B5EF4-FFF2-40B4-BE49-F238E27FC236}">
                  <a16:creationId xmlns:a16="http://schemas.microsoft.com/office/drawing/2014/main" id="{52C112E2-76C8-7541-7F9C-EA6579D69666}"/>
                </a:ext>
              </a:extLst>
            </p:cNvPr>
            <p:cNvSpPr>
              <a:spLocks noEditPoints="1"/>
            </p:cNvSpPr>
            <p:nvPr/>
          </p:nvSpPr>
          <p:spPr bwMode="auto">
            <a:xfrm>
              <a:off x="3142923" y="4179955"/>
              <a:ext cx="528144" cy="253297"/>
            </a:xfrm>
            <a:custGeom>
              <a:avLst/>
              <a:gdLst>
                <a:gd name="T0" fmla="*/ 10 w 150"/>
                <a:gd name="T1" fmla="*/ 19 h 72"/>
                <a:gd name="T2" fmla="*/ 10 w 150"/>
                <a:gd name="T3" fmla="*/ 20 h 72"/>
                <a:gd name="T4" fmla="*/ 10 w 150"/>
                <a:gd name="T5" fmla="*/ 19 h 72"/>
                <a:gd name="T6" fmla="*/ 119 w 150"/>
                <a:gd name="T7" fmla="*/ 0 h 72"/>
                <a:gd name="T8" fmla="*/ 111 w 150"/>
                <a:gd name="T9" fmla="*/ 5 h 72"/>
                <a:gd name="T10" fmla="*/ 111 w 150"/>
                <a:gd name="T11" fmla="*/ 8 h 72"/>
                <a:gd name="T12" fmla="*/ 113 w 150"/>
                <a:gd name="T13" fmla="*/ 14 h 72"/>
                <a:gd name="T14" fmla="*/ 109 w 150"/>
                <a:gd name="T15" fmla="*/ 26 h 72"/>
                <a:gd name="T16" fmla="*/ 107 w 150"/>
                <a:gd name="T17" fmla="*/ 26 h 72"/>
                <a:gd name="T18" fmla="*/ 107 w 150"/>
                <a:gd name="T19" fmla="*/ 27 h 72"/>
                <a:gd name="T20" fmla="*/ 104 w 150"/>
                <a:gd name="T21" fmla="*/ 29 h 72"/>
                <a:gd name="T22" fmla="*/ 104 w 150"/>
                <a:gd name="T23" fmla="*/ 31 h 72"/>
                <a:gd name="T24" fmla="*/ 106 w 150"/>
                <a:gd name="T25" fmla="*/ 32 h 72"/>
                <a:gd name="T26" fmla="*/ 105 w 150"/>
                <a:gd name="T27" fmla="*/ 34 h 72"/>
                <a:gd name="T28" fmla="*/ 103 w 150"/>
                <a:gd name="T29" fmla="*/ 36 h 72"/>
                <a:gd name="T30" fmla="*/ 105 w 150"/>
                <a:gd name="T31" fmla="*/ 40 h 72"/>
                <a:gd name="T32" fmla="*/ 106 w 150"/>
                <a:gd name="T33" fmla="*/ 40 h 72"/>
                <a:gd name="T34" fmla="*/ 106 w 150"/>
                <a:gd name="T35" fmla="*/ 43 h 72"/>
                <a:gd name="T36" fmla="*/ 104 w 150"/>
                <a:gd name="T37" fmla="*/ 43 h 72"/>
                <a:gd name="T38" fmla="*/ 103 w 150"/>
                <a:gd name="T39" fmla="*/ 45 h 72"/>
                <a:gd name="T40" fmla="*/ 107 w 150"/>
                <a:gd name="T41" fmla="*/ 47 h 72"/>
                <a:gd name="T42" fmla="*/ 111 w 150"/>
                <a:gd name="T43" fmla="*/ 47 h 72"/>
                <a:gd name="T44" fmla="*/ 112 w 150"/>
                <a:gd name="T45" fmla="*/ 46 h 72"/>
                <a:gd name="T46" fmla="*/ 113 w 150"/>
                <a:gd name="T47" fmla="*/ 45 h 72"/>
                <a:gd name="T48" fmla="*/ 113 w 150"/>
                <a:gd name="T49" fmla="*/ 48 h 72"/>
                <a:gd name="T50" fmla="*/ 111 w 150"/>
                <a:gd name="T51" fmla="*/ 48 h 72"/>
                <a:gd name="T52" fmla="*/ 110 w 150"/>
                <a:gd name="T53" fmla="*/ 51 h 72"/>
                <a:gd name="T54" fmla="*/ 111 w 150"/>
                <a:gd name="T55" fmla="*/ 52 h 72"/>
                <a:gd name="T56" fmla="*/ 106 w 150"/>
                <a:gd name="T57" fmla="*/ 57 h 72"/>
                <a:gd name="T58" fmla="*/ 107 w 150"/>
                <a:gd name="T59" fmla="*/ 60 h 72"/>
                <a:gd name="T60" fmla="*/ 108 w 150"/>
                <a:gd name="T61" fmla="*/ 61 h 72"/>
                <a:gd name="T62" fmla="*/ 104 w 150"/>
                <a:gd name="T63" fmla="*/ 64 h 72"/>
                <a:gd name="T64" fmla="*/ 108 w 150"/>
                <a:gd name="T65" fmla="*/ 67 h 72"/>
                <a:gd name="T66" fmla="*/ 112 w 150"/>
                <a:gd name="T67" fmla="*/ 65 h 72"/>
                <a:gd name="T68" fmla="*/ 114 w 150"/>
                <a:gd name="T69" fmla="*/ 70 h 72"/>
                <a:gd name="T70" fmla="*/ 117 w 150"/>
                <a:gd name="T71" fmla="*/ 71 h 72"/>
                <a:gd name="T72" fmla="*/ 121 w 150"/>
                <a:gd name="T73" fmla="*/ 67 h 72"/>
                <a:gd name="T74" fmla="*/ 127 w 150"/>
                <a:gd name="T75" fmla="*/ 57 h 72"/>
                <a:gd name="T76" fmla="*/ 130 w 150"/>
                <a:gd name="T77" fmla="*/ 52 h 72"/>
                <a:gd name="T78" fmla="*/ 141 w 150"/>
                <a:gd name="T79" fmla="*/ 45 h 72"/>
                <a:gd name="T80" fmla="*/ 148 w 150"/>
                <a:gd name="T81" fmla="*/ 34 h 72"/>
                <a:gd name="T82" fmla="*/ 149 w 150"/>
                <a:gd name="T83" fmla="*/ 34 h 72"/>
                <a:gd name="T84" fmla="*/ 149 w 150"/>
                <a:gd name="T85" fmla="*/ 28 h 72"/>
                <a:gd name="T86" fmla="*/ 148 w 150"/>
                <a:gd name="T87" fmla="*/ 23 h 72"/>
                <a:gd name="T88" fmla="*/ 145 w 150"/>
                <a:gd name="T89" fmla="*/ 21 h 72"/>
                <a:gd name="T90" fmla="*/ 149 w 150"/>
                <a:gd name="T91" fmla="*/ 18 h 72"/>
                <a:gd name="T92" fmla="*/ 143 w 150"/>
                <a:gd name="T93" fmla="*/ 15 h 72"/>
                <a:gd name="T94" fmla="*/ 140 w 150"/>
                <a:gd name="T95" fmla="*/ 15 h 72"/>
                <a:gd name="T96" fmla="*/ 132 w 150"/>
                <a:gd name="T97" fmla="*/ 14 h 72"/>
                <a:gd name="T98" fmla="*/ 130 w 150"/>
                <a:gd name="T99" fmla="*/ 11 h 72"/>
                <a:gd name="T100" fmla="*/ 128 w 150"/>
                <a:gd name="T101" fmla="*/ 7 h 72"/>
                <a:gd name="T102" fmla="*/ 122 w 150"/>
                <a:gd name="T103" fmla="*/ 5 h 72"/>
                <a:gd name="T104" fmla="*/ 120 w 150"/>
                <a:gd name="T105" fmla="*/ 0 h 72"/>
                <a:gd name="T106" fmla="*/ 119 w 150"/>
                <a:gd name="T107" fmla="*/ 0 h 72"/>
                <a:gd name="T108" fmla="*/ 2 w 150"/>
                <a:gd name="T109" fmla="*/ 15 h 72"/>
                <a:gd name="T110" fmla="*/ 6 w 150"/>
                <a:gd name="T111" fmla="*/ 24 h 72"/>
                <a:gd name="T112" fmla="*/ 2 w 150"/>
                <a:gd name="T113" fmla="*/ 26 h 72"/>
                <a:gd name="T114" fmla="*/ 2 w 150"/>
                <a:gd name="T115" fmla="*/ 27 h 72"/>
                <a:gd name="T116" fmla="*/ 6 w 150"/>
                <a:gd name="T117" fmla="*/ 27 h 72"/>
                <a:gd name="T118" fmla="*/ 7 w 150"/>
                <a:gd name="T119" fmla="*/ 20 h 72"/>
                <a:gd name="T120" fmla="*/ 6 w 150"/>
                <a:gd name="T121" fmla="*/ 20 h 72"/>
                <a:gd name="T122" fmla="*/ 4 w 150"/>
                <a:gd name="T123" fmla="*/ 15 h 72"/>
                <a:gd name="T124" fmla="*/ 2 w 150"/>
                <a:gd name="T125" fmla="*/ 1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0" h="72">
                  <a:moveTo>
                    <a:pt x="10" y="19"/>
                  </a:moveTo>
                  <a:cubicBezTo>
                    <a:pt x="9" y="19"/>
                    <a:pt x="10" y="20"/>
                    <a:pt x="10" y="20"/>
                  </a:cubicBezTo>
                  <a:cubicBezTo>
                    <a:pt x="10" y="20"/>
                    <a:pt x="12" y="19"/>
                    <a:pt x="10" y="19"/>
                  </a:cubicBezTo>
                  <a:close/>
                  <a:moveTo>
                    <a:pt x="119" y="0"/>
                  </a:moveTo>
                  <a:cubicBezTo>
                    <a:pt x="117" y="2"/>
                    <a:pt x="114" y="4"/>
                    <a:pt x="111" y="5"/>
                  </a:cubicBezTo>
                  <a:cubicBezTo>
                    <a:pt x="111" y="7"/>
                    <a:pt x="111" y="7"/>
                    <a:pt x="111" y="8"/>
                  </a:cubicBezTo>
                  <a:cubicBezTo>
                    <a:pt x="111" y="8"/>
                    <a:pt x="112" y="12"/>
                    <a:pt x="113" y="14"/>
                  </a:cubicBezTo>
                  <a:cubicBezTo>
                    <a:pt x="108" y="17"/>
                    <a:pt x="106" y="20"/>
                    <a:pt x="109" y="26"/>
                  </a:cubicBezTo>
                  <a:cubicBezTo>
                    <a:pt x="109" y="26"/>
                    <a:pt x="108" y="26"/>
                    <a:pt x="107" y="26"/>
                  </a:cubicBezTo>
                  <a:cubicBezTo>
                    <a:pt x="107" y="27"/>
                    <a:pt x="107" y="27"/>
                    <a:pt x="107" y="27"/>
                  </a:cubicBezTo>
                  <a:cubicBezTo>
                    <a:pt x="107" y="28"/>
                    <a:pt x="105" y="29"/>
                    <a:pt x="104" y="29"/>
                  </a:cubicBezTo>
                  <a:cubicBezTo>
                    <a:pt x="104" y="30"/>
                    <a:pt x="104" y="30"/>
                    <a:pt x="104" y="31"/>
                  </a:cubicBezTo>
                  <a:cubicBezTo>
                    <a:pt x="104" y="31"/>
                    <a:pt x="106" y="32"/>
                    <a:pt x="106" y="32"/>
                  </a:cubicBezTo>
                  <a:cubicBezTo>
                    <a:pt x="106" y="32"/>
                    <a:pt x="106" y="36"/>
                    <a:pt x="105" y="34"/>
                  </a:cubicBezTo>
                  <a:cubicBezTo>
                    <a:pt x="105" y="35"/>
                    <a:pt x="104" y="36"/>
                    <a:pt x="103" y="36"/>
                  </a:cubicBezTo>
                  <a:cubicBezTo>
                    <a:pt x="105" y="40"/>
                    <a:pt x="105" y="40"/>
                    <a:pt x="105" y="40"/>
                  </a:cubicBezTo>
                  <a:cubicBezTo>
                    <a:pt x="106" y="40"/>
                    <a:pt x="106" y="40"/>
                    <a:pt x="106" y="40"/>
                  </a:cubicBezTo>
                  <a:cubicBezTo>
                    <a:pt x="106" y="41"/>
                    <a:pt x="106" y="42"/>
                    <a:pt x="106" y="43"/>
                  </a:cubicBezTo>
                  <a:cubicBezTo>
                    <a:pt x="106" y="43"/>
                    <a:pt x="104" y="43"/>
                    <a:pt x="104" y="43"/>
                  </a:cubicBezTo>
                  <a:cubicBezTo>
                    <a:pt x="103" y="43"/>
                    <a:pt x="103" y="45"/>
                    <a:pt x="103" y="45"/>
                  </a:cubicBezTo>
                  <a:cubicBezTo>
                    <a:pt x="104" y="46"/>
                    <a:pt x="105" y="46"/>
                    <a:pt x="107" y="47"/>
                  </a:cubicBezTo>
                  <a:cubicBezTo>
                    <a:pt x="110" y="49"/>
                    <a:pt x="108" y="49"/>
                    <a:pt x="111" y="47"/>
                  </a:cubicBezTo>
                  <a:cubicBezTo>
                    <a:pt x="112" y="47"/>
                    <a:pt x="112" y="47"/>
                    <a:pt x="112" y="46"/>
                  </a:cubicBezTo>
                  <a:cubicBezTo>
                    <a:pt x="112" y="46"/>
                    <a:pt x="113" y="45"/>
                    <a:pt x="113" y="45"/>
                  </a:cubicBezTo>
                  <a:cubicBezTo>
                    <a:pt x="113" y="45"/>
                    <a:pt x="113" y="48"/>
                    <a:pt x="113" y="48"/>
                  </a:cubicBezTo>
                  <a:cubicBezTo>
                    <a:pt x="113" y="48"/>
                    <a:pt x="111" y="48"/>
                    <a:pt x="111" y="48"/>
                  </a:cubicBezTo>
                  <a:cubicBezTo>
                    <a:pt x="110" y="49"/>
                    <a:pt x="110" y="51"/>
                    <a:pt x="110" y="51"/>
                  </a:cubicBezTo>
                  <a:cubicBezTo>
                    <a:pt x="111" y="50"/>
                    <a:pt x="111" y="52"/>
                    <a:pt x="111" y="52"/>
                  </a:cubicBezTo>
                  <a:cubicBezTo>
                    <a:pt x="109" y="54"/>
                    <a:pt x="108" y="55"/>
                    <a:pt x="106" y="57"/>
                  </a:cubicBezTo>
                  <a:cubicBezTo>
                    <a:pt x="107" y="60"/>
                    <a:pt x="107" y="60"/>
                    <a:pt x="107" y="60"/>
                  </a:cubicBezTo>
                  <a:cubicBezTo>
                    <a:pt x="108" y="61"/>
                    <a:pt x="108" y="61"/>
                    <a:pt x="108" y="61"/>
                  </a:cubicBezTo>
                  <a:cubicBezTo>
                    <a:pt x="104" y="64"/>
                    <a:pt x="104" y="64"/>
                    <a:pt x="104" y="64"/>
                  </a:cubicBezTo>
                  <a:cubicBezTo>
                    <a:pt x="104" y="64"/>
                    <a:pt x="106" y="67"/>
                    <a:pt x="108" y="67"/>
                  </a:cubicBezTo>
                  <a:cubicBezTo>
                    <a:pt x="110" y="67"/>
                    <a:pt x="112" y="65"/>
                    <a:pt x="112" y="65"/>
                  </a:cubicBezTo>
                  <a:cubicBezTo>
                    <a:pt x="112" y="65"/>
                    <a:pt x="113" y="67"/>
                    <a:pt x="114" y="70"/>
                  </a:cubicBezTo>
                  <a:cubicBezTo>
                    <a:pt x="115" y="72"/>
                    <a:pt x="117" y="71"/>
                    <a:pt x="117" y="71"/>
                  </a:cubicBezTo>
                  <a:cubicBezTo>
                    <a:pt x="117" y="71"/>
                    <a:pt x="120" y="70"/>
                    <a:pt x="121" y="67"/>
                  </a:cubicBezTo>
                  <a:cubicBezTo>
                    <a:pt x="123" y="61"/>
                    <a:pt x="125" y="60"/>
                    <a:pt x="127" y="57"/>
                  </a:cubicBezTo>
                  <a:cubicBezTo>
                    <a:pt x="129" y="55"/>
                    <a:pt x="129" y="54"/>
                    <a:pt x="130" y="52"/>
                  </a:cubicBezTo>
                  <a:cubicBezTo>
                    <a:pt x="132" y="51"/>
                    <a:pt x="135" y="49"/>
                    <a:pt x="141" y="45"/>
                  </a:cubicBezTo>
                  <a:cubicBezTo>
                    <a:pt x="148" y="41"/>
                    <a:pt x="148" y="34"/>
                    <a:pt x="148" y="34"/>
                  </a:cubicBezTo>
                  <a:cubicBezTo>
                    <a:pt x="149" y="34"/>
                    <a:pt x="149" y="34"/>
                    <a:pt x="149" y="34"/>
                  </a:cubicBezTo>
                  <a:cubicBezTo>
                    <a:pt x="149" y="34"/>
                    <a:pt x="150" y="31"/>
                    <a:pt x="149" y="28"/>
                  </a:cubicBezTo>
                  <a:cubicBezTo>
                    <a:pt x="148" y="25"/>
                    <a:pt x="148" y="23"/>
                    <a:pt x="148" y="23"/>
                  </a:cubicBezTo>
                  <a:cubicBezTo>
                    <a:pt x="145" y="21"/>
                    <a:pt x="145" y="21"/>
                    <a:pt x="145" y="21"/>
                  </a:cubicBezTo>
                  <a:cubicBezTo>
                    <a:pt x="149" y="18"/>
                    <a:pt x="149" y="18"/>
                    <a:pt x="149" y="18"/>
                  </a:cubicBezTo>
                  <a:cubicBezTo>
                    <a:pt x="149" y="18"/>
                    <a:pt x="144" y="17"/>
                    <a:pt x="143" y="15"/>
                  </a:cubicBezTo>
                  <a:cubicBezTo>
                    <a:pt x="141" y="12"/>
                    <a:pt x="140" y="15"/>
                    <a:pt x="140" y="15"/>
                  </a:cubicBezTo>
                  <a:cubicBezTo>
                    <a:pt x="132" y="14"/>
                    <a:pt x="132" y="14"/>
                    <a:pt x="132" y="14"/>
                  </a:cubicBezTo>
                  <a:cubicBezTo>
                    <a:pt x="132" y="14"/>
                    <a:pt x="130" y="12"/>
                    <a:pt x="130" y="11"/>
                  </a:cubicBezTo>
                  <a:cubicBezTo>
                    <a:pt x="129" y="9"/>
                    <a:pt x="128" y="7"/>
                    <a:pt x="128" y="7"/>
                  </a:cubicBezTo>
                  <a:cubicBezTo>
                    <a:pt x="128" y="7"/>
                    <a:pt x="124" y="6"/>
                    <a:pt x="122" y="5"/>
                  </a:cubicBezTo>
                  <a:cubicBezTo>
                    <a:pt x="120" y="3"/>
                    <a:pt x="120" y="0"/>
                    <a:pt x="120" y="0"/>
                  </a:cubicBezTo>
                  <a:lnTo>
                    <a:pt x="119" y="0"/>
                  </a:lnTo>
                  <a:close/>
                  <a:moveTo>
                    <a:pt x="2" y="15"/>
                  </a:moveTo>
                  <a:cubicBezTo>
                    <a:pt x="4" y="19"/>
                    <a:pt x="4" y="21"/>
                    <a:pt x="6" y="24"/>
                  </a:cubicBezTo>
                  <a:cubicBezTo>
                    <a:pt x="4" y="25"/>
                    <a:pt x="3" y="26"/>
                    <a:pt x="2" y="26"/>
                  </a:cubicBezTo>
                  <a:cubicBezTo>
                    <a:pt x="0" y="27"/>
                    <a:pt x="2" y="27"/>
                    <a:pt x="2" y="27"/>
                  </a:cubicBezTo>
                  <a:cubicBezTo>
                    <a:pt x="2" y="27"/>
                    <a:pt x="4" y="28"/>
                    <a:pt x="6" y="27"/>
                  </a:cubicBezTo>
                  <a:cubicBezTo>
                    <a:pt x="10" y="26"/>
                    <a:pt x="8" y="24"/>
                    <a:pt x="7" y="20"/>
                  </a:cubicBezTo>
                  <a:cubicBezTo>
                    <a:pt x="6" y="20"/>
                    <a:pt x="6" y="20"/>
                    <a:pt x="6" y="20"/>
                  </a:cubicBezTo>
                  <a:cubicBezTo>
                    <a:pt x="5" y="19"/>
                    <a:pt x="5" y="17"/>
                    <a:pt x="4" y="15"/>
                  </a:cubicBezTo>
                  <a:cubicBezTo>
                    <a:pt x="4" y="15"/>
                    <a:pt x="2" y="15"/>
                    <a:pt x="2" y="1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26" name="Freeform 267">
              <a:extLst>
                <a:ext uri="{FF2B5EF4-FFF2-40B4-BE49-F238E27FC236}">
                  <a16:creationId xmlns:a16="http://schemas.microsoft.com/office/drawing/2014/main" id="{B85F9BB8-95CF-FF3D-4573-9A57EC774794}"/>
                </a:ext>
              </a:extLst>
            </p:cNvPr>
            <p:cNvSpPr>
              <a:spLocks/>
            </p:cNvSpPr>
            <p:nvPr/>
          </p:nvSpPr>
          <p:spPr bwMode="auto">
            <a:xfrm>
              <a:off x="3793224" y="3468569"/>
              <a:ext cx="123953" cy="73654"/>
            </a:xfrm>
            <a:custGeom>
              <a:avLst/>
              <a:gdLst>
                <a:gd name="T0" fmla="*/ 1 w 35"/>
                <a:gd name="T1" fmla="*/ 18 h 21"/>
                <a:gd name="T2" fmla="*/ 3 w 35"/>
                <a:gd name="T3" fmla="*/ 21 h 21"/>
                <a:gd name="T4" fmla="*/ 5 w 35"/>
                <a:gd name="T5" fmla="*/ 21 h 21"/>
                <a:gd name="T6" fmla="*/ 7 w 35"/>
                <a:gd name="T7" fmla="*/ 18 h 21"/>
                <a:gd name="T8" fmla="*/ 6 w 35"/>
                <a:gd name="T9" fmla="*/ 14 h 21"/>
                <a:gd name="T10" fmla="*/ 11 w 35"/>
                <a:gd name="T11" fmla="*/ 16 h 21"/>
                <a:gd name="T12" fmla="*/ 12 w 35"/>
                <a:gd name="T13" fmla="*/ 18 h 21"/>
                <a:gd name="T14" fmla="*/ 18 w 35"/>
                <a:gd name="T15" fmla="*/ 14 h 21"/>
                <a:gd name="T16" fmla="*/ 29 w 35"/>
                <a:gd name="T17" fmla="*/ 10 h 21"/>
                <a:gd name="T18" fmla="*/ 25 w 35"/>
                <a:gd name="T19" fmla="*/ 8 h 21"/>
                <a:gd name="T20" fmla="*/ 17 w 35"/>
                <a:gd name="T21" fmla="*/ 6 h 21"/>
                <a:gd name="T22" fmla="*/ 14 w 35"/>
                <a:gd name="T23" fmla="*/ 2 h 21"/>
                <a:gd name="T24" fmla="*/ 11 w 35"/>
                <a:gd name="T25" fmla="*/ 2 h 21"/>
                <a:gd name="T26" fmla="*/ 9 w 35"/>
                <a:gd name="T27" fmla="*/ 0 h 21"/>
                <a:gd name="T28" fmla="*/ 3 w 35"/>
                <a:gd name="T29" fmla="*/ 0 h 21"/>
                <a:gd name="T30" fmla="*/ 1 w 35"/>
                <a:gd name="T31" fmla="*/ 2 h 21"/>
                <a:gd name="T32" fmla="*/ 0 w 35"/>
                <a:gd name="T33" fmla="*/ 3 h 21"/>
                <a:gd name="T34" fmla="*/ 1 w 35"/>
                <a:gd name="T35" fmla="*/ 8 h 21"/>
                <a:gd name="T36" fmla="*/ 0 w 35"/>
                <a:gd name="T37" fmla="*/ 11 h 21"/>
                <a:gd name="T38" fmla="*/ 0 w 35"/>
                <a:gd name="T39" fmla="*/ 12 h 21"/>
                <a:gd name="T40" fmla="*/ 1 w 35"/>
                <a:gd name="T41" fmla="*/ 15 h 21"/>
                <a:gd name="T42" fmla="*/ 1 w 35"/>
                <a:gd name="T43"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1">
                  <a:moveTo>
                    <a:pt x="1" y="18"/>
                  </a:moveTo>
                  <a:cubicBezTo>
                    <a:pt x="2" y="19"/>
                    <a:pt x="3" y="20"/>
                    <a:pt x="3" y="21"/>
                  </a:cubicBezTo>
                  <a:cubicBezTo>
                    <a:pt x="3" y="21"/>
                    <a:pt x="5" y="21"/>
                    <a:pt x="5" y="21"/>
                  </a:cubicBezTo>
                  <a:cubicBezTo>
                    <a:pt x="6" y="21"/>
                    <a:pt x="6" y="19"/>
                    <a:pt x="7" y="18"/>
                  </a:cubicBezTo>
                  <a:cubicBezTo>
                    <a:pt x="7" y="19"/>
                    <a:pt x="6" y="16"/>
                    <a:pt x="6" y="14"/>
                  </a:cubicBezTo>
                  <a:cubicBezTo>
                    <a:pt x="8" y="15"/>
                    <a:pt x="9" y="15"/>
                    <a:pt x="11" y="16"/>
                  </a:cubicBezTo>
                  <a:cubicBezTo>
                    <a:pt x="11" y="16"/>
                    <a:pt x="12" y="18"/>
                    <a:pt x="12" y="18"/>
                  </a:cubicBezTo>
                  <a:cubicBezTo>
                    <a:pt x="18" y="19"/>
                    <a:pt x="18" y="14"/>
                    <a:pt x="18" y="14"/>
                  </a:cubicBezTo>
                  <a:cubicBezTo>
                    <a:pt x="21" y="13"/>
                    <a:pt x="35" y="19"/>
                    <a:pt x="29" y="10"/>
                  </a:cubicBezTo>
                  <a:cubicBezTo>
                    <a:pt x="28" y="9"/>
                    <a:pt x="26" y="9"/>
                    <a:pt x="25" y="8"/>
                  </a:cubicBezTo>
                  <a:cubicBezTo>
                    <a:pt x="27" y="8"/>
                    <a:pt x="19" y="8"/>
                    <a:pt x="17" y="6"/>
                  </a:cubicBezTo>
                  <a:cubicBezTo>
                    <a:pt x="17" y="6"/>
                    <a:pt x="15" y="3"/>
                    <a:pt x="14" y="2"/>
                  </a:cubicBezTo>
                  <a:cubicBezTo>
                    <a:pt x="13" y="2"/>
                    <a:pt x="12" y="3"/>
                    <a:pt x="11" y="2"/>
                  </a:cubicBezTo>
                  <a:cubicBezTo>
                    <a:pt x="10" y="2"/>
                    <a:pt x="10" y="0"/>
                    <a:pt x="9" y="0"/>
                  </a:cubicBezTo>
                  <a:cubicBezTo>
                    <a:pt x="9" y="0"/>
                    <a:pt x="4" y="0"/>
                    <a:pt x="3" y="0"/>
                  </a:cubicBezTo>
                  <a:cubicBezTo>
                    <a:pt x="3" y="1"/>
                    <a:pt x="2" y="2"/>
                    <a:pt x="1" y="2"/>
                  </a:cubicBezTo>
                  <a:cubicBezTo>
                    <a:pt x="1" y="2"/>
                    <a:pt x="1" y="3"/>
                    <a:pt x="0" y="3"/>
                  </a:cubicBezTo>
                  <a:cubicBezTo>
                    <a:pt x="1" y="8"/>
                    <a:pt x="1" y="8"/>
                    <a:pt x="1" y="8"/>
                  </a:cubicBezTo>
                  <a:cubicBezTo>
                    <a:pt x="0" y="11"/>
                    <a:pt x="0" y="11"/>
                    <a:pt x="0" y="11"/>
                  </a:cubicBezTo>
                  <a:cubicBezTo>
                    <a:pt x="0" y="12"/>
                    <a:pt x="0" y="12"/>
                    <a:pt x="0" y="12"/>
                  </a:cubicBezTo>
                  <a:cubicBezTo>
                    <a:pt x="0" y="12"/>
                    <a:pt x="1" y="14"/>
                    <a:pt x="1" y="15"/>
                  </a:cubicBezTo>
                  <a:cubicBezTo>
                    <a:pt x="2" y="16"/>
                    <a:pt x="1" y="18"/>
                    <a:pt x="1" y="1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27" name="Freeform 268">
              <a:extLst>
                <a:ext uri="{FF2B5EF4-FFF2-40B4-BE49-F238E27FC236}">
                  <a16:creationId xmlns:a16="http://schemas.microsoft.com/office/drawing/2014/main" id="{C2776B4D-1BB3-E59B-6DCE-69EAAE469185}"/>
                </a:ext>
              </a:extLst>
            </p:cNvPr>
            <p:cNvSpPr>
              <a:spLocks/>
            </p:cNvSpPr>
            <p:nvPr/>
          </p:nvSpPr>
          <p:spPr bwMode="auto">
            <a:xfrm>
              <a:off x="3793224" y="3468569"/>
              <a:ext cx="123953" cy="73654"/>
            </a:xfrm>
            <a:custGeom>
              <a:avLst/>
              <a:gdLst>
                <a:gd name="T0" fmla="*/ 1 w 35"/>
                <a:gd name="T1" fmla="*/ 18 h 21"/>
                <a:gd name="T2" fmla="*/ 3 w 35"/>
                <a:gd name="T3" fmla="*/ 21 h 21"/>
                <a:gd name="T4" fmla="*/ 5 w 35"/>
                <a:gd name="T5" fmla="*/ 21 h 21"/>
                <a:gd name="T6" fmla="*/ 7 w 35"/>
                <a:gd name="T7" fmla="*/ 18 h 21"/>
                <a:gd name="T8" fmla="*/ 6 w 35"/>
                <a:gd name="T9" fmla="*/ 14 h 21"/>
                <a:gd name="T10" fmla="*/ 11 w 35"/>
                <a:gd name="T11" fmla="*/ 16 h 21"/>
                <a:gd name="T12" fmla="*/ 12 w 35"/>
                <a:gd name="T13" fmla="*/ 18 h 21"/>
                <a:gd name="T14" fmla="*/ 18 w 35"/>
                <a:gd name="T15" fmla="*/ 14 h 21"/>
                <a:gd name="T16" fmla="*/ 29 w 35"/>
                <a:gd name="T17" fmla="*/ 10 h 21"/>
                <a:gd name="T18" fmla="*/ 25 w 35"/>
                <a:gd name="T19" fmla="*/ 8 h 21"/>
                <a:gd name="T20" fmla="*/ 17 w 35"/>
                <a:gd name="T21" fmla="*/ 6 h 21"/>
                <a:gd name="T22" fmla="*/ 14 w 35"/>
                <a:gd name="T23" fmla="*/ 2 h 21"/>
                <a:gd name="T24" fmla="*/ 11 w 35"/>
                <a:gd name="T25" fmla="*/ 2 h 21"/>
                <a:gd name="T26" fmla="*/ 9 w 35"/>
                <a:gd name="T27" fmla="*/ 0 h 21"/>
                <a:gd name="T28" fmla="*/ 3 w 35"/>
                <a:gd name="T29" fmla="*/ 0 h 21"/>
                <a:gd name="T30" fmla="*/ 1 w 35"/>
                <a:gd name="T31" fmla="*/ 2 h 21"/>
                <a:gd name="T32" fmla="*/ 0 w 35"/>
                <a:gd name="T33" fmla="*/ 3 h 21"/>
                <a:gd name="T34" fmla="*/ 1 w 35"/>
                <a:gd name="T35" fmla="*/ 8 h 21"/>
                <a:gd name="T36" fmla="*/ 0 w 35"/>
                <a:gd name="T37" fmla="*/ 11 h 21"/>
                <a:gd name="T38" fmla="*/ 0 w 35"/>
                <a:gd name="T39" fmla="*/ 12 h 21"/>
                <a:gd name="T40" fmla="*/ 1 w 35"/>
                <a:gd name="T41" fmla="*/ 15 h 21"/>
                <a:gd name="T42" fmla="*/ 1 w 35"/>
                <a:gd name="T43"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21">
                  <a:moveTo>
                    <a:pt x="1" y="18"/>
                  </a:moveTo>
                  <a:cubicBezTo>
                    <a:pt x="2" y="19"/>
                    <a:pt x="3" y="20"/>
                    <a:pt x="3" y="21"/>
                  </a:cubicBezTo>
                  <a:cubicBezTo>
                    <a:pt x="3" y="21"/>
                    <a:pt x="5" y="21"/>
                    <a:pt x="5" y="21"/>
                  </a:cubicBezTo>
                  <a:cubicBezTo>
                    <a:pt x="6" y="21"/>
                    <a:pt x="6" y="19"/>
                    <a:pt x="7" y="18"/>
                  </a:cubicBezTo>
                  <a:cubicBezTo>
                    <a:pt x="7" y="19"/>
                    <a:pt x="6" y="16"/>
                    <a:pt x="6" y="14"/>
                  </a:cubicBezTo>
                  <a:cubicBezTo>
                    <a:pt x="8" y="15"/>
                    <a:pt x="9" y="15"/>
                    <a:pt x="11" y="16"/>
                  </a:cubicBezTo>
                  <a:cubicBezTo>
                    <a:pt x="11" y="16"/>
                    <a:pt x="12" y="18"/>
                    <a:pt x="12" y="18"/>
                  </a:cubicBezTo>
                  <a:cubicBezTo>
                    <a:pt x="18" y="19"/>
                    <a:pt x="18" y="14"/>
                    <a:pt x="18" y="14"/>
                  </a:cubicBezTo>
                  <a:cubicBezTo>
                    <a:pt x="21" y="13"/>
                    <a:pt x="35" y="19"/>
                    <a:pt x="29" y="10"/>
                  </a:cubicBezTo>
                  <a:cubicBezTo>
                    <a:pt x="28" y="9"/>
                    <a:pt x="26" y="9"/>
                    <a:pt x="25" y="8"/>
                  </a:cubicBezTo>
                  <a:cubicBezTo>
                    <a:pt x="27" y="8"/>
                    <a:pt x="19" y="8"/>
                    <a:pt x="17" y="6"/>
                  </a:cubicBezTo>
                  <a:cubicBezTo>
                    <a:pt x="17" y="6"/>
                    <a:pt x="15" y="3"/>
                    <a:pt x="14" y="2"/>
                  </a:cubicBezTo>
                  <a:cubicBezTo>
                    <a:pt x="13" y="2"/>
                    <a:pt x="12" y="3"/>
                    <a:pt x="11" y="2"/>
                  </a:cubicBezTo>
                  <a:cubicBezTo>
                    <a:pt x="10" y="2"/>
                    <a:pt x="10" y="0"/>
                    <a:pt x="9" y="0"/>
                  </a:cubicBezTo>
                  <a:cubicBezTo>
                    <a:pt x="9" y="0"/>
                    <a:pt x="4" y="0"/>
                    <a:pt x="3" y="0"/>
                  </a:cubicBezTo>
                  <a:cubicBezTo>
                    <a:pt x="3" y="1"/>
                    <a:pt x="2" y="2"/>
                    <a:pt x="1" y="2"/>
                  </a:cubicBezTo>
                  <a:cubicBezTo>
                    <a:pt x="1" y="2"/>
                    <a:pt x="1" y="3"/>
                    <a:pt x="0" y="3"/>
                  </a:cubicBezTo>
                  <a:cubicBezTo>
                    <a:pt x="1" y="8"/>
                    <a:pt x="1" y="8"/>
                    <a:pt x="1" y="8"/>
                  </a:cubicBezTo>
                  <a:cubicBezTo>
                    <a:pt x="0" y="11"/>
                    <a:pt x="0" y="11"/>
                    <a:pt x="0" y="11"/>
                  </a:cubicBezTo>
                  <a:cubicBezTo>
                    <a:pt x="0" y="12"/>
                    <a:pt x="0" y="12"/>
                    <a:pt x="0" y="12"/>
                  </a:cubicBezTo>
                  <a:cubicBezTo>
                    <a:pt x="0" y="12"/>
                    <a:pt x="1" y="14"/>
                    <a:pt x="1" y="15"/>
                  </a:cubicBezTo>
                  <a:cubicBezTo>
                    <a:pt x="2" y="16"/>
                    <a:pt x="1" y="18"/>
                    <a:pt x="1" y="1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28" name="Freeform 269">
              <a:extLst>
                <a:ext uri="{FF2B5EF4-FFF2-40B4-BE49-F238E27FC236}">
                  <a16:creationId xmlns:a16="http://schemas.microsoft.com/office/drawing/2014/main" id="{B7197C16-80CC-46DE-2D23-F89E1596FE8A}"/>
                </a:ext>
              </a:extLst>
            </p:cNvPr>
            <p:cNvSpPr>
              <a:spLocks/>
            </p:cNvSpPr>
            <p:nvPr/>
          </p:nvSpPr>
          <p:spPr bwMode="auto">
            <a:xfrm>
              <a:off x="7231551" y="3750608"/>
              <a:ext cx="68263" cy="77247"/>
            </a:xfrm>
            <a:custGeom>
              <a:avLst/>
              <a:gdLst>
                <a:gd name="T0" fmla="*/ 16 w 19"/>
                <a:gd name="T1" fmla="*/ 16 h 22"/>
                <a:gd name="T2" fmla="*/ 15 w 19"/>
                <a:gd name="T3" fmla="*/ 14 h 22"/>
                <a:gd name="T4" fmla="*/ 13 w 19"/>
                <a:gd name="T5" fmla="*/ 14 h 22"/>
                <a:gd name="T6" fmla="*/ 13 w 19"/>
                <a:gd name="T7" fmla="*/ 12 h 22"/>
                <a:gd name="T8" fmla="*/ 17 w 19"/>
                <a:gd name="T9" fmla="*/ 2 h 22"/>
                <a:gd name="T10" fmla="*/ 14 w 19"/>
                <a:gd name="T11" fmla="*/ 0 h 22"/>
                <a:gd name="T12" fmla="*/ 11 w 19"/>
                <a:gd name="T13" fmla="*/ 3 h 22"/>
                <a:gd name="T14" fmla="*/ 9 w 19"/>
                <a:gd name="T15" fmla="*/ 1 h 22"/>
                <a:gd name="T16" fmla="*/ 7 w 19"/>
                <a:gd name="T17" fmla="*/ 3 h 22"/>
                <a:gd name="T18" fmla="*/ 3 w 19"/>
                <a:gd name="T19" fmla="*/ 12 h 22"/>
                <a:gd name="T20" fmla="*/ 1 w 19"/>
                <a:gd name="T21" fmla="*/ 19 h 22"/>
                <a:gd name="T22" fmla="*/ 6 w 19"/>
                <a:gd name="T23" fmla="*/ 22 h 22"/>
                <a:gd name="T24" fmla="*/ 9 w 19"/>
                <a:gd name="T25" fmla="*/ 21 h 22"/>
                <a:gd name="T26" fmla="*/ 12 w 19"/>
                <a:gd name="T27" fmla="*/ 21 h 22"/>
                <a:gd name="T28" fmla="*/ 16 w 19"/>
                <a:gd name="T29"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 h="22">
                  <a:moveTo>
                    <a:pt x="16" y="16"/>
                  </a:moveTo>
                  <a:cubicBezTo>
                    <a:pt x="16" y="15"/>
                    <a:pt x="16" y="14"/>
                    <a:pt x="15" y="14"/>
                  </a:cubicBezTo>
                  <a:cubicBezTo>
                    <a:pt x="15" y="14"/>
                    <a:pt x="13" y="14"/>
                    <a:pt x="13" y="14"/>
                  </a:cubicBezTo>
                  <a:cubicBezTo>
                    <a:pt x="13" y="12"/>
                    <a:pt x="13" y="12"/>
                    <a:pt x="13" y="12"/>
                  </a:cubicBezTo>
                  <a:cubicBezTo>
                    <a:pt x="16" y="10"/>
                    <a:pt x="19" y="7"/>
                    <a:pt x="17" y="2"/>
                  </a:cubicBezTo>
                  <a:cubicBezTo>
                    <a:pt x="14" y="0"/>
                    <a:pt x="14" y="0"/>
                    <a:pt x="14" y="0"/>
                  </a:cubicBezTo>
                  <a:cubicBezTo>
                    <a:pt x="11" y="3"/>
                    <a:pt x="11" y="3"/>
                    <a:pt x="11" y="3"/>
                  </a:cubicBezTo>
                  <a:cubicBezTo>
                    <a:pt x="9" y="1"/>
                    <a:pt x="9" y="1"/>
                    <a:pt x="9" y="1"/>
                  </a:cubicBezTo>
                  <a:cubicBezTo>
                    <a:pt x="7" y="3"/>
                    <a:pt x="7" y="3"/>
                    <a:pt x="7" y="3"/>
                  </a:cubicBezTo>
                  <a:cubicBezTo>
                    <a:pt x="7" y="3"/>
                    <a:pt x="2" y="9"/>
                    <a:pt x="3" y="12"/>
                  </a:cubicBezTo>
                  <a:cubicBezTo>
                    <a:pt x="3" y="14"/>
                    <a:pt x="0" y="17"/>
                    <a:pt x="1" y="19"/>
                  </a:cubicBezTo>
                  <a:cubicBezTo>
                    <a:pt x="1" y="21"/>
                    <a:pt x="4" y="22"/>
                    <a:pt x="6" y="22"/>
                  </a:cubicBezTo>
                  <a:cubicBezTo>
                    <a:pt x="8" y="22"/>
                    <a:pt x="9" y="21"/>
                    <a:pt x="9" y="21"/>
                  </a:cubicBezTo>
                  <a:cubicBezTo>
                    <a:pt x="12" y="21"/>
                    <a:pt x="12" y="21"/>
                    <a:pt x="12" y="21"/>
                  </a:cubicBezTo>
                  <a:lnTo>
                    <a:pt x="16" y="16"/>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29" name="Freeform 270">
              <a:extLst>
                <a:ext uri="{FF2B5EF4-FFF2-40B4-BE49-F238E27FC236}">
                  <a16:creationId xmlns:a16="http://schemas.microsoft.com/office/drawing/2014/main" id="{77519576-FA68-A111-994B-6DB77816244B}"/>
                </a:ext>
              </a:extLst>
            </p:cNvPr>
            <p:cNvSpPr>
              <a:spLocks noEditPoints="1"/>
            </p:cNvSpPr>
            <p:nvPr/>
          </p:nvSpPr>
          <p:spPr bwMode="auto">
            <a:xfrm>
              <a:off x="6221969" y="1846392"/>
              <a:ext cx="154492" cy="179644"/>
            </a:xfrm>
            <a:custGeom>
              <a:avLst/>
              <a:gdLst>
                <a:gd name="T0" fmla="*/ 16 w 44"/>
                <a:gd name="T1" fmla="*/ 36 h 51"/>
                <a:gd name="T2" fmla="*/ 20 w 44"/>
                <a:gd name="T3" fmla="*/ 41 h 51"/>
                <a:gd name="T4" fmla="*/ 23 w 44"/>
                <a:gd name="T5" fmla="*/ 42 h 51"/>
                <a:gd name="T6" fmla="*/ 16 w 44"/>
                <a:gd name="T7" fmla="*/ 36 h 51"/>
                <a:gd name="T8" fmla="*/ 26 w 44"/>
                <a:gd name="T9" fmla="*/ 22 h 51"/>
                <a:gd name="T10" fmla="*/ 22 w 44"/>
                <a:gd name="T11" fmla="*/ 21 h 51"/>
                <a:gd name="T12" fmla="*/ 16 w 44"/>
                <a:gd name="T13" fmla="*/ 11 h 51"/>
                <a:gd name="T14" fmla="*/ 22 w 44"/>
                <a:gd name="T15" fmla="*/ 8 h 51"/>
                <a:gd name="T16" fmla="*/ 22 w 44"/>
                <a:gd name="T17" fmla="*/ 4 h 51"/>
                <a:gd name="T18" fmla="*/ 23 w 44"/>
                <a:gd name="T19" fmla="*/ 0 h 51"/>
                <a:gd name="T20" fmla="*/ 14 w 44"/>
                <a:gd name="T21" fmla="*/ 8 h 51"/>
                <a:gd name="T22" fmla="*/ 1 w 44"/>
                <a:gd name="T23" fmla="*/ 15 h 51"/>
                <a:gd name="T24" fmla="*/ 4 w 44"/>
                <a:gd name="T25" fmla="*/ 16 h 51"/>
                <a:gd name="T26" fmla="*/ 13 w 44"/>
                <a:gd name="T27" fmla="*/ 12 h 51"/>
                <a:gd name="T28" fmla="*/ 7 w 44"/>
                <a:gd name="T29" fmla="*/ 20 h 51"/>
                <a:gd name="T30" fmla="*/ 4 w 44"/>
                <a:gd name="T31" fmla="*/ 29 h 51"/>
                <a:gd name="T32" fmla="*/ 2 w 44"/>
                <a:gd name="T33" fmla="*/ 31 h 51"/>
                <a:gd name="T34" fmla="*/ 6 w 44"/>
                <a:gd name="T35" fmla="*/ 42 h 51"/>
                <a:gd name="T36" fmla="*/ 38 w 44"/>
                <a:gd name="T37" fmla="*/ 43 h 51"/>
                <a:gd name="T38" fmla="*/ 30 w 44"/>
                <a:gd name="T39" fmla="*/ 45 h 51"/>
                <a:gd name="T40" fmla="*/ 27 w 44"/>
                <a:gd name="T41" fmla="*/ 44 h 51"/>
                <a:gd name="T42" fmla="*/ 28 w 44"/>
                <a:gd name="T43" fmla="*/ 49 h 51"/>
                <a:gd name="T44" fmla="*/ 30 w 44"/>
                <a:gd name="T45" fmla="*/ 50 h 51"/>
                <a:gd name="T46" fmla="*/ 34 w 44"/>
                <a:gd name="T47" fmla="*/ 50 h 51"/>
                <a:gd name="T48" fmla="*/ 38 w 44"/>
                <a:gd name="T49" fmla="*/ 43 h 51"/>
                <a:gd name="T50" fmla="*/ 24 w 44"/>
                <a:gd name="T51" fmla="*/ 48 h 51"/>
                <a:gd name="T52" fmla="*/ 35 w 44"/>
                <a:gd name="T53" fmla="*/ 25 h 51"/>
                <a:gd name="T54" fmla="*/ 34 w 44"/>
                <a:gd name="T55" fmla="*/ 30 h 51"/>
                <a:gd name="T56" fmla="*/ 31 w 44"/>
                <a:gd name="T57" fmla="*/ 32 h 51"/>
                <a:gd name="T58" fmla="*/ 27 w 44"/>
                <a:gd name="T59" fmla="*/ 32 h 51"/>
                <a:gd name="T60" fmla="*/ 24 w 44"/>
                <a:gd name="T61" fmla="*/ 34 h 51"/>
                <a:gd name="T62" fmla="*/ 27 w 44"/>
                <a:gd name="T63" fmla="*/ 40 h 51"/>
                <a:gd name="T64" fmla="*/ 32 w 44"/>
                <a:gd name="T65" fmla="*/ 39 h 51"/>
                <a:gd name="T66" fmla="*/ 34 w 44"/>
                <a:gd name="T67" fmla="*/ 42 h 51"/>
                <a:gd name="T68" fmla="*/ 39 w 44"/>
                <a:gd name="T69" fmla="*/ 38 h 51"/>
                <a:gd name="T70" fmla="*/ 36 w 44"/>
                <a:gd name="T71" fmla="*/ 34 h 51"/>
                <a:gd name="T72" fmla="*/ 38 w 44"/>
                <a:gd name="T73" fmla="*/ 25 h 51"/>
                <a:gd name="T74" fmla="*/ 8 w 44"/>
                <a:gd name="T75" fmla="*/ 13 h 51"/>
                <a:gd name="T76" fmla="*/ 8 w 44"/>
                <a:gd name="T77"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1">
                  <a:moveTo>
                    <a:pt x="15" y="42"/>
                  </a:moveTo>
                  <a:cubicBezTo>
                    <a:pt x="15" y="40"/>
                    <a:pt x="15" y="36"/>
                    <a:pt x="16" y="36"/>
                  </a:cubicBezTo>
                  <a:cubicBezTo>
                    <a:pt x="17" y="37"/>
                    <a:pt x="18" y="38"/>
                    <a:pt x="19" y="39"/>
                  </a:cubicBezTo>
                  <a:cubicBezTo>
                    <a:pt x="20" y="40"/>
                    <a:pt x="19" y="40"/>
                    <a:pt x="20" y="41"/>
                  </a:cubicBezTo>
                  <a:cubicBezTo>
                    <a:pt x="21" y="41"/>
                    <a:pt x="21" y="41"/>
                    <a:pt x="21" y="41"/>
                  </a:cubicBezTo>
                  <a:cubicBezTo>
                    <a:pt x="20" y="42"/>
                    <a:pt x="23" y="42"/>
                    <a:pt x="23" y="42"/>
                  </a:cubicBezTo>
                  <a:cubicBezTo>
                    <a:pt x="23" y="41"/>
                    <a:pt x="23" y="36"/>
                    <a:pt x="23" y="36"/>
                  </a:cubicBezTo>
                  <a:cubicBezTo>
                    <a:pt x="21" y="36"/>
                    <a:pt x="18" y="36"/>
                    <a:pt x="16" y="36"/>
                  </a:cubicBezTo>
                  <a:cubicBezTo>
                    <a:pt x="18" y="31"/>
                    <a:pt x="19" y="30"/>
                    <a:pt x="20" y="24"/>
                  </a:cubicBezTo>
                  <a:cubicBezTo>
                    <a:pt x="24" y="26"/>
                    <a:pt x="23" y="27"/>
                    <a:pt x="26" y="22"/>
                  </a:cubicBezTo>
                  <a:cubicBezTo>
                    <a:pt x="25" y="21"/>
                    <a:pt x="25" y="21"/>
                    <a:pt x="25" y="21"/>
                  </a:cubicBezTo>
                  <a:cubicBezTo>
                    <a:pt x="24" y="21"/>
                    <a:pt x="23" y="21"/>
                    <a:pt x="22" y="21"/>
                  </a:cubicBezTo>
                  <a:cubicBezTo>
                    <a:pt x="21" y="19"/>
                    <a:pt x="20" y="16"/>
                    <a:pt x="20" y="12"/>
                  </a:cubicBezTo>
                  <a:cubicBezTo>
                    <a:pt x="18" y="12"/>
                    <a:pt x="18" y="11"/>
                    <a:pt x="16" y="11"/>
                  </a:cubicBezTo>
                  <a:cubicBezTo>
                    <a:pt x="17" y="11"/>
                    <a:pt x="19" y="11"/>
                    <a:pt x="20" y="10"/>
                  </a:cubicBezTo>
                  <a:cubicBezTo>
                    <a:pt x="21" y="10"/>
                    <a:pt x="21" y="9"/>
                    <a:pt x="22" y="8"/>
                  </a:cubicBezTo>
                  <a:cubicBezTo>
                    <a:pt x="22" y="8"/>
                    <a:pt x="23" y="8"/>
                    <a:pt x="23" y="8"/>
                  </a:cubicBezTo>
                  <a:cubicBezTo>
                    <a:pt x="23" y="7"/>
                    <a:pt x="22" y="4"/>
                    <a:pt x="22" y="4"/>
                  </a:cubicBezTo>
                  <a:cubicBezTo>
                    <a:pt x="22" y="4"/>
                    <a:pt x="23" y="1"/>
                    <a:pt x="23" y="2"/>
                  </a:cubicBezTo>
                  <a:cubicBezTo>
                    <a:pt x="23" y="2"/>
                    <a:pt x="23" y="0"/>
                    <a:pt x="23" y="0"/>
                  </a:cubicBezTo>
                  <a:cubicBezTo>
                    <a:pt x="21" y="0"/>
                    <a:pt x="18" y="2"/>
                    <a:pt x="16" y="3"/>
                  </a:cubicBezTo>
                  <a:cubicBezTo>
                    <a:pt x="15" y="4"/>
                    <a:pt x="15" y="8"/>
                    <a:pt x="14" y="8"/>
                  </a:cubicBezTo>
                  <a:cubicBezTo>
                    <a:pt x="9" y="11"/>
                    <a:pt x="9" y="7"/>
                    <a:pt x="4" y="11"/>
                  </a:cubicBezTo>
                  <a:cubicBezTo>
                    <a:pt x="4" y="12"/>
                    <a:pt x="1" y="15"/>
                    <a:pt x="1" y="15"/>
                  </a:cubicBezTo>
                  <a:cubicBezTo>
                    <a:pt x="0" y="15"/>
                    <a:pt x="2" y="16"/>
                    <a:pt x="2" y="16"/>
                  </a:cubicBezTo>
                  <a:cubicBezTo>
                    <a:pt x="2" y="16"/>
                    <a:pt x="3" y="16"/>
                    <a:pt x="4" y="16"/>
                  </a:cubicBezTo>
                  <a:cubicBezTo>
                    <a:pt x="4" y="15"/>
                    <a:pt x="4" y="15"/>
                    <a:pt x="4" y="14"/>
                  </a:cubicBezTo>
                  <a:cubicBezTo>
                    <a:pt x="6" y="11"/>
                    <a:pt x="9" y="12"/>
                    <a:pt x="13" y="12"/>
                  </a:cubicBezTo>
                  <a:cubicBezTo>
                    <a:pt x="13" y="14"/>
                    <a:pt x="13" y="15"/>
                    <a:pt x="14" y="18"/>
                  </a:cubicBezTo>
                  <a:cubicBezTo>
                    <a:pt x="9" y="14"/>
                    <a:pt x="11" y="16"/>
                    <a:pt x="7" y="20"/>
                  </a:cubicBezTo>
                  <a:cubicBezTo>
                    <a:pt x="5" y="20"/>
                    <a:pt x="2" y="20"/>
                    <a:pt x="0" y="20"/>
                  </a:cubicBezTo>
                  <a:cubicBezTo>
                    <a:pt x="0" y="26"/>
                    <a:pt x="0" y="26"/>
                    <a:pt x="4" y="29"/>
                  </a:cubicBezTo>
                  <a:cubicBezTo>
                    <a:pt x="4" y="30"/>
                    <a:pt x="4" y="30"/>
                    <a:pt x="4" y="30"/>
                  </a:cubicBezTo>
                  <a:cubicBezTo>
                    <a:pt x="2" y="31"/>
                    <a:pt x="2" y="31"/>
                    <a:pt x="2" y="31"/>
                  </a:cubicBezTo>
                  <a:cubicBezTo>
                    <a:pt x="0" y="36"/>
                    <a:pt x="4" y="38"/>
                    <a:pt x="6" y="40"/>
                  </a:cubicBezTo>
                  <a:cubicBezTo>
                    <a:pt x="6" y="40"/>
                    <a:pt x="6" y="41"/>
                    <a:pt x="6" y="42"/>
                  </a:cubicBezTo>
                  <a:lnTo>
                    <a:pt x="15" y="42"/>
                  </a:lnTo>
                  <a:close/>
                  <a:moveTo>
                    <a:pt x="38" y="43"/>
                  </a:moveTo>
                  <a:cubicBezTo>
                    <a:pt x="36" y="43"/>
                    <a:pt x="34" y="45"/>
                    <a:pt x="32" y="46"/>
                  </a:cubicBezTo>
                  <a:cubicBezTo>
                    <a:pt x="32" y="46"/>
                    <a:pt x="29" y="45"/>
                    <a:pt x="30" y="45"/>
                  </a:cubicBezTo>
                  <a:cubicBezTo>
                    <a:pt x="30" y="45"/>
                    <a:pt x="30" y="45"/>
                    <a:pt x="29" y="44"/>
                  </a:cubicBezTo>
                  <a:cubicBezTo>
                    <a:pt x="27" y="43"/>
                    <a:pt x="28" y="44"/>
                    <a:pt x="27" y="44"/>
                  </a:cubicBezTo>
                  <a:cubicBezTo>
                    <a:pt x="27" y="46"/>
                    <a:pt x="28" y="46"/>
                    <a:pt x="27" y="46"/>
                  </a:cubicBezTo>
                  <a:cubicBezTo>
                    <a:pt x="27" y="48"/>
                    <a:pt x="28" y="48"/>
                    <a:pt x="28" y="49"/>
                  </a:cubicBezTo>
                  <a:cubicBezTo>
                    <a:pt x="28" y="49"/>
                    <a:pt x="29" y="50"/>
                    <a:pt x="29" y="50"/>
                  </a:cubicBezTo>
                  <a:cubicBezTo>
                    <a:pt x="30" y="50"/>
                    <a:pt x="30" y="50"/>
                    <a:pt x="30" y="50"/>
                  </a:cubicBezTo>
                  <a:cubicBezTo>
                    <a:pt x="32" y="49"/>
                    <a:pt x="32" y="49"/>
                    <a:pt x="32" y="49"/>
                  </a:cubicBezTo>
                  <a:cubicBezTo>
                    <a:pt x="33" y="49"/>
                    <a:pt x="34" y="50"/>
                    <a:pt x="34" y="50"/>
                  </a:cubicBezTo>
                  <a:cubicBezTo>
                    <a:pt x="34" y="50"/>
                    <a:pt x="35" y="47"/>
                    <a:pt x="36" y="47"/>
                  </a:cubicBezTo>
                  <a:cubicBezTo>
                    <a:pt x="36" y="47"/>
                    <a:pt x="44" y="43"/>
                    <a:pt x="38" y="43"/>
                  </a:cubicBezTo>
                  <a:close/>
                  <a:moveTo>
                    <a:pt x="24" y="42"/>
                  </a:moveTo>
                  <a:cubicBezTo>
                    <a:pt x="24" y="43"/>
                    <a:pt x="21" y="51"/>
                    <a:pt x="24" y="48"/>
                  </a:cubicBezTo>
                  <a:cubicBezTo>
                    <a:pt x="24" y="48"/>
                    <a:pt x="26" y="41"/>
                    <a:pt x="24" y="42"/>
                  </a:cubicBezTo>
                  <a:close/>
                  <a:moveTo>
                    <a:pt x="35" y="25"/>
                  </a:moveTo>
                  <a:cubicBezTo>
                    <a:pt x="34" y="26"/>
                    <a:pt x="33" y="26"/>
                    <a:pt x="32" y="26"/>
                  </a:cubicBezTo>
                  <a:cubicBezTo>
                    <a:pt x="34" y="30"/>
                    <a:pt x="34" y="30"/>
                    <a:pt x="34" y="30"/>
                  </a:cubicBezTo>
                  <a:cubicBezTo>
                    <a:pt x="33" y="31"/>
                    <a:pt x="33" y="32"/>
                    <a:pt x="32" y="32"/>
                  </a:cubicBezTo>
                  <a:cubicBezTo>
                    <a:pt x="31" y="32"/>
                    <a:pt x="31" y="32"/>
                    <a:pt x="31" y="32"/>
                  </a:cubicBezTo>
                  <a:cubicBezTo>
                    <a:pt x="31" y="32"/>
                    <a:pt x="30" y="30"/>
                    <a:pt x="30" y="30"/>
                  </a:cubicBezTo>
                  <a:cubicBezTo>
                    <a:pt x="26" y="29"/>
                    <a:pt x="28" y="31"/>
                    <a:pt x="27" y="32"/>
                  </a:cubicBezTo>
                  <a:cubicBezTo>
                    <a:pt x="27" y="33"/>
                    <a:pt x="25" y="32"/>
                    <a:pt x="24" y="32"/>
                  </a:cubicBezTo>
                  <a:cubicBezTo>
                    <a:pt x="25" y="33"/>
                    <a:pt x="24" y="34"/>
                    <a:pt x="24" y="34"/>
                  </a:cubicBezTo>
                  <a:cubicBezTo>
                    <a:pt x="25" y="35"/>
                    <a:pt x="26" y="35"/>
                    <a:pt x="27" y="36"/>
                  </a:cubicBezTo>
                  <a:cubicBezTo>
                    <a:pt x="27" y="37"/>
                    <a:pt x="27" y="39"/>
                    <a:pt x="27" y="40"/>
                  </a:cubicBezTo>
                  <a:cubicBezTo>
                    <a:pt x="28" y="40"/>
                    <a:pt x="29" y="40"/>
                    <a:pt x="30" y="40"/>
                  </a:cubicBezTo>
                  <a:cubicBezTo>
                    <a:pt x="29" y="39"/>
                    <a:pt x="31" y="39"/>
                    <a:pt x="32" y="39"/>
                  </a:cubicBezTo>
                  <a:cubicBezTo>
                    <a:pt x="32" y="42"/>
                    <a:pt x="32" y="42"/>
                    <a:pt x="32" y="42"/>
                  </a:cubicBezTo>
                  <a:cubicBezTo>
                    <a:pt x="33" y="42"/>
                    <a:pt x="34" y="42"/>
                    <a:pt x="34" y="42"/>
                  </a:cubicBezTo>
                  <a:cubicBezTo>
                    <a:pt x="35" y="42"/>
                    <a:pt x="34" y="40"/>
                    <a:pt x="35" y="40"/>
                  </a:cubicBezTo>
                  <a:cubicBezTo>
                    <a:pt x="35" y="39"/>
                    <a:pt x="39" y="38"/>
                    <a:pt x="39" y="38"/>
                  </a:cubicBezTo>
                  <a:cubicBezTo>
                    <a:pt x="39" y="37"/>
                    <a:pt x="39" y="36"/>
                    <a:pt x="39" y="36"/>
                  </a:cubicBezTo>
                  <a:cubicBezTo>
                    <a:pt x="38" y="35"/>
                    <a:pt x="37" y="35"/>
                    <a:pt x="36" y="34"/>
                  </a:cubicBezTo>
                  <a:cubicBezTo>
                    <a:pt x="37" y="34"/>
                    <a:pt x="38" y="33"/>
                    <a:pt x="38" y="32"/>
                  </a:cubicBezTo>
                  <a:cubicBezTo>
                    <a:pt x="39" y="30"/>
                    <a:pt x="38" y="27"/>
                    <a:pt x="38" y="25"/>
                  </a:cubicBezTo>
                  <a:cubicBezTo>
                    <a:pt x="37" y="25"/>
                    <a:pt x="35" y="25"/>
                    <a:pt x="35" y="25"/>
                  </a:cubicBezTo>
                  <a:close/>
                  <a:moveTo>
                    <a:pt x="8" y="13"/>
                  </a:moveTo>
                  <a:cubicBezTo>
                    <a:pt x="7" y="13"/>
                    <a:pt x="4" y="18"/>
                    <a:pt x="8" y="16"/>
                  </a:cubicBezTo>
                  <a:cubicBezTo>
                    <a:pt x="9" y="16"/>
                    <a:pt x="9" y="12"/>
                    <a:pt x="8" y="1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30" name="Freeform 271">
              <a:extLst>
                <a:ext uri="{FF2B5EF4-FFF2-40B4-BE49-F238E27FC236}">
                  <a16:creationId xmlns:a16="http://schemas.microsoft.com/office/drawing/2014/main" id="{DF7FFCBA-16AD-5114-3782-F161C622FAE8}"/>
                </a:ext>
              </a:extLst>
            </p:cNvPr>
            <p:cNvSpPr>
              <a:spLocks noEditPoints="1"/>
            </p:cNvSpPr>
            <p:nvPr/>
          </p:nvSpPr>
          <p:spPr bwMode="auto">
            <a:xfrm>
              <a:off x="6221969" y="1846392"/>
              <a:ext cx="154492" cy="179644"/>
            </a:xfrm>
            <a:custGeom>
              <a:avLst/>
              <a:gdLst>
                <a:gd name="T0" fmla="*/ 16 w 44"/>
                <a:gd name="T1" fmla="*/ 36 h 51"/>
                <a:gd name="T2" fmla="*/ 20 w 44"/>
                <a:gd name="T3" fmla="*/ 41 h 51"/>
                <a:gd name="T4" fmla="*/ 23 w 44"/>
                <a:gd name="T5" fmla="*/ 42 h 51"/>
                <a:gd name="T6" fmla="*/ 16 w 44"/>
                <a:gd name="T7" fmla="*/ 36 h 51"/>
                <a:gd name="T8" fmla="*/ 26 w 44"/>
                <a:gd name="T9" fmla="*/ 22 h 51"/>
                <a:gd name="T10" fmla="*/ 22 w 44"/>
                <a:gd name="T11" fmla="*/ 21 h 51"/>
                <a:gd name="T12" fmla="*/ 16 w 44"/>
                <a:gd name="T13" fmla="*/ 11 h 51"/>
                <a:gd name="T14" fmla="*/ 22 w 44"/>
                <a:gd name="T15" fmla="*/ 8 h 51"/>
                <a:gd name="T16" fmla="*/ 22 w 44"/>
                <a:gd name="T17" fmla="*/ 4 h 51"/>
                <a:gd name="T18" fmla="*/ 23 w 44"/>
                <a:gd name="T19" fmla="*/ 0 h 51"/>
                <a:gd name="T20" fmla="*/ 14 w 44"/>
                <a:gd name="T21" fmla="*/ 8 h 51"/>
                <a:gd name="T22" fmla="*/ 1 w 44"/>
                <a:gd name="T23" fmla="*/ 15 h 51"/>
                <a:gd name="T24" fmla="*/ 4 w 44"/>
                <a:gd name="T25" fmla="*/ 16 h 51"/>
                <a:gd name="T26" fmla="*/ 13 w 44"/>
                <a:gd name="T27" fmla="*/ 12 h 51"/>
                <a:gd name="T28" fmla="*/ 7 w 44"/>
                <a:gd name="T29" fmla="*/ 20 h 51"/>
                <a:gd name="T30" fmla="*/ 4 w 44"/>
                <a:gd name="T31" fmla="*/ 29 h 51"/>
                <a:gd name="T32" fmla="*/ 2 w 44"/>
                <a:gd name="T33" fmla="*/ 31 h 51"/>
                <a:gd name="T34" fmla="*/ 6 w 44"/>
                <a:gd name="T35" fmla="*/ 42 h 51"/>
                <a:gd name="T36" fmla="*/ 38 w 44"/>
                <a:gd name="T37" fmla="*/ 43 h 51"/>
                <a:gd name="T38" fmla="*/ 30 w 44"/>
                <a:gd name="T39" fmla="*/ 45 h 51"/>
                <a:gd name="T40" fmla="*/ 27 w 44"/>
                <a:gd name="T41" fmla="*/ 44 h 51"/>
                <a:gd name="T42" fmla="*/ 28 w 44"/>
                <a:gd name="T43" fmla="*/ 49 h 51"/>
                <a:gd name="T44" fmla="*/ 30 w 44"/>
                <a:gd name="T45" fmla="*/ 50 h 51"/>
                <a:gd name="T46" fmla="*/ 34 w 44"/>
                <a:gd name="T47" fmla="*/ 50 h 51"/>
                <a:gd name="T48" fmla="*/ 38 w 44"/>
                <a:gd name="T49" fmla="*/ 43 h 51"/>
                <a:gd name="T50" fmla="*/ 24 w 44"/>
                <a:gd name="T51" fmla="*/ 48 h 51"/>
                <a:gd name="T52" fmla="*/ 35 w 44"/>
                <a:gd name="T53" fmla="*/ 25 h 51"/>
                <a:gd name="T54" fmla="*/ 34 w 44"/>
                <a:gd name="T55" fmla="*/ 30 h 51"/>
                <a:gd name="T56" fmla="*/ 31 w 44"/>
                <a:gd name="T57" fmla="*/ 32 h 51"/>
                <a:gd name="T58" fmla="*/ 27 w 44"/>
                <a:gd name="T59" fmla="*/ 32 h 51"/>
                <a:gd name="T60" fmla="*/ 24 w 44"/>
                <a:gd name="T61" fmla="*/ 34 h 51"/>
                <a:gd name="T62" fmla="*/ 27 w 44"/>
                <a:gd name="T63" fmla="*/ 40 h 51"/>
                <a:gd name="T64" fmla="*/ 32 w 44"/>
                <a:gd name="T65" fmla="*/ 39 h 51"/>
                <a:gd name="T66" fmla="*/ 34 w 44"/>
                <a:gd name="T67" fmla="*/ 42 h 51"/>
                <a:gd name="T68" fmla="*/ 39 w 44"/>
                <a:gd name="T69" fmla="*/ 38 h 51"/>
                <a:gd name="T70" fmla="*/ 36 w 44"/>
                <a:gd name="T71" fmla="*/ 34 h 51"/>
                <a:gd name="T72" fmla="*/ 38 w 44"/>
                <a:gd name="T73" fmla="*/ 25 h 51"/>
                <a:gd name="T74" fmla="*/ 8 w 44"/>
                <a:gd name="T75" fmla="*/ 13 h 51"/>
                <a:gd name="T76" fmla="*/ 8 w 44"/>
                <a:gd name="T77"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1">
                  <a:moveTo>
                    <a:pt x="15" y="42"/>
                  </a:moveTo>
                  <a:cubicBezTo>
                    <a:pt x="15" y="40"/>
                    <a:pt x="15" y="36"/>
                    <a:pt x="16" y="36"/>
                  </a:cubicBezTo>
                  <a:cubicBezTo>
                    <a:pt x="17" y="37"/>
                    <a:pt x="18" y="38"/>
                    <a:pt x="19" y="39"/>
                  </a:cubicBezTo>
                  <a:cubicBezTo>
                    <a:pt x="20" y="40"/>
                    <a:pt x="19" y="40"/>
                    <a:pt x="20" y="41"/>
                  </a:cubicBezTo>
                  <a:cubicBezTo>
                    <a:pt x="21" y="41"/>
                    <a:pt x="21" y="41"/>
                    <a:pt x="21" y="41"/>
                  </a:cubicBezTo>
                  <a:cubicBezTo>
                    <a:pt x="20" y="42"/>
                    <a:pt x="23" y="42"/>
                    <a:pt x="23" y="42"/>
                  </a:cubicBezTo>
                  <a:cubicBezTo>
                    <a:pt x="23" y="41"/>
                    <a:pt x="23" y="36"/>
                    <a:pt x="23" y="36"/>
                  </a:cubicBezTo>
                  <a:cubicBezTo>
                    <a:pt x="21" y="36"/>
                    <a:pt x="18" y="36"/>
                    <a:pt x="16" y="36"/>
                  </a:cubicBezTo>
                  <a:cubicBezTo>
                    <a:pt x="18" y="31"/>
                    <a:pt x="19" y="30"/>
                    <a:pt x="20" y="24"/>
                  </a:cubicBezTo>
                  <a:cubicBezTo>
                    <a:pt x="24" y="26"/>
                    <a:pt x="23" y="27"/>
                    <a:pt x="26" y="22"/>
                  </a:cubicBezTo>
                  <a:cubicBezTo>
                    <a:pt x="25" y="21"/>
                    <a:pt x="25" y="21"/>
                    <a:pt x="25" y="21"/>
                  </a:cubicBezTo>
                  <a:cubicBezTo>
                    <a:pt x="24" y="21"/>
                    <a:pt x="23" y="21"/>
                    <a:pt x="22" y="21"/>
                  </a:cubicBezTo>
                  <a:cubicBezTo>
                    <a:pt x="21" y="19"/>
                    <a:pt x="20" y="16"/>
                    <a:pt x="20" y="12"/>
                  </a:cubicBezTo>
                  <a:cubicBezTo>
                    <a:pt x="18" y="12"/>
                    <a:pt x="18" y="11"/>
                    <a:pt x="16" y="11"/>
                  </a:cubicBezTo>
                  <a:cubicBezTo>
                    <a:pt x="17" y="11"/>
                    <a:pt x="19" y="11"/>
                    <a:pt x="20" y="10"/>
                  </a:cubicBezTo>
                  <a:cubicBezTo>
                    <a:pt x="21" y="10"/>
                    <a:pt x="21" y="9"/>
                    <a:pt x="22" y="8"/>
                  </a:cubicBezTo>
                  <a:cubicBezTo>
                    <a:pt x="22" y="8"/>
                    <a:pt x="23" y="8"/>
                    <a:pt x="23" y="8"/>
                  </a:cubicBezTo>
                  <a:cubicBezTo>
                    <a:pt x="23" y="7"/>
                    <a:pt x="22" y="4"/>
                    <a:pt x="22" y="4"/>
                  </a:cubicBezTo>
                  <a:cubicBezTo>
                    <a:pt x="22" y="4"/>
                    <a:pt x="23" y="1"/>
                    <a:pt x="23" y="2"/>
                  </a:cubicBezTo>
                  <a:cubicBezTo>
                    <a:pt x="23" y="2"/>
                    <a:pt x="23" y="0"/>
                    <a:pt x="23" y="0"/>
                  </a:cubicBezTo>
                  <a:cubicBezTo>
                    <a:pt x="21" y="0"/>
                    <a:pt x="18" y="2"/>
                    <a:pt x="16" y="3"/>
                  </a:cubicBezTo>
                  <a:cubicBezTo>
                    <a:pt x="15" y="4"/>
                    <a:pt x="15" y="8"/>
                    <a:pt x="14" y="8"/>
                  </a:cubicBezTo>
                  <a:cubicBezTo>
                    <a:pt x="9" y="11"/>
                    <a:pt x="9" y="7"/>
                    <a:pt x="4" y="11"/>
                  </a:cubicBezTo>
                  <a:cubicBezTo>
                    <a:pt x="4" y="12"/>
                    <a:pt x="1" y="15"/>
                    <a:pt x="1" y="15"/>
                  </a:cubicBezTo>
                  <a:cubicBezTo>
                    <a:pt x="0" y="15"/>
                    <a:pt x="2" y="16"/>
                    <a:pt x="2" y="16"/>
                  </a:cubicBezTo>
                  <a:cubicBezTo>
                    <a:pt x="2" y="16"/>
                    <a:pt x="3" y="16"/>
                    <a:pt x="4" y="16"/>
                  </a:cubicBezTo>
                  <a:cubicBezTo>
                    <a:pt x="4" y="15"/>
                    <a:pt x="4" y="15"/>
                    <a:pt x="4" y="14"/>
                  </a:cubicBezTo>
                  <a:cubicBezTo>
                    <a:pt x="6" y="11"/>
                    <a:pt x="9" y="12"/>
                    <a:pt x="13" y="12"/>
                  </a:cubicBezTo>
                  <a:cubicBezTo>
                    <a:pt x="13" y="14"/>
                    <a:pt x="13" y="15"/>
                    <a:pt x="14" y="18"/>
                  </a:cubicBezTo>
                  <a:cubicBezTo>
                    <a:pt x="9" y="14"/>
                    <a:pt x="11" y="16"/>
                    <a:pt x="7" y="20"/>
                  </a:cubicBezTo>
                  <a:cubicBezTo>
                    <a:pt x="5" y="20"/>
                    <a:pt x="2" y="20"/>
                    <a:pt x="0" y="20"/>
                  </a:cubicBezTo>
                  <a:cubicBezTo>
                    <a:pt x="0" y="26"/>
                    <a:pt x="0" y="26"/>
                    <a:pt x="4" y="29"/>
                  </a:cubicBezTo>
                  <a:cubicBezTo>
                    <a:pt x="4" y="30"/>
                    <a:pt x="4" y="30"/>
                    <a:pt x="4" y="30"/>
                  </a:cubicBezTo>
                  <a:cubicBezTo>
                    <a:pt x="2" y="31"/>
                    <a:pt x="2" y="31"/>
                    <a:pt x="2" y="31"/>
                  </a:cubicBezTo>
                  <a:cubicBezTo>
                    <a:pt x="0" y="36"/>
                    <a:pt x="4" y="38"/>
                    <a:pt x="6" y="40"/>
                  </a:cubicBezTo>
                  <a:cubicBezTo>
                    <a:pt x="6" y="40"/>
                    <a:pt x="6" y="41"/>
                    <a:pt x="6" y="42"/>
                  </a:cubicBezTo>
                  <a:lnTo>
                    <a:pt x="15" y="42"/>
                  </a:lnTo>
                  <a:close/>
                  <a:moveTo>
                    <a:pt x="38" y="43"/>
                  </a:moveTo>
                  <a:cubicBezTo>
                    <a:pt x="36" y="43"/>
                    <a:pt x="34" y="45"/>
                    <a:pt x="32" y="46"/>
                  </a:cubicBezTo>
                  <a:cubicBezTo>
                    <a:pt x="32" y="46"/>
                    <a:pt x="29" y="45"/>
                    <a:pt x="30" y="45"/>
                  </a:cubicBezTo>
                  <a:cubicBezTo>
                    <a:pt x="30" y="45"/>
                    <a:pt x="30" y="45"/>
                    <a:pt x="29" y="44"/>
                  </a:cubicBezTo>
                  <a:cubicBezTo>
                    <a:pt x="27" y="43"/>
                    <a:pt x="28" y="44"/>
                    <a:pt x="27" y="44"/>
                  </a:cubicBezTo>
                  <a:cubicBezTo>
                    <a:pt x="27" y="46"/>
                    <a:pt x="28" y="46"/>
                    <a:pt x="27" y="46"/>
                  </a:cubicBezTo>
                  <a:cubicBezTo>
                    <a:pt x="27" y="48"/>
                    <a:pt x="28" y="48"/>
                    <a:pt x="28" y="49"/>
                  </a:cubicBezTo>
                  <a:cubicBezTo>
                    <a:pt x="28" y="49"/>
                    <a:pt x="29" y="50"/>
                    <a:pt x="29" y="50"/>
                  </a:cubicBezTo>
                  <a:cubicBezTo>
                    <a:pt x="30" y="50"/>
                    <a:pt x="30" y="50"/>
                    <a:pt x="30" y="50"/>
                  </a:cubicBezTo>
                  <a:cubicBezTo>
                    <a:pt x="32" y="49"/>
                    <a:pt x="32" y="49"/>
                    <a:pt x="32" y="49"/>
                  </a:cubicBezTo>
                  <a:cubicBezTo>
                    <a:pt x="33" y="49"/>
                    <a:pt x="34" y="50"/>
                    <a:pt x="34" y="50"/>
                  </a:cubicBezTo>
                  <a:cubicBezTo>
                    <a:pt x="34" y="50"/>
                    <a:pt x="35" y="47"/>
                    <a:pt x="36" y="47"/>
                  </a:cubicBezTo>
                  <a:cubicBezTo>
                    <a:pt x="36" y="47"/>
                    <a:pt x="44" y="43"/>
                    <a:pt x="38" y="43"/>
                  </a:cubicBezTo>
                  <a:close/>
                  <a:moveTo>
                    <a:pt x="24" y="42"/>
                  </a:moveTo>
                  <a:cubicBezTo>
                    <a:pt x="24" y="43"/>
                    <a:pt x="21" y="51"/>
                    <a:pt x="24" y="48"/>
                  </a:cubicBezTo>
                  <a:cubicBezTo>
                    <a:pt x="24" y="48"/>
                    <a:pt x="26" y="41"/>
                    <a:pt x="24" y="42"/>
                  </a:cubicBezTo>
                  <a:close/>
                  <a:moveTo>
                    <a:pt x="35" y="25"/>
                  </a:moveTo>
                  <a:cubicBezTo>
                    <a:pt x="34" y="26"/>
                    <a:pt x="33" y="26"/>
                    <a:pt x="32" y="26"/>
                  </a:cubicBezTo>
                  <a:cubicBezTo>
                    <a:pt x="34" y="30"/>
                    <a:pt x="34" y="30"/>
                    <a:pt x="34" y="30"/>
                  </a:cubicBezTo>
                  <a:cubicBezTo>
                    <a:pt x="33" y="31"/>
                    <a:pt x="33" y="32"/>
                    <a:pt x="32" y="32"/>
                  </a:cubicBezTo>
                  <a:cubicBezTo>
                    <a:pt x="31" y="32"/>
                    <a:pt x="31" y="32"/>
                    <a:pt x="31" y="32"/>
                  </a:cubicBezTo>
                  <a:cubicBezTo>
                    <a:pt x="31" y="32"/>
                    <a:pt x="30" y="30"/>
                    <a:pt x="30" y="30"/>
                  </a:cubicBezTo>
                  <a:cubicBezTo>
                    <a:pt x="26" y="29"/>
                    <a:pt x="28" y="31"/>
                    <a:pt x="27" y="32"/>
                  </a:cubicBezTo>
                  <a:cubicBezTo>
                    <a:pt x="27" y="33"/>
                    <a:pt x="25" y="32"/>
                    <a:pt x="24" y="32"/>
                  </a:cubicBezTo>
                  <a:cubicBezTo>
                    <a:pt x="25" y="33"/>
                    <a:pt x="24" y="34"/>
                    <a:pt x="24" y="34"/>
                  </a:cubicBezTo>
                  <a:cubicBezTo>
                    <a:pt x="25" y="35"/>
                    <a:pt x="26" y="35"/>
                    <a:pt x="27" y="36"/>
                  </a:cubicBezTo>
                  <a:cubicBezTo>
                    <a:pt x="27" y="37"/>
                    <a:pt x="27" y="39"/>
                    <a:pt x="27" y="40"/>
                  </a:cubicBezTo>
                  <a:cubicBezTo>
                    <a:pt x="28" y="40"/>
                    <a:pt x="29" y="40"/>
                    <a:pt x="30" y="40"/>
                  </a:cubicBezTo>
                  <a:cubicBezTo>
                    <a:pt x="29" y="39"/>
                    <a:pt x="31" y="39"/>
                    <a:pt x="32" y="39"/>
                  </a:cubicBezTo>
                  <a:cubicBezTo>
                    <a:pt x="32" y="42"/>
                    <a:pt x="32" y="42"/>
                    <a:pt x="32" y="42"/>
                  </a:cubicBezTo>
                  <a:cubicBezTo>
                    <a:pt x="33" y="42"/>
                    <a:pt x="34" y="42"/>
                    <a:pt x="34" y="42"/>
                  </a:cubicBezTo>
                  <a:cubicBezTo>
                    <a:pt x="35" y="42"/>
                    <a:pt x="34" y="40"/>
                    <a:pt x="35" y="40"/>
                  </a:cubicBezTo>
                  <a:cubicBezTo>
                    <a:pt x="35" y="39"/>
                    <a:pt x="39" y="38"/>
                    <a:pt x="39" y="38"/>
                  </a:cubicBezTo>
                  <a:cubicBezTo>
                    <a:pt x="39" y="37"/>
                    <a:pt x="39" y="36"/>
                    <a:pt x="39" y="36"/>
                  </a:cubicBezTo>
                  <a:cubicBezTo>
                    <a:pt x="38" y="35"/>
                    <a:pt x="37" y="35"/>
                    <a:pt x="36" y="34"/>
                  </a:cubicBezTo>
                  <a:cubicBezTo>
                    <a:pt x="37" y="34"/>
                    <a:pt x="38" y="33"/>
                    <a:pt x="38" y="32"/>
                  </a:cubicBezTo>
                  <a:cubicBezTo>
                    <a:pt x="39" y="30"/>
                    <a:pt x="38" y="27"/>
                    <a:pt x="38" y="25"/>
                  </a:cubicBezTo>
                  <a:cubicBezTo>
                    <a:pt x="37" y="25"/>
                    <a:pt x="35" y="25"/>
                    <a:pt x="35" y="25"/>
                  </a:cubicBezTo>
                  <a:close/>
                  <a:moveTo>
                    <a:pt x="8" y="13"/>
                  </a:moveTo>
                  <a:cubicBezTo>
                    <a:pt x="7" y="13"/>
                    <a:pt x="4" y="18"/>
                    <a:pt x="8" y="16"/>
                  </a:cubicBezTo>
                  <a:cubicBezTo>
                    <a:pt x="9" y="16"/>
                    <a:pt x="9" y="12"/>
                    <a:pt x="8" y="1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31" name="Freeform 272">
              <a:extLst>
                <a:ext uri="{FF2B5EF4-FFF2-40B4-BE49-F238E27FC236}">
                  <a16:creationId xmlns:a16="http://schemas.microsoft.com/office/drawing/2014/main" id="{3513BA42-D998-37D8-7EC7-896BF7DAB9BE}"/>
                </a:ext>
              </a:extLst>
            </p:cNvPr>
            <p:cNvSpPr>
              <a:spLocks/>
            </p:cNvSpPr>
            <p:nvPr/>
          </p:nvSpPr>
          <p:spPr bwMode="auto">
            <a:xfrm>
              <a:off x="6340532" y="2171546"/>
              <a:ext cx="183234" cy="122158"/>
            </a:xfrm>
            <a:custGeom>
              <a:avLst/>
              <a:gdLst>
                <a:gd name="T0" fmla="*/ 41 w 52"/>
                <a:gd name="T1" fmla="*/ 30 h 35"/>
                <a:gd name="T2" fmla="*/ 45 w 52"/>
                <a:gd name="T3" fmla="*/ 26 h 35"/>
                <a:gd name="T4" fmla="*/ 48 w 52"/>
                <a:gd name="T5" fmla="*/ 22 h 35"/>
                <a:gd name="T6" fmla="*/ 52 w 52"/>
                <a:gd name="T7" fmla="*/ 20 h 35"/>
                <a:gd name="T8" fmla="*/ 49 w 52"/>
                <a:gd name="T9" fmla="*/ 15 h 35"/>
                <a:gd name="T10" fmla="*/ 44 w 52"/>
                <a:gd name="T11" fmla="*/ 11 h 35"/>
                <a:gd name="T12" fmla="*/ 39 w 52"/>
                <a:gd name="T13" fmla="*/ 10 h 35"/>
                <a:gd name="T14" fmla="*/ 33 w 52"/>
                <a:gd name="T15" fmla="*/ 6 h 35"/>
                <a:gd name="T16" fmla="*/ 29 w 52"/>
                <a:gd name="T17" fmla="*/ 4 h 35"/>
                <a:gd name="T18" fmla="*/ 24 w 52"/>
                <a:gd name="T19" fmla="*/ 3 h 35"/>
                <a:gd name="T20" fmla="*/ 21 w 52"/>
                <a:gd name="T21" fmla="*/ 2 h 35"/>
                <a:gd name="T22" fmla="*/ 18 w 52"/>
                <a:gd name="T23" fmla="*/ 0 h 35"/>
                <a:gd name="T24" fmla="*/ 12 w 52"/>
                <a:gd name="T25" fmla="*/ 4 h 35"/>
                <a:gd name="T26" fmla="*/ 7 w 52"/>
                <a:gd name="T27" fmla="*/ 7 h 35"/>
                <a:gd name="T28" fmla="*/ 2 w 52"/>
                <a:gd name="T29" fmla="*/ 10 h 35"/>
                <a:gd name="T30" fmla="*/ 1 w 52"/>
                <a:gd name="T31" fmla="*/ 13 h 35"/>
                <a:gd name="T32" fmla="*/ 4 w 52"/>
                <a:gd name="T33" fmla="*/ 18 h 35"/>
                <a:gd name="T34" fmla="*/ 6 w 52"/>
                <a:gd name="T35" fmla="*/ 24 h 35"/>
                <a:gd name="T36" fmla="*/ 11 w 52"/>
                <a:gd name="T37" fmla="*/ 27 h 35"/>
                <a:gd name="T38" fmla="*/ 14 w 52"/>
                <a:gd name="T39" fmla="*/ 30 h 35"/>
                <a:gd name="T40" fmla="*/ 21 w 52"/>
                <a:gd name="T41" fmla="*/ 32 h 35"/>
                <a:gd name="T42" fmla="*/ 24 w 52"/>
                <a:gd name="T43" fmla="*/ 27 h 35"/>
                <a:gd name="T44" fmla="*/ 29 w 52"/>
                <a:gd name="T45" fmla="*/ 28 h 35"/>
                <a:gd name="T46" fmla="*/ 35 w 52"/>
                <a:gd name="T47" fmla="*/ 30 h 35"/>
                <a:gd name="T48" fmla="*/ 41 w 52"/>
                <a:gd name="T49"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35">
                  <a:moveTo>
                    <a:pt x="41" y="30"/>
                  </a:moveTo>
                  <a:cubicBezTo>
                    <a:pt x="41" y="30"/>
                    <a:pt x="43" y="26"/>
                    <a:pt x="45" y="26"/>
                  </a:cubicBezTo>
                  <a:cubicBezTo>
                    <a:pt x="47" y="26"/>
                    <a:pt x="46" y="22"/>
                    <a:pt x="48" y="22"/>
                  </a:cubicBezTo>
                  <a:cubicBezTo>
                    <a:pt x="49" y="22"/>
                    <a:pt x="52" y="20"/>
                    <a:pt x="52" y="20"/>
                  </a:cubicBezTo>
                  <a:cubicBezTo>
                    <a:pt x="52" y="20"/>
                    <a:pt x="50" y="14"/>
                    <a:pt x="49" y="15"/>
                  </a:cubicBezTo>
                  <a:cubicBezTo>
                    <a:pt x="48" y="16"/>
                    <a:pt x="46" y="10"/>
                    <a:pt x="44" y="11"/>
                  </a:cubicBezTo>
                  <a:cubicBezTo>
                    <a:pt x="42" y="12"/>
                    <a:pt x="41" y="12"/>
                    <a:pt x="39" y="10"/>
                  </a:cubicBezTo>
                  <a:cubicBezTo>
                    <a:pt x="36" y="9"/>
                    <a:pt x="35" y="5"/>
                    <a:pt x="33" y="6"/>
                  </a:cubicBezTo>
                  <a:cubicBezTo>
                    <a:pt x="31" y="7"/>
                    <a:pt x="31" y="4"/>
                    <a:pt x="29" y="4"/>
                  </a:cubicBezTo>
                  <a:cubicBezTo>
                    <a:pt x="27" y="4"/>
                    <a:pt x="24" y="3"/>
                    <a:pt x="24" y="3"/>
                  </a:cubicBezTo>
                  <a:cubicBezTo>
                    <a:pt x="21" y="2"/>
                    <a:pt x="21" y="2"/>
                    <a:pt x="21" y="2"/>
                  </a:cubicBezTo>
                  <a:cubicBezTo>
                    <a:pt x="18" y="0"/>
                    <a:pt x="18" y="0"/>
                    <a:pt x="18" y="0"/>
                  </a:cubicBezTo>
                  <a:cubicBezTo>
                    <a:pt x="18" y="0"/>
                    <a:pt x="15" y="2"/>
                    <a:pt x="12" y="4"/>
                  </a:cubicBezTo>
                  <a:cubicBezTo>
                    <a:pt x="9" y="5"/>
                    <a:pt x="8" y="5"/>
                    <a:pt x="7" y="7"/>
                  </a:cubicBezTo>
                  <a:cubicBezTo>
                    <a:pt x="6" y="10"/>
                    <a:pt x="4" y="9"/>
                    <a:pt x="2" y="10"/>
                  </a:cubicBezTo>
                  <a:cubicBezTo>
                    <a:pt x="0" y="10"/>
                    <a:pt x="0" y="10"/>
                    <a:pt x="1" y="13"/>
                  </a:cubicBezTo>
                  <a:cubicBezTo>
                    <a:pt x="3" y="16"/>
                    <a:pt x="3" y="16"/>
                    <a:pt x="4" y="18"/>
                  </a:cubicBezTo>
                  <a:cubicBezTo>
                    <a:pt x="6" y="20"/>
                    <a:pt x="6" y="21"/>
                    <a:pt x="6" y="24"/>
                  </a:cubicBezTo>
                  <a:cubicBezTo>
                    <a:pt x="6" y="27"/>
                    <a:pt x="9" y="25"/>
                    <a:pt x="11" y="27"/>
                  </a:cubicBezTo>
                  <a:cubicBezTo>
                    <a:pt x="14" y="30"/>
                    <a:pt x="14" y="30"/>
                    <a:pt x="14" y="30"/>
                  </a:cubicBezTo>
                  <a:cubicBezTo>
                    <a:pt x="14" y="30"/>
                    <a:pt x="19" y="35"/>
                    <a:pt x="21" y="32"/>
                  </a:cubicBezTo>
                  <a:cubicBezTo>
                    <a:pt x="22" y="28"/>
                    <a:pt x="24" y="27"/>
                    <a:pt x="24" y="27"/>
                  </a:cubicBezTo>
                  <a:cubicBezTo>
                    <a:pt x="24" y="27"/>
                    <a:pt x="27" y="26"/>
                    <a:pt x="29" y="28"/>
                  </a:cubicBezTo>
                  <a:cubicBezTo>
                    <a:pt x="31" y="30"/>
                    <a:pt x="33" y="31"/>
                    <a:pt x="35" y="30"/>
                  </a:cubicBezTo>
                  <a:cubicBezTo>
                    <a:pt x="38" y="30"/>
                    <a:pt x="41" y="30"/>
                    <a:pt x="41" y="3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32" name="Freeform 273">
              <a:extLst>
                <a:ext uri="{FF2B5EF4-FFF2-40B4-BE49-F238E27FC236}">
                  <a16:creationId xmlns:a16="http://schemas.microsoft.com/office/drawing/2014/main" id="{C08263C7-1257-6F6E-D2AD-C2E08EE9EC6B}"/>
                </a:ext>
              </a:extLst>
            </p:cNvPr>
            <p:cNvSpPr>
              <a:spLocks/>
            </p:cNvSpPr>
            <p:nvPr/>
          </p:nvSpPr>
          <p:spPr bwMode="auto">
            <a:xfrm>
              <a:off x="6340532" y="2171546"/>
              <a:ext cx="183234" cy="122158"/>
            </a:xfrm>
            <a:custGeom>
              <a:avLst/>
              <a:gdLst>
                <a:gd name="T0" fmla="*/ 41 w 52"/>
                <a:gd name="T1" fmla="*/ 30 h 35"/>
                <a:gd name="T2" fmla="*/ 45 w 52"/>
                <a:gd name="T3" fmla="*/ 26 h 35"/>
                <a:gd name="T4" fmla="*/ 48 w 52"/>
                <a:gd name="T5" fmla="*/ 22 h 35"/>
                <a:gd name="T6" fmla="*/ 52 w 52"/>
                <a:gd name="T7" fmla="*/ 20 h 35"/>
                <a:gd name="T8" fmla="*/ 49 w 52"/>
                <a:gd name="T9" fmla="*/ 15 h 35"/>
                <a:gd name="T10" fmla="*/ 44 w 52"/>
                <a:gd name="T11" fmla="*/ 11 h 35"/>
                <a:gd name="T12" fmla="*/ 39 w 52"/>
                <a:gd name="T13" fmla="*/ 10 h 35"/>
                <a:gd name="T14" fmla="*/ 33 w 52"/>
                <a:gd name="T15" fmla="*/ 6 h 35"/>
                <a:gd name="T16" fmla="*/ 29 w 52"/>
                <a:gd name="T17" fmla="*/ 4 h 35"/>
                <a:gd name="T18" fmla="*/ 24 w 52"/>
                <a:gd name="T19" fmla="*/ 3 h 35"/>
                <a:gd name="T20" fmla="*/ 21 w 52"/>
                <a:gd name="T21" fmla="*/ 2 h 35"/>
                <a:gd name="T22" fmla="*/ 18 w 52"/>
                <a:gd name="T23" fmla="*/ 0 h 35"/>
                <a:gd name="T24" fmla="*/ 12 w 52"/>
                <a:gd name="T25" fmla="*/ 4 h 35"/>
                <a:gd name="T26" fmla="*/ 7 w 52"/>
                <a:gd name="T27" fmla="*/ 7 h 35"/>
                <a:gd name="T28" fmla="*/ 2 w 52"/>
                <a:gd name="T29" fmla="*/ 10 h 35"/>
                <a:gd name="T30" fmla="*/ 1 w 52"/>
                <a:gd name="T31" fmla="*/ 13 h 35"/>
                <a:gd name="T32" fmla="*/ 4 w 52"/>
                <a:gd name="T33" fmla="*/ 18 h 35"/>
                <a:gd name="T34" fmla="*/ 6 w 52"/>
                <a:gd name="T35" fmla="*/ 24 h 35"/>
                <a:gd name="T36" fmla="*/ 11 w 52"/>
                <a:gd name="T37" fmla="*/ 27 h 35"/>
                <a:gd name="T38" fmla="*/ 14 w 52"/>
                <a:gd name="T39" fmla="*/ 30 h 35"/>
                <a:gd name="T40" fmla="*/ 21 w 52"/>
                <a:gd name="T41" fmla="*/ 32 h 35"/>
                <a:gd name="T42" fmla="*/ 24 w 52"/>
                <a:gd name="T43" fmla="*/ 27 h 35"/>
                <a:gd name="T44" fmla="*/ 29 w 52"/>
                <a:gd name="T45" fmla="*/ 28 h 35"/>
                <a:gd name="T46" fmla="*/ 35 w 52"/>
                <a:gd name="T47" fmla="*/ 30 h 35"/>
                <a:gd name="T48" fmla="*/ 41 w 52"/>
                <a:gd name="T49" fmla="*/ 3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35">
                  <a:moveTo>
                    <a:pt x="41" y="30"/>
                  </a:moveTo>
                  <a:cubicBezTo>
                    <a:pt x="41" y="30"/>
                    <a:pt x="43" y="26"/>
                    <a:pt x="45" y="26"/>
                  </a:cubicBezTo>
                  <a:cubicBezTo>
                    <a:pt x="47" y="26"/>
                    <a:pt x="46" y="22"/>
                    <a:pt x="48" y="22"/>
                  </a:cubicBezTo>
                  <a:cubicBezTo>
                    <a:pt x="49" y="22"/>
                    <a:pt x="52" y="20"/>
                    <a:pt x="52" y="20"/>
                  </a:cubicBezTo>
                  <a:cubicBezTo>
                    <a:pt x="52" y="20"/>
                    <a:pt x="50" y="14"/>
                    <a:pt x="49" y="15"/>
                  </a:cubicBezTo>
                  <a:cubicBezTo>
                    <a:pt x="48" y="16"/>
                    <a:pt x="46" y="10"/>
                    <a:pt x="44" y="11"/>
                  </a:cubicBezTo>
                  <a:cubicBezTo>
                    <a:pt x="42" y="12"/>
                    <a:pt x="41" y="12"/>
                    <a:pt x="39" y="10"/>
                  </a:cubicBezTo>
                  <a:cubicBezTo>
                    <a:pt x="36" y="9"/>
                    <a:pt x="35" y="5"/>
                    <a:pt x="33" y="6"/>
                  </a:cubicBezTo>
                  <a:cubicBezTo>
                    <a:pt x="31" y="7"/>
                    <a:pt x="31" y="4"/>
                    <a:pt x="29" y="4"/>
                  </a:cubicBezTo>
                  <a:cubicBezTo>
                    <a:pt x="27" y="4"/>
                    <a:pt x="24" y="3"/>
                    <a:pt x="24" y="3"/>
                  </a:cubicBezTo>
                  <a:cubicBezTo>
                    <a:pt x="21" y="2"/>
                    <a:pt x="21" y="2"/>
                    <a:pt x="21" y="2"/>
                  </a:cubicBezTo>
                  <a:cubicBezTo>
                    <a:pt x="18" y="0"/>
                    <a:pt x="18" y="0"/>
                    <a:pt x="18" y="0"/>
                  </a:cubicBezTo>
                  <a:cubicBezTo>
                    <a:pt x="18" y="0"/>
                    <a:pt x="15" y="2"/>
                    <a:pt x="12" y="4"/>
                  </a:cubicBezTo>
                  <a:cubicBezTo>
                    <a:pt x="9" y="5"/>
                    <a:pt x="8" y="5"/>
                    <a:pt x="7" y="7"/>
                  </a:cubicBezTo>
                  <a:cubicBezTo>
                    <a:pt x="6" y="10"/>
                    <a:pt x="4" y="9"/>
                    <a:pt x="2" y="10"/>
                  </a:cubicBezTo>
                  <a:cubicBezTo>
                    <a:pt x="0" y="10"/>
                    <a:pt x="0" y="10"/>
                    <a:pt x="1" y="13"/>
                  </a:cubicBezTo>
                  <a:cubicBezTo>
                    <a:pt x="3" y="16"/>
                    <a:pt x="3" y="16"/>
                    <a:pt x="4" y="18"/>
                  </a:cubicBezTo>
                  <a:cubicBezTo>
                    <a:pt x="6" y="20"/>
                    <a:pt x="6" y="21"/>
                    <a:pt x="6" y="24"/>
                  </a:cubicBezTo>
                  <a:cubicBezTo>
                    <a:pt x="6" y="27"/>
                    <a:pt x="9" y="25"/>
                    <a:pt x="11" y="27"/>
                  </a:cubicBezTo>
                  <a:cubicBezTo>
                    <a:pt x="14" y="30"/>
                    <a:pt x="14" y="30"/>
                    <a:pt x="14" y="30"/>
                  </a:cubicBezTo>
                  <a:cubicBezTo>
                    <a:pt x="14" y="30"/>
                    <a:pt x="19" y="35"/>
                    <a:pt x="21" y="32"/>
                  </a:cubicBezTo>
                  <a:cubicBezTo>
                    <a:pt x="22" y="28"/>
                    <a:pt x="24" y="27"/>
                    <a:pt x="24" y="27"/>
                  </a:cubicBezTo>
                  <a:cubicBezTo>
                    <a:pt x="24" y="27"/>
                    <a:pt x="27" y="26"/>
                    <a:pt x="29" y="28"/>
                  </a:cubicBezTo>
                  <a:cubicBezTo>
                    <a:pt x="31" y="30"/>
                    <a:pt x="33" y="31"/>
                    <a:pt x="35" y="30"/>
                  </a:cubicBezTo>
                  <a:cubicBezTo>
                    <a:pt x="38" y="30"/>
                    <a:pt x="41" y="30"/>
                    <a:pt x="41" y="3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38" name="Freeform 274">
              <a:extLst>
                <a:ext uri="{FF2B5EF4-FFF2-40B4-BE49-F238E27FC236}">
                  <a16:creationId xmlns:a16="http://schemas.microsoft.com/office/drawing/2014/main" id="{2BB82888-3C6A-49EE-6325-B2C9791E6C3E}"/>
                </a:ext>
              </a:extLst>
            </p:cNvPr>
            <p:cNvSpPr>
              <a:spLocks noEditPoints="1"/>
            </p:cNvSpPr>
            <p:nvPr/>
          </p:nvSpPr>
          <p:spPr bwMode="auto">
            <a:xfrm>
              <a:off x="6956700" y="2850597"/>
              <a:ext cx="82635" cy="53893"/>
            </a:xfrm>
            <a:custGeom>
              <a:avLst/>
              <a:gdLst>
                <a:gd name="T0" fmla="*/ 16 w 23"/>
                <a:gd name="T1" fmla="*/ 8 h 15"/>
                <a:gd name="T2" fmla="*/ 16 w 23"/>
                <a:gd name="T3" fmla="*/ 5 h 15"/>
                <a:gd name="T4" fmla="*/ 17 w 23"/>
                <a:gd name="T5" fmla="*/ 5 h 15"/>
                <a:gd name="T6" fmla="*/ 20 w 23"/>
                <a:gd name="T7" fmla="*/ 1 h 15"/>
                <a:gd name="T8" fmla="*/ 14 w 23"/>
                <a:gd name="T9" fmla="*/ 5 h 15"/>
                <a:gd name="T10" fmla="*/ 7 w 23"/>
                <a:gd name="T11" fmla="*/ 5 h 15"/>
                <a:gd name="T12" fmla="*/ 7 w 23"/>
                <a:gd name="T13" fmla="*/ 7 h 15"/>
                <a:gd name="T14" fmla="*/ 5 w 23"/>
                <a:gd name="T15" fmla="*/ 7 h 15"/>
                <a:gd name="T16" fmla="*/ 9 w 23"/>
                <a:gd name="T17" fmla="*/ 8 h 15"/>
                <a:gd name="T18" fmla="*/ 11 w 23"/>
                <a:gd name="T19" fmla="*/ 7 h 15"/>
                <a:gd name="T20" fmla="*/ 13 w 23"/>
                <a:gd name="T21" fmla="*/ 7 h 15"/>
                <a:gd name="T22" fmla="*/ 16 w 23"/>
                <a:gd name="T23" fmla="*/ 8 h 15"/>
                <a:gd name="T24" fmla="*/ 16 w 23"/>
                <a:gd name="T25" fmla="*/ 8 h 15"/>
                <a:gd name="T26" fmla="*/ 16 w 23"/>
                <a:gd name="T27" fmla="*/ 9 h 15"/>
                <a:gd name="T28" fmla="*/ 12 w 23"/>
                <a:gd name="T29" fmla="*/ 11 h 15"/>
                <a:gd name="T30" fmla="*/ 1 w 23"/>
                <a:gd name="T31" fmla="*/ 11 h 15"/>
                <a:gd name="T32" fmla="*/ 0 w 23"/>
                <a:gd name="T33" fmla="*/ 9 h 15"/>
                <a:gd name="T34" fmla="*/ 5 w 23"/>
                <a:gd name="T35" fmla="*/ 7 h 15"/>
                <a:gd name="T36" fmla="*/ 9 w 23"/>
                <a:gd name="T37" fmla="*/ 8 h 15"/>
                <a:gd name="T38" fmla="*/ 11 w 23"/>
                <a:gd name="T39" fmla="*/ 7 h 15"/>
                <a:gd name="T40" fmla="*/ 13 w 23"/>
                <a:gd name="T41" fmla="*/ 7 h 15"/>
                <a:gd name="T42" fmla="*/ 16 w 23"/>
                <a:gd name="T43"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5">
                  <a:moveTo>
                    <a:pt x="16" y="8"/>
                  </a:moveTo>
                  <a:cubicBezTo>
                    <a:pt x="16" y="7"/>
                    <a:pt x="16" y="5"/>
                    <a:pt x="16" y="5"/>
                  </a:cubicBezTo>
                  <a:cubicBezTo>
                    <a:pt x="17" y="5"/>
                    <a:pt x="17" y="5"/>
                    <a:pt x="17" y="5"/>
                  </a:cubicBezTo>
                  <a:cubicBezTo>
                    <a:pt x="18" y="4"/>
                    <a:pt x="23" y="0"/>
                    <a:pt x="20" y="1"/>
                  </a:cubicBezTo>
                  <a:cubicBezTo>
                    <a:pt x="18" y="1"/>
                    <a:pt x="16" y="4"/>
                    <a:pt x="14" y="5"/>
                  </a:cubicBezTo>
                  <a:cubicBezTo>
                    <a:pt x="11" y="6"/>
                    <a:pt x="9" y="4"/>
                    <a:pt x="7" y="5"/>
                  </a:cubicBezTo>
                  <a:cubicBezTo>
                    <a:pt x="7" y="5"/>
                    <a:pt x="7" y="6"/>
                    <a:pt x="7" y="7"/>
                  </a:cubicBezTo>
                  <a:cubicBezTo>
                    <a:pt x="6" y="7"/>
                    <a:pt x="5" y="7"/>
                    <a:pt x="5" y="7"/>
                  </a:cubicBezTo>
                  <a:cubicBezTo>
                    <a:pt x="6" y="8"/>
                    <a:pt x="7" y="9"/>
                    <a:pt x="9" y="8"/>
                  </a:cubicBezTo>
                  <a:cubicBezTo>
                    <a:pt x="10" y="8"/>
                    <a:pt x="10" y="7"/>
                    <a:pt x="11" y="7"/>
                  </a:cubicBezTo>
                  <a:cubicBezTo>
                    <a:pt x="12" y="6"/>
                    <a:pt x="12" y="7"/>
                    <a:pt x="13" y="7"/>
                  </a:cubicBezTo>
                  <a:cubicBezTo>
                    <a:pt x="15" y="7"/>
                    <a:pt x="15" y="7"/>
                    <a:pt x="16" y="8"/>
                  </a:cubicBezTo>
                  <a:close/>
                  <a:moveTo>
                    <a:pt x="16" y="8"/>
                  </a:moveTo>
                  <a:cubicBezTo>
                    <a:pt x="16" y="8"/>
                    <a:pt x="16" y="9"/>
                    <a:pt x="16" y="9"/>
                  </a:cubicBezTo>
                  <a:cubicBezTo>
                    <a:pt x="15" y="10"/>
                    <a:pt x="14" y="10"/>
                    <a:pt x="12" y="11"/>
                  </a:cubicBezTo>
                  <a:cubicBezTo>
                    <a:pt x="8" y="13"/>
                    <a:pt x="6" y="15"/>
                    <a:pt x="1" y="11"/>
                  </a:cubicBezTo>
                  <a:cubicBezTo>
                    <a:pt x="1" y="11"/>
                    <a:pt x="1" y="9"/>
                    <a:pt x="0" y="9"/>
                  </a:cubicBezTo>
                  <a:cubicBezTo>
                    <a:pt x="2" y="8"/>
                    <a:pt x="3" y="7"/>
                    <a:pt x="5" y="7"/>
                  </a:cubicBezTo>
                  <a:cubicBezTo>
                    <a:pt x="6" y="8"/>
                    <a:pt x="7" y="9"/>
                    <a:pt x="9" y="8"/>
                  </a:cubicBezTo>
                  <a:cubicBezTo>
                    <a:pt x="10" y="8"/>
                    <a:pt x="10" y="7"/>
                    <a:pt x="11" y="7"/>
                  </a:cubicBezTo>
                  <a:cubicBezTo>
                    <a:pt x="12" y="6"/>
                    <a:pt x="12" y="7"/>
                    <a:pt x="13" y="7"/>
                  </a:cubicBezTo>
                  <a:cubicBezTo>
                    <a:pt x="15" y="7"/>
                    <a:pt x="15" y="7"/>
                    <a:pt x="16" y="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39" name="Freeform 275">
              <a:extLst>
                <a:ext uri="{FF2B5EF4-FFF2-40B4-BE49-F238E27FC236}">
                  <a16:creationId xmlns:a16="http://schemas.microsoft.com/office/drawing/2014/main" id="{74378CDE-E53B-35C8-DFE3-022663E22B80}"/>
                </a:ext>
              </a:extLst>
            </p:cNvPr>
            <p:cNvSpPr>
              <a:spLocks noEditPoints="1"/>
            </p:cNvSpPr>
            <p:nvPr/>
          </p:nvSpPr>
          <p:spPr bwMode="auto">
            <a:xfrm>
              <a:off x="6956700" y="2850597"/>
              <a:ext cx="82635" cy="53893"/>
            </a:xfrm>
            <a:custGeom>
              <a:avLst/>
              <a:gdLst>
                <a:gd name="T0" fmla="*/ 16 w 23"/>
                <a:gd name="T1" fmla="*/ 8 h 15"/>
                <a:gd name="T2" fmla="*/ 16 w 23"/>
                <a:gd name="T3" fmla="*/ 5 h 15"/>
                <a:gd name="T4" fmla="*/ 17 w 23"/>
                <a:gd name="T5" fmla="*/ 5 h 15"/>
                <a:gd name="T6" fmla="*/ 20 w 23"/>
                <a:gd name="T7" fmla="*/ 1 h 15"/>
                <a:gd name="T8" fmla="*/ 14 w 23"/>
                <a:gd name="T9" fmla="*/ 5 h 15"/>
                <a:gd name="T10" fmla="*/ 7 w 23"/>
                <a:gd name="T11" fmla="*/ 5 h 15"/>
                <a:gd name="T12" fmla="*/ 7 w 23"/>
                <a:gd name="T13" fmla="*/ 7 h 15"/>
                <a:gd name="T14" fmla="*/ 5 w 23"/>
                <a:gd name="T15" fmla="*/ 7 h 15"/>
                <a:gd name="T16" fmla="*/ 9 w 23"/>
                <a:gd name="T17" fmla="*/ 8 h 15"/>
                <a:gd name="T18" fmla="*/ 11 w 23"/>
                <a:gd name="T19" fmla="*/ 7 h 15"/>
                <a:gd name="T20" fmla="*/ 13 w 23"/>
                <a:gd name="T21" fmla="*/ 7 h 15"/>
                <a:gd name="T22" fmla="*/ 16 w 23"/>
                <a:gd name="T23" fmla="*/ 8 h 15"/>
                <a:gd name="T24" fmla="*/ 16 w 23"/>
                <a:gd name="T25" fmla="*/ 8 h 15"/>
                <a:gd name="T26" fmla="*/ 16 w 23"/>
                <a:gd name="T27" fmla="*/ 9 h 15"/>
                <a:gd name="T28" fmla="*/ 12 w 23"/>
                <a:gd name="T29" fmla="*/ 11 h 15"/>
                <a:gd name="T30" fmla="*/ 1 w 23"/>
                <a:gd name="T31" fmla="*/ 11 h 15"/>
                <a:gd name="T32" fmla="*/ 0 w 23"/>
                <a:gd name="T33" fmla="*/ 9 h 15"/>
                <a:gd name="T34" fmla="*/ 5 w 23"/>
                <a:gd name="T35" fmla="*/ 7 h 15"/>
                <a:gd name="T36" fmla="*/ 9 w 23"/>
                <a:gd name="T37" fmla="*/ 8 h 15"/>
                <a:gd name="T38" fmla="*/ 11 w 23"/>
                <a:gd name="T39" fmla="*/ 7 h 15"/>
                <a:gd name="T40" fmla="*/ 13 w 23"/>
                <a:gd name="T41" fmla="*/ 7 h 15"/>
                <a:gd name="T42" fmla="*/ 16 w 23"/>
                <a:gd name="T43"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15">
                  <a:moveTo>
                    <a:pt x="16" y="8"/>
                  </a:moveTo>
                  <a:cubicBezTo>
                    <a:pt x="16" y="7"/>
                    <a:pt x="16" y="5"/>
                    <a:pt x="16" y="5"/>
                  </a:cubicBezTo>
                  <a:cubicBezTo>
                    <a:pt x="17" y="5"/>
                    <a:pt x="17" y="5"/>
                    <a:pt x="17" y="5"/>
                  </a:cubicBezTo>
                  <a:cubicBezTo>
                    <a:pt x="18" y="4"/>
                    <a:pt x="23" y="0"/>
                    <a:pt x="20" y="1"/>
                  </a:cubicBezTo>
                  <a:cubicBezTo>
                    <a:pt x="18" y="1"/>
                    <a:pt x="16" y="4"/>
                    <a:pt x="14" y="5"/>
                  </a:cubicBezTo>
                  <a:cubicBezTo>
                    <a:pt x="11" y="6"/>
                    <a:pt x="9" y="4"/>
                    <a:pt x="7" y="5"/>
                  </a:cubicBezTo>
                  <a:cubicBezTo>
                    <a:pt x="7" y="5"/>
                    <a:pt x="7" y="6"/>
                    <a:pt x="7" y="7"/>
                  </a:cubicBezTo>
                  <a:cubicBezTo>
                    <a:pt x="6" y="7"/>
                    <a:pt x="5" y="7"/>
                    <a:pt x="5" y="7"/>
                  </a:cubicBezTo>
                  <a:cubicBezTo>
                    <a:pt x="6" y="8"/>
                    <a:pt x="7" y="9"/>
                    <a:pt x="9" y="8"/>
                  </a:cubicBezTo>
                  <a:cubicBezTo>
                    <a:pt x="10" y="8"/>
                    <a:pt x="10" y="7"/>
                    <a:pt x="11" y="7"/>
                  </a:cubicBezTo>
                  <a:cubicBezTo>
                    <a:pt x="12" y="6"/>
                    <a:pt x="12" y="7"/>
                    <a:pt x="13" y="7"/>
                  </a:cubicBezTo>
                  <a:cubicBezTo>
                    <a:pt x="15" y="7"/>
                    <a:pt x="15" y="7"/>
                    <a:pt x="16" y="8"/>
                  </a:cubicBezTo>
                  <a:close/>
                  <a:moveTo>
                    <a:pt x="16" y="8"/>
                  </a:moveTo>
                  <a:cubicBezTo>
                    <a:pt x="16" y="8"/>
                    <a:pt x="16" y="9"/>
                    <a:pt x="16" y="9"/>
                  </a:cubicBezTo>
                  <a:cubicBezTo>
                    <a:pt x="15" y="10"/>
                    <a:pt x="14" y="10"/>
                    <a:pt x="12" y="11"/>
                  </a:cubicBezTo>
                  <a:cubicBezTo>
                    <a:pt x="8" y="13"/>
                    <a:pt x="6" y="15"/>
                    <a:pt x="1" y="11"/>
                  </a:cubicBezTo>
                  <a:cubicBezTo>
                    <a:pt x="1" y="11"/>
                    <a:pt x="1" y="9"/>
                    <a:pt x="0" y="9"/>
                  </a:cubicBezTo>
                  <a:cubicBezTo>
                    <a:pt x="2" y="8"/>
                    <a:pt x="3" y="7"/>
                    <a:pt x="5" y="7"/>
                  </a:cubicBezTo>
                  <a:cubicBezTo>
                    <a:pt x="6" y="8"/>
                    <a:pt x="7" y="9"/>
                    <a:pt x="9" y="8"/>
                  </a:cubicBezTo>
                  <a:cubicBezTo>
                    <a:pt x="10" y="8"/>
                    <a:pt x="10" y="7"/>
                    <a:pt x="11" y="7"/>
                  </a:cubicBezTo>
                  <a:cubicBezTo>
                    <a:pt x="12" y="6"/>
                    <a:pt x="12" y="7"/>
                    <a:pt x="13" y="7"/>
                  </a:cubicBezTo>
                  <a:cubicBezTo>
                    <a:pt x="15" y="7"/>
                    <a:pt x="15" y="7"/>
                    <a:pt x="16" y="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40" name="Freeform 276">
              <a:extLst>
                <a:ext uri="{FF2B5EF4-FFF2-40B4-BE49-F238E27FC236}">
                  <a16:creationId xmlns:a16="http://schemas.microsoft.com/office/drawing/2014/main" id="{D0EDD54F-3877-11B0-6135-ED05C3569B6D}"/>
                </a:ext>
              </a:extLst>
            </p:cNvPr>
            <p:cNvSpPr>
              <a:spLocks noEditPoints="1"/>
            </p:cNvSpPr>
            <p:nvPr/>
          </p:nvSpPr>
          <p:spPr bwMode="auto">
            <a:xfrm>
              <a:off x="3406996" y="3333837"/>
              <a:ext cx="308982" cy="134733"/>
            </a:xfrm>
            <a:custGeom>
              <a:avLst/>
              <a:gdLst>
                <a:gd name="T0" fmla="*/ 14 w 88"/>
                <a:gd name="T1" fmla="*/ 12 h 38"/>
                <a:gd name="T2" fmla="*/ 14 w 88"/>
                <a:gd name="T3" fmla="*/ 15 h 38"/>
                <a:gd name="T4" fmla="*/ 12 w 88"/>
                <a:gd name="T5" fmla="*/ 19 h 38"/>
                <a:gd name="T6" fmla="*/ 14 w 88"/>
                <a:gd name="T7" fmla="*/ 19 h 38"/>
                <a:gd name="T8" fmla="*/ 18 w 88"/>
                <a:gd name="T9" fmla="*/ 13 h 38"/>
                <a:gd name="T10" fmla="*/ 14 w 88"/>
                <a:gd name="T11" fmla="*/ 12 h 38"/>
                <a:gd name="T12" fmla="*/ 14 w 88"/>
                <a:gd name="T13" fmla="*/ 1 h 38"/>
                <a:gd name="T14" fmla="*/ 2 w 88"/>
                <a:gd name="T15" fmla="*/ 9 h 38"/>
                <a:gd name="T16" fmla="*/ 2 w 88"/>
                <a:gd name="T17" fmla="*/ 13 h 38"/>
                <a:gd name="T18" fmla="*/ 0 w 88"/>
                <a:gd name="T19" fmla="*/ 14 h 38"/>
                <a:gd name="T20" fmla="*/ 7 w 88"/>
                <a:gd name="T21" fmla="*/ 13 h 38"/>
                <a:gd name="T22" fmla="*/ 7 w 88"/>
                <a:gd name="T23" fmla="*/ 11 h 38"/>
                <a:gd name="T24" fmla="*/ 10 w 88"/>
                <a:gd name="T25" fmla="*/ 11 h 38"/>
                <a:gd name="T26" fmla="*/ 11 w 88"/>
                <a:gd name="T27" fmla="*/ 9 h 38"/>
                <a:gd name="T28" fmla="*/ 20 w 88"/>
                <a:gd name="T29" fmla="*/ 5 h 38"/>
                <a:gd name="T30" fmla="*/ 24 w 88"/>
                <a:gd name="T31" fmla="*/ 6 h 38"/>
                <a:gd name="T32" fmla="*/ 24 w 88"/>
                <a:gd name="T33" fmla="*/ 9 h 38"/>
                <a:gd name="T34" fmla="*/ 31 w 88"/>
                <a:gd name="T35" fmla="*/ 10 h 38"/>
                <a:gd name="T36" fmla="*/ 33 w 88"/>
                <a:gd name="T37" fmla="*/ 12 h 38"/>
                <a:gd name="T38" fmla="*/ 36 w 88"/>
                <a:gd name="T39" fmla="*/ 12 h 38"/>
                <a:gd name="T40" fmla="*/ 37 w 88"/>
                <a:gd name="T41" fmla="*/ 15 h 38"/>
                <a:gd name="T42" fmla="*/ 41 w 88"/>
                <a:gd name="T43" fmla="*/ 17 h 38"/>
                <a:gd name="T44" fmla="*/ 43 w 88"/>
                <a:gd name="T45" fmla="*/ 19 h 38"/>
                <a:gd name="T46" fmla="*/ 52 w 88"/>
                <a:gd name="T47" fmla="*/ 19 h 38"/>
                <a:gd name="T48" fmla="*/ 52 w 88"/>
                <a:gd name="T49" fmla="*/ 23 h 38"/>
                <a:gd name="T50" fmla="*/ 63 w 88"/>
                <a:gd name="T51" fmla="*/ 30 h 38"/>
                <a:gd name="T52" fmla="*/ 63 w 88"/>
                <a:gd name="T53" fmla="*/ 33 h 38"/>
                <a:gd name="T54" fmla="*/ 59 w 88"/>
                <a:gd name="T55" fmla="*/ 36 h 38"/>
                <a:gd name="T56" fmla="*/ 60 w 88"/>
                <a:gd name="T57" fmla="*/ 38 h 38"/>
                <a:gd name="T58" fmla="*/ 81 w 88"/>
                <a:gd name="T59" fmla="*/ 36 h 38"/>
                <a:gd name="T60" fmla="*/ 83 w 88"/>
                <a:gd name="T61" fmla="*/ 36 h 38"/>
                <a:gd name="T62" fmla="*/ 88 w 88"/>
                <a:gd name="T63" fmla="*/ 34 h 38"/>
                <a:gd name="T64" fmla="*/ 87 w 88"/>
                <a:gd name="T65" fmla="*/ 31 h 38"/>
                <a:gd name="T66" fmla="*/ 83 w 88"/>
                <a:gd name="T67" fmla="*/ 29 h 38"/>
                <a:gd name="T68" fmla="*/ 76 w 88"/>
                <a:gd name="T69" fmla="*/ 28 h 38"/>
                <a:gd name="T70" fmla="*/ 77 w 88"/>
                <a:gd name="T71" fmla="*/ 24 h 38"/>
                <a:gd name="T72" fmla="*/ 66 w 88"/>
                <a:gd name="T73" fmla="*/ 19 h 38"/>
                <a:gd name="T74" fmla="*/ 64 w 88"/>
                <a:gd name="T75" fmla="*/ 19 h 38"/>
                <a:gd name="T76" fmla="*/ 62 w 88"/>
                <a:gd name="T77" fmla="*/ 15 h 38"/>
                <a:gd name="T78" fmla="*/ 58 w 88"/>
                <a:gd name="T79" fmla="*/ 15 h 38"/>
                <a:gd name="T80" fmla="*/ 58 w 88"/>
                <a:gd name="T81" fmla="*/ 14 h 38"/>
                <a:gd name="T82" fmla="*/ 56 w 88"/>
                <a:gd name="T83" fmla="*/ 14 h 38"/>
                <a:gd name="T84" fmla="*/ 54 w 88"/>
                <a:gd name="T85" fmla="*/ 12 h 38"/>
                <a:gd name="T86" fmla="*/ 46 w 88"/>
                <a:gd name="T87" fmla="*/ 11 h 38"/>
                <a:gd name="T88" fmla="*/ 42 w 88"/>
                <a:gd name="T89" fmla="*/ 5 h 38"/>
                <a:gd name="T90" fmla="*/ 28 w 88"/>
                <a:gd name="T91" fmla="*/ 1 h 38"/>
                <a:gd name="T92" fmla="*/ 25 w 88"/>
                <a:gd name="T93" fmla="*/ 3 h 38"/>
                <a:gd name="T94" fmla="*/ 24 w 88"/>
                <a:gd name="T95" fmla="*/ 1 h 38"/>
                <a:gd name="T96" fmla="*/ 14 w 88"/>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 h="38">
                  <a:moveTo>
                    <a:pt x="14" y="12"/>
                  </a:moveTo>
                  <a:cubicBezTo>
                    <a:pt x="14" y="12"/>
                    <a:pt x="14" y="14"/>
                    <a:pt x="14" y="15"/>
                  </a:cubicBezTo>
                  <a:cubicBezTo>
                    <a:pt x="15" y="14"/>
                    <a:pt x="17" y="17"/>
                    <a:pt x="12" y="19"/>
                  </a:cubicBezTo>
                  <a:cubicBezTo>
                    <a:pt x="11" y="20"/>
                    <a:pt x="16" y="19"/>
                    <a:pt x="14" y="19"/>
                  </a:cubicBezTo>
                  <a:cubicBezTo>
                    <a:pt x="19" y="16"/>
                    <a:pt x="17" y="20"/>
                    <a:pt x="18" y="13"/>
                  </a:cubicBezTo>
                  <a:cubicBezTo>
                    <a:pt x="17" y="13"/>
                    <a:pt x="16" y="13"/>
                    <a:pt x="14" y="12"/>
                  </a:cubicBezTo>
                  <a:close/>
                  <a:moveTo>
                    <a:pt x="14" y="1"/>
                  </a:moveTo>
                  <a:cubicBezTo>
                    <a:pt x="12" y="1"/>
                    <a:pt x="3" y="7"/>
                    <a:pt x="2" y="9"/>
                  </a:cubicBezTo>
                  <a:cubicBezTo>
                    <a:pt x="2" y="10"/>
                    <a:pt x="2" y="13"/>
                    <a:pt x="2" y="13"/>
                  </a:cubicBezTo>
                  <a:cubicBezTo>
                    <a:pt x="1" y="13"/>
                    <a:pt x="1" y="13"/>
                    <a:pt x="0" y="14"/>
                  </a:cubicBezTo>
                  <a:cubicBezTo>
                    <a:pt x="2" y="14"/>
                    <a:pt x="5" y="14"/>
                    <a:pt x="7" y="13"/>
                  </a:cubicBezTo>
                  <a:cubicBezTo>
                    <a:pt x="7" y="13"/>
                    <a:pt x="7" y="11"/>
                    <a:pt x="7" y="11"/>
                  </a:cubicBezTo>
                  <a:cubicBezTo>
                    <a:pt x="8" y="11"/>
                    <a:pt x="9" y="11"/>
                    <a:pt x="10" y="11"/>
                  </a:cubicBezTo>
                  <a:cubicBezTo>
                    <a:pt x="11" y="11"/>
                    <a:pt x="10" y="9"/>
                    <a:pt x="11" y="9"/>
                  </a:cubicBezTo>
                  <a:cubicBezTo>
                    <a:pt x="12" y="7"/>
                    <a:pt x="16" y="4"/>
                    <a:pt x="20" y="5"/>
                  </a:cubicBezTo>
                  <a:cubicBezTo>
                    <a:pt x="21" y="5"/>
                    <a:pt x="23" y="6"/>
                    <a:pt x="24" y="6"/>
                  </a:cubicBezTo>
                  <a:cubicBezTo>
                    <a:pt x="24" y="6"/>
                    <a:pt x="24" y="8"/>
                    <a:pt x="24" y="9"/>
                  </a:cubicBezTo>
                  <a:cubicBezTo>
                    <a:pt x="26" y="10"/>
                    <a:pt x="28" y="9"/>
                    <a:pt x="31" y="10"/>
                  </a:cubicBezTo>
                  <a:cubicBezTo>
                    <a:pt x="31" y="10"/>
                    <a:pt x="33" y="12"/>
                    <a:pt x="33" y="12"/>
                  </a:cubicBezTo>
                  <a:cubicBezTo>
                    <a:pt x="34" y="12"/>
                    <a:pt x="35" y="11"/>
                    <a:pt x="36" y="12"/>
                  </a:cubicBezTo>
                  <a:cubicBezTo>
                    <a:pt x="37" y="12"/>
                    <a:pt x="36" y="14"/>
                    <a:pt x="37" y="15"/>
                  </a:cubicBezTo>
                  <a:cubicBezTo>
                    <a:pt x="38" y="16"/>
                    <a:pt x="40" y="16"/>
                    <a:pt x="41" y="17"/>
                  </a:cubicBezTo>
                  <a:cubicBezTo>
                    <a:pt x="42" y="17"/>
                    <a:pt x="42" y="19"/>
                    <a:pt x="43" y="19"/>
                  </a:cubicBezTo>
                  <a:cubicBezTo>
                    <a:pt x="45" y="20"/>
                    <a:pt x="49" y="19"/>
                    <a:pt x="52" y="19"/>
                  </a:cubicBezTo>
                  <a:cubicBezTo>
                    <a:pt x="52" y="20"/>
                    <a:pt x="51" y="21"/>
                    <a:pt x="52" y="23"/>
                  </a:cubicBezTo>
                  <a:cubicBezTo>
                    <a:pt x="53" y="27"/>
                    <a:pt x="58" y="29"/>
                    <a:pt x="63" y="30"/>
                  </a:cubicBezTo>
                  <a:cubicBezTo>
                    <a:pt x="63" y="31"/>
                    <a:pt x="63" y="32"/>
                    <a:pt x="63" y="33"/>
                  </a:cubicBezTo>
                  <a:cubicBezTo>
                    <a:pt x="63" y="34"/>
                    <a:pt x="60" y="36"/>
                    <a:pt x="59" y="36"/>
                  </a:cubicBezTo>
                  <a:cubicBezTo>
                    <a:pt x="59" y="37"/>
                    <a:pt x="60" y="38"/>
                    <a:pt x="60" y="38"/>
                  </a:cubicBezTo>
                  <a:cubicBezTo>
                    <a:pt x="66" y="37"/>
                    <a:pt x="75" y="36"/>
                    <a:pt x="81" y="36"/>
                  </a:cubicBezTo>
                  <a:cubicBezTo>
                    <a:pt x="81" y="36"/>
                    <a:pt x="82" y="37"/>
                    <a:pt x="83" y="36"/>
                  </a:cubicBezTo>
                  <a:cubicBezTo>
                    <a:pt x="85" y="36"/>
                    <a:pt x="87" y="34"/>
                    <a:pt x="88" y="34"/>
                  </a:cubicBezTo>
                  <a:cubicBezTo>
                    <a:pt x="88" y="33"/>
                    <a:pt x="87" y="32"/>
                    <a:pt x="87" y="31"/>
                  </a:cubicBezTo>
                  <a:cubicBezTo>
                    <a:pt x="87" y="31"/>
                    <a:pt x="85" y="29"/>
                    <a:pt x="83" y="29"/>
                  </a:cubicBezTo>
                  <a:cubicBezTo>
                    <a:pt x="80" y="29"/>
                    <a:pt x="79" y="31"/>
                    <a:pt x="76" y="28"/>
                  </a:cubicBezTo>
                  <a:cubicBezTo>
                    <a:pt x="76" y="28"/>
                    <a:pt x="77" y="25"/>
                    <a:pt x="77" y="24"/>
                  </a:cubicBezTo>
                  <a:cubicBezTo>
                    <a:pt x="70" y="24"/>
                    <a:pt x="70" y="25"/>
                    <a:pt x="66" y="19"/>
                  </a:cubicBezTo>
                  <a:cubicBezTo>
                    <a:pt x="65" y="19"/>
                    <a:pt x="65" y="20"/>
                    <a:pt x="64" y="19"/>
                  </a:cubicBezTo>
                  <a:cubicBezTo>
                    <a:pt x="63" y="19"/>
                    <a:pt x="63" y="16"/>
                    <a:pt x="62" y="15"/>
                  </a:cubicBezTo>
                  <a:cubicBezTo>
                    <a:pt x="61" y="15"/>
                    <a:pt x="59" y="16"/>
                    <a:pt x="58" y="15"/>
                  </a:cubicBezTo>
                  <a:cubicBezTo>
                    <a:pt x="58" y="14"/>
                    <a:pt x="58" y="14"/>
                    <a:pt x="58" y="14"/>
                  </a:cubicBezTo>
                  <a:cubicBezTo>
                    <a:pt x="57" y="13"/>
                    <a:pt x="56" y="14"/>
                    <a:pt x="56" y="14"/>
                  </a:cubicBezTo>
                  <a:cubicBezTo>
                    <a:pt x="55" y="14"/>
                    <a:pt x="54" y="12"/>
                    <a:pt x="54" y="12"/>
                  </a:cubicBezTo>
                  <a:cubicBezTo>
                    <a:pt x="50" y="11"/>
                    <a:pt x="49" y="12"/>
                    <a:pt x="46" y="11"/>
                  </a:cubicBezTo>
                  <a:cubicBezTo>
                    <a:pt x="44" y="9"/>
                    <a:pt x="44" y="6"/>
                    <a:pt x="42" y="5"/>
                  </a:cubicBezTo>
                  <a:cubicBezTo>
                    <a:pt x="41" y="4"/>
                    <a:pt x="29" y="1"/>
                    <a:pt x="28" y="1"/>
                  </a:cubicBezTo>
                  <a:cubicBezTo>
                    <a:pt x="27" y="1"/>
                    <a:pt x="27" y="4"/>
                    <a:pt x="25" y="3"/>
                  </a:cubicBezTo>
                  <a:cubicBezTo>
                    <a:pt x="25" y="3"/>
                    <a:pt x="24" y="1"/>
                    <a:pt x="24" y="1"/>
                  </a:cubicBezTo>
                  <a:cubicBezTo>
                    <a:pt x="20" y="1"/>
                    <a:pt x="17" y="0"/>
                    <a:pt x="14" y="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41" name="Freeform 277">
              <a:extLst>
                <a:ext uri="{FF2B5EF4-FFF2-40B4-BE49-F238E27FC236}">
                  <a16:creationId xmlns:a16="http://schemas.microsoft.com/office/drawing/2014/main" id="{E2554675-0755-8214-E4DF-D010DE1A9CBB}"/>
                </a:ext>
              </a:extLst>
            </p:cNvPr>
            <p:cNvSpPr>
              <a:spLocks noEditPoints="1"/>
            </p:cNvSpPr>
            <p:nvPr/>
          </p:nvSpPr>
          <p:spPr bwMode="auto">
            <a:xfrm>
              <a:off x="3406996" y="3333837"/>
              <a:ext cx="308982" cy="134733"/>
            </a:xfrm>
            <a:custGeom>
              <a:avLst/>
              <a:gdLst>
                <a:gd name="T0" fmla="*/ 14 w 88"/>
                <a:gd name="T1" fmla="*/ 12 h 38"/>
                <a:gd name="T2" fmla="*/ 14 w 88"/>
                <a:gd name="T3" fmla="*/ 15 h 38"/>
                <a:gd name="T4" fmla="*/ 12 w 88"/>
                <a:gd name="T5" fmla="*/ 19 h 38"/>
                <a:gd name="T6" fmla="*/ 14 w 88"/>
                <a:gd name="T7" fmla="*/ 19 h 38"/>
                <a:gd name="T8" fmla="*/ 18 w 88"/>
                <a:gd name="T9" fmla="*/ 13 h 38"/>
                <a:gd name="T10" fmla="*/ 14 w 88"/>
                <a:gd name="T11" fmla="*/ 12 h 38"/>
                <a:gd name="T12" fmla="*/ 14 w 88"/>
                <a:gd name="T13" fmla="*/ 1 h 38"/>
                <a:gd name="T14" fmla="*/ 2 w 88"/>
                <a:gd name="T15" fmla="*/ 9 h 38"/>
                <a:gd name="T16" fmla="*/ 2 w 88"/>
                <a:gd name="T17" fmla="*/ 13 h 38"/>
                <a:gd name="T18" fmla="*/ 0 w 88"/>
                <a:gd name="T19" fmla="*/ 14 h 38"/>
                <a:gd name="T20" fmla="*/ 7 w 88"/>
                <a:gd name="T21" fmla="*/ 13 h 38"/>
                <a:gd name="T22" fmla="*/ 7 w 88"/>
                <a:gd name="T23" fmla="*/ 11 h 38"/>
                <a:gd name="T24" fmla="*/ 10 w 88"/>
                <a:gd name="T25" fmla="*/ 11 h 38"/>
                <a:gd name="T26" fmla="*/ 11 w 88"/>
                <a:gd name="T27" fmla="*/ 9 h 38"/>
                <a:gd name="T28" fmla="*/ 20 w 88"/>
                <a:gd name="T29" fmla="*/ 5 h 38"/>
                <a:gd name="T30" fmla="*/ 24 w 88"/>
                <a:gd name="T31" fmla="*/ 6 h 38"/>
                <a:gd name="T32" fmla="*/ 24 w 88"/>
                <a:gd name="T33" fmla="*/ 9 h 38"/>
                <a:gd name="T34" fmla="*/ 31 w 88"/>
                <a:gd name="T35" fmla="*/ 10 h 38"/>
                <a:gd name="T36" fmla="*/ 33 w 88"/>
                <a:gd name="T37" fmla="*/ 12 h 38"/>
                <a:gd name="T38" fmla="*/ 36 w 88"/>
                <a:gd name="T39" fmla="*/ 12 h 38"/>
                <a:gd name="T40" fmla="*/ 37 w 88"/>
                <a:gd name="T41" fmla="*/ 15 h 38"/>
                <a:gd name="T42" fmla="*/ 41 w 88"/>
                <a:gd name="T43" fmla="*/ 17 h 38"/>
                <a:gd name="T44" fmla="*/ 43 w 88"/>
                <a:gd name="T45" fmla="*/ 19 h 38"/>
                <a:gd name="T46" fmla="*/ 52 w 88"/>
                <a:gd name="T47" fmla="*/ 19 h 38"/>
                <a:gd name="T48" fmla="*/ 52 w 88"/>
                <a:gd name="T49" fmla="*/ 23 h 38"/>
                <a:gd name="T50" fmla="*/ 63 w 88"/>
                <a:gd name="T51" fmla="*/ 30 h 38"/>
                <a:gd name="T52" fmla="*/ 63 w 88"/>
                <a:gd name="T53" fmla="*/ 33 h 38"/>
                <a:gd name="T54" fmla="*/ 59 w 88"/>
                <a:gd name="T55" fmla="*/ 36 h 38"/>
                <a:gd name="T56" fmla="*/ 60 w 88"/>
                <a:gd name="T57" fmla="*/ 38 h 38"/>
                <a:gd name="T58" fmla="*/ 81 w 88"/>
                <a:gd name="T59" fmla="*/ 36 h 38"/>
                <a:gd name="T60" fmla="*/ 83 w 88"/>
                <a:gd name="T61" fmla="*/ 36 h 38"/>
                <a:gd name="T62" fmla="*/ 88 w 88"/>
                <a:gd name="T63" fmla="*/ 34 h 38"/>
                <a:gd name="T64" fmla="*/ 87 w 88"/>
                <a:gd name="T65" fmla="*/ 31 h 38"/>
                <a:gd name="T66" fmla="*/ 83 w 88"/>
                <a:gd name="T67" fmla="*/ 29 h 38"/>
                <a:gd name="T68" fmla="*/ 76 w 88"/>
                <a:gd name="T69" fmla="*/ 28 h 38"/>
                <a:gd name="T70" fmla="*/ 77 w 88"/>
                <a:gd name="T71" fmla="*/ 24 h 38"/>
                <a:gd name="T72" fmla="*/ 66 w 88"/>
                <a:gd name="T73" fmla="*/ 19 h 38"/>
                <a:gd name="T74" fmla="*/ 64 w 88"/>
                <a:gd name="T75" fmla="*/ 19 h 38"/>
                <a:gd name="T76" fmla="*/ 62 w 88"/>
                <a:gd name="T77" fmla="*/ 15 h 38"/>
                <a:gd name="T78" fmla="*/ 58 w 88"/>
                <a:gd name="T79" fmla="*/ 15 h 38"/>
                <a:gd name="T80" fmla="*/ 58 w 88"/>
                <a:gd name="T81" fmla="*/ 14 h 38"/>
                <a:gd name="T82" fmla="*/ 56 w 88"/>
                <a:gd name="T83" fmla="*/ 14 h 38"/>
                <a:gd name="T84" fmla="*/ 54 w 88"/>
                <a:gd name="T85" fmla="*/ 12 h 38"/>
                <a:gd name="T86" fmla="*/ 46 w 88"/>
                <a:gd name="T87" fmla="*/ 11 h 38"/>
                <a:gd name="T88" fmla="*/ 42 w 88"/>
                <a:gd name="T89" fmla="*/ 5 h 38"/>
                <a:gd name="T90" fmla="*/ 28 w 88"/>
                <a:gd name="T91" fmla="*/ 1 h 38"/>
                <a:gd name="T92" fmla="*/ 25 w 88"/>
                <a:gd name="T93" fmla="*/ 3 h 38"/>
                <a:gd name="T94" fmla="*/ 24 w 88"/>
                <a:gd name="T95" fmla="*/ 1 h 38"/>
                <a:gd name="T96" fmla="*/ 14 w 88"/>
                <a:gd name="T9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 h="38">
                  <a:moveTo>
                    <a:pt x="14" y="12"/>
                  </a:moveTo>
                  <a:cubicBezTo>
                    <a:pt x="14" y="12"/>
                    <a:pt x="14" y="14"/>
                    <a:pt x="14" y="15"/>
                  </a:cubicBezTo>
                  <a:cubicBezTo>
                    <a:pt x="15" y="14"/>
                    <a:pt x="17" y="17"/>
                    <a:pt x="12" y="19"/>
                  </a:cubicBezTo>
                  <a:cubicBezTo>
                    <a:pt x="11" y="20"/>
                    <a:pt x="16" y="19"/>
                    <a:pt x="14" y="19"/>
                  </a:cubicBezTo>
                  <a:cubicBezTo>
                    <a:pt x="19" y="16"/>
                    <a:pt x="17" y="20"/>
                    <a:pt x="18" y="13"/>
                  </a:cubicBezTo>
                  <a:cubicBezTo>
                    <a:pt x="17" y="13"/>
                    <a:pt x="16" y="13"/>
                    <a:pt x="14" y="12"/>
                  </a:cubicBezTo>
                  <a:close/>
                  <a:moveTo>
                    <a:pt x="14" y="1"/>
                  </a:moveTo>
                  <a:cubicBezTo>
                    <a:pt x="12" y="1"/>
                    <a:pt x="3" y="7"/>
                    <a:pt x="2" y="9"/>
                  </a:cubicBezTo>
                  <a:cubicBezTo>
                    <a:pt x="2" y="10"/>
                    <a:pt x="2" y="13"/>
                    <a:pt x="2" y="13"/>
                  </a:cubicBezTo>
                  <a:cubicBezTo>
                    <a:pt x="1" y="13"/>
                    <a:pt x="1" y="13"/>
                    <a:pt x="0" y="14"/>
                  </a:cubicBezTo>
                  <a:cubicBezTo>
                    <a:pt x="2" y="14"/>
                    <a:pt x="5" y="14"/>
                    <a:pt x="7" y="13"/>
                  </a:cubicBezTo>
                  <a:cubicBezTo>
                    <a:pt x="7" y="13"/>
                    <a:pt x="7" y="11"/>
                    <a:pt x="7" y="11"/>
                  </a:cubicBezTo>
                  <a:cubicBezTo>
                    <a:pt x="8" y="11"/>
                    <a:pt x="9" y="11"/>
                    <a:pt x="10" y="11"/>
                  </a:cubicBezTo>
                  <a:cubicBezTo>
                    <a:pt x="11" y="11"/>
                    <a:pt x="10" y="9"/>
                    <a:pt x="11" y="9"/>
                  </a:cubicBezTo>
                  <a:cubicBezTo>
                    <a:pt x="12" y="7"/>
                    <a:pt x="16" y="4"/>
                    <a:pt x="20" y="5"/>
                  </a:cubicBezTo>
                  <a:cubicBezTo>
                    <a:pt x="21" y="5"/>
                    <a:pt x="23" y="6"/>
                    <a:pt x="24" y="6"/>
                  </a:cubicBezTo>
                  <a:cubicBezTo>
                    <a:pt x="24" y="6"/>
                    <a:pt x="24" y="8"/>
                    <a:pt x="24" y="9"/>
                  </a:cubicBezTo>
                  <a:cubicBezTo>
                    <a:pt x="26" y="10"/>
                    <a:pt x="28" y="9"/>
                    <a:pt x="31" y="10"/>
                  </a:cubicBezTo>
                  <a:cubicBezTo>
                    <a:pt x="31" y="10"/>
                    <a:pt x="33" y="12"/>
                    <a:pt x="33" y="12"/>
                  </a:cubicBezTo>
                  <a:cubicBezTo>
                    <a:pt x="34" y="12"/>
                    <a:pt x="35" y="11"/>
                    <a:pt x="36" y="12"/>
                  </a:cubicBezTo>
                  <a:cubicBezTo>
                    <a:pt x="37" y="12"/>
                    <a:pt x="36" y="14"/>
                    <a:pt x="37" y="15"/>
                  </a:cubicBezTo>
                  <a:cubicBezTo>
                    <a:pt x="38" y="16"/>
                    <a:pt x="40" y="16"/>
                    <a:pt x="41" y="17"/>
                  </a:cubicBezTo>
                  <a:cubicBezTo>
                    <a:pt x="42" y="17"/>
                    <a:pt x="42" y="19"/>
                    <a:pt x="43" y="19"/>
                  </a:cubicBezTo>
                  <a:cubicBezTo>
                    <a:pt x="45" y="20"/>
                    <a:pt x="49" y="19"/>
                    <a:pt x="52" y="19"/>
                  </a:cubicBezTo>
                  <a:cubicBezTo>
                    <a:pt x="52" y="20"/>
                    <a:pt x="51" y="21"/>
                    <a:pt x="52" y="23"/>
                  </a:cubicBezTo>
                  <a:cubicBezTo>
                    <a:pt x="53" y="27"/>
                    <a:pt x="58" y="29"/>
                    <a:pt x="63" y="30"/>
                  </a:cubicBezTo>
                  <a:cubicBezTo>
                    <a:pt x="63" y="31"/>
                    <a:pt x="63" y="32"/>
                    <a:pt x="63" y="33"/>
                  </a:cubicBezTo>
                  <a:cubicBezTo>
                    <a:pt x="63" y="34"/>
                    <a:pt x="60" y="36"/>
                    <a:pt x="59" y="36"/>
                  </a:cubicBezTo>
                  <a:cubicBezTo>
                    <a:pt x="59" y="37"/>
                    <a:pt x="60" y="38"/>
                    <a:pt x="60" y="38"/>
                  </a:cubicBezTo>
                  <a:cubicBezTo>
                    <a:pt x="66" y="37"/>
                    <a:pt x="75" y="36"/>
                    <a:pt x="81" y="36"/>
                  </a:cubicBezTo>
                  <a:cubicBezTo>
                    <a:pt x="81" y="36"/>
                    <a:pt x="82" y="37"/>
                    <a:pt x="83" y="36"/>
                  </a:cubicBezTo>
                  <a:cubicBezTo>
                    <a:pt x="85" y="36"/>
                    <a:pt x="87" y="34"/>
                    <a:pt x="88" y="34"/>
                  </a:cubicBezTo>
                  <a:cubicBezTo>
                    <a:pt x="88" y="33"/>
                    <a:pt x="87" y="32"/>
                    <a:pt x="87" y="31"/>
                  </a:cubicBezTo>
                  <a:cubicBezTo>
                    <a:pt x="87" y="31"/>
                    <a:pt x="85" y="29"/>
                    <a:pt x="83" y="29"/>
                  </a:cubicBezTo>
                  <a:cubicBezTo>
                    <a:pt x="80" y="29"/>
                    <a:pt x="79" y="31"/>
                    <a:pt x="76" y="28"/>
                  </a:cubicBezTo>
                  <a:cubicBezTo>
                    <a:pt x="76" y="28"/>
                    <a:pt x="77" y="25"/>
                    <a:pt x="77" y="24"/>
                  </a:cubicBezTo>
                  <a:cubicBezTo>
                    <a:pt x="70" y="24"/>
                    <a:pt x="70" y="25"/>
                    <a:pt x="66" y="19"/>
                  </a:cubicBezTo>
                  <a:cubicBezTo>
                    <a:pt x="65" y="19"/>
                    <a:pt x="65" y="20"/>
                    <a:pt x="64" y="19"/>
                  </a:cubicBezTo>
                  <a:cubicBezTo>
                    <a:pt x="63" y="19"/>
                    <a:pt x="63" y="16"/>
                    <a:pt x="62" y="15"/>
                  </a:cubicBezTo>
                  <a:cubicBezTo>
                    <a:pt x="61" y="15"/>
                    <a:pt x="59" y="16"/>
                    <a:pt x="58" y="15"/>
                  </a:cubicBezTo>
                  <a:cubicBezTo>
                    <a:pt x="58" y="14"/>
                    <a:pt x="58" y="14"/>
                    <a:pt x="58" y="14"/>
                  </a:cubicBezTo>
                  <a:cubicBezTo>
                    <a:pt x="57" y="13"/>
                    <a:pt x="56" y="14"/>
                    <a:pt x="56" y="14"/>
                  </a:cubicBezTo>
                  <a:cubicBezTo>
                    <a:pt x="55" y="14"/>
                    <a:pt x="54" y="12"/>
                    <a:pt x="54" y="12"/>
                  </a:cubicBezTo>
                  <a:cubicBezTo>
                    <a:pt x="50" y="11"/>
                    <a:pt x="49" y="12"/>
                    <a:pt x="46" y="11"/>
                  </a:cubicBezTo>
                  <a:cubicBezTo>
                    <a:pt x="44" y="9"/>
                    <a:pt x="44" y="6"/>
                    <a:pt x="42" y="5"/>
                  </a:cubicBezTo>
                  <a:cubicBezTo>
                    <a:pt x="41" y="4"/>
                    <a:pt x="29" y="1"/>
                    <a:pt x="28" y="1"/>
                  </a:cubicBezTo>
                  <a:cubicBezTo>
                    <a:pt x="27" y="1"/>
                    <a:pt x="27" y="4"/>
                    <a:pt x="25" y="3"/>
                  </a:cubicBezTo>
                  <a:cubicBezTo>
                    <a:pt x="25" y="3"/>
                    <a:pt x="24" y="1"/>
                    <a:pt x="24" y="1"/>
                  </a:cubicBezTo>
                  <a:cubicBezTo>
                    <a:pt x="20" y="1"/>
                    <a:pt x="17" y="0"/>
                    <a:pt x="14" y="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42" name="Freeform 278">
              <a:extLst>
                <a:ext uri="{FF2B5EF4-FFF2-40B4-BE49-F238E27FC236}">
                  <a16:creationId xmlns:a16="http://schemas.microsoft.com/office/drawing/2014/main" id="{4CE2A5D2-C12D-93F0-F02E-0654596FF50E}"/>
                </a:ext>
              </a:extLst>
            </p:cNvPr>
            <p:cNvSpPr>
              <a:spLocks/>
            </p:cNvSpPr>
            <p:nvPr/>
          </p:nvSpPr>
          <p:spPr bwMode="auto">
            <a:xfrm>
              <a:off x="6380052" y="2370951"/>
              <a:ext cx="197606" cy="201200"/>
            </a:xfrm>
            <a:custGeom>
              <a:avLst/>
              <a:gdLst>
                <a:gd name="T0" fmla="*/ 45 w 56"/>
                <a:gd name="T1" fmla="*/ 57 h 57"/>
                <a:gd name="T2" fmla="*/ 42 w 56"/>
                <a:gd name="T3" fmla="*/ 53 h 57"/>
                <a:gd name="T4" fmla="*/ 41 w 56"/>
                <a:gd name="T5" fmla="*/ 51 h 57"/>
                <a:gd name="T6" fmla="*/ 37 w 56"/>
                <a:gd name="T7" fmla="*/ 48 h 57"/>
                <a:gd name="T8" fmla="*/ 33 w 56"/>
                <a:gd name="T9" fmla="*/ 45 h 57"/>
                <a:gd name="T10" fmla="*/ 25 w 56"/>
                <a:gd name="T11" fmla="*/ 36 h 57"/>
                <a:gd name="T12" fmla="*/ 25 w 56"/>
                <a:gd name="T13" fmla="*/ 33 h 57"/>
                <a:gd name="T14" fmla="*/ 21 w 56"/>
                <a:gd name="T15" fmla="*/ 26 h 57"/>
                <a:gd name="T16" fmla="*/ 21 w 56"/>
                <a:gd name="T17" fmla="*/ 23 h 57"/>
                <a:gd name="T18" fmla="*/ 24 w 56"/>
                <a:gd name="T19" fmla="*/ 22 h 57"/>
                <a:gd name="T20" fmla="*/ 27 w 56"/>
                <a:gd name="T21" fmla="*/ 24 h 57"/>
                <a:gd name="T22" fmla="*/ 30 w 56"/>
                <a:gd name="T23" fmla="*/ 25 h 57"/>
                <a:gd name="T24" fmla="*/ 38 w 56"/>
                <a:gd name="T25" fmla="*/ 24 h 57"/>
                <a:gd name="T26" fmla="*/ 43 w 56"/>
                <a:gd name="T27" fmla="*/ 26 h 57"/>
                <a:gd name="T28" fmla="*/ 44 w 56"/>
                <a:gd name="T29" fmla="*/ 27 h 57"/>
                <a:gd name="T30" fmla="*/ 52 w 56"/>
                <a:gd name="T31" fmla="*/ 28 h 57"/>
                <a:gd name="T32" fmla="*/ 52 w 56"/>
                <a:gd name="T33" fmla="*/ 23 h 57"/>
                <a:gd name="T34" fmla="*/ 53 w 56"/>
                <a:gd name="T35" fmla="*/ 19 h 57"/>
                <a:gd name="T36" fmla="*/ 52 w 56"/>
                <a:gd name="T37" fmla="*/ 19 h 57"/>
                <a:gd name="T38" fmla="*/ 46 w 56"/>
                <a:gd name="T39" fmla="*/ 18 h 57"/>
                <a:gd name="T40" fmla="*/ 38 w 56"/>
                <a:gd name="T41" fmla="*/ 14 h 57"/>
                <a:gd name="T42" fmla="*/ 32 w 56"/>
                <a:gd name="T43" fmla="*/ 6 h 57"/>
                <a:gd name="T44" fmla="*/ 27 w 56"/>
                <a:gd name="T45" fmla="*/ 0 h 57"/>
                <a:gd name="T46" fmla="*/ 24 w 56"/>
                <a:gd name="T47" fmla="*/ 3 h 57"/>
                <a:gd name="T48" fmla="*/ 21 w 56"/>
                <a:gd name="T49" fmla="*/ 5 h 57"/>
                <a:gd name="T50" fmla="*/ 18 w 56"/>
                <a:gd name="T51" fmla="*/ 7 h 57"/>
                <a:gd name="T52" fmla="*/ 15 w 56"/>
                <a:gd name="T53" fmla="*/ 15 h 57"/>
                <a:gd name="T54" fmla="*/ 11 w 56"/>
                <a:gd name="T55" fmla="*/ 13 h 57"/>
                <a:gd name="T56" fmla="*/ 10 w 56"/>
                <a:gd name="T57" fmla="*/ 18 h 57"/>
                <a:gd name="T58" fmla="*/ 0 w 56"/>
                <a:gd name="T59" fmla="*/ 21 h 57"/>
                <a:gd name="T60" fmla="*/ 0 w 56"/>
                <a:gd name="T61" fmla="*/ 21 h 57"/>
                <a:gd name="T62" fmla="*/ 2 w 56"/>
                <a:gd name="T63" fmla="*/ 29 h 57"/>
                <a:gd name="T64" fmla="*/ 4 w 56"/>
                <a:gd name="T65" fmla="*/ 28 h 57"/>
                <a:gd name="T66" fmla="*/ 4 w 56"/>
                <a:gd name="T67" fmla="*/ 26 h 57"/>
                <a:gd name="T68" fmla="*/ 7 w 56"/>
                <a:gd name="T69" fmla="*/ 26 h 57"/>
                <a:gd name="T70" fmla="*/ 9 w 56"/>
                <a:gd name="T71" fmla="*/ 20 h 57"/>
                <a:gd name="T72" fmla="*/ 11 w 56"/>
                <a:gd name="T73" fmla="*/ 30 h 57"/>
                <a:gd name="T74" fmla="*/ 14 w 56"/>
                <a:gd name="T75" fmla="*/ 36 h 57"/>
                <a:gd name="T76" fmla="*/ 14 w 56"/>
                <a:gd name="T77" fmla="*/ 38 h 57"/>
                <a:gd name="T78" fmla="*/ 18 w 56"/>
                <a:gd name="T79" fmla="*/ 41 h 57"/>
                <a:gd name="T80" fmla="*/ 20 w 56"/>
                <a:gd name="T81" fmla="*/ 41 h 57"/>
                <a:gd name="T82" fmla="*/ 22 w 56"/>
                <a:gd name="T83" fmla="*/ 44 h 57"/>
                <a:gd name="T84" fmla="*/ 27 w 56"/>
                <a:gd name="T85" fmla="*/ 43 h 57"/>
                <a:gd name="T86" fmla="*/ 34 w 56"/>
                <a:gd name="T87" fmla="*/ 51 h 57"/>
                <a:gd name="T88" fmla="*/ 38 w 56"/>
                <a:gd name="T89" fmla="*/ 52 h 57"/>
                <a:gd name="T90" fmla="*/ 42 w 56"/>
                <a:gd name="T91" fmla="*/ 56 h 57"/>
                <a:gd name="T92" fmla="*/ 45 w 56"/>
                <a:gd name="T9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57">
                  <a:moveTo>
                    <a:pt x="45" y="57"/>
                  </a:moveTo>
                  <a:cubicBezTo>
                    <a:pt x="45" y="57"/>
                    <a:pt x="43" y="55"/>
                    <a:pt x="42" y="53"/>
                  </a:cubicBezTo>
                  <a:cubicBezTo>
                    <a:pt x="42" y="52"/>
                    <a:pt x="41" y="51"/>
                    <a:pt x="41" y="51"/>
                  </a:cubicBezTo>
                  <a:cubicBezTo>
                    <a:pt x="41" y="51"/>
                    <a:pt x="38" y="50"/>
                    <a:pt x="37" y="48"/>
                  </a:cubicBezTo>
                  <a:cubicBezTo>
                    <a:pt x="35" y="47"/>
                    <a:pt x="35" y="48"/>
                    <a:pt x="33" y="45"/>
                  </a:cubicBezTo>
                  <a:cubicBezTo>
                    <a:pt x="32" y="43"/>
                    <a:pt x="27" y="39"/>
                    <a:pt x="25" y="36"/>
                  </a:cubicBezTo>
                  <a:cubicBezTo>
                    <a:pt x="23" y="33"/>
                    <a:pt x="26" y="36"/>
                    <a:pt x="25" y="33"/>
                  </a:cubicBezTo>
                  <a:cubicBezTo>
                    <a:pt x="25" y="30"/>
                    <a:pt x="21" y="26"/>
                    <a:pt x="21" y="26"/>
                  </a:cubicBezTo>
                  <a:cubicBezTo>
                    <a:pt x="21" y="26"/>
                    <a:pt x="21" y="25"/>
                    <a:pt x="21" y="23"/>
                  </a:cubicBezTo>
                  <a:cubicBezTo>
                    <a:pt x="21" y="21"/>
                    <a:pt x="23" y="21"/>
                    <a:pt x="24" y="22"/>
                  </a:cubicBezTo>
                  <a:cubicBezTo>
                    <a:pt x="24" y="23"/>
                    <a:pt x="26" y="26"/>
                    <a:pt x="27" y="24"/>
                  </a:cubicBezTo>
                  <a:cubicBezTo>
                    <a:pt x="28" y="22"/>
                    <a:pt x="29" y="24"/>
                    <a:pt x="30" y="25"/>
                  </a:cubicBezTo>
                  <a:cubicBezTo>
                    <a:pt x="32" y="27"/>
                    <a:pt x="36" y="23"/>
                    <a:pt x="38" y="24"/>
                  </a:cubicBezTo>
                  <a:cubicBezTo>
                    <a:pt x="40" y="25"/>
                    <a:pt x="43" y="26"/>
                    <a:pt x="43" y="26"/>
                  </a:cubicBezTo>
                  <a:cubicBezTo>
                    <a:pt x="43" y="26"/>
                    <a:pt x="44" y="25"/>
                    <a:pt x="44" y="27"/>
                  </a:cubicBezTo>
                  <a:cubicBezTo>
                    <a:pt x="45" y="30"/>
                    <a:pt x="52" y="28"/>
                    <a:pt x="52" y="28"/>
                  </a:cubicBezTo>
                  <a:cubicBezTo>
                    <a:pt x="52" y="28"/>
                    <a:pt x="56" y="26"/>
                    <a:pt x="52" y="23"/>
                  </a:cubicBezTo>
                  <a:cubicBezTo>
                    <a:pt x="50" y="22"/>
                    <a:pt x="53" y="19"/>
                    <a:pt x="53" y="19"/>
                  </a:cubicBezTo>
                  <a:cubicBezTo>
                    <a:pt x="52" y="19"/>
                    <a:pt x="52" y="19"/>
                    <a:pt x="52" y="19"/>
                  </a:cubicBezTo>
                  <a:cubicBezTo>
                    <a:pt x="52" y="19"/>
                    <a:pt x="48" y="20"/>
                    <a:pt x="46" y="18"/>
                  </a:cubicBezTo>
                  <a:cubicBezTo>
                    <a:pt x="44" y="17"/>
                    <a:pt x="41" y="17"/>
                    <a:pt x="38" y="14"/>
                  </a:cubicBezTo>
                  <a:cubicBezTo>
                    <a:pt x="35" y="12"/>
                    <a:pt x="33" y="9"/>
                    <a:pt x="32" y="6"/>
                  </a:cubicBezTo>
                  <a:cubicBezTo>
                    <a:pt x="32" y="3"/>
                    <a:pt x="27" y="0"/>
                    <a:pt x="27" y="0"/>
                  </a:cubicBezTo>
                  <a:cubicBezTo>
                    <a:pt x="27" y="0"/>
                    <a:pt x="24" y="1"/>
                    <a:pt x="24" y="3"/>
                  </a:cubicBezTo>
                  <a:cubicBezTo>
                    <a:pt x="24" y="5"/>
                    <a:pt x="23" y="5"/>
                    <a:pt x="21" y="5"/>
                  </a:cubicBezTo>
                  <a:cubicBezTo>
                    <a:pt x="19" y="5"/>
                    <a:pt x="19" y="3"/>
                    <a:pt x="18" y="7"/>
                  </a:cubicBezTo>
                  <a:cubicBezTo>
                    <a:pt x="18" y="9"/>
                    <a:pt x="17" y="14"/>
                    <a:pt x="15" y="15"/>
                  </a:cubicBezTo>
                  <a:cubicBezTo>
                    <a:pt x="12" y="15"/>
                    <a:pt x="11" y="10"/>
                    <a:pt x="11" y="13"/>
                  </a:cubicBezTo>
                  <a:cubicBezTo>
                    <a:pt x="11" y="16"/>
                    <a:pt x="11" y="16"/>
                    <a:pt x="10" y="18"/>
                  </a:cubicBezTo>
                  <a:cubicBezTo>
                    <a:pt x="9" y="20"/>
                    <a:pt x="0" y="21"/>
                    <a:pt x="0" y="21"/>
                  </a:cubicBezTo>
                  <a:cubicBezTo>
                    <a:pt x="0" y="21"/>
                    <a:pt x="0" y="21"/>
                    <a:pt x="0" y="21"/>
                  </a:cubicBezTo>
                  <a:cubicBezTo>
                    <a:pt x="1" y="22"/>
                    <a:pt x="2" y="28"/>
                    <a:pt x="2" y="29"/>
                  </a:cubicBezTo>
                  <a:cubicBezTo>
                    <a:pt x="2" y="29"/>
                    <a:pt x="4" y="29"/>
                    <a:pt x="4" y="28"/>
                  </a:cubicBezTo>
                  <a:cubicBezTo>
                    <a:pt x="4" y="28"/>
                    <a:pt x="4" y="27"/>
                    <a:pt x="4" y="26"/>
                  </a:cubicBezTo>
                  <a:cubicBezTo>
                    <a:pt x="4" y="25"/>
                    <a:pt x="5" y="26"/>
                    <a:pt x="7" y="26"/>
                  </a:cubicBezTo>
                  <a:cubicBezTo>
                    <a:pt x="7" y="24"/>
                    <a:pt x="8" y="21"/>
                    <a:pt x="9" y="20"/>
                  </a:cubicBezTo>
                  <a:cubicBezTo>
                    <a:pt x="12" y="23"/>
                    <a:pt x="12" y="24"/>
                    <a:pt x="11" y="30"/>
                  </a:cubicBezTo>
                  <a:cubicBezTo>
                    <a:pt x="12" y="31"/>
                    <a:pt x="20" y="36"/>
                    <a:pt x="14" y="36"/>
                  </a:cubicBezTo>
                  <a:cubicBezTo>
                    <a:pt x="14" y="36"/>
                    <a:pt x="15" y="38"/>
                    <a:pt x="14" y="38"/>
                  </a:cubicBezTo>
                  <a:cubicBezTo>
                    <a:pt x="16" y="39"/>
                    <a:pt x="18" y="41"/>
                    <a:pt x="18" y="41"/>
                  </a:cubicBezTo>
                  <a:cubicBezTo>
                    <a:pt x="19" y="41"/>
                    <a:pt x="20" y="40"/>
                    <a:pt x="20" y="41"/>
                  </a:cubicBezTo>
                  <a:cubicBezTo>
                    <a:pt x="21" y="41"/>
                    <a:pt x="21" y="43"/>
                    <a:pt x="22" y="44"/>
                  </a:cubicBezTo>
                  <a:cubicBezTo>
                    <a:pt x="24" y="44"/>
                    <a:pt x="26" y="43"/>
                    <a:pt x="27" y="43"/>
                  </a:cubicBezTo>
                  <a:cubicBezTo>
                    <a:pt x="28" y="43"/>
                    <a:pt x="33" y="50"/>
                    <a:pt x="34" y="51"/>
                  </a:cubicBezTo>
                  <a:cubicBezTo>
                    <a:pt x="36" y="52"/>
                    <a:pt x="38" y="52"/>
                    <a:pt x="38" y="52"/>
                  </a:cubicBezTo>
                  <a:cubicBezTo>
                    <a:pt x="40" y="52"/>
                    <a:pt x="41" y="55"/>
                    <a:pt x="42" y="56"/>
                  </a:cubicBezTo>
                  <a:cubicBezTo>
                    <a:pt x="43" y="57"/>
                    <a:pt x="44" y="57"/>
                    <a:pt x="45" y="57"/>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43" name="Freeform 279">
              <a:extLst>
                <a:ext uri="{FF2B5EF4-FFF2-40B4-BE49-F238E27FC236}">
                  <a16:creationId xmlns:a16="http://schemas.microsoft.com/office/drawing/2014/main" id="{F70C8DF2-9409-B255-06C1-DB78748AD429}"/>
                </a:ext>
              </a:extLst>
            </p:cNvPr>
            <p:cNvSpPr>
              <a:spLocks/>
            </p:cNvSpPr>
            <p:nvPr/>
          </p:nvSpPr>
          <p:spPr bwMode="auto">
            <a:xfrm>
              <a:off x="6380052" y="2370951"/>
              <a:ext cx="197606" cy="201200"/>
            </a:xfrm>
            <a:custGeom>
              <a:avLst/>
              <a:gdLst>
                <a:gd name="T0" fmla="*/ 45 w 56"/>
                <a:gd name="T1" fmla="*/ 57 h 57"/>
                <a:gd name="T2" fmla="*/ 42 w 56"/>
                <a:gd name="T3" fmla="*/ 53 h 57"/>
                <a:gd name="T4" fmla="*/ 41 w 56"/>
                <a:gd name="T5" fmla="*/ 51 h 57"/>
                <a:gd name="T6" fmla="*/ 37 w 56"/>
                <a:gd name="T7" fmla="*/ 48 h 57"/>
                <a:gd name="T8" fmla="*/ 33 w 56"/>
                <a:gd name="T9" fmla="*/ 45 h 57"/>
                <a:gd name="T10" fmla="*/ 25 w 56"/>
                <a:gd name="T11" fmla="*/ 36 h 57"/>
                <a:gd name="T12" fmla="*/ 25 w 56"/>
                <a:gd name="T13" fmla="*/ 33 h 57"/>
                <a:gd name="T14" fmla="*/ 21 w 56"/>
                <a:gd name="T15" fmla="*/ 26 h 57"/>
                <a:gd name="T16" fmla="*/ 21 w 56"/>
                <a:gd name="T17" fmla="*/ 23 h 57"/>
                <a:gd name="T18" fmla="*/ 24 w 56"/>
                <a:gd name="T19" fmla="*/ 22 h 57"/>
                <a:gd name="T20" fmla="*/ 27 w 56"/>
                <a:gd name="T21" fmla="*/ 24 h 57"/>
                <a:gd name="T22" fmla="*/ 30 w 56"/>
                <a:gd name="T23" fmla="*/ 25 h 57"/>
                <a:gd name="T24" fmla="*/ 38 w 56"/>
                <a:gd name="T25" fmla="*/ 24 h 57"/>
                <a:gd name="T26" fmla="*/ 43 w 56"/>
                <a:gd name="T27" fmla="*/ 26 h 57"/>
                <a:gd name="T28" fmla="*/ 44 w 56"/>
                <a:gd name="T29" fmla="*/ 27 h 57"/>
                <a:gd name="T30" fmla="*/ 52 w 56"/>
                <a:gd name="T31" fmla="*/ 28 h 57"/>
                <a:gd name="T32" fmla="*/ 52 w 56"/>
                <a:gd name="T33" fmla="*/ 23 h 57"/>
                <a:gd name="T34" fmla="*/ 53 w 56"/>
                <a:gd name="T35" fmla="*/ 19 h 57"/>
                <a:gd name="T36" fmla="*/ 52 w 56"/>
                <a:gd name="T37" fmla="*/ 19 h 57"/>
                <a:gd name="T38" fmla="*/ 46 w 56"/>
                <a:gd name="T39" fmla="*/ 18 h 57"/>
                <a:gd name="T40" fmla="*/ 38 w 56"/>
                <a:gd name="T41" fmla="*/ 14 h 57"/>
                <a:gd name="T42" fmla="*/ 32 w 56"/>
                <a:gd name="T43" fmla="*/ 6 h 57"/>
                <a:gd name="T44" fmla="*/ 27 w 56"/>
                <a:gd name="T45" fmla="*/ 0 h 57"/>
                <a:gd name="T46" fmla="*/ 24 w 56"/>
                <a:gd name="T47" fmla="*/ 3 h 57"/>
                <a:gd name="T48" fmla="*/ 21 w 56"/>
                <a:gd name="T49" fmla="*/ 5 h 57"/>
                <a:gd name="T50" fmla="*/ 18 w 56"/>
                <a:gd name="T51" fmla="*/ 7 h 57"/>
                <a:gd name="T52" fmla="*/ 15 w 56"/>
                <a:gd name="T53" fmla="*/ 15 h 57"/>
                <a:gd name="T54" fmla="*/ 11 w 56"/>
                <a:gd name="T55" fmla="*/ 13 h 57"/>
                <a:gd name="T56" fmla="*/ 10 w 56"/>
                <a:gd name="T57" fmla="*/ 18 h 57"/>
                <a:gd name="T58" fmla="*/ 0 w 56"/>
                <a:gd name="T59" fmla="*/ 21 h 57"/>
                <a:gd name="T60" fmla="*/ 0 w 56"/>
                <a:gd name="T61" fmla="*/ 21 h 57"/>
                <a:gd name="T62" fmla="*/ 2 w 56"/>
                <a:gd name="T63" fmla="*/ 29 h 57"/>
                <a:gd name="T64" fmla="*/ 4 w 56"/>
                <a:gd name="T65" fmla="*/ 28 h 57"/>
                <a:gd name="T66" fmla="*/ 4 w 56"/>
                <a:gd name="T67" fmla="*/ 26 h 57"/>
                <a:gd name="T68" fmla="*/ 7 w 56"/>
                <a:gd name="T69" fmla="*/ 26 h 57"/>
                <a:gd name="T70" fmla="*/ 9 w 56"/>
                <a:gd name="T71" fmla="*/ 20 h 57"/>
                <a:gd name="T72" fmla="*/ 11 w 56"/>
                <a:gd name="T73" fmla="*/ 30 h 57"/>
                <a:gd name="T74" fmla="*/ 14 w 56"/>
                <a:gd name="T75" fmla="*/ 36 h 57"/>
                <a:gd name="T76" fmla="*/ 14 w 56"/>
                <a:gd name="T77" fmla="*/ 38 h 57"/>
                <a:gd name="T78" fmla="*/ 18 w 56"/>
                <a:gd name="T79" fmla="*/ 41 h 57"/>
                <a:gd name="T80" fmla="*/ 20 w 56"/>
                <a:gd name="T81" fmla="*/ 41 h 57"/>
                <a:gd name="T82" fmla="*/ 22 w 56"/>
                <a:gd name="T83" fmla="*/ 44 h 57"/>
                <a:gd name="T84" fmla="*/ 27 w 56"/>
                <a:gd name="T85" fmla="*/ 43 h 57"/>
                <a:gd name="T86" fmla="*/ 34 w 56"/>
                <a:gd name="T87" fmla="*/ 51 h 57"/>
                <a:gd name="T88" fmla="*/ 38 w 56"/>
                <a:gd name="T89" fmla="*/ 52 h 57"/>
                <a:gd name="T90" fmla="*/ 42 w 56"/>
                <a:gd name="T91" fmla="*/ 56 h 57"/>
                <a:gd name="T92" fmla="*/ 45 w 56"/>
                <a:gd name="T9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 h="57">
                  <a:moveTo>
                    <a:pt x="45" y="57"/>
                  </a:moveTo>
                  <a:cubicBezTo>
                    <a:pt x="45" y="57"/>
                    <a:pt x="43" y="55"/>
                    <a:pt x="42" y="53"/>
                  </a:cubicBezTo>
                  <a:cubicBezTo>
                    <a:pt x="42" y="52"/>
                    <a:pt x="41" y="51"/>
                    <a:pt x="41" y="51"/>
                  </a:cubicBezTo>
                  <a:cubicBezTo>
                    <a:pt x="41" y="51"/>
                    <a:pt x="38" y="50"/>
                    <a:pt x="37" y="48"/>
                  </a:cubicBezTo>
                  <a:cubicBezTo>
                    <a:pt x="35" y="47"/>
                    <a:pt x="35" y="48"/>
                    <a:pt x="33" y="45"/>
                  </a:cubicBezTo>
                  <a:cubicBezTo>
                    <a:pt x="32" y="43"/>
                    <a:pt x="27" y="39"/>
                    <a:pt x="25" y="36"/>
                  </a:cubicBezTo>
                  <a:cubicBezTo>
                    <a:pt x="23" y="33"/>
                    <a:pt x="26" y="36"/>
                    <a:pt x="25" y="33"/>
                  </a:cubicBezTo>
                  <a:cubicBezTo>
                    <a:pt x="25" y="30"/>
                    <a:pt x="21" y="26"/>
                    <a:pt x="21" y="26"/>
                  </a:cubicBezTo>
                  <a:cubicBezTo>
                    <a:pt x="21" y="26"/>
                    <a:pt x="21" y="25"/>
                    <a:pt x="21" y="23"/>
                  </a:cubicBezTo>
                  <a:cubicBezTo>
                    <a:pt x="21" y="21"/>
                    <a:pt x="23" y="21"/>
                    <a:pt x="24" y="22"/>
                  </a:cubicBezTo>
                  <a:cubicBezTo>
                    <a:pt x="24" y="23"/>
                    <a:pt x="26" y="26"/>
                    <a:pt x="27" y="24"/>
                  </a:cubicBezTo>
                  <a:cubicBezTo>
                    <a:pt x="28" y="22"/>
                    <a:pt x="29" y="24"/>
                    <a:pt x="30" y="25"/>
                  </a:cubicBezTo>
                  <a:cubicBezTo>
                    <a:pt x="32" y="27"/>
                    <a:pt x="36" y="23"/>
                    <a:pt x="38" y="24"/>
                  </a:cubicBezTo>
                  <a:cubicBezTo>
                    <a:pt x="40" y="25"/>
                    <a:pt x="43" y="26"/>
                    <a:pt x="43" y="26"/>
                  </a:cubicBezTo>
                  <a:cubicBezTo>
                    <a:pt x="43" y="26"/>
                    <a:pt x="44" y="25"/>
                    <a:pt x="44" y="27"/>
                  </a:cubicBezTo>
                  <a:cubicBezTo>
                    <a:pt x="45" y="30"/>
                    <a:pt x="52" y="28"/>
                    <a:pt x="52" y="28"/>
                  </a:cubicBezTo>
                  <a:cubicBezTo>
                    <a:pt x="52" y="28"/>
                    <a:pt x="56" y="26"/>
                    <a:pt x="52" y="23"/>
                  </a:cubicBezTo>
                  <a:cubicBezTo>
                    <a:pt x="50" y="22"/>
                    <a:pt x="53" y="19"/>
                    <a:pt x="53" y="19"/>
                  </a:cubicBezTo>
                  <a:cubicBezTo>
                    <a:pt x="52" y="19"/>
                    <a:pt x="52" y="19"/>
                    <a:pt x="52" y="19"/>
                  </a:cubicBezTo>
                  <a:cubicBezTo>
                    <a:pt x="52" y="19"/>
                    <a:pt x="48" y="20"/>
                    <a:pt x="46" y="18"/>
                  </a:cubicBezTo>
                  <a:cubicBezTo>
                    <a:pt x="44" y="17"/>
                    <a:pt x="41" y="17"/>
                    <a:pt x="38" y="14"/>
                  </a:cubicBezTo>
                  <a:cubicBezTo>
                    <a:pt x="35" y="12"/>
                    <a:pt x="33" y="9"/>
                    <a:pt x="32" y="6"/>
                  </a:cubicBezTo>
                  <a:cubicBezTo>
                    <a:pt x="32" y="3"/>
                    <a:pt x="27" y="0"/>
                    <a:pt x="27" y="0"/>
                  </a:cubicBezTo>
                  <a:cubicBezTo>
                    <a:pt x="27" y="0"/>
                    <a:pt x="24" y="1"/>
                    <a:pt x="24" y="3"/>
                  </a:cubicBezTo>
                  <a:cubicBezTo>
                    <a:pt x="24" y="5"/>
                    <a:pt x="23" y="5"/>
                    <a:pt x="21" y="5"/>
                  </a:cubicBezTo>
                  <a:cubicBezTo>
                    <a:pt x="19" y="5"/>
                    <a:pt x="19" y="3"/>
                    <a:pt x="18" y="7"/>
                  </a:cubicBezTo>
                  <a:cubicBezTo>
                    <a:pt x="18" y="9"/>
                    <a:pt x="17" y="14"/>
                    <a:pt x="15" y="15"/>
                  </a:cubicBezTo>
                  <a:cubicBezTo>
                    <a:pt x="12" y="15"/>
                    <a:pt x="11" y="10"/>
                    <a:pt x="11" y="13"/>
                  </a:cubicBezTo>
                  <a:cubicBezTo>
                    <a:pt x="11" y="16"/>
                    <a:pt x="11" y="16"/>
                    <a:pt x="10" y="18"/>
                  </a:cubicBezTo>
                  <a:cubicBezTo>
                    <a:pt x="9" y="20"/>
                    <a:pt x="0" y="21"/>
                    <a:pt x="0" y="21"/>
                  </a:cubicBezTo>
                  <a:cubicBezTo>
                    <a:pt x="0" y="21"/>
                    <a:pt x="0" y="21"/>
                    <a:pt x="0" y="21"/>
                  </a:cubicBezTo>
                  <a:cubicBezTo>
                    <a:pt x="1" y="22"/>
                    <a:pt x="2" y="28"/>
                    <a:pt x="2" y="29"/>
                  </a:cubicBezTo>
                  <a:cubicBezTo>
                    <a:pt x="2" y="29"/>
                    <a:pt x="4" y="29"/>
                    <a:pt x="4" y="28"/>
                  </a:cubicBezTo>
                  <a:cubicBezTo>
                    <a:pt x="4" y="28"/>
                    <a:pt x="4" y="27"/>
                    <a:pt x="4" y="26"/>
                  </a:cubicBezTo>
                  <a:cubicBezTo>
                    <a:pt x="4" y="25"/>
                    <a:pt x="5" y="26"/>
                    <a:pt x="7" y="26"/>
                  </a:cubicBezTo>
                  <a:cubicBezTo>
                    <a:pt x="7" y="24"/>
                    <a:pt x="8" y="21"/>
                    <a:pt x="9" y="20"/>
                  </a:cubicBezTo>
                  <a:cubicBezTo>
                    <a:pt x="12" y="23"/>
                    <a:pt x="12" y="24"/>
                    <a:pt x="11" y="30"/>
                  </a:cubicBezTo>
                  <a:cubicBezTo>
                    <a:pt x="12" y="31"/>
                    <a:pt x="20" y="36"/>
                    <a:pt x="14" y="36"/>
                  </a:cubicBezTo>
                  <a:cubicBezTo>
                    <a:pt x="14" y="36"/>
                    <a:pt x="15" y="38"/>
                    <a:pt x="14" y="38"/>
                  </a:cubicBezTo>
                  <a:cubicBezTo>
                    <a:pt x="16" y="39"/>
                    <a:pt x="18" y="41"/>
                    <a:pt x="18" y="41"/>
                  </a:cubicBezTo>
                  <a:cubicBezTo>
                    <a:pt x="19" y="41"/>
                    <a:pt x="20" y="40"/>
                    <a:pt x="20" y="41"/>
                  </a:cubicBezTo>
                  <a:cubicBezTo>
                    <a:pt x="21" y="41"/>
                    <a:pt x="21" y="43"/>
                    <a:pt x="22" y="44"/>
                  </a:cubicBezTo>
                  <a:cubicBezTo>
                    <a:pt x="24" y="44"/>
                    <a:pt x="26" y="43"/>
                    <a:pt x="27" y="43"/>
                  </a:cubicBezTo>
                  <a:cubicBezTo>
                    <a:pt x="28" y="43"/>
                    <a:pt x="33" y="50"/>
                    <a:pt x="34" y="51"/>
                  </a:cubicBezTo>
                  <a:cubicBezTo>
                    <a:pt x="36" y="52"/>
                    <a:pt x="38" y="52"/>
                    <a:pt x="38" y="52"/>
                  </a:cubicBezTo>
                  <a:cubicBezTo>
                    <a:pt x="40" y="52"/>
                    <a:pt x="41" y="55"/>
                    <a:pt x="42" y="56"/>
                  </a:cubicBezTo>
                  <a:cubicBezTo>
                    <a:pt x="43" y="57"/>
                    <a:pt x="44" y="57"/>
                    <a:pt x="45" y="57"/>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44" name="Freeform 280">
              <a:extLst>
                <a:ext uri="{FF2B5EF4-FFF2-40B4-BE49-F238E27FC236}">
                  <a16:creationId xmlns:a16="http://schemas.microsoft.com/office/drawing/2014/main" id="{916A6EE3-DA04-C764-79FA-B72F494519EB}"/>
                </a:ext>
              </a:extLst>
            </p:cNvPr>
            <p:cNvSpPr>
              <a:spLocks/>
            </p:cNvSpPr>
            <p:nvPr/>
          </p:nvSpPr>
          <p:spPr bwMode="auto">
            <a:xfrm>
              <a:off x="3356697" y="3795520"/>
              <a:ext cx="105988" cy="123955"/>
            </a:xfrm>
            <a:custGeom>
              <a:avLst/>
              <a:gdLst>
                <a:gd name="T0" fmla="*/ 10 w 30"/>
                <a:gd name="T1" fmla="*/ 3 h 35"/>
                <a:gd name="T2" fmla="*/ 14 w 30"/>
                <a:gd name="T3" fmla="*/ 3 h 35"/>
                <a:gd name="T4" fmla="*/ 17 w 30"/>
                <a:gd name="T5" fmla="*/ 5 h 35"/>
                <a:gd name="T6" fmla="*/ 20 w 30"/>
                <a:gd name="T7" fmla="*/ 5 h 35"/>
                <a:gd name="T8" fmla="*/ 22 w 30"/>
                <a:gd name="T9" fmla="*/ 11 h 35"/>
                <a:gd name="T10" fmla="*/ 30 w 30"/>
                <a:gd name="T11" fmla="*/ 20 h 35"/>
                <a:gd name="T12" fmla="*/ 27 w 30"/>
                <a:gd name="T13" fmla="*/ 21 h 35"/>
                <a:gd name="T14" fmla="*/ 25 w 30"/>
                <a:gd name="T15" fmla="*/ 20 h 35"/>
                <a:gd name="T16" fmla="*/ 25 w 30"/>
                <a:gd name="T17" fmla="*/ 25 h 35"/>
                <a:gd name="T18" fmla="*/ 27 w 30"/>
                <a:gd name="T19" fmla="*/ 31 h 35"/>
                <a:gd name="T20" fmla="*/ 26 w 30"/>
                <a:gd name="T21" fmla="*/ 35 h 35"/>
                <a:gd name="T22" fmla="*/ 24 w 30"/>
                <a:gd name="T23" fmla="*/ 30 h 35"/>
                <a:gd name="T24" fmla="*/ 22 w 30"/>
                <a:gd name="T25" fmla="*/ 29 h 35"/>
                <a:gd name="T26" fmla="*/ 21 w 30"/>
                <a:gd name="T27" fmla="*/ 34 h 35"/>
                <a:gd name="T28" fmla="*/ 20 w 30"/>
                <a:gd name="T29" fmla="*/ 24 h 35"/>
                <a:gd name="T30" fmla="*/ 15 w 30"/>
                <a:gd name="T31" fmla="*/ 22 h 35"/>
                <a:gd name="T32" fmla="*/ 15 w 30"/>
                <a:gd name="T33" fmla="*/ 21 h 35"/>
                <a:gd name="T34" fmla="*/ 13 w 30"/>
                <a:gd name="T35" fmla="*/ 21 h 35"/>
                <a:gd name="T36" fmla="*/ 11 w 30"/>
                <a:gd name="T37" fmla="*/ 16 h 35"/>
                <a:gd name="T38" fmla="*/ 9 w 30"/>
                <a:gd name="T39" fmla="*/ 15 h 35"/>
                <a:gd name="T40" fmla="*/ 8 w 30"/>
                <a:gd name="T41" fmla="*/ 15 h 35"/>
                <a:gd name="T42" fmla="*/ 8 w 30"/>
                <a:gd name="T43" fmla="*/ 18 h 35"/>
                <a:gd name="T44" fmla="*/ 7 w 30"/>
                <a:gd name="T45" fmla="*/ 20 h 35"/>
                <a:gd name="T46" fmla="*/ 5 w 30"/>
                <a:gd name="T47" fmla="*/ 20 h 35"/>
                <a:gd name="T48" fmla="*/ 3 w 30"/>
                <a:gd name="T49" fmla="*/ 17 h 35"/>
                <a:gd name="T50" fmla="*/ 0 w 30"/>
                <a:gd name="T51" fmla="*/ 16 h 35"/>
                <a:gd name="T52" fmla="*/ 1 w 30"/>
                <a:gd name="T53" fmla="*/ 11 h 35"/>
                <a:gd name="T54" fmla="*/ 3 w 30"/>
                <a:gd name="T55" fmla="*/ 11 h 35"/>
                <a:gd name="T56" fmla="*/ 2 w 30"/>
                <a:gd name="T57" fmla="*/ 9 h 35"/>
                <a:gd name="T58" fmla="*/ 1 w 30"/>
                <a:gd name="T59" fmla="*/ 3 h 35"/>
                <a:gd name="T60" fmla="*/ 0 w 30"/>
                <a:gd name="T61" fmla="*/ 0 h 35"/>
                <a:gd name="T62" fmla="*/ 3 w 30"/>
                <a:gd name="T63" fmla="*/ 1 h 35"/>
                <a:gd name="T64" fmla="*/ 10 w 30"/>
                <a:gd name="T65" fmla="*/ 4 h 35"/>
                <a:gd name="T66" fmla="*/ 10 w 30"/>
                <a:gd name="T67"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5">
                  <a:moveTo>
                    <a:pt x="10" y="3"/>
                  </a:moveTo>
                  <a:cubicBezTo>
                    <a:pt x="12" y="3"/>
                    <a:pt x="14" y="3"/>
                    <a:pt x="14" y="3"/>
                  </a:cubicBezTo>
                  <a:cubicBezTo>
                    <a:pt x="14" y="3"/>
                    <a:pt x="15" y="5"/>
                    <a:pt x="17" y="5"/>
                  </a:cubicBezTo>
                  <a:cubicBezTo>
                    <a:pt x="19" y="5"/>
                    <a:pt x="20" y="5"/>
                    <a:pt x="20" y="5"/>
                  </a:cubicBezTo>
                  <a:cubicBezTo>
                    <a:pt x="21" y="7"/>
                    <a:pt x="21" y="9"/>
                    <a:pt x="22" y="11"/>
                  </a:cubicBezTo>
                  <a:cubicBezTo>
                    <a:pt x="23" y="14"/>
                    <a:pt x="29" y="17"/>
                    <a:pt x="30" y="20"/>
                  </a:cubicBezTo>
                  <a:cubicBezTo>
                    <a:pt x="27" y="21"/>
                    <a:pt x="27" y="21"/>
                    <a:pt x="27" y="21"/>
                  </a:cubicBezTo>
                  <a:cubicBezTo>
                    <a:pt x="25" y="20"/>
                    <a:pt x="25" y="20"/>
                    <a:pt x="25" y="20"/>
                  </a:cubicBezTo>
                  <a:cubicBezTo>
                    <a:pt x="25" y="20"/>
                    <a:pt x="26" y="23"/>
                    <a:pt x="25" y="25"/>
                  </a:cubicBezTo>
                  <a:cubicBezTo>
                    <a:pt x="24" y="27"/>
                    <a:pt x="27" y="29"/>
                    <a:pt x="27" y="31"/>
                  </a:cubicBezTo>
                  <a:cubicBezTo>
                    <a:pt x="26" y="32"/>
                    <a:pt x="26" y="35"/>
                    <a:pt x="26" y="35"/>
                  </a:cubicBezTo>
                  <a:cubicBezTo>
                    <a:pt x="24" y="30"/>
                    <a:pt x="24" y="30"/>
                    <a:pt x="24" y="30"/>
                  </a:cubicBezTo>
                  <a:cubicBezTo>
                    <a:pt x="24" y="30"/>
                    <a:pt x="22" y="29"/>
                    <a:pt x="22" y="29"/>
                  </a:cubicBezTo>
                  <a:cubicBezTo>
                    <a:pt x="22" y="31"/>
                    <a:pt x="21" y="33"/>
                    <a:pt x="21" y="34"/>
                  </a:cubicBezTo>
                  <a:cubicBezTo>
                    <a:pt x="19" y="30"/>
                    <a:pt x="19" y="29"/>
                    <a:pt x="20" y="24"/>
                  </a:cubicBezTo>
                  <a:cubicBezTo>
                    <a:pt x="18" y="23"/>
                    <a:pt x="17" y="23"/>
                    <a:pt x="15" y="22"/>
                  </a:cubicBezTo>
                  <a:cubicBezTo>
                    <a:pt x="15" y="21"/>
                    <a:pt x="15" y="21"/>
                    <a:pt x="15" y="21"/>
                  </a:cubicBezTo>
                  <a:cubicBezTo>
                    <a:pt x="15" y="21"/>
                    <a:pt x="13" y="21"/>
                    <a:pt x="13" y="21"/>
                  </a:cubicBezTo>
                  <a:cubicBezTo>
                    <a:pt x="12" y="20"/>
                    <a:pt x="12" y="18"/>
                    <a:pt x="11" y="16"/>
                  </a:cubicBezTo>
                  <a:cubicBezTo>
                    <a:pt x="11" y="16"/>
                    <a:pt x="10" y="16"/>
                    <a:pt x="9" y="15"/>
                  </a:cubicBezTo>
                  <a:cubicBezTo>
                    <a:pt x="8" y="15"/>
                    <a:pt x="8" y="15"/>
                    <a:pt x="8" y="15"/>
                  </a:cubicBezTo>
                  <a:cubicBezTo>
                    <a:pt x="8" y="15"/>
                    <a:pt x="8" y="17"/>
                    <a:pt x="8" y="18"/>
                  </a:cubicBezTo>
                  <a:cubicBezTo>
                    <a:pt x="7" y="19"/>
                    <a:pt x="8" y="19"/>
                    <a:pt x="7" y="20"/>
                  </a:cubicBezTo>
                  <a:cubicBezTo>
                    <a:pt x="7" y="20"/>
                    <a:pt x="6" y="21"/>
                    <a:pt x="5" y="20"/>
                  </a:cubicBezTo>
                  <a:cubicBezTo>
                    <a:pt x="4" y="20"/>
                    <a:pt x="4" y="18"/>
                    <a:pt x="3" y="17"/>
                  </a:cubicBezTo>
                  <a:cubicBezTo>
                    <a:pt x="2" y="16"/>
                    <a:pt x="1" y="16"/>
                    <a:pt x="0" y="16"/>
                  </a:cubicBezTo>
                  <a:cubicBezTo>
                    <a:pt x="1" y="14"/>
                    <a:pt x="1" y="12"/>
                    <a:pt x="1" y="11"/>
                  </a:cubicBezTo>
                  <a:cubicBezTo>
                    <a:pt x="2" y="11"/>
                    <a:pt x="3" y="11"/>
                    <a:pt x="3" y="11"/>
                  </a:cubicBezTo>
                  <a:cubicBezTo>
                    <a:pt x="4" y="9"/>
                    <a:pt x="2" y="9"/>
                    <a:pt x="2" y="9"/>
                  </a:cubicBezTo>
                  <a:cubicBezTo>
                    <a:pt x="1" y="7"/>
                    <a:pt x="2" y="5"/>
                    <a:pt x="1" y="3"/>
                  </a:cubicBezTo>
                  <a:cubicBezTo>
                    <a:pt x="1" y="2"/>
                    <a:pt x="0" y="1"/>
                    <a:pt x="0" y="0"/>
                  </a:cubicBezTo>
                  <a:cubicBezTo>
                    <a:pt x="0" y="0"/>
                    <a:pt x="1" y="0"/>
                    <a:pt x="3" y="1"/>
                  </a:cubicBezTo>
                  <a:cubicBezTo>
                    <a:pt x="4" y="3"/>
                    <a:pt x="6" y="3"/>
                    <a:pt x="10" y="4"/>
                  </a:cubicBezTo>
                  <a:cubicBezTo>
                    <a:pt x="10" y="4"/>
                    <a:pt x="10" y="3"/>
                    <a:pt x="10" y="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45" name="Freeform 281">
              <a:extLst>
                <a:ext uri="{FF2B5EF4-FFF2-40B4-BE49-F238E27FC236}">
                  <a16:creationId xmlns:a16="http://schemas.microsoft.com/office/drawing/2014/main" id="{B7320F50-20A3-7A9D-6A83-E0D8CDFAC2B2}"/>
                </a:ext>
              </a:extLst>
            </p:cNvPr>
            <p:cNvSpPr>
              <a:spLocks/>
            </p:cNvSpPr>
            <p:nvPr/>
          </p:nvSpPr>
          <p:spPr bwMode="auto">
            <a:xfrm>
              <a:off x="3356697" y="3795520"/>
              <a:ext cx="105988" cy="123955"/>
            </a:xfrm>
            <a:custGeom>
              <a:avLst/>
              <a:gdLst>
                <a:gd name="T0" fmla="*/ 10 w 30"/>
                <a:gd name="T1" fmla="*/ 3 h 35"/>
                <a:gd name="T2" fmla="*/ 14 w 30"/>
                <a:gd name="T3" fmla="*/ 3 h 35"/>
                <a:gd name="T4" fmla="*/ 17 w 30"/>
                <a:gd name="T5" fmla="*/ 5 h 35"/>
                <a:gd name="T6" fmla="*/ 20 w 30"/>
                <a:gd name="T7" fmla="*/ 5 h 35"/>
                <a:gd name="T8" fmla="*/ 22 w 30"/>
                <a:gd name="T9" fmla="*/ 11 h 35"/>
                <a:gd name="T10" fmla="*/ 30 w 30"/>
                <a:gd name="T11" fmla="*/ 20 h 35"/>
                <a:gd name="T12" fmla="*/ 27 w 30"/>
                <a:gd name="T13" fmla="*/ 21 h 35"/>
                <a:gd name="T14" fmla="*/ 25 w 30"/>
                <a:gd name="T15" fmla="*/ 20 h 35"/>
                <a:gd name="T16" fmla="*/ 25 w 30"/>
                <a:gd name="T17" fmla="*/ 25 h 35"/>
                <a:gd name="T18" fmla="*/ 27 w 30"/>
                <a:gd name="T19" fmla="*/ 31 h 35"/>
                <a:gd name="T20" fmla="*/ 26 w 30"/>
                <a:gd name="T21" fmla="*/ 35 h 35"/>
                <a:gd name="T22" fmla="*/ 24 w 30"/>
                <a:gd name="T23" fmla="*/ 30 h 35"/>
                <a:gd name="T24" fmla="*/ 22 w 30"/>
                <a:gd name="T25" fmla="*/ 29 h 35"/>
                <a:gd name="T26" fmla="*/ 21 w 30"/>
                <a:gd name="T27" fmla="*/ 34 h 35"/>
                <a:gd name="T28" fmla="*/ 20 w 30"/>
                <a:gd name="T29" fmla="*/ 24 h 35"/>
                <a:gd name="T30" fmla="*/ 15 w 30"/>
                <a:gd name="T31" fmla="*/ 22 h 35"/>
                <a:gd name="T32" fmla="*/ 15 w 30"/>
                <a:gd name="T33" fmla="*/ 21 h 35"/>
                <a:gd name="T34" fmla="*/ 13 w 30"/>
                <a:gd name="T35" fmla="*/ 21 h 35"/>
                <a:gd name="T36" fmla="*/ 11 w 30"/>
                <a:gd name="T37" fmla="*/ 16 h 35"/>
                <a:gd name="T38" fmla="*/ 9 w 30"/>
                <a:gd name="T39" fmla="*/ 15 h 35"/>
                <a:gd name="T40" fmla="*/ 8 w 30"/>
                <a:gd name="T41" fmla="*/ 15 h 35"/>
                <a:gd name="T42" fmla="*/ 8 w 30"/>
                <a:gd name="T43" fmla="*/ 18 h 35"/>
                <a:gd name="T44" fmla="*/ 7 w 30"/>
                <a:gd name="T45" fmla="*/ 20 h 35"/>
                <a:gd name="T46" fmla="*/ 5 w 30"/>
                <a:gd name="T47" fmla="*/ 20 h 35"/>
                <a:gd name="T48" fmla="*/ 3 w 30"/>
                <a:gd name="T49" fmla="*/ 17 h 35"/>
                <a:gd name="T50" fmla="*/ 0 w 30"/>
                <a:gd name="T51" fmla="*/ 16 h 35"/>
                <a:gd name="T52" fmla="*/ 1 w 30"/>
                <a:gd name="T53" fmla="*/ 11 h 35"/>
                <a:gd name="T54" fmla="*/ 3 w 30"/>
                <a:gd name="T55" fmla="*/ 11 h 35"/>
                <a:gd name="T56" fmla="*/ 2 w 30"/>
                <a:gd name="T57" fmla="*/ 9 h 35"/>
                <a:gd name="T58" fmla="*/ 1 w 30"/>
                <a:gd name="T59" fmla="*/ 3 h 35"/>
                <a:gd name="T60" fmla="*/ 0 w 30"/>
                <a:gd name="T61" fmla="*/ 0 h 35"/>
                <a:gd name="T62" fmla="*/ 3 w 30"/>
                <a:gd name="T63" fmla="*/ 1 h 35"/>
                <a:gd name="T64" fmla="*/ 10 w 30"/>
                <a:gd name="T65" fmla="*/ 4 h 35"/>
                <a:gd name="T66" fmla="*/ 10 w 30"/>
                <a:gd name="T67"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5">
                  <a:moveTo>
                    <a:pt x="10" y="3"/>
                  </a:moveTo>
                  <a:cubicBezTo>
                    <a:pt x="12" y="3"/>
                    <a:pt x="14" y="3"/>
                    <a:pt x="14" y="3"/>
                  </a:cubicBezTo>
                  <a:cubicBezTo>
                    <a:pt x="14" y="3"/>
                    <a:pt x="15" y="5"/>
                    <a:pt x="17" y="5"/>
                  </a:cubicBezTo>
                  <a:cubicBezTo>
                    <a:pt x="19" y="5"/>
                    <a:pt x="20" y="5"/>
                    <a:pt x="20" y="5"/>
                  </a:cubicBezTo>
                  <a:cubicBezTo>
                    <a:pt x="21" y="7"/>
                    <a:pt x="21" y="9"/>
                    <a:pt x="22" y="11"/>
                  </a:cubicBezTo>
                  <a:cubicBezTo>
                    <a:pt x="23" y="14"/>
                    <a:pt x="29" y="17"/>
                    <a:pt x="30" y="20"/>
                  </a:cubicBezTo>
                  <a:cubicBezTo>
                    <a:pt x="27" y="21"/>
                    <a:pt x="27" y="21"/>
                    <a:pt x="27" y="21"/>
                  </a:cubicBezTo>
                  <a:cubicBezTo>
                    <a:pt x="25" y="20"/>
                    <a:pt x="25" y="20"/>
                    <a:pt x="25" y="20"/>
                  </a:cubicBezTo>
                  <a:cubicBezTo>
                    <a:pt x="25" y="20"/>
                    <a:pt x="26" y="23"/>
                    <a:pt x="25" y="25"/>
                  </a:cubicBezTo>
                  <a:cubicBezTo>
                    <a:pt x="24" y="27"/>
                    <a:pt x="27" y="29"/>
                    <a:pt x="27" y="31"/>
                  </a:cubicBezTo>
                  <a:cubicBezTo>
                    <a:pt x="26" y="32"/>
                    <a:pt x="26" y="35"/>
                    <a:pt x="26" y="35"/>
                  </a:cubicBezTo>
                  <a:cubicBezTo>
                    <a:pt x="24" y="30"/>
                    <a:pt x="24" y="30"/>
                    <a:pt x="24" y="30"/>
                  </a:cubicBezTo>
                  <a:cubicBezTo>
                    <a:pt x="24" y="30"/>
                    <a:pt x="22" y="29"/>
                    <a:pt x="22" y="29"/>
                  </a:cubicBezTo>
                  <a:cubicBezTo>
                    <a:pt x="22" y="31"/>
                    <a:pt x="21" y="33"/>
                    <a:pt x="21" y="34"/>
                  </a:cubicBezTo>
                  <a:cubicBezTo>
                    <a:pt x="19" y="30"/>
                    <a:pt x="19" y="29"/>
                    <a:pt x="20" y="24"/>
                  </a:cubicBezTo>
                  <a:cubicBezTo>
                    <a:pt x="18" y="23"/>
                    <a:pt x="17" y="23"/>
                    <a:pt x="15" y="22"/>
                  </a:cubicBezTo>
                  <a:cubicBezTo>
                    <a:pt x="15" y="21"/>
                    <a:pt x="15" y="21"/>
                    <a:pt x="15" y="21"/>
                  </a:cubicBezTo>
                  <a:cubicBezTo>
                    <a:pt x="15" y="21"/>
                    <a:pt x="13" y="21"/>
                    <a:pt x="13" y="21"/>
                  </a:cubicBezTo>
                  <a:cubicBezTo>
                    <a:pt x="12" y="20"/>
                    <a:pt x="12" y="18"/>
                    <a:pt x="11" y="16"/>
                  </a:cubicBezTo>
                  <a:cubicBezTo>
                    <a:pt x="11" y="16"/>
                    <a:pt x="10" y="16"/>
                    <a:pt x="9" y="15"/>
                  </a:cubicBezTo>
                  <a:cubicBezTo>
                    <a:pt x="8" y="15"/>
                    <a:pt x="8" y="15"/>
                    <a:pt x="8" y="15"/>
                  </a:cubicBezTo>
                  <a:cubicBezTo>
                    <a:pt x="8" y="15"/>
                    <a:pt x="8" y="17"/>
                    <a:pt x="8" y="18"/>
                  </a:cubicBezTo>
                  <a:cubicBezTo>
                    <a:pt x="7" y="19"/>
                    <a:pt x="8" y="19"/>
                    <a:pt x="7" y="20"/>
                  </a:cubicBezTo>
                  <a:cubicBezTo>
                    <a:pt x="7" y="20"/>
                    <a:pt x="6" y="21"/>
                    <a:pt x="5" y="20"/>
                  </a:cubicBezTo>
                  <a:cubicBezTo>
                    <a:pt x="4" y="20"/>
                    <a:pt x="4" y="18"/>
                    <a:pt x="3" y="17"/>
                  </a:cubicBezTo>
                  <a:cubicBezTo>
                    <a:pt x="2" y="16"/>
                    <a:pt x="1" y="16"/>
                    <a:pt x="0" y="16"/>
                  </a:cubicBezTo>
                  <a:cubicBezTo>
                    <a:pt x="1" y="14"/>
                    <a:pt x="1" y="12"/>
                    <a:pt x="1" y="11"/>
                  </a:cubicBezTo>
                  <a:cubicBezTo>
                    <a:pt x="2" y="11"/>
                    <a:pt x="3" y="11"/>
                    <a:pt x="3" y="11"/>
                  </a:cubicBezTo>
                  <a:cubicBezTo>
                    <a:pt x="4" y="9"/>
                    <a:pt x="2" y="9"/>
                    <a:pt x="2" y="9"/>
                  </a:cubicBezTo>
                  <a:cubicBezTo>
                    <a:pt x="1" y="7"/>
                    <a:pt x="2" y="5"/>
                    <a:pt x="1" y="3"/>
                  </a:cubicBezTo>
                  <a:cubicBezTo>
                    <a:pt x="1" y="2"/>
                    <a:pt x="0" y="1"/>
                    <a:pt x="0" y="0"/>
                  </a:cubicBezTo>
                  <a:cubicBezTo>
                    <a:pt x="0" y="0"/>
                    <a:pt x="1" y="0"/>
                    <a:pt x="3" y="1"/>
                  </a:cubicBezTo>
                  <a:cubicBezTo>
                    <a:pt x="4" y="3"/>
                    <a:pt x="6" y="3"/>
                    <a:pt x="10" y="4"/>
                  </a:cubicBezTo>
                  <a:cubicBezTo>
                    <a:pt x="10" y="4"/>
                    <a:pt x="10" y="3"/>
                    <a:pt x="10" y="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46" name="Freeform 282">
              <a:extLst>
                <a:ext uri="{FF2B5EF4-FFF2-40B4-BE49-F238E27FC236}">
                  <a16:creationId xmlns:a16="http://schemas.microsoft.com/office/drawing/2014/main" id="{8F3C996A-0304-FB9B-FD3D-4D1FEE6336A2}"/>
                </a:ext>
              </a:extLst>
            </p:cNvPr>
            <p:cNvSpPr>
              <a:spLocks/>
            </p:cNvSpPr>
            <p:nvPr/>
          </p:nvSpPr>
          <p:spPr bwMode="auto">
            <a:xfrm>
              <a:off x="6306399" y="4088337"/>
              <a:ext cx="228144" cy="314376"/>
            </a:xfrm>
            <a:custGeom>
              <a:avLst/>
              <a:gdLst>
                <a:gd name="T0" fmla="*/ 11 w 65"/>
                <a:gd name="T1" fmla="*/ 87 h 89"/>
                <a:gd name="T2" fmla="*/ 17 w 65"/>
                <a:gd name="T3" fmla="*/ 86 h 89"/>
                <a:gd name="T4" fmla="*/ 25 w 65"/>
                <a:gd name="T5" fmla="*/ 85 h 89"/>
                <a:gd name="T6" fmla="*/ 29 w 65"/>
                <a:gd name="T7" fmla="*/ 82 h 89"/>
                <a:gd name="T8" fmla="*/ 33 w 65"/>
                <a:gd name="T9" fmla="*/ 87 h 89"/>
                <a:gd name="T10" fmla="*/ 37 w 65"/>
                <a:gd name="T11" fmla="*/ 88 h 89"/>
                <a:gd name="T12" fmla="*/ 45 w 65"/>
                <a:gd name="T13" fmla="*/ 83 h 89"/>
                <a:gd name="T14" fmla="*/ 48 w 65"/>
                <a:gd name="T15" fmla="*/ 76 h 89"/>
                <a:gd name="T16" fmla="*/ 50 w 65"/>
                <a:gd name="T17" fmla="*/ 70 h 89"/>
                <a:gd name="T18" fmla="*/ 50 w 65"/>
                <a:gd name="T19" fmla="*/ 64 h 89"/>
                <a:gd name="T20" fmla="*/ 51 w 65"/>
                <a:gd name="T21" fmla="*/ 58 h 89"/>
                <a:gd name="T22" fmla="*/ 55 w 65"/>
                <a:gd name="T23" fmla="*/ 51 h 89"/>
                <a:gd name="T24" fmla="*/ 56 w 65"/>
                <a:gd name="T25" fmla="*/ 47 h 89"/>
                <a:gd name="T26" fmla="*/ 59 w 65"/>
                <a:gd name="T27" fmla="*/ 40 h 89"/>
                <a:gd name="T28" fmla="*/ 60 w 65"/>
                <a:gd name="T29" fmla="*/ 31 h 89"/>
                <a:gd name="T30" fmla="*/ 59 w 65"/>
                <a:gd name="T31" fmla="*/ 23 h 89"/>
                <a:gd name="T32" fmla="*/ 60 w 65"/>
                <a:gd name="T33" fmla="*/ 15 h 89"/>
                <a:gd name="T34" fmla="*/ 64 w 65"/>
                <a:gd name="T35" fmla="*/ 9 h 89"/>
                <a:gd name="T36" fmla="*/ 65 w 65"/>
                <a:gd name="T37" fmla="*/ 0 h 89"/>
                <a:gd name="T38" fmla="*/ 55 w 65"/>
                <a:gd name="T39" fmla="*/ 1 h 89"/>
                <a:gd name="T40" fmla="*/ 48 w 65"/>
                <a:gd name="T41" fmla="*/ 7 h 89"/>
                <a:gd name="T42" fmla="*/ 47 w 65"/>
                <a:gd name="T43" fmla="*/ 16 h 89"/>
                <a:gd name="T44" fmla="*/ 37 w 65"/>
                <a:gd name="T45" fmla="*/ 15 h 89"/>
                <a:gd name="T46" fmla="*/ 28 w 65"/>
                <a:gd name="T47" fmla="*/ 12 h 89"/>
                <a:gd name="T48" fmla="*/ 21 w 65"/>
                <a:gd name="T49" fmla="*/ 19 h 89"/>
                <a:gd name="T50" fmla="*/ 27 w 65"/>
                <a:gd name="T51" fmla="*/ 22 h 89"/>
                <a:gd name="T52" fmla="*/ 32 w 65"/>
                <a:gd name="T53" fmla="*/ 30 h 89"/>
                <a:gd name="T54" fmla="*/ 24 w 65"/>
                <a:gd name="T55" fmla="*/ 32 h 89"/>
                <a:gd name="T56" fmla="*/ 23 w 65"/>
                <a:gd name="T57" fmla="*/ 38 h 89"/>
                <a:gd name="T58" fmla="*/ 27 w 65"/>
                <a:gd name="T59" fmla="*/ 47 h 89"/>
                <a:gd name="T60" fmla="*/ 28 w 65"/>
                <a:gd name="T61" fmla="*/ 56 h 89"/>
                <a:gd name="T62" fmla="*/ 27 w 65"/>
                <a:gd name="T63" fmla="*/ 66 h 89"/>
                <a:gd name="T64" fmla="*/ 17 w 65"/>
                <a:gd name="T65" fmla="*/ 62 h 89"/>
                <a:gd name="T66" fmla="*/ 14 w 65"/>
                <a:gd name="T67" fmla="*/ 63 h 89"/>
                <a:gd name="T68" fmla="*/ 8 w 65"/>
                <a:gd name="T69" fmla="*/ 67 h 89"/>
                <a:gd name="T70" fmla="*/ 8 w 65"/>
                <a:gd name="T71" fmla="*/ 78 h 89"/>
                <a:gd name="T72" fmla="*/ 0 w 65"/>
                <a:gd name="T73" fmla="*/ 82 h 89"/>
                <a:gd name="T74" fmla="*/ 4 w 65"/>
                <a:gd name="T75" fmla="*/ 86 h 89"/>
                <a:gd name="T76" fmla="*/ 6 w 65"/>
                <a:gd name="T77" fmla="*/ 8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89">
                  <a:moveTo>
                    <a:pt x="8" y="88"/>
                  </a:moveTo>
                  <a:cubicBezTo>
                    <a:pt x="8" y="88"/>
                    <a:pt x="9" y="87"/>
                    <a:pt x="11" y="87"/>
                  </a:cubicBezTo>
                  <a:cubicBezTo>
                    <a:pt x="15" y="87"/>
                    <a:pt x="11" y="87"/>
                    <a:pt x="13" y="85"/>
                  </a:cubicBezTo>
                  <a:cubicBezTo>
                    <a:pt x="16" y="83"/>
                    <a:pt x="17" y="86"/>
                    <a:pt x="17" y="86"/>
                  </a:cubicBezTo>
                  <a:cubicBezTo>
                    <a:pt x="17" y="86"/>
                    <a:pt x="18" y="87"/>
                    <a:pt x="20" y="85"/>
                  </a:cubicBezTo>
                  <a:cubicBezTo>
                    <a:pt x="21" y="84"/>
                    <a:pt x="23" y="85"/>
                    <a:pt x="25" y="85"/>
                  </a:cubicBezTo>
                  <a:cubicBezTo>
                    <a:pt x="27" y="85"/>
                    <a:pt x="26" y="81"/>
                    <a:pt x="26" y="81"/>
                  </a:cubicBezTo>
                  <a:cubicBezTo>
                    <a:pt x="26" y="81"/>
                    <a:pt x="27" y="82"/>
                    <a:pt x="29" y="82"/>
                  </a:cubicBezTo>
                  <a:cubicBezTo>
                    <a:pt x="31" y="82"/>
                    <a:pt x="33" y="81"/>
                    <a:pt x="33" y="81"/>
                  </a:cubicBezTo>
                  <a:cubicBezTo>
                    <a:pt x="33" y="87"/>
                    <a:pt x="33" y="87"/>
                    <a:pt x="33" y="87"/>
                  </a:cubicBezTo>
                  <a:cubicBezTo>
                    <a:pt x="34" y="89"/>
                    <a:pt x="34" y="89"/>
                    <a:pt x="34" y="89"/>
                  </a:cubicBezTo>
                  <a:cubicBezTo>
                    <a:pt x="37" y="88"/>
                    <a:pt x="37" y="88"/>
                    <a:pt x="37" y="88"/>
                  </a:cubicBezTo>
                  <a:cubicBezTo>
                    <a:pt x="41" y="87"/>
                    <a:pt x="41" y="87"/>
                    <a:pt x="41" y="87"/>
                  </a:cubicBezTo>
                  <a:cubicBezTo>
                    <a:pt x="45" y="83"/>
                    <a:pt x="45" y="83"/>
                    <a:pt x="45" y="83"/>
                  </a:cubicBezTo>
                  <a:cubicBezTo>
                    <a:pt x="46" y="80"/>
                    <a:pt x="46" y="80"/>
                    <a:pt x="46" y="80"/>
                  </a:cubicBezTo>
                  <a:cubicBezTo>
                    <a:pt x="48" y="76"/>
                    <a:pt x="48" y="76"/>
                    <a:pt x="48" y="76"/>
                  </a:cubicBezTo>
                  <a:cubicBezTo>
                    <a:pt x="49" y="73"/>
                    <a:pt x="49" y="73"/>
                    <a:pt x="49" y="73"/>
                  </a:cubicBezTo>
                  <a:cubicBezTo>
                    <a:pt x="50" y="70"/>
                    <a:pt x="50" y="70"/>
                    <a:pt x="50" y="70"/>
                  </a:cubicBezTo>
                  <a:cubicBezTo>
                    <a:pt x="50" y="68"/>
                    <a:pt x="50" y="68"/>
                    <a:pt x="50" y="68"/>
                  </a:cubicBezTo>
                  <a:cubicBezTo>
                    <a:pt x="50" y="64"/>
                    <a:pt x="50" y="64"/>
                    <a:pt x="50" y="64"/>
                  </a:cubicBezTo>
                  <a:cubicBezTo>
                    <a:pt x="51" y="61"/>
                    <a:pt x="51" y="61"/>
                    <a:pt x="51" y="61"/>
                  </a:cubicBezTo>
                  <a:cubicBezTo>
                    <a:pt x="51" y="58"/>
                    <a:pt x="51" y="58"/>
                    <a:pt x="51" y="58"/>
                  </a:cubicBezTo>
                  <a:cubicBezTo>
                    <a:pt x="53" y="54"/>
                    <a:pt x="53" y="54"/>
                    <a:pt x="53" y="54"/>
                  </a:cubicBezTo>
                  <a:cubicBezTo>
                    <a:pt x="55" y="51"/>
                    <a:pt x="55" y="51"/>
                    <a:pt x="55" y="51"/>
                  </a:cubicBezTo>
                  <a:cubicBezTo>
                    <a:pt x="55" y="52"/>
                    <a:pt x="55" y="52"/>
                    <a:pt x="55" y="52"/>
                  </a:cubicBezTo>
                  <a:cubicBezTo>
                    <a:pt x="56" y="47"/>
                    <a:pt x="56" y="47"/>
                    <a:pt x="56" y="47"/>
                  </a:cubicBezTo>
                  <a:cubicBezTo>
                    <a:pt x="56" y="44"/>
                    <a:pt x="56" y="44"/>
                    <a:pt x="56" y="44"/>
                  </a:cubicBezTo>
                  <a:cubicBezTo>
                    <a:pt x="59" y="40"/>
                    <a:pt x="59" y="40"/>
                    <a:pt x="59" y="40"/>
                  </a:cubicBezTo>
                  <a:cubicBezTo>
                    <a:pt x="60" y="35"/>
                    <a:pt x="60" y="35"/>
                    <a:pt x="60" y="35"/>
                  </a:cubicBezTo>
                  <a:cubicBezTo>
                    <a:pt x="60" y="31"/>
                    <a:pt x="60" y="31"/>
                    <a:pt x="60" y="31"/>
                  </a:cubicBezTo>
                  <a:cubicBezTo>
                    <a:pt x="60" y="26"/>
                    <a:pt x="60" y="26"/>
                    <a:pt x="60" y="26"/>
                  </a:cubicBezTo>
                  <a:cubicBezTo>
                    <a:pt x="59" y="23"/>
                    <a:pt x="59" y="23"/>
                    <a:pt x="59" y="23"/>
                  </a:cubicBezTo>
                  <a:cubicBezTo>
                    <a:pt x="60" y="19"/>
                    <a:pt x="60" y="19"/>
                    <a:pt x="60" y="19"/>
                  </a:cubicBezTo>
                  <a:cubicBezTo>
                    <a:pt x="60" y="15"/>
                    <a:pt x="60" y="15"/>
                    <a:pt x="60" y="15"/>
                  </a:cubicBezTo>
                  <a:cubicBezTo>
                    <a:pt x="62" y="12"/>
                    <a:pt x="62" y="12"/>
                    <a:pt x="62" y="12"/>
                  </a:cubicBezTo>
                  <a:cubicBezTo>
                    <a:pt x="64" y="9"/>
                    <a:pt x="64" y="9"/>
                    <a:pt x="64" y="9"/>
                  </a:cubicBezTo>
                  <a:cubicBezTo>
                    <a:pt x="65" y="5"/>
                    <a:pt x="65" y="5"/>
                    <a:pt x="65" y="5"/>
                  </a:cubicBezTo>
                  <a:cubicBezTo>
                    <a:pt x="65" y="0"/>
                    <a:pt x="65" y="0"/>
                    <a:pt x="65" y="0"/>
                  </a:cubicBezTo>
                  <a:cubicBezTo>
                    <a:pt x="65" y="0"/>
                    <a:pt x="61" y="1"/>
                    <a:pt x="59" y="2"/>
                  </a:cubicBezTo>
                  <a:cubicBezTo>
                    <a:pt x="57" y="2"/>
                    <a:pt x="57" y="0"/>
                    <a:pt x="55" y="1"/>
                  </a:cubicBezTo>
                  <a:cubicBezTo>
                    <a:pt x="52" y="2"/>
                    <a:pt x="53" y="2"/>
                    <a:pt x="52" y="5"/>
                  </a:cubicBezTo>
                  <a:cubicBezTo>
                    <a:pt x="51" y="7"/>
                    <a:pt x="48" y="7"/>
                    <a:pt x="48" y="7"/>
                  </a:cubicBezTo>
                  <a:cubicBezTo>
                    <a:pt x="48" y="7"/>
                    <a:pt x="45" y="10"/>
                    <a:pt x="46" y="12"/>
                  </a:cubicBezTo>
                  <a:cubicBezTo>
                    <a:pt x="46" y="13"/>
                    <a:pt x="47" y="16"/>
                    <a:pt x="47" y="16"/>
                  </a:cubicBezTo>
                  <a:cubicBezTo>
                    <a:pt x="47" y="16"/>
                    <a:pt x="45" y="15"/>
                    <a:pt x="42" y="15"/>
                  </a:cubicBezTo>
                  <a:cubicBezTo>
                    <a:pt x="40" y="14"/>
                    <a:pt x="39" y="15"/>
                    <a:pt x="37" y="15"/>
                  </a:cubicBezTo>
                  <a:cubicBezTo>
                    <a:pt x="35" y="15"/>
                    <a:pt x="35" y="15"/>
                    <a:pt x="34" y="13"/>
                  </a:cubicBezTo>
                  <a:cubicBezTo>
                    <a:pt x="33" y="12"/>
                    <a:pt x="30" y="11"/>
                    <a:pt x="28" y="12"/>
                  </a:cubicBezTo>
                  <a:cubicBezTo>
                    <a:pt x="21" y="12"/>
                    <a:pt x="21" y="12"/>
                    <a:pt x="21" y="12"/>
                  </a:cubicBezTo>
                  <a:cubicBezTo>
                    <a:pt x="21" y="12"/>
                    <a:pt x="21" y="17"/>
                    <a:pt x="21" y="19"/>
                  </a:cubicBezTo>
                  <a:cubicBezTo>
                    <a:pt x="22" y="20"/>
                    <a:pt x="20" y="23"/>
                    <a:pt x="22" y="22"/>
                  </a:cubicBezTo>
                  <a:cubicBezTo>
                    <a:pt x="24" y="21"/>
                    <a:pt x="25" y="22"/>
                    <a:pt x="27" y="22"/>
                  </a:cubicBezTo>
                  <a:cubicBezTo>
                    <a:pt x="29" y="22"/>
                    <a:pt x="32" y="23"/>
                    <a:pt x="32" y="23"/>
                  </a:cubicBezTo>
                  <a:cubicBezTo>
                    <a:pt x="32" y="30"/>
                    <a:pt x="32" y="30"/>
                    <a:pt x="32" y="30"/>
                  </a:cubicBezTo>
                  <a:cubicBezTo>
                    <a:pt x="32" y="30"/>
                    <a:pt x="30" y="29"/>
                    <a:pt x="27" y="30"/>
                  </a:cubicBezTo>
                  <a:cubicBezTo>
                    <a:pt x="25" y="30"/>
                    <a:pt x="24" y="30"/>
                    <a:pt x="24" y="32"/>
                  </a:cubicBezTo>
                  <a:cubicBezTo>
                    <a:pt x="24" y="34"/>
                    <a:pt x="25" y="37"/>
                    <a:pt x="25" y="37"/>
                  </a:cubicBezTo>
                  <a:cubicBezTo>
                    <a:pt x="25" y="37"/>
                    <a:pt x="22" y="37"/>
                    <a:pt x="23" y="38"/>
                  </a:cubicBezTo>
                  <a:cubicBezTo>
                    <a:pt x="25" y="39"/>
                    <a:pt x="27" y="41"/>
                    <a:pt x="27" y="42"/>
                  </a:cubicBezTo>
                  <a:cubicBezTo>
                    <a:pt x="27" y="43"/>
                    <a:pt x="28" y="44"/>
                    <a:pt x="27" y="47"/>
                  </a:cubicBezTo>
                  <a:cubicBezTo>
                    <a:pt x="26" y="50"/>
                    <a:pt x="27" y="49"/>
                    <a:pt x="28" y="51"/>
                  </a:cubicBezTo>
                  <a:cubicBezTo>
                    <a:pt x="30" y="53"/>
                    <a:pt x="26" y="55"/>
                    <a:pt x="28" y="56"/>
                  </a:cubicBezTo>
                  <a:cubicBezTo>
                    <a:pt x="30" y="57"/>
                    <a:pt x="31" y="57"/>
                    <a:pt x="30" y="61"/>
                  </a:cubicBezTo>
                  <a:cubicBezTo>
                    <a:pt x="29" y="66"/>
                    <a:pt x="29" y="67"/>
                    <a:pt x="27" y="66"/>
                  </a:cubicBezTo>
                  <a:cubicBezTo>
                    <a:pt x="25" y="64"/>
                    <a:pt x="25" y="61"/>
                    <a:pt x="23" y="61"/>
                  </a:cubicBezTo>
                  <a:cubicBezTo>
                    <a:pt x="21" y="60"/>
                    <a:pt x="17" y="62"/>
                    <a:pt x="17" y="62"/>
                  </a:cubicBezTo>
                  <a:cubicBezTo>
                    <a:pt x="17" y="62"/>
                    <a:pt x="17" y="60"/>
                    <a:pt x="14" y="59"/>
                  </a:cubicBezTo>
                  <a:cubicBezTo>
                    <a:pt x="12" y="59"/>
                    <a:pt x="16" y="62"/>
                    <a:pt x="14" y="63"/>
                  </a:cubicBezTo>
                  <a:cubicBezTo>
                    <a:pt x="12" y="64"/>
                    <a:pt x="7" y="61"/>
                    <a:pt x="8" y="65"/>
                  </a:cubicBezTo>
                  <a:cubicBezTo>
                    <a:pt x="10" y="68"/>
                    <a:pt x="9" y="66"/>
                    <a:pt x="8" y="67"/>
                  </a:cubicBezTo>
                  <a:cubicBezTo>
                    <a:pt x="6" y="69"/>
                    <a:pt x="9" y="71"/>
                    <a:pt x="10" y="74"/>
                  </a:cubicBezTo>
                  <a:cubicBezTo>
                    <a:pt x="10" y="77"/>
                    <a:pt x="11" y="79"/>
                    <a:pt x="8" y="78"/>
                  </a:cubicBezTo>
                  <a:cubicBezTo>
                    <a:pt x="5" y="77"/>
                    <a:pt x="5" y="76"/>
                    <a:pt x="3" y="76"/>
                  </a:cubicBezTo>
                  <a:cubicBezTo>
                    <a:pt x="1" y="76"/>
                    <a:pt x="0" y="82"/>
                    <a:pt x="0" y="82"/>
                  </a:cubicBezTo>
                  <a:cubicBezTo>
                    <a:pt x="1" y="82"/>
                    <a:pt x="3" y="83"/>
                    <a:pt x="4" y="85"/>
                  </a:cubicBezTo>
                  <a:cubicBezTo>
                    <a:pt x="4" y="86"/>
                    <a:pt x="4" y="86"/>
                    <a:pt x="4" y="86"/>
                  </a:cubicBezTo>
                  <a:cubicBezTo>
                    <a:pt x="6" y="86"/>
                    <a:pt x="6" y="86"/>
                    <a:pt x="6" y="86"/>
                  </a:cubicBezTo>
                  <a:cubicBezTo>
                    <a:pt x="6" y="86"/>
                    <a:pt x="5" y="88"/>
                    <a:pt x="6" y="88"/>
                  </a:cubicBezTo>
                  <a:lnTo>
                    <a:pt x="8" y="88"/>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47" name="Freeform 283">
              <a:extLst>
                <a:ext uri="{FF2B5EF4-FFF2-40B4-BE49-F238E27FC236}">
                  <a16:creationId xmlns:a16="http://schemas.microsoft.com/office/drawing/2014/main" id="{2CD4ECDA-55A8-FA35-7FF6-2B62E8B066F1}"/>
                </a:ext>
              </a:extLst>
            </p:cNvPr>
            <p:cNvSpPr>
              <a:spLocks/>
            </p:cNvSpPr>
            <p:nvPr/>
          </p:nvSpPr>
          <p:spPr bwMode="auto">
            <a:xfrm>
              <a:off x="6306399" y="4088337"/>
              <a:ext cx="228144" cy="314376"/>
            </a:xfrm>
            <a:custGeom>
              <a:avLst/>
              <a:gdLst>
                <a:gd name="T0" fmla="*/ 11 w 65"/>
                <a:gd name="T1" fmla="*/ 87 h 89"/>
                <a:gd name="T2" fmla="*/ 17 w 65"/>
                <a:gd name="T3" fmla="*/ 86 h 89"/>
                <a:gd name="T4" fmla="*/ 25 w 65"/>
                <a:gd name="T5" fmla="*/ 85 h 89"/>
                <a:gd name="T6" fmla="*/ 29 w 65"/>
                <a:gd name="T7" fmla="*/ 82 h 89"/>
                <a:gd name="T8" fmla="*/ 33 w 65"/>
                <a:gd name="T9" fmla="*/ 87 h 89"/>
                <a:gd name="T10" fmla="*/ 37 w 65"/>
                <a:gd name="T11" fmla="*/ 88 h 89"/>
                <a:gd name="T12" fmla="*/ 45 w 65"/>
                <a:gd name="T13" fmla="*/ 83 h 89"/>
                <a:gd name="T14" fmla="*/ 48 w 65"/>
                <a:gd name="T15" fmla="*/ 76 h 89"/>
                <a:gd name="T16" fmla="*/ 50 w 65"/>
                <a:gd name="T17" fmla="*/ 70 h 89"/>
                <a:gd name="T18" fmla="*/ 50 w 65"/>
                <a:gd name="T19" fmla="*/ 64 h 89"/>
                <a:gd name="T20" fmla="*/ 51 w 65"/>
                <a:gd name="T21" fmla="*/ 58 h 89"/>
                <a:gd name="T22" fmla="*/ 55 w 65"/>
                <a:gd name="T23" fmla="*/ 51 h 89"/>
                <a:gd name="T24" fmla="*/ 56 w 65"/>
                <a:gd name="T25" fmla="*/ 47 h 89"/>
                <a:gd name="T26" fmla="*/ 59 w 65"/>
                <a:gd name="T27" fmla="*/ 40 h 89"/>
                <a:gd name="T28" fmla="*/ 60 w 65"/>
                <a:gd name="T29" fmla="*/ 31 h 89"/>
                <a:gd name="T30" fmla="*/ 59 w 65"/>
                <a:gd name="T31" fmla="*/ 23 h 89"/>
                <a:gd name="T32" fmla="*/ 60 w 65"/>
                <a:gd name="T33" fmla="*/ 15 h 89"/>
                <a:gd name="T34" fmla="*/ 64 w 65"/>
                <a:gd name="T35" fmla="*/ 9 h 89"/>
                <a:gd name="T36" fmla="*/ 65 w 65"/>
                <a:gd name="T37" fmla="*/ 0 h 89"/>
                <a:gd name="T38" fmla="*/ 55 w 65"/>
                <a:gd name="T39" fmla="*/ 1 h 89"/>
                <a:gd name="T40" fmla="*/ 48 w 65"/>
                <a:gd name="T41" fmla="*/ 7 h 89"/>
                <a:gd name="T42" fmla="*/ 47 w 65"/>
                <a:gd name="T43" fmla="*/ 16 h 89"/>
                <a:gd name="T44" fmla="*/ 37 w 65"/>
                <a:gd name="T45" fmla="*/ 15 h 89"/>
                <a:gd name="T46" fmla="*/ 28 w 65"/>
                <a:gd name="T47" fmla="*/ 12 h 89"/>
                <a:gd name="T48" fmla="*/ 21 w 65"/>
                <a:gd name="T49" fmla="*/ 19 h 89"/>
                <a:gd name="T50" fmla="*/ 27 w 65"/>
                <a:gd name="T51" fmla="*/ 22 h 89"/>
                <a:gd name="T52" fmla="*/ 32 w 65"/>
                <a:gd name="T53" fmla="*/ 30 h 89"/>
                <a:gd name="T54" fmla="*/ 24 w 65"/>
                <a:gd name="T55" fmla="*/ 32 h 89"/>
                <a:gd name="T56" fmla="*/ 23 w 65"/>
                <a:gd name="T57" fmla="*/ 38 h 89"/>
                <a:gd name="T58" fmla="*/ 27 w 65"/>
                <a:gd name="T59" fmla="*/ 47 h 89"/>
                <a:gd name="T60" fmla="*/ 28 w 65"/>
                <a:gd name="T61" fmla="*/ 56 h 89"/>
                <a:gd name="T62" fmla="*/ 27 w 65"/>
                <a:gd name="T63" fmla="*/ 66 h 89"/>
                <a:gd name="T64" fmla="*/ 17 w 65"/>
                <a:gd name="T65" fmla="*/ 62 h 89"/>
                <a:gd name="T66" fmla="*/ 14 w 65"/>
                <a:gd name="T67" fmla="*/ 63 h 89"/>
                <a:gd name="T68" fmla="*/ 8 w 65"/>
                <a:gd name="T69" fmla="*/ 67 h 89"/>
                <a:gd name="T70" fmla="*/ 8 w 65"/>
                <a:gd name="T71" fmla="*/ 78 h 89"/>
                <a:gd name="T72" fmla="*/ 0 w 65"/>
                <a:gd name="T73" fmla="*/ 82 h 89"/>
                <a:gd name="T74" fmla="*/ 4 w 65"/>
                <a:gd name="T75" fmla="*/ 86 h 89"/>
                <a:gd name="T76" fmla="*/ 6 w 65"/>
                <a:gd name="T77" fmla="*/ 88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89">
                  <a:moveTo>
                    <a:pt x="8" y="88"/>
                  </a:moveTo>
                  <a:cubicBezTo>
                    <a:pt x="8" y="88"/>
                    <a:pt x="9" y="87"/>
                    <a:pt x="11" y="87"/>
                  </a:cubicBezTo>
                  <a:cubicBezTo>
                    <a:pt x="15" y="87"/>
                    <a:pt x="11" y="87"/>
                    <a:pt x="13" y="85"/>
                  </a:cubicBezTo>
                  <a:cubicBezTo>
                    <a:pt x="16" y="83"/>
                    <a:pt x="17" y="86"/>
                    <a:pt x="17" y="86"/>
                  </a:cubicBezTo>
                  <a:cubicBezTo>
                    <a:pt x="17" y="86"/>
                    <a:pt x="18" y="87"/>
                    <a:pt x="20" y="85"/>
                  </a:cubicBezTo>
                  <a:cubicBezTo>
                    <a:pt x="21" y="84"/>
                    <a:pt x="23" y="85"/>
                    <a:pt x="25" y="85"/>
                  </a:cubicBezTo>
                  <a:cubicBezTo>
                    <a:pt x="27" y="85"/>
                    <a:pt x="26" y="81"/>
                    <a:pt x="26" y="81"/>
                  </a:cubicBezTo>
                  <a:cubicBezTo>
                    <a:pt x="26" y="81"/>
                    <a:pt x="27" y="82"/>
                    <a:pt x="29" y="82"/>
                  </a:cubicBezTo>
                  <a:cubicBezTo>
                    <a:pt x="31" y="82"/>
                    <a:pt x="33" y="81"/>
                    <a:pt x="33" y="81"/>
                  </a:cubicBezTo>
                  <a:cubicBezTo>
                    <a:pt x="33" y="87"/>
                    <a:pt x="33" y="87"/>
                    <a:pt x="33" y="87"/>
                  </a:cubicBezTo>
                  <a:cubicBezTo>
                    <a:pt x="34" y="89"/>
                    <a:pt x="34" y="89"/>
                    <a:pt x="34" y="89"/>
                  </a:cubicBezTo>
                  <a:cubicBezTo>
                    <a:pt x="37" y="88"/>
                    <a:pt x="37" y="88"/>
                    <a:pt x="37" y="88"/>
                  </a:cubicBezTo>
                  <a:cubicBezTo>
                    <a:pt x="41" y="87"/>
                    <a:pt x="41" y="87"/>
                    <a:pt x="41" y="87"/>
                  </a:cubicBezTo>
                  <a:cubicBezTo>
                    <a:pt x="45" y="83"/>
                    <a:pt x="45" y="83"/>
                    <a:pt x="45" y="83"/>
                  </a:cubicBezTo>
                  <a:cubicBezTo>
                    <a:pt x="46" y="80"/>
                    <a:pt x="46" y="80"/>
                    <a:pt x="46" y="80"/>
                  </a:cubicBezTo>
                  <a:cubicBezTo>
                    <a:pt x="48" y="76"/>
                    <a:pt x="48" y="76"/>
                    <a:pt x="48" y="76"/>
                  </a:cubicBezTo>
                  <a:cubicBezTo>
                    <a:pt x="49" y="73"/>
                    <a:pt x="49" y="73"/>
                    <a:pt x="49" y="73"/>
                  </a:cubicBezTo>
                  <a:cubicBezTo>
                    <a:pt x="50" y="70"/>
                    <a:pt x="50" y="70"/>
                    <a:pt x="50" y="70"/>
                  </a:cubicBezTo>
                  <a:cubicBezTo>
                    <a:pt x="50" y="68"/>
                    <a:pt x="50" y="68"/>
                    <a:pt x="50" y="68"/>
                  </a:cubicBezTo>
                  <a:cubicBezTo>
                    <a:pt x="50" y="64"/>
                    <a:pt x="50" y="64"/>
                    <a:pt x="50" y="64"/>
                  </a:cubicBezTo>
                  <a:cubicBezTo>
                    <a:pt x="51" y="61"/>
                    <a:pt x="51" y="61"/>
                    <a:pt x="51" y="61"/>
                  </a:cubicBezTo>
                  <a:cubicBezTo>
                    <a:pt x="51" y="58"/>
                    <a:pt x="51" y="58"/>
                    <a:pt x="51" y="58"/>
                  </a:cubicBezTo>
                  <a:cubicBezTo>
                    <a:pt x="53" y="54"/>
                    <a:pt x="53" y="54"/>
                    <a:pt x="53" y="54"/>
                  </a:cubicBezTo>
                  <a:cubicBezTo>
                    <a:pt x="55" y="51"/>
                    <a:pt x="55" y="51"/>
                    <a:pt x="55" y="51"/>
                  </a:cubicBezTo>
                  <a:cubicBezTo>
                    <a:pt x="55" y="52"/>
                    <a:pt x="55" y="52"/>
                    <a:pt x="55" y="52"/>
                  </a:cubicBezTo>
                  <a:cubicBezTo>
                    <a:pt x="56" y="47"/>
                    <a:pt x="56" y="47"/>
                    <a:pt x="56" y="47"/>
                  </a:cubicBezTo>
                  <a:cubicBezTo>
                    <a:pt x="56" y="44"/>
                    <a:pt x="56" y="44"/>
                    <a:pt x="56" y="44"/>
                  </a:cubicBezTo>
                  <a:cubicBezTo>
                    <a:pt x="59" y="40"/>
                    <a:pt x="59" y="40"/>
                    <a:pt x="59" y="40"/>
                  </a:cubicBezTo>
                  <a:cubicBezTo>
                    <a:pt x="60" y="35"/>
                    <a:pt x="60" y="35"/>
                    <a:pt x="60" y="35"/>
                  </a:cubicBezTo>
                  <a:cubicBezTo>
                    <a:pt x="60" y="31"/>
                    <a:pt x="60" y="31"/>
                    <a:pt x="60" y="31"/>
                  </a:cubicBezTo>
                  <a:cubicBezTo>
                    <a:pt x="60" y="26"/>
                    <a:pt x="60" y="26"/>
                    <a:pt x="60" y="26"/>
                  </a:cubicBezTo>
                  <a:cubicBezTo>
                    <a:pt x="59" y="23"/>
                    <a:pt x="59" y="23"/>
                    <a:pt x="59" y="23"/>
                  </a:cubicBezTo>
                  <a:cubicBezTo>
                    <a:pt x="60" y="19"/>
                    <a:pt x="60" y="19"/>
                    <a:pt x="60" y="19"/>
                  </a:cubicBezTo>
                  <a:cubicBezTo>
                    <a:pt x="60" y="15"/>
                    <a:pt x="60" y="15"/>
                    <a:pt x="60" y="15"/>
                  </a:cubicBezTo>
                  <a:cubicBezTo>
                    <a:pt x="62" y="12"/>
                    <a:pt x="62" y="12"/>
                    <a:pt x="62" y="12"/>
                  </a:cubicBezTo>
                  <a:cubicBezTo>
                    <a:pt x="64" y="9"/>
                    <a:pt x="64" y="9"/>
                    <a:pt x="64" y="9"/>
                  </a:cubicBezTo>
                  <a:cubicBezTo>
                    <a:pt x="65" y="5"/>
                    <a:pt x="65" y="5"/>
                    <a:pt x="65" y="5"/>
                  </a:cubicBezTo>
                  <a:cubicBezTo>
                    <a:pt x="65" y="0"/>
                    <a:pt x="65" y="0"/>
                    <a:pt x="65" y="0"/>
                  </a:cubicBezTo>
                  <a:cubicBezTo>
                    <a:pt x="65" y="0"/>
                    <a:pt x="61" y="1"/>
                    <a:pt x="59" y="2"/>
                  </a:cubicBezTo>
                  <a:cubicBezTo>
                    <a:pt x="57" y="2"/>
                    <a:pt x="57" y="0"/>
                    <a:pt x="55" y="1"/>
                  </a:cubicBezTo>
                  <a:cubicBezTo>
                    <a:pt x="52" y="2"/>
                    <a:pt x="53" y="2"/>
                    <a:pt x="52" y="5"/>
                  </a:cubicBezTo>
                  <a:cubicBezTo>
                    <a:pt x="51" y="7"/>
                    <a:pt x="48" y="7"/>
                    <a:pt x="48" y="7"/>
                  </a:cubicBezTo>
                  <a:cubicBezTo>
                    <a:pt x="48" y="7"/>
                    <a:pt x="45" y="10"/>
                    <a:pt x="46" y="12"/>
                  </a:cubicBezTo>
                  <a:cubicBezTo>
                    <a:pt x="46" y="13"/>
                    <a:pt x="47" y="16"/>
                    <a:pt x="47" y="16"/>
                  </a:cubicBezTo>
                  <a:cubicBezTo>
                    <a:pt x="47" y="16"/>
                    <a:pt x="45" y="15"/>
                    <a:pt x="42" y="15"/>
                  </a:cubicBezTo>
                  <a:cubicBezTo>
                    <a:pt x="40" y="14"/>
                    <a:pt x="39" y="15"/>
                    <a:pt x="37" y="15"/>
                  </a:cubicBezTo>
                  <a:cubicBezTo>
                    <a:pt x="35" y="15"/>
                    <a:pt x="35" y="15"/>
                    <a:pt x="34" y="13"/>
                  </a:cubicBezTo>
                  <a:cubicBezTo>
                    <a:pt x="33" y="12"/>
                    <a:pt x="30" y="11"/>
                    <a:pt x="28" y="12"/>
                  </a:cubicBezTo>
                  <a:cubicBezTo>
                    <a:pt x="21" y="12"/>
                    <a:pt x="21" y="12"/>
                    <a:pt x="21" y="12"/>
                  </a:cubicBezTo>
                  <a:cubicBezTo>
                    <a:pt x="21" y="12"/>
                    <a:pt x="21" y="17"/>
                    <a:pt x="21" y="19"/>
                  </a:cubicBezTo>
                  <a:cubicBezTo>
                    <a:pt x="22" y="20"/>
                    <a:pt x="20" y="23"/>
                    <a:pt x="22" y="22"/>
                  </a:cubicBezTo>
                  <a:cubicBezTo>
                    <a:pt x="24" y="21"/>
                    <a:pt x="25" y="22"/>
                    <a:pt x="27" y="22"/>
                  </a:cubicBezTo>
                  <a:cubicBezTo>
                    <a:pt x="29" y="22"/>
                    <a:pt x="32" y="23"/>
                    <a:pt x="32" y="23"/>
                  </a:cubicBezTo>
                  <a:cubicBezTo>
                    <a:pt x="32" y="30"/>
                    <a:pt x="32" y="30"/>
                    <a:pt x="32" y="30"/>
                  </a:cubicBezTo>
                  <a:cubicBezTo>
                    <a:pt x="32" y="30"/>
                    <a:pt x="30" y="29"/>
                    <a:pt x="27" y="30"/>
                  </a:cubicBezTo>
                  <a:cubicBezTo>
                    <a:pt x="25" y="30"/>
                    <a:pt x="24" y="30"/>
                    <a:pt x="24" y="32"/>
                  </a:cubicBezTo>
                  <a:cubicBezTo>
                    <a:pt x="24" y="34"/>
                    <a:pt x="25" y="37"/>
                    <a:pt x="25" y="37"/>
                  </a:cubicBezTo>
                  <a:cubicBezTo>
                    <a:pt x="25" y="37"/>
                    <a:pt x="22" y="37"/>
                    <a:pt x="23" y="38"/>
                  </a:cubicBezTo>
                  <a:cubicBezTo>
                    <a:pt x="25" y="39"/>
                    <a:pt x="27" y="41"/>
                    <a:pt x="27" y="42"/>
                  </a:cubicBezTo>
                  <a:cubicBezTo>
                    <a:pt x="27" y="43"/>
                    <a:pt x="28" y="44"/>
                    <a:pt x="27" y="47"/>
                  </a:cubicBezTo>
                  <a:cubicBezTo>
                    <a:pt x="26" y="50"/>
                    <a:pt x="27" y="49"/>
                    <a:pt x="28" y="51"/>
                  </a:cubicBezTo>
                  <a:cubicBezTo>
                    <a:pt x="30" y="53"/>
                    <a:pt x="26" y="55"/>
                    <a:pt x="28" y="56"/>
                  </a:cubicBezTo>
                  <a:cubicBezTo>
                    <a:pt x="30" y="57"/>
                    <a:pt x="31" y="57"/>
                    <a:pt x="30" y="61"/>
                  </a:cubicBezTo>
                  <a:cubicBezTo>
                    <a:pt x="29" y="66"/>
                    <a:pt x="29" y="67"/>
                    <a:pt x="27" y="66"/>
                  </a:cubicBezTo>
                  <a:cubicBezTo>
                    <a:pt x="25" y="64"/>
                    <a:pt x="25" y="61"/>
                    <a:pt x="23" y="61"/>
                  </a:cubicBezTo>
                  <a:cubicBezTo>
                    <a:pt x="21" y="60"/>
                    <a:pt x="17" y="62"/>
                    <a:pt x="17" y="62"/>
                  </a:cubicBezTo>
                  <a:cubicBezTo>
                    <a:pt x="17" y="62"/>
                    <a:pt x="17" y="60"/>
                    <a:pt x="14" y="59"/>
                  </a:cubicBezTo>
                  <a:cubicBezTo>
                    <a:pt x="12" y="59"/>
                    <a:pt x="16" y="62"/>
                    <a:pt x="14" y="63"/>
                  </a:cubicBezTo>
                  <a:cubicBezTo>
                    <a:pt x="12" y="64"/>
                    <a:pt x="7" y="61"/>
                    <a:pt x="8" y="65"/>
                  </a:cubicBezTo>
                  <a:cubicBezTo>
                    <a:pt x="10" y="68"/>
                    <a:pt x="9" y="66"/>
                    <a:pt x="8" y="67"/>
                  </a:cubicBezTo>
                  <a:cubicBezTo>
                    <a:pt x="6" y="69"/>
                    <a:pt x="9" y="71"/>
                    <a:pt x="10" y="74"/>
                  </a:cubicBezTo>
                  <a:cubicBezTo>
                    <a:pt x="10" y="77"/>
                    <a:pt x="11" y="79"/>
                    <a:pt x="8" y="78"/>
                  </a:cubicBezTo>
                  <a:cubicBezTo>
                    <a:pt x="5" y="77"/>
                    <a:pt x="5" y="76"/>
                    <a:pt x="3" y="76"/>
                  </a:cubicBezTo>
                  <a:cubicBezTo>
                    <a:pt x="1" y="76"/>
                    <a:pt x="0" y="82"/>
                    <a:pt x="0" y="82"/>
                  </a:cubicBezTo>
                  <a:cubicBezTo>
                    <a:pt x="1" y="82"/>
                    <a:pt x="3" y="83"/>
                    <a:pt x="4" y="85"/>
                  </a:cubicBezTo>
                  <a:cubicBezTo>
                    <a:pt x="4" y="86"/>
                    <a:pt x="4" y="86"/>
                    <a:pt x="4" y="86"/>
                  </a:cubicBezTo>
                  <a:cubicBezTo>
                    <a:pt x="6" y="86"/>
                    <a:pt x="6" y="86"/>
                    <a:pt x="6" y="86"/>
                  </a:cubicBezTo>
                  <a:cubicBezTo>
                    <a:pt x="6" y="86"/>
                    <a:pt x="5" y="88"/>
                    <a:pt x="6" y="88"/>
                  </a:cubicBezTo>
                  <a:lnTo>
                    <a:pt x="8" y="88"/>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48" name="Freeform 284">
              <a:extLst>
                <a:ext uri="{FF2B5EF4-FFF2-40B4-BE49-F238E27FC236}">
                  <a16:creationId xmlns:a16="http://schemas.microsoft.com/office/drawing/2014/main" id="{E82FE19D-DE32-5994-9259-463E6CB0B120}"/>
                </a:ext>
              </a:extLst>
            </p:cNvPr>
            <p:cNvSpPr>
              <a:spLocks/>
            </p:cNvSpPr>
            <p:nvPr/>
          </p:nvSpPr>
          <p:spPr bwMode="auto">
            <a:xfrm>
              <a:off x="3557894" y="3766776"/>
              <a:ext cx="391616" cy="628751"/>
            </a:xfrm>
            <a:custGeom>
              <a:avLst/>
              <a:gdLst>
                <a:gd name="T0" fmla="*/ 69 w 111"/>
                <a:gd name="T1" fmla="*/ 7 h 178"/>
                <a:gd name="T2" fmla="*/ 70 w 111"/>
                <a:gd name="T3" fmla="*/ 3 h 178"/>
                <a:gd name="T4" fmla="*/ 66 w 111"/>
                <a:gd name="T5" fmla="*/ 1 h 178"/>
                <a:gd name="T6" fmla="*/ 62 w 111"/>
                <a:gd name="T7" fmla="*/ 3 h 178"/>
                <a:gd name="T8" fmla="*/ 56 w 111"/>
                <a:gd name="T9" fmla="*/ 9 h 178"/>
                <a:gd name="T10" fmla="*/ 48 w 111"/>
                <a:gd name="T11" fmla="*/ 15 h 178"/>
                <a:gd name="T12" fmla="*/ 41 w 111"/>
                <a:gd name="T13" fmla="*/ 17 h 178"/>
                <a:gd name="T14" fmla="*/ 37 w 111"/>
                <a:gd name="T15" fmla="*/ 17 h 178"/>
                <a:gd name="T16" fmla="*/ 34 w 111"/>
                <a:gd name="T17" fmla="*/ 20 h 178"/>
                <a:gd name="T18" fmla="*/ 31 w 111"/>
                <a:gd name="T19" fmla="*/ 30 h 178"/>
                <a:gd name="T20" fmla="*/ 28 w 111"/>
                <a:gd name="T21" fmla="*/ 34 h 178"/>
                <a:gd name="T22" fmla="*/ 22 w 111"/>
                <a:gd name="T23" fmla="*/ 48 h 178"/>
                <a:gd name="T24" fmla="*/ 17 w 111"/>
                <a:gd name="T25" fmla="*/ 42 h 178"/>
                <a:gd name="T26" fmla="*/ 18 w 111"/>
                <a:gd name="T27" fmla="*/ 49 h 178"/>
                <a:gd name="T28" fmla="*/ 15 w 111"/>
                <a:gd name="T29" fmla="*/ 56 h 178"/>
                <a:gd name="T30" fmla="*/ 17 w 111"/>
                <a:gd name="T31" fmla="*/ 72 h 178"/>
                <a:gd name="T32" fmla="*/ 16 w 111"/>
                <a:gd name="T33" fmla="*/ 75 h 178"/>
                <a:gd name="T34" fmla="*/ 13 w 111"/>
                <a:gd name="T35" fmla="*/ 88 h 178"/>
                <a:gd name="T36" fmla="*/ 15 w 111"/>
                <a:gd name="T37" fmla="*/ 92 h 178"/>
                <a:gd name="T38" fmla="*/ 17 w 111"/>
                <a:gd name="T39" fmla="*/ 94 h 178"/>
                <a:gd name="T40" fmla="*/ 12 w 111"/>
                <a:gd name="T41" fmla="*/ 102 h 178"/>
                <a:gd name="T42" fmla="*/ 5 w 111"/>
                <a:gd name="T43" fmla="*/ 106 h 178"/>
                <a:gd name="T44" fmla="*/ 4 w 111"/>
                <a:gd name="T45" fmla="*/ 109 h 178"/>
                <a:gd name="T46" fmla="*/ 5 w 111"/>
                <a:gd name="T47" fmla="*/ 112 h 178"/>
                <a:gd name="T48" fmla="*/ 1 w 111"/>
                <a:gd name="T49" fmla="*/ 113 h 178"/>
                <a:gd name="T50" fmla="*/ 2 w 111"/>
                <a:gd name="T51" fmla="*/ 117 h 178"/>
                <a:gd name="T52" fmla="*/ 10 w 111"/>
                <a:gd name="T53" fmla="*/ 124 h 178"/>
                <a:gd name="T54" fmla="*/ 14 w 111"/>
                <a:gd name="T55" fmla="*/ 131 h 178"/>
                <a:gd name="T56" fmla="*/ 25 w 111"/>
                <a:gd name="T57" fmla="*/ 132 h 178"/>
                <a:gd name="T58" fmla="*/ 36 w 111"/>
                <a:gd name="T59" fmla="*/ 135 h 178"/>
                <a:gd name="T60" fmla="*/ 41 w 111"/>
                <a:gd name="T61" fmla="*/ 145 h 178"/>
                <a:gd name="T62" fmla="*/ 50 w 111"/>
                <a:gd name="T63" fmla="*/ 149 h 178"/>
                <a:gd name="T64" fmla="*/ 54 w 111"/>
                <a:gd name="T65" fmla="*/ 155 h 178"/>
                <a:gd name="T66" fmla="*/ 59 w 111"/>
                <a:gd name="T67" fmla="*/ 154 h 178"/>
                <a:gd name="T68" fmla="*/ 72 w 111"/>
                <a:gd name="T69" fmla="*/ 157 h 178"/>
                <a:gd name="T70" fmla="*/ 67 w 111"/>
                <a:gd name="T71" fmla="*/ 176 h 178"/>
                <a:gd name="T72" fmla="*/ 74 w 111"/>
                <a:gd name="T73" fmla="*/ 178 h 178"/>
                <a:gd name="T74" fmla="*/ 85 w 111"/>
                <a:gd name="T75" fmla="*/ 145 h 178"/>
                <a:gd name="T76" fmla="*/ 79 w 111"/>
                <a:gd name="T77" fmla="*/ 136 h 178"/>
                <a:gd name="T78" fmla="*/ 85 w 111"/>
                <a:gd name="T79" fmla="*/ 131 h 178"/>
                <a:gd name="T80" fmla="*/ 81 w 111"/>
                <a:gd name="T81" fmla="*/ 129 h 178"/>
                <a:gd name="T82" fmla="*/ 87 w 111"/>
                <a:gd name="T83" fmla="*/ 127 h 178"/>
                <a:gd name="T84" fmla="*/ 96 w 111"/>
                <a:gd name="T85" fmla="*/ 124 h 178"/>
                <a:gd name="T86" fmla="*/ 102 w 111"/>
                <a:gd name="T87" fmla="*/ 125 h 178"/>
                <a:gd name="T88" fmla="*/ 106 w 111"/>
                <a:gd name="T89" fmla="*/ 121 h 178"/>
                <a:gd name="T90" fmla="*/ 110 w 111"/>
                <a:gd name="T91" fmla="*/ 126 h 178"/>
                <a:gd name="T92" fmla="*/ 108 w 111"/>
                <a:gd name="T93" fmla="*/ 117 h 178"/>
                <a:gd name="T94" fmla="*/ 105 w 111"/>
                <a:gd name="T95" fmla="*/ 111 h 178"/>
                <a:gd name="T96" fmla="*/ 111 w 111"/>
                <a:gd name="T97" fmla="*/ 100 h 178"/>
                <a:gd name="T98" fmla="*/ 98 w 111"/>
                <a:gd name="T99" fmla="*/ 89 h 178"/>
                <a:gd name="T100" fmla="*/ 95 w 111"/>
                <a:gd name="T101" fmla="*/ 78 h 178"/>
                <a:gd name="T102" fmla="*/ 90 w 111"/>
                <a:gd name="T103" fmla="*/ 71 h 178"/>
                <a:gd name="T104" fmla="*/ 79 w 111"/>
                <a:gd name="T105" fmla="*/ 65 h 178"/>
                <a:gd name="T106" fmla="*/ 66 w 111"/>
                <a:gd name="T107" fmla="*/ 63 h 178"/>
                <a:gd name="T108" fmla="*/ 59 w 111"/>
                <a:gd name="T109" fmla="*/ 57 h 178"/>
                <a:gd name="T110" fmla="*/ 57 w 111"/>
                <a:gd name="T111" fmla="*/ 48 h 178"/>
                <a:gd name="T112" fmla="*/ 50 w 111"/>
                <a:gd name="T113" fmla="*/ 41 h 178"/>
                <a:gd name="T114" fmla="*/ 50 w 111"/>
                <a:gd name="T115" fmla="*/ 30 h 178"/>
                <a:gd name="T116" fmla="*/ 54 w 111"/>
                <a:gd name="T117" fmla="*/ 23 h 178"/>
                <a:gd name="T118" fmla="*/ 62 w 111"/>
                <a:gd name="T119" fmla="*/ 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178">
                  <a:moveTo>
                    <a:pt x="67" y="7"/>
                  </a:moveTo>
                  <a:cubicBezTo>
                    <a:pt x="67" y="6"/>
                    <a:pt x="69" y="7"/>
                    <a:pt x="69" y="7"/>
                  </a:cubicBezTo>
                  <a:cubicBezTo>
                    <a:pt x="70" y="6"/>
                    <a:pt x="70" y="5"/>
                    <a:pt x="70" y="5"/>
                  </a:cubicBezTo>
                  <a:cubicBezTo>
                    <a:pt x="70" y="3"/>
                    <a:pt x="70" y="3"/>
                    <a:pt x="70" y="3"/>
                  </a:cubicBezTo>
                  <a:cubicBezTo>
                    <a:pt x="69" y="3"/>
                    <a:pt x="69" y="3"/>
                    <a:pt x="68" y="3"/>
                  </a:cubicBezTo>
                  <a:cubicBezTo>
                    <a:pt x="68" y="2"/>
                    <a:pt x="67" y="1"/>
                    <a:pt x="66" y="1"/>
                  </a:cubicBezTo>
                  <a:cubicBezTo>
                    <a:pt x="66" y="0"/>
                    <a:pt x="65" y="1"/>
                    <a:pt x="64" y="1"/>
                  </a:cubicBezTo>
                  <a:cubicBezTo>
                    <a:pt x="63" y="2"/>
                    <a:pt x="62" y="2"/>
                    <a:pt x="62" y="3"/>
                  </a:cubicBezTo>
                  <a:cubicBezTo>
                    <a:pt x="61" y="3"/>
                    <a:pt x="62" y="5"/>
                    <a:pt x="62" y="5"/>
                  </a:cubicBezTo>
                  <a:cubicBezTo>
                    <a:pt x="61" y="7"/>
                    <a:pt x="58" y="9"/>
                    <a:pt x="56" y="9"/>
                  </a:cubicBezTo>
                  <a:cubicBezTo>
                    <a:pt x="55" y="10"/>
                    <a:pt x="54" y="9"/>
                    <a:pt x="53" y="10"/>
                  </a:cubicBezTo>
                  <a:cubicBezTo>
                    <a:pt x="51" y="11"/>
                    <a:pt x="50" y="14"/>
                    <a:pt x="48" y="15"/>
                  </a:cubicBezTo>
                  <a:cubicBezTo>
                    <a:pt x="46" y="15"/>
                    <a:pt x="44" y="14"/>
                    <a:pt x="42" y="15"/>
                  </a:cubicBezTo>
                  <a:cubicBezTo>
                    <a:pt x="42" y="15"/>
                    <a:pt x="42" y="16"/>
                    <a:pt x="41" y="17"/>
                  </a:cubicBezTo>
                  <a:cubicBezTo>
                    <a:pt x="42" y="17"/>
                    <a:pt x="40" y="22"/>
                    <a:pt x="40" y="18"/>
                  </a:cubicBezTo>
                  <a:cubicBezTo>
                    <a:pt x="40" y="18"/>
                    <a:pt x="39" y="17"/>
                    <a:pt x="37" y="17"/>
                  </a:cubicBezTo>
                  <a:cubicBezTo>
                    <a:pt x="36" y="17"/>
                    <a:pt x="36" y="19"/>
                    <a:pt x="35" y="20"/>
                  </a:cubicBezTo>
                  <a:cubicBezTo>
                    <a:pt x="34" y="20"/>
                    <a:pt x="34" y="20"/>
                    <a:pt x="34" y="20"/>
                  </a:cubicBezTo>
                  <a:cubicBezTo>
                    <a:pt x="33" y="23"/>
                    <a:pt x="35" y="27"/>
                    <a:pt x="34" y="28"/>
                  </a:cubicBezTo>
                  <a:cubicBezTo>
                    <a:pt x="34" y="29"/>
                    <a:pt x="31" y="29"/>
                    <a:pt x="31" y="30"/>
                  </a:cubicBezTo>
                  <a:cubicBezTo>
                    <a:pt x="30" y="31"/>
                    <a:pt x="31" y="32"/>
                    <a:pt x="31" y="34"/>
                  </a:cubicBezTo>
                  <a:cubicBezTo>
                    <a:pt x="30" y="34"/>
                    <a:pt x="30" y="34"/>
                    <a:pt x="28" y="34"/>
                  </a:cubicBezTo>
                  <a:cubicBezTo>
                    <a:pt x="25" y="40"/>
                    <a:pt x="25" y="41"/>
                    <a:pt x="24" y="48"/>
                  </a:cubicBezTo>
                  <a:cubicBezTo>
                    <a:pt x="23" y="48"/>
                    <a:pt x="22" y="49"/>
                    <a:pt x="22" y="48"/>
                  </a:cubicBezTo>
                  <a:cubicBezTo>
                    <a:pt x="20" y="48"/>
                    <a:pt x="20" y="44"/>
                    <a:pt x="19" y="43"/>
                  </a:cubicBezTo>
                  <a:cubicBezTo>
                    <a:pt x="19" y="43"/>
                    <a:pt x="18" y="42"/>
                    <a:pt x="17" y="42"/>
                  </a:cubicBezTo>
                  <a:cubicBezTo>
                    <a:pt x="16" y="46"/>
                    <a:pt x="16" y="46"/>
                    <a:pt x="16" y="46"/>
                  </a:cubicBezTo>
                  <a:cubicBezTo>
                    <a:pt x="16" y="46"/>
                    <a:pt x="18" y="47"/>
                    <a:pt x="18" y="49"/>
                  </a:cubicBezTo>
                  <a:cubicBezTo>
                    <a:pt x="18" y="52"/>
                    <a:pt x="16" y="54"/>
                    <a:pt x="16" y="54"/>
                  </a:cubicBezTo>
                  <a:cubicBezTo>
                    <a:pt x="15" y="56"/>
                    <a:pt x="15" y="56"/>
                    <a:pt x="15" y="56"/>
                  </a:cubicBezTo>
                  <a:cubicBezTo>
                    <a:pt x="16" y="57"/>
                    <a:pt x="16" y="57"/>
                    <a:pt x="17" y="57"/>
                  </a:cubicBezTo>
                  <a:cubicBezTo>
                    <a:pt x="17" y="64"/>
                    <a:pt x="16" y="67"/>
                    <a:pt x="17" y="72"/>
                  </a:cubicBezTo>
                  <a:cubicBezTo>
                    <a:pt x="14" y="73"/>
                    <a:pt x="14" y="73"/>
                    <a:pt x="14" y="73"/>
                  </a:cubicBezTo>
                  <a:cubicBezTo>
                    <a:pt x="14" y="74"/>
                    <a:pt x="15" y="74"/>
                    <a:pt x="16" y="75"/>
                  </a:cubicBezTo>
                  <a:cubicBezTo>
                    <a:pt x="15" y="79"/>
                    <a:pt x="16" y="80"/>
                    <a:pt x="15" y="84"/>
                  </a:cubicBezTo>
                  <a:cubicBezTo>
                    <a:pt x="15" y="85"/>
                    <a:pt x="13" y="87"/>
                    <a:pt x="13" y="88"/>
                  </a:cubicBezTo>
                  <a:cubicBezTo>
                    <a:pt x="12" y="87"/>
                    <a:pt x="12" y="89"/>
                    <a:pt x="12" y="89"/>
                  </a:cubicBezTo>
                  <a:cubicBezTo>
                    <a:pt x="13" y="90"/>
                    <a:pt x="13" y="91"/>
                    <a:pt x="15" y="92"/>
                  </a:cubicBezTo>
                  <a:cubicBezTo>
                    <a:pt x="16" y="93"/>
                    <a:pt x="16" y="92"/>
                    <a:pt x="17" y="92"/>
                  </a:cubicBezTo>
                  <a:cubicBezTo>
                    <a:pt x="17" y="94"/>
                    <a:pt x="17" y="94"/>
                    <a:pt x="17" y="94"/>
                  </a:cubicBezTo>
                  <a:cubicBezTo>
                    <a:pt x="16" y="95"/>
                    <a:pt x="14" y="96"/>
                    <a:pt x="13" y="97"/>
                  </a:cubicBezTo>
                  <a:cubicBezTo>
                    <a:pt x="12" y="98"/>
                    <a:pt x="13" y="101"/>
                    <a:pt x="12" y="102"/>
                  </a:cubicBezTo>
                  <a:cubicBezTo>
                    <a:pt x="11" y="103"/>
                    <a:pt x="8" y="102"/>
                    <a:pt x="7" y="103"/>
                  </a:cubicBezTo>
                  <a:cubicBezTo>
                    <a:pt x="6" y="103"/>
                    <a:pt x="5" y="105"/>
                    <a:pt x="5" y="106"/>
                  </a:cubicBezTo>
                  <a:cubicBezTo>
                    <a:pt x="4" y="106"/>
                    <a:pt x="4" y="106"/>
                    <a:pt x="4" y="106"/>
                  </a:cubicBezTo>
                  <a:cubicBezTo>
                    <a:pt x="4" y="106"/>
                    <a:pt x="4" y="108"/>
                    <a:pt x="4" y="109"/>
                  </a:cubicBezTo>
                  <a:cubicBezTo>
                    <a:pt x="3" y="108"/>
                    <a:pt x="4" y="109"/>
                    <a:pt x="3" y="110"/>
                  </a:cubicBezTo>
                  <a:cubicBezTo>
                    <a:pt x="3" y="109"/>
                    <a:pt x="4" y="111"/>
                    <a:pt x="5" y="112"/>
                  </a:cubicBezTo>
                  <a:cubicBezTo>
                    <a:pt x="5" y="113"/>
                    <a:pt x="5" y="113"/>
                    <a:pt x="5" y="113"/>
                  </a:cubicBezTo>
                  <a:cubicBezTo>
                    <a:pt x="4" y="113"/>
                    <a:pt x="2" y="112"/>
                    <a:pt x="1" y="113"/>
                  </a:cubicBezTo>
                  <a:cubicBezTo>
                    <a:pt x="0" y="113"/>
                    <a:pt x="1" y="116"/>
                    <a:pt x="1" y="117"/>
                  </a:cubicBezTo>
                  <a:cubicBezTo>
                    <a:pt x="2" y="117"/>
                    <a:pt x="2" y="117"/>
                    <a:pt x="2" y="117"/>
                  </a:cubicBezTo>
                  <a:cubicBezTo>
                    <a:pt x="2" y="117"/>
                    <a:pt x="2" y="120"/>
                    <a:pt x="4" y="122"/>
                  </a:cubicBezTo>
                  <a:cubicBezTo>
                    <a:pt x="6" y="123"/>
                    <a:pt x="10" y="124"/>
                    <a:pt x="10" y="124"/>
                  </a:cubicBezTo>
                  <a:cubicBezTo>
                    <a:pt x="10" y="124"/>
                    <a:pt x="11" y="126"/>
                    <a:pt x="12" y="128"/>
                  </a:cubicBezTo>
                  <a:cubicBezTo>
                    <a:pt x="12" y="129"/>
                    <a:pt x="14" y="131"/>
                    <a:pt x="14" y="131"/>
                  </a:cubicBezTo>
                  <a:cubicBezTo>
                    <a:pt x="22" y="132"/>
                    <a:pt x="22" y="132"/>
                    <a:pt x="22" y="132"/>
                  </a:cubicBezTo>
                  <a:cubicBezTo>
                    <a:pt x="22" y="132"/>
                    <a:pt x="23" y="130"/>
                    <a:pt x="25" y="132"/>
                  </a:cubicBezTo>
                  <a:cubicBezTo>
                    <a:pt x="26" y="134"/>
                    <a:pt x="32" y="135"/>
                    <a:pt x="32" y="135"/>
                  </a:cubicBezTo>
                  <a:cubicBezTo>
                    <a:pt x="36" y="135"/>
                    <a:pt x="36" y="135"/>
                    <a:pt x="36" y="135"/>
                  </a:cubicBezTo>
                  <a:cubicBezTo>
                    <a:pt x="36" y="135"/>
                    <a:pt x="36" y="140"/>
                    <a:pt x="38" y="140"/>
                  </a:cubicBezTo>
                  <a:cubicBezTo>
                    <a:pt x="39" y="140"/>
                    <a:pt x="42" y="143"/>
                    <a:pt x="41" y="145"/>
                  </a:cubicBezTo>
                  <a:cubicBezTo>
                    <a:pt x="41" y="146"/>
                    <a:pt x="46" y="149"/>
                    <a:pt x="46" y="149"/>
                  </a:cubicBezTo>
                  <a:cubicBezTo>
                    <a:pt x="50" y="149"/>
                    <a:pt x="50" y="149"/>
                    <a:pt x="50" y="149"/>
                  </a:cubicBezTo>
                  <a:cubicBezTo>
                    <a:pt x="51" y="152"/>
                    <a:pt x="51" y="152"/>
                    <a:pt x="51" y="152"/>
                  </a:cubicBezTo>
                  <a:cubicBezTo>
                    <a:pt x="51" y="152"/>
                    <a:pt x="52" y="155"/>
                    <a:pt x="54" y="155"/>
                  </a:cubicBezTo>
                  <a:cubicBezTo>
                    <a:pt x="55" y="155"/>
                    <a:pt x="58" y="157"/>
                    <a:pt x="58" y="157"/>
                  </a:cubicBezTo>
                  <a:cubicBezTo>
                    <a:pt x="59" y="154"/>
                    <a:pt x="59" y="154"/>
                    <a:pt x="59" y="154"/>
                  </a:cubicBezTo>
                  <a:cubicBezTo>
                    <a:pt x="59" y="154"/>
                    <a:pt x="64" y="153"/>
                    <a:pt x="65" y="155"/>
                  </a:cubicBezTo>
                  <a:cubicBezTo>
                    <a:pt x="66" y="156"/>
                    <a:pt x="70" y="157"/>
                    <a:pt x="72" y="157"/>
                  </a:cubicBezTo>
                  <a:cubicBezTo>
                    <a:pt x="74" y="157"/>
                    <a:pt x="76" y="160"/>
                    <a:pt x="76" y="160"/>
                  </a:cubicBezTo>
                  <a:cubicBezTo>
                    <a:pt x="67" y="176"/>
                    <a:pt x="67" y="176"/>
                    <a:pt x="67" y="176"/>
                  </a:cubicBezTo>
                  <a:cubicBezTo>
                    <a:pt x="72" y="176"/>
                    <a:pt x="72" y="176"/>
                    <a:pt x="72" y="176"/>
                  </a:cubicBezTo>
                  <a:cubicBezTo>
                    <a:pt x="74" y="178"/>
                    <a:pt x="74" y="178"/>
                    <a:pt x="74" y="178"/>
                  </a:cubicBezTo>
                  <a:cubicBezTo>
                    <a:pt x="74" y="178"/>
                    <a:pt x="83" y="156"/>
                    <a:pt x="84" y="153"/>
                  </a:cubicBezTo>
                  <a:cubicBezTo>
                    <a:pt x="84" y="151"/>
                    <a:pt x="87" y="148"/>
                    <a:pt x="85" y="145"/>
                  </a:cubicBezTo>
                  <a:cubicBezTo>
                    <a:pt x="85" y="144"/>
                    <a:pt x="82" y="137"/>
                    <a:pt x="82" y="137"/>
                  </a:cubicBezTo>
                  <a:cubicBezTo>
                    <a:pt x="79" y="136"/>
                    <a:pt x="79" y="136"/>
                    <a:pt x="79" y="136"/>
                  </a:cubicBezTo>
                  <a:cubicBezTo>
                    <a:pt x="80" y="131"/>
                    <a:pt x="80" y="131"/>
                    <a:pt x="80" y="131"/>
                  </a:cubicBezTo>
                  <a:cubicBezTo>
                    <a:pt x="85" y="131"/>
                    <a:pt x="85" y="131"/>
                    <a:pt x="85" y="131"/>
                  </a:cubicBezTo>
                  <a:cubicBezTo>
                    <a:pt x="86" y="130"/>
                    <a:pt x="86" y="130"/>
                    <a:pt x="86" y="130"/>
                  </a:cubicBezTo>
                  <a:cubicBezTo>
                    <a:pt x="81" y="129"/>
                    <a:pt x="81" y="129"/>
                    <a:pt x="81" y="129"/>
                  </a:cubicBezTo>
                  <a:cubicBezTo>
                    <a:pt x="82" y="125"/>
                    <a:pt x="82" y="125"/>
                    <a:pt x="82" y="125"/>
                  </a:cubicBezTo>
                  <a:cubicBezTo>
                    <a:pt x="82" y="125"/>
                    <a:pt x="85" y="127"/>
                    <a:pt x="87" y="127"/>
                  </a:cubicBezTo>
                  <a:cubicBezTo>
                    <a:pt x="90" y="127"/>
                    <a:pt x="96" y="126"/>
                    <a:pt x="96" y="126"/>
                  </a:cubicBezTo>
                  <a:cubicBezTo>
                    <a:pt x="96" y="124"/>
                    <a:pt x="96" y="124"/>
                    <a:pt x="96" y="124"/>
                  </a:cubicBezTo>
                  <a:cubicBezTo>
                    <a:pt x="99" y="126"/>
                    <a:pt x="99" y="126"/>
                    <a:pt x="99" y="126"/>
                  </a:cubicBezTo>
                  <a:cubicBezTo>
                    <a:pt x="102" y="125"/>
                    <a:pt x="102" y="125"/>
                    <a:pt x="102" y="125"/>
                  </a:cubicBezTo>
                  <a:cubicBezTo>
                    <a:pt x="103" y="121"/>
                    <a:pt x="103" y="121"/>
                    <a:pt x="103" y="121"/>
                  </a:cubicBezTo>
                  <a:cubicBezTo>
                    <a:pt x="106" y="121"/>
                    <a:pt x="106" y="121"/>
                    <a:pt x="106" y="121"/>
                  </a:cubicBezTo>
                  <a:cubicBezTo>
                    <a:pt x="107" y="125"/>
                    <a:pt x="107" y="125"/>
                    <a:pt x="107" y="125"/>
                  </a:cubicBezTo>
                  <a:cubicBezTo>
                    <a:pt x="110" y="126"/>
                    <a:pt x="110" y="126"/>
                    <a:pt x="110" y="126"/>
                  </a:cubicBezTo>
                  <a:cubicBezTo>
                    <a:pt x="110" y="121"/>
                    <a:pt x="110" y="121"/>
                    <a:pt x="110" y="121"/>
                  </a:cubicBezTo>
                  <a:cubicBezTo>
                    <a:pt x="110" y="121"/>
                    <a:pt x="109" y="119"/>
                    <a:pt x="108" y="117"/>
                  </a:cubicBezTo>
                  <a:cubicBezTo>
                    <a:pt x="108" y="115"/>
                    <a:pt x="109" y="113"/>
                    <a:pt x="106" y="114"/>
                  </a:cubicBezTo>
                  <a:cubicBezTo>
                    <a:pt x="104" y="116"/>
                    <a:pt x="105" y="111"/>
                    <a:pt x="105" y="111"/>
                  </a:cubicBezTo>
                  <a:cubicBezTo>
                    <a:pt x="105" y="111"/>
                    <a:pt x="108" y="108"/>
                    <a:pt x="109" y="106"/>
                  </a:cubicBezTo>
                  <a:cubicBezTo>
                    <a:pt x="109" y="104"/>
                    <a:pt x="111" y="100"/>
                    <a:pt x="111" y="100"/>
                  </a:cubicBezTo>
                  <a:cubicBezTo>
                    <a:pt x="111" y="100"/>
                    <a:pt x="104" y="96"/>
                    <a:pt x="102" y="95"/>
                  </a:cubicBezTo>
                  <a:cubicBezTo>
                    <a:pt x="101" y="93"/>
                    <a:pt x="98" y="91"/>
                    <a:pt x="98" y="89"/>
                  </a:cubicBezTo>
                  <a:cubicBezTo>
                    <a:pt x="98" y="87"/>
                    <a:pt x="94" y="86"/>
                    <a:pt x="93" y="82"/>
                  </a:cubicBezTo>
                  <a:cubicBezTo>
                    <a:pt x="92" y="79"/>
                    <a:pt x="95" y="78"/>
                    <a:pt x="95" y="78"/>
                  </a:cubicBezTo>
                  <a:cubicBezTo>
                    <a:pt x="96" y="72"/>
                    <a:pt x="96" y="72"/>
                    <a:pt x="96" y="72"/>
                  </a:cubicBezTo>
                  <a:cubicBezTo>
                    <a:pt x="96" y="72"/>
                    <a:pt x="92" y="71"/>
                    <a:pt x="90" y="71"/>
                  </a:cubicBezTo>
                  <a:cubicBezTo>
                    <a:pt x="88" y="71"/>
                    <a:pt x="83" y="72"/>
                    <a:pt x="83" y="72"/>
                  </a:cubicBezTo>
                  <a:cubicBezTo>
                    <a:pt x="83" y="72"/>
                    <a:pt x="80" y="67"/>
                    <a:pt x="79" y="65"/>
                  </a:cubicBezTo>
                  <a:cubicBezTo>
                    <a:pt x="78" y="63"/>
                    <a:pt x="76" y="62"/>
                    <a:pt x="74" y="63"/>
                  </a:cubicBezTo>
                  <a:cubicBezTo>
                    <a:pt x="71" y="64"/>
                    <a:pt x="66" y="63"/>
                    <a:pt x="66" y="63"/>
                  </a:cubicBezTo>
                  <a:cubicBezTo>
                    <a:pt x="60" y="62"/>
                    <a:pt x="60" y="62"/>
                    <a:pt x="60" y="62"/>
                  </a:cubicBezTo>
                  <a:cubicBezTo>
                    <a:pt x="60" y="62"/>
                    <a:pt x="61" y="59"/>
                    <a:pt x="59" y="57"/>
                  </a:cubicBezTo>
                  <a:cubicBezTo>
                    <a:pt x="57" y="54"/>
                    <a:pt x="56" y="53"/>
                    <a:pt x="55" y="51"/>
                  </a:cubicBezTo>
                  <a:cubicBezTo>
                    <a:pt x="55" y="48"/>
                    <a:pt x="57" y="48"/>
                    <a:pt x="57" y="48"/>
                  </a:cubicBezTo>
                  <a:cubicBezTo>
                    <a:pt x="53" y="40"/>
                    <a:pt x="53" y="40"/>
                    <a:pt x="53" y="40"/>
                  </a:cubicBezTo>
                  <a:cubicBezTo>
                    <a:pt x="50" y="41"/>
                    <a:pt x="50" y="41"/>
                    <a:pt x="50" y="41"/>
                  </a:cubicBezTo>
                  <a:cubicBezTo>
                    <a:pt x="50" y="41"/>
                    <a:pt x="47" y="42"/>
                    <a:pt x="49" y="37"/>
                  </a:cubicBezTo>
                  <a:cubicBezTo>
                    <a:pt x="51" y="33"/>
                    <a:pt x="49" y="33"/>
                    <a:pt x="50" y="30"/>
                  </a:cubicBezTo>
                  <a:cubicBezTo>
                    <a:pt x="52" y="27"/>
                    <a:pt x="50" y="24"/>
                    <a:pt x="50" y="24"/>
                  </a:cubicBezTo>
                  <a:cubicBezTo>
                    <a:pt x="54" y="23"/>
                    <a:pt x="54" y="23"/>
                    <a:pt x="54" y="23"/>
                  </a:cubicBezTo>
                  <a:cubicBezTo>
                    <a:pt x="57" y="14"/>
                    <a:pt x="57" y="14"/>
                    <a:pt x="57" y="14"/>
                  </a:cubicBezTo>
                  <a:cubicBezTo>
                    <a:pt x="62" y="8"/>
                    <a:pt x="62" y="8"/>
                    <a:pt x="62" y="8"/>
                  </a:cubicBezTo>
                  <a:cubicBezTo>
                    <a:pt x="62" y="8"/>
                    <a:pt x="65" y="7"/>
                    <a:pt x="67" y="7"/>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49" name="Freeform 285">
              <a:extLst>
                <a:ext uri="{FF2B5EF4-FFF2-40B4-BE49-F238E27FC236}">
                  <a16:creationId xmlns:a16="http://schemas.microsoft.com/office/drawing/2014/main" id="{15BF0B16-4BC5-BCB5-CE98-ABDB9A81DD9A}"/>
                </a:ext>
              </a:extLst>
            </p:cNvPr>
            <p:cNvSpPr>
              <a:spLocks/>
            </p:cNvSpPr>
            <p:nvPr/>
          </p:nvSpPr>
          <p:spPr bwMode="auto">
            <a:xfrm>
              <a:off x="3557894" y="3766776"/>
              <a:ext cx="391616" cy="628751"/>
            </a:xfrm>
            <a:custGeom>
              <a:avLst/>
              <a:gdLst>
                <a:gd name="T0" fmla="*/ 69 w 111"/>
                <a:gd name="T1" fmla="*/ 7 h 178"/>
                <a:gd name="T2" fmla="*/ 70 w 111"/>
                <a:gd name="T3" fmla="*/ 3 h 178"/>
                <a:gd name="T4" fmla="*/ 66 w 111"/>
                <a:gd name="T5" fmla="*/ 1 h 178"/>
                <a:gd name="T6" fmla="*/ 62 w 111"/>
                <a:gd name="T7" fmla="*/ 3 h 178"/>
                <a:gd name="T8" fmla="*/ 56 w 111"/>
                <a:gd name="T9" fmla="*/ 9 h 178"/>
                <a:gd name="T10" fmla="*/ 48 w 111"/>
                <a:gd name="T11" fmla="*/ 15 h 178"/>
                <a:gd name="T12" fmla="*/ 41 w 111"/>
                <a:gd name="T13" fmla="*/ 17 h 178"/>
                <a:gd name="T14" fmla="*/ 37 w 111"/>
                <a:gd name="T15" fmla="*/ 17 h 178"/>
                <a:gd name="T16" fmla="*/ 34 w 111"/>
                <a:gd name="T17" fmla="*/ 20 h 178"/>
                <a:gd name="T18" fmla="*/ 31 w 111"/>
                <a:gd name="T19" fmla="*/ 30 h 178"/>
                <a:gd name="T20" fmla="*/ 28 w 111"/>
                <a:gd name="T21" fmla="*/ 34 h 178"/>
                <a:gd name="T22" fmla="*/ 22 w 111"/>
                <a:gd name="T23" fmla="*/ 48 h 178"/>
                <a:gd name="T24" fmla="*/ 17 w 111"/>
                <a:gd name="T25" fmla="*/ 42 h 178"/>
                <a:gd name="T26" fmla="*/ 18 w 111"/>
                <a:gd name="T27" fmla="*/ 49 h 178"/>
                <a:gd name="T28" fmla="*/ 15 w 111"/>
                <a:gd name="T29" fmla="*/ 56 h 178"/>
                <a:gd name="T30" fmla="*/ 17 w 111"/>
                <a:gd name="T31" fmla="*/ 72 h 178"/>
                <a:gd name="T32" fmla="*/ 16 w 111"/>
                <a:gd name="T33" fmla="*/ 75 h 178"/>
                <a:gd name="T34" fmla="*/ 13 w 111"/>
                <a:gd name="T35" fmla="*/ 88 h 178"/>
                <a:gd name="T36" fmla="*/ 15 w 111"/>
                <a:gd name="T37" fmla="*/ 92 h 178"/>
                <a:gd name="T38" fmla="*/ 17 w 111"/>
                <a:gd name="T39" fmla="*/ 94 h 178"/>
                <a:gd name="T40" fmla="*/ 12 w 111"/>
                <a:gd name="T41" fmla="*/ 102 h 178"/>
                <a:gd name="T42" fmla="*/ 5 w 111"/>
                <a:gd name="T43" fmla="*/ 106 h 178"/>
                <a:gd name="T44" fmla="*/ 4 w 111"/>
                <a:gd name="T45" fmla="*/ 109 h 178"/>
                <a:gd name="T46" fmla="*/ 5 w 111"/>
                <a:gd name="T47" fmla="*/ 112 h 178"/>
                <a:gd name="T48" fmla="*/ 1 w 111"/>
                <a:gd name="T49" fmla="*/ 113 h 178"/>
                <a:gd name="T50" fmla="*/ 2 w 111"/>
                <a:gd name="T51" fmla="*/ 117 h 178"/>
                <a:gd name="T52" fmla="*/ 10 w 111"/>
                <a:gd name="T53" fmla="*/ 124 h 178"/>
                <a:gd name="T54" fmla="*/ 14 w 111"/>
                <a:gd name="T55" fmla="*/ 131 h 178"/>
                <a:gd name="T56" fmla="*/ 25 w 111"/>
                <a:gd name="T57" fmla="*/ 132 h 178"/>
                <a:gd name="T58" fmla="*/ 36 w 111"/>
                <a:gd name="T59" fmla="*/ 135 h 178"/>
                <a:gd name="T60" fmla="*/ 41 w 111"/>
                <a:gd name="T61" fmla="*/ 145 h 178"/>
                <a:gd name="T62" fmla="*/ 50 w 111"/>
                <a:gd name="T63" fmla="*/ 149 h 178"/>
                <a:gd name="T64" fmla="*/ 54 w 111"/>
                <a:gd name="T65" fmla="*/ 155 h 178"/>
                <a:gd name="T66" fmla="*/ 59 w 111"/>
                <a:gd name="T67" fmla="*/ 154 h 178"/>
                <a:gd name="T68" fmla="*/ 72 w 111"/>
                <a:gd name="T69" fmla="*/ 157 h 178"/>
                <a:gd name="T70" fmla="*/ 67 w 111"/>
                <a:gd name="T71" fmla="*/ 176 h 178"/>
                <a:gd name="T72" fmla="*/ 74 w 111"/>
                <a:gd name="T73" fmla="*/ 178 h 178"/>
                <a:gd name="T74" fmla="*/ 85 w 111"/>
                <a:gd name="T75" fmla="*/ 145 h 178"/>
                <a:gd name="T76" fmla="*/ 79 w 111"/>
                <a:gd name="T77" fmla="*/ 136 h 178"/>
                <a:gd name="T78" fmla="*/ 85 w 111"/>
                <a:gd name="T79" fmla="*/ 131 h 178"/>
                <a:gd name="T80" fmla="*/ 81 w 111"/>
                <a:gd name="T81" fmla="*/ 129 h 178"/>
                <a:gd name="T82" fmla="*/ 87 w 111"/>
                <a:gd name="T83" fmla="*/ 127 h 178"/>
                <a:gd name="T84" fmla="*/ 96 w 111"/>
                <a:gd name="T85" fmla="*/ 124 h 178"/>
                <a:gd name="T86" fmla="*/ 102 w 111"/>
                <a:gd name="T87" fmla="*/ 125 h 178"/>
                <a:gd name="T88" fmla="*/ 106 w 111"/>
                <a:gd name="T89" fmla="*/ 121 h 178"/>
                <a:gd name="T90" fmla="*/ 110 w 111"/>
                <a:gd name="T91" fmla="*/ 126 h 178"/>
                <a:gd name="T92" fmla="*/ 108 w 111"/>
                <a:gd name="T93" fmla="*/ 117 h 178"/>
                <a:gd name="T94" fmla="*/ 105 w 111"/>
                <a:gd name="T95" fmla="*/ 111 h 178"/>
                <a:gd name="T96" fmla="*/ 111 w 111"/>
                <a:gd name="T97" fmla="*/ 100 h 178"/>
                <a:gd name="T98" fmla="*/ 98 w 111"/>
                <a:gd name="T99" fmla="*/ 89 h 178"/>
                <a:gd name="T100" fmla="*/ 95 w 111"/>
                <a:gd name="T101" fmla="*/ 78 h 178"/>
                <a:gd name="T102" fmla="*/ 90 w 111"/>
                <a:gd name="T103" fmla="*/ 71 h 178"/>
                <a:gd name="T104" fmla="*/ 79 w 111"/>
                <a:gd name="T105" fmla="*/ 65 h 178"/>
                <a:gd name="T106" fmla="*/ 66 w 111"/>
                <a:gd name="T107" fmla="*/ 63 h 178"/>
                <a:gd name="T108" fmla="*/ 59 w 111"/>
                <a:gd name="T109" fmla="*/ 57 h 178"/>
                <a:gd name="T110" fmla="*/ 57 w 111"/>
                <a:gd name="T111" fmla="*/ 48 h 178"/>
                <a:gd name="T112" fmla="*/ 50 w 111"/>
                <a:gd name="T113" fmla="*/ 41 h 178"/>
                <a:gd name="T114" fmla="*/ 50 w 111"/>
                <a:gd name="T115" fmla="*/ 30 h 178"/>
                <a:gd name="T116" fmla="*/ 54 w 111"/>
                <a:gd name="T117" fmla="*/ 23 h 178"/>
                <a:gd name="T118" fmla="*/ 62 w 111"/>
                <a:gd name="T119" fmla="*/ 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1" h="178">
                  <a:moveTo>
                    <a:pt x="67" y="7"/>
                  </a:moveTo>
                  <a:cubicBezTo>
                    <a:pt x="67" y="6"/>
                    <a:pt x="69" y="7"/>
                    <a:pt x="69" y="7"/>
                  </a:cubicBezTo>
                  <a:cubicBezTo>
                    <a:pt x="70" y="6"/>
                    <a:pt x="70" y="5"/>
                    <a:pt x="70" y="5"/>
                  </a:cubicBezTo>
                  <a:cubicBezTo>
                    <a:pt x="70" y="3"/>
                    <a:pt x="70" y="3"/>
                    <a:pt x="70" y="3"/>
                  </a:cubicBezTo>
                  <a:cubicBezTo>
                    <a:pt x="69" y="3"/>
                    <a:pt x="69" y="3"/>
                    <a:pt x="68" y="3"/>
                  </a:cubicBezTo>
                  <a:cubicBezTo>
                    <a:pt x="68" y="2"/>
                    <a:pt x="67" y="1"/>
                    <a:pt x="66" y="1"/>
                  </a:cubicBezTo>
                  <a:cubicBezTo>
                    <a:pt x="66" y="0"/>
                    <a:pt x="65" y="1"/>
                    <a:pt x="64" y="1"/>
                  </a:cubicBezTo>
                  <a:cubicBezTo>
                    <a:pt x="63" y="2"/>
                    <a:pt x="62" y="2"/>
                    <a:pt x="62" y="3"/>
                  </a:cubicBezTo>
                  <a:cubicBezTo>
                    <a:pt x="61" y="3"/>
                    <a:pt x="62" y="5"/>
                    <a:pt x="62" y="5"/>
                  </a:cubicBezTo>
                  <a:cubicBezTo>
                    <a:pt x="61" y="7"/>
                    <a:pt x="58" y="9"/>
                    <a:pt x="56" y="9"/>
                  </a:cubicBezTo>
                  <a:cubicBezTo>
                    <a:pt x="55" y="10"/>
                    <a:pt x="54" y="9"/>
                    <a:pt x="53" y="10"/>
                  </a:cubicBezTo>
                  <a:cubicBezTo>
                    <a:pt x="51" y="11"/>
                    <a:pt x="50" y="14"/>
                    <a:pt x="48" y="15"/>
                  </a:cubicBezTo>
                  <a:cubicBezTo>
                    <a:pt x="46" y="15"/>
                    <a:pt x="44" y="14"/>
                    <a:pt x="42" y="15"/>
                  </a:cubicBezTo>
                  <a:cubicBezTo>
                    <a:pt x="42" y="15"/>
                    <a:pt x="42" y="16"/>
                    <a:pt x="41" y="17"/>
                  </a:cubicBezTo>
                  <a:cubicBezTo>
                    <a:pt x="42" y="17"/>
                    <a:pt x="40" y="22"/>
                    <a:pt x="40" y="18"/>
                  </a:cubicBezTo>
                  <a:cubicBezTo>
                    <a:pt x="40" y="18"/>
                    <a:pt x="39" y="17"/>
                    <a:pt x="37" y="17"/>
                  </a:cubicBezTo>
                  <a:cubicBezTo>
                    <a:pt x="36" y="17"/>
                    <a:pt x="36" y="19"/>
                    <a:pt x="35" y="20"/>
                  </a:cubicBezTo>
                  <a:cubicBezTo>
                    <a:pt x="34" y="20"/>
                    <a:pt x="34" y="20"/>
                    <a:pt x="34" y="20"/>
                  </a:cubicBezTo>
                  <a:cubicBezTo>
                    <a:pt x="33" y="23"/>
                    <a:pt x="35" y="27"/>
                    <a:pt x="34" y="28"/>
                  </a:cubicBezTo>
                  <a:cubicBezTo>
                    <a:pt x="34" y="29"/>
                    <a:pt x="31" y="29"/>
                    <a:pt x="31" y="30"/>
                  </a:cubicBezTo>
                  <a:cubicBezTo>
                    <a:pt x="30" y="31"/>
                    <a:pt x="31" y="32"/>
                    <a:pt x="31" y="34"/>
                  </a:cubicBezTo>
                  <a:cubicBezTo>
                    <a:pt x="30" y="34"/>
                    <a:pt x="30" y="34"/>
                    <a:pt x="28" y="34"/>
                  </a:cubicBezTo>
                  <a:cubicBezTo>
                    <a:pt x="25" y="40"/>
                    <a:pt x="25" y="41"/>
                    <a:pt x="24" y="48"/>
                  </a:cubicBezTo>
                  <a:cubicBezTo>
                    <a:pt x="23" y="48"/>
                    <a:pt x="22" y="49"/>
                    <a:pt x="22" y="48"/>
                  </a:cubicBezTo>
                  <a:cubicBezTo>
                    <a:pt x="20" y="48"/>
                    <a:pt x="20" y="44"/>
                    <a:pt x="19" y="43"/>
                  </a:cubicBezTo>
                  <a:cubicBezTo>
                    <a:pt x="19" y="43"/>
                    <a:pt x="18" y="42"/>
                    <a:pt x="17" y="42"/>
                  </a:cubicBezTo>
                  <a:cubicBezTo>
                    <a:pt x="16" y="46"/>
                    <a:pt x="16" y="46"/>
                    <a:pt x="16" y="46"/>
                  </a:cubicBezTo>
                  <a:cubicBezTo>
                    <a:pt x="16" y="46"/>
                    <a:pt x="18" y="47"/>
                    <a:pt x="18" y="49"/>
                  </a:cubicBezTo>
                  <a:cubicBezTo>
                    <a:pt x="18" y="52"/>
                    <a:pt x="16" y="54"/>
                    <a:pt x="16" y="54"/>
                  </a:cubicBezTo>
                  <a:cubicBezTo>
                    <a:pt x="15" y="56"/>
                    <a:pt x="15" y="56"/>
                    <a:pt x="15" y="56"/>
                  </a:cubicBezTo>
                  <a:cubicBezTo>
                    <a:pt x="16" y="57"/>
                    <a:pt x="16" y="57"/>
                    <a:pt x="17" y="57"/>
                  </a:cubicBezTo>
                  <a:cubicBezTo>
                    <a:pt x="17" y="64"/>
                    <a:pt x="16" y="67"/>
                    <a:pt x="17" y="72"/>
                  </a:cubicBezTo>
                  <a:cubicBezTo>
                    <a:pt x="14" y="73"/>
                    <a:pt x="14" y="73"/>
                    <a:pt x="14" y="73"/>
                  </a:cubicBezTo>
                  <a:cubicBezTo>
                    <a:pt x="14" y="74"/>
                    <a:pt x="15" y="74"/>
                    <a:pt x="16" y="75"/>
                  </a:cubicBezTo>
                  <a:cubicBezTo>
                    <a:pt x="15" y="79"/>
                    <a:pt x="16" y="80"/>
                    <a:pt x="15" y="84"/>
                  </a:cubicBezTo>
                  <a:cubicBezTo>
                    <a:pt x="15" y="85"/>
                    <a:pt x="13" y="87"/>
                    <a:pt x="13" y="88"/>
                  </a:cubicBezTo>
                  <a:cubicBezTo>
                    <a:pt x="12" y="87"/>
                    <a:pt x="12" y="89"/>
                    <a:pt x="12" y="89"/>
                  </a:cubicBezTo>
                  <a:cubicBezTo>
                    <a:pt x="13" y="90"/>
                    <a:pt x="13" y="91"/>
                    <a:pt x="15" y="92"/>
                  </a:cubicBezTo>
                  <a:cubicBezTo>
                    <a:pt x="16" y="93"/>
                    <a:pt x="16" y="92"/>
                    <a:pt x="17" y="92"/>
                  </a:cubicBezTo>
                  <a:cubicBezTo>
                    <a:pt x="17" y="94"/>
                    <a:pt x="17" y="94"/>
                    <a:pt x="17" y="94"/>
                  </a:cubicBezTo>
                  <a:cubicBezTo>
                    <a:pt x="16" y="95"/>
                    <a:pt x="14" y="96"/>
                    <a:pt x="13" y="97"/>
                  </a:cubicBezTo>
                  <a:cubicBezTo>
                    <a:pt x="12" y="98"/>
                    <a:pt x="13" y="101"/>
                    <a:pt x="12" y="102"/>
                  </a:cubicBezTo>
                  <a:cubicBezTo>
                    <a:pt x="11" y="103"/>
                    <a:pt x="8" y="102"/>
                    <a:pt x="7" y="103"/>
                  </a:cubicBezTo>
                  <a:cubicBezTo>
                    <a:pt x="6" y="103"/>
                    <a:pt x="5" y="105"/>
                    <a:pt x="5" y="106"/>
                  </a:cubicBezTo>
                  <a:cubicBezTo>
                    <a:pt x="4" y="106"/>
                    <a:pt x="4" y="106"/>
                    <a:pt x="4" y="106"/>
                  </a:cubicBezTo>
                  <a:cubicBezTo>
                    <a:pt x="4" y="106"/>
                    <a:pt x="4" y="108"/>
                    <a:pt x="4" y="109"/>
                  </a:cubicBezTo>
                  <a:cubicBezTo>
                    <a:pt x="3" y="108"/>
                    <a:pt x="4" y="109"/>
                    <a:pt x="3" y="110"/>
                  </a:cubicBezTo>
                  <a:cubicBezTo>
                    <a:pt x="3" y="109"/>
                    <a:pt x="4" y="111"/>
                    <a:pt x="5" y="112"/>
                  </a:cubicBezTo>
                  <a:cubicBezTo>
                    <a:pt x="5" y="113"/>
                    <a:pt x="5" y="113"/>
                    <a:pt x="5" y="113"/>
                  </a:cubicBezTo>
                  <a:cubicBezTo>
                    <a:pt x="4" y="113"/>
                    <a:pt x="2" y="112"/>
                    <a:pt x="1" y="113"/>
                  </a:cubicBezTo>
                  <a:cubicBezTo>
                    <a:pt x="0" y="113"/>
                    <a:pt x="1" y="116"/>
                    <a:pt x="1" y="117"/>
                  </a:cubicBezTo>
                  <a:cubicBezTo>
                    <a:pt x="2" y="117"/>
                    <a:pt x="2" y="117"/>
                    <a:pt x="2" y="117"/>
                  </a:cubicBezTo>
                  <a:cubicBezTo>
                    <a:pt x="2" y="117"/>
                    <a:pt x="2" y="120"/>
                    <a:pt x="4" y="122"/>
                  </a:cubicBezTo>
                  <a:cubicBezTo>
                    <a:pt x="6" y="123"/>
                    <a:pt x="10" y="124"/>
                    <a:pt x="10" y="124"/>
                  </a:cubicBezTo>
                  <a:cubicBezTo>
                    <a:pt x="10" y="124"/>
                    <a:pt x="11" y="126"/>
                    <a:pt x="12" y="128"/>
                  </a:cubicBezTo>
                  <a:cubicBezTo>
                    <a:pt x="12" y="129"/>
                    <a:pt x="14" y="131"/>
                    <a:pt x="14" y="131"/>
                  </a:cubicBezTo>
                  <a:cubicBezTo>
                    <a:pt x="22" y="132"/>
                    <a:pt x="22" y="132"/>
                    <a:pt x="22" y="132"/>
                  </a:cubicBezTo>
                  <a:cubicBezTo>
                    <a:pt x="22" y="132"/>
                    <a:pt x="23" y="130"/>
                    <a:pt x="25" y="132"/>
                  </a:cubicBezTo>
                  <a:cubicBezTo>
                    <a:pt x="26" y="134"/>
                    <a:pt x="32" y="135"/>
                    <a:pt x="32" y="135"/>
                  </a:cubicBezTo>
                  <a:cubicBezTo>
                    <a:pt x="36" y="135"/>
                    <a:pt x="36" y="135"/>
                    <a:pt x="36" y="135"/>
                  </a:cubicBezTo>
                  <a:cubicBezTo>
                    <a:pt x="36" y="135"/>
                    <a:pt x="36" y="140"/>
                    <a:pt x="38" y="140"/>
                  </a:cubicBezTo>
                  <a:cubicBezTo>
                    <a:pt x="39" y="140"/>
                    <a:pt x="42" y="143"/>
                    <a:pt x="41" y="145"/>
                  </a:cubicBezTo>
                  <a:cubicBezTo>
                    <a:pt x="41" y="146"/>
                    <a:pt x="46" y="149"/>
                    <a:pt x="46" y="149"/>
                  </a:cubicBezTo>
                  <a:cubicBezTo>
                    <a:pt x="50" y="149"/>
                    <a:pt x="50" y="149"/>
                    <a:pt x="50" y="149"/>
                  </a:cubicBezTo>
                  <a:cubicBezTo>
                    <a:pt x="51" y="152"/>
                    <a:pt x="51" y="152"/>
                    <a:pt x="51" y="152"/>
                  </a:cubicBezTo>
                  <a:cubicBezTo>
                    <a:pt x="51" y="152"/>
                    <a:pt x="52" y="155"/>
                    <a:pt x="54" y="155"/>
                  </a:cubicBezTo>
                  <a:cubicBezTo>
                    <a:pt x="55" y="155"/>
                    <a:pt x="58" y="157"/>
                    <a:pt x="58" y="157"/>
                  </a:cubicBezTo>
                  <a:cubicBezTo>
                    <a:pt x="59" y="154"/>
                    <a:pt x="59" y="154"/>
                    <a:pt x="59" y="154"/>
                  </a:cubicBezTo>
                  <a:cubicBezTo>
                    <a:pt x="59" y="154"/>
                    <a:pt x="64" y="153"/>
                    <a:pt x="65" y="155"/>
                  </a:cubicBezTo>
                  <a:cubicBezTo>
                    <a:pt x="66" y="156"/>
                    <a:pt x="70" y="157"/>
                    <a:pt x="72" y="157"/>
                  </a:cubicBezTo>
                  <a:cubicBezTo>
                    <a:pt x="74" y="157"/>
                    <a:pt x="76" y="160"/>
                    <a:pt x="76" y="160"/>
                  </a:cubicBezTo>
                  <a:cubicBezTo>
                    <a:pt x="67" y="176"/>
                    <a:pt x="67" y="176"/>
                    <a:pt x="67" y="176"/>
                  </a:cubicBezTo>
                  <a:cubicBezTo>
                    <a:pt x="72" y="176"/>
                    <a:pt x="72" y="176"/>
                    <a:pt x="72" y="176"/>
                  </a:cubicBezTo>
                  <a:cubicBezTo>
                    <a:pt x="74" y="178"/>
                    <a:pt x="74" y="178"/>
                    <a:pt x="74" y="178"/>
                  </a:cubicBezTo>
                  <a:cubicBezTo>
                    <a:pt x="74" y="178"/>
                    <a:pt x="83" y="156"/>
                    <a:pt x="84" y="153"/>
                  </a:cubicBezTo>
                  <a:cubicBezTo>
                    <a:pt x="84" y="151"/>
                    <a:pt x="87" y="148"/>
                    <a:pt x="85" y="145"/>
                  </a:cubicBezTo>
                  <a:cubicBezTo>
                    <a:pt x="85" y="144"/>
                    <a:pt x="82" y="137"/>
                    <a:pt x="82" y="137"/>
                  </a:cubicBezTo>
                  <a:cubicBezTo>
                    <a:pt x="79" y="136"/>
                    <a:pt x="79" y="136"/>
                    <a:pt x="79" y="136"/>
                  </a:cubicBezTo>
                  <a:cubicBezTo>
                    <a:pt x="80" y="131"/>
                    <a:pt x="80" y="131"/>
                    <a:pt x="80" y="131"/>
                  </a:cubicBezTo>
                  <a:cubicBezTo>
                    <a:pt x="85" y="131"/>
                    <a:pt x="85" y="131"/>
                    <a:pt x="85" y="131"/>
                  </a:cubicBezTo>
                  <a:cubicBezTo>
                    <a:pt x="86" y="130"/>
                    <a:pt x="86" y="130"/>
                    <a:pt x="86" y="130"/>
                  </a:cubicBezTo>
                  <a:cubicBezTo>
                    <a:pt x="81" y="129"/>
                    <a:pt x="81" y="129"/>
                    <a:pt x="81" y="129"/>
                  </a:cubicBezTo>
                  <a:cubicBezTo>
                    <a:pt x="82" y="125"/>
                    <a:pt x="82" y="125"/>
                    <a:pt x="82" y="125"/>
                  </a:cubicBezTo>
                  <a:cubicBezTo>
                    <a:pt x="82" y="125"/>
                    <a:pt x="85" y="127"/>
                    <a:pt x="87" y="127"/>
                  </a:cubicBezTo>
                  <a:cubicBezTo>
                    <a:pt x="90" y="127"/>
                    <a:pt x="96" y="126"/>
                    <a:pt x="96" y="126"/>
                  </a:cubicBezTo>
                  <a:cubicBezTo>
                    <a:pt x="96" y="124"/>
                    <a:pt x="96" y="124"/>
                    <a:pt x="96" y="124"/>
                  </a:cubicBezTo>
                  <a:cubicBezTo>
                    <a:pt x="99" y="126"/>
                    <a:pt x="99" y="126"/>
                    <a:pt x="99" y="126"/>
                  </a:cubicBezTo>
                  <a:cubicBezTo>
                    <a:pt x="102" y="125"/>
                    <a:pt x="102" y="125"/>
                    <a:pt x="102" y="125"/>
                  </a:cubicBezTo>
                  <a:cubicBezTo>
                    <a:pt x="103" y="121"/>
                    <a:pt x="103" y="121"/>
                    <a:pt x="103" y="121"/>
                  </a:cubicBezTo>
                  <a:cubicBezTo>
                    <a:pt x="106" y="121"/>
                    <a:pt x="106" y="121"/>
                    <a:pt x="106" y="121"/>
                  </a:cubicBezTo>
                  <a:cubicBezTo>
                    <a:pt x="107" y="125"/>
                    <a:pt x="107" y="125"/>
                    <a:pt x="107" y="125"/>
                  </a:cubicBezTo>
                  <a:cubicBezTo>
                    <a:pt x="110" y="126"/>
                    <a:pt x="110" y="126"/>
                    <a:pt x="110" y="126"/>
                  </a:cubicBezTo>
                  <a:cubicBezTo>
                    <a:pt x="110" y="121"/>
                    <a:pt x="110" y="121"/>
                    <a:pt x="110" y="121"/>
                  </a:cubicBezTo>
                  <a:cubicBezTo>
                    <a:pt x="110" y="121"/>
                    <a:pt x="109" y="119"/>
                    <a:pt x="108" y="117"/>
                  </a:cubicBezTo>
                  <a:cubicBezTo>
                    <a:pt x="108" y="115"/>
                    <a:pt x="109" y="113"/>
                    <a:pt x="106" y="114"/>
                  </a:cubicBezTo>
                  <a:cubicBezTo>
                    <a:pt x="104" y="116"/>
                    <a:pt x="105" y="111"/>
                    <a:pt x="105" y="111"/>
                  </a:cubicBezTo>
                  <a:cubicBezTo>
                    <a:pt x="105" y="111"/>
                    <a:pt x="108" y="108"/>
                    <a:pt x="109" y="106"/>
                  </a:cubicBezTo>
                  <a:cubicBezTo>
                    <a:pt x="109" y="104"/>
                    <a:pt x="111" y="100"/>
                    <a:pt x="111" y="100"/>
                  </a:cubicBezTo>
                  <a:cubicBezTo>
                    <a:pt x="111" y="100"/>
                    <a:pt x="104" y="96"/>
                    <a:pt x="102" y="95"/>
                  </a:cubicBezTo>
                  <a:cubicBezTo>
                    <a:pt x="101" y="93"/>
                    <a:pt x="98" y="91"/>
                    <a:pt x="98" y="89"/>
                  </a:cubicBezTo>
                  <a:cubicBezTo>
                    <a:pt x="98" y="87"/>
                    <a:pt x="94" y="86"/>
                    <a:pt x="93" y="82"/>
                  </a:cubicBezTo>
                  <a:cubicBezTo>
                    <a:pt x="92" y="79"/>
                    <a:pt x="95" y="78"/>
                    <a:pt x="95" y="78"/>
                  </a:cubicBezTo>
                  <a:cubicBezTo>
                    <a:pt x="96" y="72"/>
                    <a:pt x="96" y="72"/>
                    <a:pt x="96" y="72"/>
                  </a:cubicBezTo>
                  <a:cubicBezTo>
                    <a:pt x="96" y="72"/>
                    <a:pt x="92" y="71"/>
                    <a:pt x="90" y="71"/>
                  </a:cubicBezTo>
                  <a:cubicBezTo>
                    <a:pt x="88" y="71"/>
                    <a:pt x="83" y="72"/>
                    <a:pt x="83" y="72"/>
                  </a:cubicBezTo>
                  <a:cubicBezTo>
                    <a:pt x="83" y="72"/>
                    <a:pt x="80" y="67"/>
                    <a:pt x="79" y="65"/>
                  </a:cubicBezTo>
                  <a:cubicBezTo>
                    <a:pt x="78" y="63"/>
                    <a:pt x="76" y="62"/>
                    <a:pt x="74" y="63"/>
                  </a:cubicBezTo>
                  <a:cubicBezTo>
                    <a:pt x="71" y="64"/>
                    <a:pt x="66" y="63"/>
                    <a:pt x="66" y="63"/>
                  </a:cubicBezTo>
                  <a:cubicBezTo>
                    <a:pt x="60" y="62"/>
                    <a:pt x="60" y="62"/>
                    <a:pt x="60" y="62"/>
                  </a:cubicBezTo>
                  <a:cubicBezTo>
                    <a:pt x="60" y="62"/>
                    <a:pt x="61" y="59"/>
                    <a:pt x="59" y="57"/>
                  </a:cubicBezTo>
                  <a:cubicBezTo>
                    <a:pt x="57" y="54"/>
                    <a:pt x="56" y="53"/>
                    <a:pt x="55" y="51"/>
                  </a:cubicBezTo>
                  <a:cubicBezTo>
                    <a:pt x="55" y="48"/>
                    <a:pt x="57" y="48"/>
                    <a:pt x="57" y="48"/>
                  </a:cubicBezTo>
                  <a:cubicBezTo>
                    <a:pt x="53" y="40"/>
                    <a:pt x="53" y="40"/>
                    <a:pt x="53" y="40"/>
                  </a:cubicBezTo>
                  <a:cubicBezTo>
                    <a:pt x="50" y="41"/>
                    <a:pt x="50" y="41"/>
                    <a:pt x="50" y="41"/>
                  </a:cubicBezTo>
                  <a:cubicBezTo>
                    <a:pt x="50" y="41"/>
                    <a:pt x="47" y="42"/>
                    <a:pt x="49" y="37"/>
                  </a:cubicBezTo>
                  <a:cubicBezTo>
                    <a:pt x="51" y="33"/>
                    <a:pt x="49" y="33"/>
                    <a:pt x="50" y="30"/>
                  </a:cubicBezTo>
                  <a:cubicBezTo>
                    <a:pt x="52" y="27"/>
                    <a:pt x="50" y="24"/>
                    <a:pt x="50" y="24"/>
                  </a:cubicBezTo>
                  <a:cubicBezTo>
                    <a:pt x="54" y="23"/>
                    <a:pt x="54" y="23"/>
                    <a:pt x="54" y="23"/>
                  </a:cubicBezTo>
                  <a:cubicBezTo>
                    <a:pt x="57" y="14"/>
                    <a:pt x="57" y="14"/>
                    <a:pt x="57" y="14"/>
                  </a:cubicBezTo>
                  <a:cubicBezTo>
                    <a:pt x="62" y="8"/>
                    <a:pt x="62" y="8"/>
                    <a:pt x="62" y="8"/>
                  </a:cubicBezTo>
                  <a:cubicBezTo>
                    <a:pt x="62" y="8"/>
                    <a:pt x="65" y="7"/>
                    <a:pt x="67" y="7"/>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50" name="Freeform 286">
              <a:extLst>
                <a:ext uri="{FF2B5EF4-FFF2-40B4-BE49-F238E27FC236}">
                  <a16:creationId xmlns:a16="http://schemas.microsoft.com/office/drawing/2014/main" id="{0A8C8C02-C8A0-F05C-70D4-240AB84ECE80}"/>
                </a:ext>
              </a:extLst>
            </p:cNvPr>
            <p:cNvSpPr>
              <a:spLocks noEditPoints="1"/>
            </p:cNvSpPr>
            <p:nvPr/>
          </p:nvSpPr>
          <p:spPr bwMode="auto">
            <a:xfrm>
              <a:off x="8190832" y="2065557"/>
              <a:ext cx="1870063" cy="1498223"/>
            </a:xfrm>
            <a:custGeom>
              <a:avLst/>
              <a:gdLst>
                <a:gd name="T0" fmla="*/ 314 w 531"/>
                <a:gd name="T1" fmla="*/ 425 h 425"/>
                <a:gd name="T2" fmla="*/ 326 w 531"/>
                <a:gd name="T3" fmla="*/ 402 h 425"/>
                <a:gd name="T4" fmla="*/ 341 w 531"/>
                <a:gd name="T5" fmla="*/ 303 h 425"/>
                <a:gd name="T6" fmla="*/ 406 w 531"/>
                <a:gd name="T7" fmla="*/ 277 h 425"/>
                <a:gd name="T8" fmla="*/ 383 w 531"/>
                <a:gd name="T9" fmla="*/ 233 h 425"/>
                <a:gd name="T10" fmla="*/ 528 w 531"/>
                <a:gd name="T11" fmla="*/ 82 h 425"/>
                <a:gd name="T12" fmla="*/ 518 w 531"/>
                <a:gd name="T13" fmla="*/ 70 h 425"/>
                <a:gd name="T14" fmla="*/ 495 w 531"/>
                <a:gd name="T15" fmla="*/ 63 h 425"/>
                <a:gd name="T16" fmla="*/ 468 w 531"/>
                <a:gd name="T17" fmla="*/ 38 h 425"/>
                <a:gd name="T18" fmla="*/ 440 w 531"/>
                <a:gd name="T19" fmla="*/ 4 h 425"/>
                <a:gd name="T20" fmla="*/ 407 w 531"/>
                <a:gd name="T21" fmla="*/ 14 h 425"/>
                <a:gd name="T22" fmla="*/ 399 w 531"/>
                <a:gd name="T23" fmla="*/ 46 h 425"/>
                <a:gd name="T24" fmla="*/ 368 w 531"/>
                <a:gd name="T25" fmla="*/ 76 h 425"/>
                <a:gd name="T26" fmla="*/ 403 w 531"/>
                <a:gd name="T27" fmla="*/ 89 h 425"/>
                <a:gd name="T28" fmla="*/ 356 w 531"/>
                <a:gd name="T29" fmla="*/ 106 h 425"/>
                <a:gd name="T30" fmla="*/ 329 w 531"/>
                <a:gd name="T31" fmla="*/ 126 h 425"/>
                <a:gd name="T32" fmla="*/ 288 w 531"/>
                <a:gd name="T33" fmla="*/ 147 h 425"/>
                <a:gd name="T34" fmla="*/ 229 w 531"/>
                <a:gd name="T35" fmla="*/ 141 h 425"/>
                <a:gd name="T36" fmla="*/ 188 w 531"/>
                <a:gd name="T37" fmla="*/ 118 h 425"/>
                <a:gd name="T38" fmla="*/ 163 w 531"/>
                <a:gd name="T39" fmla="*/ 91 h 425"/>
                <a:gd name="T40" fmla="*/ 133 w 531"/>
                <a:gd name="T41" fmla="*/ 64 h 425"/>
                <a:gd name="T42" fmla="*/ 96 w 531"/>
                <a:gd name="T43" fmla="*/ 80 h 425"/>
                <a:gd name="T44" fmla="*/ 74 w 531"/>
                <a:gd name="T45" fmla="*/ 109 h 425"/>
                <a:gd name="T46" fmla="*/ 62 w 531"/>
                <a:gd name="T47" fmla="*/ 141 h 425"/>
                <a:gd name="T48" fmla="*/ 14 w 531"/>
                <a:gd name="T49" fmla="*/ 167 h 425"/>
                <a:gd name="T50" fmla="*/ 9 w 531"/>
                <a:gd name="T51" fmla="*/ 185 h 425"/>
                <a:gd name="T52" fmla="*/ 10 w 531"/>
                <a:gd name="T53" fmla="*/ 211 h 425"/>
                <a:gd name="T54" fmla="*/ 49 w 531"/>
                <a:gd name="T55" fmla="*/ 220 h 425"/>
                <a:gd name="T56" fmla="*/ 44 w 531"/>
                <a:gd name="T57" fmla="*/ 246 h 425"/>
                <a:gd name="T58" fmla="*/ 52 w 531"/>
                <a:gd name="T59" fmla="*/ 273 h 425"/>
                <a:gd name="T60" fmla="*/ 76 w 531"/>
                <a:gd name="T61" fmla="*/ 290 h 425"/>
                <a:gd name="T62" fmla="*/ 107 w 531"/>
                <a:gd name="T63" fmla="*/ 308 h 425"/>
                <a:gd name="T64" fmla="*/ 144 w 531"/>
                <a:gd name="T65" fmla="*/ 312 h 425"/>
                <a:gd name="T66" fmla="*/ 182 w 531"/>
                <a:gd name="T67" fmla="*/ 307 h 425"/>
                <a:gd name="T68" fmla="*/ 207 w 531"/>
                <a:gd name="T69" fmla="*/ 315 h 425"/>
                <a:gd name="T70" fmla="*/ 220 w 531"/>
                <a:gd name="T71" fmla="*/ 336 h 425"/>
                <a:gd name="T72" fmla="*/ 218 w 531"/>
                <a:gd name="T73" fmla="*/ 362 h 425"/>
                <a:gd name="T74" fmla="*/ 228 w 531"/>
                <a:gd name="T75" fmla="*/ 375 h 425"/>
                <a:gd name="T76" fmla="*/ 249 w 531"/>
                <a:gd name="T77" fmla="*/ 388 h 425"/>
                <a:gd name="T78" fmla="*/ 279 w 531"/>
                <a:gd name="T79" fmla="*/ 368 h 425"/>
                <a:gd name="T80" fmla="*/ 303 w 531"/>
                <a:gd name="T81" fmla="*/ 386 h 425"/>
                <a:gd name="T82" fmla="*/ 322 w 531"/>
                <a:gd name="T83" fmla="*/ 399 h 425"/>
                <a:gd name="T84" fmla="*/ 335 w 531"/>
                <a:gd name="T85" fmla="*/ 381 h 425"/>
                <a:gd name="T86" fmla="*/ 356 w 531"/>
                <a:gd name="T87" fmla="*/ 373 h 425"/>
                <a:gd name="T88" fmla="*/ 375 w 531"/>
                <a:gd name="T89" fmla="*/ 366 h 425"/>
                <a:gd name="T90" fmla="*/ 388 w 531"/>
                <a:gd name="T91" fmla="*/ 351 h 425"/>
                <a:gd name="T92" fmla="*/ 399 w 531"/>
                <a:gd name="T93" fmla="*/ 333 h 425"/>
                <a:gd name="T94" fmla="*/ 412 w 531"/>
                <a:gd name="T95" fmla="*/ 313 h 425"/>
                <a:gd name="T96" fmla="*/ 422 w 531"/>
                <a:gd name="T97" fmla="*/ 291 h 425"/>
                <a:gd name="T98" fmla="*/ 408 w 531"/>
                <a:gd name="T99" fmla="*/ 271 h 425"/>
                <a:gd name="T100" fmla="*/ 404 w 531"/>
                <a:gd name="T101" fmla="*/ 221 h 425"/>
                <a:gd name="T102" fmla="*/ 426 w 531"/>
                <a:gd name="T103" fmla="*/ 208 h 425"/>
                <a:gd name="T104" fmla="*/ 400 w 531"/>
                <a:gd name="T105" fmla="*/ 206 h 425"/>
                <a:gd name="T106" fmla="*/ 386 w 531"/>
                <a:gd name="T107" fmla="*/ 183 h 425"/>
                <a:gd name="T108" fmla="*/ 426 w 531"/>
                <a:gd name="T109" fmla="*/ 162 h 425"/>
                <a:gd name="T110" fmla="*/ 441 w 531"/>
                <a:gd name="T111" fmla="*/ 173 h 425"/>
                <a:gd name="T112" fmla="*/ 464 w 531"/>
                <a:gd name="T113" fmla="*/ 145 h 425"/>
                <a:gd name="T114" fmla="*/ 487 w 531"/>
                <a:gd name="T115" fmla="*/ 139 h 425"/>
                <a:gd name="T116" fmla="*/ 501 w 531"/>
                <a:gd name="T117" fmla="*/ 119 h 425"/>
                <a:gd name="T118" fmla="*/ 236 w 531"/>
                <a:gd name="T119" fmla="*/ 20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1" h="425">
                  <a:moveTo>
                    <a:pt x="326" y="402"/>
                  </a:moveTo>
                  <a:cubicBezTo>
                    <a:pt x="323" y="403"/>
                    <a:pt x="320" y="405"/>
                    <a:pt x="317" y="406"/>
                  </a:cubicBezTo>
                  <a:cubicBezTo>
                    <a:pt x="315" y="406"/>
                    <a:pt x="313" y="406"/>
                    <a:pt x="312" y="406"/>
                  </a:cubicBezTo>
                  <a:cubicBezTo>
                    <a:pt x="311" y="407"/>
                    <a:pt x="312" y="408"/>
                    <a:pt x="311" y="409"/>
                  </a:cubicBezTo>
                  <a:cubicBezTo>
                    <a:pt x="311" y="410"/>
                    <a:pt x="310" y="409"/>
                    <a:pt x="309" y="410"/>
                  </a:cubicBezTo>
                  <a:cubicBezTo>
                    <a:pt x="308" y="411"/>
                    <a:pt x="307" y="411"/>
                    <a:pt x="305" y="412"/>
                  </a:cubicBezTo>
                  <a:cubicBezTo>
                    <a:pt x="306" y="416"/>
                    <a:pt x="305" y="418"/>
                    <a:pt x="307" y="420"/>
                  </a:cubicBezTo>
                  <a:cubicBezTo>
                    <a:pt x="308" y="422"/>
                    <a:pt x="309" y="422"/>
                    <a:pt x="311" y="422"/>
                  </a:cubicBezTo>
                  <a:cubicBezTo>
                    <a:pt x="311" y="423"/>
                    <a:pt x="314" y="425"/>
                    <a:pt x="314" y="425"/>
                  </a:cubicBezTo>
                  <a:cubicBezTo>
                    <a:pt x="315" y="425"/>
                    <a:pt x="320" y="422"/>
                    <a:pt x="321" y="422"/>
                  </a:cubicBezTo>
                  <a:cubicBezTo>
                    <a:pt x="321" y="421"/>
                    <a:pt x="321" y="420"/>
                    <a:pt x="321" y="420"/>
                  </a:cubicBezTo>
                  <a:cubicBezTo>
                    <a:pt x="323" y="419"/>
                    <a:pt x="324" y="420"/>
                    <a:pt x="325" y="418"/>
                  </a:cubicBezTo>
                  <a:cubicBezTo>
                    <a:pt x="326" y="417"/>
                    <a:pt x="325" y="416"/>
                    <a:pt x="325" y="414"/>
                  </a:cubicBezTo>
                  <a:cubicBezTo>
                    <a:pt x="327" y="413"/>
                    <a:pt x="327" y="413"/>
                    <a:pt x="327" y="413"/>
                  </a:cubicBezTo>
                  <a:cubicBezTo>
                    <a:pt x="328" y="408"/>
                    <a:pt x="326" y="410"/>
                    <a:pt x="329" y="408"/>
                  </a:cubicBezTo>
                  <a:cubicBezTo>
                    <a:pt x="329" y="408"/>
                    <a:pt x="330" y="406"/>
                    <a:pt x="329" y="406"/>
                  </a:cubicBezTo>
                  <a:cubicBezTo>
                    <a:pt x="329" y="406"/>
                    <a:pt x="329" y="405"/>
                    <a:pt x="329" y="404"/>
                  </a:cubicBezTo>
                  <a:cubicBezTo>
                    <a:pt x="328" y="404"/>
                    <a:pt x="326" y="403"/>
                    <a:pt x="326" y="402"/>
                  </a:cubicBezTo>
                  <a:close/>
                  <a:moveTo>
                    <a:pt x="343" y="301"/>
                  </a:moveTo>
                  <a:cubicBezTo>
                    <a:pt x="343" y="301"/>
                    <a:pt x="344" y="303"/>
                    <a:pt x="345" y="303"/>
                  </a:cubicBezTo>
                  <a:cubicBezTo>
                    <a:pt x="344" y="303"/>
                    <a:pt x="344" y="303"/>
                    <a:pt x="344" y="305"/>
                  </a:cubicBezTo>
                  <a:cubicBezTo>
                    <a:pt x="343" y="305"/>
                    <a:pt x="342" y="306"/>
                    <a:pt x="342" y="306"/>
                  </a:cubicBezTo>
                  <a:cubicBezTo>
                    <a:pt x="341" y="306"/>
                    <a:pt x="338" y="305"/>
                    <a:pt x="337" y="304"/>
                  </a:cubicBezTo>
                  <a:cubicBezTo>
                    <a:pt x="337" y="303"/>
                    <a:pt x="337" y="303"/>
                    <a:pt x="337" y="303"/>
                  </a:cubicBezTo>
                  <a:cubicBezTo>
                    <a:pt x="338" y="302"/>
                    <a:pt x="337" y="302"/>
                    <a:pt x="339" y="301"/>
                  </a:cubicBezTo>
                  <a:cubicBezTo>
                    <a:pt x="339" y="301"/>
                    <a:pt x="339" y="303"/>
                    <a:pt x="339" y="303"/>
                  </a:cubicBezTo>
                  <a:cubicBezTo>
                    <a:pt x="339" y="303"/>
                    <a:pt x="340" y="304"/>
                    <a:pt x="341" y="303"/>
                  </a:cubicBezTo>
                  <a:cubicBezTo>
                    <a:pt x="341" y="303"/>
                    <a:pt x="341" y="302"/>
                    <a:pt x="341" y="301"/>
                  </a:cubicBezTo>
                  <a:cubicBezTo>
                    <a:pt x="342" y="301"/>
                    <a:pt x="343" y="301"/>
                    <a:pt x="343" y="301"/>
                  </a:cubicBezTo>
                  <a:close/>
                  <a:moveTo>
                    <a:pt x="379" y="296"/>
                  </a:moveTo>
                  <a:cubicBezTo>
                    <a:pt x="384" y="296"/>
                    <a:pt x="378" y="299"/>
                    <a:pt x="377" y="300"/>
                  </a:cubicBezTo>
                  <a:cubicBezTo>
                    <a:pt x="376" y="298"/>
                    <a:pt x="373" y="296"/>
                    <a:pt x="379" y="296"/>
                  </a:cubicBezTo>
                  <a:close/>
                  <a:moveTo>
                    <a:pt x="407" y="272"/>
                  </a:moveTo>
                  <a:cubicBezTo>
                    <a:pt x="409" y="273"/>
                    <a:pt x="409" y="273"/>
                    <a:pt x="409" y="273"/>
                  </a:cubicBezTo>
                  <a:cubicBezTo>
                    <a:pt x="408" y="273"/>
                    <a:pt x="409" y="276"/>
                    <a:pt x="409" y="277"/>
                  </a:cubicBezTo>
                  <a:cubicBezTo>
                    <a:pt x="409" y="277"/>
                    <a:pt x="405" y="277"/>
                    <a:pt x="406" y="277"/>
                  </a:cubicBezTo>
                  <a:cubicBezTo>
                    <a:pt x="406" y="276"/>
                    <a:pt x="405" y="276"/>
                    <a:pt x="404" y="276"/>
                  </a:cubicBezTo>
                  <a:cubicBezTo>
                    <a:pt x="405" y="276"/>
                    <a:pt x="404" y="274"/>
                    <a:pt x="404" y="273"/>
                  </a:cubicBezTo>
                  <a:cubicBezTo>
                    <a:pt x="405" y="273"/>
                    <a:pt x="407" y="273"/>
                    <a:pt x="407" y="272"/>
                  </a:cubicBezTo>
                  <a:close/>
                  <a:moveTo>
                    <a:pt x="418" y="271"/>
                  </a:moveTo>
                  <a:cubicBezTo>
                    <a:pt x="418" y="271"/>
                    <a:pt x="419" y="273"/>
                    <a:pt x="419" y="273"/>
                  </a:cubicBezTo>
                  <a:cubicBezTo>
                    <a:pt x="420" y="273"/>
                    <a:pt x="420" y="271"/>
                    <a:pt x="418" y="271"/>
                  </a:cubicBezTo>
                  <a:close/>
                  <a:moveTo>
                    <a:pt x="383" y="233"/>
                  </a:moveTo>
                  <a:cubicBezTo>
                    <a:pt x="383" y="233"/>
                    <a:pt x="384" y="236"/>
                    <a:pt x="383" y="235"/>
                  </a:cubicBezTo>
                  <a:cubicBezTo>
                    <a:pt x="382" y="235"/>
                    <a:pt x="381" y="232"/>
                    <a:pt x="383" y="233"/>
                  </a:cubicBezTo>
                  <a:close/>
                  <a:moveTo>
                    <a:pt x="512" y="109"/>
                  </a:moveTo>
                  <a:cubicBezTo>
                    <a:pt x="514" y="106"/>
                    <a:pt x="514" y="106"/>
                    <a:pt x="514" y="106"/>
                  </a:cubicBezTo>
                  <a:cubicBezTo>
                    <a:pt x="518" y="104"/>
                    <a:pt x="518" y="104"/>
                    <a:pt x="518" y="104"/>
                  </a:cubicBezTo>
                  <a:cubicBezTo>
                    <a:pt x="519" y="101"/>
                    <a:pt x="519" y="101"/>
                    <a:pt x="519" y="101"/>
                  </a:cubicBezTo>
                  <a:cubicBezTo>
                    <a:pt x="522" y="99"/>
                    <a:pt x="522" y="99"/>
                    <a:pt x="522" y="99"/>
                  </a:cubicBezTo>
                  <a:cubicBezTo>
                    <a:pt x="526" y="96"/>
                    <a:pt x="526" y="96"/>
                    <a:pt x="526" y="96"/>
                  </a:cubicBezTo>
                  <a:cubicBezTo>
                    <a:pt x="528" y="92"/>
                    <a:pt x="528" y="92"/>
                    <a:pt x="528" y="92"/>
                  </a:cubicBezTo>
                  <a:cubicBezTo>
                    <a:pt x="529" y="85"/>
                    <a:pt x="529" y="85"/>
                    <a:pt x="529" y="85"/>
                  </a:cubicBezTo>
                  <a:cubicBezTo>
                    <a:pt x="528" y="82"/>
                    <a:pt x="528" y="82"/>
                    <a:pt x="528" y="82"/>
                  </a:cubicBezTo>
                  <a:cubicBezTo>
                    <a:pt x="531" y="80"/>
                    <a:pt x="531" y="80"/>
                    <a:pt x="531" y="80"/>
                  </a:cubicBezTo>
                  <a:cubicBezTo>
                    <a:pt x="531" y="75"/>
                    <a:pt x="531" y="75"/>
                    <a:pt x="531" y="75"/>
                  </a:cubicBezTo>
                  <a:cubicBezTo>
                    <a:pt x="529" y="73"/>
                    <a:pt x="529" y="73"/>
                    <a:pt x="529" y="73"/>
                  </a:cubicBezTo>
                  <a:cubicBezTo>
                    <a:pt x="529" y="70"/>
                    <a:pt x="529" y="70"/>
                    <a:pt x="529" y="70"/>
                  </a:cubicBezTo>
                  <a:cubicBezTo>
                    <a:pt x="531" y="64"/>
                    <a:pt x="531" y="64"/>
                    <a:pt x="531" y="64"/>
                  </a:cubicBezTo>
                  <a:cubicBezTo>
                    <a:pt x="527" y="66"/>
                    <a:pt x="527" y="66"/>
                    <a:pt x="527" y="66"/>
                  </a:cubicBezTo>
                  <a:cubicBezTo>
                    <a:pt x="525" y="69"/>
                    <a:pt x="525" y="69"/>
                    <a:pt x="525" y="69"/>
                  </a:cubicBezTo>
                  <a:cubicBezTo>
                    <a:pt x="521" y="70"/>
                    <a:pt x="521" y="70"/>
                    <a:pt x="521" y="70"/>
                  </a:cubicBezTo>
                  <a:cubicBezTo>
                    <a:pt x="518" y="70"/>
                    <a:pt x="518" y="70"/>
                    <a:pt x="518" y="70"/>
                  </a:cubicBezTo>
                  <a:cubicBezTo>
                    <a:pt x="515" y="72"/>
                    <a:pt x="515" y="72"/>
                    <a:pt x="515" y="72"/>
                  </a:cubicBezTo>
                  <a:cubicBezTo>
                    <a:pt x="512" y="75"/>
                    <a:pt x="512" y="75"/>
                    <a:pt x="512" y="75"/>
                  </a:cubicBezTo>
                  <a:cubicBezTo>
                    <a:pt x="509" y="77"/>
                    <a:pt x="509" y="77"/>
                    <a:pt x="509" y="77"/>
                  </a:cubicBezTo>
                  <a:cubicBezTo>
                    <a:pt x="506" y="78"/>
                    <a:pt x="506" y="78"/>
                    <a:pt x="506" y="78"/>
                  </a:cubicBezTo>
                  <a:cubicBezTo>
                    <a:pt x="502" y="76"/>
                    <a:pt x="502" y="76"/>
                    <a:pt x="502" y="76"/>
                  </a:cubicBezTo>
                  <a:cubicBezTo>
                    <a:pt x="498" y="74"/>
                    <a:pt x="498" y="74"/>
                    <a:pt x="498" y="74"/>
                  </a:cubicBezTo>
                  <a:cubicBezTo>
                    <a:pt x="496" y="70"/>
                    <a:pt x="496" y="70"/>
                    <a:pt x="496" y="70"/>
                  </a:cubicBezTo>
                  <a:cubicBezTo>
                    <a:pt x="497" y="66"/>
                    <a:pt x="497" y="66"/>
                    <a:pt x="497" y="66"/>
                  </a:cubicBezTo>
                  <a:cubicBezTo>
                    <a:pt x="495" y="63"/>
                    <a:pt x="495" y="63"/>
                    <a:pt x="495" y="63"/>
                  </a:cubicBezTo>
                  <a:cubicBezTo>
                    <a:pt x="492" y="59"/>
                    <a:pt x="492" y="59"/>
                    <a:pt x="492" y="59"/>
                  </a:cubicBezTo>
                  <a:cubicBezTo>
                    <a:pt x="490" y="54"/>
                    <a:pt x="490" y="54"/>
                    <a:pt x="490" y="54"/>
                  </a:cubicBezTo>
                  <a:cubicBezTo>
                    <a:pt x="489" y="51"/>
                    <a:pt x="489" y="51"/>
                    <a:pt x="489" y="51"/>
                  </a:cubicBezTo>
                  <a:cubicBezTo>
                    <a:pt x="486" y="48"/>
                    <a:pt x="486" y="48"/>
                    <a:pt x="486" y="48"/>
                  </a:cubicBezTo>
                  <a:cubicBezTo>
                    <a:pt x="481" y="46"/>
                    <a:pt x="481" y="46"/>
                    <a:pt x="481" y="46"/>
                  </a:cubicBezTo>
                  <a:cubicBezTo>
                    <a:pt x="477" y="46"/>
                    <a:pt x="477" y="46"/>
                    <a:pt x="477" y="46"/>
                  </a:cubicBezTo>
                  <a:cubicBezTo>
                    <a:pt x="474" y="46"/>
                    <a:pt x="474" y="46"/>
                    <a:pt x="474" y="46"/>
                  </a:cubicBezTo>
                  <a:cubicBezTo>
                    <a:pt x="471" y="43"/>
                    <a:pt x="471" y="43"/>
                    <a:pt x="471" y="43"/>
                  </a:cubicBezTo>
                  <a:cubicBezTo>
                    <a:pt x="468" y="38"/>
                    <a:pt x="468" y="38"/>
                    <a:pt x="468" y="38"/>
                  </a:cubicBezTo>
                  <a:cubicBezTo>
                    <a:pt x="464" y="32"/>
                    <a:pt x="464" y="32"/>
                    <a:pt x="464" y="32"/>
                  </a:cubicBezTo>
                  <a:cubicBezTo>
                    <a:pt x="463" y="26"/>
                    <a:pt x="463" y="26"/>
                    <a:pt x="463" y="26"/>
                  </a:cubicBezTo>
                  <a:cubicBezTo>
                    <a:pt x="463" y="23"/>
                    <a:pt x="463" y="23"/>
                    <a:pt x="463" y="23"/>
                  </a:cubicBezTo>
                  <a:cubicBezTo>
                    <a:pt x="460" y="18"/>
                    <a:pt x="460" y="18"/>
                    <a:pt x="460" y="18"/>
                  </a:cubicBezTo>
                  <a:cubicBezTo>
                    <a:pt x="457" y="15"/>
                    <a:pt x="457" y="15"/>
                    <a:pt x="457" y="15"/>
                  </a:cubicBezTo>
                  <a:cubicBezTo>
                    <a:pt x="453" y="11"/>
                    <a:pt x="453" y="11"/>
                    <a:pt x="453" y="11"/>
                  </a:cubicBezTo>
                  <a:cubicBezTo>
                    <a:pt x="447" y="10"/>
                    <a:pt x="447" y="10"/>
                    <a:pt x="447" y="10"/>
                  </a:cubicBezTo>
                  <a:cubicBezTo>
                    <a:pt x="443" y="7"/>
                    <a:pt x="443" y="7"/>
                    <a:pt x="443" y="7"/>
                  </a:cubicBezTo>
                  <a:cubicBezTo>
                    <a:pt x="440" y="4"/>
                    <a:pt x="440" y="4"/>
                    <a:pt x="440" y="4"/>
                  </a:cubicBezTo>
                  <a:cubicBezTo>
                    <a:pt x="437" y="1"/>
                    <a:pt x="437" y="1"/>
                    <a:pt x="437" y="1"/>
                  </a:cubicBezTo>
                  <a:cubicBezTo>
                    <a:pt x="431" y="0"/>
                    <a:pt x="431" y="0"/>
                    <a:pt x="431" y="0"/>
                  </a:cubicBezTo>
                  <a:cubicBezTo>
                    <a:pt x="429" y="1"/>
                    <a:pt x="429" y="1"/>
                    <a:pt x="429" y="1"/>
                  </a:cubicBezTo>
                  <a:cubicBezTo>
                    <a:pt x="424" y="3"/>
                    <a:pt x="424" y="3"/>
                    <a:pt x="424" y="3"/>
                  </a:cubicBezTo>
                  <a:cubicBezTo>
                    <a:pt x="419" y="3"/>
                    <a:pt x="419" y="3"/>
                    <a:pt x="419" y="3"/>
                  </a:cubicBezTo>
                  <a:cubicBezTo>
                    <a:pt x="416" y="6"/>
                    <a:pt x="416" y="6"/>
                    <a:pt x="416" y="6"/>
                  </a:cubicBezTo>
                  <a:cubicBezTo>
                    <a:pt x="412" y="9"/>
                    <a:pt x="412" y="9"/>
                    <a:pt x="412" y="9"/>
                  </a:cubicBezTo>
                  <a:cubicBezTo>
                    <a:pt x="409" y="13"/>
                    <a:pt x="409" y="13"/>
                    <a:pt x="409" y="13"/>
                  </a:cubicBezTo>
                  <a:cubicBezTo>
                    <a:pt x="407" y="14"/>
                    <a:pt x="407" y="14"/>
                    <a:pt x="407" y="14"/>
                  </a:cubicBezTo>
                  <a:cubicBezTo>
                    <a:pt x="407" y="17"/>
                    <a:pt x="407" y="17"/>
                    <a:pt x="407" y="17"/>
                  </a:cubicBezTo>
                  <a:cubicBezTo>
                    <a:pt x="409" y="16"/>
                    <a:pt x="409" y="16"/>
                    <a:pt x="409" y="16"/>
                  </a:cubicBezTo>
                  <a:cubicBezTo>
                    <a:pt x="410" y="21"/>
                    <a:pt x="410" y="21"/>
                    <a:pt x="410" y="21"/>
                  </a:cubicBezTo>
                  <a:cubicBezTo>
                    <a:pt x="409" y="25"/>
                    <a:pt x="409" y="25"/>
                    <a:pt x="409" y="25"/>
                  </a:cubicBezTo>
                  <a:cubicBezTo>
                    <a:pt x="407" y="27"/>
                    <a:pt x="407" y="27"/>
                    <a:pt x="407" y="27"/>
                  </a:cubicBezTo>
                  <a:cubicBezTo>
                    <a:pt x="408" y="32"/>
                    <a:pt x="408" y="32"/>
                    <a:pt x="408" y="32"/>
                  </a:cubicBezTo>
                  <a:cubicBezTo>
                    <a:pt x="405" y="36"/>
                    <a:pt x="405" y="36"/>
                    <a:pt x="405" y="36"/>
                  </a:cubicBezTo>
                  <a:cubicBezTo>
                    <a:pt x="403" y="40"/>
                    <a:pt x="403" y="40"/>
                    <a:pt x="403" y="40"/>
                  </a:cubicBezTo>
                  <a:cubicBezTo>
                    <a:pt x="403" y="40"/>
                    <a:pt x="396" y="45"/>
                    <a:pt x="399" y="46"/>
                  </a:cubicBezTo>
                  <a:cubicBezTo>
                    <a:pt x="399" y="48"/>
                    <a:pt x="393" y="50"/>
                    <a:pt x="393" y="50"/>
                  </a:cubicBezTo>
                  <a:cubicBezTo>
                    <a:pt x="387" y="55"/>
                    <a:pt x="387" y="55"/>
                    <a:pt x="387" y="55"/>
                  </a:cubicBezTo>
                  <a:cubicBezTo>
                    <a:pt x="384" y="52"/>
                    <a:pt x="384" y="52"/>
                    <a:pt x="384" y="52"/>
                  </a:cubicBezTo>
                  <a:cubicBezTo>
                    <a:pt x="378" y="49"/>
                    <a:pt x="378" y="49"/>
                    <a:pt x="378" y="49"/>
                  </a:cubicBezTo>
                  <a:cubicBezTo>
                    <a:pt x="374" y="51"/>
                    <a:pt x="374" y="51"/>
                    <a:pt x="374" y="51"/>
                  </a:cubicBezTo>
                  <a:cubicBezTo>
                    <a:pt x="370" y="61"/>
                    <a:pt x="370" y="61"/>
                    <a:pt x="370" y="61"/>
                  </a:cubicBezTo>
                  <a:cubicBezTo>
                    <a:pt x="370" y="61"/>
                    <a:pt x="370" y="63"/>
                    <a:pt x="371" y="64"/>
                  </a:cubicBezTo>
                  <a:cubicBezTo>
                    <a:pt x="372" y="68"/>
                    <a:pt x="369" y="71"/>
                    <a:pt x="369" y="71"/>
                  </a:cubicBezTo>
                  <a:cubicBezTo>
                    <a:pt x="368" y="76"/>
                    <a:pt x="368" y="76"/>
                    <a:pt x="368" y="76"/>
                  </a:cubicBezTo>
                  <a:cubicBezTo>
                    <a:pt x="375" y="78"/>
                    <a:pt x="375" y="78"/>
                    <a:pt x="375" y="78"/>
                  </a:cubicBezTo>
                  <a:cubicBezTo>
                    <a:pt x="381" y="77"/>
                    <a:pt x="381" y="77"/>
                    <a:pt x="381" y="77"/>
                  </a:cubicBezTo>
                  <a:cubicBezTo>
                    <a:pt x="386" y="72"/>
                    <a:pt x="386" y="72"/>
                    <a:pt x="386" y="72"/>
                  </a:cubicBezTo>
                  <a:cubicBezTo>
                    <a:pt x="389" y="73"/>
                    <a:pt x="389" y="73"/>
                    <a:pt x="389" y="73"/>
                  </a:cubicBezTo>
                  <a:cubicBezTo>
                    <a:pt x="391" y="76"/>
                    <a:pt x="391" y="76"/>
                    <a:pt x="391" y="76"/>
                  </a:cubicBezTo>
                  <a:cubicBezTo>
                    <a:pt x="395" y="79"/>
                    <a:pt x="395" y="79"/>
                    <a:pt x="395" y="79"/>
                  </a:cubicBezTo>
                  <a:cubicBezTo>
                    <a:pt x="401" y="81"/>
                    <a:pt x="401" y="81"/>
                    <a:pt x="401" y="81"/>
                  </a:cubicBezTo>
                  <a:cubicBezTo>
                    <a:pt x="404" y="85"/>
                    <a:pt x="404" y="85"/>
                    <a:pt x="404" y="85"/>
                  </a:cubicBezTo>
                  <a:cubicBezTo>
                    <a:pt x="403" y="89"/>
                    <a:pt x="403" y="89"/>
                    <a:pt x="403" y="89"/>
                  </a:cubicBezTo>
                  <a:cubicBezTo>
                    <a:pt x="403" y="89"/>
                    <a:pt x="398" y="88"/>
                    <a:pt x="395" y="89"/>
                  </a:cubicBezTo>
                  <a:cubicBezTo>
                    <a:pt x="393" y="89"/>
                    <a:pt x="389" y="94"/>
                    <a:pt x="389" y="94"/>
                  </a:cubicBezTo>
                  <a:cubicBezTo>
                    <a:pt x="384" y="93"/>
                    <a:pt x="384" y="93"/>
                    <a:pt x="384" y="93"/>
                  </a:cubicBezTo>
                  <a:cubicBezTo>
                    <a:pt x="377" y="98"/>
                    <a:pt x="377" y="98"/>
                    <a:pt x="377" y="98"/>
                  </a:cubicBezTo>
                  <a:cubicBezTo>
                    <a:pt x="375" y="96"/>
                    <a:pt x="375" y="96"/>
                    <a:pt x="375" y="96"/>
                  </a:cubicBezTo>
                  <a:cubicBezTo>
                    <a:pt x="372" y="96"/>
                    <a:pt x="372" y="96"/>
                    <a:pt x="372" y="96"/>
                  </a:cubicBezTo>
                  <a:cubicBezTo>
                    <a:pt x="370" y="101"/>
                    <a:pt x="370" y="101"/>
                    <a:pt x="370" y="101"/>
                  </a:cubicBezTo>
                  <a:cubicBezTo>
                    <a:pt x="367" y="103"/>
                    <a:pt x="367" y="103"/>
                    <a:pt x="367" y="103"/>
                  </a:cubicBezTo>
                  <a:cubicBezTo>
                    <a:pt x="356" y="106"/>
                    <a:pt x="356" y="106"/>
                    <a:pt x="356" y="106"/>
                  </a:cubicBezTo>
                  <a:cubicBezTo>
                    <a:pt x="354" y="112"/>
                    <a:pt x="354" y="112"/>
                    <a:pt x="354" y="112"/>
                  </a:cubicBezTo>
                  <a:cubicBezTo>
                    <a:pt x="347" y="116"/>
                    <a:pt x="347" y="116"/>
                    <a:pt x="347" y="116"/>
                  </a:cubicBezTo>
                  <a:cubicBezTo>
                    <a:pt x="342" y="114"/>
                    <a:pt x="342" y="114"/>
                    <a:pt x="342" y="114"/>
                  </a:cubicBezTo>
                  <a:cubicBezTo>
                    <a:pt x="338" y="110"/>
                    <a:pt x="338" y="110"/>
                    <a:pt x="338" y="110"/>
                  </a:cubicBezTo>
                  <a:cubicBezTo>
                    <a:pt x="334" y="109"/>
                    <a:pt x="334" y="109"/>
                    <a:pt x="334" y="109"/>
                  </a:cubicBezTo>
                  <a:cubicBezTo>
                    <a:pt x="330" y="111"/>
                    <a:pt x="330" y="111"/>
                    <a:pt x="330" y="111"/>
                  </a:cubicBezTo>
                  <a:cubicBezTo>
                    <a:pt x="328" y="116"/>
                    <a:pt x="328" y="116"/>
                    <a:pt x="328" y="116"/>
                  </a:cubicBezTo>
                  <a:cubicBezTo>
                    <a:pt x="328" y="121"/>
                    <a:pt x="328" y="121"/>
                    <a:pt x="328" y="121"/>
                  </a:cubicBezTo>
                  <a:cubicBezTo>
                    <a:pt x="329" y="126"/>
                    <a:pt x="329" y="126"/>
                    <a:pt x="329" y="126"/>
                  </a:cubicBezTo>
                  <a:cubicBezTo>
                    <a:pt x="331" y="130"/>
                    <a:pt x="331" y="130"/>
                    <a:pt x="331" y="130"/>
                  </a:cubicBezTo>
                  <a:cubicBezTo>
                    <a:pt x="328" y="135"/>
                    <a:pt x="328" y="135"/>
                    <a:pt x="328" y="135"/>
                  </a:cubicBezTo>
                  <a:cubicBezTo>
                    <a:pt x="324" y="137"/>
                    <a:pt x="324" y="137"/>
                    <a:pt x="324" y="137"/>
                  </a:cubicBezTo>
                  <a:cubicBezTo>
                    <a:pt x="317" y="139"/>
                    <a:pt x="317" y="139"/>
                    <a:pt x="317" y="139"/>
                  </a:cubicBezTo>
                  <a:cubicBezTo>
                    <a:pt x="308" y="141"/>
                    <a:pt x="308" y="141"/>
                    <a:pt x="308" y="141"/>
                  </a:cubicBezTo>
                  <a:cubicBezTo>
                    <a:pt x="300" y="140"/>
                    <a:pt x="300" y="140"/>
                    <a:pt x="300" y="140"/>
                  </a:cubicBezTo>
                  <a:cubicBezTo>
                    <a:pt x="296" y="142"/>
                    <a:pt x="296" y="142"/>
                    <a:pt x="296" y="142"/>
                  </a:cubicBezTo>
                  <a:cubicBezTo>
                    <a:pt x="292" y="142"/>
                    <a:pt x="292" y="142"/>
                    <a:pt x="292" y="142"/>
                  </a:cubicBezTo>
                  <a:cubicBezTo>
                    <a:pt x="288" y="147"/>
                    <a:pt x="288" y="147"/>
                    <a:pt x="288" y="147"/>
                  </a:cubicBezTo>
                  <a:cubicBezTo>
                    <a:pt x="282" y="149"/>
                    <a:pt x="282" y="149"/>
                    <a:pt x="282" y="149"/>
                  </a:cubicBezTo>
                  <a:cubicBezTo>
                    <a:pt x="276" y="149"/>
                    <a:pt x="276" y="149"/>
                    <a:pt x="276" y="149"/>
                  </a:cubicBezTo>
                  <a:cubicBezTo>
                    <a:pt x="270" y="152"/>
                    <a:pt x="270" y="152"/>
                    <a:pt x="270" y="152"/>
                  </a:cubicBezTo>
                  <a:cubicBezTo>
                    <a:pt x="261" y="152"/>
                    <a:pt x="261" y="152"/>
                    <a:pt x="261" y="152"/>
                  </a:cubicBezTo>
                  <a:cubicBezTo>
                    <a:pt x="257" y="148"/>
                    <a:pt x="257" y="148"/>
                    <a:pt x="257" y="148"/>
                  </a:cubicBezTo>
                  <a:cubicBezTo>
                    <a:pt x="252" y="144"/>
                    <a:pt x="252" y="144"/>
                    <a:pt x="252" y="144"/>
                  </a:cubicBezTo>
                  <a:cubicBezTo>
                    <a:pt x="250" y="143"/>
                    <a:pt x="250" y="143"/>
                    <a:pt x="250" y="143"/>
                  </a:cubicBezTo>
                  <a:cubicBezTo>
                    <a:pt x="237" y="142"/>
                    <a:pt x="237" y="142"/>
                    <a:pt x="237" y="142"/>
                  </a:cubicBezTo>
                  <a:cubicBezTo>
                    <a:pt x="229" y="141"/>
                    <a:pt x="229" y="141"/>
                    <a:pt x="229" y="141"/>
                  </a:cubicBezTo>
                  <a:cubicBezTo>
                    <a:pt x="222" y="140"/>
                    <a:pt x="222" y="140"/>
                    <a:pt x="222" y="140"/>
                  </a:cubicBezTo>
                  <a:cubicBezTo>
                    <a:pt x="216" y="141"/>
                    <a:pt x="216" y="141"/>
                    <a:pt x="216" y="141"/>
                  </a:cubicBezTo>
                  <a:cubicBezTo>
                    <a:pt x="210" y="140"/>
                    <a:pt x="210" y="140"/>
                    <a:pt x="210" y="140"/>
                  </a:cubicBezTo>
                  <a:cubicBezTo>
                    <a:pt x="206" y="138"/>
                    <a:pt x="206" y="138"/>
                    <a:pt x="206" y="138"/>
                  </a:cubicBezTo>
                  <a:cubicBezTo>
                    <a:pt x="201" y="133"/>
                    <a:pt x="201" y="133"/>
                    <a:pt x="201" y="133"/>
                  </a:cubicBezTo>
                  <a:cubicBezTo>
                    <a:pt x="196" y="129"/>
                    <a:pt x="196" y="129"/>
                    <a:pt x="196" y="129"/>
                  </a:cubicBezTo>
                  <a:cubicBezTo>
                    <a:pt x="193" y="126"/>
                    <a:pt x="193" y="126"/>
                    <a:pt x="193" y="126"/>
                  </a:cubicBezTo>
                  <a:cubicBezTo>
                    <a:pt x="191" y="122"/>
                    <a:pt x="191" y="122"/>
                    <a:pt x="191" y="122"/>
                  </a:cubicBezTo>
                  <a:cubicBezTo>
                    <a:pt x="188" y="118"/>
                    <a:pt x="188" y="118"/>
                    <a:pt x="188" y="118"/>
                  </a:cubicBezTo>
                  <a:cubicBezTo>
                    <a:pt x="183" y="116"/>
                    <a:pt x="183" y="116"/>
                    <a:pt x="183" y="116"/>
                  </a:cubicBezTo>
                  <a:cubicBezTo>
                    <a:pt x="180" y="114"/>
                    <a:pt x="180" y="114"/>
                    <a:pt x="180" y="114"/>
                  </a:cubicBezTo>
                  <a:cubicBezTo>
                    <a:pt x="175" y="111"/>
                    <a:pt x="175" y="111"/>
                    <a:pt x="175" y="111"/>
                  </a:cubicBezTo>
                  <a:cubicBezTo>
                    <a:pt x="170" y="111"/>
                    <a:pt x="170" y="111"/>
                    <a:pt x="170" y="111"/>
                  </a:cubicBezTo>
                  <a:cubicBezTo>
                    <a:pt x="165" y="109"/>
                    <a:pt x="165" y="109"/>
                    <a:pt x="165" y="109"/>
                  </a:cubicBezTo>
                  <a:cubicBezTo>
                    <a:pt x="164" y="105"/>
                    <a:pt x="164" y="105"/>
                    <a:pt x="164" y="105"/>
                  </a:cubicBezTo>
                  <a:cubicBezTo>
                    <a:pt x="165" y="100"/>
                    <a:pt x="165" y="100"/>
                    <a:pt x="165" y="100"/>
                  </a:cubicBezTo>
                  <a:cubicBezTo>
                    <a:pt x="166" y="96"/>
                    <a:pt x="166" y="96"/>
                    <a:pt x="166" y="96"/>
                  </a:cubicBezTo>
                  <a:cubicBezTo>
                    <a:pt x="163" y="91"/>
                    <a:pt x="163" y="91"/>
                    <a:pt x="163" y="91"/>
                  </a:cubicBezTo>
                  <a:cubicBezTo>
                    <a:pt x="158" y="89"/>
                    <a:pt x="158" y="89"/>
                    <a:pt x="158" y="89"/>
                  </a:cubicBezTo>
                  <a:cubicBezTo>
                    <a:pt x="158" y="86"/>
                    <a:pt x="158" y="86"/>
                    <a:pt x="158" y="86"/>
                  </a:cubicBezTo>
                  <a:cubicBezTo>
                    <a:pt x="153" y="80"/>
                    <a:pt x="153" y="80"/>
                    <a:pt x="153" y="80"/>
                  </a:cubicBezTo>
                  <a:cubicBezTo>
                    <a:pt x="148" y="77"/>
                    <a:pt x="148" y="77"/>
                    <a:pt x="148" y="77"/>
                  </a:cubicBezTo>
                  <a:cubicBezTo>
                    <a:pt x="142" y="78"/>
                    <a:pt x="142" y="78"/>
                    <a:pt x="142" y="78"/>
                  </a:cubicBezTo>
                  <a:cubicBezTo>
                    <a:pt x="138" y="77"/>
                    <a:pt x="138" y="77"/>
                    <a:pt x="138" y="77"/>
                  </a:cubicBezTo>
                  <a:cubicBezTo>
                    <a:pt x="135" y="74"/>
                    <a:pt x="135" y="74"/>
                    <a:pt x="135" y="74"/>
                  </a:cubicBezTo>
                  <a:cubicBezTo>
                    <a:pt x="134" y="71"/>
                    <a:pt x="134" y="71"/>
                    <a:pt x="134" y="71"/>
                  </a:cubicBezTo>
                  <a:cubicBezTo>
                    <a:pt x="133" y="64"/>
                    <a:pt x="133" y="64"/>
                    <a:pt x="133" y="64"/>
                  </a:cubicBezTo>
                  <a:cubicBezTo>
                    <a:pt x="134" y="56"/>
                    <a:pt x="134" y="56"/>
                    <a:pt x="134" y="56"/>
                  </a:cubicBezTo>
                  <a:cubicBezTo>
                    <a:pt x="129" y="59"/>
                    <a:pt x="129" y="59"/>
                    <a:pt x="129" y="59"/>
                  </a:cubicBezTo>
                  <a:cubicBezTo>
                    <a:pt x="117" y="61"/>
                    <a:pt x="117" y="61"/>
                    <a:pt x="117" y="61"/>
                  </a:cubicBezTo>
                  <a:cubicBezTo>
                    <a:pt x="113" y="64"/>
                    <a:pt x="113" y="64"/>
                    <a:pt x="113" y="64"/>
                  </a:cubicBezTo>
                  <a:cubicBezTo>
                    <a:pt x="111" y="68"/>
                    <a:pt x="111" y="68"/>
                    <a:pt x="111" y="68"/>
                  </a:cubicBezTo>
                  <a:cubicBezTo>
                    <a:pt x="105" y="70"/>
                    <a:pt x="105" y="70"/>
                    <a:pt x="105" y="70"/>
                  </a:cubicBezTo>
                  <a:cubicBezTo>
                    <a:pt x="104" y="73"/>
                    <a:pt x="104" y="73"/>
                    <a:pt x="104" y="73"/>
                  </a:cubicBezTo>
                  <a:cubicBezTo>
                    <a:pt x="103" y="77"/>
                    <a:pt x="103" y="77"/>
                    <a:pt x="103" y="77"/>
                  </a:cubicBezTo>
                  <a:cubicBezTo>
                    <a:pt x="96" y="80"/>
                    <a:pt x="96" y="80"/>
                    <a:pt x="96" y="80"/>
                  </a:cubicBezTo>
                  <a:cubicBezTo>
                    <a:pt x="91" y="80"/>
                    <a:pt x="91" y="80"/>
                    <a:pt x="91" y="80"/>
                  </a:cubicBezTo>
                  <a:cubicBezTo>
                    <a:pt x="88" y="83"/>
                    <a:pt x="88" y="83"/>
                    <a:pt x="88" y="83"/>
                  </a:cubicBezTo>
                  <a:cubicBezTo>
                    <a:pt x="85" y="88"/>
                    <a:pt x="85" y="88"/>
                    <a:pt x="85" y="88"/>
                  </a:cubicBezTo>
                  <a:cubicBezTo>
                    <a:pt x="82" y="91"/>
                    <a:pt x="82" y="91"/>
                    <a:pt x="82" y="91"/>
                  </a:cubicBezTo>
                  <a:cubicBezTo>
                    <a:pt x="80" y="97"/>
                    <a:pt x="80" y="97"/>
                    <a:pt x="80" y="97"/>
                  </a:cubicBezTo>
                  <a:cubicBezTo>
                    <a:pt x="81" y="103"/>
                    <a:pt x="81" y="103"/>
                    <a:pt x="81" y="103"/>
                  </a:cubicBezTo>
                  <a:cubicBezTo>
                    <a:pt x="84" y="106"/>
                    <a:pt x="84" y="106"/>
                    <a:pt x="84" y="106"/>
                  </a:cubicBezTo>
                  <a:cubicBezTo>
                    <a:pt x="82" y="109"/>
                    <a:pt x="82" y="109"/>
                    <a:pt x="82" y="109"/>
                  </a:cubicBezTo>
                  <a:cubicBezTo>
                    <a:pt x="74" y="109"/>
                    <a:pt x="74" y="109"/>
                    <a:pt x="74" y="109"/>
                  </a:cubicBezTo>
                  <a:cubicBezTo>
                    <a:pt x="67" y="112"/>
                    <a:pt x="67" y="112"/>
                    <a:pt x="67" y="112"/>
                  </a:cubicBezTo>
                  <a:cubicBezTo>
                    <a:pt x="60" y="113"/>
                    <a:pt x="60" y="113"/>
                    <a:pt x="60" y="113"/>
                  </a:cubicBezTo>
                  <a:cubicBezTo>
                    <a:pt x="58" y="115"/>
                    <a:pt x="58" y="115"/>
                    <a:pt x="58" y="115"/>
                  </a:cubicBezTo>
                  <a:cubicBezTo>
                    <a:pt x="59" y="119"/>
                    <a:pt x="59" y="119"/>
                    <a:pt x="59" y="119"/>
                  </a:cubicBezTo>
                  <a:cubicBezTo>
                    <a:pt x="64" y="123"/>
                    <a:pt x="64" y="123"/>
                    <a:pt x="64" y="123"/>
                  </a:cubicBezTo>
                  <a:cubicBezTo>
                    <a:pt x="66" y="126"/>
                    <a:pt x="66" y="126"/>
                    <a:pt x="66" y="126"/>
                  </a:cubicBezTo>
                  <a:cubicBezTo>
                    <a:pt x="64" y="130"/>
                    <a:pt x="64" y="130"/>
                    <a:pt x="64" y="130"/>
                  </a:cubicBezTo>
                  <a:cubicBezTo>
                    <a:pt x="62" y="134"/>
                    <a:pt x="62" y="134"/>
                    <a:pt x="62" y="134"/>
                  </a:cubicBezTo>
                  <a:cubicBezTo>
                    <a:pt x="62" y="141"/>
                    <a:pt x="62" y="141"/>
                    <a:pt x="62" y="141"/>
                  </a:cubicBezTo>
                  <a:cubicBezTo>
                    <a:pt x="59" y="142"/>
                    <a:pt x="57" y="143"/>
                    <a:pt x="55" y="144"/>
                  </a:cubicBezTo>
                  <a:cubicBezTo>
                    <a:pt x="53" y="146"/>
                    <a:pt x="53" y="147"/>
                    <a:pt x="51" y="148"/>
                  </a:cubicBezTo>
                  <a:cubicBezTo>
                    <a:pt x="49" y="149"/>
                    <a:pt x="48" y="149"/>
                    <a:pt x="46" y="150"/>
                  </a:cubicBezTo>
                  <a:cubicBezTo>
                    <a:pt x="45" y="151"/>
                    <a:pt x="45" y="153"/>
                    <a:pt x="45" y="154"/>
                  </a:cubicBezTo>
                  <a:cubicBezTo>
                    <a:pt x="45" y="157"/>
                    <a:pt x="34" y="154"/>
                    <a:pt x="31" y="159"/>
                  </a:cubicBezTo>
                  <a:cubicBezTo>
                    <a:pt x="29" y="162"/>
                    <a:pt x="31" y="164"/>
                    <a:pt x="29" y="167"/>
                  </a:cubicBezTo>
                  <a:cubicBezTo>
                    <a:pt x="27" y="169"/>
                    <a:pt x="24" y="168"/>
                    <a:pt x="22" y="169"/>
                  </a:cubicBezTo>
                  <a:cubicBezTo>
                    <a:pt x="20" y="169"/>
                    <a:pt x="19" y="171"/>
                    <a:pt x="17" y="171"/>
                  </a:cubicBezTo>
                  <a:cubicBezTo>
                    <a:pt x="15" y="171"/>
                    <a:pt x="16" y="167"/>
                    <a:pt x="14" y="167"/>
                  </a:cubicBezTo>
                  <a:cubicBezTo>
                    <a:pt x="12" y="166"/>
                    <a:pt x="11" y="168"/>
                    <a:pt x="9" y="169"/>
                  </a:cubicBezTo>
                  <a:cubicBezTo>
                    <a:pt x="8" y="171"/>
                    <a:pt x="7" y="172"/>
                    <a:pt x="6" y="173"/>
                  </a:cubicBezTo>
                  <a:cubicBezTo>
                    <a:pt x="5" y="174"/>
                    <a:pt x="4" y="174"/>
                    <a:pt x="3" y="175"/>
                  </a:cubicBezTo>
                  <a:cubicBezTo>
                    <a:pt x="2" y="175"/>
                    <a:pt x="1" y="176"/>
                    <a:pt x="0" y="177"/>
                  </a:cubicBezTo>
                  <a:cubicBezTo>
                    <a:pt x="0" y="178"/>
                    <a:pt x="0" y="178"/>
                    <a:pt x="0" y="178"/>
                  </a:cubicBezTo>
                  <a:cubicBezTo>
                    <a:pt x="1" y="180"/>
                    <a:pt x="1" y="182"/>
                    <a:pt x="1" y="182"/>
                  </a:cubicBezTo>
                  <a:cubicBezTo>
                    <a:pt x="1" y="185"/>
                    <a:pt x="1" y="185"/>
                    <a:pt x="1" y="185"/>
                  </a:cubicBezTo>
                  <a:cubicBezTo>
                    <a:pt x="3" y="187"/>
                    <a:pt x="3" y="187"/>
                    <a:pt x="3" y="187"/>
                  </a:cubicBezTo>
                  <a:cubicBezTo>
                    <a:pt x="9" y="185"/>
                    <a:pt x="9" y="185"/>
                    <a:pt x="9" y="185"/>
                  </a:cubicBezTo>
                  <a:cubicBezTo>
                    <a:pt x="10" y="186"/>
                    <a:pt x="10" y="186"/>
                    <a:pt x="10" y="186"/>
                  </a:cubicBezTo>
                  <a:cubicBezTo>
                    <a:pt x="10" y="189"/>
                    <a:pt x="10" y="189"/>
                    <a:pt x="10" y="189"/>
                  </a:cubicBezTo>
                  <a:cubicBezTo>
                    <a:pt x="8" y="193"/>
                    <a:pt x="8" y="193"/>
                    <a:pt x="8" y="193"/>
                  </a:cubicBezTo>
                  <a:cubicBezTo>
                    <a:pt x="11" y="197"/>
                    <a:pt x="11" y="197"/>
                    <a:pt x="11" y="197"/>
                  </a:cubicBezTo>
                  <a:cubicBezTo>
                    <a:pt x="11" y="202"/>
                    <a:pt x="11" y="202"/>
                    <a:pt x="11" y="202"/>
                  </a:cubicBezTo>
                  <a:cubicBezTo>
                    <a:pt x="13" y="204"/>
                    <a:pt x="13" y="204"/>
                    <a:pt x="13" y="204"/>
                  </a:cubicBezTo>
                  <a:cubicBezTo>
                    <a:pt x="13" y="206"/>
                    <a:pt x="13" y="206"/>
                    <a:pt x="13" y="206"/>
                  </a:cubicBezTo>
                  <a:cubicBezTo>
                    <a:pt x="10" y="207"/>
                    <a:pt x="10" y="207"/>
                    <a:pt x="10" y="207"/>
                  </a:cubicBezTo>
                  <a:cubicBezTo>
                    <a:pt x="10" y="211"/>
                    <a:pt x="10" y="211"/>
                    <a:pt x="10" y="211"/>
                  </a:cubicBezTo>
                  <a:cubicBezTo>
                    <a:pt x="16" y="211"/>
                    <a:pt x="16" y="211"/>
                    <a:pt x="16" y="211"/>
                  </a:cubicBezTo>
                  <a:cubicBezTo>
                    <a:pt x="26" y="217"/>
                    <a:pt x="26" y="217"/>
                    <a:pt x="26" y="217"/>
                  </a:cubicBezTo>
                  <a:cubicBezTo>
                    <a:pt x="28" y="220"/>
                    <a:pt x="28" y="220"/>
                    <a:pt x="28" y="220"/>
                  </a:cubicBezTo>
                  <a:cubicBezTo>
                    <a:pt x="32" y="223"/>
                    <a:pt x="32" y="223"/>
                    <a:pt x="32" y="223"/>
                  </a:cubicBezTo>
                  <a:cubicBezTo>
                    <a:pt x="35" y="220"/>
                    <a:pt x="35" y="220"/>
                    <a:pt x="35" y="220"/>
                  </a:cubicBezTo>
                  <a:cubicBezTo>
                    <a:pt x="37" y="218"/>
                    <a:pt x="37" y="218"/>
                    <a:pt x="37" y="218"/>
                  </a:cubicBezTo>
                  <a:cubicBezTo>
                    <a:pt x="41" y="218"/>
                    <a:pt x="41" y="218"/>
                    <a:pt x="41" y="218"/>
                  </a:cubicBezTo>
                  <a:cubicBezTo>
                    <a:pt x="45" y="219"/>
                    <a:pt x="45" y="219"/>
                    <a:pt x="45" y="219"/>
                  </a:cubicBezTo>
                  <a:cubicBezTo>
                    <a:pt x="49" y="220"/>
                    <a:pt x="49" y="220"/>
                    <a:pt x="49" y="220"/>
                  </a:cubicBezTo>
                  <a:cubicBezTo>
                    <a:pt x="51" y="223"/>
                    <a:pt x="51" y="223"/>
                    <a:pt x="51" y="223"/>
                  </a:cubicBezTo>
                  <a:cubicBezTo>
                    <a:pt x="53" y="226"/>
                    <a:pt x="53" y="226"/>
                    <a:pt x="53" y="226"/>
                  </a:cubicBezTo>
                  <a:cubicBezTo>
                    <a:pt x="55" y="230"/>
                    <a:pt x="55" y="230"/>
                    <a:pt x="55" y="230"/>
                  </a:cubicBezTo>
                  <a:cubicBezTo>
                    <a:pt x="52" y="232"/>
                    <a:pt x="52" y="232"/>
                    <a:pt x="52" y="232"/>
                  </a:cubicBezTo>
                  <a:cubicBezTo>
                    <a:pt x="52" y="235"/>
                    <a:pt x="52" y="235"/>
                    <a:pt x="52" y="235"/>
                  </a:cubicBezTo>
                  <a:cubicBezTo>
                    <a:pt x="50" y="238"/>
                    <a:pt x="50" y="238"/>
                    <a:pt x="50" y="238"/>
                  </a:cubicBezTo>
                  <a:cubicBezTo>
                    <a:pt x="48" y="240"/>
                    <a:pt x="48" y="240"/>
                    <a:pt x="48" y="240"/>
                  </a:cubicBezTo>
                  <a:cubicBezTo>
                    <a:pt x="46" y="244"/>
                    <a:pt x="46" y="244"/>
                    <a:pt x="46" y="244"/>
                  </a:cubicBezTo>
                  <a:cubicBezTo>
                    <a:pt x="44" y="246"/>
                    <a:pt x="44" y="246"/>
                    <a:pt x="44" y="246"/>
                  </a:cubicBezTo>
                  <a:cubicBezTo>
                    <a:pt x="42" y="250"/>
                    <a:pt x="42" y="250"/>
                    <a:pt x="42" y="250"/>
                  </a:cubicBezTo>
                  <a:cubicBezTo>
                    <a:pt x="46" y="253"/>
                    <a:pt x="46" y="253"/>
                    <a:pt x="46" y="253"/>
                  </a:cubicBezTo>
                  <a:cubicBezTo>
                    <a:pt x="48" y="256"/>
                    <a:pt x="48" y="256"/>
                    <a:pt x="48" y="256"/>
                  </a:cubicBezTo>
                  <a:cubicBezTo>
                    <a:pt x="47" y="262"/>
                    <a:pt x="47" y="262"/>
                    <a:pt x="47" y="262"/>
                  </a:cubicBezTo>
                  <a:cubicBezTo>
                    <a:pt x="50" y="263"/>
                    <a:pt x="50" y="263"/>
                    <a:pt x="50" y="263"/>
                  </a:cubicBezTo>
                  <a:cubicBezTo>
                    <a:pt x="52" y="263"/>
                    <a:pt x="52" y="263"/>
                    <a:pt x="52" y="263"/>
                  </a:cubicBezTo>
                  <a:cubicBezTo>
                    <a:pt x="52" y="266"/>
                    <a:pt x="52" y="266"/>
                    <a:pt x="52" y="266"/>
                  </a:cubicBezTo>
                  <a:cubicBezTo>
                    <a:pt x="51" y="271"/>
                    <a:pt x="51" y="271"/>
                    <a:pt x="51" y="271"/>
                  </a:cubicBezTo>
                  <a:cubicBezTo>
                    <a:pt x="52" y="273"/>
                    <a:pt x="52" y="273"/>
                    <a:pt x="52" y="273"/>
                  </a:cubicBezTo>
                  <a:cubicBezTo>
                    <a:pt x="50" y="275"/>
                    <a:pt x="50" y="275"/>
                    <a:pt x="50" y="275"/>
                  </a:cubicBezTo>
                  <a:cubicBezTo>
                    <a:pt x="51" y="279"/>
                    <a:pt x="51" y="279"/>
                    <a:pt x="51" y="279"/>
                  </a:cubicBezTo>
                  <a:cubicBezTo>
                    <a:pt x="56" y="281"/>
                    <a:pt x="56" y="281"/>
                    <a:pt x="56" y="281"/>
                  </a:cubicBezTo>
                  <a:cubicBezTo>
                    <a:pt x="59" y="283"/>
                    <a:pt x="59" y="283"/>
                    <a:pt x="59" y="283"/>
                  </a:cubicBezTo>
                  <a:cubicBezTo>
                    <a:pt x="64" y="284"/>
                    <a:pt x="64" y="284"/>
                    <a:pt x="64" y="284"/>
                  </a:cubicBezTo>
                  <a:cubicBezTo>
                    <a:pt x="67" y="287"/>
                    <a:pt x="67" y="287"/>
                    <a:pt x="67" y="287"/>
                  </a:cubicBezTo>
                  <a:cubicBezTo>
                    <a:pt x="70" y="290"/>
                    <a:pt x="70" y="290"/>
                    <a:pt x="70" y="290"/>
                  </a:cubicBezTo>
                  <a:cubicBezTo>
                    <a:pt x="72" y="289"/>
                    <a:pt x="72" y="289"/>
                    <a:pt x="72" y="289"/>
                  </a:cubicBezTo>
                  <a:cubicBezTo>
                    <a:pt x="76" y="290"/>
                    <a:pt x="76" y="290"/>
                    <a:pt x="76" y="290"/>
                  </a:cubicBezTo>
                  <a:cubicBezTo>
                    <a:pt x="80" y="290"/>
                    <a:pt x="80" y="290"/>
                    <a:pt x="80" y="290"/>
                  </a:cubicBezTo>
                  <a:cubicBezTo>
                    <a:pt x="83" y="290"/>
                    <a:pt x="83" y="290"/>
                    <a:pt x="83" y="290"/>
                  </a:cubicBezTo>
                  <a:cubicBezTo>
                    <a:pt x="87" y="297"/>
                    <a:pt x="87" y="297"/>
                    <a:pt x="87" y="297"/>
                  </a:cubicBezTo>
                  <a:cubicBezTo>
                    <a:pt x="91" y="297"/>
                    <a:pt x="91" y="297"/>
                    <a:pt x="91" y="297"/>
                  </a:cubicBezTo>
                  <a:cubicBezTo>
                    <a:pt x="96" y="296"/>
                    <a:pt x="96" y="296"/>
                    <a:pt x="96" y="296"/>
                  </a:cubicBezTo>
                  <a:cubicBezTo>
                    <a:pt x="99" y="298"/>
                    <a:pt x="99" y="298"/>
                    <a:pt x="99" y="298"/>
                  </a:cubicBezTo>
                  <a:cubicBezTo>
                    <a:pt x="99" y="302"/>
                    <a:pt x="99" y="302"/>
                    <a:pt x="99" y="302"/>
                  </a:cubicBezTo>
                  <a:cubicBezTo>
                    <a:pt x="103" y="304"/>
                    <a:pt x="103" y="304"/>
                    <a:pt x="103" y="304"/>
                  </a:cubicBezTo>
                  <a:cubicBezTo>
                    <a:pt x="107" y="308"/>
                    <a:pt x="107" y="308"/>
                    <a:pt x="107" y="308"/>
                  </a:cubicBezTo>
                  <a:cubicBezTo>
                    <a:pt x="109" y="311"/>
                    <a:pt x="109" y="311"/>
                    <a:pt x="109" y="311"/>
                  </a:cubicBezTo>
                  <a:cubicBezTo>
                    <a:pt x="113" y="312"/>
                    <a:pt x="113" y="312"/>
                    <a:pt x="113" y="312"/>
                  </a:cubicBezTo>
                  <a:cubicBezTo>
                    <a:pt x="118" y="314"/>
                    <a:pt x="118" y="314"/>
                    <a:pt x="118" y="314"/>
                  </a:cubicBezTo>
                  <a:cubicBezTo>
                    <a:pt x="125" y="315"/>
                    <a:pt x="125" y="315"/>
                    <a:pt x="125" y="315"/>
                  </a:cubicBezTo>
                  <a:cubicBezTo>
                    <a:pt x="130" y="316"/>
                    <a:pt x="130" y="316"/>
                    <a:pt x="130" y="316"/>
                  </a:cubicBezTo>
                  <a:cubicBezTo>
                    <a:pt x="134" y="314"/>
                    <a:pt x="134" y="314"/>
                    <a:pt x="134" y="314"/>
                  </a:cubicBezTo>
                  <a:cubicBezTo>
                    <a:pt x="138" y="315"/>
                    <a:pt x="138" y="315"/>
                    <a:pt x="138" y="315"/>
                  </a:cubicBezTo>
                  <a:cubicBezTo>
                    <a:pt x="140" y="319"/>
                    <a:pt x="140" y="319"/>
                    <a:pt x="140" y="319"/>
                  </a:cubicBezTo>
                  <a:cubicBezTo>
                    <a:pt x="144" y="312"/>
                    <a:pt x="144" y="312"/>
                    <a:pt x="144" y="312"/>
                  </a:cubicBezTo>
                  <a:cubicBezTo>
                    <a:pt x="147" y="311"/>
                    <a:pt x="147" y="311"/>
                    <a:pt x="147" y="311"/>
                  </a:cubicBezTo>
                  <a:cubicBezTo>
                    <a:pt x="152" y="310"/>
                    <a:pt x="152" y="310"/>
                    <a:pt x="152" y="310"/>
                  </a:cubicBezTo>
                  <a:cubicBezTo>
                    <a:pt x="156" y="312"/>
                    <a:pt x="156" y="312"/>
                    <a:pt x="156" y="312"/>
                  </a:cubicBezTo>
                  <a:cubicBezTo>
                    <a:pt x="160" y="312"/>
                    <a:pt x="160" y="312"/>
                    <a:pt x="160" y="312"/>
                  </a:cubicBezTo>
                  <a:cubicBezTo>
                    <a:pt x="166" y="313"/>
                    <a:pt x="166" y="313"/>
                    <a:pt x="166" y="313"/>
                  </a:cubicBezTo>
                  <a:cubicBezTo>
                    <a:pt x="170" y="312"/>
                    <a:pt x="170" y="312"/>
                    <a:pt x="170" y="312"/>
                  </a:cubicBezTo>
                  <a:cubicBezTo>
                    <a:pt x="175" y="309"/>
                    <a:pt x="175" y="309"/>
                    <a:pt x="175" y="309"/>
                  </a:cubicBezTo>
                  <a:cubicBezTo>
                    <a:pt x="178" y="307"/>
                    <a:pt x="178" y="307"/>
                    <a:pt x="178" y="307"/>
                  </a:cubicBezTo>
                  <a:cubicBezTo>
                    <a:pt x="182" y="307"/>
                    <a:pt x="182" y="307"/>
                    <a:pt x="182" y="307"/>
                  </a:cubicBezTo>
                  <a:cubicBezTo>
                    <a:pt x="185" y="308"/>
                    <a:pt x="185" y="308"/>
                    <a:pt x="185" y="308"/>
                  </a:cubicBezTo>
                  <a:cubicBezTo>
                    <a:pt x="189" y="305"/>
                    <a:pt x="189" y="305"/>
                    <a:pt x="189" y="305"/>
                  </a:cubicBezTo>
                  <a:cubicBezTo>
                    <a:pt x="192" y="305"/>
                    <a:pt x="192" y="305"/>
                    <a:pt x="192" y="305"/>
                  </a:cubicBezTo>
                  <a:cubicBezTo>
                    <a:pt x="197" y="307"/>
                    <a:pt x="197" y="307"/>
                    <a:pt x="197" y="307"/>
                  </a:cubicBezTo>
                  <a:cubicBezTo>
                    <a:pt x="197" y="312"/>
                    <a:pt x="197" y="312"/>
                    <a:pt x="197" y="312"/>
                  </a:cubicBezTo>
                  <a:cubicBezTo>
                    <a:pt x="199" y="314"/>
                    <a:pt x="199" y="314"/>
                    <a:pt x="199" y="314"/>
                  </a:cubicBezTo>
                  <a:cubicBezTo>
                    <a:pt x="202" y="313"/>
                    <a:pt x="202" y="313"/>
                    <a:pt x="202" y="313"/>
                  </a:cubicBezTo>
                  <a:cubicBezTo>
                    <a:pt x="204" y="314"/>
                    <a:pt x="204" y="314"/>
                    <a:pt x="204" y="314"/>
                  </a:cubicBezTo>
                  <a:cubicBezTo>
                    <a:pt x="207" y="315"/>
                    <a:pt x="207" y="315"/>
                    <a:pt x="207" y="315"/>
                  </a:cubicBezTo>
                  <a:cubicBezTo>
                    <a:pt x="210" y="316"/>
                    <a:pt x="210" y="316"/>
                    <a:pt x="210" y="316"/>
                  </a:cubicBezTo>
                  <a:cubicBezTo>
                    <a:pt x="211" y="319"/>
                    <a:pt x="211" y="319"/>
                    <a:pt x="211" y="319"/>
                  </a:cubicBezTo>
                  <a:cubicBezTo>
                    <a:pt x="212" y="322"/>
                    <a:pt x="212" y="322"/>
                    <a:pt x="212" y="322"/>
                  </a:cubicBezTo>
                  <a:cubicBezTo>
                    <a:pt x="215" y="321"/>
                    <a:pt x="215" y="321"/>
                    <a:pt x="215" y="321"/>
                  </a:cubicBezTo>
                  <a:cubicBezTo>
                    <a:pt x="218" y="321"/>
                    <a:pt x="218" y="321"/>
                    <a:pt x="218" y="321"/>
                  </a:cubicBezTo>
                  <a:cubicBezTo>
                    <a:pt x="219" y="325"/>
                    <a:pt x="219" y="325"/>
                    <a:pt x="219" y="325"/>
                  </a:cubicBezTo>
                  <a:cubicBezTo>
                    <a:pt x="220" y="328"/>
                    <a:pt x="220" y="328"/>
                    <a:pt x="220" y="328"/>
                  </a:cubicBezTo>
                  <a:cubicBezTo>
                    <a:pt x="219" y="333"/>
                    <a:pt x="219" y="333"/>
                    <a:pt x="219" y="333"/>
                  </a:cubicBezTo>
                  <a:cubicBezTo>
                    <a:pt x="220" y="336"/>
                    <a:pt x="220" y="336"/>
                    <a:pt x="220" y="336"/>
                  </a:cubicBezTo>
                  <a:cubicBezTo>
                    <a:pt x="220" y="339"/>
                    <a:pt x="220" y="339"/>
                    <a:pt x="220" y="339"/>
                  </a:cubicBezTo>
                  <a:cubicBezTo>
                    <a:pt x="219" y="344"/>
                    <a:pt x="219" y="344"/>
                    <a:pt x="219" y="344"/>
                  </a:cubicBezTo>
                  <a:cubicBezTo>
                    <a:pt x="217" y="349"/>
                    <a:pt x="217" y="349"/>
                    <a:pt x="217" y="349"/>
                  </a:cubicBezTo>
                  <a:cubicBezTo>
                    <a:pt x="214" y="353"/>
                    <a:pt x="214" y="353"/>
                    <a:pt x="214" y="353"/>
                  </a:cubicBezTo>
                  <a:cubicBezTo>
                    <a:pt x="214" y="355"/>
                    <a:pt x="214" y="355"/>
                    <a:pt x="214" y="355"/>
                  </a:cubicBezTo>
                  <a:cubicBezTo>
                    <a:pt x="216" y="358"/>
                    <a:pt x="216" y="358"/>
                    <a:pt x="216" y="358"/>
                  </a:cubicBezTo>
                  <a:cubicBezTo>
                    <a:pt x="216" y="361"/>
                    <a:pt x="216" y="361"/>
                    <a:pt x="216" y="361"/>
                  </a:cubicBezTo>
                  <a:cubicBezTo>
                    <a:pt x="216" y="363"/>
                    <a:pt x="216" y="363"/>
                    <a:pt x="216" y="363"/>
                  </a:cubicBezTo>
                  <a:cubicBezTo>
                    <a:pt x="218" y="362"/>
                    <a:pt x="218" y="362"/>
                    <a:pt x="218" y="362"/>
                  </a:cubicBezTo>
                  <a:cubicBezTo>
                    <a:pt x="219" y="361"/>
                    <a:pt x="219" y="361"/>
                    <a:pt x="219" y="361"/>
                  </a:cubicBezTo>
                  <a:cubicBezTo>
                    <a:pt x="223" y="359"/>
                    <a:pt x="223" y="359"/>
                    <a:pt x="223" y="359"/>
                  </a:cubicBezTo>
                  <a:cubicBezTo>
                    <a:pt x="225" y="359"/>
                    <a:pt x="225" y="359"/>
                    <a:pt x="225" y="359"/>
                  </a:cubicBezTo>
                  <a:cubicBezTo>
                    <a:pt x="227" y="362"/>
                    <a:pt x="227" y="362"/>
                    <a:pt x="227" y="362"/>
                  </a:cubicBezTo>
                  <a:cubicBezTo>
                    <a:pt x="226" y="365"/>
                    <a:pt x="226" y="365"/>
                    <a:pt x="226" y="365"/>
                  </a:cubicBezTo>
                  <a:cubicBezTo>
                    <a:pt x="228" y="368"/>
                    <a:pt x="228" y="368"/>
                    <a:pt x="228" y="368"/>
                  </a:cubicBezTo>
                  <a:cubicBezTo>
                    <a:pt x="231" y="368"/>
                    <a:pt x="231" y="368"/>
                    <a:pt x="231" y="368"/>
                  </a:cubicBezTo>
                  <a:cubicBezTo>
                    <a:pt x="231" y="370"/>
                    <a:pt x="231" y="370"/>
                    <a:pt x="231" y="370"/>
                  </a:cubicBezTo>
                  <a:cubicBezTo>
                    <a:pt x="228" y="375"/>
                    <a:pt x="228" y="375"/>
                    <a:pt x="228" y="375"/>
                  </a:cubicBezTo>
                  <a:cubicBezTo>
                    <a:pt x="228" y="377"/>
                    <a:pt x="228" y="377"/>
                    <a:pt x="228" y="377"/>
                  </a:cubicBezTo>
                  <a:cubicBezTo>
                    <a:pt x="232" y="378"/>
                    <a:pt x="232" y="378"/>
                    <a:pt x="232" y="378"/>
                  </a:cubicBezTo>
                  <a:cubicBezTo>
                    <a:pt x="234" y="378"/>
                    <a:pt x="234" y="378"/>
                    <a:pt x="234" y="378"/>
                  </a:cubicBezTo>
                  <a:cubicBezTo>
                    <a:pt x="236" y="383"/>
                    <a:pt x="236" y="383"/>
                    <a:pt x="236" y="383"/>
                  </a:cubicBezTo>
                  <a:cubicBezTo>
                    <a:pt x="237" y="387"/>
                    <a:pt x="237" y="387"/>
                    <a:pt x="237" y="387"/>
                  </a:cubicBezTo>
                  <a:cubicBezTo>
                    <a:pt x="243" y="389"/>
                    <a:pt x="243" y="389"/>
                    <a:pt x="243" y="389"/>
                  </a:cubicBezTo>
                  <a:cubicBezTo>
                    <a:pt x="242" y="392"/>
                    <a:pt x="242" y="392"/>
                    <a:pt x="242" y="392"/>
                  </a:cubicBezTo>
                  <a:cubicBezTo>
                    <a:pt x="248" y="392"/>
                    <a:pt x="248" y="392"/>
                    <a:pt x="248" y="392"/>
                  </a:cubicBezTo>
                  <a:cubicBezTo>
                    <a:pt x="249" y="388"/>
                    <a:pt x="249" y="388"/>
                    <a:pt x="249" y="388"/>
                  </a:cubicBezTo>
                  <a:cubicBezTo>
                    <a:pt x="250" y="382"/>
                    <a:pt x="250" y="382"/>
                    <a:pt x="250" y="382"/>
                  </a:cubicBezTo>
                  <a:cubicBezTo>
                    <a:pt x="247" y="377"/>
                    <a:pt x="247" y="377"/>
                    <a:pt x="247" y="377"/>
                  </a:cubicBezTo>
                  <a:cubicBezTo>
                    <a:pt x="249" y="373"/>
                    <a:pt x="249" y="373"/>
                    <a:pt x="249" y="373"/>
                  </a:cubicBezTo>
                  <a:cubicBezTo>
                    <a:pt x="253" y="374"/>
                    <a:pt x="253" y="374"/>
                    <a:pt x="253" y="374"/>
                  </a:cubicBezTo>
                  <a:cubicBezTo>
                    <a:pt x="258" y="371"/>
                    <a:pt x="258" y="371"/>
                    <a:pt x="258" y="371"/>
                  </a:cubicBezTo>
                  <a:cubicBezTo>
                    <a:pt x="263" y="374"/>
                    <a:pt x="263" y="374"/>
                    <a:pt x="263" y="374"/>
                  </a:cubicBezTo>
                  <a:cubicBezTo>
                    <a:pt x="269" y="372"/>
                    <a:pt x="269" y="372"/>
                    <a:pt x="269" y="372"/>
                  </a:cubicBezTo>
                  <a:cubicBezTo>
                    <a:pt x="274" y="372"/>
                    <a:pt x="274" y="372"/>
                    <a:pt x="274" y="372"/>
                  </a:cubicBezTo>
                  <a:cubicBezTo>
                    <a:pt x="279" y="368"/>
                    <a:pt x="279" y="368"/>
                    <a:pt x="279" y="368"/>
                  </a:cubicBezTo>
                  <a:cubicBezTo>
                    <a:pt x="282" y="369"/>
                    <a:pt x="282" y="369"/>
                    <a:pt x="282" y="369"/>
                  </a:cubicBezTo>
                  <a:cubicBezTo>
                    <a:pt x="285" y="371"/>
                    <a:pt x="285" y="371"/>
                    <a:pt x="285" y="371"/>
                  </a:cubicBezTo>
                  <a:cubicBezTo>
                    <a:pt x="288" y="372"/>
                    <a:pt x="288" y="372"/>
                    <a:pt x="288" y="372"/>
                  </a:cubicBezTo>
                  <a:cubicBezTo>
                    <a:pt x="288" y="377"/>
                    <a:pt x="288" y="377"/>
                    <a:pt x="288" y="377"/>
                  </a:cubicBezTo>
                  <a:cubicBezTo>
                    <a:pt x="290" y="381"/>
                    <a:pt x="290" y="381"/>
                    <a:pt x="290" y="381"/>
                  </a:cubicBezTo>
                  <a:cubicBezTo>
                    <a:pt x="292" y="383"/>
                    <a:pt x="292" y="383"/>
                    <a:pt x="292" y="383"/>
                  </a:cubicBezTo>
                  <a:cubicBezTo>
                    <a:pt x="296" y="385"/>
                    <a:pt x="296" y="385"/>
                    <a:pt x="296" y="385"/>
                  </a:cubicBezTo>
                  <a:cubicBezTo>
                    <a:pt x="299" y="384"/>
                    <a:pt x="299" y="384"/>
                    <a:pt x="299" y="384"/>
                  </a:cubicBezTo>
                  <a:cubicBezTo>
                    <a:pt x="303" y="386"/>
                    <a:pt x="303" y="386"/>
                    <a:pt x="303" y="386"/>
                  </a:cubicBezTo>
                  <a:cubicBezTo>
                    <a:pt x="304" y="386"/>
                    <a:pt x="304" y="385"/>
                    <a:pt x="304" y="384"/>
                  </a:cubicBezTo>
                  <a:cubicBezTo>
                    <a:pt x="307" y="384"/>
                    <a:pt x="307" y="384"/>
                    <a:pt x="311" y="383"/>
                  </a:cubicBezTo>
                  <a:cubicBezTo>
                    <a:pt x="311" y="385"/>
                    <a:pt x="311" y="385"/>
                    <a:pt x="311" y="385"/>
                  </a:cubicBezTo>
                  <a:cubicBezTo>
                    <a:pt x="313" y="386"/>
                    <a:pt x="313" y="384"/>
                    <a:pt x="315" y="385"/>
                  </a:cubicBezTo>
                  <a:cubicBezTo>
                    <a:pt x="315" y="385"/>
                    <a:pt x="316" y="386"/>
                    <a:pt x="315" y="387"/>
                  </a:cubicBezTo>
                  <a:cubicBezTo>
                    <a:pt x="315" y="388"/>
                    <a:pt x="313" y="391"/>
                    <a:pt x="314" y="394"/>
                  </a:cubicBezTo>
                  <a:cubicBezTo>
                    <a:pt x="315" y="394"/>
                    <a:pt x="315" y="394"/>
                    <a:pt x="315" y="394"/>
                  </a:cubicBezTo>
                  <a:cubicBezTo>
                    <a:pt x="316" y="396"/>
                    <a:pt x="317" y="398"/>
                    <a:pt x="317" y="400"/>
                  </a:cubicBezTo>
                  <a:cubicBezTo>
                    <a:pt x="319" y="399"/>
                    <a:pt x="320" y="399"/>
                    <a:pt x="322" y="399"/>
                  </a:cubicBezTo>
                  <a:cubicBezTo>
                    <a:pt x="322" y="395"/>
                    <a:pt x="323" y="396"/>
                    <a:pt x="319" y="393"/>
                  </a:cubicBezTo>
                  <a:cubicBezTo>
                    <a:pt x="320" y="393"/>
                    <a:pt x="321" y="393"/>
                    <a:pt x="321" y="393"/>
                  </a:cubicBezTo>
                  <a:cubicBezTo>
                    <a:pt x="322" y="393"/>
                    <a:pt x="321" y="391"/>
                    <a:pt x="322" y="390"/>
                  </a:cubicBezTo>
                  <a:cubicBezTo>
                    <a:pt x="323" y="389"/>
                    <a:pt x="326" y="389"/>
                    <a:pt x="327" y="388"/>
                  </a:cubicBezTo>
                  <a:cubicBezTo>
                    <a:pt x="327" y="388"/>
                    <a:pt x="330" y="385"/>
                    <a:pt x="330" y="385"/>
                  </a:cubicBezTo>
                  <a:cubicBezTo>
                    <a:pt x="331" y="384"/>
                    <a:pt x="331" y="385"/>
                    <a:pt x="332" y="385"/>
                  </a:cubicBezTo>
                  <a:cubicBezTo>
                    <a:pt x="332" y="383"/>
                    <a:pt x="332" y="383"/>
                    <a:pt x="332" y="383"/>
                  </a:cubicBezTo>
                  <a:cubicBezTo>
                    <a:pt x="334" y="383"/>
                    <a:pt x="333" y="384"/>
                    <a:pt x="334" y="384"/>
                  </a:cubicBezTo>
                  <a:cubicBezTo>
                    <a:pt x="335" y="383"/>
                    <a:pt x="335" y="381"/>
                    <a:pt x="335" y="381"/>
                  </a:cubicBezTo>
                  <a:cubicBezTo>
                    <a:pt x="337" y="381"/>
                    <a:pt x="336" y="382"/>
                    <a:pt x="337" y="382"/>
                  </a:cubicBezTo>
                  <a:cubicBezTo>
                    <a:pt x="339" y="381"/>
                    <a:pt x="339" y="381"/>
                    <a:pt x="339" y="381"/>
                  </a:cubicBezTo>
                  <a:cubicBezTo>
                    <a:pt x="341" y="380"/>
                    <a:pt x="345" y="381"/>
                    <a:pt x="347" y="381"/>
                  </a:cubicBezTo>
                  <a:cubicBezTo>
                    <a:pt x="347" y="380"/>
                    <a:pt x="351" y="374"/>
                    <a:pt x="351" y="374"/>
                  </a:cubicBezTo>
                  <a:cubicBezTo>
                    <a:pt x="352" y="374"/>
                    <a:pt x="352" y="374"/>
                    <a:pt x="352" y="374"/>
                  </a:cubicBezTo>
                  <a:cubicBezTo>
                    <a:pt x="352" y="374"/>
                    <a:pt x="354" y="369"/>
                    <a:pt x="352" y="371"/>
                  </a:cubicBezTo>
                  <a:cubicBezTo>
                    <a:pt x="352" y="369"/>
                    <a:pt x="352" y="369"/>
                    <a:pt x="352" y="369"/>
                  </a:cubicBezTo>
                  <a:cubicBezTo>
                    <a:pt x="352" y="369"/>
                    <a:pt x="354" y="370"/>
                    <a:pt x="354" y="370"/>
                  </a:cubicBezTo>
                  <a:cubicBezTo>
                    <a:pt x="355" y="371"/>
                    <a:pt x="355" y="372"/>
                    <a:pt x="356" y="373"/>
                  </a:cubicBezTo>
                  <a:cubicBezTo>
                    <a:pt x="357" y="373"/>
                    <a:pt x="359" y="372"/>
                    <a:pt x="360" y="374"/>
                  </a:cubicBezTo>
                  <a:cubicBezTo>
                    <a:pt x="360" y="374"/>
                    <a:pt x="360" y="374"/>
                    <a:pt x="360" y="374"/>
                  </a:cubicBezTo>
                  <a:cubicBezTo>
                    <a:pt x="361" y="374"/>
                    <a:pt x="361" y="374"/>
                    <a:pt x="362" y="374"/>
                  </a:cubicBezTo>
                  <a:cubicBezTo>
                    <a:pt x="362" y="373"/>
                    <a:pt x="362" y="373"/>
                    <a:pt x="362" y="373"/>
                  </a:cubicBezTo>
                  <a:cubicBezTo>
                    <a:pt x="364" y="372"/>
                    <a:pt x="366" y="371"/>
                    <a:pt x="367" y="371"/>
                  </a:cubicBezTo>
                  <a:cubicBezTo>
                    <a:pt x="369" y="371"/>
                    <a:pt x="370" y="372"/>
                    <a:pt x="372" y="372"/>
                  </a:cubicBezTo>
                  <a:cubicBezTo>
                    <a:pt x="372" y="371"/>
                    <a:pt x="372" y="371"/>
                    <a:pt x="372" y="371"/>
                  </a:cubicBezTo>
                  <a:cubicBezTo>
                    <a:pt x="372" y="370"/>
                    <a:pt x="374" y="370"/>
                    <a:pt x="375" y="369"/>
                  </a:cubicBezTo>
                  <a:cubicBezTo>
                    <a:pt x="375" y="368"/>
                    <a:pt x="375" y="366"/>
                    <a:pt x="375" y="366"/>
                  </a:cubicBezTo>
                  <a:cubicBezTo>
                    <a:pt x="375" y="364"/>
                    <a:pt x="375" y="364"/>
                    <a:pt x="375" y="364"/>
                  </a:cubicBezTo>
                  <a:cubicBezTo>
                    <a:pt x="375" y="363"/>
                    <a:pt x="378" y="363"/>
                    <a:pt x="379" y="362"/>
                  </a:cubicBezTo>
                  <a:cubicBezTo>
                    <a:pt x="379" y="362"/>
                    <a:pt x="379" y="360"/>
                    <a:pt x="379" y="360"/>
                  </a:cubicBezTo>
                  <a:cubicBezTo>
                    <a:pt x="380" y="360"/>
                    <a:pt x="380" y="361"/>
                    <a:pt x="381" y="361"/>
                  </a:cubicBezTo>
                  <a:cubicBezTo>
                    <a:pt x="382" y="360"/>
                    <a:pt x="382" y="359"/>
                    <a:pt x="383" y="359"/>
                  </a:cubicBezTo>
                  <a:cubicBezTo>
                    <a:pt x="383" y="358"/>
                    <a:pt x="383" y="357"/>
                    <a:pt x="383" y="357"/>
                  </a:cubicBezTo>
                  <a:cubicBezTo>
                    <a:pt x="384" y="356"/>
                    <a:pt x="386" y="357"/>
                    <a:pt x="387" y="356"/>
                  </a:cubicBezTo>
                  <a:cubicBezTo>
                    <a:pt x="387" y="356"/>
                    <a:pt x="388" y="354"/>
                    <a:pt x="388" y="354"/>
                  </a:cubicBezTo>
                  <a:cubicBezTo>
                    <a:pt x="388" y="356"/>
                    <a:pt x="388" y="351"/>
                    <a:pt x="388" y="351"/>
                  </a:cubicBezTo>
                  <a:cubicBezTo>
                    <a:pt x="389" y="350"/>
                    <a:pt x="397" y="349"/>
                    <a:pt x="397" y="349"/>
                  </a:cubicBezTo>
                  <a:cubicBezTo>
                    <a:pt x="398" y="348"/>
                    <a:pt x="396" y="347"/>
                    <a:pt x="396" y="347"/>
                  </a:cubicBezTo>
                  <a:cubicBezTo>
                    <a:pt x="396" y="344"/>
                    <a:pt x="397" y="346"/>
                    <a:pt x="398" y="345"/>
                  </a:cubicBezTo>
                  <a:cubicBezTo>
                    <a:pt x="398" y="343"/>
                    <a:pt x="398" y="343"/>
                    <a:pt x="398" y="343"/>
                  </a:cubicBezTo>
                  <a:cubicBezTo>
                    <a:pt x="397" y="344"/>
                    <a:pt x="398" y="341"/>
                    <a:pt x="398" y="341"/>
                  </a:cubicBezTo>
                  <a:cubicBezTo>
                    <a:pt x="399" y="341"/>
                    <a:pt x="401" y="341"/>
                    <a:pt x="402" y="341"/>
                  </a:cubicBezTo>
                  <a:cubicBezTo>
                    <a:pt x="403" y="340"/>
                    <a:pt x="402" y="340"/>
                    <a:pt x="403" y="339"/>
                  </a:cubicBezTo>
                  <a:cubicBezTo>
                    <a:pt x="403" y="338"/>
                    <a:pt x="403" y="335"/>
                    <a:pt x="402" y="333"/>
                  </a:cubicBezTo>
                  <a:cubicBezTo>
                    <a:pt x="402" y="333"/>
                    <a:pt x="400" y="333"/>
                    <a:pt x="399" y="333"/>
                  </a:cubicBezTo>
                  <a:cubicBezTo>
                    <a:pt x="400" y="331"/>
                    <a:pt x="400" y="331"/>
                    <a:pt x="400" y="331"/>
                  </a:cubicBezTo>
                  <a:cubicBezTo>
                    <a:pt x="400" y="331"/>
                    <a:pt x="401" y="331"/>
                    <a:pt x="402" y="331"/>
                  </a:cubicBezTo>
                  <a:cubicBezTo>
                    <a:pt x="402" y="330"/>
                    <a:pt x="401" y="327"/>
                    <a:pt x="402" y="326"/>
                  </a:cubicBezTo>
                  <a:cubicBezTo>
                    <a:pt x="403" y="324"/>
                    <a:pt x="406" y="325"/>
                    <a:pt x="408" y="323"/>
                  </a:cubicBezTo>
                  <a:cubicBezTo>
                    <a:pt x="408" y="323"/>
                    <a:pt x="408" y="322"/>
                    <a:pt x="408" y="321"/>
                  </a:cubicBezTo>
                  <a:cubicBezTo>
                    <a:pt x="408" y="321"/>
                    <a:pt x="411" y="320"/>
                    <a:pt x="411" y="319"/>
                  </a:cubicBezTo>
                  <a:cubicBezTo>
                    <a:pt x="412" y="318"/>
                    <a:pt x="411" y="316"/>
                    <a:pt x="411" y="315"/>
                  </a:cubicBezTo>
                  <a:cubicBezTo>
                    <a:pt x="411" y="314"/>
                    <a:pt x="413" y="314"/>
                    <a:pt x="413" y="313"/>
                  </a:cubicBezTo>
                  <a:cubicBezTo>
                    <a:pt x="413" y="313"/>
                    <a:pt x="413" y="313"/>
                    <a:pt x="412" y="313"/>
                  </a:cubicBezTo>
                  <a:cubicBezTo>
                    <a:pt x="410" y="311"/>
                    <a:pt x="414" y="313"/>
                    <a:pt x="415" y="312"/>
                  </a:cubicBezTo>
                  <a:cubicBezTo>
                    <a:pt x="416" y="312"/>
                    <a:pt x="416" y="309"/>
                    <a:pt x="416" y="309"/>
                  </a:cubicBezTo>
                  <a:cubicBezTo>
                    <a:pt x="416" y="309"/>
                    <a:pt x="419" y="309"/>
                    <a:pt x="420" y="309"/>
                  </a:cubicBezTo>
                  <a:cubicBezTo>
                    <a:pt x="420" y="309"/>
                    <a:pt x="420" y="307"/>
                    <a:pt x="420" y="307"/>
                  </a:cubicBezTo>
                  <a:cubicBezTo>
                    <a:pt x="419" y="306"/>
                    <a:pt x="418" y="305"/>
                    <a:pt x="417" y="305"/>
                  </a:cubicBezTo>
                  <a:cubicBezTo>
                    <a:pt x="417" y="303"/>
                    <a:pt x="418" y="304"/>
                    <a:pt x="418" y="303"/>
                  </a:cubicBezTo>
                  <a:cubicBezTo>
                    <a:pt x="418" y="298"/>
                    <a:pt x="418" y="298"/>
                    <a:pt x="418" y="298"/>
                  </a:cubicBezTo>
                  <a:cubicBezTo>
                    <a:pt x="420" y="298"/>
                    <a:pt x="422" y="298"/>
                    <a:pt x="423" y="298"/>
                  </a:cubicBezTo>
                  <a:cubicBezTo>
                    <a:pt x="420" y="296"/>
                    <a:pt x="424" y="292"/>
                    <a:pt x="422" y="291"/>
                  </a:cubicBezTo>
                  <a:cubicBezTo>
                    <a:pt x="423" y="291"/>
                    <a:pt x="423" y="291"/>
                    <a:pt x="424" y="291"/>
                  </a:cubicBezTo>
                  <a:cubicBezTo>
                    <a:pt x="425" y="290"/>
                    <a:pt x="425" y="290"/>
                    <a:pt x="425" y="290"/>
                  </a:cubicBezTo>
                  <a:cubicBezTo>
                    <a:pt x="425" y="290"/>
                    <a:pt x="425" y="288"/>
                    <a:pt x="424" y="288"/>
                  </a:cubicBezTo>
                  <a:cubicBezTo>
                    <a:pt x="423" y="287"/>
                    <a:pt x="422" y="288"/>
                    <a:pt x="421" y="287"/>
                  </a:cubicBezTo>
                  <a:cubicBezTo>
                    <a:pt x="420" y="286"/>
                    <a:pt x="420" y="286"/>
                    <a:pt x="420" y="286"/>
                  </a:cubicBezTo>
                  <a:cubicBezTo>
                    <a:pt x="418" y="286"/>
                    <a:pt x="416" y="288"/>
                    <a:pt x="413" y="287"/>
                  </a:cubicBezTo>
                  <a:cubicBezTo>
                    <a:pt x="412" y="286"/>
                    <a:pt x="412" y="285"/>
                    <a:pt x="413" y="285"/>
                  </a:cubicBezTo>
                  <a:cubicBezTo>
                    <a:pt x="416" y="283"/>
                    <a:pt x="418" y="281"/>
                    <a:pt x="420" y="279"/>
                  </a:cubicBezTo>
                  <a:cubicBezTo>
                    <a:pt x="418" y="273"/>
                    <a:pt x="416" y="268"/>
                    <a:pt x="408" y="271"/>
                  </a:cubicBezTo>
                  <a:cubicBezTo>
                    <a:pt x="408" y="270"/>
                    <a:pt x="407" y="269"/>
                    <a:pt x="406" y="268"/>
                  </a:cubicBezTo>
                  <a:cubicBezTo>
                    <a:pt x="410" y="268"/>
                    <a:pt x="413" y="268"/>
                    <a:pt x="416" y="269"/>
                  </a:cubicBezTo>
                  <a:cubicBezTo>
                    <a:pt x="416" y="268"/>
                    <a:pt x="416" y="266"/>
                    <a:pt x="416" y="266"/>
                  </a:cubicBezTo>
                  <a:cubicBezTo>
                    <a:pt x="412" y="260"/>
                    <a:pt x="408" y="256"/>
                    <a:pt x="406" y="248"/>
                  </a:cubicBezTo>
                  <a:cubicBezTo>
                    <a:pt x="404" y="249"/>
                    <a:pt x="404" y="249"/>
                    <a:pt x="402" y="249"/>
                  </a:cubicBezTo>
                  <a:cubicBezTo>
                    <a:pt x="402" y="248"/>
                    <a:pt x="403" y="248"/>
                    <a:pt x="404" y="247"/>
                  </a:cubicBezTo>
                  <a:cubicBezTo>
                    <a:pt x="402" y="243"/>
                    <a:pt x="397" y="236"/>
                    <a:pt x="400" y="229"/>
                  </a:cubicBezTo>
                  <a:cubicBezTo>
                    <a:pt x="401" y="226"/>
                    <a:pt x="404" y="226"/>
                    <a:pt x="405" y="224"/>
                  </a:cubicBezTo>
                  <a:cubicBezTo>
                    <a:pt x="405" y="224"/>
                    <a:pt x="405" y="222"/>
                    <a:pt x="404" y="221"/>
                  </a:cubicBezTo>
                  <a:cubicBezTo>
                    <a:pt x="407" y="220"/>
                    <a:pt x="409" y="219"/>
                    <a:pt x="410" y="216"/>
                  </a:cubicBezTo>
                  <a:cubicBezTo>
                    <a:pt x="411" y="216"/>
                    <a:pt x="410" y="215"/>
                    <a:pt x="411" y="214"/>
                  </a:cubicBezTo>
                  <a:cubicBezTo>
                    <a:pt x="412" y="214"/>
                    <a:pt x="414" y="214"/>
                    <a:pt x="415" y="213"/>
                  </a:cubicBezTo>
                  <a:cubicBezTo>
                    <a:pt x="415" y="213"/>
                    <a:pt x="416" y="211"/>
                    <a:pt x="416" y="211"/>
                  </a:cubicBezTo>
                  <a:cubicBezTo>
                    <a:pt x="417" y="211"/>
                    <a:pt x="419" y="211"/>
                    <a:pt x="420" y="211"/>
                  </a:cubicBezTo>
                  <a:cubicBezTo>
                    <a:pt x="420" y="211"/>
                    <a:pt x="420" y="210"/>
                    <a:pt x="420" y="209"/>
                  </a:cubicBezTo>
                  <a:cubicBezTo>
                    <a:pt x="421" y="209"/>
                    <a:pt x="421" y="208"/>
                    <a:pt x="422" y="208"/>
                  </a:cubicBezTo>
                  <a:cubicBezTo>
                    <a:pt x="422" y="208"/>
                    <a:pt x="423" y="209"/>
                    <a:pt x="424" y="209"/>
                  </a:cubicBezTo>
                  <a:cubicBezTo>
                    <a:pt x="425" y="209"/>
                    <a:pt x="425" y="208"/>
                    <a:pt x="426" y="208"/>
                  </a:cubicBezTo>
                  <a:cubicBezTo>
                    <a:pt x="427" y="207"/>
                    <a:pt x="428" y="205"/>
                    <a:pt x="429" y="203"/>
                  </a:cubicBezTo>
                  <a:cubicBezTo>
                    <a:pt x="429" y="202"/>
                    <a:pt x="429" y="202"/>
                    <a:pt x="429" y="202"/>
                  </a:cubicBezTo>
                  <a:cubicBezTo>
                    <a:pt x="428" y="201"/>
                    <a:pt x="425" y="200"/>
                    <a:pt x="425" y="200"/>
                  </a:cubicBezTo>
                  <a:cubicBezTo>
                    <a:pt x="422" y="200"/>
                    <a:pt x="421" y="203"/>
                    <a:pt x="417" y="202"/>
                  </a:cubicBezTo>
                  <a:cubicBezTo>
                    <a:pt x="416" y="201"/>
                    <a:pt x="416" y="199"/>
                    <a:pt x="415" y="199"/>
                  </a:cubicBezTo>
                  <a:cubicBezTo>
                    <a:pt x="413" y="198"/>
                    <a:pt x="408" y="198"/>
                    <a:pt x="406" y="199"/>
                  </a:cubicBezTo>
                  <a:cubicBezTo>
                    <a:pt x="406" y="199"/>
                    <a:pt x="406" y="201"/>
                    <a:pt x="406" y="201"/>
                  </a:cubicBezTo>
                  <a:cubicBezTo>
                    <a:pt x="405" y="202"/>
                    <a:pt x="403" y="202"/>
                    <a:pt x="402" y="202"/>
                  </a:cubicBezTo>
                  <a:cubicBezTo>
                    <a:pt x="401" y="203"/>
                    <a:pt x="401" y="205"/>
                    <a:pt x="400" y="206"/>
                  </a:cubicBezTo>
                  <a:cubicBezTo>
                    <a:pt x="400" y="206"/>
                    <a:pt x="398" y="206"/>
                    <a:pt x="397" y="206"/>
                  </a:cubicBezTo>
                  <a:cubicBezTo>
                    <a:pt x="398" y="206"/>
                    <a:pt x="396" y="207"/>
                    <a:pt x="396" y="207"/>
                  </a:cubicBezTo>
                  <a:cubicBezTo>
                    <a:pt x="395" y="207"/>
                    <a:pt x="394" y="207"/>
                    <a:pt x="394" y="206"/>
                  </a:cubicBezTo>
                  <a:cubicBezTo>
                    <a:pt x="392" y="205"/>
                    <a:pt x="393" y="203"/>
                    <a:pt x="392" y="201"/>
                  </a:cubicBezTo>
                  <a:cubicBezTo>
                    <a:pt x="391" y="200"/>
                    <a:pt x="390" y="197"/>
                    <a:pt x="389" y="197"/>
                  </a:cubicBezTo>
                  <a:cubicBezTo>
                    <a:pt x="388" y="197"/>
                    <a:pt x="388" y="197"/>
                    <a:pt x="388" y="197"/>
                  </a:cubicBezTo>
                  <a:cubicBezTo>
                    <a:pt x="386" y="195"/>
                    <a:pt x="385" y="191"/>
                    <a:pt x="385" y="188"/>
                  </a:cubicBezTo>
                  <a:cubicBezTo>
                    <a:pt x="384" y="189"/>
                    <a:pt x="385" y="184"/>
                    <a:pt x="385" y="184"/>
                  </a:cubicBezTo>
                  <a:cubicBezTo>
                    <a:pt x="385" y="184"/>
                    <a:pt x="386" y="183"/>
                    <a:pt x="386" y="183"/>
                  </a:cubicBezTo>
                  <a:cubicBezTo>
                    <a:pt x="388" y="182"/>
                    <a:pt x="392" y="184"/>
                    <a:pt x="394" y="183"/>
                  </a:cubicBezTo>
                  <a:cubicBezTo>
                    <a:pt x="395" y="183"/>
                    <a:pt x="397" y="178"/>
                    <a:pt x="398" y="177"/>
                  </a:cubicBezTo>
                  <a:cubicBezTo>
                    <a:pt x="399" y="176"/>
                    <a:pt x="402" y="173"/>
                    <a:pt x="403" y="173"/>
                  </a:cubicBezTo>
                  <a:cubicBezTo>
                    <a:pt x="404" y="173"/>
                    <a:pt x="405" y="173"/>
                    <a:pt x="405" y="173"/>
                  </a:cubicBezTo>
                  <a:cubicBezTo>
                    <a:pt x="406" y="173"/>
                    <a:pt x="407" y="170"/>
                    <a:pt x="408" y="170"/>
                  </a:cubicBezTo>
                  <a:cubicBezTo>
                    <a:pt x="409" y="170"/>
                    <a:pt x="409" y="170"/>
                    <a:pt x="409" y="170"/>
                  </a:cubicBezTo>
                  <a:cubicBezTo>
                    <a:pt x="410" y="168"/>
                    <a:pt x="409" y="167"/>
                    <a:pt x="410" y="165"/>
                  </a:cubicBezTo>
                  <a:cubicBezTo>
                    <a:pt x="411" y="163"/>
                    <a:pt x="414" y="161"/>
                    <a:pt x="416" y="159"/>
                  </a:cubicBezTo>
                  <a:cubicBezTo>
                    <a:pt x="419" y="160"/>
                    <a:pt x="423" y="161"/>
                    <a:pt x="426" y="162"/>
                  </a:cubicBezTo>
                  <a:cubicBezTo>
                    <a:pt x="424" y="166"/>
                    <a:pt x="422" y="170"/>
                    <a:pt x="420" y="174"/>
                  </a:cubicBezTo>
                  <a:cubicBezTo>
                    <a:pt x="420" y="174"/>
                    <a:pt x="418" y="175"/>
                    <a:pt x="418" y="175"/>
                  </a:cubicBezTo>
                  <a:cubicBezTo>
                    <a:pt x="418" y="176"/>
                    <a:pt x="418" y="179"/>
                    <a:pt x="418" y="180"/>
                  </a:cubicBezTo>
                  <a:cubicBezTo>
                    <a:pt x="418" y="180"/>
                    <a:pt x="421" y="180"/>
                    <a:pt x="421" y="180"/>
                  </a:cubicBezTo>
                  <a:cubicBezTo>
                    <a:pt x="420" y="180"/>
                    <a:pt x="416" y="185"/>
                    <a:pt x="418" y="186"/>
                  </a:cubicBezTo>
                  <a:cubicBezTo>
                    <a:pt x="418" y="186"/>
                    <a:pt x="420" y="187"/>
                    <a:pt x="419" y="186"/>
                  </a:cubicBezTo>
                  <a:cubicBezTo>
                    <a:pt x="419" y="186"/>
                    <a:pt x="421" y="186"/>
                    <a:pt x="421" y="186"/>
                  </a:cubicBezTo>
                  <a:cubicBezTo>
                    <a:pt x="421" y="185"/>
                    <a:pt x="422" y="184"/>
                    <a:pt x="421" y="183"/>
                  </a:cubicBezTo>
                  <a:cubicBezTo>
                    <a:pt x="425" y="181"/>
                    <a:pt x="434" y="171"/>
                    <a:pt x="441" y="173"/>
                  </a:cubicBezTo>
                  <a:cubicBezTo>
                    <a:pt x="441" y="173"/>
                    <a:pt x="443" y="175"/>
                    <a:pt x="443" y="175"/>
                  </a:cubicBezTo>
                  <a:cubicBezTo>
                    <a:pt x="445" y="175"/>
                    <a:pt x="444" y="173"/>
                    <a:pt x="446" y="174"/>
                  </a:cubicBezTo>
                  <a:cubicBezTo>
                    <a:pt x="446" y="174"/>
                    <a:pt x="447" y="174"/>
                    <a:pt x="447" y="174"/>
                  </a:cubicBezTo>
                  <a:cubicBezTo>
                    <a:pt x="450" y="168"/>
                    <a:pt x="450" y="168"/>
                    <a:pt x="450" y="168"/>
                  </a:cubicBezTo>
                  <a:cubicBezTo>
                    <a:pt x="453" y="165"/>
                    <a:pt x="453" y="165"/>
                    <a:pt x="453" y="165"/>
                  </a:cubicBezTo>
                  <a:cubicBezTo>
                    <a:pt x="457" y="159"/>
                    <a:pt x="457" y="159"/>
                    <a:pt x="457" y="159"/>
                  </a:cubicBezTo>
                  <a:cubicBezTo>
                    <a:pt x="459" y="155"/>
                    <a:pt x="459" y="155"/>
                    <a:pt x="459" y="155"/>
                  </a:cubicBezTo>
                  <a:cubicBezTo>
                    <a:pt x="465" y="150"/>
                    <a:pt x="465" y="150"/>
                    <a:pt x="465" y="150"/>
                  </a:cubicBezTo>
                  <a:cubicBezTo>
                    <a:pt x="464" y="145"/>
                    <a:pt x="464" y="145"/>
                    <a:pt x="464" y="145"/>
                  </a:cubicBezTo>
                  <a:cubicBezTo>
                    <a:pt x="468" y="144"/>
                    <a:pt x="468" y="144"/>
                    <a:pt x="468" y="144"/>
                  </a:cubicBezTo>
                  <a:cubicBezTo>
                    <a:pt x="470" y="147"/>
                    <a:pt x="470" y="147"/>
                    <a:pt x="470" y="147"/>
                  </a:cubicBezTo>
                  <a:cubicBezTo>
                    <a:pt x="474" y="148"/>
                    <a:pt x="474" y="148"/>
                    <a:pt x="474" y="148"/>
                  </a:cubicBezTo>
                  <a:cubicBezTo>
                    <a:pt x="478" y="149"/>
                    <a:pt x="478" y="149"/>
                    <a:pt x="478" y="149"/>
                  </a:cubicBezTo>
                  <a:cubicBezTo>
                    <a:pt x="478" y="146"/>
                    <a:pt x="478" y="146"/>
                    <a:pt x="478" y="146"/>
                  </a:cubicBezTo>
                  <a:cubicBezTo>
                    <a:pt x="478" y="143"/>
                    <a:pt x="478" y="143"/>
                    <a:pt x="478" y="143"/>
                  </a:cubicBezTo>
                  <a:cubicBezTo>
                    <a:pt x="481" y="141"/>
                    <a:pt x="481" y="141"/>
                    <a:pt x="481" y="141"/>
                  </a:cubicBezTo>
                  <a:cubicBezTo>
                    <a:pt x="485" y="141"/>
                    <a:pt x="485" y="141"/>
                    <a:pt x="485" y="141"/>
                  </a:cubicBezTo>
                  <a:cubicBezTo>
                    <a:pt x="487" y="139"/>
                    <a:pt x="487" y="139"/>
                    <a:pt x="487" y="139"/>
                  </a:cubicBezTo>
                  <a:cubicBezTo>
                    <a:pt x="487" y="137"/>
                    <a:pt x="487" y="137"/>
                    <a:pt x="487" y="137"/>
                  </a:cubicBezTo>
                  <a:cubicBezTo>
                    <a:pt x="491" y="135"/>
                    <a:pt x="491" y="135"/>
                    <a:pt x="491" y="135"/>
                  </a:cubicBezTo>
                  <a:cubicBezTo>
                    <a:pt x="492" y="129"/>
                    <a:pt x="492" y="129"/>
                    <a:pt x="492" y="129"/>
                  </a:cubicBezTo>
                  <a:cubicBezTo>
                    <a:pt x="497" y="137"/>
                    <a:pt x="497" y="137"/>
                    <a:pt x="497" y="137"/>
                  </a:cubicBezTo>
                  <a:cubicBezTo>
                    <a:pt x="499" y="134"/>
                    <a:pt x="499" y="134"/>
                    <a:pt x="499" y="134"/>
                  </a:cubicBezTo>
                  <a:cubicBezTo>
                    <a:pt x="498" y="131"/>
                    <a:pt x="498" y="131"/>
                    <a:pt x="498" y="131"/>
                  </a:cubicBezTo>
                  <a:cubicBezTo>
                    <a:pt x="501" y="129"/>
                    <a:pt x="501" y="129"/>
                    <a:pt x="501" y="129"/>
                  </a:cubicBezTo>
                  <a:cubicBezTo>
                    <a:pt x="501" y="125"/>
                    <a:pt x="501" y="125"/>
                    <a:pt x="501" y="125"/>
                  </a:cubicBezTo>
                  <a:cubicBezTo>
                    <a:pt x="501" y="119"/>
                    <a:pt x="501" y="119"/>
                    <a:pt x="501" y="119"/>
                  </a:cubicBezTo>
                  <a:cubicBezTo>
                    <a:pt x="502" y="115"/>
                    <a:pt x="502" y="115"/>
                    <a:pt x="502" y="115"/>
                  </a:cubicBezTo>
                  <a:cubicBezTo>
                    <a:pt x="502" y="111"/>
                    <a:pt x="502" y="111"/>
                    <a:pt x="502" y="111"/>
                  </a:cubicBezTo>
                  <a:cubicBezTo>
                    <a:pt x="505" y="109"/>
                    <a:pt x="505" y="109"/>
                    <a:pt x="505" y="109"/>
                  </a:cubicBezTo>
                  <a:cubicBezTo>
                    <a:pt x="507" y="107"/>
                    <a:pt x="507" y="107"/>
                    <a:pt x="507" y="107"/>
                  </a:cubicBezTo>
                  <a:cubicBezTo>
                    <a:pt x="507" y="107"/>
                    <a:pt x="507" y="107"/>
                    <a:pt x="507" y="107"/>
                  </a:cubicBezTo>
                  <a:cubicBezTo>
                    <a:pt x="507" y="106"/>
                    <a:pt x="506" y="105"/>
                    <a:pt x="507" y="105"/>
                  </a:cubicBezTo>
                  <a:cubicBezTo>
                    <a:pt x="510" y="105"/>
                    <a:pt x="512" y="107"/>
                    <a:pt x="512" y="108"/>
                  </a:cubicBezTo>
                  <a:lnTo>
                    <a:pt x="512" y="109"/>
                  </a:lnTo>
                  <a:close/>
                  <a:moveTo>
                    <a:pt x="236" y="208"/>
                  </a:moveTo>
                  <a:cubicBezTo>
                    <a:pt x="239" y="208"/>
                    <a:pt x="241" y="212"/>
                    <a:pt x="239" y="212"/>
                  </a:cubicBezTo>
                  <a:cubicBezTo>
                    <a:pt x="238" y="211"/>
                    <a:pt x="237" y="211"/>
                    <a:pt x="236" y="210"/>
                  </a:cubicBezTo>
                  <a:cubicBezTo>
                    <a:pt x="236" y="210"/>
                    <a:pt x="236" y="208"/>
                    <a:pt x="236" y="208"/>
                  </a:cubicBezTo>
                  <a:cubicBezTo>
                    <a:pt x="237" y="208"/>
                    <a:pt x="236" y="208"/>
                    <a:pt x="236" y="208"/>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51" name="Freeform 287">
              <a:extLst>
                <a:ext uri="{FF2B5EF4-FFF2-40B4-BE49-F238E27FC236}">
                  <a16:creationId xmlns:a16="http://schemas.microsoft.com/office/drawing/2014/main" id="{AA0E8921-12B4-998D-C623-3963EE7BC5AB}"/>
                </a:ext>
              </a:extLst>
            </p:cNvPr>
            <p:cNvSpPr>
              <a:spLocks noEditPoints="1"/>
            </p:cNvSpPr>
            <p:nvPr/>
          </p:nvSpPr>
          <p:spPr bwMode="auto">
            <a:xfrm>
              <a:off x="8190832" y="2065557"/>
              <a:ext cx="1870063" cy="1498223"/>
            </a:xfrm>
            <a:custGeom>
              <a:avLst/>
              <a:gdLst>
                <a:gd name="T0" fmla="*/ 314 w 531"/>
                <a:gd name="T1" fmla="*/ 425 h 425"/>
                <a:gd name="T2" fmla="*/ 326 w 531"/>
                <a:gd name="T3" fmla="*/ 402 h 425"/>
                <a:gd name="T4" fmla="*/ 341 w 531"/>
                <a:gd name="T5" fmla="*/ 303 h 425"/>
                <a:gd name="T6" fmla="*/ 406 w 531"/>
                <a:gd name="T7" fmla="*/ 277 h 425"/>
                <a:gd name="T8" fmla="*/ 383 w 531"/>
                <a:gd name="T9" fmla="*/ 233 h 425"/>
                <a:gd name="T10" fmla="*/ 528 w 531"/>
                <a:gd name="T11" fmla="*/ 82 h 425"/>
                <a:gd name="T12" fmla="*/ 518 w 531"/>
                <a:gd name="T13" fmla="*/ 70 h 425"/>
                <a:gd name="T14" fmla="*/ 495 w 531"/>
                <a:gd name="T15" fmla="*/ 63 h 425"/>
                <a:gd name="T16" fmla="*/ 468 w 531"/>
                <a:gd name="T17" fmla="*/ 38 h 425"/>
                <a:gd name="T18" fmla="*/ 440 w 531"/>
                <a:gd name="T19" fmla="*/ 4 h 425"/>
                <a:gd name="T20" fmla="*/ 407 w 531"/>
                <a:gd name="T21" fmla="*/ 14 h 425"/>
                <a:gd name="T22" fmla="*/ 399 w 531"/>
                <a:gd name="T23" fmla="*/ 46 h 425"/>
                <a:gd name="T24" fmla="*/ 368 w 531"/>
                <a:gd name="T25" fmla="*/ 76 h 425"/>
                <a:gd name="T26" fmla="*/ 403 w 531"/>
                <a:gd name="T27" fmla="*/ 89 h 425"/>
                <a:gd name="T28" fmla="*/ 356 w 531"/>
                <a:gd name="T29" fmla="*/ 106 h 425"/>
                <a:gd name="T30" fmla="*/ 329 w 531"/>
                <a:gd name="T31" fmla="*/ 126 h 425"/>
                <a:gd name="T32" fmla="*/ 288 w 531"/>
                <a:gd name="T33" fmla="*/ 147 h 425"/>
                <a:gd name="T34" fmla="*/ 229 w 531"/>
                <a:gd name="T35" fmla="*/ 141 h 425"/>
                <a:gd name="T36" fmla="*/ 188 w 531"/>
                <a:gd name="T37" fmla="*/ 118 h 425"/>
                <a:gd name="T38" fmla="*/ 163 w 531"/>
                <a:gd name="T39" fmla="*/ 91 h 425"/>
                <a:gd name="T40" fmla="*/ 133 w 531"/>
                <a:gd name="T41" fmla="*/ 64 h 425"/>
                <a:gd name="T42" fmla="*/ 96 w 531"/>
                <a:gd name="T43" fmla="*/ 80 h 425"/>
                <a:gd name="T44" fmla="*/ 74 w 531"/>
                <a:gd name="T45" fmla="*/ 109 h 425"/>
                <a:gd name="T46" fmla="*/ 62 w 531"/>
                <a:gd name="T47" fmla="*/ 141 h 425"/>
                <a:gd name="T48" fmla="*/ 14 w 531"/>
                <a:gd name="T49" fmla="*/ 167 h 425"/>
                <a:gd name="T50" fmla="*/ 9 w 531"/>
                <a:gd name="T51" fmla="*/ 185 h 425"/>
                <a:gd name="T52" fmla="*/ 10 w 531"/>
                <a:gd name="T53" fmla="*/ 211 h 425"/>
                <a:gd name="T54" fmla="*/ 49 w 531"/>
                <a:gd name="T55" fmla="*/ 220 h 425"/>
                <a:gd name="T56" fmla="*/ 44 w 531"/>
                <a:gd name="T57" fmla="*/ 246 h 425"/>
                <a:gd name="T58" fmla="*/ 52 w 531"/>
                <a:gd name="T59" fmla="*/ 273 h 425"/>
                <a:gd name="T60" fmla="*/ 76 w 531"/>
                <a:gd name="T61" fmla="*/ 290 h 425"/>
                <a:gd name="T62" fmla="*/ 107 w 531"/>
                <a:gd name="T63" fmla="*/ 308 h 425"/>
                <a:gd name="T64" fmla="*/ 144 w 531"/>
                <a:gd name="T65" fmla="*/ 312 h 425"/>
                <a:gd name="T66" fmla="*/ 182 w 531"/>
                <a:gd name="T67" fmla="*/ 307 h 425"/>
                <a:gd name="T68" fmla="*/ 207 w 531"/>
                <a:gd name="T69" fmla="*/ 315 h 425"/>
                <a:gd name="T70" fmla="*/ 220 w 531"/>
                <a:gd name="T71" fmla="*/ 336 h 425"/>
                <a:gd name="T72" fmla="*/ 218 w 531"/>
                <a:gd name="T73" fmla="*/ 362 h 425"/>
                <a:gd name="T74" fmla="*/ 228 w 531"/>
                <a:gd name="T75" fmla="*/ 375 h 425"/>
                <a:gd name="T76" fmla="*/ 249 w 531"/>
                <a:gd name="T77" fmla="*/ 388 h 425"/>
                <a:gd name="T78" fmla="*/ 279 w 531"/>
                <a:gd name="T79" fmla="*/ 368 h 425"/>
                <a:gd name="T80" fmla="*/ 303 w 531"/>
                <a:gd name="T81" fmla="*/ 386 h 425"/>
                <a:gd name="T82" fmla="*/ 322 w 531"/>
                <a:gd name="T83" fmla="*/ 399 h 425"/>
                <a:gd name="T84" fmla="*/ 335 w 531"/>
                <a:gd name="T85" fmla="*/ 381 h 425"/>
                <a:gd name="T86" fmla="*/ 356 w 531"/>
                <a:gd name="T87" fmla="*/ 373 h 425"/>
                <a:gd name="T88" fmla="*/ 375 w 531"/>
                <a:gd name="T89" fmla="*/ 366 h 425"/>
                <a:gd name="T90" fmla="*/ 388 w 531"/>
                <a:gd name="T91" fmla="*/ 351 h 425"/>
                <a:gd name="T92" fmla="*/ 399 w 531"/>
                <a:gd name="T93" fmla="*/ 333 h 425"/>
                <a:gd name="T94" fmla="*/ 412 w 531"/>
                <a:gd name="T95" fmla="*/ 313 h 425"/>
                <a:gd name="T96" fmla="*/ 422 w 531"/>
                <a:gd name="T97" fmla="*/ 291 h 425"/>
                <a:gd name="T98" fmla="*/ 408 w 531"/>
                <a:gd name="T99" fmla="*/ 271 h 425"/>
                <a:gd name="T100" fmla="*/ 404 w 531"/>
                <a:gd name="T101" fmla="*/ 221 h 425"/>
                <a:gd name="T102" fmla="*/ 426 w 531"/>
                <a:gd name="T103" fmla="*/ 208 h 425"/>
                <a:gd name="T104" fmla="*/ 400 w 531"/>
                <a:gd name="T105" fmla="*/ 206 h 425"/>
                <a:gd name="T106" fmla="*/ 386 w 531"/>
                <a:gd name="T107" fmla="*/ 183 h 425"/>
                <a:gd name="T108" fmla="*/ 426 w 531"/>
                <a:gd name="T109" fmla="*/ 162 h 425"/>
                <a:gd name="T110" fmla="*/ 441 w 531"/>
                <a:gd name="T111" fmla="*/ 173 h 425"/>
                <a:gd name="T112" fmla="*/ 464 w 531"/>
                <a:gd name="T113" fmla="*/ 145 h 425"/>
                <a:gd name="T114" fmla="*/ 487 w 531"/>
                <a:gd name="T115" fmla="*/ 139 h 425"/>
                <a:gd name="T116" fmla="*/ 501 w 531"/>
                <a:gd name="T117" fmla="*/ 119 h 425"/>
                <a:gd name="T118" fmla="*/ 236 w 531"/>
                <a:gd name="T119" fmla="*/ 20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1" h="425">
                  <a:moveTo>
                    <a:pt x="326" y="402"/>
                  </a:moveTo>
                  <a:cubicBezTo>
                    <a:pt x="323" y="403"/>
                    <a:pt x="320" y="405"/>
                    <a:pt x="317" y="406"/>
                  </a:cubicBezTo>
                  <a:cubicBezTo>
                    <a:pt x="315" y="406"/>
                    <a:pt x="313" y="406"/>
                    <a:pt x="312" y="406"/>
                  </a:cubicBezTo>
                  <a:cubicBezTo>
                    <a:pt x="311" y="407"/>
                    <a:pt x="312" y="408"/>
                    <a:pt x="311" y="409"/>
                  </a:cubicBezTo>
                  <a:cubicBezTo>
                    <a:pt x="311" y="410"/>
                    <a:pt x="310" y="409"/>
                    <a:pt x="309" y="410"/>
                  </a:cubicBezTo>
                  <a:cubicBezTo>
                    <a:pt x="308" y="411"/>
                    <a:pt x="307" y="411"/>
                    <a:pt x="305" y="412"/>
                  </a:cubicBezTo>
                  <a:cubicBezTo>
                    <a:pt x="306" y="416"/>
                    <a:pt x="305" y="418"/>
                    <a:pt x="307" y="420"/>
                  </a:cubicBezTo>
                  <a:cubicBezTo>
                    <a:pt x="308" y="422"/>
                    <a:pt x="309" y="422"/>
                    <a:pt x="311" y="422"/>
                  </a:cubicBezTo>
                  <a:cubicBezTo>
                    <a:pt x="311" y="423"/>
                    <a:pt x="314" y="425"/>
                    <a:pt x="314" y="425"/>
                  </a:cubicBezTo>
                  <a:cubicBezTo>
                    <a:pt x="315" y="425"/>
                    <a:pt x="320" y="422"/>
                    <a:pt x="321" y="422"/>
                  </a:cubicBezTo>
                  <a:cubicBezTo>
                    <a:pt x="321" y="421"/>
                    <a:pt x="321" y="420"/>
                    <a:pt x="321" y="420"/>
                  </a:cubicBezTo>
                  <a:cubicBezTo>
                    <a:pt x="323" y="419"/>
                    <a:pt x="324" y="420"/>
                    <a:pt x="325" y="418"/>
                  </a:cubicBezTo>
                  <a:cubicBezTo>
                    <a:pt x="326" y="417"/>
                    <a:pt x="325" y="416"/>
                    <a:pt x="325" y="414"/>
                  </a:cubicBezTo>
                  <a:cubicBezTo>
                    <a:pt x="327" y="413"/>
                    <a:pt x="327" y="413"/>
                    <a:pt x="327" y="413"/>
                  </a:cubicBezTo>
                  <a:cubicBezTo>
                    <a:pt x="328" y="408"/>
                    <a:pt x="326" y="410"/>
                    <a:pt x="329" y="408"/>
                  </a:cubicBezTo>
                  <a:cubicBezTo>
                    <a:pt x="329" y="408"/>
                    <a:pt x="330" y="406"/>
                    <a:pt x="329" y="406"/>
                  </a:cubicBezTo>
                  <a:cubicBezTo>
                    <a:pt x="329" y="406"/>
                    <a:pt x="329" y="405"/>
                    <a:pt x="329" y="404"/>
                  </a:cubicBezTo>
                  <a:cubicBezTo>
                    <a:pt x="328" y="404"/>
                    <a:pt x="326" y="403"/>
                    <a:pt x="326" y="402"/>
                  </a:cubicBezTo>
                  <a:close/>
                  <a:moveTo>
                    <a:pt x="343" y="301"/>
                  </a:moveTo>
                  <a:cubicBezTo>
                    <a:pt x="343" y="301"/>
                    <a:pt x="344" y="303"/>
                    <a:pt x="345" y="303"/>
                  </a:cubicBezTo>
                  <a:cubicBezTo>
                    <a:pt x="344" y="303"/>
                    <a:pt x="344" y="303"/>
                    <a:pt x="344" y="305"/>
                  </a:cubicBezTo>
                  <a:cubicBezTo>
                    <a:pt x="343" y="305"/>
                    <a:pt x="342" y="306"/>
                    <a:pt x="342" y="306"/>
                  </a:cubicBezTo>
                  <a:cubicBezTo>
                    <a:pt x="341" y="306"/>
                    <a:pt x="338" y="305"/>
                    <a:pt x="337" y="304"/>
                  </a:cubicBezTo>
                  <a:cubicBezTo>
                    <a:pt x="337" y="303"/>
                    <a:pt x="337" y="303"/>
                    <a:pt x="337" y="303"/>
                  </a:cubicBezTo>
                  <a:cubicBezTo>
                    <a:pt x="338" y="302"/>
                    <a:pt x="337" y="302"/>
                    <a:pt x="339" y="301"/>
                  </a:cubicBezTo>
                  <a:cubicBezTo>
                    <a:pt x="339" y="301"/>
                    <a:pt x="339" y="303"/>
                    <a:pt x="339" y="303"/>
                  </a:cubicBezTo>
                  <a:cubicBezTo>
                    <a:pt x="339" y="303"/>
                    <a:pt x="340" y="304"/>
                    <a:pt x="341" y="303"/>
                  </a:cubicBezTo>
                  <a:cubicBezTo>
                    <a:pt x="341" y="303"/>
                    <a:pt x="341" y="302"/>
                    <a:pt x="341" y="301"/>
                  </a:cubicBezTo>
                  <a:cubicBezTo>
                    <a:pt x="342" y="301"/>
                    <a:pt x="343" y="301"/>
                    <a:pt x="343" y="301"/>
                  </a:cubicBezTo>
                  <a:close/>
                  <a:moveTo>
                    <a:pt x="379" y="296"/>
                  </a:moveTo>
                  <a:cubicBezTo>
                    <a:pt x="384" y="296"/>
                    <a:pt x="378" y="299"/>
                    <a:pt x="377" y="300"/>
                  </a:cubicBezTo>
                  <a:cubicBezTo>
                    <a:pt x="376" y="298"/>
                    <a:pt x="373" y="296"/>
                    <a:pt x="379" y="296"/>
                  </a:cubicBezTo>
                  <a:close/>
                  <a:moveTo>
                    <a:pt x="407" y="272"/>
                  </a:moveTo>
                  <a:cubicBezTo>
                    <a:pt x="409" y="273"/>
                    <a:pt x="409" y="273"/>
                    <a:pt x="409" y="273"/>
                  </a:cubicBezTo>
                  <a:cubicBezTo>
                    <a:pt x="408" y="273"/>
                    <a:pt x="409" y="276"/>
                    <a:pt x="409" y="277"/>
                  </a:cubicBezTo>
                  <a:cubicBezTo>
                    <a:pt x="409" y="277"/>
                    <a:pt x="405" y="277"/>
                    <a:pt x="406" y="277"/>
                  </a:cubicBezTo>
                  <a:cubicBezTo>
                    <a:pt x="406" y="276"/>
                    <a:pt x="405" y="276"/>
                    <a:pt x="404" y="276"/>
                  </a:cubicBezTo>
                  <a:cubicBezTo>
                    <a:pt x="405" y="276"/>
                    <a:pt x="404" y="274"/>
                    <a:pt x="404" y="273"/>
                  </a:cubicBezTo>
                  <a:cubicBezTo>
                    <a:pt x="405" y="273"/>
                    <a:pt x="407" y="273"/>
                    <a:pt x="407" y="272"/>
                  </a:cubicBezTo>
                  <a:close/>
                  <a:moveTo>
                    <a:pt x="418" y="271"/>
                  </a:moveTo>
                  <a:cubicBezTo>
                    <a:pt x="418" y="271"/>
                    <a:pt x="419" y="273"/>
                    <a:pt x="419" y="273"/>
                  </a:cubicBezTo>
                  <a:cubicBezTo>
                    <a:pt x="420" y="273"/>
                    <a:pt x="420" y="271"/>
                    <a:pt x="418" y="271"/>
                  </a:cubicBezTo>
                  <a:close/>
                  <a:moveTo>
                    <a:pt x="383" y="233"/>
                  </a:moveTo>
                  <a:cubicBezTo>
                    <a:pt x="383" y="233"/>
                    <a:pt x="384" y="236"/>
                    <a:pt x="383" y="235"/>
                  </a:cubicBezTo>
                  <a:cubicBezTo>
                    <a:pt x="382" y="235"/>
                    <a:pt x="381" y="232"/>
                    <a:pt x="383" y="233"/>
                  </a:cubicBezTo>
                  <a:close/>
                  <a:moveTo>
                    <a:pt x="512" y="109"/>
                  </a:moveTo>
                  <a:cubicBezTo>
                    <a:pt x="514" y="106"/>
                    <a:pt x="514" y="106"/>
                    <a:pt x="514" y="106"/>
                  </a:cubicBezTo>
                  <a:cubicBezTo>
                    <a:pt x="518" y="104"/>
                    <a:pt x="518" y="104"/>
                    <a:pt x="518" y="104"/>
                  </a:cubicBezTo>
                  <a:cubicBezTo>
                    <a:pt x="519" y="101"/>
                    <a:pt x="519" y="101"/>
                    <a:pt x="519" y="101"/>
                  </a:cubicBezTo>
                  <a:cubicBezTo>
                    <a:pt x="522" y="99"/>
                    <a:pt x="522" y="99"/>
                    <a:pt x="522" y="99"/>
                  </a:cubicBezTo>
                  <a:cubicBezTo>
                    <a:pt x="526" y="96"/>
                    <a:pt x="526" y="96"/>
                    <a:pt x="526" y="96"/>
                  </a:cubicBezTo>
                  <a:cubicBezTo>
                    <a:pt x="528" y="92"/>
                    <a:pt x="528" y="92"/>
                    <a:pt x="528" y="92"/>
                  </a:cubicBezTo>
                  <a:cubicBezTo>
                    <a:pt x="529" y="85"/>
                    <a:pt x="529" y="85"/>
                    <a:pt x="529" y="85"/>
                  </a:cubicBezTo>
                  <a:cubicBezTo>
                    <a:pt x="528" y="82"/>
                    <a:pt x="528" y="82"/>
                    <a:pt x="528" y="82"/>
                  </a:cubicBezTo>
                  <a:cubicBezTo>
                    <a:pt x="531" y="80"/>
                    <a:pt x="531" y="80"/>
                    <a:pt x="531" y="80"/>
                  </a:cubicBezTo>
                  <a:cubicBezTo>
                    <a:pt x="531" y="75"/>
                    <a:pt x="531" y="75"/>
                    <a:pt x="531" y="75"/>
                  </a:cubicBezTo>
                  <a:cubicBezTo>
                    <a:pt x="529" y="73"/>
                    <a:pt x="529" y="73"/>
                    <a:pt x="529" y="73"/>
                  </a:cubicBezTo>
                  <a:cubicBezTo>
                    <a:pt x="529" y="70"/>
                    <a:pt x="529" y="70"/>
                    <a:pt x="529" y="70"/>
                  </a:cubicBezTo>
                  <a:cubicBezTo>
                    <a:pt x="531" y="64"/>
                    <a:pt x="531" y="64"/>
                    <a:pt x="531" y="64"/>
                  </a:cubicBezTo>
                  <a:cubicBezTo>
                    <a:pt x="527" y="66"/>
                    <a:pt x="527" y="66"/>
                    <a:pt x="527" y="66"/>
                  </a:cubicBezTo>
                  <a:cubicBezTo>
                    <a:pt x="525" y="69"/>
                    <a:pt x="525" y="69"/>
                    <a:pt x="525" y="69"/>
                  </a:cubicBezTo>
                  <a:cubicBezTo>
                    <a:pt x="521" y="70"/>
                    <a:pt x="521" y="70"/>
                    <a:pt x="521" y="70"/>
                  </a:cubicBezTo>
                  <a:cubicBezTo>
                    <a:pt x="518" y="70"/>
                    <a:pt x="518" y="70"/>
                    <a:pt x="518" y="70"/>
                  </a:cubicBezTo>
                  <a:cubicBezTo>
                    <a:pt x="515" y="72"/>
                    <a:pt x="515" y="72"/>
                    <a:pt x="515" y="72"/>
                  </a:cubicBezTo>
                  <a:cubicBezTo>
                    <a:pt x="512" y="75"/>
                    <a:pt x="512" y="75"/>
                    <a:pt x="512" y="75"/>
                  </a:cubicBezTo>
                  <a:cubicBezTo>
                    <a:pt x="509" y="77"/>
                    <a:pt x="509" y="77"/>
                    <a:pt x="509" y="77"/>
                  </a:cubicBezTo>
                  <a:cubicBezTo>
                    <a:pt x="506" y="78"/>
                    <a:pt x="506" y="78"/>
                    <a:pt x="506" y="78"/>
                  </a:cubicBezTo>
                  <a:cubicBezTo>
                    <a:pt x="502" y="76"/>
                    <a:pt x="502" y="76"/>
                    <a:pt x="502" y="76"/>
                  </a:cubicBezTo>
                  <a:cubicBezTo>
                    <a:pt x="498" y="74"/>
                    <a:pt x="498" y="74"/>
                    <a:pt x="498" y="74"/>
                  </a:cubicBezTo>
                  <a:cubicBezTo>
                    <a:pt x="496" y="70"/>
                    <a:pt x="496" y="70"/>
                    <a:pt x="496" y="70"/>
                  </a:cubicBezTo>
                  <a:cubicBezTo>
                    <a:pt x="497" y="66"/>
                    <a:pt x="497" y="66"/>
                    <a:pt x="497" y="66"/>
                  </a:cubicBezTo>
                  <a:cubicBezTo>
                    <a:pt x="495" y="63"/>
                    <a:pt x="495" y="63"/>
                    <a:pt x="495" y="63"/>
                  </a:cubicBezTo>
                  <a:cubicBezTo>
                    <a:pt x="492" y="59"/>
                    <a:pt x="492" y="59"/>
                    <a:pt x="492" y="59"/>
                  </a:cubicBezTo>
                  <a:cubicBezTo>
                    <a:pt x="490" y="54"/>
                    <a:pt x="490" y="54"/>
                    <a:pt x="490" y="54"/>
                  </a:cubicBezTo>
                  <a:cubicBezTo>
                    <a:pt x="489" y="51"/>
                    <a:pt x="489" y="51"/>
                    <a:pt x="489" y="51"/>
                  </a:cubicBezTo>
                  <a:cubicBezTo>
                    <a:pt x="486" y="48"/>
                    <a:pt x="486" y="48"/>
                    <a:pt x="486" y="48"/>
                  </a:cubicBezTo>
                  <a:cubicBezTo>
                    <a:pt x="481" y="46"/>
                    <a:pt x="481" y="46"/>
                    <a:pt x="481" y="46"/>
                  </a:cubicBezTo>
                  <a:cubicBezTo>
                    <a:pt x="477" y="46"/>
                    <a:pt x="477" y="46"/>
                    <a:pt x="477" y="46"/>
                  </a:cubicBezTo>
                  <a:cubicBezTo>
                    <a:pt x="474" y="46"/>
                    <a:pt x="474" y="46"/>
                    <a:pt x="474" y="46"/>
                  </a:cubicBezTo>
                  <a:cubicBezTo>
                    <a:pt x="471" y="43"/>
                    <a:pt x="471" y="43"/>
                    <a:pt x="471" y="43"/>
                  </a:cubicBezTo>
                  <a:cubicBezTo>
                    <a:pt x="468" y="38"/>
                    <a:pt x="468" y="38"/>
                    <a:pt x="468" y="38"/>
                  </a:cubicBezTo>
                  <a:cubicBezTo>
                    <a:pt x="464" y="32"/>
                    <a:pt x="464" y="32"/>
                    <a:pt x="464" y="32"/>
                  </a:cubicBezTo>
                  <a:cubicBezTo>
                    <a:pt x="463" y="26"/>
                    <a:pt x="463" y="26"/>
                    <a:pt x="463" y="26"/>
                  </a:cubicBezTo>
                  <a:cubicBezTo>
                    <a:pt x="463" y="23"/>
                    <a:pt x="463" y="23"/>
                    <a:pt x="463" y="23"/>
                  </a:cubicBezTo>
                  <a:cubicBezTo>
                    <a:pt x="460" y="18"/>
                    <a:pt x="460" y="18"/>
                    <a:pt x="460" y="18"/>
                  </a:cubicBezTo>
                  <a:cubicBezTo>
                    <a:pt x="457" y="15"/>
                    <a:pt x="457" y="15"/>
                    <a:pt x="457" y="15"/>
                  </a:cubicBezTo>
                  <a:cubicBezTo>
                    <a:pt x="453" y="11"/>
                    <a:pt x="453" y="11"/>
                    <a:pt x="453" y="11"/>
                  </a:cubicBezTo>
                  <a:cubicBezTo>
                    <a:pt x="447" y="10"/>
                    <a:pt x="447" y="10"/>
                    <a:pt x="447" y="10"/>
                  </a:cubicBezTo>
                  <a:cubicBezTo>
                    <a:pt x="443" y="7"/>
                    <a:pt x="443" y="7"/>
                    <a:pt x="443" y="7"/>
                  </a:cubicBezTo>
                  <a:cubicBezTo>
                    <a:pt x="440" y="4"/>
                    <a:pt x="440" y="4"/>
                    <a:pt x="440" y="4"/>
                  </a:cubicBezTo>
                  <a:cubicBezTo>
                    <a:pt x="437" y="1"/>
                    <a:pt x="437" y="1"/>
                    <a:pt x="437" y="1"/>
                  </a:cubicBezTo>
                  <a:cubicBezTo>
                    <a:pt x="431" y="0"/>
                    <a:pt x="431" y="0"/>
                    <a:pt x="431" y="0"/>
                  </a:cubicBezTo>
                  <a:cubicBezTo>
                    <a:pt x="429" y="1"/>
                    <a:pt x="429" y="1"/>
                    <a:pt x="429" y="1"/>
                  </a:cubicBezTo>
                  <a:cubicBezTo>
                    <a:pt x="424" y="3"/>
                    <a:pt x="424" y="3"/>
                    <a:pt x="424" y="3"/>
                  </a:cubicBezTo>
                  <a:cubicBezTo>
                    <a:pt x="419" y="3"/>
                    <a:pt x="419" y="3"/>
                    <a:pt x="419" y="3"/>
                  </a:cubicBezTo>
                  <a:cubicBezTo>
                    <a:pt x="416" y="6"/>
                    <a:pt x="416" y="6"/>
                    <a:pt x="416" y="6"/>
                  </a:cubicBezTo>
                  <a:cubicBezTo>
                    <a:pt x="412" y="9"/>
                    <a:pt x="412" y="9"/>
                    <a:pt x="412" y="9"/>
                  </a:cubicBezTo>
                  <a:cubicBezTo>
                    <a:pt x="409" y="13"/>
                    <a:pt x="409" y="13"/>
                    <a:pt x="409" y="13"/>
                  </a:cubicBezTo>
                  <a:cubicBezTo>
                    <a:pt x="407" y="14"/>
                    <a:pt x="407" y="14"/>
                    <a:pt x="407" y="14"/>
                  </a:cubicBezTo>
                  <a:cubicBezTo>
                    <a:pt x="407" y="17"/>
                    <a:pt x="407" y="17"/>
                    <a:pt x="407" y="17"/>
                  </a:cubicBezTo>
                  <a:cubicBezTo>
                    <a:pt x="409" y="16"/>
                    <a:pt x="409" y="16"/>
                    <a:pt x="409" y="16"/>
                  </a:cubicBezTo>
                  <a:cubicBezTo>
                    <a:pt x="410" y="21"/>
                    <a:pt x="410" y="21"/>
                    <a:pt x="410" y="21"/>
                  </a:cubicBezTo>
                  <a:cubicBezTo>
                    <a:pt x="409" y="25"/>
                    <a:pt x="409" y="25"/>
                    <a:pt x="409" y="25"/>
                  </a:cubicBezTo>
                  <a:cubicBezTo>
                    <a:pt x="407" y="27"/>
                    <a:pt x="407" y="27"/>
                    <a:pt x="407" y="27"/>
                  </a:cubicBezTo>
                  <a:cubicBezTo>
                    <a:pt x="408" y="32"/>
                    <a:pt x="408" y="32"/>
                    <a:pt x="408" y="32"/>
                  </a:cubicBezTo>
                  <a:cubicBezTo>
                    <a:pt x="405" y="36"/>
                    <a:pt x="405" y="36"/>
                    <a:pt x="405" y="36"/>
                  </a:cubicBezTo>
                  <a:cubicBezTo>
                    <a:pt x="403" y="40"/>
                    <a:pt x="403" y="40"/>
                    <a:pt x="403" y="40"/>
                  </a:cubicBezTo>
                  <a:cubicBezTo>
                    <a:pt x="403" y="40"/>
                    <a:pt x="396" y="45"/>
                    <a:pt x="399" y="46"/>
                  </a:cubicBezTo>
                  <a:cubicBezTo>
                    <a:pt x="399" y="48"/>
                    <a:pt x="393" y="50"/>
                    <a:pt x="393" y="50"/>
                  </a:cubicBezTo>
                  <a:cubicBezTo>
                    <a:pt x="387" y="55"/>
                    <a:pt x="387" y="55"/>
                    <a:pt x="387" y="55"/>
                  </a:cubicBezTo>
                  <a:cubicBezTo>
                    <a:pt x="384" y="52"/>
                    <a:pt x="384" y="52"/>
                    <a:pt x="384" y="52"/>
                  </a:cubicBezTo>
                  <a:cubicBezTo>
                    <a:pt x="378" y="49"/>
                    <a:pt x="378" y="49"/>
                    <a:pt x="378" y="49"/>
                  </a:cubicBezTo>
                  <a:cubicBezTo>
                    <a:pt x="374" y="51"/>
                    <a:pt x="374" y="51"/>
                    <a:pt x="374" y="51"/>
                  </a:cubicBezTo>
                  <a:cubicBezTo>
                    <a:pt x="370" y="61"/>
                    <a:pt x="370" y="61"/>
                    <a:pt x="370" y="61"/>
                  </a:cubicBezTo>
                  <a:cubicBezTo>
                    <a:pt x="370" y="61"/>
                    <a:pt x="370" y="63"/>
                    <a:pt x="371" y="64"/>
                  </a:cubicBezTo>
                  <a:cubicBezTo>
                    <a:pt x="372" y="68"/>
                    <a:pt x="369" y="71"/>
                    <a:pt x="369" y="71"/>
                  </a:cubicBezTo>
                  <a:cubicBezTo>
                    <a:pt x="368" y="76"/>
                    <a:pt x="368" y="76"/>
                    <a:pt x="368" y="76"/>
                  </a:cubicBezTo>
                  <a:cubicBezTo>
                    <a:pt x="375" y="78"/>
                    <a:pt x="375" y="78"/>
                    <a:pt x="375" y="78"/>
                  </a:cubicBezTo>
                  <a:cubicBezTo>
                    <a:pt x="381" y="77"/>
                    <a:pt x="381" y="77"/>
                    <a:pt x="381" y="77"/>
                  </a:cubicBezTo>
                  <a:cubicBezTo>
                    <a:pt x="386" y="72"/>
                    <a:pt x="386" y="72"/>
                    <a:pt x="386" y="72"/>
                  </a:cubicBezTo>
                  <a:cubicBezTo>
                    <a:pt x="389" y="73"/>
                    <a:pt x="389" y="73"/>
                    <a:pt x="389" y="73"/>
                  </a:cubicBezTo>
                  <a:cubicBezTo>
                    <a:pt x="391" y="76"/>
                    <a:pt x="391" y="76"/>
                    <a:pt x="391" y="76"/>
                  </a:cubicBezTo>
                  <a:cubicBezTo>
                    <a:pt x="395" y="79"/>
                    <a:pt x="395" y="79"/>
                    <a:pt x="395" y="79"/>
                  </a:cubicBezTo>
                  <a:cubicBezTo>
                    <a:pt x="401" y="81"/>
                    <a:pt x="401" y="81"/>
                    <a:pt x="401" y="81"/>
                  </a:cubicBezTo>
                  <a:cubicBezTo>
                    <a:pt x="404" y="85"/>
                    <a:pt x="404" y="85"/>
                    <a:pt x="404" y="85"/>
                  </a:cubicBezTo>
                  <a:cubicBezTo>
                    <a:pt x="403" y="89"/>
                    <a:pt x="403" y="89"/>
                    <a:pt x="403" y="89"/>
                  </a:cubicBezTo>
                  <a:cubicBezTo>
                    <a:pt x="403" y="89"/>
                    <a:pt x="398" y="88"/>
                    <a:pt x="395" y="89"/>
                  </a:cubicBezTo>
                  <a:cubicBezTo>
                    <a:pt x="393" y="89"/>
                    <a:pt x="389" y="94"/>
                    <a:pt x="389" y="94"/>
                  </a:cubicBezTo>
                  <a:cubicBezTo>
                    <a:pt x="384" y="93"/>
                    <a:pt x="384" y="93"/>
                    <a:pt x="384" y="93"/>
                  </a:cubicBezTo>
                  <a:cubicBezTo>
                    <a:pt x="377" y="98"/>
                    <a:pt x="377" y="98"/>
                    <a:pt x="377" y="98"/>
                  </a:cubicBezTo>
                  <a:cubicBezTo>
                    <a:pt x="375" y="96"/>
                    <a:pt x="375" y="96"/>
                    <a:pt x="375" y="96"/>
                  </a:cubicBezTo>
                  <a:cubicBezTo>
                    <a:pt x="372" y="96"/>
                    <a:pt x="372" y="96"/>
                    <a:pt x="372" y="96"/>
                  </a:cubicBezTo>
                  <a:cubicBezTo>
                    <a:pt x="370" y="101"/>
                    <a:pt x="370" y="101"/>
                    <a:pt x="370" y="101"/>
                  </a:cubicBezTo>
                  <a:cubicBezTo>
                    <a:pt x="367" y="103"/>
                    <a:pt x="367" y="103"/>
                    <a:pt x="367" y="103"/>
                  </a:cubicBezTo>
                  <a:cubicBezTo>
                    <a:pt x="356" y="106"/>
                    <a:pt x="356" y="106"/>
                    <a:pt x="356" y="106"/>
                  </a:cubicBezTo>
                  <a:cubicBezTo>
                    <a:pt x="354" y="112"/>
                    <a:pt x="354" y="112"/>
                    <a:pt x="354" y="112"/>
                  </a:cubicBezTo>
                  <a:cubicBezTo>
                    <a:pt x="347" y="116"/>
                    <a:pt x="347" y="116"/>
                    <a:pt x="347" y="116"/>
                  </a:cubicBezTo>
                  <a:cubicBezTo>
                    <a:pt x="342" y="114"/>
                    <a:pt x="342" y="114"/>
                    <a:pt x="342" y="114"/>
                  </a:cubicBezTo>
                  <a:cubicBezTo>
                    <a:pt x="338" y="110"/>
                    <a:pt x="338" y="110"/>
                    <a:pt x="338" y="110"/>
                  </a:cubicBezTo>
                  <a:cubicBezTo>
                    <a:pt x="334" y="109"/>
                    <a:pt x="334" y="109"/>
                    <a:pt x="334" y="109"/>
                  </a:cubicBezTo>
                  <a:cubicBezTo>
                    <a:pt x="330" y="111"/>
                    <a:pt x="330" y="111"/>
                    <a:pt x="330" y="111"/>
                  </a:cubicBezTo>
                  <a:cubicBezTo>
                    <a:pt x="328" y="116"/>
                    <a:pt x="328" y="116"/>
                    <a:pt x="328" y="116"/>
                  </a:cubicBezTo>
                  <a:cubicBezTo>
                    <a:pt x="328" y="121"/>
                    <a:pt x="328" y="121"/>
                    <a:pt x="328" y="121"/>
                  </a:cubicBezTo>
                  <a:cubicBezTo>
                    <a:pt x="329" y="126"/>
                    <a:pt x="329" y="126"/>
                    <a:pt x="329" y="126"/>
                  </a:cubicBezTo>
                  <a:cubicBezTo>
                    <a:pt x="331" y="130"/>
                    <a:pt x="331" y="130"/>
                    <a:pt x="331" y="130"/>
                  </a:cubicBezTo>
                  <a:cubicBezTo>
                    <a:pt x="328" y="135"/>
                    <a:pt x="328" y="135"/>
                    <a:pt x="328" y="135"/>
                  </a:cubicBezTo>
                  <a:cubicBezTo>
                    <a:pt x="324" y="137"/>
                    <a:pt x="324" y="137"/>
                    <a:pt x="324" y="137"/>
                  </a:cubicBezTo>
                  <a:cubicBezTo>
                    <a:pt x="317" y="139"/>
                    <a:pt x="317" y="139"/>
                    <a:pt x="317" y="139"/>
                  </a:cubicBezTo>
                  <a:cubicBezTo>
                    <a:pt x="308" y="141"/>
                    <a:pt x="308" y="141"/>
                    <a:pt x="308" y="141"/>
                  </a:cubicBezTo>
                  <a:cubicBezTo>
                    <a:pt x="300" y="140"/>
                    <a:pt x="300" y="140"/>
                    <a:pt x="300" y="140"/>
                  </a:cubicBezTo>
                  <a:cubicBezTo>
                    <a:pt x="296" y="142"/>
                    <a:pt x="296" y="142"/>
                    <a:pt x="296" y="142"/>
                  </a:cubicBezTo>
                  <a:cubicBezTo>
                    <a:pt x="292" y="142"/>
                    <a:pt x="292" y="142"/>
                    <a:pt x="292" y="142"/>
                  </a:cubicBezTo>
                  <a:cubicBezTo>
                    <a:pt x="288" y="147"/>
                    <a:pt x="288" y="147"/>
                    <a:pt x="288" y="147"/>
                  </a:cubicBezTo>
                  <a:cubicBezTo>
                    <a:pt x="282" y="149"/>
                    <a:pt x="282" y="149"/>
                    <a:pt x="282" y="149"/>
                  </a:cubicBezTo>
                  <a:cubicBezTo>
                    <a:pt x="276" y="149"/>
                    <a:pt x="276" y="149"/>
                    <a:pt x="276" y="149"/>
                  </a:cubicBezTo>
                  <a:cubicBezTo>
                    <a:pt x="270" y="152"/>
                    <a:pt x="270" y="152"/>
                    <a:pt x="270" y="152"/>
                  </a:cubicBezTo>
                  <a:cubicBezTo>
                    <a:pt x="261" y="152"/>
                    <a:pt x="261" y="152"/>
                    <a:pt x="261" y="152"/>
                  </a:cubicBezTo>
                  <a:cubicBezTo>
                    <a:pt x="257" y="148"/>
                    <a:pt x="257" y="148"/>
                    <a:pt x="257" y="148"/>
                  </a:cubicBezTo>
                  <a:cubicBezTo>
                    <a:pt x="252" y="144"/>
                    <a:pt x="252" y="144"/>
                    <a:pt x="252" y="144"/>
                  </a:cubicBezTo>
                  <a:cubicBezTo>
                    <a:pt x="250" y="143"/>
                    <a:pt x="250" y="143"/>
                    <a:pt x="250" y="143"/>
                  </a:cubicBezTo>
                  <a:cubicBezTo>
                    <a:pt x="237" y="142"/>
                    <a:pt x="237" y="142"/>
                    <a:pt x="237" y="142"/>
                  </a:cubicBezTo>
                  <a:cubicBezTo>
                    <a:pt x="229" y="141"/>
                    <a:pt x="229" y="141"/>
                    <a:pt x="229" y="141"/>
                  </a:cubicBezTo>
                  <a:cubicBezTo>
                    <a:pt x="222" y="140"/>
                    <a:pt x="222" y="140"/>
                    <a:pt x="222" y="140"/>
                  </a:cubicBezTo>
                  <a:cubicBezTo>
                    <a:pt x="216" y="141"/>
                    <a:pt x="216" y="141"/>
                    <a:pt x="216" y="141"/>
                  </a:cubicBezTo>
                  <a:cubicBezTo>
                    <a:pt x="210" y="140"/>
                    <a:pt x="210" y="140"/>
                    <a:pt x="210" y="140"/>
                  </a:cubicBezTo>
                  <a:cubicBezTo>
                    <a:pt x="206" y="138"/>
                    <a:pt x="206" y="138"/>
                    <a:pt x="206" y="138"/>
                  </a:cubicBezTo>
                  <a:cubicBezTo>
                    <a:pt x="201" y="133"/>
                    <a:pt x="201" y="133"/>
                    <a:pt x="201" y="133"/>
                  </a:cubicBezTo>
                  <a:cubicBezTo>
                    <a:pt x="196" y="129"/>
                    <a:pt x="196" y="129"/>
                    <a:pt x="196" y="129"/>
                  </a:cubicBezTo>
                  <a:cubicBezTo>
                    <a:pt x="193" y="126"/>
                    <a:pt x="193" y="126"/>
                    <a:pt x="193" y="126"/>
                  </a:cubicBezTo>
                  <a:cubicBezTo>
                    <a:pt x="191" y="122"/>
                    <a:pt x="191" y="122"/>
                    <a:pt x="191" y="122"/>
                  </a:cubicBezTo>
                  <a:cubicBezTo>
                    <a:pt x="188" y="118"/>
                    <a:pt x="188" y="118"/>
                    <a:pt x="188" y="118"/>
                  </a:cubicBezTo>
                  <a:cubicBezTo>
                    <a:pt x="183" y="116"/>
                    <a:pt x="183" y="116"/>
                    <a:pt x="183" y="116"/>
                  </a:cubicBezTo>
                  <a:cubicBezTo>
                    <a:pt x="180" y="114"/>
                    <a:pt x="180" y="114"/>
                    <a:pt x="180" y="114"/>
                  </a:cubicBezTo>
                  <a:cubicBezTo>
                    <a:pt x="175" y="111"/>
                    <a:pt x="175" y="111"/>
                    <a:pt x="175" y="111"/>
                  </a:cubicBezTo>
                  <a:cubicBezTo>
                    <a:pt x="170" y="111"/>
                    <a:pt x="170" y="111"/>
                    <a:pt x="170" y="111"/>
                  </a:cubicBezTo>
                  <a:cubicBezTo>
                    <a:pt x="165" y="109"/>
                    <a:pt x="165" y="109"/>
                    <a:pt x="165" y="109"/>
                  </a:cubicBezTo>
                  <a:cubicBezTo>
                    <a:pt x="164" y="105"/>
                    <a:pt x="164" y="105"/>
                    <a:pt x="164" y="105"/>
                  </a:cubicBezTo>
                  <a:cubicBezTo>
                    <a:pt x="165" y="100"/>
                    <a:pt x="165" y="100"/>
                    <a:pt x="165" y="100"/>
                  </a:cubicBezTo>
                  <a:cubicBezTo>
                    <a:pt x="166" y="96"/>
                    <a:pt x="166" y="96"/>
                    <a:pt x="166" y="96"/>
                  </a:cubicBezTo>
                  <a:cubicBezTo>
                    <a:pt x="163" y="91"/>
                    <a:pt x="163" y="91"/>
                    <a:pt x="163" y="91"/>
                  </a:cubicBezTo>
                  <a:cubicBezTo>
                    <a:pt x="158" y="89"/>
                    <a:pt x="158" y="89"/>
                    <a:pt x="158" y="89"/>
                  </a:cubicBezTo>
                  <a:cubicBezTo>
                    <a:pt x="158" y="86"/>
                    <a:pt x="158" y="86"/>
                    <a:pt x="158" y="86"/>
                  </a:cubicBezTo>
                  <a:cubicBezTo>
                    <a:pt x="153" y="80"/>
                    <a:pt x="153" y="80"/>
                    <a:pt x="153" y="80"/>
                  </a:cubicBezTo>
                  <a:cubicBezTo>
                    <a:pt x="148" y="77"/>
                    <a:pt x="148" y="77"/>
                    <a:pt x="148" y="77"/>
                  </a:cubicBezTo>
                  <a:cubicBezTo>
                    <a:pt x="142" y="78"/>
                    <a:pt x="142" y="78"/>
                    <a:pt x="142" y="78"/>
                  </a:cubicBezTo>
                  <a:cubicBezTo>
                    <a:pt x="138" y="77"/>
                    <a:pt x="138" y="77"/>
                    <a:pt x="138" y="77"/>
                  </a:cubicBezTo>
                  <a:cubicBezTo>
                    <a:pt x="135" y="74"/>
                    <a:pt x="135" y="74"/>
                    <a:pt x="135" y="74"/>
                  </a:cubicBezTo>
                  <a:cubicBezTo>
                    <a:pt x="134" y="71"/>
                    <a:pt x="134" y="71"/>
                    <a:pt x="134" y="71"/>
                  </a:cubicBezTo>
                  <a:cubicBezTo>
                    <a:pt x="133" y="64"/>
                    <a:pt x="133" y="64"/>
                    <a:pt x="133" y="64"/>
                  </a:cubicBezTo>
                  <a:cubicBezTo>
                    <a:pt x="134" y="56"/>
                    <a:pt x="134" y="56"/>
                    <a:pt x="134" y="56"/>
                  </a:cubicBezTo>
                  <a:cubicBezTo>
                    <a:pt x="129" y="59"/>
                    <a:pt x="129" y="59"/>
                    <a:pt x="129" y="59"/>
                  </a:cubicBezTo>
                  <a:cubicBezTo>
                    <a:pt x="117" y="61"/>
                    <a:pt x="117" y="61"/>
                    <a:pt x="117" y="61"/>
                  </a:cubicBezTo>
                  <a:cubicBezTo>
                    <a:pt x="113" y="64"/>
                    <a:pt x="113" y="64"/>
                    <a:pt x="113" y="64"/>
                  </a:cubicBezTo>
                  <a:cubicBezTo>
                    <a:pt x="111" y="68"/>
                    <a:pt x="111" y="68"/>
                    <a:pt x="111" y="68"/>
                  </a:cubicBezTo>
                  <a:cubicBezTo>
                    <a:pt x="105" y="70"/>
                    <a:pt x="105" y="70"/>
                    <a:pt x="105" y="70"/>
                  </a:cubicBezTo>
                  <a:cubicBezTo>
                    <a:pt x="104" y="73"/>
                    <a:pt x="104" y="73"/>
                    <a:pt x="104" y="73"/>
                  </a:cubicBezTo>
                  <a:cubicBezTo>
                    <a:pt x="103" y="77"/>
                    <a:pt x="103" y="77"/>
                    <a:pt x="103" y="77"/>
                  </a:cubicBezTo>
                  <a:cubicBezTo>
                    <a:pt x="96" y="80"/>
                    <a:pt x="96" y="80"/>
                    <a:pt x="96" y="80"/>
                  </a:cubicBezTo>
                  <a:cubicBezTo>
                    <a:pt x="91" y="80"/>
                    <a:pt x="91" y="80"/>
                    <a:pt x="91" y="80"/>
                  </a:cubicBezTo>
                  <a:cubicBezTo>
                    <a:pt x="88" y="83"/>
                    <a:pt x="88" y="83"/>
                    <a:pt x="88" y="83"/>
                  </a:cubicBezTo>
                  <a:cubicBezTo>
                    <a:pt x="85" y="88"/>
                    <a:pt x="85" y="88"/>
                    <a:pt x="85" y="88"/>
                  </a:cubicBezTo>
                  <a:cubicBezTo>
                    <a:pt x="82" y="91"/>
                    <a:pt x="82" y="91"/>
                    <a:pt x="82" y="91"/>
                  </a:cubicBezTo>
                  <a:cubicBezTo>
                    <a:pt x="80" y="97"/>
                    <a:pt x="80" y="97"/>
                    <a:pt x="80" y="97"/>
                  </a:cubicBezTo>
                  <a:cubicBezTo>
                    <a:pt x="81" y="103"/>
                    <a:pt x="81" y="103"/>
                    <a:pt x="81" y="103"/>
                  </a:cubicBezTo>
                  <a:cubicBezTo>
                    <a:pt x="84" y="106"/>
                    <a:pt x="84" y="106"/>
                    <a:pt x="84" y="106"/>
                  </a:cubicBezTo>
                  <a:cubicBezTo>
                    <a:pt x="82" y="109"/>
                    <a:pt x="82" y="109"/>
                    <a:pt x="82" y="109"/>
                  </a:cubicBezTo>
                  <a:cubicBezTo>
                    <a:pt x="74" y="109"/>
                    <a:pt x="74" y="109"/>
                    <a:pt x="74" y="109"/>
                  </a:cubicBezTo>
                  <a:cubicBezTo>
                    <a:pt x="67" y="112"/>
                    <a:pt x="67" y="112"/>
                    <a:pt x="67" y="112"/>
                  </a:cubicBezTo>
                  <a:cubicBezTo>
                    <a:pt x="60" y="113"/>
                    <a:pt x="60" y="113"/>
                    <a:pt x="60" y="113"/>
                  </a:cubicBezTo>
                  <a:cubicBezTo>
                    <a:pt x="58" y="115"/>
                    <a:pt x="58" y="115"/>
                    <a:pt x="58" y="115"/>
                  </a:cubicBezTo>
                  <a:cubicBezTo>
                    <a:pt x="59" y="119"/>
                    <a:pt x="59" y="119"/>
                    <a:pt x="59" y="119"/>
                  </a:cubicBezTo>
                  <a:cubicBezTo>
                    <a:pt x="64" y="123"/>
                    <a:pt x="64" y="123"/>
                    <a:pt x="64" y="123"/>
                  </a:cubicBezTo>
                  <a:cubicBezTo>
                    <a:pt x="66" y="126"/>
                    <a:pt x="66" y="126"/>
                    <a:pt x="66" y="126"/>
                  </a:cubicBezTo>
                  <a:cubicBezTo>
                    <a:pt x="64" y="130"/>
                    <a:pt x="64" y="130"/>
                    <a:pt x="64" y="130"/>
                  </a:cubicBezTo>
                  <a:cubicBezTo>
                    <a:pt x="62" y="134"/>
                    <a:pt x="62" y="134"/>
                    <a:pt x="62" y="134"/>
                  </a:cubicBezTo>
                  <a:cubicBezTo>
                    <a:pt x="62" y="141"/>
                    <a:pt x="62" y="141"/>
                    <a:pt x="62" y="141"/>
                  </a:cubicBezTo>
                  <a:cubicBezTo>
                    <a:pt x="59" y="142"/>
                    <a:pt x="57" y="143"/>
                    <a:pt x="55" y="144"/>
                  </a:cubicBezTo>
                  <a:cubicBezTo>
                    <a:pt x="53" y="146"/>
                    <a:pt x="53" y="147"/>
                    <a:pt x="51" y="148"/>
                  </a:cubicBezTo>
                  <a:cubicBezTo>
                    <a:pt x="49" y="149"/>
                    <a:pt x="48" y="149"/>
                    <a:pt x="46" y="150"/>
                  </a:cubicBezTo>
                  <a:cubicBezTo>
                    <a:pt x="45" y="151"/>
                    <a:pt x="45" y="153"/>
                    <a:pt x="45" y="154"/>
                  </a:cubicBezTo>
                  <a:cubicBezTo>
                    <a:pt x="45" y="157"/>
                    <a:pt x="34" y="154"/>
                    <a:pt x="31" y="159"/>
                  </a:cubicBezTo>
                  <a:cubicBezTo>
                    <a:pt x="29" y="162"/>
                    <a:pt x="31" y="164"/>
                    <a:pt x="29" y="167"/>
                  </a:cubicBezTo>
                  <a:cubicBezTo>
                    <a:pt x="27" y="169"/>
                    <a:pt x="24" y="168"/>
                    <a:pt x="22" y="169"/>
                  </a:cubicBezTo>
                  <a:cubicBezTo>
                    <a:pt x="20" y="169"/>
                    <a:pt x="19" y="171"/>
                    <a:pt x="17" y="171"/>
                  </a:cubicBezTo>
                  <a:cubicBezTo>
                    <a:pt x="15" y="171"/>
                    <a:pt x="16" y="167"/>
                    <a:pt x="14" y="167"/>
                  </a:cubicBezTo>
                  <a:cubicBezTo>
                    <a:pt x="12" y="166"/>
                    <a:pt x="11" y="168"/>
                    <a:pt x="9" y="169"/>
                  </a:cubicBezTo>
                  <a:cubicBezTo>
                    <a:pt x="8" y="171"/>
                    <a:pt x="7" y="172"/>
                    <a:pt x="6" y="173"/>
                  </a:cubicBezTo>
                  <a:cubicBezTo>
                    <a:pt x="5" y="174"/>
                    <a:pt x="4" y="174"/>
                    <a:pt x="3" y="175"/>
                  </a:cubicBezTo>
                  <a:cubicBezTo>
                    <a:pt x="2" y="175"/>
                    <a:pt x="1" y="176"/>
                    <a:pt x="0" y="177"/>
                  </a:cubicBezTo>
                  <a:cubicBezTo>
                    <a:pt x="0" y="178"/>
                    <a:pt x="0" y="178"/>
                    <a:pt x="0" y="178"/>
                  </a:cubicBezTo>
                  <a:cubicBezTo>
                    <a:pt x="1" y="180"/>
                    <a:pt x="1" y="182"/>
                    <a:pt x="1" y="182"/>
                  </a:cubicBezTo>
                  <a:cubicBezTo>
                    <a:pt x="1" y="185"/>
                    <a:pt x="1" y="185"/>
                    <a:pt x="1" y="185"/>
                  </a:cubicBezTo>
                  <a:cubicBezTo>
                    <a:pt x="3" y="187"/>
                    <a:pt x="3" y="187"/>
                    <a:pt x="3" y="187"/>
                  </a:cubicBezTo>
                  <a:cubicBezTo>
                    <a:pt x="9" y="185"/>
                    <a:pt x="9" y="185"/>
                    <a:pt x="9" y="185"/>
                  </a:cubicBezTo>
                  <a:cubicBezTo>
                    <a:pt x="10" y="186"/>
                    <a:pt x="10" y="186"/>
                    <a:pt x="10" y="186"/>
                  </a:cubicBezTo>
                  <a:cubicBezTo>
                    <a:pt x="10" y="189"/>
                    <a:pt x="10" y="189"/>
                    <a:pt x="10" y="189"/>
                  </a:cubicBezTo>
                  <a:cubicBezTo>
                    <a:pt x="8" y="193"/>
                    <a:pt x="8" y="193"/>
                    <a:pt x="8" y="193"/>
                  </a:cubicBezTo>
                  <a:cubicBezTo>
                    <a:pt x="11" y="197"/>
                    <a:pt x="11" y="197"/>
                    <a:pt x="11" y="197"/>
                  </a:cubicBezTo>
                  <a:cubicBezTo>
                    <a:pt x="11" y="202"/>
                    <a:pt x="11" y="202"/>
                    <a:pt x="11" y="202"/>
                  </a:cubicBezTo>
                  <a:cubicBezTo>
                    <a:pt x="13" y="204"/>
                    <a:pt x="13" y="204"/>
                    <a:pt x="13" y="204"/>
                  </a:cubicBezTo>
                  <a:cubicBezTo>
                    <a:pt x="13" y="206"/>
                    <a:pt x="13" y="206"/>
                    <a:pt x="13" y="206"/>
                  </a:cubicBezTo>
                  <a:cubicBezTo>
                    <a:pt x="10" y="207"/>
                    <a:pt x="10" y="207"/>
                    <a:pt x="10" y="207"/>
                  </a:cubicBezTo>
                  <a:cubicBezTo>
                    <a:pt x="10" y="211"/>
                    <a:pt x="10" y="211"/>
                    <a:pt x="10" y="211"/>
                  </a:cubicBezTo>
                  <a:cubicBezTo>
                    <a:pt x="16" y="211"/>
                    <a:pt x="16" y="211"/>
                    <a:pt x="16" y="211"/>
                  </a:cubicBezTo>
                  <a:cubicBezTo>
                    <a:pt x="26" y="217"/>
                    <a:pt x="26" y="217"/>
                    <a:pt x="26" y="217"/>
                  </a:cubicBezTo>
                  <a:cubicBezTo>
                    <a:pt x="28" y="220"/>
                    <a:pt x="28" y="220"/>
                    <a:pt x="28" y="220"/>
                  </a:cubicBezTo>
                  <a:cubicBezTo>
                    <a:pt x="32" y="223"/>
                    <a:pt x="32" y="223"/>
                    <a:pt x="32" y="223"/>
                  </a:cubicBezTo>
                  <a:cubicBezTo>
                    <a:pt x="35" y="220"/>
                    <a:pt x="35" y="220"/>
                    <a:pt x="35" y="220"/>
                  </a:cubicBezTo>
                  <a:cubicBezTo>
                    <a:pt x="37" y="218"/>
                    <a:pt x="37" y="218"/>
                    <a:pt x="37" y="218"/>
                  </a:cubicBezTo>
                  <a:cubicBezTo>
                    <a:pt x="41" y="218"/>
                    <a:pt x="41" y="218"/>
                    <a:pt x="41" y="218"/>
                  </a:cubicBezTo>
                  <a:cubicBezTo>
                    <a:pt x="45" y="219"/>
                    <a:pt x="45" y="219"/>
                    <a:pt x="45" y="219"/>
                  </a:cubicBezTo>
                  <a:cubicBezTo>
                    <a:pt x="49" y="220"/>
                    <a:pt x="49" y="220"/>
                    <a:pt x="49" y="220"/>
                  </a:cubicBezTo>
                  <a:cubicBezTo>
                    <a:pt x="51" y="223"/>
                    <a:pt x="51" y="223"/>
                    <a:pt x="51" y="223"/>
                  </a:cubicBezTo>
                  <a:cubicBezTo>
                    <a:pt x="53" y="226"/>
                    <a:pt x="53" y="226"/>
                    <a:pt x="53" y="226"/>
                  </a:cubicBezTo>
                  <a:cubicBezTo>
                    <a:pt x="55" y="230"/>
                    <a:pt x="55" y="230"/>
                    <a:pt x="55" y="230"/>
                  </a:cubicBezTo>
                  <a:cubicBezTo>
                    <a:pt x="52" y="232"/>
                    <a:pt x="52" y="232"/>
                    <a:pt x="52" y="232"/>
                  </a:cubicBezTo>
                  <a:cubicBezTo>
                    <a:pt x="52" y="235"/>
                    <a:pt x="52" y="235"/>
                    <a:pt x="52" y="235"/>
                  </a:cubicBezTo>
                  <a:cubicBezTo>
                    <a:pt x="50" y="238"/>
                    <a:pt x="50" y="238"/>
                    <a:pt x="50" y="238"/>
                  </a:cubicBezTo>
                  <a:cubicBezTo>
                    <a:pt x="48" y="240"/>
                    <a:pt x="48" y="240"/>
                    <a:pt x="48" y="240"/>
                  </a:cubicBezTo>
                  <a:cubicBezTo>
                    <a:pt x="46" y="244"/>
                    <a:pt x="46" y="244"/>
                    <a:pt x="46" y="244"/>
                  </a:cubicBezTo>
                  <a:cubicBezTo>
                    <a:pt x="44" y="246"/>
                    <a:pt x="44" y="246"/>
                    <a:pt x="44" y="246"/>
                  </a:cubicBezTo>
                  <a:cubicBezTo>
                    <a:pt x="42" y="250"/>
                    <a:pt x="42" y="250"/>
                    <a:pt x="42" y="250"/>
                  </a:cubicBezTo>
                  <a:cubicBezTo>
                    <a:pt x="46" y="253"/>
                    <a:pt x="46" y="253"/>
                    <a:pt x="46" y="253"/>
                  </a:cubicBezTo>
                  <a:cubicBezTo>
                    <a:pt x="48" y="256"/>
                    <a:pt x="48" y="256"/>
                    <a:pt x="48" y="256"/>
                  </a:cubicBezTo>
                  <a:cubicBezTo>
                    <a:pt x="47" y="262"/>
                    <a:pt x="47" y="262"/>
                    <a:pt x="47" y="262"/>
                  </a:cubicBezTo>
                  <a:cubicBezTo>
                    <a:pt x="50" y="263"/>
                    <a:pt x="50" y="263"/>
                    <a:pt x="50" y="263"/>
                  </a:cubicBezTo>
                  <a:cubicBezTo>
                    <a:pt x="52" y="263"/>
                    <a:pt x="52" y="263"/>
                    <a:pt x="52" y="263"/>
                  </a:cubicBezTo>
                  <a:cubicBezTo>
                    <a:pt x="52" y="266"/>
                    <a:pt x="52" y="266"/>
                    <a:pt x="52" y="266"/>
                  </a:cubicBezTo>
                  <a:cubicBezTo>
                    <a:pt x="51" y="271"/>
                    <a:pt x="51" y="271"/>
                    <a:pt x="51" y="271"/>
                  </a:cubicBezTo>
                  <a:cubicBezTo>
                    <a:pt x="52" y="273"/>
                    <a:pt x="52" y="273"/>
                    <a:pt x="52" y="273"/>
                  </a:cubicBezTo>
                  <a:cubicBezTo>
                    <a:pt x="50" y="275"/>
                    <a:pt x="50" y="275"/>
                    <a:pt x="50" y="275"/>
                  </a:cubicBezTo>
                  <a:cubicBezTo>
                    <a:pt x="51" y="279"/>
                    <a:pt x="51" y="279"/>
                    <a:pt x="51" y="279"/>
                  </a:cubicBezTo>
                  <a:cubicBezTo>
                    <a:pt x="56" y="281"/>
                    <a:pt x="56" y="281"/>
                    <a:pt x="56" y="281"/>
                  </a:cubicBezTo>
                  <a:cubicBezTo>
                    <a:pt x="59" y="283"/>
                    <a:pt x="59" y="283"/>
                    <a:pt x="59" y="283"/>
                  </a:cubicBezTo>
                  <a:cubicBezTo>
                    <a:pt x="64" y="284"/>
                    <a:pt x="64" y="284"/>
                    <a:pt x="64" y="284"/>
                  </a:cubicBezTo>
                  <a:cubicBezTo>
                    <a:pt x="67" y="287"/>
                    <a:pt x="67" y="287"/>
                    <a:pt x="67" y="287"/>
                  </a:cubicBezTo>
                  <a:cubicBezTo>
                    <a:pt x="70" y="290"/>
                    <a:pt x="70" y="290"/>
                    <a:pt x="70" y="290"/>
                  </a:cubicBezTo>
                  <a:cubicBezTo>
                    <a:pt x="72" y="289"/>
                    <a:pt x="72" y="289"/>
                    <a:pt x="72" y="289"/>
                  </a:cubicBezTo>
                  <a:cubicBezTo>
                    <a:pt x="76" y="290"/>
                    <a:pt x="76" y="290"/>
                    <a:pt x="76" y="290"/>
                  </a:cubicBezTo>
                  <a:cubicBezTo>
                    <a:pt x="80" y="290"/>
                    <a:pt x="80" y="290"/>
                    <a:pt x="80" y="290"/>
                  </a:cubicBezTo>
                  <a:cubicBezTo>
                    <a:pt x="83" y="290"/>
                    <a:pt x="83" y="290"/>
                    <a:pt x="83" y="290"/>
                  </a:cubicBezTo>
                  <a:cubicBezTo>
                    <a:pt x="87" y="297"/>
                    <a:pt x="87" y="297"/>
                    <a:pt x="87" y="297"/>
                  </a:cubicBezTo>
                  <a:cubicBezTo>
                    <a:pt x="91" y="297"/>
                    <a:pt x="91" y="297"/>
                    <a:pt x="91" y="297"/>
                  </a:cubicBezTo>
                  <a:cubicBezTo>
                    <a:pt x="96" y="296"/>
                    <a:pt x="96" y="296"/>
                    <a:pt x="96" y="296"/>
                  </a:cubicBezTo>
                  <a:cubicBezTo>
                    <a:pt x="99" y="298"/>
                    <a:pt x="99" y="298"/>
                    <a:pt x="99" y="298"/>
                  </a:cubicBezTo>
                  <a:cubicBezTo>
                    <a:pt x="99" y="302"/>
                    <a:pt x="99" y="302"/>
                    <a:pt x="99" y="302"/>
                  </a:cubicBezTo>
                  <a:cubicBezTo>
                    <a:pt x="103" y="304"/>
                    <a:pt x="103" y="304"/>
                    <a:pt x="103" y="304"/>
                  </a:cubicBezTo>
                  <a:cubicBezTo>
                    <a:pt x="107" y="308"/>
                    <a:pt x="107" y="308"/>
                    <a:pt x="107" y="308"/>
                  </a:cubicBezTo>
                  <a:cubicBezTo>
                    <a:pt x="109" y="311"/>
                    <a:pt x="109" y="311"/>
                    <a:pt x="109" y="311"/>
                  </a:cubicBezTo>
                  <a:cubicBezTo>
                    <a:pt x="113" y="312"/>
                    <a:pt x="113" y="312"/>
                    <a:pt x="113" y="312"/>
                  </a:cubicBezTo>
                  <a:cubicBezTo>
                    <a:pt x="118" y="314"/>
                    <a:pt x="118" y="314"/>
                    <a:pt x="118" y="314"/>
                  </a:cubicBezTo>
                  <a:cubicBezTo>
                    <a:pt x="125" y="315"/>
                    <a:pt x="125" y="315"/>
                    <a:pt x="125" y="315"/>
                  </a:cubicBezTo>
                  <a:cubicBezTo>
                    <a:pt x="130" y="316"/>
                    <a:pt x="130" y="316"/>
                    <a:pt x="130" y="316"/>
                  </a:cubicBezTo>
                  <a:cubicBezTo>
                    <a:pt x="134" y="314"/>
                    <a:pt x="134" y="314"/>
                    <a:pt x="134" y="314"/>
                  </a:cubicBezTo>
                  <a:cubicBezTo>
                    <a:pt x="138" y="315"/>
                    <a:pt x="138" y="315"/>
                    <a:pt x="138" y="315"/>
                  </a:cubicBezTo>
                  <a:cubicBezTo>
                    <a:pt x="140" y="319"/>
                    <a:pt x="140" y="319"/>
                    <a:pt x="140" y="319"/>
                  </a:cubicBezTo>
                  <a:cubicBezTo>
                    <a:pt x="144" y="312"/>
                    <a:pt x="144" y="312"/>
                    <a:pt x="144" y="312"/>
                  </a:cubicBezTo>
                  <a:cubicBezTo>
                    <a:pt x="147" y="311"/>
                    <a:pt x="147" y="311"/>
                    <a:pt x="147" y="311"/>
                  </a:cubicBezTo>
                  <a:cubicBezTo>
                    <a:pt x="152" y="310"/>
                    <a:pt x="152" y="310"/>
                    <a:pt x="152" y="310"/>
                  </a:cubicBezTo>
                  <a:cubicBezTo>
                    <a:pt x="156" y="312"/>
                    <a:pt x="156" y="312"/>
                    <a:pt x="156" y="312"/>
                  </a:cubicBezTo>
                  <a:cubicBezTo>
                    <a:pt x="160" y="312"/>
                    <a:pt x="160" y="312"/>
                    <a:pt x="160" y="312"/>
                  </a:cubicBezTo>
                  <a:cubicBezTo>
                    <a:pt x="166" y="313"/>
                    <a:pt x="166" y="313"/>
                    <a:pt x="166" y="313"/>
                  </a:cubicBezTo>
                  <a:cubicBezTo>
                    <a:pt x="170" y="312"/>
                    <a:pt x="170" y="312"/>
                    <a:pt x="170" y="312"/>
                  </a:cubicBezTo>
                  <a:cubicBezTo>
                    <a:pt x="175" y="309"/>
                    <a:pt x="175" y="309"/>
                    <a:pt x="175" y="309"/>
                  </a:cubicBezTo>
                  <a:cubicBezTo>
                    <a:pt x="178" y="307"/>
                    <a:pt x="178" y="307"/>
                    <a:pt x="178" y="307"/>
                  </a:cubicBezTo>
                  <a:cubicBezTo>
                    <a:pt x="182" y="307"/>
                    <a:pt x="182" y="307"/>
                    <a:pt x="182" y="307"/>
                  </a:cubicBezTo>
                  <a:cubicBezTo>
                    <a:pt x="185" y="308"/>
                    <a:pt x="185" y="308"/>
                    <a:pt x="185" y="308"/>
                  </a:cubicBezTo>
                  <a:cubicBezTo>
                    <a:pt x="189" y="305"/>
                    <a:pt x="189" y="305"/>
                    <a:pt x="189" y="305"/>
                  </a:cubicBezTo>
                  <a:cubicBezTo>
                    <a:pt x="192" y="305"/>
                    <a:pt x="192" y="305"/>
                    <a:pt x="192" y="305"/>
                  </a:cubicBezTo>
                  <a:cubicBezTo>
                    <a:pt x="197" y="307"/>
                    <a:pt x="197" y="307"/>
                    <a:pt x="197" y="307"/>
                  </a:cubicBezTo>
                  <a:cubicBezTo>
                    <a:pt x="197" y="312"/>
                    <a:pt x="197" y="312"/>
                    <a:pt x="197" y="312"/>
                  </a:cubicBezTo>
                  <a:cubicBezTo>
                    <a:pt x="199" y="314"/>
                    <a:pt x="199" y="314"/>
                    <a:pt x="199" y="314"/>
                  </a:cubicBezTo>
                  <a:cubicBezTo>
                    <a:pt x="202" y="313"/>
                    <a:pt x="202" y="313"/>
                    <a:pt x="202" y="313"/>
                  </a:cubicBezTo>
                  <a:cubicBezTo>
                    <a:pt x="204" y="314"/>
                    <a:pt x="204" y="314"/>
                    <a:pt x="204" y="314"/>
                  </a:cubicBezTo>
                  <a:cubicBezTo>
                    <a:pt x="207" y="315"/>
                    <a:pt x="207" y="315"/>
                    <a:pt x="207" y="315"/>
                  </a:cubicBezTo>
                  <a:cubicBezTo>
                    <a:pt x="210" y="316"/>
                    <a:pt x="210" y="316"/>
                    <a:pt x="210" y="316"/>
                  </a:cubicBezTo>
                  <a:cubicBezTo>
                    <a:pt x="211" y="319"/>
                    <a:pt x="211" y="319"/>
                    <a:pt x="211" y="319"/>
                  </a:cubicBezTo>
                  <a:cubicBezTo>
                    <a:pt x="212" y="322"/>
                    <a:pt x="212" y="322"/>
                    <a:pt x="212" y="322"/>
                  </a:cubicBezTo>
                  <a:cubicBezTo>
                    <a:pt x="215" y="321"/>
                    <a:pt x="215" y="321"/>
                    <a:pt x="215" y="321"/>
                  </a:cubicBezTo>
                  <a:cubicBezTo>
                    <a:pt x="218" y="321"/>
                    <a:pt x="218" y="321"/>
                    <a:pt x="218" y="321"/>
                  </a:cubicBezTo>
                  <a:cubicBezTo>
                    <a:pt x="219" y="325"/>
                    <a:pt x="219" y="325"/>
                    <a:pt x="219" y="325"/>
                  </a:cubicBezTo>
                  <a:cubicBezTo>
                    <a:pt x="220" y="328"/>
                    <a:pt x="220" y="328"/>
                    <a:pt x="220" y="328"/>
                  </a:cubicBezTo>
                  <a:cubicBezTo>
                    <a:pt x="219" y="333"/>
                    <a:pt x="219" y="333"/>
                    <a:pt x="219" y="333"/>
                  </a:cubicBezTo>
                  <a:cubicBezTo>
                    <a:pt x="220" y="336"/>
                    <a:pt x="220" y="336"/>
                    <a:pt x="220" y="336"/>
                  </a:cubicBezTo>
                  <a:cubicBezTo>
                    <a:pt x="220" y="339"/>
                    <a:pt x="220" y="339"/>
                    <a:pt x="220" y="339"/>
                  </a:cubicBezTo>
                  <a:cubicBezTo>
                    <a:pt x="219" y="344"/>
                    <a:pt x="219" y="344"/>
                    <a:pt x="219" y="344"/>
                  </a:cubicBezTo>
                  <a:cubicBezTo>
                    <a:pt x="217" y="349"/>
                    <a:pt x="217" y="349"/>
                    <a:pt x="217" y="349"/>
                  </a:cubicBezTo>
                  <a:cubicBezTo>
                    <a:pt x="214" y="353"/>
                    <a:pt x="214" y="353"/>
                    <a:pt x="214" y="353"/>
                  </a:cubicBezTo>
                  <a:cubicBezTo>
                    <a:pt x="214" y="355"/>
                    <a:pt x="214" y="355"/>
                    <a:pt x="214" y="355"/>
                  </a:cubicBezTo>
                  <a:cubicBezTo>
                    <a:pt x="216" y="358"/>
                    <a:pt x="216" y="358"/>
                    <a:pt x="216" y="358"/>
                  </a:cubicBezTo>
                  <a:cubicBezTo>
                    <a:pt x="216" y="361"/>
                    <a:pt x="216" y="361"/>
                    <a:pt x="216" y="361"/>
                  </a:cubicBezTo>
                  <a:cubicBezTo>
                    <a:pt x="216" y="363"/>
                    <a:pt x="216" y="363"/>
                    <a:pt x="216" y="363"/>
                  </a:cubicBezTo>
                  <a:cubicBezTo>
                    <a:pt x="218" y="362"/>
                    <a:pt x="218" y="362"/>
                    <a:pt x="218" y="362"/>
                  </a:cubicBezTo>
                  <a:cubicBezTo>
                    <a:pt x="219" y="361"/>
                    <a:pt x="219" y="361"/>
                    <a:pt x="219" y="361"/>
                  </a:cubicBezTo>
                  <a:cubicBezTo>
                    <a:pt x="223" y="359"/>
                    <a:pt x="223" y="359"/>
                    <a:pt x="223" y="359"/>
                  </a:cubicBezTo>
                  <a:cubicBezTo>
                    <a:pt x="225" y="359"/>
                    <a:pt x="225" y="359"/>
                    <a:pt x="225" y="359"/>
                  </a:cubicBezTo>
                  <a:cubicBezTo>
                    <a:pt x="227" y="362"/>
                    <a:pt x="227" y="362"/>
                    <a:pt x="227" y="362"/>
                  </a:cubicBezTo>
                  <a:cubicBezTo>
                    <a:pt x="226" y="365"/>
                    <a:pt x="226" y="365"/>
                    <a:pt x="226" y="365"/>
                  </a:cubicBezTo>
                  <a:cubicBezTo>
                    <a:pt x="228" y="368"/>
                    <a:pt x="228" y="368"/>
                    <a:pt x="228" y="368"/>
                  </a:cubicBezTo>
                  <a:cubicBezTo>
                    <a:pt x="231" y="368"/>
                    <a:pt x="231" y="368"/>
                    <a:pt x="231" y="368"/>
                  </a:cubicBezTo>
                  <a:cubicBezTo>
                    <a:pt x="231" y="370"/>
                    <a:pt x="231" y="370"/>
                    <a:pt x="231" y="370"/>
                  </a:cubicBezTo>
                  <a:cubicBezTo>
                    <a:pt x="228" y="375"/>
                    <a:pt x="228" y="375"/>
                    <a:pt x="228" y="375"/>
                  </a:cubicBezTo>
                  <a:cubicBezTo>
                    <a:pt x="228" y="377"/>
                    <a:pt x="228" y="377"/>
                    <a:pt x="228" y="377"/>
                  </a:cubicBezTo>
                  <a:cubicBezTo>
                    <a:pt x="232" y="378"/>
                    <a:pt x="232" y="378"/>
                    <a:pt x="232" y="378"/>
                  </a:cubicBezTo>
                  <a:cubicBezTo>
                    <a:pt x="234" y="378"/>
                    <a:pt x="234" y="378"/>
                    <a:pt x="234" y="378"/>
                  </a:cubicBezTo>
                  <a:cubicBezTo>
                    <a:pt x="236" y="383"/>
                    <a:pt x="236" y="383"/>
                    <a:pt x="236" y="383"/>
                  </a:cubicBezTo>
                  <a:cubicBezTo>
                    <a:pt x="237" y="387"/>
                    <a:pt x="237" y="387"/>
                    <a:pt x="237" y="387"/>
                  </a:cubicBezTo>
                  <a:cubicBezTo>
                    <a:pt x="243" y="389"/>
                    <a:pt x="243" y="389"/>
                    <a:pt x="243" y="389"/>
                  </a:cubicBezTo>
                  <a:cubicBezTo>
                    <a:pt x="242" y="392"/>
                    <a:pt x="242" y="392"/>
                    <a:pt x="242" y="392"/>
                  </a:cubicBezTo>
                  <a:cubicBezTo>
                    <a:pt x="248" y="392"/>
                    <a:pt x="248" y="392"/>
                    <a:pt x="248" y="392"/>
                  </a:cubicBezTo>
                  <a:cubicBezTo>
                    <a:pt x="249" y="388"/>
                    <a:pt x="249" y="388"/>
                    <a:pt x="249" y="388"/>
                  </a:cubicBezTo>
                  <a:cubicBezTo>
                    <a:pt x="250" y="382"/>
                    <a:pt x="250" y="382"/>
                    <a:pt x="250" y="382"/>
                  </a:cubicBezTo>
                  <a:cubicBezTo>
                    <a:pt x="247" y="377"/>
                    <a:pt x="247" y="377"/>
                    <a:pt x="247" y="377"/>
                  </a:cubicBezTo>
                  <a:cubicBezTo>
                    <a:pt x="249" y="373"/>
                    <a:pt x="249" y="373"/>
                    <a:pt x="249" y="373"/>
                  </a:cubicBezTo>
                  <a:cubicBezTo>
                    <a:pt x="253" y="374"/>
                    <a:pt x="253" y="374"/>
                    <a:pt x="253" y="374"/>
                  </a:cubicBezTo>
                  <a:cubicBezTo>
                    <a:pt x="258" y="371"/>
                    <a:pt x="258" y="371"/>
                    <a:pt x="258" y="371"/>
                  </a:cubicBezTo>
                  <a:cubicBezTo>
                    <a:pt x="263" y="374"/>
                    <a:pt x="263" y="374"/>
                    <a:pt x="263" y="374"/>
                  </a:cubicBezTo>
                  <a:cubicBezTo>
                    <a:pt x="269" y="372"/>
                    <a:pt x="269" y="372"/>
                    <a:pt x="269" y="372"/>
                  </a:cubicBezTo>
                  <a:cubicBezTo>
                    <a:pt x="274" y="372"/>
                    <a:pt x="274" y="372"/>
                    <a:pt x="274" y="372"/>
                  </a:cubicBezTo>
                  <a:cubicBezTo>
                    <a:pt x="279" y="368"/>
                    <a:pt x="279" y="368"/>
                    <a:pt x="279" y="368"/>
                  </a:cubicBezTo>
                  <a:cubicBezTo>
                    <a:pt x="282" y="369"/>
                    <a:pt x="282" y="369"/>
                    <a:pt x="282" y="369"/>
                  </a:cubicBezTo>
                  <a:cubicBezTo>
                    <a:pt x="285" y="371"/>
                    <a:pt x="285" y="371"/>
                    <a:pt x="285" y="371"/>
                  </a:cubicBezTo>
                  <a:cubicBezTo>
                    <a:pt x="288" y="372"/>
                    <a:pt x="288" y="372"/>
                    <a:pt x="288" y="372"/>
                  </a:cubicBezTo>
                  <a:cubicBezTo>
                    <a:pt x="288" y="377"/>
                    <a:pt x="288" y="377"/>
                    <a:pt x="288" y="377"/>
                  </a:cubicBezTo>
                  <a:cubicBezTo>
                    <a:pt x="290" y="381"/>
                    <a:pt x="290" y="381"/>
                    <a:pt x="290" y="381"/>
                  </a:cubicBezTo>
                  <a:cubicBezTo>
                    <a:pt x="292" y="383"/>
                    <a:pt x="292" y="383"/>
                    <a:pt x="292" y="383"/>
                  </a:cubicBezTo>
                  <a:cubicBezTo>
                    <a:pt x="296" y="385"/>
                    <a:pt x="296" y="385"/>
                    <a:pt x="296" y="385"/>
                  </a:cubicBezTo>
                  <a:cubicBezTo>
                    <a:pt x="299" y="384"/>
                    <a:pt x="299" y="384"/>
                    <a:pt x="299" y="384"/>
                  </a:cubicBezTo>
                  <a:cubicBezTo>
                    <a:pt x="303" y="386"/>
                    <a:pt x="303" y="386"/>
                    <a:pt x="303" y="386"/>
                  </a:cubicBezTo>
                  <a:cubicBezTo>
                    <a:pt x="304" y="386"/>
                    <a:pt x="304" y="385"/>
                    <a:pt x="304" y="384"/>
                  </a:cubicBezTo>
                  <a:cubicBezTo>
                    <a:pt x="307" y="384"/>
                    <a:pt x="307" y="384"/>
                    <a:pt x="311" y="383"/>
                  </a:cubicBezTo>
                  <a:cubicBezTo>
                    <a:pt x="311" y="385"/>
                    <a:pt x="311" y="385"/>
                    <a:pt x="311" y="385"/>
                  </a:cubicBezTo>
                  <a:cubicBezTo>
                    <a:pt x="313" y="386"/>
                    <a:pt x="313" y="384"/>
                    <a:pt x="315" y="385"/>
                  </a:cubicBezTo>
                  <a:cubicBezTo>
                    <a:pt x="315" y="385"/>
                    <a:pt x="316" y="386"/>
                    <a:pt x="315" y="387"/>
                  </a:cubicBezTo>
                  <a:cubicBezTo>
                    <a:pt x="315" y="388"/>
                    <a:pt x="313" y="391"/>
                    <a:pt x="314" y="394"/>
                  </a:cubicBezTo>
                  <a:cubicBezTo>
                    <a:pt x="315" y="394"/>
                    <a:pt x="315" y="394"/>
                    <a:pt x="315" y="394"/>
                  </a:cubicBezTo>
                  <a:cubicBezTo>
                    <a:pt x="316" y="396"/>
                    <a:pt x="317" y="398"/>
                    <a:pt x="317" y="400"/>
                  </a:cubicBezTo>
                  <a:cubicBezTo>
                    <a:pt x="319" y="399"/>
                    <a:pt x="320" y="399"/>
                    <a:pt x="322" y="399"/>
                  </a:cubicBezTo>
                  <a:cubicBezTo>
                    <a:pt x="322" y="395"/>
                    <a:pt x="323" y="396"/>
                    <a:pt x="319" y="393"/>
                  </a:cubicBezTo>
                  <a:cubicBezTo>
                    <a:pt x="320" y="393"/>
                    <a:pt x="321" y="393"/>
                    <a:pt x="321" y="393"/>
                  </a:cubicBezTo>
                  <a:cubicBezTo>
                    <a:pt x="322" y="393"/>
                    <a:pt x="321" y="391"/>
                    <a:pt x="322" y="390"/>
                  </a:cubicBezTo>
                  <a:cubicBezTo>
                    <a:pt x="323" y="389"/>
                    <a:pt x="326" y="389"/>
                    <a:pt x="327" y="388"/>
                  </a:cubicBezTo>
                  <a:cubicBezTo>
                    <a:pt x="327" y="388"/>
                    <a:pt x="330" y="385"/>
                    <a:pt x="330" y="385"/>
                  </a:cubicBezTo>
                  <a:cubicBezTo>
                    <a:pt x="331" y="384"/>
                    <a:pt x="331" y="385"/>
                    <a:pt x="332" y="385"/>
                  </a:cubicBezTo>
                  <a:cubicBezTo>
                    <a:pt x="332" y="383"/>
                    <a:pt x="332" y="383"/>
                    <a:pt x="332" y="383"/>
                  </a:cubicBezTo>
                  <a:cubicBezTo>
                    <a:pt x="334" y="383"/>
                    <a:pt x="333" y="384"/>
                    <a:pt x="334" y="384"/>
                  </a:cubicBezTo>
                  <a:cubicBezTo>
                    <a:pt x="335" y="383"/>
                    <a:pt x="335" y="381"/>
                    <a:pt x="335" y="381"/>
                  </a:cubicBezTo>
                  <a:cubicBezTo>
                    <a:pt x="337" y="381"/>
                    <a:pt x="336" y="382"/>
                    <a:pt x="337" y="382"/>
                  </a:cubicBezTo>
                  <a:cubicBezTo>
                    <a:pt x="339" y="381"/>
                    <a:pt x="339" y="381"/>
                    <a:pt x="339" y="381"/>
                  </a:cubicBezTo>
                  <a:cubicBezTo>
                    <a:pt x="341" y="380"/>
                    <a:pt x="345" y="381"/>
                    <a:pt x="347" y="381"/>
                  </a:cubicBezTo>
                  <a:cubicBezTo>
                    <a:pt x="347" y="380"/>
                    <a:pt x="351" y="374"/>
                    <a:pt x="351" y="374"/>
                  </a:cubicBezTo>
                  <a:cubicBezTo>
                    <a:pt x="352" y="374"/>
                    <a:pt x="352" y="374"/>
                    <a:pt x="352" y="374"/>
                  </a:cubicBezTo>
                  <a:cubicBezTo>
                    <a:pt x="352" y="374"/>
                    <a:pt x="354" y="369"/>
                    <a:pt x="352" y="371"/>
                  </a:cubicBezTo>
                  <a:cubicBezTo>
                    <a:pt x="352" y="369"/>
                    <a:pt x="352" y="369"/>
                    <a:pt x="352" y="369"/>
                  </a:cubicBezTo>
                  <a:cubicBezTo>
                    <a:pt x="352" y="369"/>
                    <a:pt x="354" y="370"/>
                    <a:pt x="354" y="370"/>
                  </a:cubicBezTo>
                  <a:cubicBezTo>
                    <a:pt x="355" y="371"/>
                    <a:pt x="355" y="372"/>
                    <a:pt x="356" y="373"/>
                  </a:cubicBezTo>
                  <a:cubicBezTo>
                    <a:pt x="357" y="373"/>
                    <a:pt x="359" y="372"/>
                    <a:pt x="360" y="374"/>
                  </a:cubicBezTo>
                  <a:cubicBezTo>
                    <a:pt x="360" y="374"/>
                    <a:pt x="360" y="374"/>
                    <a:pt x="360" y="374"/>
                  </a:cubicBezTo>
                  <a:cubicBezTo>
                    <a:pt x="361" y="374"/>
                    <a:pt x="361" y="374"/>
                    <a:pt x="362" y="374"/>
                  </a:cubicBezTo>
                  <a:cubicBezTo>
                    <a:pt x="362" y="373"/>
                    <a:pt x="362" y="373"/>
                    <a:pt x="362" y="373"/>
                  </a:cubicBezTo>
                  <a:cubicBezTo>
                    <a:pt x="364" y="372"/>
                    <a:pt x="366" y="371"/>
                    <a:pt x="367" y="371"/>
                  </a:cubicBezTo>
                  <a:cubicBezTo>
                    <a:pt x="369" y="371"/>
                    <a:pt x="370" y="372"/>
                    <a:pt x="372" y="372"/>
                  </a:cubicBezTo>
                  <a:cubicBezTo>
                    <a:pt x="372" y="371"/>
                    <a:pt x="372" y="371"/>
                    <a:pt x="372" y="371"/>
                  </a:cubicBezTo>
                  <a:cubicBezTo>
                    <a:pt x="372" y="370"/>
                    <a:pt x="374" y="370"/>
                    <a:pt x="375" y="369"/>
                  </a:cubicBezTo>
                  <a:cubicBezTo>
                    <a:pt x="375" y="368"/>
                    <a:pt x="375" y="366"/>
                    <a:pt x="375" y="366"/>
                  </a:cubicBezTo>
                  <a:cubicBezTo>
                    <a:pt x="375" y="364"/>
                    <a:pt x="375" y="364"/>
                    <a:pt x="375" y="364"/>
                  </a:cubicBezTo>
                  <a:cubicBezTo>
                    <a:pt x="375" y="363"/>
                    <a:pt x="378" y="363"/>
                    <a:pt x="379" y="362"/>
                  </a:cubicBezTo>
                  <a:cubicBezTo>
                    <a:pt x="379" y="362"/>
                    <a:pt x="379" y="360"/>
                    <a:pt x="379" y="360"/>
                  </a:cubicBezTo>
                  <a:cubicBezTo>
                    <a:pt x="380" y="360"/>
                    <a:pt x="380" y="361"/>
                    <a:pt x="381" y="361"/>
                  </a:cubicBezTo>
                  <a:cubicBezTo>
                    <a:pt x="382" y="360"/>
                    <a:pt x="382" y="359"/>
                    <a:pt x="383" y="359"/>
                  </a:cubicBezTo>
                  <a:cubicBezTo>
                    <a:pt x="383" y="358"/>
                    <a:pt x="383" y="357"/>
                    <a:pt x="383" y="357"/>
                  </a:cubicBezTo>
                  <a:cubicBezTo>
                    <a:pt x="384" y="356"/>
                    <a:pt x="386" y="357"/>
                    <a:pt x="387" y="356"/>
                  </a:cubicBezTo>
                  <a:cubicBezTo>
                    <a:pt x="387" y="356"/>
                    <a:pt x="388" y="354"/>
                    <a:pt x="388" y="354"/>
                  </a:cubicBezTo>
                  <a:cubicBezTo>
                    <a:pt x="388" y="356"/>
                    <a:pt x="388" y="351"/>
                    <a:pt x="388" y="351"/>
                  </a:cubicBezTo>
                  <a:cubicBezTo>
                    <a:pt x="389" y="350"/>
                    <a:pt x="397" y="349"/>
                    <a:pt x="397" y="349"/>
                  </a:cubicBezTo>
                  <a:cubicBezTo>
                    <a:pt x="398" y="348"/>
                    <a:pt x="396" y="347"/>
                    <a:pt x="396" y="347"/>
                  </a:cubicBezTo>
                  <a:cubicBezTo>
                    <a:pt x="396" y="344"/>
                    <a:pt x="397" y="346"/>
                    <a:pt x="398" y="345"/>
                  </a:cubicBezTo>
                  <a:cubicBezTo>
                    <a:pt x="398" y="343"/>
                    <a:pt x="398" y="343"/>
                    <a:pt x="398" y="343"/>
                  </a:cubicBezTo>
                  <a:cubicBezTo>
                    <a:pt x="397" y="344"/>
                    <a:pt x="398" y="341"/>
                    <a:pt x="398" y="341"/>
                  </a:cubicBezTo>
                  <a:cubicBezTo>
                    <a:pt x="399" y="341"/>
                    <a:pt x="401" y="341"/>
                    <a:pt x="402" y="341"/>
                  </a:cubicBezTo>
                  <a:cubicBezTo>
                    <a:pt x="403" y="340"/>
                    <a:pt x="402" y="340"/>
                    <a:pt x="403" y="339"/>
                  </a:cubicBezTo>
                  <a:cubicBezTo>
                    <a:pt x="403" y="338"/>
                    <a:pt x="403" y="335"/>
                    <a:pt x="402" y="333"/>
                  </a:cubicBezTo>
                  <a:cubicBezTo>
                    <a:pt x="402" y="333"/>
                    <a:pt x="400" y="333"/>
                    <a:pt x="399" y="333"/>
                  </a:cubicBezTo>
                  <a:cubicBezTo>
                    <a:pt x="400" y="331"/>
                    <a:pt x="400" y="331"/>
                    <a:pt x="400" y="331"/>
                  </a:cubicBezTo>
                  <a:cubicBezTo>
                    <a:pt x="400" y="331"/>
                    <a:pt x="401" y="331"/>
                    <a:pt x="402" y="331"/>
                  </a:cubicBezTo>
                  <a:cubicBezTo>
                    <a:pt x="402" y="330"/>
                    <a:pt x="401" y="327"/>
                    <a:pt x="402" y="326"/>
                  </a:cubicBezTo>
                  <a:cubicBezTo>
                    <a:pt x="403" y="324"/>
                    <a:pt x="406" y="325"/>
                    <a:pt x="408" y="323"/>
                  </a:cubicBezTo>
                  <a:cubicBezTo>
                    <a:pt x="408" y="323"/>
                    <a:pt x="408" y="322"/>
                    <a:pt x="408" y="321"/>
                  </a:cubicBezTo>
                  <a:cubicBezTo>
                    <a:pt x="408" y="321"/>
                    <a:pt x="411" y="320"/>
                    <a:pt x="411" y="319"/>
                  </a:cubicBezTo>
                  <a:cubicBezTo>
                    <a:pt x="412" y="318"/>
                    <a:pt x="411" y="316"/>
                    <a:pt x="411" y="315"/>
                  </a:cubicBezTo>
                  <a:cubicBezTo>
                    <a:pt x="411" y="314"/>
                    <a:pt x="413" y="314"/>
                    <a:pt x="413" y="313"/>
                  </a:cubicBezTo>
                  <a:cubicBezTo>
                    <a:pt x="413" y="313"/>
                    <a:pt x="413" y="313"/>
                    <a:pt x="412" y="313"/>
                  </a:cubicBezTo>
                  <a:cubicBezTo>
                    <a:pt x="410" y="311"/>
                    <a:pt x="414" y="313"/>
                    <a:pt x="415" y="312"/>
                  </a:cubicBezTo>
                  <a:cubicBezTo>
                    <a:pt x="416" y="312"/>
                    <a:pt x="416" y="309"/>
                    <a:pt x="416" y="309"/>
                  </a:cubicBezTo>
                  <a:cubicBezTo>
                    <a:pt x="416" y="309"/>
                    <a:pt x="419" y="309"/>
                    <a:pt x="420" y="309"/>
                  </a:cubicBezTo>
                  <a:cubicBezTo>
                    <a:pt x="420" y="309"/>
                    <a:pt x="420" y="307"/>
                    <a:pt x="420" y="307"/>
                  </a:cubicBezTo>
                  <a:cubicBezTo>
                    <a:pt x="419" y="306"/>
                    <a:pt x="418" y="305"/>
                    <a:pt x="417" y="305"/>
                  </a:cubicBezTo>
                  <a:cubicBezTo>
                    <a:pt x="417" y="303"/>
                    <a:pt x="418" y="304"/>
                    <a:pt x="418" y="303"/>
                  </a:cubicBezTo>
                  <a:cubicBezTo>
                    <a:pt x="418" y="298"/>
                    <a:pt x="418" y="298"/>
                    <a:pt x="418" y="298"/>
                  </a:cubicBezTo>
                  <a:cubicBezTo>
                    <a:pt x="420" y="298"/>
                    <a:pt x="422" y="298"/>
                    <a:pt x="423" y="298"/>
                  </a:cubicBezTo>
                  <a:cubicBezTo>
                    <a:pt x="420" y="296"/>
                    <a:pt x="424" y="292"/>
                    <a:pt x="422" y="291"/>
                  </a:cubicBezTo>
                  <a:cubicBezTo>
                    <a:pt x="423" y="291"/>
                    <a:pt x="423" y="291"/>
                    <a:pt x="424" y="291"/>
                  </a:cubicBezTo>
                  <a:cubicBezTo>
                    <a:pt x="425" y="290"/>
                    <a:pt x="425" y="290"/>
                    <a:pt x="425" y="290"/>
                  </a:cubicBezTo>
                  <a:cubicBezTo>
                    <a:pt x="425" y="290"/>
                    <a:pt x="425" y="288"/>
                    <a:pt x="424" y="288"/>
                  </a:cubicBezTo>
                  <a:cubicBezTo>
                    <a:pt x="423" y="287"/>
                    <a:pt x="422" y="288"/>
                    <a:pt x="421" y="287"/>
                  </a:cubicBezTo>
                  <a:cubicBezTo>
                    <a:pt x="420" y="286"/>
                    <a:pt x="420" y="286"/>
                    <a:pt x="420" y="286"/>
                  </a:cubicBezTo>
                  <a:cubicBezTo>
                    <a:pt x="418" y="286"/>
                    <a:pt x="416" y="288"/>
                    <a:pt x="413" y="287"/>
                  </a:cubicBezTo>
                  <a:cubicBezTo>
                    <a:pt x="412" y="286"/>
                    <a:pt x="412" y="285"/>
                    <a:pt x="413" y="285"/>
                  </a:cubicBezTo>
                  <a:cubicBezTo>
                    <a:pt x="416" y="283"/>
                    <a:pt x="418" y="281"/>
                    <a:pt x="420" y="279"/>
                  </a:cubicBezTo>
                  <a:cubicBezTo>
                    <a:pt x="418" y="273"/>
                    <a:pt x="416" y="268"/>
                    <a:pt x="408" y="271"/>
                  </a:cubicBezTo>
                  <a:cubicBezTo>
                    <a:pt x="408" y="270"/>
                    <a:pt x="407" y="269"/>
                    <a:pt x="406" y="268"/>
                  </a:cubicBezTo>
                  <a:cubicBezTo>
                    <a:pt x="410" y="268"/>
                    <a:pt x="413" y="268"/>
                    <a:pt x="416" y="269"/>
                  </a:cubicBezTo>
                  <a:cubicBezTo>
                    <a:pt x="416" y="268"/>
                    <a:pt x="416" y="266"/>
                    <a:pt x="416" y="266"/>
                  </a:cubicBezTo>
                  <a:cubicBezTo>
                    <a:pt x="412" y="260"/>
                    <a:pt x="408" y="256"/>
                    <a:pt x="406" y="248"/>
                  </a:cubicBezTo>
                  <a:cubicBezTo>
                    <a:pt x="404" y="249"/>
                    <a:pt x="404" y="249"/>
                    <a:pt x="402" y="249"/>
                  </a:cubicBezTo>
                  <a:cubicBezTo>
                    <a:pt x="402" y="248"/>
                    <a:pt x="403" y="248"/>
                    <a:pt x="404" y="247"/>
                  </a:cubicBezTo>
                  <a:cubicBezTo>
                    <a:pt x="402" y="243"/>
                    <a:pt x="397" y="236"/>
                    <a:pt x="400" y="229"/>
                  </a:cubicBezTo>
                  <a:cubicBezTo>
                    <a:pt x="401" y="226"/>
                    <a:pt x="404" y="226"/>
                    <a:pt x="405" y="224"/>
                  </a:cubicBezTo>
                  <a:cubicBezTo>
                    <a:pt x="405" y="224"/>
                    <a:pt x="405" y="222"/>
                    <a:pt x="404" y="221"/>
                  </a:cubicBezTo>
                  <a:cubicBezTo>
                    <a:pt x="407" y="220"/>
                    <a:pt x="409" y="219"/>
                    <a:pt x="410" y="216"/>
                  </a:cubicBezTo>
                  <a:cubicBezTo>
                    <a:pt x="411" y="216"/>
                    <a:pt x="410" y="215"/>
                    <a:pt x="411" y="214"/>
                  </a:cubicBezTo>
                  <a:cubicBezTo>
                    <a:pt x="412" y="214"/>
                    <a:pt x="414" y="214"/>
                    <a:pt x="415" y="213"/>
                  </a:cubicBezTo>
                  <a:cubicBezTo>
                    <a:pt x="415" y="213"/>
                    <a:pt x="416" y="211"/>
                    <a:pt x="416" y="211"/>
                  </a:cubicBezTo>
                  <a:cubicBezTo>
                    <a:pt x="417" y="211"/>
                    <a:pt x="419" y="211"/>
                    <a:pt x="420" y="211"/>
                  </a:cubicBezTo>
                  <a:cubicBezTo>
                    <a:pt x="420" y="211"/>
                    <a:pt x="420" y="210"/>
                    <a:pt x="420" y="209"/>
                  </a:cubicBezTo>
                  <a:cubicBezTo>
                    <a:pt x="421" y="209"/>
                    <a:pt x="421" y="208"/>
                    <a:pt x="422" y="208"/>
                  </a:cubicBezTo>
                  <a:cubicBezTo>
                    <a:pt x="422" y="208"/>
                    <a:pt x="423" y="209"/>
                    <a:pt x="424" y="209"/>
                  </a:cubicBezTo>
                  <a:cubicBezTo>
                    <a:pt x="425" y="209"/>
                    <a:pt x="425" y="208"/>
                    <a:pt x="426" y="208"/>
                  </a:cubicBezTo>
                  <a:cubicBezTo>
                    <a:pt x="427" y="207"/>
                    <a:pt x="428" y="205"/>
                    <a:pt x="429" y="203"/>
                  </a:cubicBezTo>
                  <a:cubicBezTo>
                    <a:pt x="429" y="202"/>
                    <a:pt x="429" y="202"/>
                    <a:pt x="429" y="202"/>
                  </a:cubicBezTo>
                  <a:cubicBezTo>
                    <a:pt x="428" y="201"/>
                    <a:pt x="425" y="200"/>
                    <a:pt x="425" y="200"/>
                  </a:cubicBezTo>
                  <a:cubicBezTo>
                    <a:pt x="422" y="200"/>
                    <a:pt x="421" y="203"/>
                    <a:pt x="417" y="202"/>
                  </a:cubicBezTo>
                  <a:cubicBezTo>
                    <a:pt x="416" y="201"/>
                    <a:pt x="416" y="199"/>
                    <a:pt x="415" y="199"/>
                  </a:cubicBezTo>
                  <a:cubicBezTo>
                    <a:pt x="413" y="198"/>
                    <a:pt x="408" y="198"/>
                    <a:pt x="406" y="199"/>
                  </a:cubicBezTo>
                  <a:cubicBezTo>
                    <a:pt x="406" y="199"/>
                    <a:pt x="406" y="201"/>
                    <a:pt x="406" y="201"/>
                  </a:cubicBezTo>
                  <a:cubicBezTo>
                    <a:pt x="405" y="202"/>
                    <a:pt x="403" y="202"/>
                    <a:pt x="402" y="202"/>
                  </a:cubicBezTo>
                  <a:cubicBezTo>
                    <a:pt x="401" y="203"/>
                    <a:pt x="401" y="205"/>
                    <a:pt x="400" y="206"/>
                  </a:cubicBezTo>
                  <a:cubicBezTo>
                    <a:pt x="400" y="206"/>
                    <a:pt x="398" y="206"/>
                    <a:pt x="397" y="206"/>
                  </a:cubicBezTo>
                  <a:cubicBezTo>
                    <a:pt x="398" y="206"/>
                    <a:pt x="396" y="207"/>
                    <a:pt x="396" y="207"/>
                  </a:cubicBezTo>
                  <a:cubicBezTo>
                    <a:pt x="395" y="207"/>
                    <a:pt x="394" y="207"/>
                    <a:pt x="394" y="206"/>
                  </a:cubicBezTo>
                  <a:cubicBezTo>
                    <a:pt x="392" y="205"/>
                    <a:pt x="393" y="203"/>
                    <a:pt x="392" y="201"/>
                  </a:cubicBezTo>
                  <a:cubicBezTo>
                    <a:pt x="391" y="200"/>
                    <a:pt x="390" y="197"/>
                    <a:pt x="389" y="197"/>
                  </a:cubicBezTo>
                  <a:cubicBezTo>
                    <a:pt x="388" y="197"/>
                    <a:pt x="388" y="197"/>
                    <a:pt x="388" y="197"/>
                  </a:cubicBezTo>
                  <a:cubicBezTo>
                    <a:pt x="386" y="195"/>
                    <a:pt x="385" y="191"/>
                    <a:pt x="385" y="188"/>
                  </a:cubicBezTo>
                  <a:cubicBezTo>
                    <a:pt x="384" y="189"/>
                    <a:pt x="385" y="184"/>
                    <a:pt x="385" y="184"/>
                  </a:cubicBezTo>
                  <a:cubicBezTo>
                    <a:pt x="385" y="184"/>
                    <a:pt x="386" y="183"/>
                    <a:pt x="386" y="183"/>
                  </a:cubicBezTo>
                  <a:cubicBezTo>
                    <a:pt x="388" y="182"/>
                    <a:pt x="392" y="184"/>
                    <a:pt x="394" y="183"/>
                  </a:cubicBezTo>
                  <a:cubicBezTo>
                    <a:pt x="395" y="183"/>
                    <a:pt x="397" y="178"/>
                    <a:pt x="398" y="177"/>
                  </a:cubicBezTo>
                  <a:cubicBezTo>
                    <a:pt x="399" y="176"/>
                    <a:pt x="402" y="173"/>
                    <a:pt x="403" y="173"/>
                  </a:cubicBezTo>
                  <a:cubicBezTo>
                    <a:pt x="404" y="173"/>
                    <a:pt x="405" y="173"/>
                    <a:pt x="405" y="173"/>
                  </a:cubicBezTo>
                  <a:cubicBezTo>
                    <a:pt x="406" y="173"/>
                    <a:pt x="407" y="170"/>
                    <a:pt x="408" y="170"/>
                  </a:cubicBezTo>
                  <a:cubicBezTo>
                    <a:pt x="409" y="170"/>
                    <a:pt x="409" y="170"/>
                    <a:pt x="409" y="170"/>
                  </a:cubicBezTo>
                  <a:cubicBezTo>
                    <a:pt x="410" y="168"/>
                    <a:pt x="409" y="167"/>
                    <a:pt x="410" y="165"/>
                  </a:cubicBezTo>
                  <a:cubicBezTo>
                    <a:pt x="411" y="163"/>
                    <a:pt x="414" y="161"/>
                    <a:pt x="416" y="159"/>
                  </a:cubicBezTo>
                  <a:cubicBezTo>
                    <a:pt x="419" y="160"/>
                    <a:pt x="423" y="161"/>
                    <a:pt x="426" y="162"/>
                  </a:cubicBezTo>
                  <a:cubicBezTo>
                    <a:pt x="424" y="166"/>
                    <a:pt x="422" y="170"/>
                    <a:pt x="420" y="174"/>
                  </a:cubicBezTo>
                  <a:cubicBezTo>
                    <a:pt x="420" y="174"/>
                    <a:pt x="418" y="175"/>
                    <a:pt x="418" y="175"/>
                  </a:cubicBezTo>
                  <a:cubicBezTo>
                    <a:pt x="418" y="176"/>
                    <a:pt x="418" y="179"/>
                    <a:pt x="418" y="180"/>
                  </a:cubicBezTo>
                  <a:cubicBezTo>
                    <a:pt x="418" y="180"/>
                    <a:pt x="421" y="180"/>
                    <a:pt x="421" y="180"/>
                  </a:cubicBezTo>
                  <a:cubicBezTo>
                    <a:pt x="420" y="180"/>
                    <a:pt x="416" y="185"/>
                    <a:pt x="418" y="186"/>
                  </a:cubicBezTo>
                  <a:cubicBezTo>
                    <a:pt x="418" y="186"/>
                    <a:pt x="420" y="187"/>
                    <a:pt x="419" y="186"/>
                  </a:cubicBezTo>
                  <a:cubicBezTo>
                    <a:pt x="419" y="186"/>
                    <a:pt x="421" y="186"/>
                    <a:pt x="421" y="186"/>
                  </a:cubicBezTo>
                  <a:cubicBezTo>
                    <a:pt x="421" y="185"/>
                    <a:pt x="422" y="184"/>
                    <a:pt x="421" y="183"/>
                  </a:cubicBezTo>
                  <a:cubicBezTo>
                    <a:pt x="425" y="181"/>
                    <a:pt x="434" y="171"/>
                    <a:pt x="441" y="173"/>
                  </a:cubicBezTo>
                  <a:cubicBezTo>
                    <a:pt x="441" y="173"/>
                    <a:pt x="443" y="175"/>
                    <a:pt x="443" y="175"/>
                  </a:cubicBezTo>
                  <a:cubicBezTo>
                    <a:pt x="445" y="175"/>
                    <a:pt x="444" y="173"/>
                    <a:pt x="446" y="174"/>
                  </a:cubicBezTo>
                  <a:cubicBezTo>
                    <a:pt x="446" y="174"/>
                    <a:pt x="447" y="174"/>
                    <a:pt x="447" y="174"/>
                  </a:cubicBezTo>
                  <a:cubicBezTo>
                    <a:pt x="450" y="168"/>
                    <a:pt x="450" y="168"/>
                    <a:pt x="450" y="168"/>
                  </a:cubicBezTo>
                  <a:cubicBezTo>
                    <a:pt x="453" y="165"/>
                    <a:pt x="453" y="165"/>
                    <a:pt x="453" y="165"/>
                  </a:cubicBezTo>
                  <a:cubicBezTo>
                    <a:pt x="457" y="159"/>
                    <a:pt x="457" y="159"/>
                    <a:pt x="457" y="159"/>
                  </a:cubicBezTo>
                  <a:cubicBezTo>
                    <a:pt x="459" y="155"/>
                    <a:pt x="459" y="155"/>
                    <a:pt x="459" y="155"/>
                  </a:cubicBezTo>
                  <a:cubicBezTo>
                    <a:pt x="465" y="150"/>
                    <a:pt x="465" y="150"/>
                    <a:pt x="465" y="150"/>
                  </a:cubicBezTo>
                  <a:cubicBezTo>
                    <a:pt x="464" y="145"/>
                    <a:pt x="464" y="145"/>
                    <a:pt x="464" y="145"/>
                  </a:cubicBezTo>
                  <a:cubicBezTo>
                    <a:pt x="468" y="144"/>
                    <a:pt x="468" y="144"/>
                    <a:pt x="468" y="144"/>
                  </a:cubicBezTo>
                  <a:cubicBezTo>
                    <a:pt x="470" y="147"/>
                    <a:pt x="470" y="147"/>
                    <a:pt x="470" y="147"/>
                  </a:cubicBezTo>
                  <a:cubicBezTo>
                    <a:pt x="474" y="148"/>
                    <a:pt x="474" y="148"/>
                    <a:pt x="474" y="148"/>
                  </a:cubicBezTo>
                  <a:cubicBezTo>
                    <a:pt x="478" y="149"/>
                    <a:pt x="478" y="149"/>
                    <a:pt x="478" y="149"/>
                  </a:cubicBezTo>
                  <a:cubicBezTo>
                    <a:pt x="478" y="146"/>
                    <a:pt x="478" y="146"/>
                    <a:pt x="478" y="146"/>
                  </a:cubicBezTo>
                  <a:cubicBezTo>
                    <a:pt x="478" y="143"/>
                    <a:pt x="478" y="143"/>
                    <a:pt x="478" y="143"/>
                  </a:cubicBezTo>
                  <a:cubicBezTo>
                    <a:pt x="481" y="141"/>
                    <a:pt x="481" y="141"/>
                    <a:pt x="481" y="141"/>
                  </a:cubicBezTo>
                  <a:cubicBezTo>
                    <a:pt x="485" y="141"/>
                    <a:pt x="485" y="141"/>
                    <a:pt x="485" y="141"/>
                  </a:cubicBezTo>
                  <a:cubicBezTo>
                    <a:pt x="487" y="139"/>
                    <a:pt x="487" y="139"/>
                    <a:pt x="487" y="139"/>
                  </a:cubicBezTo>
                  <a:cubicBezTo>
                    <a:pt x="487" y="137"/>
                    <a:pt x="487" y="137"/>
                    <a:pt x="487" y="137"/>
                  </a:cubicBezTo>
                  <a:cubicBezTo>
                    <a:pt x="491" y="135"/>
                    <a:pt x="491" y="135"/>
                    <a:pt x="491" y="135"/>
                  </a:cubicBezTo>
                  <a:cubicBezTo>
                    <a:pt x="492" y="129"/>
                    <a:pt x="492" y="129"/>
                    <a:pt x="492" y="129"/>
                  </a:cubicBezTo>
                  <a:cubicBezTo>
                    <a:pt x="497" y="137"/>
                    <a:pt x="497" y="137"/>
                    <a:pt x="497" y="137"/>
                  </a:cubicBezTo>
                  <a:cubicBezTo>
                    <a:pt x="499" y="134"/>
                    <a:pt x="499" y="134"/>
                    <a:pt x="499" y="134"/>
                  </a:cubicBezTo>
                  <a:cubicBezTo>
                    <a:pt x="498" y="131"/>
                    <a:pt x="498" y="131"/>
                    <a:pt x="498" y="131"/>
                  </a:cubicBezTo>
                  <a:cubicBezTo>
                    <a:pt x="501" y="129"/>
                    <a:pt x="501" y="129"/>
                    <a:pt x="501" y="129"/>
                  </a:cubicBezTo>
                  <a:cubicBezTo>
                    <a:pt x="501" y="125"/>
                    <a:pt x="501" y="125"/>
                    <a:pt x="501" y="125"/>
                  </a:cubicBezTo>
                  <a:cubicBezTo>
                    <a:pt x="501" y="119"/>
                    <a:pt x="501" y="119"/>
                    <a:pt x="501" y="119"/>
                  </a:cubicBezTo>
                  <a:cubicBezTo>
                    <a:pt x="502" y="115"/>
                    <a:pt x="502" y="115"/>
                    <a:pt x="502" y="115"/>
                  </a:cubicBezTo>
                  <a:cubicBezTo>
                    <a:pt x="502" y="111"/>
                    <a:pt x="502" y="111"/>
                    <a:pt x="502" y="111"/>
                  </a:cubicBezTo>
                  <a:cubicBezTo>
                    <a:pt x="505" y="109"/>
                    <a:pt x="505" y="109"/>
                    <a:pt x="505" y="109"/>
                  </a:cubicBezTo>
                  <a:cubicBezTo>
                    <a:pt x="507" y="107"/>
                    <a:pt x="507" y="107"/>
                    <a:pt x="507" y="107"/>
                  </a:cubicBezTo>
                  <a:cubicBezTo>
                    <a:pt x="507" y="107"/>
                    <a:pt x="507" y="107"/>
                    <a:pt x="507" y="107"/>
                  </a:cubicBezTo>
                  <a:cubicBezTo>
                    <a:pt x="507" y="106"/>
                    <a:pt x="506" y="105"/>
                    <a:pt x="507" y="105"/>
                  </a:cubicBezTo>
                  <a:cubicBezTo>
                    <a:pt x="510" y="105"/>
                    <a:pt x="512" y="107"/>
                    <a:pt x="512" y="108"/>
                  </a:cubicBezTo>
                  <a:lnTo>
                    <a:pt x="512" y="109"/>
                  </a:lnTo>
                  <a:close/>
                  <a:moveTo>
                    <a:pt x="236" y="208"/>
                  </a:moveTo>
                  <a:cubicBezTo>
                    <a:pt x="239" y="208"/>
                    <a:pt x="241" y="212"/>
                    <a:pt x="239" y="212"/>
                  </a:cubicBezTo>
                  <a:cubicBezTo>
                    <a:pt x="238" y="211"/>
                    <a:pt x="237" y="211"/>
                    <a:pt x="236" y="210"/>
                  </a:cubicBezTo>
                  <a:cubicBezTo>
                    <a:pt x="236" y="210"/>
                    <a:pt x="236" y="208"/>
                    <a:pt x="236" y="208"/>
                  </a:cubicBezTo>
                  <a:cubicBezTo>
                    <a:pt x="237" y="208"/>
                    <a:pt x="236" y="208"/>
                    <a:pt x="236" y="208"/>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52" name="Freeform 288">
              <a:extLst>
                <a:ext uri="{FF2B5EF4-FFF2-40B4-BE49-F238E27FC236}">
                  <a16:creationId xmlns:a16="http://schemas.microsoft.com/office/drawing/2014/main" id="{0FE1399F-8CD8-C649-5A8B-4F4036799D8B}"/>
                </a:ext>
              </a:extLst>
            </p:cNvPr>
            <p:cNvSpPr>
              <a:spLocks noEditPoints="1"/>
            </p:cNvSpPr>
            <p:nvPr/>
          </p:nvSpPr>
          <p:spPr bwMode="auto">
            <a:xfrm>
              <a:off x="3667475" y="4902120"/>
              <a:ext cx="271258" cy="1625771"/>
            </a:xfrm>
            <a:custGeom>
              <a:avLst/>
              <a:gdLst>
                <a:gd name="T0" fmla="*/ 52 w 77"/>
                <a:gd name="T1" fmla="*/ 0 h 461"/>
                <a:gd name="T2" fmla="*/ 49 w 77"/>
                <a:gd name="T3" fmla="*/ 42 h 461"/>
                <a:gd name="T4" fmla="*/ 44 w 77"/>
                <a:gd name="T5" fmla="*/ 85 h 461"/>
                <a:gd name="T6" fmla="*/ 41 w 77"/>
                <a:gd name="T7" fmla="*/ 115 h 461"/>
                <a:gd name="T8" fmla="*/ 39 w 77"/>
                <a:gd name="T9" fmla="*/ 158 h 461"/>
                <a:gd name="T10" fmla="*/ 29 w 77"/>
                <a:gd name="T11" fmla="*/ 203 h 461"/>
                <a:gd name="T12" fmla="*/ 20 w 77"/>
                <a:gd name="T13" fmla="*/ 233 h 461"/>
                <a:gd name="T14" fmla="*/ 19 w 77"/>
                <a:gd name="T15" fmla="*/ 264 h 461"/>
                <a:gd name="T16" fmla="*/ 28 w 77"/>
                <a:gd name="T17" fmla="*/ 279 h 461"/>
                <a:gd name="T18" fmla="*/ 26 w 77"/>
                <a:gd name="T19" fmla="*/ 304 h 461"/>
                <a:gd name="T20" fmla="*/ 21 w 77"/>
                <a:gd name="T21" fmla="*/ 326 h 461"/>
                <a:gd name="T22" fmla="*/ 13 w 77"/>
                <a:gd name="T23" fmla="*/ 333 h 461"/>
                <a:gd name="T24" fmla="*/ 4 w 77"/>
                <a:gd name="T25" fmla="*/ 344 h 461"/>
                <a:gd name="T26" fmla="*/ 14 w 77"/>
                <a:gd name="T27" fmla="*/ 353 h 461"/>
                <a:gd name="T28" fmla="*/ 14 w 77"/>
                <a:gd name="T29" fmla="*/ 375 h 461"/>
                <a:gd name="T30" fmla="*/ 10 w 77"/>
                <a:gd name="T31" fmla="*/ 387 h 461"/>
                <a:gd name="T32" fmla="*/ 17 w 77"/>
                <a:gd name="T33" fmla="*/ 400 h 461"/>
                <a:gd name="T34" fmla="*/ 4 w 77"/>
                <a:gd name="T35" fmla="*/ 412 h 461"/>
                <a:gd name="T36" fmla="*/ 11 w 77"/>
                <a:gd name="T37" fmla="*/ 419 h 461"/>
                <a:gd name="T38" fmla="*/ 23 w 77"/>
                <a:gd name="T39" fmla="*/ 404 h 461"/>
                <a:gd name="T40" fmla="*/ 21 w 77"/>
                <a:gd name="T41" fmla="*/ 410 h 461"/>
                <a:gd name="T42" fmla="*/ 17 w 77"/>
                <a:gd name="T43" fmla="*/ 430 h 461"/>
                <a:gd name="T44" fmla="*/ 29 w 77"/>
                <a:gd name="T45" fmla="*/ 436 h 461"/>
                <a:gd name="T46" fmla="*/ 37 w 77"/>
                <a:gd name="T47" fmla="*/ 432 h 461"/>
                <a:gd name="T48" fmla="*/ 46 w 77"/>
                <a:gd name="T49" fmla="*/ 409 h 461"/>
                <a:gd name="T50" fmla="*/ 21 w 77"/>
                <a:gd name="T51" fmla="*/ 369 h 461"/>
                <a:gd name="T52" fmla="*/ 32 w 77"/>
                <a:gd name="T53" fmla="*/ 324 h 461"/>
                <a:gd name="T54" fmla="*/ 34 w 77"/>
                <a:gd name="T55" fmla="*/ 276 h 461"/>
                <a:gd name="T56" fmla="*/ 37 w 77"/>
                <a:gd name="T57" fmla="*/ 219 h 461"/>
                <a:gd name="T58" fmla="*/ 50 w 77"/>
                <a:gd name="T59" fmla="*/ 162 h 461"/>
                <a:gd name="T60" fmla="*/ 64 w 77"/>
                <a:gd name="T61" fmla="*/ 95 h 461"/>
                <a:gd name="T62" fmla="*/ 66 w 77"/>
                <a:gd name="T63" fmla="*/ 444 h 461"/>
                <a:gd name="T64" fmla="*/ 49 w 77"/>
                <a:gd name="T65" fmla="*/ 427 h 461"/>
                <a:gd name="T66" fmla="*/ 42 w 77"/>
                <a:gd name="T67" fmla="*/ 440 h 461"/>
                <a:gd name="T68" fmla="*/ 34 w 77"/>
                <a:gd name="T69" fmla="*/ 432 h 461"/>
                <a:gd name="T70" fmla="*/ 31 w 77"/>
                <a:gd name="T71" fmla="*/ 444 h 461"/>
                <a:gd name="T72" fmla="*/ 53 w 77"/>
                <a:gd name="T73" fmla="*/ 448 h 461"/>
                <a:gd name="T74" fmla="*/ 71 w 77"/>
                <a:gd name="T75" fmla="*/ 446 h 461"/>
                <a:gd name="T76" fmla="*/ 67 w 77"/>
                <a:gd name="T77" fmla="*/ 458 h 461"/>
                <a:gd name="T78" fmla="*/ 52 w 77"/>
                <a:gd name="T79" fmla="*/ 450 h 461"/>
                <a:gd name="T80" fmla="*/ 54 w 77"/>
                <a:gd name="T81" fmla="*/ 452 h 461"/>
                <a:gd name="T82" fmla="*/ 41 w 77"/>
                <a:gd name="T83" fmla="*/ 448 h 461"/>
                <a:gd name="T84" fmla="*/ 27 w 77"/>
                <a:gd name="T85" fmla="*/ 422 h 461"/>
                <a:gd name="T86" fmla="*/ 32 w 77"/>
                <a:gd name="T87" fmla="*/ 417 h 461"/>
                <a:gd name="T88" fmla="*/ 7 w 77"/>
                <a:gd name="T89" fmla="*/ 402 h 461"/>
                <a:gd name="T90" fmla="*/ 8 w 77"/>
                <a:gd name="T91" fmla="*/ 392 h 461"/>
                <a:gd name="T92" fmla="*/ 13 w 77"/>
                <a:gd name="T93" fmla="*/ 393 h 461"/>
                <a:gd name="T94" fmla="*/ 7 w 77"/>
                <a:gd name="T95" fmla="*/ 387 h 461"/>
                <a:gd name="T96" fmla="*/ 2 w 77"/>
                <a:gd name="T97" fmla="*/ 369 h 461"/>
                <a:gd name="T98" fmla="*/ 6 w 77"/>
                <a:gd name="T99" fmla="*/ 383 h 461"/>
                <a:gd name="T100" fmla="*/ 12 w 77"/>
                <a:gd name="T101" fmla="*/ 320 h 461"/>
                <a:gd name="T102" fmla="*/ 18 w 77"/>
                <a:gd name="T103" fmla="*/ 328 h 461"/>
                <a:gd name="T104" fmla="*/ 16 w 77"/>
                <a:gd name="T105" fmla="*/ 317 h 461"/>
                <a:gd name="T106" fmla="*/ 14 w 77"/>
                <a:gd name="T107" fmla="*/ 311 h 461"/>
                <a:gd name="T108" fmla="*/ 20 w 77"/>
                <a:gd name="T109" fmla="*/ 297 h 461"/>
                <a:gd name="T110" fmla="*/ 19 w 77"/>
                <a:gd name="T111" fmla="*/ 279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7" h="461">
                  <a:moveTo>
                    <a:pt x="71" y="51"/>
                  </a:moveTo>
                  <a:cubicBezTo>
                    <a:pt x="67" y="48"/>
                    <a:pt x="67" y="48"/>
                    <a:pt x="67" y="48"/>
                  </a:cubicBezTo>
                  <a:cubicBezTo>
                    <a:pt x="66" y="41"/>
                    <a:pt x="66" y="41"/>
                    <a:pt x="66" y="41"/>
                  </a:cubicBezTo>
                  <a:cubicBezTo>
                    <a:pt x="66" y="41"/>
                    <a:pt x="66" y="34"/>
                    <a:pt x="65" y="32"/>
                  </a:cubicBezTo>
                  <a:cubicBezTo>
                    <a:pt x="63" y="30"/>
                    <a:pt x="63" y="26"/>
                    <a:pt x="62" y="23"/>
                  </a:cubicBezTo>
                  <a:cubicBezTo>
                    <a:pt x="61" y="21"/>
                    <a:pt x="60" y="15"/>
                    <a:pt x="60" y="15"/>
                  </a:cubicBezTo>
                  <a:cubicBezTo>
                    <a:pt x="60" y="15"/>
                    <a:pt x="58" y="12"/>
                    <a:pt x="56" y="10"/>
                  </a:cubicBezTo>
                  <a:cubicBezTo>
                    <a:pt x="54" y="9"/>
                    <a:pt x="52" y="0"/>
                    <a:pt x="52" y="0"/>
                  </a:cubicBezTo>
                  <a:cubicBezTo>
                    <a:pt x="52" y="0"/>
                    <a:pt x="51" y="0"/>
                    <a:pt x="50" y="3"/>
                  </a:cubicBezTo>
                  <a:cubicBezTo>
                    <a:pt x="49" y="5"/>
                    <a:pt x="47" y="6"/>
                    <a:pt x="47" y="6"/>
                  </a:cubicBezTo>
                  <a:cubicBezTo>
                    <a:pt x="47" y="6"/>
                    <a:pt x="48" y="7"/>
                    <a:pt x="48" y="8"/>
                  </a:cubicBezTo>
                  <a:cubicBezTo>
                    <a:pt x="48" y="9"/>
                    <a:pt x="48" y="10"/>
                    <a:pt x="48" y="12"/>
                  </a:cubicBezTo>
                  <a:cubicBezTo>
                    <a:pt x="49" y="17"/>
                    <a:pt x="51" y="22"/>
                    <a:pt x="50" y="29"/>
                  </a:cubicBezTo>
                  <a:cubicBezTo>
                    <a:pt x="50" y="31"/>
                    <a:pt x="48" y="35"/>
                    <a:pt x="49" y="38"/>
                  </a:cubicBezTo>
                  <a:cubicBezTo>
                    <a:pt x="49" y="39"/>
                    <a:pt x="51" y="40"/>
                    <a:pt x="50" y="42"/>
                  </a:cubicBezTo>
                  <a:cubicBezTo>
                    <a:pt x="49" y="42"/>
                    <a:pt x="49" y="42"/>
                    <a:pt x="49" y="42"/>
                  </a:cubicBezTo>
                  <a:cubicBezTo>
                    <a:pt x="48" y="43"/>
                    <a:pt x="49" y="44"/>
                    <a:pt x="48" y="46"/>
                  </a:cubicBezTo>
                  <a:cubicBezTo>
                    <a:pt x="47" y="46"/>
                    <a:pt x="47" y="46"/>
                    <a:pt x="47" y="46"/>
                  </a:cubicBezTo>
                  <a:cubicBezTo>
                    <a:pt x="46" y="51"/>
                    <a:pt x="47" y="56"/>
                    <a:pt x="47" y="61"/>
                  </a:cubicBezTo>
                  <a:cubicBezTo>
                    <a:pt x="45" y="61"/>
                    <a:pt x="45" y="61"/>
                    <a:pt x="45" y="61"/>
                  </a:cubicBezTo>
                  <a:cubicBezTo>
                    <a:pt x="44" y="65"/>
                    <a:pt x="46" y="65"/>
                    <a:pt x="47" y="67"/>
                  </a:cubicBezTo>
                  <a:cubicBezTo>
                    <a:pt x="47" y="67"/>
                    <a:pt x="47" y="69"/>
                    <a:pt x="47" y="69"/>
                  </a:cubicBezTo>
                  <a:cubicBezTo>
                    <a:pt x="45" y="69"/>
                    <a:pt x="46" y="70"/>
                    <a:pt x="46" y="71"/>
                  </a:cubicBezTo>
                  <a:cubicBezTo>
                    <a:pt x="45" y="74"/>
                    <a:pt x="43" y="79"/>
                    <a:pt x="44" y="85"/>
                  </a:cubicBezTo>
                  <a:cubicBezTo>
                    <a:pt x="44" y="86"/>
                    <a:pt x="46" y="88"/>
                    <a:pt x="45" y="89"/>
                  </a:cubicBezTo>
                  <a:cubicBezTo>
                    <a:pt x="45" y="91"/>
                    <a:pt x="44" y="94"/>
                    <a:pt x="43" y="97"/>
                  </a:cubicBezTo>
                  <a:cubicBezTo>
                    <a:pt x="45" y="97"/>
                    <a:pt x="43" y="98"/>
                    <a:pt x="43" y="98"/>
                  </a:cubicBezTo>
                  <a:cubicBezTo>
                    <a:pt x="43" y="99"/>
                    <a:pt x="43" y="102"/>
                    <a:pt x="43" y="102"/>
                  </a:cubicBezTo>
                  <a:cubicBezTo>
                    <a:pt x="43" y="103"/>
                    <a:pt x="43" y="104"/>
                    <a:pt x="43" y="105"/>
                  </a:cubicBezTo>
                  <a:cubicBezTo>
                    <a:pt x="43" y="105"/>
                    <a:pt x="43" y="107"/>
                    <a:pt x="43" y="108"/>
                  </a:cubicBezTo>
                  <a:cubicBezTo>
                    <a:pt x="41" y="109"/>
                    <a:pt x="41" y="109"/>
                    <a:pt x="41" y="109"/>
                  </a:cubicBezTo>
                  <a:cubicBezTo>
                    <a:pt x="40" y="112"/>
                    <a:pt x="42" y="113"/>
                    <a:pt x="41" y="115"/>
                  </a:cubicBezTo>
                  <a:cubicBezTo>
                    <a:pt x="41" y="115"/>
                    <a:pt x="40" y="116"/>
                    <a:pt x="40" y="116"/>
                  </a:cubicBezTo>
                  <a:cubicBezTo>
                    <a:pt x="40" y="117"/>
                    <a:pt x="40" y="120"/>
                    <a:pt x="40" y="121"/>
                  </a:cubicBezTo>
                  <a:cubicBezTo>
                    <a:pt x="40" y="122"/>
                    <a:pt x="38" y="126"/>
                    <a:pt x="37" y="127"/>
                  </a:cubicBezTo>
                  <a:cubicBezTo>
                    <a:pt x="37" y="132"/>
                    <a:pt x="40" y="133"/>
                    <a:pt x="40" y="136"/>
                  </a:cubicBezTo>
                  <a:cubicBezTo>
                    <a:pt x="40" y="138"/>
                    <a:pt x="40" y="142"/>
                    <a:pt x="39" y="145"/>
                  </a:cubicBezTo>
                  <a:cubicBezTo>
                    <a:pt x="39" y="145"/>
                    <a:pt x="38" y="145"/>
                    <a:pt x="38" y="145"/>
                  </a:cubicBezTo>
                  <a:cubicBezTo>
                    <a:pt x="37" y="147"/>
                    <a:pt x="37" y="149"/>
                    <a:pt x="37" y="151"/>
                  </a:cubicBezTo>
                  <a:cubicBezTo>
                    <a:pt x="37" y="153"/>
                    <a:pt x="39" y="156"/>
                    <a:pt x="39" y="158"/>
                  </a:cubicBezTo>
                  <a:cubicBezTo>
                    <a:pt x="39" y="159"/>
                    <a:pt x="39" y="171"/>
                    <a:pt x="39" y="172"/>
                  </a:cubicBezTo>
                  <a:cubicBezTo>
                    <a:pt x="35" y="175"/>
                    <a:pt x="35" y="175"/>
                    <a:pt x="35" y="175"/>
                  </a:cubicBezTo>
                  <a:cubicBezTo>
                    <a:pt x="35" y="175"/>
                    <a:pt x="35" y="180"/>
                    <a:pt x="35" y="179"/>
                  </a:cubicBezTo>
                  <a:cubicBezTo>
                    <a:pt x="35" y="180"/>
                    <a:pt x="36" y="179"/>
                    <a:pt x="36" y="181"/>
                  </a:cubicBezTo>
                  <a:cubicBezTo>
                    <a:pt x="36" y="182"/>
                    <a:pt x="33" y="184"/>
                    <a:pt x="33" y="185"/>
                  </a:cubicBezTo>
                  <a:cubicBezTo>
                    <a:pt x="32" y="187"/>
                    <a:pt x="33" y="189"/>
                    <a:pt x="33" y="191"/>
                  </a:cubicBezTo>
                  <a:cubicBezTo>
                    <a:pt x="32" y="194"/>
                    <a:pt x="28" y="197"/>
                    <a:pt x="28" y="200"/>
                  </a:cubicBezTo>
                  <a:cubicBezTo>
                    <a:pt x="28" y="202"/>
                    <a:pt x="29" y="202"/>
                    <a:pt x="29" y="203"/>
                  </a:cubicBezTo>
                  <a:cubicBezTo>
                    <a:pt x="30" y="205"/>
                    <a:pt x="29" y="209"/>
                    <a:pt x="29" y="211"/>
                  </a:cubicBezTo>
                  <a:cubicBezTo>
                    <a:pt x="29" y="212"/>
                    <a:pt x="26" y="213"/>
                    <a:pt x="26" y="214"/>
                  </a:cubicBezTo>
                  <a:cubicBezTo>
                    <a:pt x="26" y="215"/>
                    <a:pt x="26" y="216"/>
                    <a:pt x="26" y="217"/>
                  </a:cubicBezTo>
                  <a:cubicBezTo>
                    <a:pt x="25" y="221"/>
                    <a:pt x="21" y="217"/>
                    <a:pt x="24" y="226"/>
                  </a:cubicBezTo>
                  <a:cubicBezTo>
                    <a:pt x="23" y="226"/>
                    <a:pt x="22" y="225"/>
                    <a:pt x="21" y="226"/>
                  </a:cubicBezTo>
                  <a:cubicBezTo>
                    <a:pt x="20" y="226"/>
                    <a:pt x="20" y="227"/>
                    <a:pt x="19" y="227"/>
                  </a:cubicBezTo>
                  <a:cubicBezTo>
                    <a:pt x="20" y="228"/>
                    <a:pt x="21" y="229"/>
                    <a:pt x="21" y="230"/>
                  </a:cubicBezTo>
                  <a:cubicBezTo>
                    <a:pt x="21" y="230"/>
                    <a:pt x="20" y="232"/>
                    <a:pt x="20" y="233"/>
                  </a:cubicBezTo>
                  <a:cubicBezTo>
                    <a:pt x="20" y="233"/>
                    <a:pt x="22" y="234"/>
                    <a:pt x="22" y="234"/>
                  </a:cubicBezTo>
                  <a:cubicBezTo>
                    <a:pt x="22" y="236"/>
                    <a:pt x="21" y="238"/>
                    <a:pt x="21" y="238"/>
                  </a:cubicBezTo>
                  <a:cubicBezTo>
                    <a:pt x="21" y="238"/>
                    <a:pt x="21" y="240"/>
                    <a:pt x="21" y="240"/>
                  </a:cubicBezTo>
                  <a:cubicBezTo>
                    <a:pt x="21" y="240"/>
                    <a:pt x="22" y="242"/>
                    <a:pt x="22" y="242"/>
                  </a:cubicBezTo>
                  <a:cubicBezTo>
                    <a:pt x="22" y="242"/>
                    <a:pt x="21" y="243"/>
                    <a:pt x="21" y="243"/>
                  </a:cubicBezTo>
                  <a:cubicBezTo>
                    <a:pt x="23" y="243"/>
                    <a:pt x="24" y="254"/>
                    <a:pt x="23" y="256"/>
                  </a:cubicBezTo>
                  <a:cubicBezTo>
                    <a:pt x="23" y="256"/>
                    <a:pt x="21" y="256"/>
                    <a:pt x="21" y="256"/>
                  </a:cubicBezTo>
                  <a:cubicBezTo>
                    <a:pt x="21" y="259"/>
                    <a:pt x="19" y="262"/>
                    <a:pt x="19" y="264"/>
                  </a:cubicBezTo>
                  <a:cubicBezTo>
                    <a:pt x="19" y="265"/>
                    <a:pt x="17" y="271"/>
                    <a:pt x="17" y="271"/>
                  </a:cubicBezTo>
                  <a:cubicBezTo>
                    <a:pt x="18" y="271"/>
                    <a:pt x="19" y="278"/>
                    <a:pt x="19" y="279"/>
                  </a:cubicBezTo>
                  <a:cubicBezTo>
                    <a:pt x="20" y="278"/>
                    <a:pt x="21" y="279"/>
                    <a:pt x="22" y="279"/>
                  </a:cubicBezTo>
                  <a:cubicBezTo>
                    <a:pt x="22" y="279"/>
                    <a:pt x="22" y="277"/>
                    <a:pt x="23" y="276"/>
                  </a:cubicBezTo>
                  <a:cubicBezTo>
                    <a:pt x="23" y="275"/>
                    <a:pt x="25" y="275"/>
                    <a:pt x="25" y="275"/>
                  </a:cubicBezTo>
                  <a:cubicBezTo>
                    <a:pt x="26" y="276"/>
                    <a:pt x="26" y="277"/>
                    <a:pt x="27" y="278"/>
                  </a:cubicBezTo>
                  <a:cubicBezTo>
                    <a:pt x="28" y="278"/>
                    <a:pt x="28" y="278"/>
                    <a:pt x="28" y="278"/>
                  </a:cubicBezTo>
                  <a:cubicBezTo>
                    <a:pt x="28" y="278"/>
                    <a:pt x="28" y="279"/>
                    <a:pt x="28" y="279"/>
                  </a:cubicBezTo>
                  <a:cubicBezTo>
                    <a:pt x="28" y="280"/>
                    <a:pt x="26" y="281"/>
                    <a:pt x="25" y="281"/>
                  </a:cubicBezTo>
                  <a:cubicBezTo>
                    <a:pt x="26" y="285"/>
                    <a:pt x="26" y="290"/>
                    <a:pt x="26" y="294"/>
                  </a:cubicBezTo>
                  <a:cubicBezTo>
                    <a:pt x="24" y="295"/>
                    <a:pt x="25" y="293"/>
                    <a:pt x="25" y="293"/>
                  </a:cubicBezTo>
                  <a:cubicBezTo>
                    <a:pt x="25" y="293"/>
                    <a:pt x="25" y="294"/>
                    <a:pt x="24" y="295"/>
                  </a:cubicBezTo>
                  <a:cubicBezTo>
                    <a:pt x="24" y="296"/>
                    <a:pt x="22" y="297"/>
                    <a:pt x="23" y="298"/>
                  </a:cubicBezTo>
                  <a:cubicBezTo>
                    <a:pt x="24" y="298"/>
                    <a:pt x="24" y="298"/>
                    <a:pt x="24" y="298"/>
                  </a:cubicBezTo>
                  <a:cubicBezTo>
                    <a:pt x="24" y="299"/>
                    <a:pt x="24" y="300"/>
                    <a:pt x="24" y="301"/>
                  </a:cubicBezTo>
                  <a:cubicBezTo>
                    <a:pt x="24" y="302"/>
                    <a:pt x="26" y="303"/>
                    <a:pt x="26" y="304"/>
                  </a:cubicBezTo>
                  <a:cubicBezTo>
                    <a:pt x="25" y="305"/>
                    <a:pt x="23" y="306"/>
                    <a:pt x="21" y="307"/>
                  </a:cubicBezTo>
                  <a:cubicBezTo>
                    <a:pt x="21" y="307"/>
                    <a:pt x="22" y="309"/>
                    <a:pt x="21" y="309"/>
                  </a:cubicBezTo>
                  <a:cubicBezTo>
                    <a:pt x="23" y="310"/>
                    <a:pt x="23" y="309"/>
                    <a:pt x="23" y="311"/>
                  </a:cubicBezTo>
                  <a:cubicBezTo>
                    <a:pt x="22" y="311"/>
                    <a:pt x="22" y="311"/>
                    <a:pt x="19" y="311"/>
                  </a:cubicBezTo>
                  <a:cubicBezTo>
                    <a:pt x="19" y="311"/>
                    <a:pt x="21" y="313"/>
                    <a:pt x="21" y="313"/>
                  </a:cubicBezTo>
                  <a:cubicBezTo>
                    <a:pt x="19" y="314"/>
                    <a:pt x="19" y="314"/>
                    <a:pt x="19" y="314"/>
                  </a:cubicBezTo>
                  <a:cubicBezTo>
                    <a:pt x="20" y="319"/>
                    <a:pt x="20" y="321"/>
                    <a:pt x="19" y="325"/>
                  </a:cubicBezTo>
                  <a:cubicBezTo>
                    <a:pt x="20" y="325"/>
                    <a:pt x="21" y="324"/>
                    <a:pt x="21" y="326"/>
                  </a:cubicBezTo>
                  <a:cubicBezTo>
                    <a:pt x="19" y="327"/>
                    <a:pt x="19" y="327"/>
                    <a:pt x="19" y="327"/>
                  </a:cubicBezTo>
                  <a:cubicBezTo>
                    <a:pt x="19" y="330"/>
                    <a:pt x="19" y="333"/>
                    <a:pt x="19" y="336"/>
                  </a:cubicBezTo>
                  <a:cubicBezTo>
                    <a:pt x="18" y="336"/>
                    <a:pt x="18" y="338"/>
                    <a:pt x="17" y="337"/>
                  </a:cubicBezTo>
                  <a:cubicBezTo>
                    <a:pt x="17" y="337"/>
                    <a:pt x="17" y="337"/>
                    <a:pt x="17" y="337"/>
                  </a:cubicBezTo>
                  <a:cubicBezTo>
                    <a:pt x="16" y="336"/>
                    <a:pt x="18" y="334"/>
                    <a:pt x="14" y="335"/>
                  </a:cubicBezTo>
                  <a:cubicBezTo>
                    <a:pt x="14" y="335"/>
                    <a:pt x="14" y="337"/>
                    <a:pt x="14" y="337"/>
                  </a:cubicBezTo>
                  <a:cubicBezTo>
                    <a:pt x="13" y="337"/>
                    <a:pt x="10" y="337"/>
                    <a:pt x="12" y="336"/>
                  </a:cubicBezTo>
                  <a:cubicBezTo>
                    <a:pt x="13" y="336"/>
                    <a:pt x="12" y="334"/>
                    <a:pt x="13" y="333"/>
                  </a:cubicBezTo>
                  <a:cubicBezTo>
                    <a:pt x="12" y="334"/>
                    <a:pt x="11" y="335"/>
                    <a:pt x="9" y="336"/>
                  </a:cubicBezTo>
                  <a:cubicBezTo>
                    <a:pt x="9" y="336"/>
                    <a:pt x="10" y="333"/>
                    <a:pt x="10" y="333"/>
                  </a:cubicBezTo>
                  <a:cubicBezTo>
                    <a:pt x="9" y="332"/>
                    <a:pt x="8" y="333"/>
                    <a:pt x="7" y="332"/>
                  </a:cubicBezTo>
                  <a:cubicBezTo>
                    <a:pt x="6" y="333"/>
                    <a:pt x="6" y="333"/>
                    <a:pt x="6" y="333"/>
                  </a:cubicBezTo>
                  <a:cubicBezTo>
                    <a:pt x="3" y="335"/>
                    <a:pt x="4" y="334"/>
                    <a:pt x="6" y="337"/>
                  </a:cubicBezTo>
                  <a:cubicBezTo>
                    <a:pt x="5" y="338"/>
                    <a:pt x="3" y="339"/>
                    <a:pt x="2" y="341"/>
                  </a:cubicBezTo>
                  <a:cubicBezTo>
                    <a:pt x="3" y="341"/>
                    <a:pt x="2" y="343"/>
                    <a:pt x="2" y="344"/>
                  </a:cubicBezTo>
                  <a:cubicBezTo>
                    <a:pt x="4" y="344"/>
                    <a:pt x="4" y="344"/>
                    <a:pt x="4" y="344"/>
                  </a:cubicBezTo>
                  <a:cubicBezTo>
                    <a:pt x="4" y="344"/>
                    <a:pt x="2" y="340"/>
                    <a:pt x="6" y="341"/>
                  </a:cubicBezTo>
                  <a:cubicBezTo>
                    <a:pt x="6" y="342"/>
                    <a:pt x="6" y="342"/>
                    <a:pt x="6" y="342"/>
                  </a:cubicBezTo>
                  <a:cubicBezTo>
                    <a:pt x="6" y="342"/>
                    <a:pt x="6" y="342"/>
                    <a:pt x="6" y="342"/>
                  </a:cubicBezTo>
                  <a:cubicBezTo>
                    <a:pt x="6" y="342"/>
                    <a:pt x="6" y="344"/>
                    <a:pt x="6" y="344"/>
                  </a:cubicBezTo>
                  <a:cubicBezTo>
                    <a:pt x="6" y="344"/>
                    <a:pt x="9" y="344"/>
                    <a:pt x="10" y="345"/>
                  </a:cubicBezTo>
                  <a:cubicBezTo>
                    <a:pt x="10" y="345"/>
                    <a:pt x="10" y="343"/>
                    <a:pt x="10" y="343"/>
                  </a:cubicBezTo>
                  <a:cubicBezTo>
                    <a:pt x="11" y="342"/>
                    <a:pt x="13" y="343"/>
                    <a:pt x="13" y="343"/>
                  </a:cubicBezTo>
                  <a:cubicBezTo>
                    <a:pt x="15" y="347"/>
                    <a:pt x="16" y="348"/>
                    <a:pt x="14" y="353"/>
                  </a:cubicBezTo>
                  <a:cubicBezTo>
                    <a:pt x="15" y="353"/>
                    <a:pt x="15" y="353"/>
                    <a:pt x="16" y="353"/>
                  </a:cubicBezTo>
                  <a:cubicBezTo>
                    <a:pt x="16" y="354"/>
                    <a:pt x="15" y="354"/>
                    <a:pt x="15" y="355"/>
                  </a:cubicBezTo>
                  <a:cubicBezTo>
                    <a:pt x="13" y="355"/>
                    <a:pt x="14" y="355"/>
                    <a:pt x="12" y="355"/>
                  </a:cubicBezTo>
                  <a:cubicBezTo>
                    <a:pt x="13" y="357"/>
                    <a:pt x="12" y="361"/>
                    <a:pt x="13" y="365"/>
                  </a:cubicBezTo>
                  <a:cubicBezTo>
                    <a:pt x="13" y="365"/>
                    <a:pt x="14" y="366"/>
                    <a:pt x="14" y="367"/>
                  </a:cubicBezTo>
                  <a:cubicBezTo>
                    <a:pt x="13" y="367"/>
                    <a:pt x="13" y="367"/>
                    <a:pt x="13" y="367"/>
                  </a:cubicBezTo>
                  <a:cubicBezTo>
                    <a:pt x="12" y="369"/>
                    <a:pt x="12" y="372"/>
                    <a:pt x="12" y="375"/>
                  </a:cubicBezTo>
                  <a:cubicBezTo>
                    <a:pt x="13" y="375"/>
                    <a:pt x="14" y="376"/>
                    <a:pt x="14" y="375"/>
                  </a:cubicBezTo>
                  <a:cubicBezTo>
                    <a:pt x="14" y="375"/>
                    <a:pt x="14" y="373"/>
                    <a:pt x="14" y="373"/>
                  </a:cubicBezTo>
                  <a:cubicBezTo>
                    <a:pt x="14" y="373"/>
                    <a:pt x="16" y="373"/>
                    <a:pt x="16" y="373"/>
                  </a:cubicBezTo>
                  <a:cubicBezTo>
                    <a:pt x="16" y="373"/>
                    <a:pt x="16" y="375"/>
                    <a:pt x="15" y="376"/>
                  </a:cubicBezTo>
                  <a:cubicBezTo>
                    <a:pt x="15" y="377"/>
                    <a:pt x="15" y="377"/>
                    <a:pt x="15" y="377"/>
                  </a:cubicBezTo>
                  <a:cubicBezTo>
                    <a:pt x="15" y="378"/>
                    <a:pt x="13" y="377"/>
                    <a:pt x="12" y="379"/>
                  </a:cubicBezTo>
                  <a:cubicBezTo>
                    <a:pt x="12" y="379"/>
                    <a:pt x="12" y="381"/>
                    <a:pt x="12" y="382"/>
                  </a:cubicBezTo>
                  <a:cubicBezTo>
                    <a:pt x="12" y="382"/>
                    <a:pt x="10" y="383"/>
                    <a:pt x="10" y="384"/>
                  </a:cubicBezTo>
                  <a:cubicBezTo>
                    <a:pt x="10" y="385"/>
                    <a:pt x="10" y="386"/>
                    <a:pt x="10" y="387"/>
                  </a:cubicBezTo>
                  <a:cubicBezTo>
                    <a:pt x="12" y="388"/>
                    <a:pt x="14" y="387"/>
                    <a:pt x="15" y="389"/>
                  </a:cubicBezTo>
                  <a:cubicBezTo>
                    <a:pt x="17" y="389"/>
                    <a:pt x="14" y="389"/>
                    <a:pt x="14" y="389"/>
                  </a:cubicBezTo>
                  <a:cubicBezTo>
                    <a:pt x="14" y="390"/>
                    <a:pt x="14" y="391"/>
                    <a:pt x="14" y="391"/>
                  </a:cubicBezTo>
                  <a:cubicBezTo>
                    <a:pt x="15" y="392"/>
                    <a:pt x="16" y="393"/>
                    <a:pt x="16" y="393"/>
                  </a:cubicBezTo>
                  <a:cubicBezTo>
                    <a:pt x="17" y="393"/>
                    <a:pt x="17" y="393"/>
                    <a:pt x="18" y="393"/>
                  </a:cubicBezTo>
                  <a:cubicBezTo>
                    <a:pt x="17" y="394"/>
                    <a:pt x="15" y="395"/>
                    <a:pt x="14" y="396"/>
                  </a:cubicBezTo>
                  <a:cubicBezTo>
                    <a:pt x="14" y="395"/>
                    <a:pt x="13" y="398"/>
                    <a:pt x="13" y="398"/>
                  </a:cubicBezTo>
                  <a:cubicBezTo>
                    <a:pt x="14" y="399"/>
                    <a:pt x="16" y="400"/>
                    <a:pt x="17" y="400"/>
                  </a:cubicBezTo>
                  <a:cubicBezTo>
                    <a:pt x="17" y="402"/>
                    <a:pt x="17" y="403"/>
                    <a:pt x="17" y="404"/>
                  </a:cubicBezTo>
                  <a:cubicBezTo>
                    <a:pt x="17" y="404"/>
                    <a:pt x="15" y="403"/>
                    <a:pt x="15" y="404"/>
                  </a:cubicBezTo>
                  <a:cubicBezTo>
                    <a:pt x="15" y="404"/>
                    <a:pt x="15" y="406"/>
                    <a:pt x="15" y="406"/>
                  </a:cubicBezTo>
                  <a:cubicBezTo>
                    <a:pt x="13" y="406"/>
                    <a:pt x="13" y="405"/>
                    <a:pt x="11" y="406"/>
                  </a:cubicBezTo>
                  <a:cubicBezTo>
                    <a:pt x="10" y="406"/>
                    <a:pt x="13" y="407"/>
                    <a:pt x="10" y="407"/>
                  </a:cubicBezTo>
                  <a:cubicBezTo>
                    <a:pt x="10" y="407"/>
                    <a:pt x="7" y="405"/>
                    <a:pt x="7" y="405"/>
                  </a:cubicBezTo>
                  <a:cubicBezTo>
                    <a:pt x="4" y="405"/>
                    <a:pt x="3" y="409"/>
                    <a:pt x="4" y="408"/>
                  </a:cubicBezTo>
                  <a:cubicBezTo>
                    <a:pt x="4" y="410"/>
                    <a:pt x="4" y="410"/>
                    <a:pt x="4" y="412"/>
                  </a:cubicBezTo>
                  <a:cubicBezTo>
                    <a:pt x="5" y="413"/>
                    <a:pt x="7" y="415"/>
                    <a:pt x="8" y="416"/>
                  </a:cubicBezTo>
                  <a:cubicBezTo>
                    <a:pt x="8" y="416"/>
                    <a:pt x="8" y="418"/>
                    <a:pt x="7" y="419"/>
                  </a:cubicBezTo>
                  <a:cubicBezTo>
                    <a:pt x="9" y="420"/>
                    <a:pt x="11" y="423"/>
                    <a:pt x="12" y="424"/>
                  </a:cubicBezTo>
                  <a:cubicBezTo>
                    <a:pt x="14" y="425"/>
                    <a:pt x="14" y="424"/>
                    <a:pt x="16" y="424"/>
                  </a:cubicBezTo>
                  <a:cubicBezTo>
                    <a:pt x="17" y="424"/>
                    <a:pt x="17" y="424"/>
                    <a:pt x="17" y="424"/>
                  </a:cubicBezTo>
                  <a:cubicBezTo>
                    <a:pt x="18" y="423"/>
                    <a:pt x="18" y="423"/>
                    <a:pt x="18" y="423"/>
                  </a:cubicBezTo>
                  <a:cubicBezTo>
                    <a:pt x="17" y="422"/>
                    <a:pt x="13" y="419"/>
                    <a:pt x="13" y="419"/>
                  </a:cubicBezTo>
                  <a:cubicBezTo>
                    <a:pt x="12" y="419"/>
                    <a:pt x="11" y="419"/>
                    <a:pt x="11" y="419"/>
                  </a:cubicBezTo>
                  <a:cubicBezTo>
                    <a:pt x="10" y="419"/>
                    <a:pt x="10" y="417"/>
                    <a:pt x="9" y="417"/>
                  </a:cubicBezTo>
                  <a:cubicBezTo>
                    <a:pt x="12" y="418"/>
                    <a:pt x="13" y="418"/>
                    <a:pt x="15" y="418"/>
                  </a:cubicBezTo>
                  <a:cubicBezTo>
                    <a:pt x="15" y="413"/>
                    <a:pt x="16" y="412"/>
                    <a:pt x="12" y="408"/>
                  </a:cubicBezTo>
                  <a:cubicBezTo>
                    <a:pt x="14" y="408"/>
                    <a:pt x="13" y="409"/>
                    <a:pt x="14" y="408"/>
                  </a:cubicBezTo>
                  <a:cubicBezTo>
                    <a:pt x="14" y="408"/>
                    <a:pt x="17" y="407"/>
                    <a:pt x="18" y="406"/>
                  </a:cubicBezTo>
                  <a:cubicBezTo>
                    <a:pt x="18" y="407"/>
                    <a:pt x="18" y="409"/>
                    <a:pt x="18" y="409"/>
                  </a:cubicBezTo>
                  <a:cubicBezTo>
                    <a:pt x="18" y="409"/>
                    <a:pt x="19" y="410"/>
                    <a:pt x="19" y="410"/>
                  </a:cubicBezTo>
                  <a:cubicBezTo>
                    <a:pt x="22" y="408"/>
                    <a:pt x="22" y="407"/>
                    <a:pt x="23" y="404"/>
                  </a:cubicBezTo>
                  <a:cubicBezTo>
                    <a:pt x="24" y="404"/>
                    <a:pt x="25" y="406"/>
                    <a:pt x="25" y="406"/>
                  </a:cubicBezTo>
                  <a:cubicBezTo>
                    <a:pt x="27" y="406"/>
                    <a:pt x="27" y="405"/>
                    <a:pt x="28" y="405"/>
                  </a:cubicBezTo>
                  <a:cubicBezTo>
                    <a:pt x="28" y="406"/>
                    <a:pt x="28" y="406"/>
                    <a:pt x="28" y="406"/>
                  </a:cubicBezTo>
                  <a:cubicBezTo>
                    <a:pt x="27" y="407"/>
                    <a:pt x="25" y="408"/>
                    <a:pt x="25" y="408"/>
                  </a:cubicBezTo>
                  <a:cubicBezTo>
                    <a:pt x="23" y="408"/>
                    <a:pt x="23" y="408"/>
                    <a:pt x="23" y="408"/>
                  </a:cubicBezTo>
                  <a:cubicBezTo>
                    <a:pt x="23" y="409"/>
                    <a:pt x="23" y="411"/>
                    <a:pt x="23" y="412"/>
                  </a:cubicBezTo>
                  <a:cubicBezTo>
                    <a:pt x="21" y="412"/>
                    <a:pt x="21" y="412"/>
                    <a:pt x="21" y="412"/>
                  </a:cubicBezTo>
                  <a:cubicBezTo>
                    <a:pt x="21" y="412"/>
                    <a:pt x="21" y="410"/>
                    <a:pt x="21" y="410"/>
                  </a:cubicBezTo>
                  <a:cubicBezTo>
                    <a:pt x="20" y="410"/>
                    <a:pt x="18" y="411"/>
                    <a:pt x="17" y="411"/>
                  </a:cubicBezTo>
                  <a:cubicBezTo>
                    <a:pt x="18" y="415"/>
                    <a:pt x="19" y="418"/>
                    <a:pt x="19" y="422"/>
                  </a:cubicBezTo>
                  <a:cubicBezTo>
                    <a:pt x="22" y="422"/>
                    <a:pt x="19" y="421"/>
                    <a:pt x="23" y="422"/>
                  </a:cubicBezTo>
                  <a:cubicBezTo>
                    <a:pt x="22" y="424"/>
                    <a:pt x="22" y="424"/>
                    <a:pt x="22" y="424"/>
                  </a:cubicBezTo>
                  <a:cubicBezTo>
                    <a:pt x="21" y="425"/>
                    <a:pt x="21" y="424"/>
                    <a:pt x="21" y="423"/>
                  </a:cubicBezTo>
                  <a:cubicBezTo>
                    <a:pt x="19" y="423"/>
                    <a:pt x="19" y="423"/>
                    <a:pt x="19" y="423"/>
                  </a:cubicBezTo>
                  <a:cubicBezTo>
                    <a:pt x="19" y="425"/>
                    <a:pt x="18" y="427"/>
                    <a:pt x="17" y="428"/>
                  </a:cubicBezTo>
                  <a:cubicBezTo>
                    <a:pt x="18" y="429"/>
                    <a:pt x="17" y="430"/>
                    <a:pt x="17" y="430"/>
                  </a:cubicBezTo>
                  <a:cubicBezTo>
                    <a:pt x="18" y="431"/>
                    <a:pt x="19" y="430"/>
                    <a:pt x="19" y="430"/>
                  </a:cubicBezTo>
                  <a:cubicBezTo>
                    <a:pt x="20" y="432"/>
                    <a:pt x="19" y="431"/>
                    <a:pt x="20" y="432"/>
                  </a:cubicBezTo>
                  <a:cubicBezTo>
                    <a:pt x="20" y="432"/>
                    <a:pt x="20" y="432"/>
                    <a:pt x="20" y="432"/>
                  </a:cubicBezTo>
                  <a:cubicBezTo>
                    <a:pt x="21" y="433"/>
                    <a:pt x="22" y="431"/>
                    <a:pt x="23" y="432"/>
                  </a:cubicBezTo>
                  <a:cubicBezTo>
                    <a:pt x="24" y="433"/>
                    <a:pt x="21" y="434"/>
                    <a:pt x="23" y="436"/>
                  </a:cubicBezTo>
                  <a:cubicBezTo>
                    <a:pt x="24" y="436"/>
                    <a:pt x="25" y="435"/>
                    <a:pt x="26" y="435"/>
                  </a:cubicBezTo>
                  <a:cubicBezTo>
                    <a:pt x="26" y="435"/>
                    <a:pt x="27" y="436"/>
                    <a:pt x="27" y="436"/>
                  </a:cubicBezTo>
                  <a:cubicBezTo>
                    <a:pt x="27" y="436"/>
                    <a:pt x="28" y="436"/>
                    <a:pt x="29" y="436"/>
                  </a:cubicBezTo>
                  <a:cubicBezTo>
                    <a:pt x="29" y="436"/>
                    <a:pt x="29" y="436"/>
                    <a:pt x="29" y="436"/>
                  </a:cubicBezTo>
                  <a:cubicBezTo>
                    <a:pt x="27" y="431"/>
                    <a:pt x="28" y="434"/>
                    <a:pt x="29" y="430"/>
                  </a:cubicBezTo>
                  <a:cubicBezTo>
                    <a:pt x="28" y="429"/>
                    <a:pt x="27" y="429"/>
                    <a:pt x="25" y="428"/>
                  </a:cubicBezTo>
                  <a:cubicBezTo>
                    <a:pt x="20" y="424"/>
                    <a:pt x="25" y="425"/>
                    <a:pt x="28" y="428"/>
                  </a:cubicBezTo>
                  <a:cubicBezTo>
                    <a:pt x="28" y="427"/>
                    <a:pt x="28" y="426"/>
                    <a:pt x="27" y="425"/>
                  </a:cubicBezTo>
                  <a:cubicBezTo>
                    <a:pt x="29" y="425"/>
                    <a:pt x="29" y="425"/>
                    <a:pt x="30" y="424"/>
                  </a:cubicBezTo>
                  <a:cubicBezTo>
                    <a:pt x="31" y="428"/>
                    <a:pt x="29" y="428"/>
                    <a:pt x="33" y="430"/>
                  </a:cubicBezTo>
                  <a:cubicBezTo>
                    <a:pt x="35" y="431"/>
                    <a:pt x="36" y="431"/>
                    <a:pt x="37" y="432"/>
                  </a:cubicBezTo>
                  <a:cubicBezTo>
                    <a:pt x="38" y="431"/>
                    <a:pt x="39" y="431"/>
                    <a:pt x="39" y="430"/>
                  </a:cubicBezTo>
                  <a:cubicBezTo>
                    <a:pt x="39" y="428"/>
                    <a:pt x="38" y="425"/>
                    <a:pt x="39" y="423"/>
                  </a:cubicBezTo>
                  <a:cubicBezTo>
                    <a:pt x="39" y="423"/>
                    <a:pt x="40" y="419"/>
                    <a:pt x="41" y="418"/>
                  </a:cubicBezTo>
                  <a:cubicBezTo>
                    <a:pt x="41" y="418"/>
                    <a:pt x="40" y="417"/>
                    <a:pt x="40" y="416"/>
                  </a:cubicBezTo>
                  <a:cubicBezTo>
                    <a:pt x="43" y="416"/>
                    <a:pt x="48" y="416"/>
                    <a:pt x="51" y="416"/>
                  </a:cubicBezTo>
                  <a:cubicBezTo>
                    <a:pt x="54" y="409"/>
                    <a:pt x="54" y="411"/>
                    <a:pt x="61" y="411"/>
                  </a:cubicBezTo>
                  <a:cubicBezTo>
                    <a:pt x="61" y="410"/>
                    <a:pt x="61" y="410"/>
                    <a:pt x="61" y="410"/>
                  </a:cubicBezTo>
                  <a:cubicBezTo>
                    <a:pt x="61" y="410"/>
                    <a:pt x="49" y="409"/>
                    <a:pt x="46" y="409"/>
                  </a:cubicBezTo>
                  <a:cubicBezTo>
                    <a:pt x="43" y="409"/>
                    <a:pt x="34" y="409"/>
                    <a:pt x="34" y="409"/>
                  </a:cubicBezTo>
                  <a:cubicBezTo>
                    <a:pt x="34" y="409"/>
                    <a:pt x="28" y="404"/>
                    <a:pt x="27" y="401"/>
                  </a:cubicBezTo>
                  <a:cubicBezTo>
                    <a:pt x="26" y="398"/>
                    <a:pt x="24" y="396"/>
                    <a:pt x="26" y="394"/>
                  </a:cubicBezTo>
                  <a:cubicBezTo>
                    <a:pt x="28" y="392"/>
                    <a:pt x="28" y="390"/>
                    <a:pt x="26" y="388"/>
                  </a:cubicBezTo>
                  <a:cubicBezTo>
                    <a:pt x="24" y="386"/>
                    <a:pt x="24" y="389"/>
                    <a:pt x="22" y="389"/>
                  </a:cubicBezTo>
                  <a:cubicBezTo>
                    <a:pt x="20" y="389"/>
                    <a:pt x="20" y="386"/>
                    <a:pt x="20" y="383"/>
                  </a:cubicBezTo>
                  <a:cubicBezTo>
                    <a:pt x="20" y="380"/>
                    <a:pt x="21" y="380"/>
                    <a:pt x="22" y="377"/>
                  </a:cubicBezTo>
                  <a:cubicBezTo>
                    <a:pt x="23" y="374"/>
                    <a:pt x="22" y="373"/>
                    <a:pt x="21" y="369"/>
                  </a:cubicBezTo>
                  <a:cubicBezTo>
                    <a:pt x="19" y="365"/>
                    <a:pt x="25" y="365"/>
                    <a:pt x="27" y="363"/>
                  </a:cubicBezTo>
                  <a:cubicBezTo>
                    <a:pt x="29" y="362"/>
                    <a:pt x="29" y="360"/>
                    <a:pt x="28" y="357"/>
                  </a:cubicBezTo>
                  <a:cubicBezTo>
                    <a:pt x="28" y="354"/>
                    <a:pt x="27" y="353"/>
                    <a:pt x="29" y="351"/>
                  </a:cubicBezTo>
                  <a:cubicBezTo>
                    <a:pt x="31" y="349"/>
                    <a:pt x="32" y="347"/>
                    <a:pt x="32" y="347"/>
                  </a:cubicBezTo>
                  <a:cubicBezTo>
                    <a:pt x="32" y="347"/>
                    <a:pt x="32" y="346"/>
                    <a:pt x="32" y="344"/>
                  </a:cubicBezTo>
                  <a:cubicBezTo>
                    <a:pt x="32" y="342"/>
                    <a:pt x="32" y="339"/>
                    <a:pt x="33" y="336"/>
                  </a:cubicBezTo>
                  <a:cubicBezTo>
                    <a:pt x="34" y="332"/>
                    <a:pt x="34" y="332"/>
                    <a:pt x="33" y="329"/>
                  </a:cubicBezTo>
                  <a:cubicBezTo>
                    <a:pt x="32" y="327"/>
                    <a:pt x="31" y="325"/>
                    <a:pt x="32" y="324"/>
                  </a:cubicBezTo>
                  <a:cubicBezTo>
                    <a:pt x="33" y="323"/>
                    <a:pt x="33" y="321"/>
                    <a:pt x="35" y="320"/>
                  </a:cubicBezTo>
                  <a:cubicBezTo>
                    <a:pt x="37" y="320"/>
                    <a:pt x="34" y="318"/>
                    <a:pt x="34" y="317"/>
                  </a:cubicBezTo>
                  <a:cubicBezTo>
                    <a:pt x="34" y="315"/>
                    <a:pt x="34" y="313"/>
                    <a:pt x="36" y="311"/>
                  </a:cubicBezTo>
                  <a:cubicBezTo>
                    <a:pt x="37" y="310"/>
                    <a:pt x="35" y="308"/>
                    <a:pt x="35" y="305"/>
                  </a:cubicBezTo>
                  <a:cubicBezTo>
                    <a:pt x="35" y="302"/>
                    <a:pt x="34" y="301"/>
                    <a:pt x="34" y="299"/>
                  </a:cubicBezTo>
                  <a:cubicBezTo>
                    <a:pt x="35" y="297"/>
                    <a:pt x="32" y="295"/>
                    <a:pt x="31" y="293"/>
                  </a:cubicBezTo>
                  <a:cubicBezTo>
                    <a:pt x="30" y="290"/>
                    <a:pt x="34" y="287"/>
                    <a:pt x="34" y="283"/>
                  </a:cubicBezTo>
                  <a:cubicBezTo>
                    <a:pt x="35" y="280"/>
                    <a:pt x="34" y="279"/>
                    <a:pt x="34" y="276"/>
                  </a:cubicBezTo>
                  <a:cubicBezTo>
                    <a:pt x="34" y="273"/>
                    <a:pt x="34" y="274"/>
                    <a:pt x="32" y="273"/>
                  </a:cubicBezTo>
                  <a:cubicBezTo>
                    <a:pt x="30" y="271"/>
                    <a:pt x="32" y="268"/>
                    <a:pt x="32" y="265"/>
                  </a:cubicBezTo>
                  <a:cubicBezTo>
                    <a:pt x="32" y="261"/>
                    <a:pt x="28" y="259"/>
                    <a:pt x="31" y="256"/>
                  </a:cubicBezTo>
                  <a:cubicBezTo>
                    <a:pt x="33" y="254"/>
                    <a:pt x="33" y="253"/>
                    <a:pt x="33" y="250"/>
                  </a:cubicBezTo>
                  <a:cubicBezTo>
                    <a:pt x="34" y="247"/>
                    <a:pt x="34" y="240"/>
                    <a:pt x="36" y="237"/>
                  </a:cubicBezTo>
                  <a:cubicBezTo>
                    <a:pt x="39" y="234"/>
                    <a:pt x="39" y="237"/>
                    <a:pt x="39" y="234"/>
                  </a:cubicBezTo>
                  <a:cubicBezTo>
                    <a:pt x="39" y="231"/>
                    <a:pt x="36" y="230"/>
                    <a:pt x="37" y="227"/>
                  </a:cubicBezTo>
                  <a:cubicBezTo>
                    <a:pt x="37" y="224"/>
                    <a:pt x="38" y="222"/>
                    <a:pt x="37" y="219"/>
                  </a:cubicBezTo>
                  <a:cubicBezTo>
                    <a:pt x="37" y="216"/>
                    <a:pt x="41" y="213"/>
                    <a:pt x="41" y="213"/>
                  </a:cubicBezTo>
                  <a:cubicBezTo>
                    <a:pt x="41" y="213"/>
                    <a:pt x="44" y="213"/>
                    <a:pt x="45" y="211"/>
                  </a:cubicBezTo>
                  <a:cubicBezTo>
                    <a:pt x="46" y="209"/>
                    <a:pt x="45" y="208"/>
                    <a:pt x="44" y="205"/>
                  </a:cubicBezTo>
                  <a:cubicBezTo>
                    <a:pt x="44" y="202"/>
                    <a:pt x="43" y="201"/>
                    <a:pt x="45" y="198"/>
                  </a:cubicBezTo>
                  <a:cubicBezTo>
                    <a:pt x="46" y="195"/>
                    <a:pt x="49" y="189"/>
                    <a:pt x="49" y="185"/>
                  </a:cubicBezTo>
                  <a:cubicBezTo>
                    <a:pt x="49" y="181"/>
                    <a:pt x="49" y="180"/>
                    <a:pt x="48" y="177"/>
                  </a:cubicBezTo>
                  <a:cubicBezTo>
                    <a:pt x="47" y="174"/>
                    <a:pt x="48" y="173"/>
                    <a:pt x="49" y="170"/>
                  </a:cubicBezTo>
                  <a:cubicBezTo>
                    <a:pt x="51" y="167"/>
                    <a:pt x="50" y="166"/>
                    <a:pt x="50" y="162"/>
                  </a:cubicBezTo>
                  <a:cubicBezTo>
                    <a:pt x="49" y="158"/>
                    <a:pt x="50" y="158"/>
                    <a:pt x="50" y="152"/>
                  </a:cubicBezTo>
                  <a:cubicBezTo>
                    <a:pt x="50" y="147"/>
                    <a:pt x="51" y="148"/>
                    <a:pt x="52" y="145"/>
                  </a:cubicBezTo>
                  <a:cubicBezTo>
                    <a:pt x="54" y="142"/>
                    <a:pt x="52" y="140"/>
                    <a:pt x="52" y="136"/>
                  </a:cubicBezTo>
                  <a:cubicBezTo>
                    <a:pt x="52" y="132"/>
                    <a:pt x="53" y="130"/>
                    <a:pt x="54" y="124"/>
                  </a:cubicBezTo>
                  <a:cubicBezTo>
                    <a:pt x="54" y="118"/>
                    <a:pt x="57" y="120"/>
                    <a:pt x="59" y="115"/>
                  </a:cubicBezTo>
                  <a:cubicBezTo>
                    <a:pt x="60" y="111"/>
                    <a:pt x="61" y="111"/>
                    <a:pt x="62" y="108"/>
                  </a:cubicBezTo>
                  <a:cubicBezTo>
                    <a:pt x="63" y="105"/>
                    <a:pt x="64" y="104"/>
                    <a:pt x="63" y="100"/>
                  </a:cubicBezTo>
                  <a:cubicBezTo>
                    <a:pt x="63" y="97"/>
                    <a:pt x="62" y="96"/>
                    <a:pt x="64" y="95"/>
                  </a:cubicBezTo>
                  <a:cubicBezTo>
                    <a:pt x="67" y="93"/>
                    <a:pt x="63" y="91"/>
                    <a:pt x="63" y="88"/>
                  </a:cubicBezTo>
                  <a:cubicBezTo>
                    <a:pt x="63" y="85"/>
                    <a:pt x="63" y="80"/>
                    <a:pt x="63" y="77"/>
                  </a:cubicBezTo>
                  <a:cubicBezTo>
                    <a:pt x="63" y="75"/>
                    <a:pt x="68" y="75"/>
                    <a:pt x="69" y="72"/>
                  </a:cubicBezTo>
                  <a:cubicBezTo>
                    <a:pt x="70" y="69"/>
                    <a:pt x="74" y="70"/>
                    <a:pt x="75" y="67"/>
                  </a:cubicBezTo>
                  <a:cubicBezTo>
                    <a:pt x="76" y="64"/>
                    <a:pt x="77" y="59"/>
                    <a:pt x="74" y="58"/>
                  </a:cubicBezTo>
                  <a:cubicBezTo>
                    <a:pt x="70" y="57"/>
                    <a:pt x="71" y="51"/>
                    <a:pt x="71" y="51"/>
                  </a:cubicBezTo>
                  <a:close/>
                  <a:moveTo>
                    <a:pt x="71" y="446"/>
                  </a:moveTo>
                  <a:cubicBezTo>
                    <a:pt x="67" y="446"/>
                    <a:pt x="61" y="445"/>
                    <a:pt x="66" y="444"/>
                  </a:cubicBezTo>
                  <a:cubicBezTo>
                    <a:pt x="63" y="444"/>
                    <a:pt x="60" y="445"/>
                    <a:pt x="60" y="445"/>
                  </a:cubicBezTo>
                  <a:cubicBezTo>
                    <a:pt x="58" y="416"/>
                    <a:pt x="58" y="416"/>
                    <a:pt x="58" y="416"/>
                  </a:cubicBezTo>
                  <a:cubicBezTo>
                    <a:pt x="58" y="416"/>
                    <a:pt x="55" y="417"/>
                    <a:pt x="55" y="418"/>
                  </a:cubicBezTo>
                  <a:cubicBezTo>
                    <a:pt x="54" y="416"/>
                    <a:pt x="54" y="416"/>
                    <a:pt x="53" y="415"/>
                  </a:cubicBezTo>
                  <a:cubicBezTo>
                    <a:pt x="52" y="416"/>
                    <a:pt x="49" y="418"/>
                    <a:pt x="49" y="418"/>
                  </a:cubicBezTo>
                  <a:cubicBezTo>
                    <a:pt x="47" y="419"/>
                    <a:pt x="46" y="417"/>
                    <a:pt x="45" y="417"/>
                  </a:cubicBezTo>
                  <a:cubicBezTo>
                    <a:pt x="44" y="417"/>
                    <a:pt x="44" y="418"/>
                    <a:pt x="42" y="418"/>
                  </a:cubicBezTo>
                  <a:cubicBezTo>
                    <a:pt x="43" y="425"/>
                    <a:pt x="38" y="427"/>
                    <a:pt x="49" y="427"/>
                  </a:cubicBezTo>
                  <a:cubicBezTo>
                    <a:pt x="47" y="429"/>
                    <a:pt x="46" y="430"/>
                    <a:pt x="43" y="430"/>
                  </a:cubicBezTo>
                  <a:cubicBezTo>
                    <a:pt x="44" y="432"/>
                    <a:pt x="43" y="435"/>
                    <a:pt x="45" y="436"/>
                  </a:cubicBezTo>
                  <a:cubicBezTo>
                    <a:pt x="45" y="436"/>
                    <a:pt x="47" y="435"/>
                    <a:pt x="48" y="436"/>
                  </a:cubicBezTo>
                  <a:cubicBezTo>
                    <a:pt x="49" y="436"/>
                    <a:pt x="51" y="439"/>
                    <a:pt x="53" y="440"/>
                  </a:cubicBezTo>
                  <a:cubicBezTo>
                    <a:pt x="52" y="439"/>
                    <a:pt x="51" y="440"/>
                    <a:pt x="50" y="440"/>
                  </a:cubicBezTo>
                  <a:cubicBezTo>
                    <a:pt x="50" y="440"/>
                    <a:pt x="49" y="438"/>
                    <a:pt x="49" y="438"/>
                  </a:cubicBezTo>
                  <a:cubicBezTo>
                    <a:pt x="44" y="439"/>
                    <a:pt x="45" y="438"/>
                    <a:pt x="44" y="441"/>
                  </a:cubicBezTo>
                  <a:cubicBezTo>
                    <a:pt x="42" y="440"/>
                    <a:pt x="42" y="440"/>
                    <a:pt x="42" y="440"/>
                  </a:cubicBezTo>
                  <a:cubicBezTo>
                    <a:pt x="42" y="439"/>
                    <a:pt x="43" y="440"/>
                    <a:pt x="43" y="438"/>
                  </a:cubicBezTo>
                  <a:cubicBezTo>
                    <a:pt x="41" y="436"/>
                    <a:pt x="41" y="436"/>
                    <a:pt x="41" y="436"/>
                  </a:cubicBezTo>
                  <a:cubicBezTo>
                    <a:pt x="41" y="434"/>
                    <a:pt x="42" y="434"/>
                    <a:pt x="41" y="432"/>
                  </a:cubicBezTo>
                  <a:cubicBezTo>
                    <a:pt x="41" y="432"/>
                    <a:pt x="39" y="431"/>
                    <a:pt x="39" y="431"/>
                  </a:cubicBezTo>
                  <a:cubicBezTo>
                    <a:pt x="39" y="432"/>
                    <a:pt x="38" y="435"/>
                    <a:pt x="37" y="436"/>
                  </a:cubicBezTo>
                  <a:cubicBezTo>
                    <a:pt x="37" y="434"/>
                    <a:pt x="37" y="434"/>
                    <a:pt x="37" y="434"/>
                  </a:cubicBezTo>
                  <a:cubicBezTo>
                    <a:pt x="36" y="435"/>
                    <a:pt x="34" y="435"/>
                    <a:pt x="34" y="435"/>
                  </a:cubicBezTo>
                  <a:cubicBezTo>
                    <a:pt x="34" y="435"/>
                    <a:pt x="34" y="432"/>
                    <a:pt x="34" y="432"/>
                  </a:cubicBezTo>
                  <a:cubicBezTo>
                    <a:pt x="33" y="432"/>
                    <a:pt x="32" y="433"/>
                    <a:pt x="31" y="432"/>
                  </a:cubicBezTo>
                  <a:cubicBezTo>
                    <a:pt x="31" y="436"/>
                    <a:pt x="30" y="439"/>
                    <a:pt x="36" y="438"/>
                  </a:cubicBezTo>
                  <a:cubicBezTo>
                    <a:pt x="38" y="436"/>
                    <a:pt x="38" y="436"/>
                    <a:pt x="38" y="436"/>
                  </a:cubicBezTo>
                  <a:cubicBezTo>
                    <a:pt x="39" y="436"/>
                    <a:pt x="39" y="439"/>
                    <a:pt x="39" y="440"/>
                  </a:cubicBezTo>
                  <a:cubicBezTo>
                    <a:pt x="35" y="440"/>
                    <a:pt x="33" y="440"/>
                    <a:pt x="30" y="441"/>
                  </a:cubicBezTo>
                  <a:cubicBezTo>
                    <a:pt x="31" y="442"/>
                    <a:pt x="29" y="442"/>
                    <a:pt x="29" y="442"/>
                  </a:cubicBezTo>
                  <a:cubicBezTo>
                    <a:pt x="30" y="442"/>
                    <a:pt x="29" y="444"/>
                    <a:pt x="29" y="444"/>
                  </a:cubicBezTo>
                  <a:cubicBezTo>
                    <a:pt x="30" y="444"/>
                    <a:pt x="31" y="444"/>
                    <a:pt x="31" y="444"/>
                  </a:cubicBezTo>
                  <a:cubicBezTo>
                    <a:pt x="32" y="444"/>
                    <a:pt x="29" y="442"/>
                    <a:pt x="34" y="442"/>
                  </a:cubicBezTo>
                  <a:cubicBezTo>
                    <a:pt x="34" y="444"/>
                    <a:pt x="34" y="444"/>
                    <a:pt x="34" y="444"/>
                  </a:cubicBezTo>
                  <a:cubicBezTo>
                    <a:pt x="36" y="444"/>
                    <a:pt x="38" y="443"/>
                    <a:pt x="39" y="444"/>
                  </a:cubicBezTo>
                  <a:cubicBezTo>
                    <a:pt x="39" y="444"/>
                    <a:pt x="39" y="446"/>
                    <a:pt x="39" y="446"/>
                  </a:cubicBezTo>
                  <a:cubicBezTo>
                    <a:pt x="41" y="446"/>
                    <a:pt x="44" y="445"/>
                    <a:pt x="45" y="445"/>
                  </a:cubicBezTo>
                  <a:cubicBezTo>
                    <a:pt x="47" y="445"/>
                    <a:pt x="48" y="447"/>
                    <a:pt x="45" y="447"/>
                  </a:cubicBezTo>
                  <a:cubicBezTo>
                    <a:pt x="45" y="447"/>
                    <a:pt x="46" y="448"/>
                    <a:pt x="46" y="448"/>
                  </a:cubicBezTo>
                  <a:cubicBezTo>
                    <a:pt x="49" y="448"/>
                    <a:pt x="50" y="449"/>
                    <a:pt x="53" y="448"/>
                  </a:cubicBezTo>
                  <a:cubicBezTo>
                    <a:pt x="53" y="447"/>
                    <a:pt x="53" y="447"/>
                    <a:pt x="53" y="447"/>
                  </a:cubicBezTo>
                  <a:cubicBezTo>
                    <a:pt x="56" y="446"/>
                    <a:pt x="59" y="446"/>
                    <a:pt x="62" y="445"/>
                  </a:cubicBezTo>
                  <a:cubicBezTo>
                    <a:pt x="63" y="447"/>
                    <a:pt x="62" y="448"/>
                    <a:pt x="63" y="449"/>
                  </a:cubicBezTo>
                  <a:cubicBezTo>
                    <a:pt x="63" y="449"/>
                    <a:pt x="66" y="450"/>
                    <a:pt x="66" y="450"/>
                  </a:cubicBezTo>
                  <a:cubicBezTo>
                    <a:pt x="66" y="451"/>
                    <a:pt x="66" y="453"/>
                    <a:pt x="66" y="453"/>
                  </a:cubicBezTo>
                  <a:cubicBezTo>
                    <a:pt x="70" y="450"/>
                    <a:pt x="70" y="450"/>
                    <a:pt x="72" y="446"/>
                  </a:cubicBezTo>
                  <a:cubicBezTo>
                    <a:pt x="71" y="445"/>
                    <a:pt x="71" y="445"/>
                    <a:pt x="71" y="445"/>
                  </a:cubicBezTo>
                  <a:lnTo>
                    <a:pt x="71" y="446"/>
                  </a:lnTo>
                  <a:close/>
                  <a:moveTo>
                    <a:pt x="7" y="340"/>
                  </a:moveTo>
                  <a:cubicBezTo>
                    <a:pt x="8" y="340"/>
                    <a:pt x="6" y="341"/>
                    <a:pt x="6" y="341"/>
                  </a:cubicBezTo>
                  <a:cubicBezTo>
                    <a:pt x="6" y="341"/>
                    <a:pt x="6" y="339"/>
                    <a:pt x="7" y="340"/>
                  </a:cubicBezTo>
                  <a:close/>
                  <a:moveTo>
                    <a:pt x="65" y="460"/>
                  </a:moveTo>
                  <a:cubicBezTo>
                    <a:pt x="65" y="460"/>
                    <a:pt x="65" y="461"/>
                    <a:pt x="65" y="461"/>
                  </a:cubicBezTo>
                  <a:cubicBezTo>
                    <a:pt x="67" y="461"/>
                    <a:pt x="67" y="460"/>
                    <a:pt x="65" y="460"/>
                  </a:cubicBezTo>
                  <a:close/>
                  <a:moveTo>
                    <a:pt x="67" y="456"/>
                  </a:moveTo>
                  <a:cubicBezTo>
                    <a:pt x="67" y="458"/>
                    <a:pt x="67" y="458"/>
                    <a:pt x="67" y="458"/>
                  </a:cubicBezTo>
                  <a:cubicBezTo>
                    <a:pt x="72" y="458"/>
                    <a:pt x="68" y="457"/>
                    <a:pt x="67" y="456"/>
                  </a:cubicBezTo>
                  <a:close/>
                  <a:moveTo>
                    <a:pt x="59" y="454"/>
                  </a:moveTo>
                  <a:cubicBezTo>
                    <a:pt x="60" y="455"/>
                    <a:pt x="59" y="456"/>
                    <a:pt x="60" y="458"/>
                  </a:cubicBezTo>
                  <a:cubicBezTo>
                    <a:pt x="61" y="457"/>
                    <a:pt x="62" y="458"/>
                    <a:pt x="63" y="458"/>
                  </a:cubicBezTo>
                  <a:cubicBezTo>
                    <a:pt x="63" y="458"/>
                    <a:pt x="62" y="454"/>
                    <a:pt x="62" y="454"/>
                  </a:cubicBezTo>
                  <a:cubicBezTo>
                    <a:pt x="60" y="454"/>
                    <a:pt x="60" y="454"/>
                    <a:pt x="59" y="454"/>
                  </a:cubicBezTo>
                  <a:close/>
                  <a:moveTo>
                    <a:pt x="58" y="447"/>
                  </a:moveTo>
                  <a:cubicBezTo>
                    <a:pt x="56" y="447"/>
                    <a:pt x="53" y="449"/>
                    <a:pt x="52" y="450"/>
                  </a:cubicBezTo>
                  <a:cubicBezTo>
                    <a:pt x="51" y="450"/>
                    <a:pt x="49" y="450"/>
                    <a:pt x="47" y="450"/>
                  </a:cubicBezTo>
                  <a:cubicBezTo>
                    <a:pt x="47" y="450"/>
                    <a:pt x="45" y="451"/>
                    <a:pt x="45" y="451"/>
                  </a:cubicBezTo>
                  <a:cubicBezTo>
                    <a:pt x="46" y="452"/>
                    <a:pt x="46" y="452"/>
                    <a:pt x="46" y="453"/>
                  </a:cubicBezTo>
                  <a:cubicBezTo>
                    <a:pt x="48" y="454"/>
                    <a:pt x="50" y="454"/>
                    <a:pt x="52" y="454"/>
                  </a:cubicBezTo>
                  <a:cubicBezTo>
                    <a:pt x="52" y="454"/>
                    <a:pt x="53" y="456"/>
                    <a:pt x="53" y="456"/>
                  </a:cubicBezTo>
                  <a:cubicBezTo>
                    <a:pt x="53" y="455"/>
                    <a:pt x="54" y="455"/>
                    <a:pt x="55" y="455"/>
                  </a:cubicBezTo>
                  <a:cubicBezTo>
                    <a:pt x="55" y="454"/>
                    <a:pt x="54" y="454"/>
                    <a:pt x="54" y="454"/>
                  </a:cubicBezTo>
                  <a:cubicBezTo>
                    <a:pt x="54" y="452"/>
                    <a:pt x="54" y="452"/>
                    <a:pt x="54" y="452"/>
                  </a:cubicBezTo>
                  <a:cubicBezTo>
                    <a:pt x="57" y="452"/>
                    <a:pt x="59" y="452"/>
                    <a:pt x="61" y="452"/>
                  </a:cubicBezTo>
                  <a:cubicBezTo>
                    <a:pt x="61" y="451"/>
                    <a:pt x="62" y="451"/>
                    <a:pt x="61" y="450"/>
                  </a:cubicBezTo>
                  <a:cubicBezTo>
                    <a:pt x="59" y="449"/>
                    <a:pt x="64" y="447"/>
                    <a:pt x="58" y="447"/>
                  </a:cubicBezTo>
                  <a:close/>
                  <a:moveTo>
                    <a:pt x="39" y="447"/>
                  </a:moveTo>
                  <a:cubicBezTo>
                    <a:pt x="38" y="448"/>
                    <a:pt x="37" y="448"/>
                    <a:pt x="37" y="448"/>
                  </a:cubicBezTo>
                  <a:cubicBezTo>
                    <a:pt x="37" y="448"/>
                    <a:pt x="38" y="449"/>
                    <a:pt x="37" y="450"/>
                  </a:cubicBezTo>
                  <a:cubicBezTo>
                    <a:pt x="39" y="450"/>
                    <a:pt x="41" y="450"/>
                    <a:pt x="41" y="450"/>
                  </a:cubicBezTo>
                  <a:cubicBezTo>
                    <a:pt x="42" y="450"/>
                    <a:pt x="41" y="449"/>
                    <a:pt x="41" y="448"/>
                  </a:cubicBezTo>
                  <a:cubicBezTo>
                    <a:pt x="43" y="449"/>
                    <a:pt x="43" y="447"/>
                    <a:pt x="43" y="447"/>
                  </a:cubicBezTo>
                  <a:cubicBezTo>
                    <a:pt x="42" y="447"/>
                    <a:pt x="40" y="447"/>
                    <a:pt x="39" y="447"/>
                  </a:cubicBezTo>
                  <a:close/>
                  <a:moveTo>
                    <a:pt x="35" y="445"/>
                  </a:moveTo>
                  <a:cubicBezTo>
                    <a:pt x="34" y="446"/>
                    <a:pt x="34" y="446"/>
                    <a:pt x="34" y="446"/>
                  </a:cubicBezTo>
                  <a:cubicBezTo>
                    <a:pt x="32" y="448"/>
                    <a:pt x="37" y="446"/>
                    <a:pt x="36" y="446"/>
                  </a:cubicBezTo>
                  <a:cubicBezTo>
                    <a:pt x="36" y="445"/>
                    <a:pt x="36" y="445"/>
                    <a:pt x="35" y="445"/>
                  </a:cubicBezTo>
                  <a:close/>
                  <a:moveTo>
                    <a:pt x="27" y="418"/>
                  </a:moveTo>
                  <a:cubicBezTo>
                    <a:pt x="29" y="418"/>
                    <a:pt x="29" y="422"/>
                    <a:pt x="27" y="422"/>
                  </a:cubicBezTo>
                  <a:cubicBezTo>
                    <a:pt x="23" y="424"/>
                    <a:pt x="26" y="419"/>
                    <a:pt x="27" y="418"/>
                  </a:cubicBezTo>
                  <a:close/>
                  <a:moveTo>
                    <a:pt x="35" y="418"/>
                  </a:moveTo>
                  <a:cubicBezTo>
                    <a:pt x="36" y="419"/>
                    <a:pt x="37" y="419"/>
                    <a:pt x="37" y="419"/>
                  </a:cubicBezTo>
                  <a:cubicBezTo>
                    <a:pt x="37" y="420"/>
                    <a:pt x="38" y="420"/>
                    <a:pt x="37" y="421"/>
                  </a:cubicBezTo>
                  <a:cubicBezTo>
                    <a:pt x="37" y="421"/>
                    <a:pt x="34" y="424"/>
                    <a:pt x="34" y="424"/>
                  </a:cubicBezTo>
                  <a:cubicBezTo>
                    <a:pt x="29" y="426"/>
                    <a:pt x="35" y="418"/>
                    <a:pt x="35" y="418"/>
                  </a:cubicBezTo>
                  <a:close/>
                  <a:moveTo>
                    <a:pt x="31" y="416"/>
                  </a:moveTo>
                  <a:cubicBezTo>
                    <a:pt x="33" y="416"/>
                    <a:pt x="36" y="418"/>
                    <a:pt x="32" y="417"/>
                  </a:cubicBezTo>
                  <a:cubicBezTo>
                    <a:pt x="32" y="417"/>
                    <a:pt x="29" y="415"/>
                    <a:pt x="31" y="416"/>
                  </a:cubicBezTo>
                  <a:close/>
                  <a:moveTo>
                    <a:pt x="6" y="392"/>
                  </a:moveTo>
                  <a:cubicBezTo>
                    <a:pt x="6" y="393"/>
                    <a:pt x="7" y="393"/>
                    <a:pt x="6" y="395"/>
                  </a:cubicBezTo>
                  <a:cubicBezTo>
                    <a:pt x="6" y="395"/>
                    <a:pt x="4" y="397"/>
                    <a:pt x="4" y="398"/>
                  </a:cubicBezTo>
                  <a:cubicBezTo>
                    <a:pt x="4" y="398"/>
                    <a:pt x="5" y="401"/>
                    <a:pt x="5" y="400"/>
                  </a:cubicBezTo>
                  <a:cubicBezTo>
                    <a:pt x="5" y="400"/>
                    <a:pt x="5" y="403"/>
                    <a:pt x="5" y="404"/>
                  </a:cubicBezTo>
                  <a:cubicBezTo>
                    <a:pt x="5" y="404"/>
                    <a:pt x="7" y="404"/>
                    <a:pt x="7" y="404"/>
                  </a:cubicBezTo>
                  <a:cubicBezTo>
                    <a:pt x="7" y="402"/>
                    <a:pt x="7" y="402"/>
                    <a:pt x="7" y="402"/>
                  </a:cubicBezTo>
                  <a:cubicBezTo>
                    <a:pt x="8" y="402"/>
                    <a:pt x="9" y="403"/>
                    <a:pt x="10" y="402"/>
                  </a:cubicBezTo>
                  <a:cubicBezTo>
                    <a:pt x="10" y="402"/>
                    <a:pt x="11" y="400"/>
                    <a:pt x="9" y="400"/>
                  </a:cubicBezTo>
                  <a:cubicBezTo>
                    <a:pt x="9" y="400"/>
                    <a:pt x="9" y="398"/>
                    <a:pt x="9" y="398"/>
                  </a:cubicBezTo>
                  <a:cubicBezTo>
                    <a:pt x="9" y="398"/>
                    <a:pt x="12" y="398"/>
                    <a:pt x="11" y="398"/>
                  </a:cubicBezTo>
                  <a:cubicBezTo>
                    <a:pt x="12" y="398"/>
                    <a:pt x="11" y="400"/>
                    <a:pt x="11" y="400"/>
                  </a:cubicBezTo>
                  <a:cubicBezTo>
                    <a:pt x="13" y="399"/>
                    <a:pt x="12" y="396"/>
                    <a:pt x="12" y="396"/>
                  </a:cubicBezTo>
                  <a:cubicBezTo>
                    <a:pt x="11" y="396"/>
                    <a:pt x="11" y="396"/>
                    <a:pt x="11" y="396"/>
                  </a:cubicBezTo>
                  <a:cubicBezTo>
                    <a:pt x="11" y="396"/>
                    <a:pt x="9" y="392"/>
                    <a:pt x="8" y="392"/>
                  </a:cubicBezTo>
                  <a:cubicBezTo>
                    <a:pt x="7" y="392"/>
                    <a:pt x="7" y="392"/>
                    <a:pt x="6" y="392"/>
                  </a:cubicBezTo>
                  <a:close/>
                  <a:moveTo>
                    <a:pt x="2" y="391"/>
                  </a:moveTo>
                  <a:cubicBezTo>
                    <a:pt x="2" y="391"/>
                    <a:pt x="1" y="393"/>
                    <a:pt x="1" y="393"/>
                  </a:cubicBezTo>
                  <a:cubicBezTo>
                    <a:pt x="1" y="393"/>
                    <a:pt x="2" y="393"/>
                    <a:pt x="4" y="393"/>
                  </a:cubicBezTo>
                  <a:cubicBezTo>
                    <a:pt x="3" y="393"/>
                    <a:pt x="3" y="391"/>
                    <a:pt x="2" y="391"/>
                  </a:cubicBezTo>
                  <a:close/>
                  <a:moveTo>
                    <a:pt x="9" y="389"/>
                  </a:moveTo>
                  <a:cubicBezTo>
                    <a:pt x="10" y="390"/>
                    <a:pt x="9" y="390"/>
                    <a:pt x="9" y="391"/>
                  </a:cubicBezTo>
                  <a:cubicBezTo>
                    <a:pt x="10" y="393"/>
                    <a:pt x="16" y="395"/>
                    <a:pt x="13" y="393"/>
                  </a:cubicBezTo>
                  <a:cubicBezTo>
                    <a:pt x="12" y="391"/>
                    <a:pt x="11" y="390"/>
                    <a:pt x="9" y="389"/>
                  </a:cubicBezTo>
                  <a:close/>
                  <a:moveTo>
                    <a:pt x="4" y="385"/>
                  </a:moveTo>
                  <a:cubicBezTo>
                    <a:pt x="4" y="385"/>
                    <a:pt x="2" y="386"/>
                    <a:pt x="2" y="387"/>
                  </a:cubicBezTo>
                  <a:cubicBezTo>
                    <a:pt x="1" y="388"/>
                    <a:pt x="2" y="388"/>
                    <a:pt x="2" y="389"/>
                  </a:cubicBezTo>
                  <a:cubicBezTo>
                    <a:pt x="3" y="389"/>
                    <a:pt x="3" y="389"/>
                    <a:pt x="3" y="389"/>
                  </a:cubicBezTo>
                  <a:cubicBezTo>
                    <a:pt x="3" y="389"/>
                    <a:pt x="3" y="389"/>
                    <a:pt x="3" y="389"/>
                  </a:cubicBezTo>
                  <a:cubicBezTo>
                    <a:pt x="3" y="389"/>
                    <a:pt x="4" y="389"/>
                    <a:pt x="5" y="390"/>
                  </a:cubicBezTo>
                  <a:cubicBezTo>
                    <a:pt x="6" y="389"/>
                    <a:pt x="6" y="388"/>
                    <a:pt x="7" y="387"/>
                  </a:cubicBezTo>
                  <a:cubicBezTo>
                    <a:pt x="7" y="386"/>
                    <a:pt x="5" y="385"/>
                    <a:pt x="4" y="385"/>
                  </a:cubicBezTo>
                  <a:close/>
                  <a:moveTo>
                    <a:pt x="4" y="358"/>
                  </a:moveTo>
                  <a:cubicBezTo>
                    <a:pt x="4" y="359"/>
                    <a:pt x="4" y="361"/>
                    <a:pt x="4" y="363"/>
                  </a:cubicBezTo>
                  <a:cubicBezTo>
                    <a:pt x="2" y="363"/>
                    <a:pt x="3" y="362"/>
                    <a:pt x="3" y="361"/>
                  </a:cubicBezTo>
                  <a:cubicBezTo>
                    <a:pt x="3" y="361"/>
                    <a:pt x="0" y="362"/>
                    <a:pt x="2" y="363"/>
                  </a:cubicBezTo>
                  <a:cubicBezTo>
                    <a:pt x="0" y="366"/>
                    <a:pt x="0" y="366"/>
                    <a:pt x="0" y="366"/>
                  </a:cubicBezTo>
                  <a:cubicBezTo>
                    <a:pt x="0" y="368"/>
                    <a:pt x="1" y="369"/>
                    <a:pt x="2" y="370"/>
                  </a:cubicBezTo>
                  <a:cubicBezTo>
                    <a:pt x="2" y="370"/>
                    <a:pt x="1" y="368"/>
                    <a:pt x="2" y="369"/>
                  </a:cubicBezTo>
                  <a:cubicBezTo>
                    <a:pt x="2" y="369"/>
                    <a:pt x="2" y="373"/>
                    <a:pt x="2" y="372"/>
                  </a:cubicBezTo>
                  <a:cubicBezTo>
                    <a:pt x="2" y="373"/>
                    <a:pt x="2" y="373"/>
                    <a:pt x="2" y="373"/>
                  </a:cubicBezTo>
                  <a:cubicBezTo>
                    <a:pt x="3" y="374"/>
                    <a:pt x="3" y="373"/>
                    <a:pt x="4" y="375"/>
                  </a:cubicBezTo>
                  <a:cubicBezTo>
                    <a:pt x="3" y="375"/>
                    <a:pt x="2" y="377"/>
                    <a:pt x="2" y="377"/>
                  </a:cubicBezTo>
                  <a:cubicBezTo>
                    <a:pt x="1" y="377"/>
                    <a:pt x="1" y="377"/>
                    <a:pt x="1" y="377"/>
                  </a:cubicBezTo>
                  <a:cubicBezTo>
                    <a:pt x="0" y="381"/>
                    <a:pt x="2" y="382"/>
                    <a:pt x="4" y="384"/>
                  </a:cubicBezTo>
                  <a:cubicBezTo>
                    <a:pt x="3" y="384"/>
                    <a:pt x="5" y="383"/>
                    <a:pt x="5" y="383"/>
                  </a:cubicBezTo>
                  <a:cubicBezTo>
                    <a:pt x="6" y="383"/>
                    <a:pt x="6" y="383"/>
                    <a:pt x="6" y="383"/>
                  </a:cubicBezTo>
                  <a:cubicBezTo>
                    <a:pt x="6" y="383"/>
                    <a:pt x="7" y="384"/>
                    <a:pt x="7" y="385"/>
                  </a:cubicBezTo>
                  <a:cubicBezTo>
                    <a:pt x="9" y="385"/>
                    <a:pt x="8" y="383"/>
                    <a:pt x="9" y="384"/>
                  </a:cubicBezTo>
                  <a:cubicBezTo>
                    <a:pt x="10" y="381"/>
                    <a:pt x="11" y="377"/>
                    <a:pt x="11" y="375"/>
                  </a:cubicBezTo>
                  <a:cubicBezTo>
                    <a:pt x="12" y="370"/>
                    <a:pt x="10" y="363"/>
                    <a:pt x="9" y="358"/>
                  </a:cubicBezTo>
                  <a:cubicBezTo>
                    <a:pt x="7" y="358"/>
                    <a:pt x="6" y="358"/>
                    <a:pt x="4" y="358"/>
                  </a:cubicBezTo>
                  <a:close/>
                  <a:moveTo>
                    <a:pt x="15" y="319"/>
                  </a:moveTo>
                  <a:cubicBezTo>
                    <a:pt x="15" y="319"/>
                    <a:pt x="14" y="321"/>
                    <a:pt x="14" y="321"/>
                  </a:cubicBezTo>
                  <a:cubicBezTo>
                    <a:pt x="13" y="321"/>
                    <a:pt x="13" y="320"/>
                    <a:pt x="12" y="320"/>
                  </a:cubicBezTo>
                  <a:cubicBezTo>
                    <a:pt x="12" y="321"/>
                    <a:pt x="11" y="321"/>
                    <a:pt x="10" y="322"/>
                  </a:cubicBezTo>
                  <a:cubicBezTo>
                    <a:pt x="11" y="323"/>
                    <a:pt x="10" y="324"/>
                    <a:pt x="11" y="325"/>
                  </a:cubicBezTo>
                  <a:cubicBezTo>
                    <a:pt x="11" y="326"/>
                    <a:pt x="13" y="326"/>
                    <a:pt x="13" y="327"/>
                  </a:cubicBezTo>
                  <a:cubicBezTo>
                    <a:pt x="12" y="328"/>
                    <a:pt x="11" y="328"/>
                    <a:pt x="9" y="329"/>
                  </a:cubicBezTo>
                  <a:cubicBezTo>
                    <a:pt x="9" y="329"/>
                    <a:pt x="10" y="331"/>
                    <a:pt x="9" y="331"/>
                  </a:cubicBezTo>
                  <a:cubicBezTo>
                    <a:pt x="10" y="331"/>
                    <a:pt x="10" y="331"/>
                    <a:pt x="11" y="331"/>
                  </a:cubicBezTo>
                  <a:cubicBezTo>
                    <a:pt x="11" y="331"/>
                    <a:pt x="12" y="329"/>
                    <a:pt x="12" y="329"/>
                  </a:cubicBezTo>
                  <a:cubicBezTo>
                    <a:pt x="15" y="328"/>
                    <a:pt x="16" y="329"/>
                    <a:pt x="18" y="328"/>
                  </a:cubicBezTo>
                  <a:cubicBezTo>
                    <a:pt x="18" y="327"/>
                    <a:pt x="18" y="327"/>
                    <a:pt x="18" y="327"/>
                  </a:cubicBezTo>
                  <a:cubicBezTo>
                    <a:pt x="17" y="326"/>
                    <a:pt x="16" y="326"/>
                    <a:pt x="14" y="326"/>
                  </a:cubicBezTo>
                  <a:cubicBezTo>
                    <a:pt x="14" y="326"/>
                    <a:pt x="14" y="324"/>
                    <a:pt x="14" y="324"/>
                  </a:cubicBezTo>
                  <a:cubicBezTo>
                    <a:pt x="16" y="324"/>
                    <a:pt x="16" y="324"/>
                    <a:pt x="17" y="323"/>
                  </a:cubicBezTo>
                  <a:cubicBezTo>
                    <a:pt x="17" y="321"/>
                    <a:pt x="17" y="321"/>
                    <a:pt x="17" y="319"/>
                  </a:cubicBezTo>
                  <a:lnTo>
                    <a:pt x="15" y="319"/>
                  </a:lnTo>
                  <a:close/>
                  <a:moveTo>
                    <a:pt x="15" y="315"/>
                  </a:moveTo>
                  <a:cubicBezTo>
                    <a:pt x="15" y="316"/>
                    <a:pt x="15" y="317"/>
                    <a:pt x="16" y="317"/>
                  </a:cubicBezTo>
                  <a:cubicBezTo>
                    <a:pt x="16" y="316"/>
                    <a:pt x="17" y="315"/>
                    <a:pt x="15" y="315"/>
                  </a:cubicBezTo>
                  <a:close/>
                  <a:moveTo>
                    <a:pt x="13" y="312"/>
                  </a:moveTo>
                  <a:cubicBezTo>
                    <a:pt x="13" y="314"/>
                    <a:pt x="13" y="314"/>
                    <a:pt x="13" y="314"/>
                  </a:cubicBezTo>
                  <a:cubicBezTo>
                    <a:pt x="13" y="314"/>
                    <a:pt x="14" y="314"/>
                    <a:pt x="15" y="315"/>
                  </a:cubicBezTo>
                  <a:cubicBezTo>
                    <a:pt x="14" y="314"/>
                    <a:pt x="15" y="312"/>
                    <a:pt x="13" y="312"/>
                  </a:cubicBezTo>
                  <a:close/>
                  <a:moveTo>
                    <a:pt x="13" y="308"/>
                  </a:moveTo>
                  <a:cubicBezTo>
                    <a:pt x="13" y="308"/>
                    <a:pt x="13" y="310"/>
                    <a:pt x="13" y="311"/>
                  </a:cubicBezTo>
                  <a:cubicBezTo>
                    <a:pt x="13" y="310"/>
                    <a:pt x="14" y="311"/>
                    <a:pt x="14" y="311"/>
                  </a:cubicBezTo>
                  <a:cubicBezTo>
                    <a:pt x="14" y="311"/>
                    <a:pt x="15" y="308"/>
                    <a:pt x="13" y="308"/>
                  </a:cubicBezTo>
                  <a:close/>
                  <a:moveTo>
                    <a:pt x="19" y="279"/>
                  </a:moveTo>
                  <a:cubicBezTo>
                    <a:pt x="18" y="281"/>
                    <a:pt x="18" y="281"/>
                    <a:pt x="18" y="281"/>
                  </a:cubicBezTo>
                  <a:cubicBezTo>
                    <a:pt x="17" y="281"/>
                    <a:pt x="17" y="280"/>
                    <a:pt x="15" y="280"/>
                  </a:cubicBezTo>
                  <a:cubicBezTo>
                    <a:pt x="15" y="287"/>
                    <a:pt x="15" y="292"/>
                    <a:pt x="14" y="299"/>
                  </a:cubicBezTo>
                  <a:cubicBezTo>
                    <a:pt x="15" y="299"/>
                    <a:pt x="15" y="298"/>
                    <a:pt x="15" y="299"/>
                  </a:cubicBezTo>
                  <a:cubicBezTo>
                    <a:pt x="16" y="299"/>
                    <a:pt x="18" y="299"/>
                    <a:pt x="18" y="299"/>
                  </a:cubicBezTo>
                  <a:cubicBezTo>
                    <a:pt x="19" y="299"/>
                    <a:pt x="20" y="298"/>
                    <a:pt x="20" y="297"/>
                  </a:cubicBezTo>
                  <a:cubicBezTo>
                    <a:pt x="20" y="297"/>
                    <a:pt x="20" y="295"/>
                    <a:pt x="20" y="295"/>
                  </a:cubicBezTo>
                  <a:cubicBezTo>
                    <a:pt x="21" y="295"/>
                    <a:pt x="21" y="295"/>
                    <a:pt x="21" y="295"/>
                  </a:cubicBezTo>
                  <a:cubicBezTo>
                    <a:pt x="22" y="291"/>
                    <a:pt x="19" y="292"/>
                    <a:pt x="22" y="289"/>
                  </a:cubicBezTo>
                  <a:cubicBezTo>
                    <a:pt x="22" y="289"/>
                    <a:pt x="20" y="289"/>
                    <a:pt x="19" y="289"/>
                  </a:cubicBezTo>
                  <a:cubicBezTo>
                    <a:pt x="20" y="287"/>
                    <a:pt x="19" y="287"/>
                    <a:pt x="20" y="285"/>
                  </a:cubicBezTo>
                  <a:cubicBezTo>
                    <a:pt x="21" y="285"/>
                    <a:pt x="21" y="285"/>
                    <a:pt x="21" y="285"/>
                  </a:cubicBezTo>
                  <a:cubicBezTo>
                    <a:pt x="22" y="283"/>
                    <a:pt x="21" y="282"/>
                    <a:pt x="21" y="280"/>
                  </a:cubicBezTo>
                  <a:lnTo>
                    <a:pt x="19" y="279"/>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53" name="Freeform 289">
              <a:extLst>
                <a:ext uri="{FF2B5EF4-FFF2-40B4-BE49-F238E27FC236}">
                  <a16:creationId xmlns:a16="http://schemas.microsoft.com/office/drawing/2014/main" id="{C7A7A4B2-6B04-7B5B-D604-2D14EF1F991B}"/>
                </a:ext>
              </a:extLst>
            </p:cNvPr>
            <p:cNvSpPr>
              <a:spLocks noEditPoints="1"/>
            </p:cNvSpPr>
            <p:nvPr/>
          </p:nvSpPr>
          <p:spPr bwMode="auto">
            <a:xfrm>
              <a:off x="3667475" y="4902120"/>
              <a:ext cx="271258" cy="1625771"/>
            </a:xfrm>
            <a:custGeom>
              <a:avLst/>
              <a:gdLst>
                <a:gd name="T0" fmla="*/ 52 w 77"/>
                <a:gd name="T1" fmla="*/ 0 h 461"/>
                <a:gd name="T2" fmla="*/ 49 w 77"/>
                <a:gd name="T3" fmla="*/ 42 h 461"/>
                <a:gd name="T4" fmla="*/ 44 w 77"/>
                <a:gd name="T5" fmla="*/ 85 h 461"/>
                <a:gd name="T6" fmla="*/ 41 w 77"/>
                <a:gd name="T7" fmla="*/ 115 h 461"/>
                <a:gd name="T8" fmla="*/ 39 w 77"/>
                <a:gd name="T9" fmla="*/ 158 h 461"/>
                <a:gd name="T10" fmla="*/ 29 w 77"/>
                <a:gd name="T11" fmla="*/ 203 h 461"/>
                <a:gd name="T12" fmla="*/ 20 w 77"/>
                <a:gd name="T13" fmla="*/ 233 h 461"/>
                <a:gd name="T14" fmla="*/ 19 w 77"/>
                <a:gd name="T15" fmla="*/ 264 h 461"/>
                <a:gd name="T16" fmla="*/ 28 w 77"/>
                <a:gd name="T17" fmla="*/ 279 h 461"/>
                <a:gd name="T18" fmla="*/ 26 w 77"/>
                <a:gd name="T19" fmla="*/ 304 h 461"/>
                <a:gd name="T20" fmla="*/ 21 w 77"/>
                <a:gd name="T21" fmla="*/ 326 h 461"/>
                <a:gd name="T22" fmla="*/ 13 w 77"/>
                <a:gd name="T23" fmla="*/ 333 h 461"/>
                <a:gd name="T24" fmla="*/ 4 w 77"/>
                <a:gd name="T25" fmla="*/ 344 h 461"/>
                <a:gd name="T26" fmla="*/ 14 w 77"/>
                <a:gd name="T27" fmla="*/ 353 h 461"/>
                <a:gd name="T28" fmla="*/ 14 w 77"/>
                <a:gd name="T29" fmla="*/ 375 h 461"/>
                <a:gd name="T30" fmla="*/ 10 w 77"/>
                <a:gd name="T31" fmla="*/ 387 h 461"/>
                <a:gd name="T32" fmla="*/ 17 w 77"/>
                <a:gd name="T33" fmla="*/ 400 h 461"/>
                <a:gd name="T34" fmla="*/ 4 w 77"/>
                <a:gd name="T35" fmla="*/ 412 h 461"/>
                <a:gd name="T36" fmla="*/ 11 w 77"/>
                <a:gd name="T37" fmla="*/ 419 h 461"/>
                <a:gd name="T38" fmla="*/ 23 w 77"/>
                <a:gd name="T39" fmla="*/ 404 h 461"/>
                <a:gd name="T40" fmla="*/ 21 w 77"/>
                <a:gd name="T41" fmla="*/ 410 h 461"/>
                <a:gd name="T42" fmla="*/ 17 w 77"/>
                <a:gd name="T43" fmla="*/ 430 h 461"/>
                <a:gd name="T44" fmla="*/ 29 w 77"/>
                <a:gd name="T45" fmla="*/ 436 h 461"/>
                <a:gd name="T46" fmla="*/ 37 w 77"/>
                <a:gd name="T47" fmla="*/ 432 h 461"/>
                <a:gd name="T48" fmla="*/ 46 w 77"/>
                <a:gd name="T49" fmla="*/ 409 h 461"/>
                <a:gd name="T50" fmla="*/ 21 w 77"/>
                <a:gd name="T51" fmla="*/ 369 h 461"/>
                <a:gd name="T52" fmla="*/ 32 w 77"/>
                <a:gd name="T53" fmla="*/ 324 h 461"/>
                <a:gd name="T54" fmla="*/ 34 w 77"/>
                <a:gd name="T55" fmla="*/ 276 h 461"/>
                <a:gd name="T56" fmla="*/ 37 w 77"/>
                <a:gd name="T57" fmla="*/ 219 h 461"/>
                <a:gd name="T58" fmla="*/ 50 w 77"/>
                <a:gd name="T59" fmla="*/ 162 h 461"/>
                <a:gd name="T60" fmla="*/ 64 w 77"/>
                <a:gd name="T61" fmla="*/ 95 h 461"/>
                <a:gd name="T62" fmla="*/ 66 w 77"/>
                <a:gd name="T63" fmla="*/ 444 h 461"/>
                <a:gd name="T64" fmla="*/ 49 w 77"/>
                <a:gd name="T65" fmla="*/ 427 h 461"/>
                <a:gd name="T66" fmla="*/ 42 w 77"/>
                <a:gd name="T67" fmla="*/ 440 h 461"/>
                <a:gd name="T68" fmla="*/ 34 w 77"/>
                <a:gd name="T69" fmla="*/ 432 h 461"/>
                <a:gd name="T70" fmla="*/ 31 w 77"/>
                <a:gd name="T71" fmla="*/ 444 h 461"/>
                <a:gd name="T72" fmla="*/ 53 w 77"/>
                <a:gd name="T73" fmla="*/ 448 h 461"/>
                <a:gd name="T74" fmla="*/ 71 w 77"/>
                <a:gd name="T75" fmla="*/ 446 h 461"/>
                <a:gd name="T76" fmla="*/ 67 w 77"/>
                <a:gd name="T77" fmla="*/ 458 h 461"/>
                <a:gd name="T78" fmla="*/ 52 w 77"/>
                <a:gd name="T79" fmla="*/ 450 h 461"/>
                <a:gd name="T80" fmla="*/ 54 w 77"/>
                <a:gd name="T81" fmla="*/ 452 h 461"/>
                <a:gd name="T82" fmla="*/ 41 w 77"/>
                <a:gd name="T83" fmla="*/ 448 h 461"/>
                <a:gd name="T84" fmla="*/ 27 w 77"/>
                <a:gd name="T85" fmla="*/ 422 h 461"/>
                <a:gd name="T86" fmla="*/ 32 w 77"/>
                <a:gd name="T87" fmla="*/ 417 h 461"/>
                <a:gd name="T88" fmla="*/ 7 w 77"/>
                <a:gd name="T89" fmla="*/ 402 h 461"/>
                <a:gd name="T90" fmla="*/ 8 w 77"/>
                <a:gd name="T91" fmla="*/ 392 h 461"/>
                <a:gd name="T92" fmla="*/ 13 w 77"/>
                <a:gd name="T93" fmla="*/ 393 h 461"/>
                <a:gd name="T94" fmla="*/ 7 w 77"/>
                <a:gd name="T95" fmla="*/ 387 h 461"/>
                <a:gd name="T96" fmla="*/ 2 w 77"/>
                <a:gd name="T97" fmla="*/ 369 h 461"/>
                <a:gd name="T98" fmla="*/ 6 w 77"/>
                <a:gd name="T99" fmla="*/ 383 h 461"/>
                <a:gd name="T100" fmla="*/ 12 w 77"/>
                <a:gd name="T101" fmla="*/ 320 h 461"/>
                <a:gd name="T102" fmla="*/ 18 w 77"/>
                <a:gd name="T103" fmla="*/ 328 h 461"/>
                <a:gd name="T104" fmla="*/ 16 w 77"/>
                <a:gd name="T105" fmla="*/ 317 h 461"/>
                <a:gd name="T106" fmla="*/ 14 w 77"/>
                <a:gd name="T107" fmla="*/ 311 h 461"/>
                <a:gd name="T108" fmla="*/ 20 w 77"/>
                <a:gd name="T109" fmla="*/ 297 h 461"/>
                <a:gd name="T110" fmla="*/ 19 w 77"/>
                <a:gd name="T111" fmla="*/ 279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7" h="461">
                  <a:moveTo>
                    <a:pt x="71" y="51"/>
                  </a:moveTo>
                  <a:cubicBezTo>
                    <a:pt x="67" y="48"/>
                    <a:pt x="67" y="48"/>
                    <a:pt x="67" y="48"/>
                  </a:cubicBezTo>
                  <a:cubicBezTo>
                    <a:pt x="66" y="41"/>
                    <a:pt x="66" y="41"/>
                    <a:pt x="66" y="41"/>
                  </a:cubicBezTo>
                  <a:cubicBezTo>
                    <a:pt x="66" y="41"/>
                    <a:pt x="66" y="34"/>
                    <a:pt x="65" y="32"/>
                  </a:cubicBezTo>
                  <a:cubicBezTo>
                    <a:pt x="63" y="30"/>
                    <a:pt x="63" y="26"/>
                    <a:pt x="62" y="23"/>
                  </a:cubicBezTo>
                  <a:cubicBezTo>
                    <a:pt x="61" y="21"/>
                    <a:pt x="60" y="15"/>
                    <a:pt x="60" y="15"/>
                  </a:cubicBezTo>
                  <a:cubicBezTo>
                    <a:pt x="60" y="15"/>
                    <a:pt x="58" y="12"/>
                    <a:pt x="56" y="10"/>
                  </a:cubicBezTo>
                  <a:cubicBezTo>
                    <a:pt x="54" y="9"/>
                    <a:pt x="52" y="0"/>
                    <a:pt x="52" y="0"/>
                  </a:cubicBezTo>
                  <a:cubicBezTo>
                    <a:pt x="52" y="0"/>
                    <a:pt x="51" y="0"/>
                    <a:pt x="50" y="3"/>
                  </a:cubicBezTo>
                  <a:cubicBezTo>
                    <a:pt x="49" y="5"/>
                    <a:pt x="47" y="6"/>
                    <a:pt x="47" y="6"/>
                  </a:cubicBezTo>
                  <a:cubicBezTo>
                    <a:pt x="47" y="6"/>
                    <a:pt x="48" y="7"/>
                    <a:pt x="48" y="8"/>
                  </a:cubicBezTo>
                  <a:cubicBezTo>
                    <a:pt x="48" y="9"/>
                    <a:pt x="48" y="10"/>
                    <a:pt x="48" y="12"/>
                  </a:cubicBezTo>
                  <a:cubicBezTo>
                    <a:pt x="49" y="17"/>
                    <a:pt x="51" y="22"/>
                    <a:pt x="50" y="29"/>
                  </a:cubicBezTo>
                  <a:cubicBezTo>
                    <a:pt x="50" y="31"/>
                    <a:pt x="48" y="35"/>
                    <a:pt x="49" y="38"/>
                  </a:cubicBezTo>
                  <a:cubicBezTo>
                    <a:pt x="49" y="39"/>
                    <a:pt x="51" y="40"/>
                    <a:pt x="50" y="42"/>
                  </a:cubicBezTo>
                  <a:cubicBezTo>
                    <a:pt x="49" y="42"/>
                    <a:pt x="49" y="42"/>
                    <a:pt x="49" y="42"/>
                  </a:cubicBezTo>
                  <a:cubicBezTo>
                    <a:pt x="48" y="43"/>
                    <a:pt x="49" y="44"/>
                    <a:pt x="48" y="46"/>
                  </a:cubicBezTo>
                  <a:cubicBezTo>
                    <a:pt x="47" y="46"/>
                    <a:pt x="47" y="46"/>
                    <a:pt x="47" y="46"/>
                  </a:cubicBezTo>
                  <a:cubicBezTo>
                    <a:pt x="46" y="51"/>
                    <a:pt x="47" y="56"/>
                    <a:pt x="47" y="61"/>
                  </a:cubicBezTo>
                  <a:cubicBezTo>
                    <a:pt x="45" y="61"/>
                    <a:pt x="45" y="61"/>
                    <a:pt x="45" y="61"/>
                  </a:cubicBezTo>
                  <a:cubicBezTo>
                    <a:pt x="44" y="65"/>
                    <a:pt x="46" y="65"/>
                    <a:pt x="47" y="67"/>
                  </a:cubicBezTo>
                  <a:cubicBezTo>
                    <a:pt x="47" y="67"/>
                    <a:pt x="47" y="69"/>
                    <a:pt x="47" y="69"/>
                  </a:cubicBezTo>
                  <a:cubicBezTo>
                    <a:pt x="45" y="69"/>
                    <a:pt x="46" y="70"/>
                    <a:pt x="46" y="71"/>
                  </a:cubicBezTo>
                  <a:cubicBezTo>
                    <a:pt x="45" y="74"/>
                    <a:pt x="43" y="79"/>
                    <a:pt x="44" y="85"/>
                  </a:cubicBezTo>
                  <a:cubicBezTo>
                    <a:pt x="44" y="86"/>
                    <a:pt x="46" y="88"/>
                    <a:pt x="45" y="89"/>
                  </a:cubicBezTo>
                  <a:cubicBezTo>
                    <a:pt x="45" y="91"/>
                    <a:pt x="44" y="94"/>
                    <a:pt x="43" y="97"/>
                  </a:cubicBezTo>
                  <a:cubicBezTo>
                    <a:pt x="45" y="97"/>
                    <a:pt x="43" y="98"/>
                    <a:pt x="43" y="98"/>
                  </a:cubicBezTo>
                  <a:cubicBezTo>
                    <a:pt x="43" y="99"/>
                    <a:pt x="43" y="102"/>
                    <a:pt x="43" y="102"/>
                  </a:cubicBezTo>
                  <a:cubicBezTo>
                    <a:pt x="43" y="103"/>
                    <a:pt x="43" y="104"/>
                    <a:pt x="43" y="105"/>
                  </a:cubicBezTo>
                  <a:cubicBezTo>
                    <a:pt x="43" y="105"/>
                    <a:pt x="43" y="107"/>
                    <a:pt x="43" y="108"/>
                  </a:cubicBezTo>
                  <a:cubicBezTo>
                    <a:pt x="41" y="109"/>
                    <a:pt x="41" y="109"/>
                    <a:pt x="41" y="109"/>
                  </a:cubicBezTo>
                  <a:cubicBezTo>
                    <a:pt x="40" y="112"/>
                    <a:pt x="42" y="113"/>
                    <a:pt x="41" y="115"/>
                  </a:cubicBezTo>
                  <a:cubicBezTo>
                    <a:pt x="41" y="115"/>
                    <a:pt x="40" y="116"/>
                    <a:pt x="40" y="116"/>
                  </a:cubicBezTo>
                  <a:cubicBezTo>
                    <a:pt x="40" y="117"/>
                    <a:pt x="40" y="120"/>
                    <a:pt x="40" y="121"/>
                  </a:cubicBezTo>
                  <a:cubicBezTo>
                    <a:pt x="40" y="122"/>
                    <a:pt x="38" y="126"/>
                    <a:pt x="37" y="127"/>
                  </a:cubicBezTo>
                  <a:cubicBezTo>
                    <a:pt x="37" y="132"/>
                    <a:pt x="40" y="133"/>
                    <a:pt x="40" y="136"/>
                  </a:cubicBezTo>
                  <a:cubicBezTo>
                    <a:pt x="40" y="138"/>
                    <a:pt x="40" y="142"/>
                    <a:pt x="39" y="145"/>
                  </a:cubicBezTo>
                  <a:cubicBezTo>
                    <a:pt x="39" y="145"/>
                    <a:pt x="38" y="145"/>
                    <a:pt x="38" y="145"/>
                  </a:cubicBezTo>
                  <a:cubicBezTo>
                    <a:pt x="37" y="147"/>
                    <a:pt x="37" y="149"/>
                    <a:pt x="37" y="151"/>
                  </a:cubicBezTo>
                  <a:cubicBezTo>
                    <a:pt x="37" y="153"/>
                    <a:pt x="39" y="156"/>
                    <a:pt x="39" y="158"/>
                  </a:cubicBezTo>
                  <a:cubicBezTo>
                    <a:pt x="39" y="159"/>
                    <a:pt x="39" y="171"/>
                    <a:pt x="39" y="172"/>
                  </a:cubicBezTo>
                  <a:cubicBezTo>
                    <a:pt x="35" y="175"/>
                    <a:pt x="35" y="175"/>
                    <a:pt x="35" y="175"/>
                  </a:cubicBezTo>
                  <a:cubicBezTo>
                    <a:pt x="35" y="175"/>
                    <a:pt x="35" y="180"/>
                    <a:pt x="35" y="179"/>
                  </a:cubicBezTo>
                  <a:cubicBezTo>
                    <a:pt x="35" y="180"/>
                    <a:pt x="36" y="179"/>
                    <a:pt x="36" y="181"/>
                  </a:cubicBezTo>
                  <a:cubicBezTo>
                    <a:pt x="36" y="182"/>
                    <a:pt x="33" y="184"/>
                    <a:pt x="33" y="185"/>
                  </a:cubicBezTo>
                  <a:cubicBezTo>
                    <a:pt x="32" y="187"/>
                    <a:pt x="33" y="189"/>
                    <a:pt x="33" y="191"/>
                  </a:cubicBezTo>
                  <a:cubicBezTo>
                    <a:pt x="32" y="194"/>
                    <a:pt x="28" y="197"/>
                    <a:pt x="28" y="200"/>
                  </a:cubicBezTo>
                  <a:cubicBezTo>
                    <a:pt x="28" y="202"/>
                    <a:pt x="29" y="202"/>
                    <a:pt x="29" y="203"/>
                  </a:cubicBezTo>
                  <a:cubicBezTo>
                    <a:pt x="30" y="205"/>
                    <a:pt x="29" y="209"/>
                    <a:pt x="29" y="211"/>
                  </a:cubicBezTo>
                  <a:cubicBezTo>
                    <a:pt x="29" y="212"/>
                    <a:pt x="26" y="213"/>
                    <a:pt x="26" y="214"/>
                  </a:cubicBezTo>
                  <a:cubicBezTo>
                    <a:pt x="26" y="215"/>
                    <a:pt x="26" y="216"/>
                    <a:pt x="26" y="217"/>
                  </a:cubicBezTo>
                  <a:cubicBezTo>
                    <a:pt x="25" y="221"/>
                    <a:pt x="21" y="217"/>
                    <a:pt x="24" y="226"/>
                  </a:cubicBezTo>
                  <a:cubicBezTo>
                    <a:pt x="23" y="226"/>
                    <a:pt x="22" y="225"/>
                    <a:pt x="21" y="226"/>
                  </a:cubicBezTo>
                  <a:cubicBezTo>
                    <a:pt x="20" y="226"/>
                    <a:pt x="20" y="227"/>
                    <a:pt x="19" y="227"/>
                  </a:cubicBezTo>
                  <a:cubicBezTo>
                    <a:pt x="20" y="228"/>
                    <a:pt x="21" y="229"/>
                    <a:pt x="21" y="230"/>
                  </a:cubicBezTo>
                  <a:cubicBezTo>
                    <a:pt x="21" y="230"/>
                    <a:pt x="20" y="232"/>
                    <a:pt x="20" y="233"/>
                  </a:cubicBezTo>
                  <a:cubicBezTo>
                    <a:pt x="20" y="233"/>
                    <a:pt x="22" y="234"/>
                    <a:pt x="22" y="234"/>
                  </a:cubicBezTo>
                  <a:cubicBezTo>
                    <a:pt x="22" y="236"/>
                    <a:pt x="21" y="238"/>
                    <a:pt x="21" y="238"/>
                  </a:cubicBezTo>
                  <a:cubicBezTo>
                    <a:pt x="21" y="238"/>
                    <a:pt x="21" y="240"/>
                    <a:pt x="21" y="240"/>
                  </a:cubicBezTo>
                  <a:cubicBezTo>
                    <a:pt x="21" y="240"/>
                    <a:pt x="22" y="242"/>
                    <a:pt x="22" y="242"/>
                  </a:cubicBezTo>
                  <a:cubicBezTo>
                    <a:pt x="22" y="242"/>
                    <a:pt x="21" y="243"/>
                    <a:pt x="21" y="243"/>
                  </a:cubicBezTo>
                  <a:cubicBezTo>
                    <a:pt x="23" y="243"/>
                    <a:pt x="24" y="254"/>
                    <a:pt x="23" y="256"/>
                  </a:cubicBezTo>
                  <a:cubicBezTo>
                    <a:pt x="23" y="256"/>
                    <a:pt x="21" y="256"/>
                    <a:pt x="21" y="256"/>
                  </a:cubicBezTo>
                  <a:cubicBezTo>
                    <a:pt x="21" y="259"/>
                    <a:pt x="19" y="262"/>
                    <a:pt x="19" y="264"/>
                  </a:cubicBezTo>
                  <a:cubicBezTo>
                    <a:pt x="19" y="265"/>
                    <a:pt x="17" y="271"/>
                    <a:pt x="17" y="271"/>
                  </a:cubicBezTo>
                  <a:cubicBezTo>
                    <a:pt x="18" y="271"/>
                    <a:pt x="19" y="278"/>
                    <a:pt x="19" y="279"/>
                  </a:cubicBezTo>
                  <a:cubicBezTo>
                    <a:pt x="20" y="278"/>
                    <a:pt x="21" y="279"/>
                    <a:pt x="22" y="279"/>
                  </a:cubicBezTo>
                  <a:cubicBezTo>
                    <a:pt x="22" y="279"/>
                    <a:pt x="22" y="277"/>
                    <a:pt x="23" y="276"/>
                  </a:cubicBezTo>
                  <a:cubicBezTo>
                    <a:pt x="23" y="275"/>
                    <a:pt x="25" y="275"/>
                    <a:pt x="25" y="275"/>
                  </a:cubicBezTo>
                  <a:cubicBezTo>
                    <a:pt x="26" y="276"/>
                    <a:pt x="26" y="277"/>
                    <a:pt x="27" y="278"/>
                  </a:cubicBezTo>
                  <a:cubicBezTo>
                    <a:pt x="28" y="278"/>
                    <a:pt x="28" y="278"/>
                    <a:pt x="28" y="278"/>
                  </a:cubicBezTo>
                  <a:cubicBezTo>
                    <a:pt x="28" y="278"/>
                    <a:pt x="28" y="279"/>
                    <a:pt x="28" y="279"/>
                  </a:cubicBezTo>
                  <a:cubicBezTo>
                    <a:pt x="28" y="280"/>
                    <a:pt x="26" y="281"/>
                    <a:pt x="25" y="281"/>
                  </a:cubicBezTo>
                  <a:cubicBezTo>
                    <a:pt x="26" y="285"/>
                    <a:pt x="26" y="290"/>
                    <a:pt x="26" y="294"/>
                  </a:cubicBezTo>
                  <a:cubicBezTo>
                    <a:pt x="24" y="295"/>
                    <a:pt x="25" y="293"/>
                    <a:pt x="25" y="293"/>
                  </a:cubicBezTo>
                  <a:cubicBezTo>
                    <a:pt x="25" y="293"/>
                    <a:pt x="25" y="294"/>
                    <a:pt x="24" y="295"/>
                  </a:cubicBezTo>
                  <a:cubicBezTo>
                    <a:pt x="24" y="296"/>
                    <a:pt x="22" y="297"/>
                    <a:pt x="23" y="298"/>
                  </a:cubicBezTo>
                  <a:cubicBezTo>
                    <a:pt x="24" y="298"/>
                    <a:pt x="24" y="298"/>
                    <a:pt x="24" y="298"/>
                  </a:cubicBezTo>
                  <a:cubicBezTo>
                    <a:pt x="24" y="299"/>
                    <a:pt x="24" y="300"/>
                    <a:pt x="24" y="301"/>
                  </a:cubicBezTo>
                  <a:cubicBezTo>
                    <a:pt x="24" y="302"/>
                    <a:pt x="26" y="303"/>
                    <a:pt x="26" y="304"/>
                  </a:cubicBezTo>
                  <a:cubicBezTo>
                    <a:pt x="25" y="305"/>
                    <a:pt x="23" y="306"/>
                    <a:pt x="21" y="307"/>
                  </a:cubicBezTo>
                  <a:cubicBezTo>
                    <a:pt x="21" y="307"/>
                    <a:pt x="22" y="309"/>
                    <a:pt x="21" y="309"/>
                  </a:cubicBezTo>
                  <a:cubicBezTo>
                    <a:pt x="23" y="310"/>
                    <a:pt x="23" y="309"/>
                    <a:pt x="23" y="311"/>
                  </a:cubicBezTo>
                  <a:cubicBezTo>
                    <a:pt x="22" y="311"/>
                    <a:pt x="22" y="311"/>
                    <a:pt x="19" y="311"/>
                  </a:cubicBezTo>
                  <a:cubicBezTo>
                    <a:pt x="19" y="311"/>
                    <a:pt x="21" y="313"/>
                    <a:pt x="21" y="313"/>
                  </a:cubicBezTo>
                  <a:cubicBezTo>
                    <a:pt x="19" y="314"/>
                    <a:pt x="19" y="314"/>
                    <a:pt x="19" y="314"/>
                  </a:cubicBezTo>
                  <a:cubicBezTo>
                    <a:pt x="20" y="319"/>
                    <a:pt x="20" y="321"/>
                    <a:pt x="19" y="325"/>
                  </a:cubicBezTo>
                  <a:cubicBezTo>
                    <a:pt x="20" y="325"/>
                    <a:pt x="21" y="324"/>
                    <a:pt x="21" y="326"/>
                  </a:cubicBezTo>
                  <a:cubicBezTo>
                    <a:pt x="19" y="327"/>
                    <a:pt x="19" y="327"/>
                    <a:pt x="19" y="327"/>
                  </a:cubicBezTo>
                  <a:cubicBezTo>
                    <a:pt x="19" y="330"/>
                    <a:pt x="19" y="333"/>
                    <a:pt x="19" y="336"/>
                  </a:cubicBezTo>
                  <a:cubicBezTo>
                    <a:pt x="18" y="336"/>
                    <a:pt x="18" y="338"/>
                    <a:pt x="17" y="337"/>
                  </a:cubicBezTo>
                  <a:cubicBezTo>
                    <a:pt x="17" y="337"/>
                    <a:pt x="17" y="337"/>
                    <a:pt x="17" y="337"/>
                  </a:cubicBezTo>
                  <a:cubicBezTo>
                    <a:pt x="16" y="336"/>
                    <a:pt x="18" y="334"/>
                    <a:pt x="14" y="335"/>
                  </a:cubicBezTo>
                  <a:cubicBezTo>
                    <a:pt x="14" y="335"/>
                    <a:pt x="14" y="337"/>
                    <a:pt x="14" y="337"/>
                  </a:cubicBezTo>
                  <a:cubicBezTo>
                    <a:pt x="13" y="337"/>
                    <a:pt x="10" y="337"/>
                    <a:pt x="12" y="336"/>
                  </a:cubicBezTo>
                  <a:cubicBezTo>
                    <a:pt x="13" y="336"/>
                    <a:pt x="12" y="334"/>
                    <a:pt x="13" y="333"/>
                  </a:cubicBezTo>
                  <a:cubicBezTo>
                    <a:pt x="12" y="334"/>
                    <a:pt x="11" y="335"/>
                    <a:pt x="9" y="336"/>
                  </a:cubicBezTo>
                  <a:cubicBezTo>
                    <a:pt x="9" y="336"/>
                    <a:pt x="10" y="333"/>
                    <a:pt x="10" y="333"/>
                  </a:cubicBezTo>
                  <a:cubicBezTo>
                    <a:pt x="9" y="332"/>
                    <a:pt x="8" y="333"/>
                    <a:pt x="7" y="332"/>
                  </a:cubicBezTo>
                  <a:cubicBezTo>
                    <a:pt x="6" y="333"/>
                    <a:pt x="6" y="333"/>
                    <a:pt x="6" y="333"/>
                  </a:cubicBezTo>
                  <a:cubicBezTo>
                    <a:pt x="3" y="335"/>
                    <a:pt x="4" y="334"/>
                    <a:pt x="6" y="337"/>
                  </a:cubicBezTo>
                  <a:cubicBezTo>
                    <a:pt x="5" y="338"/>
                    <a:pt x="3" y="339"/>
                    <a:pt x="2" y="341"/>
                  </a:cubicBezTo>
                  <a:cubicBezTo>
                    <a:pt x="3" y="341"/>
                    <a:pt x="2" y="343"/>
                    <a:pt x="2" y="344"/>
                  </a:cubicBezTo>
                  <a:cubicBezTo>
                    <a:pt x="4" y="344"/>
                    <a:pt x="4" y="344"/>
                    <a:pt x="4" y="344"/>
                  </a:cubicBezTo>
                  <a:cubicBezTo>
                    <a:pt x="4" y="344"/>
                    <a:pt x="2" y="340"/>
                    <a:pt x="6" y="341"/>
                  </a:cubicBezTo>
                  <a:cubicBezTo>
                    <a:pt x="6" y="342"/>
                    <a:pt x="6" y="342"/>
                    <a:pt x="6" y="342"/>
                  </a:cubicBezTo>
                  <a:cubicBezTo>
                    <a:pt x="6" y="342"/>
                    <a:pt x="6" y="342"/>
                    <a:pt x="6" y="342"/>
                  </a:cubicBezTo>
                  <a:cubicBezTo>
                    <a:pt x="6" y="342"/>
                    <a:pt x="6" y="344"/>
                    <a:pt x="6" y="344"/>
                  </a:cubicBezTo>
                  <a:cubicBezTo>
                    <a:pt x="6" y="344"/>
                    <a:pt x="9" y="344"/>
                    <a:pt x="10" y="345"/>
                  </a:cubicBezTo>
                  <a:cubicBezTo>
                    <a:pt x="10" y="345"/>
                    <a:pt x="10" y="343"/>
                    <a:pt x="10" y="343"/>
                  </a:cubicBezTo>
                  <a:cubicBezTo>
                    <a:pt x="11" y="342"/>
                    <a:pt x="13" y="343"/>
                    <a:pt x="13" y="343"/>
                  </a:cubicBezTo>
                  <a:cubicBezTo>
                    <a:pt x="15" y="347"/>
                    <a:pt x="16" y="348"/>
                    <a:pt x="14" y="353"/>
                  </a:cubicBezTo>
                  <a:cubicBezTo>
                    <a:pt x="15" y="353"/>
                    <a:pt x="15" y="353"/>
                    <a:pt x="16" y="353"/>
                  </a:cubicBezTo>
                  <a:cubicBezTo>
                    <a:pt x="16" y="354"/>
                    <a:pt x="15" y="354"/>
                    <a:pt x="15" y="355"/>
                  </a:cubicBezTo>
                  <a:cubicBezTo>
                    <a:pt x="13" y="355"/>
                    <a:pt x="14" y="355"/>
                    <a:pt x="12" y="355"/>
                  </a:cubicBezTo>
                  <a:cubicBezTo>
                    <a:pt x="13" y="357"/>
                    <a:pt x="12" y="361"/>
                    <a:pt x="13" y="365"/>
                  </a:cubicBezTo>
                  <a:cubicBezTo>
                    <a:pt x="13" y="365"/>
                    <a:pt x="14" y="366"/>
                    <a:pt x="14" y="367"/>
                  </a:cubicBezTo>
                  <a:cubicBezTo>
                    <a:pt x="13" y="367"/>
                    <a:pt x="13" y="367"/>
                    <a:pt x="13" y="367"/>
                  </a:cubicBezTo>
                  <a:cubicBezTo>
                    <a:pt x="12" y="369"/>
                    <a:pt x="12" y="372"/>
                    <a:pt x="12" y="375"/>
                  </a:cubicBezTo>
                  <a:cubicBezTo>
                    <a:pt x="13" y="375"/>
                    <a:pt x="14" y="376"/>
                    <a:pt x="14" y="375"/>
                  </a:cubicBezTo>
                  <a:cubicBezTo>
                    <a:pt x="14" y="375"/>
                    <a:pt x="14" y="373"/>
                    <a:pt x="14" y="373"/>
                  </a:cubicBezTo>
                  <a:cubicBezTo>
                    <a:pt x="14" y="373"/>
                    <a:pt x="16" y="373"/>
                    <a:pt x="16" y="373"/>
                  </a:cubicBezTo>
                  <a:cubicBezTo>
                    <a:pt x="16" y="373"/>
                    <a:pt x="16" y="375"/>
                    <a:pt x="15" y="376"/>
                  </a:cubicBezTo>
                  <a:cubicBezTo>
                    <a:pt x="15" y="377"/>
                    <a:pt x="15" y="377"/>
                    <a:pt x="15" y="377"/>
                  </a:cubicBezTo>
                  <a:cubicBezTo>
                    <a:pt x="15" y="378"/>
                    <a:pt x="13" y="377"/>
                    <a:pt x="12" y="379"/>
                  </a:cubicBezTo>
                  <a:cubicBezTo>
                    <a:pt x="12" y="379"/>
                    <a:pt x="12" y="381"/>
                    <a:pt x="12" y="382"/>
                  </a:cubicBezTo>
                  <a:cubicBezTo>
                    <a:pt x="12" y="382"/>
                    <a:pt x="10" y="383"/>
                    <a:pt x="10" y="384"/>
                  </a:cubicBezTo>
                  <a:cubicBezTo>
                    <a:pt x="10" y="385"/>
                    <a:pt x="10" y="386"/>
                    <a:pt x="10" y="387"/>
                  </a:cubicBezTo>
                  <a:cubicBezTo>
                    <a:pt x="12" y="388"/>
                    <a:pt x="14" y="387"/>
                    <a:pt x="15" y="389"/>
                  </a:cubicBezTo>
                  <a:cubicBezTo>
                    <a:pt x="17" y="389"/>
                    <a:pt x="14" y="389"/>
                    <a:pt x="14" y="389"/>
                  </a:cubicBezTo>
                  <a:cubicBezTo>
                    <a:pt x="14" y="390"/>
                    <a:pt x="14" y="391"/>
                    <a:pt x="14" y="391"/>
                  </a:cubicBezTo>
                  <a:cubicBezTo>
                    <a:pt x="15" y="392"/>
                    <a:pt x="16" y="393"/>
                    <a:pt x="16" y="393"/>
                  </a:cubicBezTo>
                  <a:cubicBezTo>
                    <a:pt x="17" y="393"/>
                    <a:pt x="17" y="393"/>
                    <a:pt x="18" y="393"/>
                  </a:cubicBezTo>
                  <a:cubicBezTo>
                    <a:pt x="17" y="394"/>
                    <a:pt x="15" y="395"/>
                    <a:pt x="14" y="396"/>
                  </a:cubicBezTo>
                  <a:cubicBezTo>
                    <a:pt x="14" y="395"/>
                    <a:pt x="13" y="398"/>
                    <a:pt x="13" y="398"/>
                  </a:cubicBezTo>
                  <a:cubicBezTo>
                    <a:pt x="14" y="399"/>
                    <a:pt x="16" y="400"/>
                    <a:pt x="17" y="400"/>
                  </a:cubicBezTo>
                  <a:cubicBezTo>
                    <a:pt x="17" y="402"/>
                    <a:pt x="17" y="403"/>
                    <a:pt x="17" y="404"/>
                  </a:cubicBezTo>
                  <a:cubicBezTo>
                    <a:pt x="17" y="404"/>
                    <a:pt x="15" y="403"/>
                    <a:pt x="15" y="404"/>
                  </a:cubicBezTo>
                  <a:cubicBezTo>
                    <a:pt x="15" y="404"/>
                    <a:pt x="15" y="406"/>
                    <a:pt x="15" y="406"/>
                  </a:cubicBezTo>
                  <a:cubicBezTo>
                    <a:pt x="13" y="406"/>
                    <a:pt x="13" y="405"/>
                    <a:pt x="11" y="406"/>
                  </a:cubicBezTo>
                  <a:cubicBezTo>
                    <a:pt x="10" y="406"/>
                    <a:pt x="13" y="407"/>
                    <a:pt x="10" y="407"/>
                  </a:cubicBezTo>
                  <a:cubicBezTo>
                    <a:pt x="10" y="407"/>
                    <a:pt x="7" y="405"/>
                    <a:pt x="7" y="405"/>
                  </a:cubicBezTo>
                  <a:cubicBezTo>
                    <a:pt x="4" y="405"/>
                    <a:pt x="3" y="409"/>
                    <a:pt x="4" y="408"/>
                  </a:cubicBezTo>
                  <a:cubicBezTo>
                    <a:pt x="4" y="410"/>
                    <a:pt x="4" y="410"/>
                    <a:pt x="4" y="412"/>
                  </a:cubicBezTo>
                  <a:cubicBezTo>
                    <a:pt x="5" y="413"/>
                    <a:pt x="7" y="415"/>
                    <a:pt x="8" y="416"/>
                  </a:cubicBezTo>
                  <a:cubicBezTo>
                    <a:pt x="8" y="416"/>
                    <a:pt x="8" y="418"/>
                    <a:pt x="7" y="419"/>
                  </a:cubicBezTo>
                  <a:cubicBezTo>
                    <a:pt x="9" y="420"/>
                    <a:pt x="11" y="423"/>
                    <a:pt x="12" y="424"/>
                  </a:cubicBezTo>
                  <a:cubicBezTo>
                    <a:pt x="14" y="425"/>
                    <a:pt x="14" y="424"/>
                    <a:pt x="16" y="424"/>
                  </a:cubicBezTo>
                  <a:cubicBezTo>
                    <a:pt x="17" y="424"/>
                    <a:pt x="17" y="424"/>
                    <a:pt x="17" y="424"/>
                  </a:cubicBezTo>
                  <a:cubicBezTo>
                    <a:pt x="18" y="423"/>
                    <a:pt x="18" y="423"/>
                    <a:pt x="18" y="423"/>
                  </a:cubicBezTo>
                  <a:cubicBezTo>
                    <a:pt x="17" y="422"/>
                    <a:pt x="13" y="419"/>
                    <a:pt x="13" y="419"/>
                  </a:cubicBezTo>
                  <a:cubicBezTo>
                    <a:pt x="12" y="419"/>
                    <a:pt x="11" y="419"/>
                    <a:pt x="11" y="419"/>
                  </a:cubicBezTo>
                  <a:cubicBezTo>
                    <a:pt x="10" y="419"/>
                    <a:pt x="10" y="417"/>
                    <a:pt x="9" y="417"/>
                  </a:cubicBezTo>
                  <a:cubicBezTo>
                    <a:pt x="12" y="418"/>
                    <a:pt x="13" y="418"/>
                    <a:pt x="15" y="418"/>
                  </a:cubicBezTo>
                  <a:cubicBezTo>
                    <a:pt x="15" y="413"/>
                    <a:pt x="16" y="412"/>
                    <a:pt x="12" y="408"/>
                  </a:cubicBezTo>
                  <a:cubicBezTo>
                    <a:pt x="14" y="408"/>
                    <a:pt x="13" y="409"/>
                    <a:pt x="14" y="408"/>
                  </a:cubicBezTo>
                  <a:cubicBezTo>
                    <a:pt x="14" y="408"/>
                    <a:pt x="17" y="407"/>
                    <a:pt x="18" y="406"/>
                  </a:cubicBezTo>
                  <a:cubicBezTo>
                    <a:pt x="18" y="407"/>
                    <a:pt x="18" y="409"/>
                    <a:pt x="18" y="409"/>
                  </a:cubicBezTo>
                  <a:cubicBezTo>
                    <a:pt x="18" y="409"/>
                    <a:pt x="19" y="410"/>
                    <a:pt x="19" y="410"/>
                  </a:cubicBezTo>
                  <a:cubicBezTo>
                    <a:pt x="22" y="408"/>
                    <a:pt x="22" y="407"/>
                    <a:pt x="23" y="404"/>
                  </a:cubicBezTo>
                  <a:cubicBezTo>
                    <a:pt x="24" y="404"/>
                    <a:pt x="25" y="406"/>
                    <a:pt x="25" y="406"/>
                  </a:cubicBezTo>
                  <a:cubicBezTo>
                    <a:pt x="27" y="406"/>
                    <a:pt x="27" y="405"/>
                    <a:pt x="28" y="405"/>
                  </a:cubicBezTo>
                  <a:cubicBezTo>
                    <a:pt x="28" y="406"/>
                    <a:pt x="28" y="406"/>
                    <a:pt x="28" y="406"/>
                  </a:cubicBezTo>
                  <a:cubicBezTo>
                    <a:pt x="27" y="407"/>
                    <a:pt x="25" y="408"/>
                    <a:pt x="25" y="408"/>
                  </a:cubicBezTo>
                  <a:cubicBezTo>
                    <a:pt x="23" y="408"/>
                    <a:pt x="23" y="408"/>
                    <a:pt x="23" y="408"/>
                  </a:cubicBezTo>
                  <a:cubicBezTo>
                    <a:pt x="23" y="409"/>
                    <a:pt x="23" y="411"/>
                    <a:pt x="23" y="412"/>
                  </a:cubicBezTo>
                  <a:cubicBezTo>
                    <a:pt x="21" y="412"/>
                    <a:pt x="21" y="412"/>
                    <a:pt x="21" y="412"/>
                  </a:cubicBezTo>
                  <a:cubicBezTo>
                    <a:pt x="21" y="412"/>
                    <a:pt x="21" y="410"/>
                    <a:pt x="21" y="410"/>
                  </a:cubicBezTo>
                  <a:cubicBezTo>
                    <a:pt x="20" y="410"/>
                    <a:pt x="18" y="411"/>
                    <a:pt x="17" y="411"/>
                  </a:cubicBezTo>
                  <a:cubicBezTo>
                    <a:pt x="18" y="415"/>
                    <a:pt x="19" y="418"/>
                    <a:pt x="19" y="422"/>
                  </a:cubicBezTo>
                  <a:cubicBezTo>
                    <a:pt x="22" y="422"/>
                    <a:pt x="19" y="421"/>
                    <a:pt x="23" y="422"/>
                  </a:cubicBezTo>
                  <a:cubicBezTo>
                    <a:pt x="22" y="424"/>
                    <a:pt x="22" y="424"/>
                    <a:pt x="22" y="424"/>
                  </a:cubicBezTo>
                  <a:cubicBezTo>
                    <a:pt x="21" y="425"/>
                    <a:pt x="21" y="424"/>
                    <a:pt x="21" y="423"/>
                  </a:cubicBezTo>
                  <a:cubicBezTo>
                    <a:pt x="19" y="423"/>
                    <a:pt x="19" y="423"/>
                    <a:pt x="19" y="423"/>
                  </a:cubicBezTo>
                  <a:cubicBezTo>
                    <a:pt x="19" y="425"/>
                    <a:pt x="18" y="427"/>
                    <a:pt x="17" y="428"/>
                  </a:cubicBezTo>
                  <a:cubicBezTo>
                    <a:pt x="18" y="429"/>
                    <a:pt x="17" y="430"/>
                    <a:pt x="17" y="430"/>
                  </a:cubicBezTo>
                  <a:cubicBezTo>
                    <a:pt x="18" y="431"/>
                    <a:pt x="19" y="430"/>
                    <a:pt x="19" y="430"/>
                  </a:cubicBezTo>
                  <a:cubicBezTo>
                    <a:pt x="20" y="432"/>
                    <a:pt x="19" y="431"/>
                    <a:pt x="20" y="432"/>
                  </a:cubicBezTo>
                  <a:cubicBezTo>
                    <a:pt x="20" y="432"/>
                    <a:pt x="20" y="432"/>
                    <a:pt x="20" y="432"/>
                  </a:cubicBezTo>
                  <a:cubicBezTo>
                    <a:pt x="21" y="433"/>
                    <a:pt x="22" y="431"/>
                    <a:pt x="23" y="432"/>
                  </a:cubicBezTo>
                  <a:cubicBezTo>
                    <a:pt x="24" y="433"/>
                    <a:pt x="21" y="434"/>
                    <a:pt x="23" y="436"/>
                  </a:cubicBezTo>
                  <a:cubicBezTo>
                    <a:pt x="24" y="436"/>
                    <a:pt x="25" y="435"/>
                    <a:pt x="26" y="435"/>
                  </a:cubicBezTo>
                  <a:cubicBezTo>
                    <a:pt x="26" y="435"/>
                    <a:pt x="27" y="436"/>
                    <a:pt x="27" y="436"/>
                  </a:cubicBezTo>
                  <a:cubicBezTo>
                    <a:pt x="27" y="436"/>
                    <a:pt x="28" y="436"/>
                    <a:pt x="29" y="436"/>
                  </a:cubicBezTo>
                  <a:cubicBezTo>
                    <a:pt x="29" y="436"/>
                    <a:pt x="29" y="436"/>
                    <a:pt x="29" y="436"/>
                  </a:cubicBezTo>
                  <a:cubicBezTo>
                    <a:pt x="27" y="431"/>
                    <a:pt x="28" y="434"/>
                    <a:pt x="29" y="430"/>
                  </a:cubicBezTo>
                  <a:cubicBezTo>
                    <a:pt x="28" y="429"/>
                    <a:pt x="27" y="429"/>
                    <a:pt x="25" y="428"/>
                  </a:cubicBezTo>
                  <a:cubicBezTo>
                    <a:pt x="20" y="424"/>
                    <a:pt x="25" y="425"/>
                    <a:pt x="28" y="428"/>
                  </a:cubicBezTo>
                  <a:cubicBezTo>
                    <a:pt x="28" y="427"/>
                    <a:pt x="28" y="426"/>
                    <a:pt x="27" y="425"/>
                  </a:cubicBezTo>
                  <a:cubicBezTo>
                    <a:pt x="29" y="425"/>
                    <a:pt x="29" y="425"/>
                    <a:pt x="30" y="424"/>
                  </a:cubicBezTo>
                  <a:cubicBezTo>
                    <a:pt x="31" y="428"/>
                    <a:pt x="29" y="428"/>
                    <a:pt x="33" y="430"/>
                  </a:cubicBezTo>
                  <a:cubicBezTo>
                    <a:pt x="35" y="431"/>
                    <a:pt x="36" y="431"/>
                    <a:pt x="37" y="432"/>
                  </a:cubicBezTo>
                  <a:cubicBezTo>
                    <a:pt x="38" y="431"/>
                    <a:pt x="39" y="431"/>
                    <a:pt x="39" y="430"/>
                  </a:cubicBezTo>
                  <a:cubicBezTo>
                    <a:pt x="39" y="428"/>
                    <a:pt x="38" y="425"/>
                    <a:pt x="39" y="423"/>
                  </a:cubicBezTo>
                  <a:cubicBezTo>
                    <a:pt x="39" y="423"/>
                    <a:pt x="40" y="419"/>
                    <a:pt x="41" y="418"/>
                  </a:cubicBezTo>
                  <a:cubicBezTo>
                    <a:pt x="41" y="418"/>
                    <a:pt x="40" y="417"/>
                    <a:pt x="40" y="416"/>
                  </a:cubicBezTo>
                  <a:cubicBezTo>
                    <a:pt x="43" y="416"/>
                    <a:pt x="48" y="416"/>
                    <a:pt x="51" y="416"/>
                  </a:cubicBezTo>
                  <a:cubicBezTo>
                    <a:pt x="54" y="409"/>
                    <a:pt x="54" y="411"/>
                    <a:pt x="61" y="411"/>
                  </a:cubicBezTo>
                  <a:cubicBezTo>
                    <a:pt x="61" y="410"/>
                    <a:pt x="61" y="410"/>
                    <a:pt x="61" y="410"/>
                  </a:cubicBezTo>
                  <a:cubicBezTo>
                    <a:pt x="61" y="410"/>
                    <a:pt x="49" y="409"/>
                    <a:pt x="46" y="409"/>
                  </a:cubicBezTo>
                  <a:cubicBezTo>
                    <a:pt x="43" y="409"/>
                    <a:pt x="34" y="409"/>
                    <a:pt x="34" y="409"/>
                  </a:cubicBezTo>
                  <a:cubicBezTo>
                    <a:pt x="34" y="409"/>
                    <a:pt x="28" y="404"/>
                    <a:pt x="27" y="401"/>
                  </a:cubicBezTo>
                  <a:cubicBezTo>
                    <a:pt x="26" y="398"/>
                    <a:pt x="24" y="396"/>
                    <a:pt x="26" y="394"/>
                  </a:cubicBezTo>
                  <a:cubicBezTo>
                    <a:pt x="28" y="392"/>
                    <a:pt x="28" y="390"/>
                    <a:pt x="26" y="388"/>
                  </a:cubicBezTo>
                  <a:cubicBezTo>
                    <a:pt x="24" y="386"/>
                    <a:pt x="24" y="389"/>
                    <a:pt x="22" y="389"/>
                  </a:cubicBezTo>
                  <a:cubicBezTo>
                    <a:pt x="20" y="389"/>
                    <a:pt x="20" y="386"/>
                    <a:pt x="20" y="383"/>
                  </a:cubicBezTo>
                  <a:cubicBezTo>
                    <a:pt x="20" y="380"/>
                    <a:pt x="21" y="380"/>
                    <a:pt x="22" y="377"/>
                  </a:cubicBezTo>
                  <a:cubicBezTo>
                    <a:pt x="23" y="374"/>
                    <a:pt x="22" y="373"/>
                    <a:pt x="21" y="369"/>
                  </a:cubicBezTo>
                  <a:cubicBezTo>
                    <a:pt x="19" y="365"/>
                    <a:pt x="25" y="365"/>
                    <a:pt x="27" y="363"/>
                  </a:cubicBezTo>
                  <a:cubicBezTo>
                    <a:pt x="29" y="362"/>
                    <a:pt x="29" y="360"/>
                    <a:pt x="28" y="357"/>
                  </a:cubicBezTo>
                  <a:cubicBezTo>
                    <a:pt x="28" y="354"/>
                    <a:pt x="27" y="353"/>
                    <a:pt x="29" y="351"/>
                  </a:cubicBezTo>
                  <a:cubicBezTo>
                    <a:pt x="31" y="349"/>
                    <a:pt x="32" y="347"/>
                    <a:pt x="32" y="347"/>
                  </a:cubicBezTo>
                  <a:cubicBezTo>
                    <a:pt x="32" y="347"/>
                    <a:pt x="32" y="346"/>
                    <a:pt x="32" y="344"/>
                  </a:cubicBezTo>
                  <a:cubicBezTo>
                    <a:pt x="32" y="342"/>
                    <a:pt x="32" y="339"/>
                    <a:pt x="33" y="336"/>
                  </a:cubicBezTo>
                  <a:cubicBezTo>
                    <a:pt x="34" y="332"/>
                    <a:pt x="34" y="332"/>
                    <a:pt x="33" y="329"/>
                  </a:cubicBezTo>
                  <a:cubicBezTo>
                    <a:pt x="32" y="327"/>
                    <a:pt x="31" y="325"/>
                    <a:pt x="32" y="324"/>
                  </a:cubicBezTo>
                  <a:cubicBezTo>
                    <a:pt x="33" y="323"/>
                    <a:pt x="33" y="321"/>
                    <a:pt x="35" y="320"/>
                  </a:cubicBezTo>
                  <a:cubicBezTo>
                    <a:pt x="37" y="320"/>
                    <a:pt x="34" y="318"/>
                    <a:pt x="34" y="317"/>
                  </a:cubicBezTo>
                  <a:cubicBezTo>
                    <a:pt x="34" y="315"/>
                    <a:pt x="34" y="313"/>
                    <a:pt x="36" y="311"/>
                  </a:cubicBezTo>
                  <a:cubicBezTo>
                    <a:pt x="37" y="310"/>
                    <a:pt x="35" y="308"/>
                    <a:pt x="35" y="305"/>
                  </a:cubicBezTo>
                  <a:cubicBezTo>
                    <a:pt x="35" y="302"/>
                    <a:pt x="34" y="301"/>
                    <a:pt x="34" y="299"/>
                  </a:cubicBezTo>
                  <a:cubicBezTo>
                    <a:pt x="35" y="297"/>
                    <a:pt x="32" y="295"/>
                    <a:pt x="31" y="293"/>
                  </a:cubicBezTo>
                  <a:cubicBezTo>
                    <a:pt x="30" y="290"/>
                    <a:pt x="34" y="287"/>
                    <a:pt x="34" y="283"/>
                  </a:cubicBezTo>
                  <a:cubicBezTo>
                    <a:pt x="35" y="280"/>
                    <a:pt x="34" y="279"/>
                    <a:pt x="34" y="276"/>
                  </a:cubicBezTo>
                  <a:cubicBezTo>
                    <a:pt x="34" y="273"/>
                    <a:pt x="34" y="274"/>
                    <a:pt x="32" y="273"/>
                  </a:cubicBezTo>
                  <a:cubicBezTo>
                    <a:pt x="30" y="271"/>
                    <a:pt x="32" y="268"/>
                    <a:pt x="32" y="265"/>
                  </a:cubicBezTo>
                  <a:cubicBezTo>
                    <a:pt x="32" y="261"/>
                    <a:pt x="28" y="259"/>
                    <a:pt x="31" y="256"/>
                  </a:cubicBezTo>
                  <a:cubicBezTo>
                    <a:pt x="33" y="254"/>
                    <a:pt x="33" y="253"/>
                    <a:pt x="33" y="250"/>
                  </a:cubicBezTo>
                  <a:cubicBezTo>
                    <a:pt x="34" y="247"/>
                    <a:pt x="34" y="240"/>
                    <a:pt x="36" y="237"/>
                  </a:cubicBezTo>
                  <a:cubicBezTo>
                    <a:pt x="39" y="234"/>
                    <a:pt x="39" y="237"/>
                    <a:pt x="39" y="234"/>
                  </a:cubicBezTo>
                  <a:cubicBezTo>
                    <a:pt x="39" y="231"/>
                    <a:pt x="36" y="230"/>
                    <a:pt x="37" y="227"/>
                  </a:cubicBezTo>
                  <a:cubicBezTo>
                    <a:pt x="37" y="224"/>
                    <a:pt x="38" y="222"/>
                    <a:pt x="37" y="219"/>
                  </a:cubicBezTo>
                  <a:cubicBezTo>
                    <a:pt x="37" y="216"/>
                    <a:pt x="41" y="213"/>
                    <a:pt x="41" y="213"/>
                  </a:cubicBezTo>
                  <a:cubicBezTo>
                    <a:pt x="41" y="213"/>
                    <a:pt x="44" y="213"/>
                    <a:pt x="45" y="211"/>
                  </a:cubicBezTo>
                  <a:cubicBezTo>
                    <a:pt x="46" y="209"/>
                    <a:pt x="45" y="208"/>
                    <a:pt x="44" y="205"/>
                  </a:cubicBezTo>
                  <a:cubicBezTo>
                    <a:pt x="44" y="202"/>
                    <a:pt x="43" y="201"/>
                    <a:pt x="45" y="198"/>
                  </a:cubicBezTo>
                  <a:cubicBezTo>
                    <a:pt x="46" y="195"/>
                    <a:pt x="49" y="189"/>
                    <a:pt x="49" y="185"/>
                  </a:cubicBezTo>
                  <a:cubicBezTo>
                    <a:pt x="49" y="181"/>
                    <a:pt x="49" y="180"/>
                    <a:pt x="48" y="177"/>
                  </a:cubicBezTo>
                  <a:cubicBezTo>
                    <a:pt x="47" y="174"/>
                    <a:pt x="48" y="173"/>
                    <a:pt x="49" y="170"/>
                  </a:cubicBezTo>
                  <a:cubicBezTo>
                    <a:pt x="51" y="167"/>
                    <a:pt x="50" y="166"/>
                    <a:pt x="50" y="162"/>
                  </a:cubicBezTo>
                  <a:cubicBezTo>
                    <a:pt x="49" y="158"/>
                    <a:pt x="50" y="158"/>
                    <a:pt x="50" y="152"/>
                  </a:cubicBezTo>
                  <a:cubicBezTo>
                    <a:pt x="50" y="147"/>
                    <a:pt x="51" y="148"/>
                    <a:pt x="52" y="145"/>
                  </a:cubicBezTo>
                  <a:cubicBezTo>
                    <a:pt x="54" y="142"/>
                    <a:pt x="52" y="140"/>
                    <a:pt x="52" y="136"/>
                  </a:cubicBezTo>
                  <a:cubicBezTo>
                    <a:pt x="52" y="132"/>
                    <a:pt x="53" y="130"/>
                    <a:pt x="54" y="124"/>
                  </a:cubicBezTo>
                  <a:cubicBezTo>
                    <a:pt x="54" y="118"/>
                    <a:pt x="57" y="120"/>
                    <a:pt x="59" y="115"/>
                  </a:cubicBezTo>
                  <a:cubicBezTo>
                    <a:pt x="60" y="111"/>
                    <a:pt x="61" y="111"/>
                    <a:pt x="62" y="108"/>
                  </a:cubicBezTo>
                  <a:cubicBezTo>
                    <a:pt x="63" y="105"/>
                    <a:pt x="64" y="104"/>
                    <a:pt x="63" y="100"/>
                  </a:cubicBezTo>
                  <a:cubicBezTo>
                    <a:pt x="63" y="97"/>
                    <a:pt x="62" y="96"/>
                    <a:pt x="64" y="95"/>
                  </a:cubicBezTo>
                  <a:cubicBezTo>
                    <a:pt x="67" y="93"/>
                    <a:pt x="63" y="91"/>
                    <a:pt x="63" y="88"/>
                  </a:cubicBezTo>
                  <a:cubicBezTo>
                    <a:pt x="63" y="85"/>
                    <a:pt x="63" y="80"/>
                    <a:pt x="63" y="77"/>
                  </a:cubicBezTo>
                  <a:cubicBezTo>
                    <a:pt x="63" y="75"/>
                    <a:pt x="68" y="75"/>
                    <a:pt x="69" y="72"/>
                  </a:cubicBezTo>
                  <a:cubicBezTo>
                    <a:pt x="70" y="69"/>
                    <a:pt x="74" y="70"/>
                    <a:pt x="75" y="67"/>
                  </a:cubicBezTo>
                  <a:cubicBezTo>
                    <a:pt x="76" y="64"/>
                    <a:pt x="77" y="59"/>
                    <a:pt x="74" y="58"/>
                  </a:cubicBezTo>
                  <a:cubicBezTo>
                    <a:pt x="70" y="57"/>
                    <a:pt x="71" y="51"/>
                    <a:pt x="71" y="51"/>
                  </a:cubicBezTo>
                  <a:close/>
                  <a:moveTo>
                    <a:pt x="71" y="446"/>
                  </a:moveTo>
                  <a:cubicBezTo>
                    <a:pt x="67" y="446"/>
                    <a:pt x="61" y="445"/>
                    <a:pt x="66" y="444"/>
                  </a:cubicBezTo>
                  <a:cubicBezTo>
                    <a:pt x="63" y="444"/>
                    <a:pt x="60" y="445"/>
                    <a:pt x="60" y="445"/>
                  </a:cubicBezTo>
                  <a:cubicBezTo>
                    <a:pt x="58" y="416"/>
                    <a:pt x="58" y="416"/>
                    <a:pt x="58" y="416"/>
                  </a:cubicBezTo>
                  <a:cubicBezTo>
                    <a:pt x="58" y="416"/>
                    <a:pt x="55" y="417"/>
                    <a:pt x="55" y="418"/>
                  </a:cubicBezTo>
                  <a:cubicBezTo>
                    <a:pt x="54" y="416"/>
                    <a:pt x="54" y="416"/>
                    <a:pt x="53" y="415"/>
                  </a:cubicBezTo>
                  <a:cubicBezTo>
                    <a:pt x="52" y="416"/>
                    <a:pt x="49" y="418"/>
                    <a:pt x="49" y="418"/>
                  </a:cubicBezTo>
                  <a:cubicBezTo>
                    <a:pt x="47" y="419"/>
                    <a:pt x="46" y="417"/>
                    <a:pt x="45" y="417"/>
                  </a:cubicBezTo>
                  <a:cubicBezTo>
                    <a:pt x="44" y="417"/>
                    <a:pt x="44" y="418"/>
                    <a:pt x="42" y="418"/>
                  </a:cubicBezTo>
                  <a:cubicBezTo>
                    <a:pt x="43" y="425"/>
                    <a:pt x="38" y="427"/>
                    <a:pt x="49" y="427"/>
                  </a:cubicBezTo>
                  <a:cubicBezTo>
                    <a:pt x="47" y="429"/>
                    <a:pt x="46" y="430"/>
                    <a:pt x="43" y="430"/>
                  </a:cubicBezTo>
                  <a:cubicBezTo>
                    <a:pt x="44" y="432"/>
                    <a:pt x="43" y="435"/>
                    <a:pt x="45" y="436"/>
                  </a:cubicBezTo>
                  <a:cubicBezTo>
                    <a:pt x="45" y="436"/>
                    <a:pt x="47" y="435"/>
                    <a:pt x="48" y="436"/>
                  </a:cubicBezTo>
                  <a:cubicBezTo>
                    <a:pt x="49" y="436"/>
                    <a:pt x="51" y="439"/>
                    <a:pt x="53" y="440"/>
                  </a:cubicBezTo>
                  <a:cubicBezTo>
                    <a:pt x="52" y="439"/>
                    <a:pt x="51" y="440"/>
                    <a:pt x="50" y="440"/>
                  </a:cubicBezTo>
                  <a:cubicBezTo>
                    <a:pt x="50" y="440"/>
                    <a:pt x="49" y="438"/>
                    <a:pt x="49" y="438"/>
                  </a:cubicBezTo>
                  <a:cubicBezTo>
                    <a:pt x="44" y="439"/>
                    <a:pt x="45" y="438"/>
                    <a:pt x="44" y="441"/>
                  </a:cubicBezTo>
                  <a:cubicBezTo>
                    <a:pt x="42" y="440"/>
                    <a:pt x="42" y="440"/>
                    <a:pt x="42" y="440"/>
                  </a:cubicBezTo>
                  <a:cubicBezTo>
                    <a:pt x="42" y="439"/>
                    <a:pt x="43" y="440"/>
                    <a:pt x="43" y="438"/>
                  </a:cubicBezTo>
                  <a:cubicBezTo>
                    <a:pt x="41" y="436"/>
                    <a:pt x="41" y="436"/>
                    <a:pt x="41" y="436"/>
                  </a:cubicBezTo>
                  <a:cubicBezTo>
                    <a:pt x="41" y="434"/>
                    <a:pt x="42" y="434"/>
                    <a:pt x="41" y="432"/>
                  </a:cubicBezTo>
                  <a:cubicBezTo>
                    <a:pt x="41" y="432"/>
                    <a:pt x="39" y="431"/>
                    <a:pt x="39" y="431"/>
                  </a:cubicBezTo>
                  <a:cubicBezTo>
                    <a:pt x="39" y="432"/>
                    <a:pt x="38" y="435"/>
                    <a:pt x="37" y="436"/>
                  </a:cubicBezTo>
                  <a:cubicBezTo>
                    <a:pt x="37" y="434"/>
                    <a:pt x="37" y="434"/>
                    <a:pt x="37" y="434"/>
                  </a:cubicBezTo>
                  <a:cubicBezTo>
                    <a:pt x="36" y="435"/>
                    <a:pt x="34" y="435"/>
                    <a:pt x="34" y="435"/>
                  </a:cubicBezTo>
                  <a:cubicBezTo>
                    <a:pt x="34" y="435"/>
                    <a:pt x="34" y="432"/>
                    <a:pt x="34" y="432"/>
                  </a:cubicBezTo>
                  <a:cubicBezTo>
                    <a:pt x="33" y="432"/>
                    <a:pt x="32" y="433"/>
                    <a:pt x="31" y="432"/>
                  </a:cubicBezTo>
                  <a:cubicBezTo>
                    <a:pt x="31" y="436"/>
                    <a:pt x="30" y="439"/>
                    <a:pt x="36" y="438"/>
                  </a:cubicBezTo>
                  <a:cubicBezTo>
                    <a:pt x="38" y="436"/>
                    <a:pt x="38" y="436"/>
                    <a:pt x="38" y="436"/>
                  </a:cubicBezTo>
                  <a:cubicBezTo>
                    <a:pt x="39" y="436"/>
                    <a:pt x="39" y="439"/>
                    <a:pt x="39" y="440"/>
                  </a:cubicBezTo>
                  <a:cubicBezTo>
                    <a:pt x="35" y="440"/>
                    <a:pt x="33" y="440"/>
                    <a:pt x="30" y="441"/>
                  </a:cubicBezTo>
                  <a:cubicBezTo>
                    <a:pt x="31" y="442"/>
                    <a:pt x="29" y="442"/>
                    <a:pt x="29" y="442"/>
                  </a:cubicBezTo>
                  <a:cubicBezTo>
                    <a:pt x="30" y="442"/>
                    <a:pt x="29" y="444"/>
                    <a:pt x="29" y="444"/>
                  </a:cubicBezTo>
                  <a:cubicBezTo>
                    <a:pt x="30" y="444"/>
                    <a:pt x="31" y="444"/>
                    <a:pt x="31" y="444"/>
                  </a:cubicBezTo>
                  <a:cubicBezTo>
                    <a:pt x="32" y="444"/>
                    <a:pt x="29" y="442"/>
                    <a:pt x="34" y="442"/>
                  </a:cubicBezTo>
                  <a:cubicBezTo>
                    <a:pt x="34" y="444"/>
                    <a:pt x="34" y="444"/>
                    <a:pt x="34" y="444"/>
                  </a:cubicBezTo>
                  <a:cubicBezTo>
                    <a:pt x="36" y="444"/>
                    <a:pt x="38" y="443"/>
                    <a:pt x="39" y="444"/>
                  </a:cubicBezTo>
                  <a:cubicBezTo>
                    <a:pt x="39" y="444"/>
                    <a:pt x="39" y="446"/>
                    <a:pt x="39" y="446"/>
                  </a:cubicBezTo>
                  <a:cubicBezTo>
                    <a:pt x="41" y="446"/>
                    <a:pt x="44" y="445"/>
                    <a:pt x="45" y="445"/>
                  </a:cubicBezTo>
                  <a:cubicBezTo>
                    <a:pt x="47" y="445"/>
                    <a:pt x="48" y="447"/>
                    <a:pt x="45" y="447"/>
                  </a:cubicBezTo>
                  <a:cubicBezTo>
                    <a:pt x="45" y="447"/>
                    <a:pt x="46" y="448"/>
                    <a:pt x="46" y="448"/>
                  </a:cubicBezTo>
                  <a:cubicBezTo>
                    <a:pt x="49" y="448"/>
                    <a:pt x="50" y="449"/>
                    <a:pt x="53" y="448"/>
                  </a:cubicBezTo>
                  <a:cubicBezTo>
                    <a:pt x="53" y="447"/>
                    <a:pt x="53" y="447"/>
                    <a:pt x="53" y="447"/>
                  </a:cubicBezTo>
                  <a:cubicBezTo>
                    <a:pt x="56" y="446"/>
                    <a:pt x="59" y="446"/>
                    <a:pt x="62" y="445"/>
                  </a:cubicBezTo>
                  <a:cubicBezTo>
                    <a:pt x="63" y="447"/>
                    <a:pt x="62" y="448"/>
                    <a:pt x="63" y="449"/>
                  </a:cubicBezTo>
                  <a:cubicBezTo>
                    <a:pt x="63" y="449"/>
                    <a:pt x="66" y="450"/>
                    <a:pt x="66" y="450"/>
                  </a:cubicBezTo>
                  <a:cubicBezTo>
                    <a:pt x="66" y="451"/>
                    <a:pt x="66" y="453"/>
                    <a:pt x="66" y="453"/>
                  </a:cubicBezTo>
                  <a:cubicBezTo>
                    <a:pt x="70" y="450"/>
                    <a:pt x="70" y="450"/>
                    <a:pt x="72" y="446"/>
                  </a:cubicBezTo>
                  <a:cubicBezTo>
                    <a:pt x="71" y="445"/>
                    <a:pt x="71" y="445"/>
                    <a:pt x="71" y="445"/>
                  </a:cubicBezTo>
                  <a:lnTo>
                    <a:pt x="71" y="446"/>
                  </a:lnTo>
                  <a:close/>
                  <a:moveTo>
                    <a:pt x="7" y="340"/>
                  </a:moveTo>
                  <a:cubicBezTo>
                    <a:pt x="8" y="340"/>
                    <a:pt x="6" y="341"/>
                    <a:pt x="6" y="341"/>
                  </a:cubicBezTo>
                  <a:cubicBezTo>
                    <a:pt x="6" y="341"/>
                    <a:pt x="6" y="339"/>
                    <a:pt x="7" y="340"/>
                  </a:cubicBezTo>
                  <a:close/>
                  <a:moveTo>
                    <a:pt x="65" y="460"/>
                  </a:moveTo>
                  <a:cubicBezTo>
                    <a:pt x="65" y="460"/>
                    <a:pt x="65" y="461"/>
                    <a:pt x="65" y="461"/>
                  </a:cubicBezTo>
                  <a:cubicBezTo>
                    <a:pt x="67" y="461"/>
                    <a:pt x="67" y="460"/>
                    <a:pt x="65" y="460"/>
                  </a:cubicBezTo>
                  <a:close/>
                  <a:moveTo>
                    <a:pt x="67" y="456"/>
                  </a:moveTo>
                  <a:cubicBezTo>
                    <a:pt x="67" y="458"/>
                    <a:pt x="67" y="458"/>
                    <a:pt x="67" y="458"/>
                  </a:cubicBezTo>
                  <a:cubicBezTo>
                    <a:pt x="72" y="458"/>
                    <a:pt x="68" y="457"/>
                    <a:pt x="67" y="456"/>
                  </a:cubicBezTo>
                  <a:close/>
                  <a:moveTo>
                    <a:pt x="59" y="454"/>
                  </a:moveTo>
                  <a:cubicBezTo>
                    <a:pt x="60" y="455"/>
                    <a:pt x="59" y="456"/>
                    <a:pt x="60" y="458"/>
                  </a:cubicBezTo>
                  <a:cubicBezTo>
                    <a:pt x="61" y="457"/>
                    <a:pt x="62" y="458"/>
                    <a:pt x="63" y="458"/>
                  </a:cubicBezTo>
                  <a:cubicBezTo>
                    <a:pt x="63" y="458"/>
                    <a:pt x="62" y="454"/>
                    <a:pt x="62" y="454"/>
                  </a:cubicBezTo>
                  <a:cubicBezTo>
                    <a:pt x="60" y="454"/>
                    <a:pt x="60" y="454"/>
                    <a:pt x="59" y="454"/>
                  </a:cubicBezTo>
                  <a:close/>
                  <a:moveTo>
                    <a:pt x="58" y="447"/>
                  </a:moveTo>
                  <a:cubicBezTo>
                    <a:pt x="56" y="447"/>
                    <a:pt x="53" y="449"/>
                    <a:pt x="52" y="450"/>
                  </a:cubicBezTo>
                  <a:cubicBezTo>
                    <a:pt x="51" y="450"/>
                    <a:pt x="49" y="450"/>
                    <a:pt x="47" y="450"/>
                  </a:cubicBezTo>
                  <a:cubicBezTo>
                    <a:pt x="47" y="450"/>
                    <a:pt x="45" y="451"/>
                    <a:pt x="45" y="451"/>
                  </a:cubicBezTo>
                  <a:cubicBezTo>
                    <a:pt x="46" y="452"/>
                    <a:pt x="46" y="452"/>
                    <a:pt x="46" y="453"/>
                  </a:cubicBezTo>
                  <a:cubicBezTo>
                    <a:pt x="48" y="454"/>
                    <a:pt x="50" y="454"/>
                    <a:pt x="52" y="454"/>
                  </a:cubicBezTo>
                  <a:cubicBezTo>
                    <a:pt x="52" y="454"/>
                    <a:pt x="53" y="456"/>
                    <a:pt x="53" y="456"/>
                  </a:cubicBezTo>
                  <a:cubicBezTo>
                    <a:pt x="53" y="455"/>
                    <a:pt x="54" y="455"/>
                    <a:pt x="55" y="455"/>
                  </a:cubicBezTo>
                  <a:cubicBezTo>
                    <a:pt x="55" y="454"/>
                    <a:pt x="54" y="454"/>
                    <a:pt x="54" y="454"/>
                  </a:cubicBezTo>
                  <a:cubicBezTo>
                    <a:pt x="54" y="452"/>
                    <a:pt x="54" y="452"/>
                    <a:pt x="54" y="452"/>
                  </a:cubicBezTo>
                  <a:cubicBezTo>
                    <a:pt x="57" y="452"/>
                    <a:pt x="59" y="452"/>
                    <a:pt x="61" y="452"/>
                  </a:cubicBezTo>
                  <a:cubicBezTo>
                    <a:pt x="61" y="451"/>
                    <a:pt x="62" y="451"/>
                    <a:pt x="61" y="450"/>
                  </a:cubicBezTo>
                  <a:cubicBezTo>
                    <a:pt x="59" y="449"/>
                    <a:pt x="64" y="447"/>
                    <a:pt x="58" y="447"/>
                  </a:cubicBezTo>
                  <a:close/>
                  <a:moveTo>
                    <a:pt x="39" y="447"/>
                  </a:moveTo>
                  <a:cubicBezTo>
                    <a:pt x="38" y="448"/>
                    <a:pt x="37" y="448"/>
                    <a:pt x="37" y="448"/>
                  </a:cubicBezTo>
                  <a:cubicBezTo>
                    <a:pt x="37" y="448"/>
                    <a:pt x="38" y="449"/>
                    <a:pt x="37" y="450"/>
                  </a:cubicBezTo>
                  <a:cubicBezTo>
                    <a:pt x="39" y="450"/>
                    <a:pt x="41" y="450"/>
                    <a:pt x="41" y="450"/>
                  </a:cubicBezTo>
                  <a:cubicBezTo>
                    <a:pt x="42" y="450"/>
                    <a:pt x="41" y="449"/>
                    <a:pt x="41" y="448"/>
                  </a:cubicBezTo>
                  <a:cubicBezTo>
                    <a:pt x="43" y="449"/>
                    <a:pt x="43" y="447"/>
                    <a:pt x="43" y="447"/>
                  </a:cubicBezTo>
                  <a:cubicBezTo>
                    <a:pt x="42" y="447"/>
                    <a:pt x="40" y="447"/>
                    <a:pt x="39" y="447"/>
                  </a:cubicBezTo>
                  <a:close/>
                  <a:moveTo>
                    <a:pt x="35" y="445"/>
                  </a:moveTo>
                  <a:cubicBezTo>
                    <a:pt x="34" y="446"/>
                    <a:pt x="34" y="446"/>
                    <a:pt x="34" y="446"/>
                  </a:cubicBezTo>
                  <a:cubicBezTo>
                    <a:pt x="32" y="448"/>
                    <a:pt x="37" y="446"/>
                    <a:pt x="36" y="446"/>
                  </a:cubicBezTo>
                  <a:cubicBezTo>
                    <a:pt x="36" y="445"/>
                    <a:pt x="36" y="445"/>
                    <a:pt x="35" y="445"/>
                  </a:cubicBezTo>
                  <a:close/>
                  <a:moveTo>
                    <a:pt x="27" y="418"/>
                  </a:moveTo>
                  <a:cubicBezTo>
                    <a:pt x="29" y="418"/>
                    <a:pt x="29" y="422"/>
                    <a:pt x="27" y="422"/>
                  </a:cubicBezTo>
                  <a:cubicBezTo>
                    <a:pt x="23" y="424"/>
                    <a:pt x="26" y="419"/>
                    <a:pt x="27" y="418"/>
                  </a:cubicBezTo>
                  <a:close/>
                  <a:moveTo>
                    <a:pt x="35" y="418"/>
                  </a:moveTo>
                  <a:cubicBezTo>
                    <a:pt x="36" y="419"/>
                    <a:pt x="37" y="419"/>
                    <a:pt x="37" y="419"/>
                  </a:cubicBezTo>
                  <a:cubicBezTo>
                    <a:pt x="37" y="420"/>
                    <a:pt x="38" y="420"/>
                    <a:pt x="37" y="421"/>
                  </a:cubicBezTo>
                  <a:cubicBezTo>
                    <a:pt x="37" y="421"/>
                    <a:pt x="34" y="424"/>
                    <a:pt x="34" y="424"/>
                  </a:cubicBezTo>
                  <a:cubicBezTo>
                    <a:pt x="29" y="426"/>
                    <a:pt x="35" y="418"/>
                    <a:pt x="35" y="418"/>
                  </a:cubicBezTo>
                  <a:close/>
                  <a:moveTo>
                    <a:pt x="31" y="416"/>
                  </a:moveTo>
                  <a:cubicBezTo>
                    <a:pt x="33" y="416"/>
                    <a:pt x="36" y="418"/>
                    <a:pt x="32" y="417"/>
                  </a:cubicBezTo>
                  <a:cubicBezTo>
                    <a:pt x="32" y="417"/>
                    <a:pt x="29" y="415"/>
                    <a:pt x="31" y="416"/>
                  </a:cubicBezTo>
                  <a:close/>
                  <a:moveTo>
                    <a:pt x="6" y="392"/>
                  </a:moveTo>
                  <a:cubicBezTo>
                    <a:pt x="6" y="393"/>
                    <a:pt x="7" y="393"/>
                    <a:pt x="6" y="395"/>
                  </a:cubicBezTo>
                  <a:cubicBezTo>
                    <a:pt x="6" y="395"/>
                    <a:pt x="4" y="397"/>
                    <a:pt x="4" y="398"/>
                  </a:cubicBezTo>
                  <a:cubicBezTo>
                    <a:pt x="4" y="398"/>
                    <a:pt x="5" y="401"/>
                    <a:pt x="5" y="400"/>
                  </a:cubicBezTo>
                  <a:cubicBezTo>
                    <a:pt x="5" y="400"/>
                    <a:pt x="5" y="403"/>
                    <a:pt x="5" y="404"/>
                  </a:cubicBezTo>
                  <a:cubicBezTo>
                    <a:pt x="5" y="404"/>
                    <a:pt x="7" y="404"/>
                    <a:pt x="7" y="404"/>
                  </a:cubicBezTo>
                  <a:cubicBezTo>
                    <a:pt x="7" y="402"/>
                    <a:pt x="7" y="402"/>
                    <a:pt x="7" y="402"/>
                  </a:cubicBezTo>
                  <a:cubicBezTo>
                    <a:pt x="8" y="402"/>
                    <a:pt x="9" y="403"/>
                    <a:pt x="10" y="402"/>
                  </a:cubicBezTo>
                  <a:cubicBezTo>
                    <a:pt x="10" y="402"/>
                    <a:pt x="11" y="400"/>
                    <a:pt x="9" y="400"/>
                  </a:cubicBezTo>
                  <a:cubicBezTo>
                    <a:pt x="9" y="400"/>
                    <a:pt x="9" y="398"/>
                    <a:pt x="9" y="398"/>
                  </a:cubicBezTo>
                  <a:cubicBezTo>
                    <a:pt x="9" y="398"/>
                    <a:pt x="12" y="398"/>
                    <a:pt x="11" y="398"/>
                  </a:cubicBezTo>
                  <a:cubicBezTo>
                    <a:pt x="12" y="398"/>
                    <a:pt x="11" y="400"/>
                    <a:pt x="11" y="400"/>
                  </a:cubicBezTo>
                  <a:cubicBezTo>
                    <a:pt x="13" y="399"/>
                    <a:pt x="12" y="396"/>
                    <a:pt x="12" y="396"/>
                  </a:cubicBezTo>
                  <a:cubicBezTo>
                    <a:pt x="11" y="396"/>
                    <a:pt x="11" y="396"/>
                    <a:pt x="11" y="396"/>
                  </a:cubicBezTo>
                  <a:cubicBezTo>
                    <a:pt x="11" y="396"/>
                    <a:pt x="9" y="392"/>
                    <a:pt x="8" y="392"/>
                  </a:cubicBezTo>
                  <a:cubicBezTo>
                    <a:pt x="7" y="392"/>
                    <a:pt x="7" y="392"/>
                    <a:pt x="6" y="392"/>
                  </a:cubicBezTo>
                  <a:close/>
                  <a:moveTo>
                    <a:pt x="2" y="391"/>
                  </a:moveTo>
                  <a:cubicBezTo>
                    <a:pt x="2" y="391"/>
                    <a:pt x="1" y="393"/>
                    <a:pt x="1" y="393"/>
                  </a:cubicBezTo>
                  <a:cubicBezTo>
                    <a:pt x="1" y="393"/>
                    <a:pt x="2" y="393"/>
                    <a:pt x="4" y="393"/>
                  </a:cubicBezTo>
                  <a:cubicBezTo>
                    <a:pt x="3" y="393"/>
                    <a:pt x="3" y="391"/>
                    <a:pt x="2" y="391"/>
                  </a:cubicBezTo>
                  <a:close/>
                  <a:moveTo>
                    <a:pt x="9" y="389"/>
                  </a:moveTo>
                  <a:cubicBezTo>
                    <a:pt x="10" y="390"/>
                    <a:pt x="9" y="390"/>
                    <a:pt x="9" y="391"/>
                  </a:cubicBezTo>
                  <a:cubicBezTo>
                    <a:pt x="10" y="393"/>
                    <a:pt x="16" y="395"/>
                    <a:pt x="13" y="393"/>
                  </a:cubicBezTo>
                  <a:cubicBezTo>
                    <a:pt x="12" y="391"/>
                    <a:pt x="11" y="390"/>
                    <a:pt x="9" y="389"/>
                  </a:cubicBezTo>
                  <a:close/>
                  <a:moveTo>
                    <a:pt x="4" y="385"/>
                  </a:moveTo>
                  <a:cubicBezTo>
                    <a:pt x="4" y="385"/>
                    <a:pt x="2" y="386"/>
                    <a:pt x="2" y="387"/>
                  </a:cubicBezTo>
                  <a:cubicBezTo>
                    <a:pt x="1" y="388"/>
                    <a:pt x="2" y="388"/>
                    <a:pt x="2" y="389"/>
                  </a:cubicBezTo>
                  <a:cubicBezTo>
                    <a:pt x="3" y="389"/>
                    <a:pt x="3" y="389"/>
                    <a:pt x="3" y="389"/>
                  </a:cubicBezTo>
                  <a:cubicBezTo>
                    <a:pt x="3" y="389"/>
                    <a:pt x="3" y="389"/>
                    <a:pt x="3" y="389"/>
                  </a:cubicBezTo>
                  <a:cubicBezTo>
                    <a:pt x="3" y="389"/>
                    <a:pt x="4" y="389"/>
                    <a:pt x="5" y="390"/>
                  </a:cubicBezTo>
                  <a:cubicBezTo>
                    <a:pt x="6" y="389"/>
                    <a:pt x="6" y="388"/>
                    <a:pt x="7" y="387"/>
                  </a:cubicBezTo>
                  <a:cubicBezTo>
                    <a:pt x="7" y="386"/>
                    <a:pt x="5" y="385"/>
                    <a:pt x="4" y="385"/>
                  </a:cubicBezTo>
                  <a:close/>
                  <a:moveTo>
                    <a:pt x="4" y="358"/>
                  </a:moveTo>
                  <a:cubicBezTo>
                    <a:pt x="4" y="359"/>
                    <a:pt x="4" y="361"/>
                    <a:pt x="4" y="363"/>
                  </a:cubicBezTo>
                  <a:cubicBezTo>
                    <a:pt x="2" y="363"/>
                    <a:pt x="3" y="362"/>
                    <a:pt x="3" y="361"/>
                  </a:cubicBezTo>
                  <a:cubicBezTo>
                    <a:pt x="3" y="361"/>
                    <a:pt x="0" y="362"/>
                    <a:pt x="2" y="363"/>
                  </a:cubicBezTo>
                  <a:cubicBezTo>
                    <a:pt x="0" y="366"/>
                    <a:pt x="0" y="366"/>
                    <a:pt x="0" y="366"/>
                  </a:cubicBezTo>
                  <a:cubicBezTo>
                    <a:pt x="0" y="368"/>
                    <a:pt x="1" y="369"/>
                    <a:pt x="2" y="370"/>
                  </a:cubicBezTo>
                  <a:cubicBezTo>
                    <a:pt x="2" y="370"/>
                    <a:pt x="1" y="368"/>
                    <a:pt x="2" y="369"/>
                  </a:cubicBezTo>
                  <a:cubicBezTo>
                    <a:pt x="2" y="369"/>
                    <a:pt x="2" y="373"/>
                    <a:pt x="2" y="372"/>
                  </a:cubicBezTo>
                  <a:cubicBezTo>
                    <a:pt x="2" y="373"/>
                    <a:pt x="2" y="373"/>
                    <a:pt x="2" y="373"/>
                  </a:cubicBezTo>
                  <a:cubicBezTo>
                    <a:pt x="3" y="374"/>
                    <a:pt x="3" y="373"/>
                    <a:pt x="4" y="375"/>
                  </a:cubicBezTo>
                  <a:cubicBezTo>
                    <a:pt x="3" y="375"/>
                    <a:pt x="2" y="377"/>
                    <a:pt x="2" y="377"/>
                  </a:cubicBezTo>
                  <a:cubicBezTo>
                    <a:pt x="1" y="377"/>
                    <a:pt x="1" y="377"/>
                    <a:pt x="1" y="377"/>
                  </a:cubicBezTo>
                  <a:cubicBezTo>
                    <a:pt x="0" y="381"/>
                    <a:pt x="2" y="382"/>
                    <a:pt x="4" y="384"/>
                  </a:cubicBezTo>
                  <a:cubicBezTo>
                    <a:pt x="3" y="384"/>
                    <a:pt x="5" y="383"/>
                    <a:pt x="5" y="383"/>
                  </a:cubicBezTo>
                  <a:cubicBezTo>
                    <a:pt x="6" y="383"/>
                    <a:pt x="6" y="383"/>
                    <a:pt x="6" y="383"/>
                  </a:cubicBezTo>
                  <a:cubicBezTo>
                    <a:pt x="6" y="383"/>
                    <a:pt x="7" y="384"/>
                    <a:pt x="7" y="385"/>
                  </a:cubicBezTo>
                  <a:cubicBezTo>
                    <a:pt x="9" y="385"/>
                    <a:pt x="8" y="383"/>
                    <a:pt x="9" y="384"/>
                  </a:cubicBezTo>
                  <a:cubicBezTo>
                    <a:pt x="10" y="381"/>
                    <a:pt x="11" y="377"/>
                    <a:pt x="11" y="375"/>
                  </a:cubicBezTo>
                  <a:cubicBezTo>
                    <a:pt x="12" y="370"/>
                    <a:pt x="10" y="363"/>
                    <a:pt x="9" y="358"/>
                  </a:cubicBezTo>
                  <a:cubicBezTo>
                    <a:pt x="7" y="358"/>
                    <a:pt x="6" y="358"/>
                    <a:pt x="4" y="358"/>
                  </a:cubicBezTo>
                  <a:close/>
                  <a:moveTo>
                    <a:pt x="15" y="319"/>
                  </a:moveTo>
                  <a:cubicBezTo>
                    <a:pt x="15" y="319"/>
                    <a:pt x="14" y="321"/>
                    <a:pt x="14" y="321"/>
                  </a:cubicBezTo>
                  <a:cubicBezTo>
                    <a:pt x="13" y="321"/>
                    <a:pt x="13" y="320"/>
                    <a:pt x="12" y="320"/>
                  </a:cubicBezTo>
                  <a:cubicBezTo>
                    <a:pt x="12" y="321"/>
                    <a:pt x="11" y="321"/>
                    <a:pt x="10" y="322"/>
                  </a:cubicBezTo>
                  <a:cubicBezTo>
                    <a:pt x="11" y="323"/>
                    <a:pt x="10" y="324"/>
                    <a:pt x="11" y="325"/>
                  </a:cubicBezTo>
                  <a:cubicBezTo>
                    <a:pt x="11" y="326"/>
                    <a:pt x="13" y="326"/>
                    <a:pt x="13" y="327"/>
                  </a:cubicBezTo>
                  <a:cubicBezTo>
                    <a:pt x="12" y="328"/>
                    <a:pt x="11" y="328"/>
                    <a:pt x="9" y="329"/>
                  </a:cubicBezTo>
                  <a:cubicBezTo>
                    <a:pt x="9" y="329"/>
                    <a:pt x="10" y="331"/>
                    <a:pt x="9" y="331"/>
                  </a:cubicBezTo>
                  <a:cubicBezTo>
                    <a:pt x="10" y="331"/>
                    <a:pt x="10" y="331"/>
                    <a:pt x="11" y="331"/>
                  </a:cubicBezTo>
                  <a:cubicBezTo>
                    <a:pt x="11" y="331"/>
                    <a:pt x="12" y="329"/>
                    <a:pt x="12" y="329"/>
                  </a:cubicBezTo>
                  <a:cubicBezTo>
                    <a:pt x="15" y="328"/>
                    <a:pt x="16" y="329"/>
                    <a:pt x="18" y="328"/>
                  </a:cubicBezTo>
                  <a:cubicBezTo>
                    <a:pt x="18" y="327"/>
                    <a:pt x="18" y="327"/>
                    <a:pt x="18" y="327"/>
                  </a:cubicBezTo>
                  <a:cubicBezTo>
                    <a:pt x="17" y="326"/>
                    <a:pt x="16" y="326"/>
                    <a:pt x="14" y="326"/>
                  </a:cubicBezTo>
                  <a:cubicBezTo>
                    <a:pt x="14" y="326"/>
                    <a:pt x="14" y="324"/>
                    <a:pt x="14" y="324"/>
                  </a:cubicBezTo>
                  <a:cubicBezTo>
                    <a:pt x="16" y="324"/>
                    <a:pt x="16" y="324"/>
                    <a:pt x="17" y="323"/>
                  </a:cubicBezTo>
                  <a:cubicBezTo>
                    <a:pt x="17" y="321"/>
                    <a:pt x="17" y="321"/>
                    <a:pt x="17" y="319"/>
                  </a:cubicBezTo>
                  <a:lnTo>
                    <a:pt x="15" y="319"/>
                  </a:lnTo>
                  <a:close/>
                  <a:moveTo>
                    <a:pt x="15" y="315"/>
                  </a:moveTo>
                  <a:cubicBezTo>
                    <a:pt x="15" y="316"/>
                    <a:pt x="15" y="317"/>
                    <a:pt x="16" y="317"/>
                  </a:cubicBezTo>
                  <a:cubicBezTo>
                    <a:pt x="16" y="316"/>
                    <a:pt x="17" y="315"/>
                    <a:pt x="15" y="315"/>
                  </a:cubicBezTo>
                  <a:close/>
                  <a:moveTo>
                    <a:pt x="13" y="312"/>
                  </a:moveTo>
                  <a:cubicBezTo>
                    <a:pt x="13" y="314"/>
                    <a:pt x="13" y="314"/>
                    <a:pt x="13" y="314"/>
                  </a:cubicBezTo>
                  <a:cubicBezTo>
                    <a:pt x="13" y="314"/>
                    <a:pt x="14" y="314"/>
                    <a:pt x="15" y="315"/>
                  </a:cubicBezTo>
                  <a:cubicBezTo>
                    <a:pt x="14" y="314"/>
                    <a:pt x="15" y="312"/>
                    <a:pt x="13" y="312"/>
                  </a:cubicBezTo>
                  <a:close/>
                  <a:moveTo>
                    <a:pt x="13" y="308"/>
                  </a:moveTo>
                  <a:cubicBezTo>
                    <a:pt x="13" y="308"/>
                    <a:pt x="13" y="310"/>
                    <a:pt x="13" y="311"/>
                  </a:cubicBezTo>
                  <a:cubicBezTo>
                    <a:pt x="13" y="310"/>
                    <a:pt x="14" y="311"/>
                    <a:pt x="14" y="311"/>
                  </a:cubicBezTo>
                  <a:cubicBezTo>
                    <a:pt x="14" y="311"/>
                    <a:pt x="15" y="308"/>
                    <a:pt x="13" y="308"/>
                  </a:cubicBezTo>
                  <a:close/>
                  <a:moveTo>
                    <a:pt x="19" y="279"/>
                  </a:moveTo>
                  <a:cubicBezTo>
                    <a:pt x="18" y="281"/>
                    <a:pt x="18" y="281"/>
                    <a:pt x="18" y="281"/>
                  </a:cubicBezTo>
                  <a:cubicBezTo>
                    <a:pt x="17" y="281"/>
                    <a:pt x="17" y="280"/>
                    <a:pt x="15" y="280"/>
                  </a:cubicBezTo>
                  <a:cubicBezTo>
                    <a:pt x="15" y="287"/>
                    <a:pt x="15" y="292"/>
                    <a:pt x="14" y="299"/>
                  </a:cubicBezTo>
                  <a:cubicBezTo>
                    <a:pt x="15" y="299"/>
                    <a:pt x="15" y="298"/>
                    <a:pt x="15" y="299"/>
                  </a:cubicBezTo>
                  <a:cubicBezTo>
                    <a:pt x="16" y="299"/>
                    <a:pt x="18" y="299"/>
                    <a:pt x="18" y="299"/>
                  </a:cubicBezTo>
                  <a:cubicBezTo>
                    <a:pt x="19" y="299"/>
                    <a:pt x="20" y="298"/>
                    <a:pt x="20" y="297"/>
                  </a:cubicBezTo>
                  <a:cubicBezTo>
                    <a:pt x="20" y="297"/>
                    <a:pt x="20" y="295"/>
                    <a:pt x="20" y="295"/>
                  </a:cubicBezTo>
                  <a:cubicBezTo>
                    <a:pt x="21" y="295"/>
                    <a:pt x="21" y="295"/>
                    <a:pt x="21" y="295"/>
                  </a:cubicBezTo>
                  <a:cubicBezTo>
                    <a:pt x="22" y="291"/>
                    <a:pt x="19" y="292"/>
                    <a:pt x="22" y="289"/>
                  </a:cubicBezTo>
                  <a:cubicBezTo>
                    <a:pt x="22" y="289"/>
                    <a:pt x="20" y="289"/>
                    <a:pt x="19" y="289"/>
                  </a:cubicBezTo>
                  <a:cubicBezTo>
                    <a:pt x="20" y="287"/>
                    <a:pt x="19" y="287"/>
                    <a:pt x="20" y="285"/>
                  </a:cubicBezTo>
                  <a:cubicBezTo>
                    <a:pt x="21" y="285"/>
                    <a:pt x="21" y="285"/>
                    <a:pt x="21" y="285"/>
                  </a:cubicBezTo>
                  <a:cubicBezTo>
                    <a:pt x="22" y="283"/>
                    <a:pt x="21" y="282"/>
                    <a:pt x="21" y="280"/>
                  </a:cubicBezTo>
                  <a:lnTo>
                    <a:pt x="19" y="279"/>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54" name="Freeform 290">
              <a:extLst>
                <a:ext uri="{FF2B5EF4-FFF2-40B4-BE49-F238E27FC236}">
                  <a16:creationId xmlns:a16="http://schemas.microsoft.com/office/drawing/2014/main" id="{7494803F-1D90-A417-15AB-6E6A55697540}"/>
                </a:ext>
              </a:extLst>
            </p:cNvPr>
            <p:cNvSpPr>
              <a:spLocks noEditPoints="1"/>
            </p:cNvSpPr>
            <p:nvPr/>
          </p:nvSpPr>
          <p:spPr bwMode="auto">
            <a:xfrm>
              <a:off x="6390831" y="3326651"/>
              <a:ext cx="319761" cy="625157"/>
            </a:xfrm>
            <a:custGeom>
              <a:avLst/>
              <a:gdLst>
                <a:gd name="T0" fmla="*/ 11 w 91"/>
                <a:gd name="T1" fmla="*/ 118 h 177"/>
                <a:gd name="T2" fmla="*/ 13 w 91"/>
                <a:gd name="T3" fmla="*/ 127 h 177"/>
                <a:gd name="T4" fmla="*/ 12 w 91"/>
                <a:gd name="T5" fmla="*/ 133 h 177"/>
                <a:gd name="T6" fmla="*/ 15 w 91"/>
                <a:gd name="T7" fmla="*/ 146 h 177"/>
                <a:gd name="T8" fmla="*/ 5 w 91"/>
                <a:gd name="T9" fmla="*/ 150 h 177"/>
                <a:gd name="T10" fmla="*/ 10 w 91"/>
                <a:gd name="T11" fmla="*/ 163 h 177"/>
                <a:gd name="T12" fmla="*/ 10 w 91"/>
                <a:gd name="T13" fmla="*/ 177 h 177"/>
                <a:gd name="T14" fmla="*/ 17 w 91"/>
                <a:gd name="T15" fmla="*/ 177 h 177"/>
                <a:gd name="T16" fmla="*/ 24 w 91"/>
                <a:gd name="T17" fmla="*/ 175 h 177"/>
                <a:gd name="T18" fmla="*/ 41 w 91"/>
                <a:gd name="T19" fmla="*/ 168 h 177"/>
                <a:gd name="T20" fmla="*/ 45 w 91"/>
                <a:gd name="T21" fmla="*/ 159 h 177"/>
                <a:gd name="T22" fmla="*/ 61 w 91"/>
                <a:gd name="T23" fmla="*/ 152 h 177"/>
                <a:gd name="T24" fmla="*/ 69 w 91"/>
                <a:gd name="T25" fmla="*/ 146 h 177"/>
                <a:gd name="T26" fmla="*/ 76 w 91"/>
                <a:gd name="T27" fmla="*/ 139 h 177"/>
                <a:gd name="T28" fmla="*/ 74 w 91"/>
                <a:gd name="T29" fmla="*/ 131 h 177"/>
                <a:gd name="T30" fmla="*/ 73 w 91"/>
                <a:gd name="T31" fmla="*/ 125 h 177"/>
                <a:gd name="T32" fmla="*/ 72 w 91"/>
                <a:gd name="T33" fmla="*/ 117 h 177"/>
                <a:gd name="T34" fmla="*/ 69 w 91"/>
                <a:gd name="T35" fmla="*/ 114 h 177"/>
                <a:gd name="T36" fmla="*/ 73 w 91"/>
                <a:gd name="T37" fmla="*/ 106 h 177"/>
                <a:gd name="T38" fmla="*/ 77 w 91"/>
                <a:gd name="T39" fmla="*/ 96 h 177"/>
                <a:gd name="T40" fmla="*/ 80 w 91"/>
                <a:gd name="T41" fmla="*/ 86 h 177"/>
                <a:gd name="T42" fmla="*/ 91 w 91"/>
                <a:gd name="T43" fmla="*/ 85 h 177"/>
                <a:gd name="T44" fmla="*/ 16 w 91"/>
                <a:gd name="T45" fmla="*/ 0 h 177"/>
                <a:gd name="T46" fmla="*/ 13 w 91"/>
                <a:gd name="T47" fmla="*/ 28 h 177"/>
                <a:gd name="T48" fmla="*/ 13 w 91"/>
                <a:gd name="T49" fmla="*/ 46 h 177"/>
                <a:gd name="T50" fmla="*/ 0 w 91"/>
                <a:gd name="T51" fmla="*/ 93 h 177"/>
                <a:gd name="T52" fmla="*/ 5 w 91"/>
                <a:gd name="T53" fmla="*/ 112 h 177"/>
                <a:gd name="T54" fmla="*/ 4 w 91"/>
                <a:gd name="T55" fmla="*/ 103 h 177"/>
                <a:gd name="T56" fmla="*/ 8 w 91"/>
                <a:gd name="T57" fmla="*/ 108 h 177"/>
                <a:gd name="T58" fmla="*/ 15 w 91"/>
                <a:gd name="T59" fmla="*/ 112 h 177"/>
                <a:gd name="T60" fmla="*/ 12 w 91"/>
                <a:gd name="T61" fmla="*/ 110 h 177"/>
                <a:gd name="T62" fmla="*/ 1 w 91"/>
                <a:gd name="T63" fmla="*/ 10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77">
                  <a:moveTo>
                    <a:pt x="5" y="112"/>
                  </a:moveTo>
                  <a:cubicBezTo>
                    <a:pt x="5" y="112"/>
                    <a:pt x="9" y="116"/>
                    <a:pt x="11" y="118"/>
                  </a:cubicBezTo>
                  <a:cubicBezTo>
                    <a:pt x="12" y="120"/>
                    <a:pt x="10" y="121"/>
                    <a:pt x="12" y="123"/>
                  </a:cubicBezTo>
                  <a:cubicBezTo>
                    <a:pt x="13" y="124"/>
                    <a:pt x="14" y="126"/>
                    <a:pt x="13" y="127"/>
                  </a:cubicBezTo>
                  <a:cubicBezTo>
                    <a:pt x="13" y="129"/>
                    <a:pt x="13" y="130"/>
                    <a:pt x="13" y="130"/>
                  </a:cubicBezTo>
                  <a:cubicBezTo>
                    <a:pt x="13" y="130"/>
                    <a:pt x="12" y="131"/>
                    <a:pt x="12" y="133"/>
                  </a:cubicBezTo>
                  <a:cubicBezTo>
                    <a:pt x="12" y="136"/>
                    <a:pt x="13" y="139"/>
                    <a:pt x="14" y="141"/>
                  </a:cubicBezTo>
                  <a:cubicBezTo>
                    <a:pt x="15" y="142"/>
                    <a:pt x="14" y="144"/>
                    <a:pt x="15" y="146"/>
                  </a:cubicBezTo>
                  <a:cubicBezTo>
                    <a:pt x="16" y="148"/>
                    <a:pt x="16" y="150"/>
                    <a:pt x="16" y="150"/>
                  </a:cubicBezTo>
                  <a:cubicBezTo>
                    <a:pt x="16" y="150"/>
                    <a:pt x="7" y="149"/>
                    <a:pt x="5" y="150"/>
                  </a:cubicBezTo>
                  <a:cubicBezTo>
                    <a:pt x="3" y="152"/>
                    <a:pt x="2" y="155"/>
                    <a:pt x="3" y="156"/>
                  </a:cubicBezTo>
                  <a:cubicBezTo>
                    <a:pt x="5" y="157"/>
                    <a:pt x="8" y="162"/>
                    <a:pt x="10" y="163"/>
                  </a:cubicBezTo>
                  <a:cubicBezTo>
                    <a:pt x="11" y="164"/>
                    <a:pt x="12" y="171"/>
                    <a:pt x="12" y="171"/>
                  </a:cubicBezTo>
                  <a:cubicBezTo>
                    <a:pt x="10" y="177"/>
                    <a:pt x="10" y="177"/>
                    <a:pt x="10" y="177"/>
                  </a:cubicBezTo>
                  <a:cubicBezTo>
                    <a:pt x="13" y="176"/>
                    <a:pt x="13" y="176"/>
                    <a:pt x="13" y="176"/>
                  </a:cubicBezTo>
                  <a:cubicBezTo>
                    <a:pt x="17" y="177"/>
                    <a:pt x="17" y="177"/>
                    <a:pt x="17" y="177"/>
                  </a:cubicBezTo>
                  <a:cubicBezTo>
                    <a:pt x="20" y="173"/>
                    <a:pt x="20" y="173"/>
                    <a:pt x="20" y="173"/>
                  </a:cubicBezTo>
                  <a:cubicBezTo>
                    <a:pt x="20" y="173"/>
                    <a:pt x="22" y="175"/>
                    <a:pt x="24" y="175"/>
                  </a:cubicBezTo>
                  <a:cubicBezTo>
                    <a:pt x="26" y="175"/>
                    <a:pt x="32" y="173"/>
                    <a:pt x="34" y="173"/>
                  </a:cubicBezTo>
                  <a:cubicBezTo>
                    <a:pt x="37" y="172"/>
                    <a:pt x="39" y="171"/>
                    <a:pt x="41" y="168"/>
                  </a:cubicBezTo>
                  <a:cubicBezTo>
                    <a:pt x="44" y="165"/>
                    <a:pt x="45" y="166"/>
                    <a:pt x="47" y="164"/>
                  </a:cubicBezTo>
                  <a:cubicBezTo>
                    <a:pt x="50" y="163"/>
                    <a:pt x="43" y="161"/>
                    <a:pt x="45" y="159"/>
                  </a:cubicBezTo>
                  <a:cubicBezTo>
                    <a:pt x="47" y="156"/>
                    <a:pt x="53" y="157"/>
                    <a:pt x="55" y="155"/>
                  </a:cubicBezTo>
                  <a:cubicBezTo>
                    <a:pt x="58" y="153"/>
                    <a:pt x="58" y="153"/>
                    <a:pt x="61" y="152"/>
                  </a:cubicBezTo>
                  <a:cubicBezTo>
                    <a:pt x="63" y="152"/>
                    <a:pt x="62" y="149"/>
                    <a:pt x="64" y="148"/>
                  </a:cubicBezTo>
                  <a:cubicBezTo>
                    <a:pt x="65" y="147"/>
                    <a:pt x="67" y="146"/>
                    <a:pt x="69" y="146"/>
                  </a:cubicBezTo>
                  <a:cubicBezTo>
                    <a:pt x="71" y="145"/>
                    <a:pt x="70" y="145"/>
                    <a:pt x="71" y="142"/>
                  </a:cubicBezTo>
                  <a:cubicBezTo>
                    <a:pt x="72" y="139"/>
                    <a:pt x="76" y="139"/>
                    <a:pt x="76" y="139"/>
                  </a:cubicBezTo>
                  <a:cubicBezTo>
                    <a:pt x="76" y="139"/>
                    <a:pt x="77" y="137"/>
                    <a:pt x="75" y="135"/>
                  </a:cubicBezTo>
                  <a:cubicBezTo>
                    <a:pt x="73" y="133"/>
                    <a:pt x="73" y="133"/>
                    <a:pt x="74" y="131"/>
                  </a:cubicBezTo>
                  <a:cubicBezTo>
                    <a:pt x="75" y="129"/>
                    <a:pt x="74" y="127"/>
                    <a:pt x="74" y="127"/>
                  </a:cubicBezTo>
                  <a:cubicBezTo>
                    <a:pt x="73" y="125"/>
                    <a:pt x="73" y="125"/>
                    <a:pt x="73" y="125"/>
                  </a:cubicBezTo>
                  <a:cubicBezTo>
                    <a:pt x="73" y="123"/>
                    <a:pt x="76" y="122"/>
                    <a:pt x="75" y="120"/>
                  </a:cubicBezTo>
                  <a:cubicBezTo>
                    <a:pt x="74" y="118"/>
                    <a:pt x="73" y="117"/>
                    <a:pt x="72" y="117"/>
                  </a:cubicBezTo>
                  <a:cubicBezTo>
                    <a:pt x="70" y="117"/>
                    <a:pt x="68" y="119"/>
                    <a:pt x="68" y="117"/>
                  </a:cubicBezTo>
                  <a:cubicBezTo>
                    <a:pt x="68" y="115"/>
                    <a:pt x="67" y="115"/>
                    <a:pt x="69" y="114"/>
                  </a:cubicBezTo>
                  <a:cubicBezTo>
                    <a:pt x="70" y="113"/>
                    <a:pt x="71" y="112"/>
                    <a:pt x="71" y="110"/>
                  </a:cubicBezTo>
                  <a:cubicBezTo>
                    <a:pt x="71" y="107"/>
                    <a:pt x="71" y="108"/>
                    <a:pt x="73" y="106"/>
                  </a:cubicBezTo>
                  <a:cubicBezTo>
                    <a:pt x="75" y="105"/>
                    <a:pt x="75" y="102"/>
                    <a:pt x="75" y="100"/>
                  </a:cubicBezTo>
                  <a:cubicBezTo>
                    <a:pt x="75" y="98"/>
                    <a:pt x="74" y="97"/>
                    <a:pt x="77" y="96"/>
                  </a:cubicBezTo>
                  <a:cubicBezTo>
                    <a:pt x="79" y="95"/>
                    <a:pt x="80" y="94"/>
                    <a:pt x="79" y="92"/>
                  </a:cubicBezTo>
                  <a:cubicBezTo>
                    <a:pt x="78" y="89"/>
                    <a:pt x="79" y="88"/>
                    <a:pt x="80" y="86"/>
                  </a:cubicBezTo>
                  <a:cubicBezTo>
                    <a:pt x="81" y="84"/>
                    <a:pt x="83" y="84"/>
                    <a:pt x="85" y="85"/>
                  </a:cubicBezTo>
                  <a:cubicBezTo>
                    <a:pt x="86" y="86"/>
                    <a:pt x="91" y="85"/>
                    <a:pt x="91" y="85"/>
                  </a:cubicBezTo>
                  <a:cubicBezTo>
                    <a:pt x="91" y="45"/>
                    <a:pt x="91" y="45"/>
                    <a:pt x="91" y="45"/>
                  </a:cubicBezTo>
                  <a:cubicBezTo>
                    <a:pt x="16" y="0"/>
                    <a:pt x="16" y="0"/>
                    <a:pt x="16" y="0"/>
                  </a:cubicBezTo>
                  <a:cubicBezTo>
                    <a:pt x="8" y="6"/>
                    <a:pt x="8" y="6"/>
                    <a:pt x="8" y="6"/>
                  </a:cubicBezTo>
                  <a:cubicBezTo>
                    <a:pt x="13" y="28"/>
                    <a:pt x="13" y="28"/>
                    <a:pt x="13" y="28"/>
                  </a:cubicBezTo>
                  <a:cubicBezTo>
                    <a:pt x="13" y="28"/>
                    <a:pt x="18" y="35"/>
                    <a:pt x="16" y="37"/>
                  </a:cubicBezTo>
                  <a:cubicBezTo>
                    <a:pt x="14" y="40"/>
                    <a:pt x="14" y="43"/>
                    <a:pt x="13" y="46"/>
                  </a:cubicBezTo>
                  <a:cubicBezTo>
                    <a:pt x="13" y="50"/>
                    <a:pt x="13" y="82"/>
                    <a:pt x="13" y="82"/>
                  </a:cubicBezTo>
                  <a:cubicBezTo>
                    <a:pt x="0" y="93"/>
                    <a:pt x="0" y="93"/>
                    <a:pt x="0" y="93"/>
                  </a:cubicBezTo>
                  <a:cubicBezTo>
                    <a:pt x="0" y="103"/>
                    <a:pt x="0" y="103"/>
                    <a:pt x="0" y="103"/>
                  </a:cubicBezTo>
                  <a:lnTo>
                    <a:pt x="5" y="112"/>
                  </a:lnTo>
                  <a:close/>
                  <a:moveTo>
                    <a:pt x="1" y="103"/>
                  </a:moveTo>
                  <a:cubicBezTo>
                    <a:pt x="2" y="103"/>
                    <a:pt x="3" y="103"/>
                    <a:pt x="4" y="103"/>
                  </a:cubicBezTo>
                  <a:cubicBezTo>
                    <a:pt x="4" y="103"/>
                    <a:pt x="4" y="105"/>
                    <a:pt x="4" y="106"/>
                  </a:cubicBezTo>
                  <a:cubicBezTo>
                    <a:pt x="5" y="106"/>
                    <a:pt x="7" y="107"/>
                    <a:pt x="8" y="108"/>
                  </a:cubicBezTo>
                  <a:cubicBezTo>
                    <a:pt x="10" y="108"/>
                    <a:pt x="13" y="108"/>
                    <a:pt x="15" y="108"/>
                  </a:cubicBezTo>
                  <a:cubicBezTo>
                    <a:pt x="15" y="109"/>
                    <a:pt x="15" y="111"/>
                    <a:pt x="15" y="112"/>
                  </a:cubicBezTo>
                  <a:cubicBezTo>
                    <a:pt x="14" y="111"/>
                    <a:pt x="15" y="112"/>
                    <a:pt x="14" y="112"/>
                  </a:cubicBezTo>
                  <a:cubicBezTo>
                    <a:pt x="14" y="112"/>
                    <a:pt x="12" y="110"/>
                    <a:pt x="12" y="110"/>
                  </a:cubicBezTo>
                  <a:cubicBezTo>
                    <a:pt x="10" y="110"/>
                    <a:pt x="7" y="111"/>
                    <a:pt x="6" y="112"/>
                  </a:cubicBezTo>
                  <a:cubicBezTo>
                    <a:pt x="5" y="110"/>
                    <a:pt x="0" y="103"/>
                    <a:pt x="1" y="10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55" name="Freeform 291">
              <a:extLst>
                <a:ext uri="{FF2B5EF4-FFF2-40B4-BE49-F238E27FC236}">
                  <a16:creationId xmlns:a16="http://schemas.microsoft.com/office/drawing/2014/main" id="{FB7ED271-399C-835A-83B0-D002949F8DC1}"/>
                </a:ext>
              </a:extLst>
            </p:cNvPr>
            <p:cNvSpPr>
              <a:spLocks noEditPoints="1"/>
            </p:cNvSpPr>
            <p:nvPr/>
          </p:nvSpPr>
          <p:spPr bwMode="auto">
            <a:xfrm>
              <a:off x="6390831" y="3326651"/>
              <a:ext cx="319761" cy="625157"/>
            </a:xfrm>
            <a:custGeom>
              <a:avLst/>
              <a:gdLst>
                <a:gd name="T0" fmla="*/ 11 w 91"/>
                <a:gd name="T1" fmla="*/ 118 h 177"/>
                <a:gd name="T2" fmla="*/ 13 w 91"/>
                <a:gd name="T3" fmla="*/ 127 h 177"/>
                <a:gd name="T4" fmla="*/ 12 w 91"/>
                <a:gd name="T5" fmla="*/ 133 h 177"/>
                <a:gd name="T6" fmla="*/ 15 w 91"/>
                <a:gd name="T7" fmla="*/ 146 h 177"/>
                <a:gd name="T8" fmla="*/ 5 w 91"/>
                <a:gd name="T9" fmla="*/ 150 h 177"/>
                <a:gd name="T10" fmla="*/ 10 w 91"/>
                <a:gd name="T11" fmla="*/ 163 h 177"/>
                <a:gd name="T12" fmla="*/ 10 w 91"/>
                <a:gd name="T13" fmla="*/ 177 h 177"/>
                <a:gd name="T14" fmla="*/ 17 w 91"/>
                <a:gd name="T15" fmla="*/ 177 h 177"/>
                <a:gd name="T16" fmla="*/ 24 w 91"/>
                <a:gd name="T17" fmla="*/ 175 h 177"/>
                <a:gd name="T18" fmla="*/ 41 w 91"/>
                <a:gd name="T19" fmla="*/ 168 h 177"/>
                <a:gd name="T20" fmla="*/ 45 w 91"/>
                <a:gd name="T21" fmla="*/ 159 h 177"/>
                <a:gd name="T22" fmla="*/ 61 w 91"/>
                <a:gd name="T23" fmla="*/ 152 h 177"/>
                <a:gd name="T24" fmla="*/ 69 w 91"/>
                <a:gd name="T25" fmla="*/ 146 h 177"/>
                <a:gd name="T26" fmla="*/ 76 w 91"/>
                <a:gd name="T27" fmla="*/ 139 h 177"/>
                <a:gd name="T28" fmla="*/ 74 w 91"/>
                <a:gd name="T29" fmla="*/ 131 h 177"/>
                <a:gd name="T30" fmla="*/ 73 w 91"/>
                <a:gd name="T31" fmla="*/ 125 h 177"/>
                <a:gd name="T32" fmla="*/ 72 w 91"/>
                <a:gd name="T33" fmla="*/ 117 h 177"/>
                <a:gd name="T34" fmla="*/ 69 w 91"/>
                <a:gd name="T35" fmla="*/ 114 h 177"/>
                <a:gd name="T36" fmla="*/ 73 w 91"/>
                <a:gd name="T37" fmla="*/ 106 h 177"/>
                <a:gd name="T38" fmla="*/ 77 w 91"/>
                <a:gd name="T39" fmla="*/ 96 h 177"/>
                <a:gd name="T40" fmla="*/ 80 w 91"/>
                <a:gd name="T41" fmla="*/ 86 h 177"/>
                <a:gd name="T42" fmla="*/ 91 w 91"/>
                <a:gd name="T43" fmla="*/ 85 h 177"/>
                <a:gd name="T44" fmla="*/ 16 w 91"/>
                <a:gd name="T45" fmla="*/ 0 h 177"/>
                <a:gd name="T46" fmla="*/ 13 w 91"/>
                <a:gd name="T47" fmla="*/ 28 h 177"/>
                <a:gd name="T48" fmla="*/ 13 w 91"/>
                <a:gd name="T49" fmla="*/ 46 h 177"/>
                <a:gd name="T50" fmla="*/ 0 w 91"/>
                <a:gd name="T51" fmla="*/ 93 h 177"/>
                <a:gd name="T52" fmla="*/ 5 w 91"/>
                <a:gd name="T53" fmla="*/ 112 h 177"/>
                <a:gd name="T54" fmla="*/ 4 w 91"/>
                <a:gd name="T55" fmla="*/ 103 h 177"/>
                <a:gd name="T56" fmla="*/ 8 w 91"/>
                <a:gd name="T57" fmla="*/ 108 h 177"/>
                <a:gd name="T58" fmla="*/ 15 w 91"/>
                <a:gd name="T59" fmla="*/ 112 h 177"/>
                <a:gd name="T60" fmla="*/ 12 w 91"/>
                <a:gd name="T61" fmla="*/ 110 h 177"/>
                <a:gd name="T62" fmla="*/ 1 w 91"/>
                <a:gd name="T63" fmla="*/ 103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1" h="177">
                  <a:moveTo>
                    <a:pt x="5" y="112"/>
                  </a:moveTo>
                  <a:cubicBezTo>
                    <a:pt x="5" y="112"/>
                    <a:pt x="9" y="116"/>
                    <a:pt x="11" y="118"/>
                  </a:cubicBezTo>
                  <a:cubicBezTo>
                    <a:pt x="12" y="120"/>
                    <a:pt x="10" y="121"/>
                    <a:pt x="12" y="123"/>
                  </a:cubicBezTo>
                  <a:cubicBezTo>
                    <a:pt x="13" y="124"/>
                    <a:pt x="14" y="126"/>
                    <a:pt x="13" y="127"/>
                  </a:cubicBezTo>
                  <a:cubicBezTo>
                    <a:pt x="13" y="129"/>
                    <a:pt x="13" y="130"/>
                    <a:pt x="13" y="130"/>
                  </a:cubicBezTo>
                  <a:cubicBezTo>
                    <a:pt x="13" y="130"/>
                    <a:pt x="12" y="131"/>
                    <a:pt x="12" y="133"/>
                  </a:cubicBezTo>
                  <a:cubicBezTo>
                    <a:pt x="12" y="136"/>
                    <a:pt x="13" y="139"/>
                    <a:pt x="14" y="141"/>
                  </a:cubicBezTo>
                  <a:cubicBezTo>
                    <a:pt x="15" y="142"/>
                    <a:pt x="14" y="144"/>
                    <a:pt x="15" y="146"/>
                  </a:cubicBezTo>
                  <a:cubicBezTo>
                    <a:pt x="16" y="148"/>
                    <a:pt x="16" y="150"/>
                    <a:pt x="16" y="150"/>
                  </a:cubicBezTo>
                  <a:cubicBezTo>
                    <a:pt x="16" y="150"/>
                    <a:pt x="7" y="149"/>
                    <a:pt x="5" y="150"/>
                  </a:cubicBezTo>
                  <a:cubicBezTo>
                    <a:pt x="3" y="152"/>
                    <a:pt x="2" y="155"/>
                    <a:pt x="3" y="156"/>
                  </a:cubicBezTo>
                  <a:cubicBezTo>
                    <a:pt x="5" y="157"/>
                    <a:pt x="8" y="162"/>
                    <a:pt x="10" y="163"/>
                  </a:cubicBezTo>
                  <a:cubicBezTo>
                    <a:pt x="11" y="164"/>
                    <a:pt x="12" y="171"/>
                    <a:pt x="12" y="171"/>
                  </a:cubicBezTo>
                  <a:cubicBezTo>
                    <a:pt x="10" y="177"/>
                    <a:pt x="10" y="177"/>
                    <a:pt x="10" y="177"/>
                  </a:cubicBezTo>
                  <a:cubicBezTo>
                    <a:pt x="13" y="176"/>
                    <a:pt x="13" y="176"/>
                    <a:pt x="13" y="176"/>
                  </a:cubicBezTo>
                  <a:cubicBezTo>
                    <a:pt x="17" y="177"/>
                    <a:pt x="17" y="177"/>
                    <a:pt x="17" y="177"/>
                  </a:cubicBezTo>
                  <a:cubicBezTo>
                    <a:pt x="20" y="173"/>
                    <a:pt x="20" y="173"/>
                    <a:pt x="20" y="173"/>
                  </a:cubicBezTo>
                  <a:cubicBezTo>
                    <a:pt x="20" y="173"/>
                    <a:pt x="22" y="175"/>
                    <a:pt x="24" y="175"/>
                  </a:cubicBezTo>
                  <a:cubicBezTo>
                    <a:pt x="26" y="175"/>
                    <a:pt x="32" y="173"/>
                    <a:pt x="34" y="173"/>
                  </a:cubicBezTo>
                  <a:cubicBezTo>
                    <a:pt x="37" y="172"/>
                    <a:pt x="39" y="171"/>
                    <a:pt x="41" y="168"/>
                  </a:cubicBezTo>
                  <a:cubicBezTo>
                    <a:pt x="44" y="165"/>
                    <a:pt x="45" y="166"/>
                    <a:pt x="47" y="164"/>
                  </a:cubicBezTo>
                  <a:cubicBezTo>
                    <a:pt x="50" y="163"/>
                    <a:pt x="43" y="161"/>
                    <a:pt x="45" y="159"/>
                  </a:cubicBezTo>
                  <a:cubicBezTo>
                    <a:pt x="47" y="156"/>
                    <a:pt x="53" y="157"/>
                    <a:pt x="55" y="155"/>
                  </a:cubicBezTo>
                  <a:cubicBezTo>
                    <a:pt x="58" y="153"/>
                    <a:pt x="58" y="153"/>
                    <a:pt x="61" y="152"/>
                  </a:cubicBezTo>
                  <a:cubicBezTo>
                    <a:pt x="63" y="152"/>
                    <a:pt x="62" y="149"/>
                    <a:pt x="64" y="148"/>
                  </a:cubicBezTo>
                  <a:cubicBezTo>
                    <a:pt x="65" y="147"/>
                    <a:pt x="67" y="146"/>
                    <a:pt x="69" y="146"/>
                  </a:cubicBezTo>
                  <a:cubicBezTo>
                    <a:pt x="71" y="145"/>
                    <a:pt x="70" y="145"/>
                    <a:pt x="71" y="142"/>
                  </a:cubicBezTo>
                  <a:cubicBezTo>
                    <a:pt x="72" y="139"/>
                    <a:pt x="76" y="139"/>
                    <a:pt x="76" y="139"/>
                  </a:cubicBezTo>
                  <a:cubicBezTo>
                    <a:pt x="76" y="139"/>
                    <a:pt x="77" y="137"/>
                    <a:pt x="75" y="135"/>
                  </a:cubicBezTo>
                  <a:cubicBezTo>
                    <a:pt x="73" y="133"/>
                    <a:pt x="73" y="133"/>
                    <a:pt x="74" y="131"/>
                  </a:cubicBezTo>
                  <a:cubicBezTo>
                    <a:pt x="75" y="129"/>
                    <a:pt x="74" y="127"/>
                    <a:pt x="74" y="127"/>
                  </a:cubicBezTo>
                  <a:cubicBezTo>
                    <a:pt x="73" y="125"/>
                    <a:pt x="73" y="125"/>
                    <a:pt x="73" y="125"/>
                  </a:cubicBezTo>
                  <a:cubicBezTo>
                    <a:pt x="73" y="123"/>
                    <a:pt x="76" y="122"/>
                    <a:pt x="75" y="120"/>
                  </a:cubicBezTo>
                  <a:cubicBezTo>
                    <a:pt x="74" y="118"/>
                    <a:pt x="73" y="117"/>
                    <a:pt x="72" y="117"/>
                  </a:cubicBezTo>
                  <a:cubicBezTo>
                    <a:pt x="70" y="117"/>
                    <a:pt x="68" y="119"/>
                    <a:pt x="68" y="117"/>
                  </a:cubicBezTo>
                  <a:cubicBezTo>
                    <a:pt x="68" y="115"/>
                    <a:pt x="67" y="115"/>
                    <a:pt x="69" y="114"/>
                  </a:cubicBezTo>
                  <a:cubicBezTo>
                    <a:pt x="70" y="113"/>
                    <a:pt x="71" y="112"/>
                    <a:pt x="71" y="110"/>
                  </a:cubicBezTo>
                  <a:cubicBezTo>
                    <a:pt x="71" y="107"/>
                    <a:pt x="71" y="108"/>
                    <a:pt x="73" y="106"/>
                  </a:cubicBezTo>
                  <a:cubicBezTo>
                    <a:pt x="75" y="105"/>
                    <a:pt x="75" y="102"/>
                    <a:pt x="75" y="100"/>
                  </a:cubicBezTo>
                  <a:cubicBezTo>
                    <a:pt x="75" y="98"/>
                    <a:pt x="74" y="97"/>
                    <a:pt x="77" y="96"/>
                  </a:cubicBezTo>
                  <a:cubicBezTo>
                    <a:pt x="79" y="95"/>
                    <a:pt x="80" y="94"/>
                    <a:pt x="79" y="92"/>
                  </a:cubicBezTo>
                  <a:cubicBezTo>
                    <a:pt x="78" y="89"/>
                    <a:pt x="79" y="88"/>
                    <a:pt x="80" y="86"/>
                  </a:cubicBezTo>
                  <a:cubicBezTo>
                    <a:pt x="81" y="84"/>
                    <a:pt x="83" y="84"/>
                    <a:pt x="85" y="85"/>
                  </a:cubicBezTo>
                  <a:cubicBezTo>
                    <a:pt x="86" y="86"/>
                    <a:pt x="91" y="85"/>
                    <a:pt x="91" y="85"/>
                  </a:cubicBezTo>
                  <a:cubicBezTo>
                    <a:pt x="91" y="45"/>
                    <a:pt x="91" y="45"/>
                    <a:pt x="91" y="45"/>
                  </a:cubicBezTo>
                  <a:cubicBezTo>
                    <a:pt x="16" y="0"/>
                    <a:pt x="16" y="0"/>
                    <a:pt x="16" y="0"/>
                  </a:cubicBezTo>
                  <a:cubicBezTo>
                    <a:pt x="8" y="6"/>
                    <a:pt x="8" y="6"/>
                    <a:pt x="8" y="6"/>
                  </a:cubicBezTo>
                  <a:cubicBezTo>
                    <a:pt x="13" y="28"/>
                    <a:pt x="13" y="28"/>
                    <a:pt x="13" y="28"/>
                  </a:cubicBezTo>
                  <a:cubicBezTo>
                    <a:pt x="13" y="28"/>
                    <a:pt x="18" y="35"/>
                    <a:pt x="16" y="37"/>
                  </a:cubicBezTo>
                  <a:cubicBezTo>
                    <a:pt x="14" y="40"/>
                    <a:pt x="14" y="43"/>
                    <a:pt x="13" y="46"/>
                  </a:cubicBezTo>
                  <a:cubicBezTo>
                    <a:pt x="13" y="50"/>
                    <a:pt x="13" y="82"/>
                    <a:pt x="13" y="82"/>
                  </a:cubicBezTo>
                  <a:cubicBezTo>
                    <a:pt x="0" y="93"/>
                    <a:pt x="0" y="93"/>
                    <a:pt x="0" y="93"/>
                  </a:cubicBezTo>
                  <a:cubicBezTo>
                    <a:pt x="0" y="103"/>
                    <a:pt x="0" y="103"/>
                    <a:pt x="0" y="103"/>
                  </a:cubicBezTo>
                  <a:lnTo>
                    <a:pt x="5" y="112"/>
                  </a:lnTo>
                  <a:close/>
                  <a:moveTo>
                    <a:pt x="1" y="103"/>
                  </a:moveTo>
                  <a:cubicBezTo>
                    <a:pt x="2" y="103"/>
                    <a:pt x="3" y="103"/>
                    <a:pt x="4" y="103"/>
                  </a:cubicBezTo>
                  <a:cubicBezTo>
                    <a:pt x="4" y="103"/>
                    <a:pt x="4" y="105"/>
                    <a:pt x="4" y="106"/>
                  </a:cubicBezTo>
                  <a:cubicBezTo>
                    <a:pt x="5" y="106"/>
                    <a:pt x="7" y="107"/>
                    <a:pt x="8" y="108"/>
                  </a:cubicBezTo>
                  <a:cubicBezTo>
                    <a:pt x="10" y="108"/>
                    <a:pt x="13" y="108"/>
                    <a:pt x="15" y="108"/>
                  </a:cubicBezTo>
                  <a:cubicBezTo>
                    <a:pt x="15" y="109"/>
                    <a:pt x="15" y="111"/>
                    <a:pt x="15" y="112"/>
                  </a:cubicBezTo>
                  <a:cubicBezTo>
                    <a:pt x="14" y="111"/>
                    <a:pt x="15" y="112"/>
                    <a:pt x="14" y="112"/>
                  </a:cubicBezTo>
                  <a:cubicBezTo>
                    <a:pt x="14" y="112"/>
                    <a:pt x="12" y="110"/>
                    <a:pt x="12" y="110"/>
                  </a:cubicBezTo>
                  <a:cubicBezTo>
                    <a:pt x="10" y="110"/>
                    <a:pt x="7" y="111"/>
                    <a:pt x="6" y="112"/>
                  </a:cubicBezTo>
                  <a:cubicBezTo>
                    <a:pt x="5" y="110"/>
                    <a:pt x="0" y="103"/>
                    <a:pt x="1" y="10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56" name="Freeform 292">
              <a:extLst>
                <a:ext uri="{FF2B5EF4-FFF2-40B4-BE49-F238E27FC236}">
                  <a16:creationId xmlns:a16="http://schemas.microsoft.com/office/drawing/2014/main" id="{B9008BE0-C994-3C91-E1CC-66572182FC54}"/>
                </a:ext>
              </a:extLst>
            </p:cNvPr>
            <p:cNvSpPr>
              <a:spLocks/>
            </p:cNvSpPr>
            <p:nvPr/>
          </p:nvSpPr>
          <p:spPr bwMode="auto">
            <a:xfrm>
              <a:off x="6390831" y="3817078"/>
              <a:ext cx="407786" cy="296411"/>
            </a:xfrm>
            <a:custGeom>
              <a:avLst/>
              <a:gdLst>
                <a:gd name="T0" fmla="*/ 41 w 116"/>
                <a:gd name="T1" fmla="*/ 77 h 84"/>
                <a:gd name="T2" fmla="*/ 42 w 116"/>
                <a:gd name="T3" fmla="*/ 68 h 84"/>
                <a:gd name="T4" fmla="*/ 46 w 116"/>
                <a:gd name="T5" fmla="*/ 64 h 84"/>
                <a:gd name="T6" fmla="*/ 50 w 116"/>
                <a:gd name="T7" fmla="*/ 59 h 84"/>
                <a:gd name="T8" fmla="*/ 56 w 116"/>
                <a:gd name="T9" fmla="*/ 59 h 84"/>
                <a:gd name="T10" fmla="*/ 62 w 116"/>
                <a:gd name="T11" fmla="*/ 64 h 84"/>
                <a:gd name="T12" fmla="*/ 69 w 116"/>
                <a:gd name="T13" fmla="*/ 65 h 84"/>
                <a:gd name="T14" fmla="*/ 75 w 116"/>
                <a:gd name="T15" fmla="*/ 66 h 84"/>
                <a:gd name="T16" fmla="*/ 80 w 116"/>
                <a:gd name="T17" fmla="*/ 67 h 84"/>
                <a:gd name="T18" fmla="*/ 82 w 116"/>
                <a:gd name="T19" fmla="*/ 62 h 84"/>
                <a:gd name="T20" fmla="*/ 87 w 116"/>
                <a:gd name="T21" fmla="*/ 64 h 84"/>
                <a:gd name="T22" fmla="*/ 92 w 116"/>
                <a:gd name="T23" fmla="*/ 63 h 84"/>
                <a:gd name="T24" fmla="*/ 94 w 116"/>
                <a:gd name="T25" fmla="*/ 60 h 84"/>
                <a:gd name="T26" fmla="*/ 97 w 116"/>
                <a:gd name="T27" fmla="*/ 61 h 84"/>
                <a:gd name="T28" fmla="*/ 101 w 116"/>
                <a:gd name="T29" fmla="*/ 57 h 84"/>
                <a:gd name="T30" fmla="*/ 108 w 116"/>
                <a:gd name="T31" fmla="*/ 57 h 84"/>
                <a:gd name="T32" fmla="*/ 111 w 116"/>
                <a:gd name="T33" fmla="*/ 59 h 84"/>
                <a:gd name="T34" fmla="*/ 116 w 116"/>
                <a:gd name="T35" fmla="*/ 58 h 84"/>
                <a:gd name="T36" fmla="*/ 114 w 116"/>
                <a:gd name="T37" fmla="*/ 55 h 84"/>
                <a:gd name="T38" fmla="*/ 113 w 116"/>
                <a:gd name="T39" fmla="*/ 49 h 84"/>
                <a:gd name="T40" fmla="*/ 107 w 116"/>
                <a:gd name="T41" fmla="*/ 44 h 84"/>
                <a:gd name="T42" fmla="*/ 104 w 116"/>
                <a:gd name="T43" fmla="*/ 38 h 84"/>
                <a:gd name="T44" fmla="*/ 100 w 116"/>
                <a:gd name="T45" fmla="*/ 37 h 84"/>
                <a:gd name="T46" fmla="*/ 96 w 116"/>
                <a:gd name="T47" fmla="*/ 34 h 84"/>
                <a:gd name="T48" fmla="*/ 92 w 116"/>
                <a:gd name="T49" fmla="*/ 32 h 84"/>
                <a:gd name="T50" fmla="*/ 88 w 116"/>
                <a:gd name="T51" fmla="*/ 28 h 84"/>
                <a:gd name="T52" fmla="*/ 84 w 116"/>
                <a:gd name="T53" fmla="*/ 20 h 84"/>
                <a:gd name="T54" fmla="*/ 82 w 116"/>
                <a:gd name="T55" fmla="*/ 15 h 84"/>
                <a:gd name="T56" fmla="*/ 81 w 116"/>
                <a:gd name="T57" fmla="*/ 11 h 84"/>
                <a:gd name="T58" fmla="*/ 81 w 116"/>
                <a:gd name="T59" fmla="*/ 5 h 84"/>
                <a:gd name="T60" fmla="*/ 76 w 116"/>
                <a:gd name="T61" fmla="*/ 0 h 84"/>
                <a:gd name="T62" fmla="*/ 71 w 116"/>
                <a:gd name="T63" fmla="*/ 3 h 84"/>
                <a:gd name="T64" fmla="*/ 69 w 116"/>
                <a:gd name="T65" fmla="*/ 7 h 84"/>
                <a:gd name="T66" fmla="*/ 64 w 116"/>
                <a:gd name="T67" fmla="*/ 9 h 84"/>
                <a:gd name="T68" fmla="*/ 61 w 116"/>
                <a:gd name="T69" fmla="*/ 13 h 84"/>
                <a:gd name="T70" fmla="*/ 55 w 116"/>
                <a:gd name="T71" fmla="*/ 16 h 84"/>
                <a:gd name="T72" fmla="*/ 45 w 116"/>
                <a:gd name="T73" fmla="*/ 20 h 84"/>
                <a:gd name="T74" fmla="*/ 47 w 116"/>
                <a:gd name="T75" fmla="*/ 25 h 84"/>
                <a:gd name="T76" fmla="*/ 41 w 116"/>
                <a:gd name="T77" fmla="*/ 29 h 84"/>
                <a:gd name="T78" fmla="*/ 34 w 116"/>
                <a:gd name="T79" fmla="*/ 34 h 84"/>
                <a:gd name="T80" fmla="*/ 24 w 116"/>
                <a:gd name="T81" fmla="*/ 36 h 84"/>
                <a:gd name="T82" fmla="*/ 20 w 116"/>
                <a:gd name="T83" fmla="*/ 34 h 84"/>
                <a:gd name="T84" fmla="*/ 17 w 116"/>
                <a:gd name="T85" fmla="*/ 38 h 84"/>
                <a:gd name="T86" fmla="*/ 13 w 116"/>
                <a:gd name="T87" fmla="*/ 37 h 84"/>
                <a:gd name="T88" fmla="*/ 10 w 116"/>
                <a:gd name="T89" fmla="*/ 38 h 84"/>
                <a:gd name="T90" fmla="*/ 4 w 116"/>
                <a:gd name="T91" fmla="*/ 49 h 84"/>
                <a:gd name="T92" fmla="*/ 2 w 116"/>
                <a:gd name="T93" fmla="*/ 53 h 84"/>
                <a:gd name="T94" fmla="*/ 5 w 116"/>
                <a:gd name="T95" fmla="*/ 57 h 84"/>
                <a:gd name="T96" fmla="*/ 9 w 116"/>
                <a:gd name="T97" fmla="*/ 65 h 84"/>
                <a:gd name="T98" fmla="*/ 13 w 116"/>
                <a:gd name="T99" fmla="*/ 72 h 84"/>
                <a:gd name="T100" fmla="*/ 18 w 116"/>
                <a:gd name="T101" fmla="*/ 77 h 84"/>
                <a:gd name="T102" fmla="*/ 24 w 116"/>
                <a:gd name="T103" fmla="*/ 84 h 84"/>
                <a:gd name="T104" fmla="*/ 28 w 116"/>
                <a:gd name="T105" fmla="*/ 82 h 84"/>
                <a:gd name="T106" fmla="*/ 31 w 116"/>
                <a:gd name="T107" fmla="*/ 78 h 84"/>
                <a:gd name="T108" fmla="*/ 35 w 116"/>
                <a:gd name="T109" fmla="*/ 79 h 84"/>
                <a:gd name="T110" fmla="*/ 41 w 116"/>
                <a:gd name="T111"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 h="84">
                  <a:moveTo>
                    <a:pt x="41" y="77"/>
                  </a:moveTo>
                  <a:cubicBezTo>
                    <a:pt x="42" y="68"/>
                    <a:pt x="42" y="68"/>
                    <a:pt x="42" y="68"/>
                  </a:cubicBezTo>
                  <a:cubicBezTo>
                    <a:pt x="42" y="68"/>
                    <a:pt x="46" y="66"/>
                    <a:pt x="46" y="64"/>
                  </a:cubicBezTo>
                  <a:cubicBezTo>
                    <a:pt x="46" y="61"/>
                    <a:pt x="48" y="59"/>
                    <a:pt x="50" y="59"/>
                  </a:cubicBezTo>
                  <a:cubicBezTo>
                    <a:pt x="51" y="59"/>
                    <a:pt x="53" y="58"/>
                    <a:pt x="56" y="59"/>
                  </a:cubicBezTo>
                  <a:cubicBezTo>
                    <a:pt x="59" y="61"/>
                    <a:pt x="60" y="63"/>
                    <a:pt x="62" y="64"/>
                  </a:cubicBezTo>
                  <a:cubicBezTo>
                    <a:pt x="63" y="65"/>
                    <a:pt x="67" y="65"/>
                    <a:pt x="69" y="65"/>
                  </a:cubicBezTo>
                  <a:cubicBezTo>
                    <a:pt x="71" y="65"/>
                    <a:pt x="72" y="65"/>
                    <a:pt x="75" y="66"/>
                  </a:cubicBezTo>
                  <a:cubicBezTo>
                    <a:pt x="78" y="67"/>
                    <a:pt x="80" y="67"/>
                    <a:pt x="80" y="67"/>
                  </a:cubicBezTo>
                  <a:cubicBezTo>
                    <a:pt x="80" y="67"/>
                    <a:pt x="79" y="62"/>
                    <a:pt x="82" y="62"/>
                  </a:cubicBezTo>
                  <a:cubicBezTo>
                    <a:pt x="84" y="62"/>
                    <a:pt x="84" y="65"/>
                    <a:pt x="87" y="64"/>
                  </a:cubicBezTo>
                  <a:cubicBezTo>
                    <a:pt x="90" y="63"/>
                    <a:pt x="92" y="63"/>
                    <a:pt x="92" y="63"/>
                  </a:cubicBezTo>
                  <a:cubicBezTo>
                    <a:pt x="92" y="63"/>
                    <a:pt x="91" y="60"/>
                    <a:pt x="94" y="60"/>
                  </a:cubicBezTo>
                  <a:cubicBezTo>
                    <a:pt x="96" y="59"/>
                    <a:pt x="95" y="63"/>
                    <a:pt x="97" y="61"/>
                  </a:cubicBezTo>
                  <a:cubicBezTo>
                    <a:pt x="100" y="58"/>
                    <a:pt x="99" y="57"/>
                    <a:pt x="101" y="57"/>
                  </a:cubicBezTo>
                  <a:cubicBezTo>
                    <a:pt x="108" y="57"/>
                    <a:pt x="108" y="57"/>
                    <a:pt x="108" y="57"/>
                  </a:cubicBezTo>
                  <a:cubicBezTo>
                    <a:pt x="111" y="57"/>
                    <a:pt x="110" y="59"/>
                    <a:pt x="111" y="59"/>
                  </a:cubicBezTo>
                  <a:cubicBezTo>
                    <a:pt x="113" y="59"/>
                    <a:pt x="116" y="58"/>
                    <a:pt x="116" y="58"/>
                  </a:cubicBezTo>
                  <a:cubicBezTo>
                    <a:pt x="116" y="58"/>
                    <a:pt x="116" y="55"/>
                    <a:pt x="114" y="55"/>
                  </a:cubicBezTo>
                  <a:cubicBezTo>
                    <a:pt x="113" y="54"/>
                    <a:pt x="114" y="52"/>
                    <a:pt x="113" y="49"/>
                  </a:cubicBezTo>
                  <a:cubicBezTo>
                    <a:pt x="112" y="46"/>
                    <a:pt x="111" y="45"/>
                    <a:pt x="107" y="44"/>
                  </a:cubicBezTo>
                  <a:cubicBezTo>
                    <a:pt x="104" y="43"/>
                    <a:pt x="105" y="40"/>
                    <a:pt x="104" y="38"/>
                  </a:cubicBezTo>
                  <a:cubicBezTo>
                    <a:pt x="103" y="36"/>
                    <a:pt x="102" y="37"/>
                    <a:pt x="100" y="37"/>
                  </a:cubicBezTo>
                  <a:cubicBezTo>
                    <a:pt x="98" y="37"/>
                    <a:pt x="97" y="35"/>
                    <a:pt x="96" y="34"/>
                  </a:cubicBezTo>
                  <a:cubicBezTo>
                    <a:pt x="95" y="32"/>
                    <a:pt x="94" y="32"/>
                    <a:pt x="92" y="32"/>
                  </a:cubicBezTo>
                  <a:cubicBezTo>
                    <a:pt x="90" y="32"/>
                    <a:pt x="90" y="29"/>
                    <a:pt x="88" y="28"/>
                  </a:cubicBezTo>
                  <a:cubicBezTo>
                    <a:pt x="87" y="28"/>
                    <a:pt x="83" y="23"/>
                    <a:pt x="84" y="20"/>
                  </a:cubicBezTo>
                  <a:cubicBezTo>
                    <a:pt x="85" y="17"/>
                    <a:pt x="85" y="17"/>
                    <a:pt x="82" y="15"/>
                  </a:cubicBezTo>
                  <a:cubicBezTo>
                    <a:pt x="79" y="13"/>
                    <a:pt x="80" y="13"/>
                    <a:pt x="81" y="11"/>
                  </a:cubicBezTo>
                  <a:cubicBezTo>
                    <a:pt x="82" y="9"/>
                    <a:pt x="81" y="5"/>
                    <a:pt x="81" y="5"/>
                  </a:cubicBezTo>
                  <a:cubicBezTo>
                    <a:pt x="76" y="0"/>
                    <a:pt x="76" y="0"/>
                    <a:pt x="76" y="0"/>
                  </a:cubicBezTo>
                  <a:cubicBezTo>
                    <a:pt x="76" y="0"/>
                    <a:pt x="72" y="0"/>
                    <a:pt x="71" y="3"/>
                  </a:cubicBezTo>
                  <a:cubicBezTo>
                    <a:pt x="70" y="6"/>
                    <a:pt x="71" y="6"/>
                    <a:pt x="69" y="7"/>
                  </a:cubicBezTo>
                  <a:cubicBezTo>
                    <a:pt x="67" y="7"/>
                    <a:pt x="65" y="8"/>
                    <a:pt x="64" y="9"/>
                  </a:cubicBezTo>
                  <a:cubicBezTo>
                    <a:pt x="62" y="10"/>
                    <a:pt x="63" y="13"/>
                    <a:pt x="61" y="13"/>
                  </a:cubicBezTo>
                  <a:cubicBezTo>
                    <a:pt x="58" y="14"/>
                    <a:pt x="58" y="14"/>
                    <a:pt x="55" y="16"/>
                  </a:cubicBezTo>
                  <a:cubicBezTo>
                    <a:pt x="53" y="18"/>
                    <a:pt x="47" y="17"/>
                    <a:pt x="45" y="20"/>
                  </a:cubicBezTo>
                  <a:cubicBezTo>
                    <a:pt x="43" y="22"/>
                    <a:pt x="50" y="24"/>
                    <a:pt x="47" y="25"/>
                  </a:cubicBezTo>
                  <a:cubicBezTo>
                    <a:pt x="45" y="27"/>
                    <a:pt x="44" y="26"/>
                    <a:pt x="41" y="29"/>
                  </a:cubicBezTo>
                  <a:cubicBezTo>
                    <a:pt x="39" y="32"/>
                    <a:pt x="37" y="33"/>
                    <a:pt x="34" y="34"/>
                  </a:cubicBezTo>
                  <a:cubicBezTo>
                    <a:pt x="32" y="34"/>
                    <a:pt x="26" y="36"/>
                    <a:pt x="24" y="36"/>
                  </a:cubicBezTo>
                  <a:cubicBezTo>
                    <a:pt x="22" y="36"/>
                    <a:pt x="20" y="34"/>
                    <a:pt x="20" y="34"/>
                  </a:cubicBezTo>
                  <a:cubicBezTo>
                    <a:pt x="17" y="38"/>
                    <a:pt x="17" y="38"/>
                    <a:pt x="17" y="38"/>
                  </a:cubicBezTo>
                  <a:cubicBezTo>
                    <a:pt x="13" y="37"/>
                    <a:pt x="13" y="37"/>
                    <a:pt x="13" y="37"/>
                  </a:cubicBezTo>
                  <a:cubicBezTo>
                    <a:pt x="10" y="38"/>
                    <a:pt x="10" y="38"/>
                    <a:pt x="10" y="38"/>
                  </a:cubicBezTo>
                  <a:cubicBezTo>
                    <a:pt x="10" y="38"/>
                    <a:pt x="6" y="48"/>
                    <a:pt x="4" y="49"/>
                  </a:cubicBezTo>
                  <a:cubicBezTo>
                    <a:pt x="1" y="50"/>
                    <a:pt x="0" y="52"/>
                    <a:pt x="2" y="53"/>
                  </a:cubicBezTo>
                  <a:cubicBezTo>
                    <a:pt x="3" y="54"/>
                    <a:pt x="5" y="54"/>
                    <a:pt x="5" y="57"/>
                  </a:cubicBezTo>
                  <a:cubicBezTo>
                    <a:pt x="6" y="59"/>
                    <a:pt x="7" y="62"/>
                    <a:pt x="9" y="65"/>
                  </a:cubicBezTo>
                  <a:cubicBezTo>
                    <a:pt x="11" y="68"/>
                    <a:pt x="10" y="69"/>
                    <a:pt x="13" y="72"/>
                  </a:cubicBezTo>
                  <a:cubicBezTo>
                    <a:pt x="16" y="75"/>
                    <a:pt x="16" y="74"/>
                    <a:pt x="18" y="77"/>
                  </a:cubicBezTo>
                  <a:cubicBezTo>
                    <a:pt x="20" y="81"/>
                    <a:pt x="24" y="84"/>
                    <a:pt x="24" y="84"/>
                  </a:cubicBezTo>
                  <a:cubicBezTo>
                    <a:pt x="24" y="84"/>
                    <a:pt x="27" y="84"/>
                    <a:pt x="28" y="82"/>
                  </a:cubicBezTo>
                  <a:cubicBezTo>
                    <a:pt x="29" y="79"/>
                    <a:pt x="28" y="79"/>
                    <a:pt x="31" y="78"/>
                  </a:cubicBezTo>
                  <a:cubicBezTo>
                    <a:pt x="33" y="77"/>
                    <a:pt x="33" y="79"/>
                    <a:pt x="35" y="79"/>
                  </a:cubicBezTo>
                  <a:cubicBezTo>
                    <a:pt x="37" y="78"/>
                    <a:pt x="41" y="77"/>
                    <a:pt x="41" y="77"/>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57" name="Freeform 293">
              <a:extLst>
                <a:ext uri="{FF2B5EF4-FFF2-40B4-BE49-F238E27FC236}">
                  <a16:creationId xmlns:a16="http://schemas.microsoft.com/office/drawing/2014/main" id="{9AEC2C3C-CF87-0CBE-79EA-CD640E9A142F}"/>
                </a:ext>
              </a:extLst>
            </p:cNvPr>
            <p:cNvSpPr>
              <a:spLocks/>
            </p:cNvSpPr>
            <p:nvPr/>
          </p:nvSpPr>
          <p:spPr bwMode="auto">
            <a:xfrm>
              <a:off x="6390831" y="3817078"/>
              <a:ext cx="407786" cy="296411"/>
            </a:xfrm>
            <a:custGeom>
              <a:avLst/>
              <a:gdLst>
                <a:gd name="T0" fmla="*/ 41 w 116"/>
                <a:gd name="T1" fmla="*/ 77 h 84"/>
                <a:gd name="T2" fmla="*/ 42 w 116"/>
                <a:gd name="T3" fmla="*/ 68 h 84"/>
                <a:gd name="T4" fmla="*/ 46 w 116"/>
                <a:gd name="T5" fmla="*/ 64 h 84"/>
                <a:gd name="T6" fmla="*/ 50 w 116"/>
                <a:gd name="T7" fmla="*/ 59 h 84"/>
                <a:gd name="T8" fmla="*/ 56 w 116"/>
                <a:gd name="T9" fmla="*/ 59 h 84"/>
                <a:gd name="T10" fmla="*/ 62 w 116"/>
                <a:gd name="T11" fmla="*/ 64 h 84"/>
                <a:gd name="T12" fmla="*/ 69 w 116"/>
                <a:gd name="T13" fmla="*/ 65 h 84"/>
                <a:gd name="T14" fmla="*/ 75 w 116"/>
                <a:gd name="T15" fmla="*/ 66 h 84"/>
                <a:gd name="T16" fmla="*/ 80 w 116"/>
                <a:gd name="T17" fmla="*/ 67 h 84"/>
                <a:gd name="T18" fmla="*/ 82 w 116"/>
                <a:gd name="T19" fmla="*/ 62 h 84"/>
                <a:gd name="T20" fmla="*/ 87 w 116"/>
                <a:gd name="T21" fmla="*/ 64 h 84"/>
                <a:gd name="T22" fmla="*/ 92 w 116"/>
                <a:gd name="T23" fmla="*/ 63 h 84"/>
                <a:gd name="T24" fmla="*/ 94 w 116"/>
                <a:gd name="T25" fmla="*/ 60 h 84"/>
                <a:gd name="T26" fmla="*/ 97 w 116"/>
                <a:gd name="T27" fmla="*/ 61 h 84"/>
                <a:gd name="T28" fmla="*/ 101 w 116"/>
                <a:gd name="T29" fmla="*/ 57 h 84"/>
                <a:gd name="T30" fmla="*/ 108 w 116"/>
                <a:gd name="T31" fmla="*/ 57 h 84"/>
                <a:gd name="T32" fmla="*/ 111 w 116"/>
                <a:gd name="T33" fmla="*/ 59 h 84"/>
                <a:gd name="T34" fmla="*/ 116 w 116"/>
                <a:gd name="T35" fmla="*/ 58 h 84"/>
                <a:gd name="T36" fmla="*/ 114 w 116"/>
                <a:gd name="T37" fmla="*/ 55 h 84"/>
                <a:gd name="T38" fmla="*/ 113 w 116"/>
                <a:gd name="T39" fmla="*/ 49 h 84"/>
                <a:gd name="T40" fmla="*/ 107 w 116"/>
                <a:gd name="T41" fmla="*/ 44 h 84"/>
                <a:gd name="T42" fmla="*/ 104 w 116"/>
                <a:gd name="T43" fmla="*/ 38 h 84"/>
                <a:gd name="T44" fmla="*/ 100 w 116"/>
                <a:gd name="T45" fmla="*/ 37 h 84"/>
                <a:gd name="T46" fmla="*/ 96 w 116"/>
                <a:gd name="T47" fmla="*/ 34 h 84"/>
                <a:gd name="T48" fmla="*/ 92 w 116"/>
                <a:gd name="T49" fmla="*/ 32 h 84"/>
                <a:gd name="T50" fmla="*/ 88 w 116"/>
                <a:gd name="T51" fmla="*/ 28 h 84"/>
                <a:gd name="T52" fmla="*/ 84 w 116"/>
                <a:gd name="T53" fmla="*/ 20 h 84"/>
                <a:gd name="T54" fmla="*/ 82 w 116"/>
                <a:gd name="T55" fmla="*/ 15 h 84"/>
                <a:gd name="T56" fmla="*/ 81 w 116"/>
                <a:gd name="T57" fmla="*/ 11 h 84"/>
                <a:gd name="T58" fmla="*/ 81 w 116"/>
                <a:gd name="T59" fmla="*/ 5 h 84"/>
                <a:gd name="T60" fmla="*/ 76 w 116"/>
                <a:gd name="T61" fmla="*/ 0 h 84"/>
                <a:gd name="T62" fmla="*/ 71 w 116"/>
                <a:gd name="T63" fmla="*/ 3 h 84"/>
                <a:gd name="T64" fmla="*/ 69 w 116"/>
                <a:gd name="T65" fmla="*/ 7 h 84"/>
                <a:gd name="T66" fmla="*/ 64 w 116"/>
                <a:gd name="T67" fmla="*/ 9 h 84"/>
                <a:gd name="T68" fmla="*/ 61 w 116"/>
                <a:gd name="T69" fmla="*/ 13 h 84"/>
                <a:gd name="T70" fmla="*/ 55 w 116"/>
                <a:gd name="T71" fmla="*/ 16 h 84"/>
                <a:gd name="T72" fmla="*/ 45 w 116"/>
                <a:gd name="T73" fmla="*/ 20 h 84"/>
                <a:gd name="T74" fmla="*/ 47 w 116"/>
                <a:gd name="T75" fmla="*/ 25 h 84"/>
                <a:gd name="T76" fmla="*/ 41 w 116"/>
                <a:gd name="T77" fmla="*/ 29 h 84"/>
                <a:gd name="T78" fmla="*/ 34 w 116"/>
                <a:gd name="T79" fmla="*/ 34 h 84"/>
                <a:gd name="T80" fmla="*/ 24 w 116"/>
                <a:gd name="T81" fmla="*/ 36 h 84"/>
                <a:gd name="T82" fmla="*/ 20 w 116"/>
                <a:gd name="T83" fmla="*/ 34 h 84"/>
                <a:gd name="T84" fmla="*/ 17 w 116"/>
                <a:gd name="T85" fmla="*/ 38 h 84"/>
                <a:gd name="T86" fmla="*/ 13 w 116"/>
                <a:gd name="T87" fmla="*/ 37 h 84"/>
                <a:gd name="T88" fmla="*/ 10 w 116"/>
                <a:gd name="T89" fmla="*/ 38 h 84"/>
                <a:gd name="T90" fmla="*/ 4 w 116"/>
                <a:gd name="T91" fmla="*/ 49 h 84"/>
                <a:gd name="T92" fmla="*/ 2 w 116"/>
                <a:gd name="T93" fmla="*/ 53 h 84"/>
                <a:gd name="T94" fmla="*/ 5 w 116"/>
                <a:gd name="T95" fmla="*/ 57 h 84"/>
                <a:gd name="T96" fmla="*/ 9 w 116"/>
                <a:gd name="T97" fmla="*/ 65 h 84"/>
                <a:gd name="T98" fmla="*/ 13 w 116"/>
                <a:gd name="T99" fmla="*/ 72 h 84"/>
                <a:gd name="T100" fmla="*/ 18 w 116"/>
                <a:gd name="T101" fmla="*/ 77 h 84"/>
                <a:gd name="T102" fmla="*/ 24 w 116"/>
                <a:gd name="T103" fmla="*/ 84 h 84"/>
                <a:gd name="T104" fmla="*/ 28 w 116"/>
                <a:gd name="T105" fmla="*/ 82 h 84"/>
                <a:gd name="T106" fmla="*/ 31 w 116"/>
                <a:gd name="T107" fmla="*/ 78 h 84"/>
                <a:gd name="T108" fmla="*/ 35 w 116"/>
                <a:gd name="T109" fmla="*/ 79 h 84"/>
                <a:gd name="T110" fmla="*/ 41 w 116"/>
                <a:gd name="T111"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 h="84">
                  <a:moveTo>
                    <a:pt x="41" y="77"/>
                  </a:moveTo>
                  <a:cubicBezTo>
                    <a:pt x="42" y="68"/>
                    <a:pt x="42" y="68"/>
                    <a:pt x="42" y="68"/>
                  </a:cubicBezTo>
                  <a:cubicBezTo>
                    <a:pt x="42" y="68"/>
                    <a:pt x="46" y="66"/>
                    <a:pt x="46" y="64"/>
                  </a:cubicBezTo>
                  <a:cubicBezTo>
                    <a:pt x="46" y="61"/>
                    <a:pt x="48" y="59"/>
                    <a:pt x="50" y="59"/>
                  </a:cubicBezTo>
                  <a:cubicBezTo>
                    <a:pt x="51" y="59"/>
                    <a:pt x="53" y="58"/>
                    <a:pt x="56" y="59"/>
                  </a:cubicBezTo>
                  <a:cubicBezTo>
                    <a:pt x="59" y="61"/>
                    <a:pt x="60" y="63"/>
                    <a:pt x="62" y="64"/>
                  </a:cubicBezTo>
                  <a:cubicBezTo>
                    <a:pt x="63" y="65"/>
                    <a:pt x="67" y="65"/>
                    <a:pt x="69" y="65"/>
                  </a:cubicBezTo>
                  <a:cubicBezTo>
                    <a:pt x="71" y="65"/>
                    <a:pt x="72" y="65"/>
                    <a:pt x="75" y="66"/>
                  </a:cubicBezTo>
                  <a:cubicBezTo>
                    <a:pt x="78" y="67"/>
                    <a:pt x="80" y="67"/>
                    <a:pt x="80" y="67"/>
                  </a:cubicBezTo>
                  <a:cubicBezTo>
                    <a:pt x="80" y="67"/>
                    <a:pt x="79" y="62"/>
                    <a:pt x="82" y="62"/>
                  </a:cubicBezTo>
                  <a:cubicBezTo>
                    <a:pt x="84" y="62"/>
                    <a:pt x="84" y="65"/>
                    <a:pt x="87" y="64"/>
                  </a:cubicBezTo>
                  <a:cubicBezTo>
                    <a:pt x="90" y="63"/>
                    <a:pt x="92" y="63"/>
                    <a:pt x="92" y="63"/>
                  </a:cubicBezTo>
                  <a:cubicBezTo>
                    <a:pt x="92" y="63"/>
                    <a:pt x="91" y="60"/>
                    <a:pt x="94" y="60"/>
                  </a:cubicBezTo>
                  <a:cubicBezTo>
                    <a:pt x="96" y="59"/>
                    <a:pt x="95" y="63"/>
                    <a:pt x="97" y="61"/>
                  </a:cubicBezTo>
                  <a:cubicBezTo>
                    <a:pt x="100" y="58"/>
                    <a:pt x="99" y="57"/>
                    <a:pt x="101" y="57"/>
                  </a:cubicBezTo>
                  <a:cubicBezTo>
                    <a:pt x="108" y="57"/>
                    <a:pt x="108" y="57"/>
                    <a:pt x="108" y="57"/>
                  </a:cubicBezTo>
                  <a:cubicBezTo>
                    <a:pt x="111" y="57"/>
                    <a:pt x="110" y="59"/>
                    <a:pt x="111" y="59"/>
                  </a:cubicBezTo>
                  <a:cubicBezTo>
                    <a:pt x="113" y="59"/>
                    <a:pt x="116" y="58"/>
                    <a:pt x="116" y="58"/>
                  </a:cubicBezTo>
                  <a:cubicBezTo>
                    <a:pt x="116" y="58"/>
                    <a:pt x="116" y="55"/>
                    <a:pt x="114" y="55"/>
                  </a:cubicBezTo>
                  <a:cubicBezTo>
                    <a:pt x="113" y="54"/>
                    <a:pt x="114" y="52"/>
                    <a:pt x="113" y="49"/>
                  </a:cubicBezTo>
                  <a:cubicBezTo>
                    <a:pt x="112" y="46"/>
                    <a:pt x="111" y="45"/>
                    <a:pt x="107" y="44"/>
                  </a:cubicBezTo>
                  <a:cubicBezTo>
                    <a:pt x="104" y="43"/>
                    <a:pt x="105" y="40"/>
                    <a:pt x="104" y="38"/>
                  </a:cubicBezTo>
                  <a:cubicBezTo>
                    <a:pt x="103" y="36"/>
                    <a:pt x="102" y="37"/>
                    <a:pt x="100" y="37"/>
                  </a:cubicBezTo>
                  <a:cubicBezTo>
                    <a:pt x="98" y="37"/>
                    <a:pt x="97" y="35"/>
                    <a:pt x="96" y="34"/>
                  </a:cubicBezTo>
                  <a:cubicBezTo>
                    <a:pt x="95" y="32"/>
                    <a:pt x="94" y="32"/>
                    <a:pt x="92" y="32"/>
                  </a:cubicBezTo>
                  <a:cubicBezTo>
                    <a:pt x="90" y="32"/>
                    <a:pt x="90" y="29"/>
                    <a:pt x="88" y="28"/>
                  </a:cubicBezTo>
                  <a:cubicBezTo>
                    <a:pt x="87" y="28"/>
                    <a:pt x="83" y="23"/>
                    <a:pt x="84" y="20"/>
                  </a:cubicBezTo>
                  <a:cubicBezTo>
                    <a:pt x="85" y="17"/>
                    <a:pt x="85" y="17"/>
                    <a:pt x="82" y="15"/>
                  </a:cubicBezTo>
                  <a:cubicBezTo>
                    <a:pt x="79" y="13"/>
                    <a:pt x="80" y="13"/>
                    <a:pt x="81" y="11"/>
                  </a:cubicBezTo>
                  <a:cubicBezTo>
                    <a:pt x="82" y="9"/>
                    <a:pt x="81" y="5"/>
                    <a:pt x="81" y="5"/>
                  </a:cubicBezTo>
                  <a:cubicBezTo>
                    <a:pt x="76" y="0"/>
                    <a:pt x="76" y="0"/>
                    <a:pt x="76" y="0"/>
                  </a:cubicBezTo>
                  <a:cubicBezTo>
                    <a:pt x="76" y="0"/>
                    <a:pt x="72" y="0"/>
                    <a:pt x="71" y="3"/>
                  </a:cubicBezTo>
                  <a:cubicBezTo>
                    <a:pt x="70" y="6"/>
                    <a:pt x="71" y="6"/>
                    <a:pt x="69" y="7"/>
                  </a:cubicBezTo>
                  <a:cubicBezTo>
                    <a:pt x="67" y="7"/>
                    <a:pt x="65" y="8"/>
                    <a:pt x="64" y="9"/>
                  </a:cubicBezTo>
                  <a:cubicBezTo>
                    <a:pt x="62" y="10"/>
                    <a:pt x="63" y="13"/>
                    <a:pt x="61" y="13"/>
                  </a:cubicBezTo>
                  <a:cubicBezTo>
                    <a:pt x="58" y="14"/>
                    <a:pt x="58" y="14"/>
                    <a:pt x="55" y="16"/>
                  </a:cubicBezTo>
                  <a:cubicBezTo>
                    <a:pt x="53" y="18"/>
                    <a:pt x="47" y="17"/>
                    <a:pt x="45" y="20"/>
                  </a:cubicBezTo>
                  <a:cubicBezTo>
                    <a:pt x="43" y="22"/>
                    <a:pt x="50" y="24"/>
                    <a:pt x="47" y="25"/>
                  </a:cubicBezTo>
                  <a:cubicBezTo>
                    <a:pt x="45" y="27"/>
                    <a:pt x="44" y="26"/>
                    <a:pt x="41" y="29"/>
                  </a:cubicBezTo>
                  <a:cubicBezTo>
                    <a:pt x="39" y="32"/>
                    <a:pt x="37" y="33"/>
                    <a:pt x="34" y="34"/>
                  </a:cubicBezTo>
                  <a:cubicBezTo>
                    <a:pt x="32" y="34"/>
                    <a:pt x="26" y="36"/>
                    <a:pt x="24" y="36"/>
                  </a:cubicBezTo>
                  <a:cubicBezTo>
                    <a:pt x="22" y="36"/>
                    <a:pt x="20" y="34"/>
                    <a:pt x="20" y="34"/>
                  </a:cubicBezTo>
                  <a:cubicBezTo>
                    <a:pt x="17" y="38"/>
                    <a:pt x="17" y="38"/>
                    <a:pt x="17" y="38"/>
                  </a:cubicBezTo>
                  <a:cubicBezTo>
                    <a:pt x="13" y="37"/>
                    <a:pt x="13" y="37"/>
                    <a:pt x="13" y="37"/>
                  </a:cubicBezTo>
                  <a:cubicBezTo>
                    <a:pt x="10" y="38"/>
                    <a:pt x="10" y="38"/>
                    <a:pt x="10" y="38"/>
                  </a:cubicBezTo>
                  <a:cubicBezTo>
                    <a:pt x="10" y="38"/>
                    <a:pt x="6" y="48"/>
                    <a:pt x="4" y="49"/>
                  </a:cubicBezTo>
                  <a:cubicBezTo>
                    <a:pt x="1" y="50"/>
                    <a:pt x="0" y="52"/>
                    <a:pt x="2" y="53"/>
                  </a:cubicBezTo>
                  <a:cubicBezTo>
                    <a:pt x="3" y="54"/>
                    <a:pt x="5" y="54"/>
                    <a:pt x="5" y="57"/>
                  </a:cubicBezTo>
                  <a:cubicBezTo>
                    <a:pt x="6" y="59"/>
                    <a:pt x="7" y="62"/>
                    <a:pt x="9" y="65"/>
                  </a:cubicBezTo>
                  <a:cubicBezTo>
                    <a:pt x="11" y="68"/>
                    <a:pt x="10" y="69"/>
                    <a:pt x="13" y="72"/>
                  </a:cubicBezTo>
                  <a:cubicBezTo>
                    <a:pt x="16" y="75"/>
                    <a:pt x="16" y="74"/>
                    <a:pt x="18" y="77"/>
                  </a:cubicBezTo>
                  <a:cubicBezTo>
                    <a:pt x="20" y="81"/>
                    <a:pt x="24" y="84"/>
                    <a:pt x="24" y="84"/>
                  </a:cubicBezTo>
                  <a:cubicBezTo>
                    <a:pt x="24" y="84"/>
                    <a:pt x="27" y="84"/>
                    <a:pt x="28" y="82"/>
                  </a:cubicBezTo>
                  <a:cubicBezTo>
                    <a:pt x="29" y="79"/>
                    <a:pt x="28" y="79"/>
                    <a:pt x="31" y="78"/>
                  </a:cubicBezTo>
                  <a:cubicBezTo>
                    <a:pt x="33" y="77"/>
                    <a:pt x="33" y="79"/>
                    <a:pt x="35" y="79"/>
                  </a:cubicBezTo>
                  <a:cubicBezTo>
                    <a:pt x="37" y="78"/>
                    <a:pt x="41" y="77"/>
                    <a:pt x="41" y="77"/>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58" name="Freeform 294">
              <a:extLst>
                <a:ext uri="{FF2B5EF4-FFF2-40B4-BE49-F238E27FC236}">
                  <a16:creationId xmlns:a16="http://schemas.microsoft.com/office/drawing/2014/main" id="{ABF3BC9C-7A56-73CF-1777-6F716ED5FA50}"/>
                </a:ext>
              </a:extLst>
            </p:cNvPr>
            <p:cNvSpPr>
              <a:spLocks noEditPoints="1"/>
            </p:cNvSpPr>
            <p:nvPr/>
          </p:nvSpPr>
          <p:spPr bwMode="auto">
            <a:xfrm>
              <a:off x="1666276" y="376913"/>
              <a:ext cx="2748506" cy="2191645"/>
            </a:xfrm>
            <a:custGeom>
              <a:avLst/>
              <a:gdLst>
                <a:gd name="T0" fmla="*/ 256 w 780"/>
                <a:gd name="T1" fmla="*/ 253 h 622"/>
                <a:gd name="T2" fmla="*/ 316 w 780"/>
                <a:gd name="T3" fmla="*/ 199 h 622"/>
                <a:gd name="T4" fmla="*/ 534 w 780"/>
                <a:gd name="T5" fmla="*/ 193 h 622"/>
                <a:gd name="T6" fmla="*/ 457 w 780"/>
                <a:gd name="T7" fmla="*/ 181 h 622"/>
                <a:gd name="T8" fmla="*/ 548 w 780"/>
                <a:gd name="T9" fmla="*/ 219 h 622"/>
                <a:gd name="T10" fmla="*/ 582 w 780"/>
                <a:gd name="T11" fmla="*/ 313 h 622"/>
                <a:gd name="T12" fmla="*/ 622 w 780"/>
                <a:gd name="T13" fmla="*/ 348 h 622"/>
                <a:gd name="T14" fmla="*/ 639 w 780"/>
                <a:gd name="T15" fmla="*/ 286 h 622"/>
                <a:gd name="T16" fmla="*/ 690 w 780"/>
                <a:gd name="T17" fmla="*/ 273 h 622"/>
                <a:gd name="T18" fmla="*/ 644 w 780"/>
                <a:gd name="T19" fmla="*/ 243 h 622"/>
                <a:gd name="T20" fmla="*/ 586 w 780"/>
                <a:gd name="T21" fmla="*/ 191 h 622"/>
                <a:gd name="T22" fmla="*/ 565 w 780"/>
                <a:gd name="T23" fmla="*/ 41 h 622"/>
                <a:gd name="T24" fmla="*/ 400 w 780"/>
                <a:gd name="T25" fmla="*/ 45 h 622"/>
                <a:gd name="T26" fmla="*/ 478 w 780"/>
                <a:gd name="T27" fmla="*/ 82 h 622"/>
                <a:gd name="T28" fmla="*/ 455 w 780"/>
                <a:gd name="T29" fmla="*/ 123 h 622"/>
                <a:gd name="T30" fmla="*/ 576 w 780"/>
                <a:gd name="T31" fmla="*/ 82 h 622"/>
                <a:gd name="T32" fmla="*/ 655 w 780"/>
                <a:gd name="T33" fmla="*/ 33 h 622"/>
                <a:gd name="T34" fmla="*/ 566 w 780"/>
                <a:gd name="T35" fmla="*/ 20 h 622"/>
                <a:gd name="T36" fmla="*/ 96 w 780"/>
                <a:gd name="T37" fmla="*/ 464 h 622"/>
                <a:gd name="T38" fmla="*/ 128 w 780"/>
                <a:gd name="T39" fmla="*/ 514 h 622"/>
                <a:gd name="T40" fmla="*/ 525 w 780"/>
                <a:gd name="T41" fmla="*/ 574 h 622"/>
                <a:gd name="T42" fmla="*/ 643 w 780"/>
                <a:gd name="T43" fmla="*/ 584 h 622"/>
                <a:gd name="T44" fmla="*/ 683 w 780"/>
                <a:gd name="T45" fmla="*/ 580 h 622"/>
                <a:gd name="T46" fmla="*/ 615 w 780"/>
                <a:gd name="T47" fmla="*/ 558 h 622"/>
                <a:gd name="T48" fmla="*/ 731 w 780"/>
                <a:gd name="T49" fmla="*/ 471 h 622"/>
                <a:gd name="T50" fmla="*/ 678 w 780"/>
                <a:gd name="T51" fmla="*/ 399 h 622"/>
                <a:gd name="T52" fmla="*/ 564 w 780"/>
                <a:gd name="T53" fmla="*/ 349 h 622"/>
                <a:gd name="T54" fmla="*/ 524 w 780"/>
                <a:gd name="T55" fmla="*/ 498 h 622"/>
                <a:gd name="T56" fmla="*/ 443 w 780"/>
                <a:gd name="T57" fmla="*/ 341 h 622"/>
                <a:gd name="T58" fmla="*/ 516 w 780"/>
                <a:gd name="T59" fmla="*/ 264 h 622"/>
                <a:gd name="T60" fmla="*/ 425 w 780"/>
                <a:gd name="T61" fmla="*/ 235 h 622"/>
                <a:gd name="T62" fmla="*/ 399 w 780"/>
                <a:gd name="T63" fmla="*/ 201 h 622"/>
                <a:gd name="T64" fmla="*/ 387 w 780"/>
                <a:gd name="T65" fmla="*/ 265 h 622"/>
                <a:gd name="T66" fmla="*/ 286 w 780"/>
                <a:gd name="T67" fmla="*/ 275 h 622"/>
                <a:gd name="T68" fmla="*/ 120 w 780"/>
                <a:gd name="T69" fmla="*/ 217 h 622"/>
                <a:gd name="T70" fmla="*/ 7 w 780"/>
                <a:gd name="T71" fmla="*/ 232 h 622"/>
                <a:gd name="T72" fmla="*/ 611 w 780"/>
                <a:gd name="T73" fmla="*/ 562 h 622"/>
                <a:gd name="T74" fmla="*/ 682 w 780"/>
                <a:gd name="T75" fmla="*/ 572 h 622"/>
                <a:gd name="T76" fmla="*/ 598 w 780"/>
                <a:gd name="T77" fmla="*/ 502 h 622"/>
                <a:gd name="T78" fmla="*/ 778 w 780"/>
                <a:gd name="T79" fmla="*/ 550 h 622"/>
                <a:gd name="T80" fmla="*/ 373 w 780"/>
                <a:gd name="T81" fmla="*/ 505 h 622"/>
                <a:gd name="T82" fmla="*/ 387 w 780"/>
                <a:gd name="T83" fmla="*/ 513 h 622"/>
                <a:gd name="T84" fmla="*/ 341 w 780"/>
                <a:gd name="T85" fmla="*/ 409 h 622"/>
                <a:gd name="T86" fmla="*/ 447 w 780"/>
                <a:gd name="T87" fmla="*/ 88 h 622"/>
                <a:gd name="T88" fmla="*/ 668 w 780"/>
                <a:gd name="T89" fmla="*/ 337 h 622"/>
                <a:gd name="T90" fmla="*/ 623 w 780"/>
                <a:gd name="T91" fmla="*/ 282 h 622"/>
                <a:gd name="T92" fmla="*/ 567 w 780"/>
                <a:gd name="T93" fmla="*/ 239 h 622"/>
                <a:gd name="T94" fmla="*/ 381 w 780"/>
                <a:gd name="T95" fmla="*/ 156 h 622"/>
                <a:gd name="T96" fmla="*/ 429 w 780"/>
                <a:gd name="T97" fmla="*/ 130 h 622"/>
                <a:gd name="T98" fmla="*/ 453 w 780"/>
                <a:gd name="T99" fmla="*/ 134 h 622"/>
                <a:gd name="T100" fmla="*/ 391 w 780"/>
                <a:gd name="T101" fmla="*/ 103 h 622"/>
                <a:gd name="T102" fmla="*/ 391 w 780"/>
                <a:gd name="T103" fmla="*/ 201 h 622"/>
                <a:gd name="T104" fmla="*/ 362 w 780"/>
                <a:gd name="T105" fmla="*/ 120 h 622"/>
                <a:gd name="T106" fmla="*/ 315 w 780"/>
                <a:gd name="T107" fmla="*/ 98 h 622"/>
                <a:gd name="T108" fmla="*/ 315 w 780"/>
                <a:gd name="T109" fmla="*/ 75 h 622"/>
                <a:gd name="T110" fmla="*/ 270 w 780"/>
                <a:gd name="T111" fmla="*/ 341 h 622"/>
                <a:gd name="T112" fmla="*/ 192 w 780"/>
                <a:gd name="T113" fmla="*/ 301 h 622"/>
                <a:gd name="T114" fmla="*/ 377 w 780"/>
                <a:gd name="T115" fmla="*/ 233 h 622"/>
                <a:gd name="T116" fmla="*/ 149 w 780"/>
                <a:gd name="T117" fmla="*/ 200 h 622"/>
                <a:gd name="T118" fmla="*/ 276 w 780"/>
                <a:gd name="T119" fmla="*/ 112 h 622"/>
                <a:gd name="T120" fmla="*/ 242 w 780"/>
                <a:gd name="T121" fmla="*/ 151 h 622"/>
                <a:gd name="T122" fmla="*/ 181 w 780"/>
                <a:gd name="T123" fmla="*/ 133 h 622"/>
                <a:gd name="T124" fmla="*/ 256 w 780"/>
                <a:gd name="T125" fmla="*/ 8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0" h="622">
                  <a:moveTo>
                    <a:pt x="204" y="193"/>
                  </a:moveTo>
                  <a:cubicBezTo>
                    <a:pt x="204" y="194"/>
                    <a:pt x="201" y="194"/>
                    <a:pt x="200" y="194"/>
                  </a:cubicBezTo>
                  <a:cubicBezTo>
                    <a:pt x="199" y="195"/>
                    <a:pt x="200" y="196"/>
                    <a:pt x="199" y="197"/>
                  </a:cubicBezTo>
                  <a:cubicBezTo>
                    <a:pt x="198" y="199"/>
                    <a:pt x="196" y="199"/>
                    <a:pt x="195" y="201"/>
                  </a:cubicBezTo>
                  <a:cubicBezTo>
                    <a:pt x="195" y="202"/>
                    <a:pt x="194" y="202"/>
                    <a:pt x="193" y="202"/>
                  </a:cubicBezTo>
                  <a:cubicBezTo>
                    <a:pt x="195" y="203"/>
                    <a:pt x="192" y="206"/>
                    <a:pt x="199" y="206"/>
                  </a:cubicBezTo>
                  <a:cubicBezTo>
                    <a:pt x="204" y="206"/>
                    <a:pt x="201" y="204"/>
                    <a:pt x="203" y="203"/>
                  </a:cubicBezTo>
                  <a:cubicBezTo>
                    <a:pt x="206" y="202"/>
                    <a:pt x="207" y="205"/>
                    <a:pt x="205" y="205"/>
                  </a:cubicBezTo>
                  <a:cubicBezTo>
                    <a:pt x="205" y="205"/>
                    <a:pt x="205" y="206"/>
                    <a:pt x="205" y="206"/>
                  </a:cubicBezTo>
                  <a:cubicBezTo>
                    <a:pt x="208" y="206"/>
                    <a:pt x="207" y="207"/>
                    <a:pt x="207" y="207"/>
                  </a:cubicBezTo>
                  <a:cubicBezTo>
                    <a:pt x="206" y="207"/>
                    <a:pt x="204" y="207"/>
                    <a:pt x="203" y="207"/>
                  </a:cubicBezTo>
                  <a:cubicBezTo>
                    <a:pt x="203" y="210"/>
                    <a:pt x="203" y="210"/>
                    <a:pt x="203" y="210"/>
                  </a:cubicBezTo>
                  <a:cubicBezTo>
                    <a:pt x="210" y="210"/>
                    <a:pt x="210" y="210"/>
                    <a:pt x="210" y="210"/>
                  </a:cubicBezTo>
                  <a:cubicBezTo>
                    <a:pt x="210" y="209"/>
                    <a:pt x="211" y="207"/>
                    <a:pt x="211" y="206"/>
                  </a:cubicBezTo>
                  <a:cubicBezTo>
                    <a:pt x="212" y="206"/>
                    <a:pt x="217" y="208"/>
                    <a:pt x="219" y="208"/>
                  </a:cubicBezTo>
                  <a:cubicBezTo>
                    <a:pt x="220" y="208"/>
                    <a:pt x="221" y="206"/>
                    <a:pt x="222" y="205"/>
                  </a:cubicBezTo>
                  <a:cubicBezTo>
                    <a:pt x="225" y="204"/>
                    <a:pt x="230" y="205"/>
                    <a:pt x="233" y="205"/>
                  </a:cubicBezTo>
                  <a:cubicBezTo>
                    <a:pt x="233" y="205"/>
                    <a:pt x="233" y="207"/>
                    <a:pt x="233" y="207"/>
                  </a:cubicBezTo>
                  <a:cubicBezTo>
                    <a:pt x="227" y="207"/>
                    <a:pt x="226" y="207"/>
                    <a:pt x="222" y="209"/>
                  </a:cubicBezTo>
                  <a:cubicBezTo>
                    <a:pt x="222" y="209"/>
                    <a:pt x="222" y="211"/>
                    <a:pt x="222" y="211"/>
                  </a:cubicBezTo>
                  <a:cubicBezTo>
                    <a:pt x="221" y="211"/>
                    <a:pt x="219" y="210"/>
                    <a:pt x="219" y="210"/>
                  </a:cubicBezTo>
                  <a:cubicBezTo>
                    <a:pt x="217" y="210"/>
                    <a:pt x="217" y="211"/>
                    <a:pt x="215" y="211"/>
                  </a:cubicBezTo>
                  <a:cubicBezTo>
                    <a:pt x="211" y="212"/>
                    <a:pt x="201" y="213"/>
                    <a:pt x="207" y="217"/>
                  </a:cubicBezTo>
                  <a:cubicBezTo>
                    <a:pt x="208" y="219"/>
                    <a:pt x="210" y="219"/>
                    <a:pt x="213" y="219"/>
                  </a:cubicBezTo>
                  <a:cubicBezTo>
                    <a:pt x="213" y="219"/>
                    <a:pt x="213" y="217"/>
                    <a:pt x="214" y="217"/>
                  </a:cubicBezTo>
                  <a:cubicBezTo>
                    <a:pt x="214" y="217"/>
                    <a:pt x="217" y="220"/>
                    <a:pt x="218" y="220"/>
                  </a:cubicBezTo>
                  <a:cubicBezTo>
                    <a:pt x="219" y="220"/>
                    <a:pt x="221" y="218"/>
                    <a:pt x="223" y="218"/>
                  </a:cubicBezTo>
                  <a:cubicBezTo>
                    <a:pt x="223" y="218"/>
                    <a:pt x="230" y="218"/>
                    <a:pt x="231" y="218"/>
                  </a:cubicBezTo>
                  <a:cubicBezTo>
                    <a:pt x="231" y="218"/>
                    <a:pt x="232" y="219"/>
                    <a:pt x="234" y="219"/>
                  </a:cubicBezTo>
                  <a:cubicBezTo>
                    <a:pt x="235" y="219"/>
                    <a:pt x="239" y="217"/>
                    <a:pt x="241" y="217"/>
                  </a:cubicBezTo>
                  <a:cubicBezTo>
                    <a:pt x="242" y="218"/>
                    <a:pt x="242" y="220"/>
                    <a:pt x="244" y="219"/>
                  </a:cubicBezTo>
                  <a:cubicBezTo>
                    <a:pt x="244" y="219"/>
                    <a:pt x="248" y="218"/>
                    <a:pt x="248" y="218"/>
                  </a:cubicBezTo>
                  <a:cubicBezTo>
                    <a:pt x="248" y="216"/>
                    <a:pt x="248" y="216"/>
                    <a:pt x="248" y="216"/>
                  </a:cubicBezTo>
                  <a:cubicBezTo>
                    <a:pt x="250" y="216"/>
                    <a:pt x="252" y="217"/>
                    <a:pt x="253" y="218"/>
                  </a:cubicBezTo>
                  <a:cubicBezTo>
                    <a:pt x="253" y="218"/>
                    <a:pt x="253" y="220"/>
                    <a:pt x="253" y="220"/>
                  </a:cubicBezTo>
                  <a:cubicBezTo>
                    <a:pt x="254" y="220"/>
                    <a:pt x="255" y="220"/>
                    <a:pt x="256" y="220"/>
                  </a:cubicBezTo>
                  <a:cubicBezTo>
                    <a:pt x="257" y="220"/>
                    <a:pt x="258" y="217"/>
                    <a:pt x="260" y="217"/>
                  </a:cubicBezTo>
                  <a:cubicBezTo>
                    <a:pt x="261" y="217"/>
                    <a:pt x="261" y="218"/>
                    <a:pt x="262" y="218"/>
                  </a:cubicBezTo>
                  <a:cubicBezTo>
                    <a:pt x="262" y="218"/>
                    <a:pt x="262" y="220"/>
                    <a:pt x="262" y="220"/>
                  </a:cubicBezTo>
                  <a:cubicBezTo>
                    <a:pt x="261" y="220"/>
                    <a:pt x="260" y="220"/>
                    <a:pt x="259" y="220"/>
                  </a:cubicBezTo>
                  <a:cubicBezTo>
                    <a:pt x="258" y="225"/>
                    <a:pt x="260" y="222"/>
                    <a:pt x="256" y="224"/>
                  </a:cubicBezTo>
                  <a:cubicBezTo>
                    <a:pt x="256" y="224"/>
                    <a:pt x="255" y="226"/>
                    <a:pt x="255" y="226"/>
                  </a:cubicBezTo>
                  <a:cubicBezTo>
                    <a:pt x="253" y="227"/>
                    <a:pt x="246" y="227"/>
                    <a:pt x="244" y="226"/>
                  </a:cubicBezTo>
                  <a:cubicBezTo>
                    <a:pt x="243" y="226"/>
                    <a:pt x="242" y="224"/>
                    <a:pt x="241" y="224"/>
                  </a:cubicBezTo>
                  <a:cubicBezTo>
                    <a:pt x="240" y="224"/>
                    <a:pt x="232" y="225"/>
                    <a:pt x="231" y="226"/>
                  </a:cubicBezTo>
                  <a:cubicBezTo>
                    <a:pt x="230" y="226"/>
                    <a:pt x="230" y="228"/>
                    <a:pt x="230" y="228"/>
                  </a:cubicBezTo>
                  <a:cubicBezTo>
                    <a:pt x="226" y="229"/>
                    <a:pt x="218" y="228"/>
                    <a:pt x="214" y="228"/>
                  </a:cubicBezTo>
                  <a:cubicBezTo>
                    <a:pt x="216" y="229"/>
                    <a:pt x="213" y="233"/>
                    <a:pt x="213" y="233"/>
                  </a:cubicBezTo>
                  <a:cubicBezTo>
                    <a:pt x="213" y="237"/>
                    <a:pt x="214" y="234"/>
                    <a:pt x="215" y="235"/>
                  </a:cubicBezTo>
                  <a:cubicBezTo>
                    <a:pt x="215" y="236"/>
                    <a:pt x="215" y="237"/>
                    <a:pt x="215" y="237"/>
                  </a:cubicBezTo>
                  <a:cubicBezTo>
                    <a:pt x="216" y="238"/>
                    <a:pt x="218" y="238"/>
                    <a:pt x="219" y="239"/>
                  </a:cubicBezTo>
                  <a:cubicBezTo>
                    <a:pt x="219" y="239"/>
                    <a:pt x="219" y="241"/>
                    <a:pt x="219" y="241"/>
                  </a:cubicBezTo>
                  <a:cubicBezTo>
                    <a:pt x="221" y="242"/>
                    <a:pt x="225" y="244"/>
                    <a:pt x="228" y="245"/>
                  </a:cubicBezTo>
                  <a:cubicBezTo>
                    <a:pt x="229" y="245"/>
                    <a:pt x="231" y="244"/>
                    <a:pt x="231" y="244"/>
                  </a:cubicBezTo>
                  <a:cubicBezTo>
                    <a:pt x="233" y="244"/>
                    <a:pt x="237" y="245"/>
                    <a:pt x="239" y="246"/>
                  </a:cubicBezTo>
                  <a:cubicBezTo>
                    <a:pt x="240" y="247"/>
                    <a:pt x="240" y="252"/>
                    <a:pt x="241" y="254"/>
                  </a:cubicBezTo>
                  <a:cubicBezTo>
                    <a:pt x="242" y="254"/>
                    <a:pt x="243" y="253"/>
                    <a:pt x="245" y="253"/>
                  </a:cubicBezTo>
                  <a:cubicBezTo>
                    <a:pt x="246" y="255"/>
                    <a:pt x="246" y="255"/>
                    <a:pt x="246" y="255"/>
                  </a:cubicBezTo>
                  <a:cubicBezTo>
                    <a:pt x="246" y="255"/>
                    <a:pt x="247" y="255"/>
                    <a:pt x="248" y="255"/>
                  </a:cubicBezTo>
                  <a:cubicBezTo>
                    <a:pt x="248" y="256"/>
                    <a:pt x="248" y="256"/>
                    <a:pt x="248" y="256"/>
                  </a:cubicBezTo>
                  <a:cubicBezTo>
                    <a:pt x="250" y="256"/>
                    <a:pt x="254" y="256"/>
                    <a:pt x="256" y="255"/>
                  </a:cubicBezTo>
                  <a:cubicBezTo>
                    <a:pt x="256" y="255"/>
                    <a:pt x="256" y="253"/>
                    <a:pt x="256" y="253"/>
                  </a:cubicBezTo>
                  <a:cubicBezTo>
                    <a:pt x="257" y="253"/>
                    <a:pt x="258" y="253"/>
                    <a:pt x="258" y="253"/>
                  </a:cubicBezTo>
                  <a:cubicBezTo>
                    <a:pt x="260" y="252"/>
                    <a:pt x="260" y="253"/>
                    <a:pt x="262" y="253"/>
                  </a:cubicBezTo>
                  <a:cubicBezTo>
                    <a:pt x="263" y="253"/>
                    <a:pt x="268" y="254"/>
                    <a:pt x="270" y="253"/>
                  </a:cubicBezTo>
                  <a:cubicBezTo>
                    <a:pt x="270" y="253"/>
                    <a:pt x="270" y="253"/>
                    <a:pt x="270" y="253"/>
                  </a:cubicBezTo>
                  <a:cubicBezTo>
                    <a:pt x="272" y="252"/>
                    <a:pt x="275" y="251"/>
                    <a:pt x="276" y="251"/>
                  </a:cubicBezTo>
                  <a:cubicBezTo>
                    <a:pt x="277" y="250"/>
                    <a:pt x="279" y="251"/>
                    <a:pt x="280" y="251"/>
                  </a:cubicBezTo>
                  <a:cubicBezTo>
                    <a:pt x="280" y="248"/>
                    <a:pt x="280" y="248"/>
                    <a:pt x="280" y="248"/>
                  </a:cubicBezTo>
                  <a:cubicBezTo>
                    <a:pt x="281" y="248"/>
                    <a:pt x="282" y="249"/>
                    <a:pt x="283" y="249"/>
                  </a:cubicBezTo>
                  <a:cubicBezTo>
                    <a:pt x="285" y="248"/>
                    <a:pt x="289" y="245"/>
                    <a:pt x="291" y="245"/>
                  </a:cubicBezTo>
                  <a:cubicBezTo>
                    <a:pt x="294" y="244"/>
                    <a:pt x="295" y="245"/>
                    <a:pt x="298" y="243"/>
                  </a:cubicBezTo>
                  <a:cubicBezTo>
                    <a:pt x="298" y="243"/>
                    <a:pt x="300" y="240"/>
                    <a:pt x="300" y="239"/>
                  </a:cubicBezTo>
                  <a:cubicBezTo>
                    <a:pt x="301" y="239"/>
                    <a:pt x="303" y="239"/>
                    <a:pt x="304" y="239"/>
                  </a:cubicBezTo>
                  <a:cubicBezTo>
                    <a:pt x="305" y="238"/>
                    <a:pt x="307" y="236"/>
                    <a:pt x="308" y="235"/>
                  </a:cubicBezTo>
                  <a:cubicBezTo>
                    <a:pt x="308" y="235"/>
                    <a:pt x="308" y="235"/>
                    <a:pt x="308" y="235"/>
                  </a:cubicBezTo>
                  <a:cubicBezTo>
                    <a:pt x="310" y="234"/>
                    <a:pt x="311" y="235"/>
                    <a:pt x="312" y="235"/>
                  </a:cubicBezTo>
                  <a:cubicBezTo>
                    <a:pt x="311" y="237"/>
                    <a:pt x="310" y="239"/>
                    <a:pt x="309" y="241"/>
                  </a:cubicBezTo>
                  <a:cubicBezTo>
                    <a:pt x="310" y="241"/>
                    <a:pt x="310" y="243"/>
                    <a:pt x="310" y="243"/>
                  </a:cubicBezTo>
                  <a:cubicBezTo>
                    <a:pt x="313" y="244"/>
                    <a:pt x="315" y="243"/>
                    <a:pt x="318" y="244"/>
                  </a:cubicBezTo>
                  <a:cubicBezTo>
                    <a:pt x="318" y="244"/>
                    <a:pt x="317" y="247"/>
                    <a:pt x="318" y="247"/>
                  </a:cubicBezTo>
                  <a:cubicBezTo>
                    <a:pt x="318" y="247"/>
                    <a:pt x="320" y="248"/>
                    <a:pt x="320" y="247"/>
                  </a:cubicBezTo>
                  <a:cubicBezTo>
                    <a:pt x="321" y="247"/>
                    <a:pt x="321" y="246"/>
                    <a:pt x="322" y="245"/>
                  </a:cubicBezTo>
                  <a:cubicBezTo>
                    <a:pt x="323" y="246"/>
                    <a:pt x="325" y="249"/>
                    <a:pt x="327" y="249"/>
                  </a:cubicBezTo>
                  <a:cubicBezTo>
                    <a:pt x="328" y="249"/>
                    <a:pt x="329" y="247"/>
                    <a:pt x="330" y="247"/>
                  </a:cubicBezTo>
                  <a:cubicBezTo>
                    <a:pt x="331" y="248"/>
                    <a:pt x="331" y="250"/>
                    <a:pt x="334" y="250"/>
                  </a:cubicBezTo>
                  <a:cubicBezTo>
                    <a:pt x="335" y="250"/>
                    <a:pt x="335" y="248"/>
                    <a:pt x="335" y="247"/>
                  </a:cubicBezTo>
                  <a:cubicBezTo>
                    <a:pt x="337" y="248"/>
                    <a:pt x="339" y="248"/>
                    <a:pt x="341" y="248"/>
                  </a:cubicBezTo>
                  <a:cubicBezTo>
                    <a:pt x="342" y="246"/>
                    <a:pt x="342" y="246"/>
                    <a:pt x="342" y="246"/>
                  </a:cubicBezTo>
                  <a:cubicBezTo>
                    <a:pt x="344" y="245"/>
                    <a:pt x="344" y="246"/>
                    <a:pt x="346" y="245"/>
                  </a:cubicBezTo>
                  <a:cubicBezTo>
                    <a:pt x="347" y="244"/>
                    <a:pt x="346" y="243"/>
                    <a:pt x="347" y="242"/>
                  </a:cubicBezTo>
                  <a:cubicBezTo>
                    <a:pt x="346" y="242"/>
                    <a:pt x="345" y="242"/>
                    <a:pt x="345" y="242"/>
                  </a:cubicBezTo>
                  <a:cubicBezTo>
                    <a:pt x="345" y="241"/>
                    <a:pt x="345" y="240"/>
                    <a:pt x="345" y="239"/>
                  </a:cubicBezTo>
                  <a:cubicBezTo>
                    <a:pt x="343" y="240"/>
                    <a:pt x="342" y="239"/>
                    <a:pt x="340" y="239"/>
                  </a:cubicBezTo>
                  <a:cubicBezTo>
                    <a:pt x="338" y="240"/>
                    <a:pt x="341" y="243"/>
                    <a:pt x="336" y="241"/>
                  </a:cubicBezTo>
                  <a:cubicBezTo>
                    <a:pt x="334" y="241"/>
                    <a:pt x="335" y="239"/>
                    <a:pt x="334" y="238"/>
                  </a:cubicBezTo>
                  <a:cubicBezTo>
                    <a:pt x="333" y="238"/>
                    <a:pt x="331" y="237"/>
                    <a:pt x="331" y="237"/>
                  </a:cubicBezTo>
                  <a:cubicBezTo>
                    <a:pt x="332" y="234"/>
                    <a:pt x="332" y="234"/>
                    <a:pt x="332" y="234"/>
                  </a:cubicBezTo>
                  <a:cubicBezTo>
                    <a:pt x="333" y="235"/>
                    <a:pt x="334" y="234"/>
                    <a:pt x="336" y="235"/>
                  </a:cubicBezTo>
                  <a:cubicBezTo>
                    <a:pt x="336" y="235"/>
                    <a:pt x="337" y="237"/>
                    <a:pt x="338" y="237"/>
                  </a:cubicBezTo>
                  <a:cubicBezTo>
                    <a:pt x="340" y="238"/>
                    <a:pt x="343" y="238"/>
                    <a:pt x="346" y="238"/>
                  </a:cubicBezTo>
                  <a:cubicBezTo>
                    <a:pt x="346" y="238"/>
                    <a:pt x="346" y="236"/>
                    <a:pt x="346" y="236"/>
                  </a:cubicBezTo>
                  <a:cubicBezTo>
                    <a:pt x="344" y="236"/>
                    <a:pt x="344" y="236"/>
                    <a:pt x="343" y="235"/>
                  </a:cubicBezTo>
                  <a:cubicBezTo>
                    <a:pt x="340" y="234"/>
                    <a:pt x="344" y="234"/>
                    <a:pt x="345" y="233"/>
                  </a:cubicBezTo>
                  <a:cubicBezTo>
                    <a:pt x="344" y="233"/>
                    <a:pt x="346" y="232"/>
                    <a:pt x="346" y="232"/>
                  </a:cubicBezTo>
                  <a:cubicBezTo>
                    <a:pt x="348" y="233"/>
                    <a:pt x="349" y="234"/>
                    <a:pt x="352" y="235"/>
                  </a:cubicBezTo>
                  <a:cubicBezTo>
                    <a:pt x="352" y="236"/>
                    <a:pt x="351" y="238"/>
                    <a:pt x="352" y="238"/>
                  </a:cubicBezTo>
                  <a:cubicBezTo>
                    <a:pt x="352" y="239"/>
                    <a:pt x="354" y="238"/>
                    <a:pt x="355" y="239"/>
                  </a:cubicBezTo>
                  <a:cubicBezTo>
                    <a:pt x="356" y="238"/>
                    <a:pt x="355" y="237"/>
                    <a:pt x="356" y="237"/>
                  </a:cubicBezTo>
                  <a:cubicBezTo>
                    <a:pt x="356" y="237"/>
                    <a:pt x="356" y="236"/>
                    <a:pt x="356" y="235"/>
                  </a:cubicBezTo>
                  <a:cubicBezTo>
                    <a:pt x="356" y="235"/>
                    <a:pt x="354" y="234"/>
                    <a:pt x="354" y="234"/>
                  </a:cubicBezTo>
                  <a:cubicBezTo>
                    <a:pt x="355" y="231"/>
                    <a:pt x="355" y="231"/>
                    <a:pt x="355" y="227"/>
                  </a:cubicBezTo>
                  <a:cubicBezTo>
                    <a:pt x="354" y="227"/>
                    <a:pt x="353" y="226"/>
                    <a:pt x="353" y="226"/>
                  </a:cubicBezTo>
                  <a:cubicBezTo>
                    <a:pt x="351" y="226"/>
                    <a:pt x="350" y="227"/>
                    <a:pt x="349" y="227"/>
                  </a:cubicBezTo>
                  <a:cubicBezTo>
                    <a:pt x="341" y="228"/>
                    <a:pt x="337" y="223"/>
                    <a:pt x="335" y="217"/>
                  </a:cubicBezTo>
                  <a:cubicBezTo>
                    <a:pt x="334" y="217"/>
                    <a:pt x="334" y="217"/>
                    <a:pt x="334" y="217"/>
                  </a:cubicBezTo>
                  <a:cubicBezTo>
                    <a:pt x="333" y="219"/>
                    <a:pt x="334" y="221"/>
                    <a:pt x="334" y="223"/>
                  </a:cubicBezTo>
                  <a:cubicBezTo>
                    <a:pt x="333" y="223"/>
                    <a:pt x="332" y="221"/>
                    <a:pt x="332" y="221"/>
                  </a:cubicBezTo>
                  <a:cubicBezTo>
                    <a:pt x="330" y="221"/>
                    <a:pt x="328" y="221"/>
                    <a:pt x="327" y="221"/>
                  </a:cubicBezTo>
                  <a:cubicBezTo>
                    <a:pt x="327" y="220"/>
                    <a:pt x="326" y="218"/>
                    <a:pt x="326" y="218"/>
                  </a:cubicBezTo>
                  <a:cubicBezTo>
                    <a:pt x="325" y="216"/>
                    <a:pt x="323" y="215"/>
                    <a:pt x="322" y="213"/>
                  </a:cubicBezTo>
                  <a:cubicBezTo>
                    <a:pt x="321" y="211"/>
                    <a:pt x="321" y="208"/>
                    <a:pt x="320" y="206"/>
                  </a:cubicBezTo>
                  <a:cubicBezTo>
                    <a:pt x="320" y="205"/>
                    <a:pt x="317" y="205"/>
                    <a:pt x="316" y="204"/>
                  </a:cubicBezTo>
                  <a:cubicBezTo>
                    <a:pt x="315" y="202"/>
                    <a:pt x="317" y="200"/>
                    <a:pt x="316" y="199"/>
                  </a:cubicBezTo>
                  <a:cubicBezTo>
                    <a:pt x="316" y="198"/>
                    <a:pt x="314" y="196"/>
                    <a:pt x="314" y="195"/>
                  </a:cubicBezTo>
                  <a:cubicBezTo>
                    <a:pt x="313" y="195"/>
                    <a:pt x="314" y="194"/>
                    <a:pt x="313" y="193"/>
                  </a:cubicBezTo>
                  <a:cubicBezTo>
                    <a:pt x="312" y="193"/>
                    <a:pt x="309" y="194"/>
                    <a:pt x="308" y="193"/>
                  </a:cubicBezTo>
                  <a:cubicBezTo>
                    <a:pt x="307" y="193"/>
                    <a:pt x="304" y="192"/>
                    <a:pt x="302" y="192"/>
                  </a:cubicBezTo>
                  <a:cubicBezTo>
                    <a:pt x="302" y="193"/>
                    <a:pt x="302" y="193"/>
                    <a:pt x="302" y="193"/>
                  </a:cubicBezTo>
                  <a:cubicBezTo>
                    <a:pt x="300" y="193"/>
                    <a:pt x="300" y="195"/>
                    <a:pt x="298" y="194"/>
                  </a:cubicBezTo>
                  <a:cubicBezTo>
                    <a:pt x="297" y="191"/>
                    <a:pt x="297" y="191"/>
                    <a:pt x="297" y="191"/>
                  </a:cubicBezTo>
                  <a:cubicBezTo>
                    <a:pt x="296" y="191"/>
                    <a:pt x="296" y="191"/>
                    <a:pt x="296" y="191"/>
                  </a:cubicBezTo>
                  <a:cubicBezTo>
                    <a:pt x="295" y="192"/>
                    <a:pt x="292" y="197"/>
                    <a:pt x="292" y="197"/>
                  </a:cubicBezTo>
                  <a:cubicBezTo>
                    <a:pt x="292" y="198"/>
                    <a:pt x="293" y="199"/>
                    <a:pt x="292" y="200"/>
                  </a:cubicBezTo>
                  <a:cubicBezTo>
                    <a:pt x="292" y="201"/>
                    <a:pt x="288" y="202"/>
                    <a:pt x="287" y="203"/>
                  </a:cubicBezTo>
                  <a:cubicBezTo>
                    <a:pt x="285" y="197"/>
                    <a:pt x="288" y="194"/>
                    <a:pt x="290" y="188"/>
                  </a:cubicBezTo>
                  <a:cubicBezTo>
                    <a:pt x="290" y="188"/>
                    <a:pt x="289" y="188"/>
                    <a:pt x="288" y="188"/>
                  </a:cubicBezTo>
                  <a:cubicBezTo>
                    <a:pt x="284" y="183"/>
                    <a:pt x="284" y="183"/>
                    <a:pt x="284" y="183"/>
                  </a:cubicBezTo>
                  <a:cubicBezTo>
                    <a:pt x="284" y="182"/>
                    <a:pt x="285" y="181"/>
                    <a:pt x="284" y="181"/>
                  </a:cubicBezTo>
                  <a:cubicBezTo>
                    <a:pt x="284" y="180"/>
                    <a:pt x="282" y="180"/>
                    <a:pt x="282" y="181"/>
                  </a:cubicBezTo>
                  <a:cubicBezTo>
                    <a:pt x="281" y="180"/>
                    <a:pt x="280" y="179"/>
                    <a:pt x="279" y="178"/>
                  </a:cubicBezTo>
                  <a:cubicBezTo>
                    <a:pt x="279" y="178"/>
                    <a:pt x="277" y="178"/>
                    <a:pt x="276" y="178"/>
                  </a:cubicBezTo>
                  <a:cubicBezTo>
                    <a:pt x="276" y="179"/>
                    <a:pt x="277" y="181"/>
                    <a:pt x="276" y="181"/>
                  </a:cubicBezTo>
                  <a:cubicBezTo>
                    <a:pt x="276" y="182"/>
                    <a:pt x="273" y="183"/>
                    <a:pt x="272" y="184"/>
                  </a:cubicBezTo>
                  <a:cubicBezTo>
                    <a:pt x="272" y="185"/>
                    <a:pt x="273" y="187"/>
                    <a:pt x="272" y="187"/>
                  </a:cubicBezTo>
                  <a:cubicBezTo>
                    <a:pt x="272" y="187"/>
                    <a:pt x="270" y="187"/>
                    <a:pt x="270" y="187"/>
                  </a:cubicBezTo>
                  <a:cubicBezTo>
                    <a:pt x="269" y="186"/>
                    <a:pt x="269" y="187"/>
                    <a:pt x="268" y="187"/>
                  </a:cubicBezTo>
                  <a:cubicBezTo>
                    <a:pt x="267" y="186"/>
                    <a:pt x="268" y="184"/>
                    <a:pt x="268" y="183"/>
                  </a:cubicBezTo>
                  <a:cubicBezTo>
                    <a:pt x="267" y="182"/>
                    <a:pt x="263" y="180"/>
                    <a:pt x="261" y="179"/>
                  </a:cubicBezTo>
                  <a:cubicBezTo>
                    <a:pt x="259" y="178"/>
                    <a:pt x="258" y="178"/>
                    <a:pt x="255" y="177"/>
                  </a:cubicBezTo>
                  <a:cubicBezTo>
                    <a:pt x="255" y="179"/>
                    <a:pt x="254" y="183"/>
                    <a:pt x="254" y="185"/>
                  </a:cubicBezTo>
                  <a:cubicBezTo>
                    <a:pt x="254" y="187"/>
                    <a:pt x="255" y="187"/>
                    <a:pt x="255" y="188"/>
                  </a:cubicBezTo>
                  <a:cubicBezTo>
                    <a:pt x="255" y="190"/>
                    <a:pt x="255" y="191"/>
                    <a:pt x="255" y="193"/>
                  </a:cubicBezTo>
                  <a:cubicBezTo>
                    <a:pt x="255" y="194"/>
                    <a:pt x="252" y="195"/>
                    <a:pt x="252" y="195"/>
                  </a:cubicBezTo>
                  <a:cubicBezTo>
                    <a:pt x="252" y="194"/>
                    <a:pt x="252" y="193"/>
                    <a:pt x="251" y="193"/>
                  </a:cubicBezTo>
                  <a:cubicBezTo>
                    <a:pt x="250" y="192"/>
                    <a:pt x="249" y="193"/>
                    <a:pt x="248" y="192"/>
                  </a:cubicBezTo>
                  <a:cubicBezTo>
                    <a:pt x="247" y="192"/>
                    <a:pt x="241" y="187"/>
                    <a:pt x="241" y="187"/>
                  </a:cubicBezTo>
                  <a:cubicBezTo>
                    <a:pt x="240" y="184"/>
                    <a:pt x="242" y="183"/>
                    <a:pt x="242" y="181"/>
                  </a:cubicBezTo>
                  <a:cubicBezTo>
                    <a:pt x="242" y="177"/>
                    <a:pt x="241" y="174"/>
                    <a:pt x="241" y="171"/>
                  </a:cubicBezTo>
                  <a:cubicBezTo>
                    <a:pt x="238" y="171"/>
                    <a:pt x="237" y="171"/>
                    <a:pt x="235" y="171"/>
                  </a:cubicBezTo>
                  <a:cubicBezTo>
                    <a:pt x="232" y="175"/>
                    <a:pt x="229" y="176"/>
                    <a:pt x="225" y="178"/>
                  </a:cubicBezTo>
                  <a:cubicBezTo>
                    <a:pt x="225" y="179"/>
                    <a:pt x="225" y="179"/>
                    <a:pt x="225" y="179"/>
                  </a:cubicBezTo>
                  <a:cubicBezTo>
                    <a:pt x="221" y="180"/>
                    <a:pt x="218" y="179"/>
                    <a:pt x="216" y="179"/>
                  </a:cubicBezTo>
                  <a:cubicBezTo>
                    <a:pt x="214" y="180"/>
                    <a:pt x="212" y="182"/>
                    <a:pt x="211" y="183"/>
                  </a:cubicBezTo>
                  <a:cubicBezTo>
                    <a:pt x="209" y="183"/>
                    <a:pt x="208" y="183"/>
                    <a:pt x="207" y="183"/>
                  </a:cubicBezTo>
                  <a:cubicBezTo>
                    <a:pt x="203" y="186"/>
                    <a:pt x="204" y="190"/>
                    <a:pt x="204" y="193"/>
                  </a:cubicBezTo>
                  <a:close/>
                  <a:moveTo>
                    <a:pt x="566" y="186"/>
                  </a:moveTo>
                  <a:cubicBezTo>
                    <a:pt x="563" y="185"/>
                    <a:pt x="561" y="186"/>
                    <a:pt x="559" y="185"/>
                  </a:cubicBezTo>
                  <a:cubicBezTo>
                    <a:pt x="558" y="185"/>
                    <a:pt x="558" y="183"/>
                    <a:pt x="558" y="183"/>
                  </a:cubicBezTo>
                  <a:cubicBezTo>
                    <a:pt x="556" y="182"/>
                    <a:pt x="552" y="182"/>
                    <a:pt x="549" y="182"/>
                  </a:cubicBezTo>
                  <a:cubicBezTo>
                    <a:pt x="543" y="183"/>
                    <a:pt x="544" y="187"/>
                    <a:pt x="548" y="189"/>
                  </a:cubicBezTo>
                  <a:cubicBezTo>
                    <a:pt x="548" y="189"/>
                    <a:pt x="559" y="193"/>
                    <a:pt x="555" y="193"/>
                  </a:cubicBezTo>
                  <a:cubicBezTo>
                    <a:pt x="554" y="194"/>
                    <a:pt x="555" y="193"/>
                    <a:pt x="554" y="193"/>
                  </a:cubicBezTo>
                  <a:cubicBezTo>
                    <a:pt x="554" y="193"/>
                    <a:pt x="551" y="193"/>
                    <a:pt x="551" y="193"/>
                  </a:cubicBezTo>
                  <a:cubicBezTo>
                    <a:pt x="548" y="192"/>
                    <a:pt x="548" y="191"/>
                    <a:pt x="546" y="190"/>
                  </a:cubicBezTo>
                  <a:cubicBezTo>
                    <a:pt x="545" y="190"/>
                    <a:pt x="544" y="190"/>
                    <a:pt x="544" y="190"/>
                  </a:cubicBezTo>
                  <a:cubicBezTo>
                    <a:pt x="543" y="193"/>
                    <a:pt x="543" y="193"/>
                    <a:pt x="543" y="193"/>
                  </a:cubicBezTo>
                  <a:cubicBezTo>
                    <a:pt x="545" y="193"/>
                    <a:pt x="544" y="194"/>
                    <a:pt x="544" y="195"/>
                  </a:cubicBezTo>
                  <a:cubicBezTo>
                    <a:pt x="544" y="195"/>
                    <a:pt x="543" y="195"/>
                    <a:pt x="542" y="195"/>
                  </a:cubicBezTo>
                  <a:cubicBezTo>
                    <a:pt x="542" y="195"/>
                    <a:pt x="541" y="197"/>
                    <a:pt x="541" y="197"/>
                  </a:cubicBezTo>
                  <a:cubicBezTo>
                    <a:pt x="540" y="196"/>
                    <a:pt x="540" y="199"/>
                    <a:pt x="540" y="199"/>
                  </a:cubicBezTo>
                  <a:cubicBezTo>
                    <a:pt x="542" y="200"/>
                    <a:pt x="542" y="199"/>
                    <a:pt x="542" y="201"/>
                  </a:cubicBezTo>
                  <a:cubicBezTo>
                    <a:pt x="542" y="201"/>
                    <a:pt x="540" y="201"/>
                    <a:pt x="540" y="201"/>
                  </a:cubicBezTo>
                  <a:cubicBezTo>
                    <a:pt x="540" y="201"/>
                    <a:pt x="538" y="200"/>
                    <a:pt x="540" y="200"/>
                  </a:cubicBezTo>
                  <a:cubicBezTo>
                    <a:pt x="538" y="200"/>
                    <a:pt x="540" y="197"/>
                    <a:pt x="540" y="197"/>
                  </a:cubicBezTo>
                  <a:cubicBezTo>
                    <a:pt x="541" y="188"/>
                    <a:pt x="539" y="191"/>
                    <a:pt x="534" y="193"/>
                  </a:cubicBezTo>
                  <a:cubicBezTo>
                    <a:pt x="533" y="191"/>
                    <a:pt x="533" y="191"/>
                    <a:pt x="533" y="191"/>
                  </a:cubicBezTo>
                  <a:cubicBezTo>
                    <a:pt x="535" y="193"/>
                    <a:pt x="534" y="189"/>
                    <a:pt x="531" y="189"/>
                  </a:cubicBezTo>
                  <a:cubicBezTo>
                    <a:pt x="530" y="191"/>
                    <a:pt x="530" y="191"/>
                    <a:pt x="530" y="191"/>
                  </a:cubicBezTo>
                  <a:cubicBezTo>
                    <a:pt x="527" y="192"/>
                    <a:pt x="527" y="193"/>
                    <a:pt x="524" y="195"/>
                  </a:cubicBezTo>
                  <a:cubicBezTo>
                    <a:pt x="525" y="196"/>
                    <a:pt x="526" y="197"/>
                    <a:pt x="527" y="197"/>
                  </a:cubicBezTo>
                  <a:cubicBezTo>
                    <a:pt x="527" y="198"/>
                    <a:pt x="526" y="199"/>
                    <a:pt x="526" y="200"/>
                  </a:cubicBezTo>
                  <a:cubicBezTo>
                    <a:pt x="522" y="200"/>
                    <a:pt x="522" y="200"/>
                    <a:pt x="519" y="199"/>
                  </a:cubicBezTo>
                  <a:cubicBezTo>
                    <a:pt x="519" y="198"/>
                    <a:pt x="519" y="198"/>
                    <a:pt x="519" y="198"/>
                  </a:cubicBezTo>
                  <a:cubicBezTo>
                    <a:pt x="520" y="198"/>
                    <a:pt x="521" y="198"/>
                    <a:pt x="522" y="198"/>
                  </a:cubicBezTo>
                  <a:cubicBezTo>
                    <a:pt x="523" y="196"/>
                    <a:pt x="521" y="195"/>
                    <a:pt x="523" y="193"/>
                  </a:cubicBezTo>
                  <a:cubicBezTo>
                    <a:pt x="525" y="192"/>
                    <a:pt x="523" y="192"/>
                    <a:pt x="522" y="191"/>
                  </a:cubicBezTo>
                  <a:cubicBezTo>
                    <a:pt x="522" y="190"/>
                    <a:pt x="522" y="190"/>
                    <a:pt x="522" y="190"/>
                  </a:cubicBezTo>
                  <a:cubicBezTo>
                    <a:pt x="522" y="190"/>
                    <a:pt x="523" y="188"/>
                    <a:pt x="522" y="187"/>
                  </a:cubicBezTo>
                  <a:cubicBezTo>
                    <a:pt x="522" y="187"/>
                    <a:pt x="522" y="187"/>
                    <a:pt x="522" y="187"/>
                  </a:cubicBezTo>
                  <a:cubicBezTo>
                    <a:pt x="521" y="186"/>
                    <a:pt x="521" y="184"/>
                    <a:pt x="520" y="183"/>
                  </a:cubicBezTo>
                  <a:cubicBezTo>
                    <a:pt x="518" y="183"/>
                    <a:pt x="518" y="183"/>
                    <a:pt x="518" y="183"/>
                  </a:cubicBezTo>
                  <a:cubicBezTo>
                    <a:pt x="517" y="178"/>
                    <a:pt x="521" y="178"/>
                    <a:pt x="521" y="177"/>
                  </a:cubicBezTo>
                  <a:cubicBezTo>
                    <a:pt x="521" y="177"/>
                    <a:pt x="521" y="176"/>
                    <a:pt x="521" y="175"/>
                  </a:cubicBezTo>
                  <a:cubicBezTo>
                    <a:pt x="521" y="176"/>
                    <a:pt x="520" y="175"/>
                    <a:pt x="520" y="175"/>
                  </a:cubicBezTo>
                  <a:cubicBezTo>
                    <a:pt x="521" y="170"/>
                    <a:pt x="525" y="169"/>
                    <a:pt x="518" y="167"/>
                  </a:cubicBezTo>
                  <a:cubicBezTo>
                    <a:pt x="517" y="166"/>
                    <a:pt x="513" y="165"/>
                    <a:pt x="510" y="166"/>
                  </a:cubicBezTo>
                  <a:cubicBezTo>
                    <a:pt x="510" y="166"/>
                    <a:pt x="510" y="166"/>
                    <a:pt x="510" y="166"/>
                  </a:cubicBezTo>
                  <a:cubicBezTo>
                    <a:pt x="510" y="166"/>
                    <a:pt x="508" y="168"/>
                    <a:pt x="508" y="168"/>
                  </a:cubicBezTo>
                  <a:cubicBezTo>
                    <a:pt x="507" y="168"/>
                    <a:pt x="505" y="168"/>
                    <a:pt x="504" y="168"/>
                  </a:cubicBezTo>
                  <a:cubicBezTo>
                    <a:pt x="504" y="169"/>
                    <a:pt x="504" y="170"/>
                    <a:pt x="504" y="171"/>
                  </a:cubicBezTo>
                  <a:cubicBezTo>
                    <a:pt x="498" y="171"/>
                    <a:pt x="498" y="171"/>
                    <a:pt x="498" y="171"/>
                  </a:cubicBezTo>
                  <a:cubicBezTo>
                    <a:pt x="498" y="172"/>
                    <a:pt x="498" y="173"/>
                    <a:pt x="498" y="173"/>
                  </a:cubicBezTo>
                  <a:cubicBezTo>
                    <a:pt x="497" y="174"/>
                    <a:pt x="495" y="173"/>
                    <a:pt x="493" y="174"/>
                  </a:cubicBezTo>
                  <a:cubicBezTo>
                    <a:pt x="492" y="175"/>
                    <a:pt x="494" y="175"/>
                    <a:pt x="494" y="175"/>
                  </a:cubicBezTo>
                  <a:cubicBezTo>
                    <a:pt x="493" y="175"/>
                    <a:pt x="494" y="176"/>
                    <a:pt x="494" y="176"/>
                  </a:cubicBezTo>
                  <a:cubicBezTo>
                    <a:pt x="494" y="177"/>
                    <a:pt x="493" y="177"/>
                    <a:pt x="492" y="179"/>
                  </a:cubicBezTo>
                  <a:cubicBezTo>
                    <a:pt x="492" y="179"/>
                    <a:pt x="495" y="179"/>
                    <a:pt x="494" y="179"/>
                  </a:cubicBezTo>
                  <a:cubicBezTo>
                    <a:pt x="492" y="180"/>
                    <a:pt x="492" y="179"/>
                    <a:pt x="490" y="179"/>
                  </a:cubicBezTo>
                  <a:cubicBezTo>
                    <a:pt x="488" y="179"/>
                    <a:pt x="487" y="181"/>
                    <a:pt x="487" y="181"/>
                  </a:cubicBezTo>
                  <a:cubicBezTo>
                    <a:pt x="487" y="181"/>
                    <a:pt x="487" y="186"/>
                    <a:pt x="487" y="188"/>
                  </a:cubicBezTo>
                  <a:cubicBezTo>
                    <a:pt x="488" y="188"/>
                    <a:pt x="489" y="189"/>
                    <a:pt x="489" y="189"/>
                  </a:cubicBezTo>
                  <a:cubicBezTo>
                    <a:pt x="490" y="190"/>
                    <a:pt x="494" y="188"/>
                    <a:pt x="496" y="189"/>
                  </a:cubicBezTo>
                  <a:cubicBezTo>
                    <a:pt x="496" y="189"/>
                    <a:pt x="495" y="194"/>
                    <a:pt x="496" y="195"/>
                  </a:cubicBezTo>
                  <a:cubicBezTo>
                    <a:pt x="493" y="193"/>
                    <a:pt x="492" y="192"/>
                    <a:pt x="486" y="192"/>
                  </a:cubicBezTo>
                  <a:cubicBezTo>
                    <a:pt x="486" y="194"/>
                    <a:pt x="486" y="195"/>
                    <a:pt x="486" y="196"/>
                  </a:cubicBezTo>
                  <a:cubicBezTo>
                    <a:pt x="491" y="200"/>
                    <a:pt x="495" y="197"/>
                    <a:pt x="490" y="203"/>
                  </a:cubicBezTo>
                  <a:cubicBezTo>
                    <a:pt x="490" y="201"/>
                    <a:pt x="491" y="208"/>
                    <a:pt x="492" y="210"/>
                  </a:cubicBezTo>
                  <a:cubicBezTo>
                    <a:pt x="486" y="207"/>
                    <a:pt x="485" y="208"/>
                    <a:pt x="478" y="209"/>
                  </a:cubicBezTo>
                  <a:cubicBezTo>
                    <a:pt x="480" y="208"/>
                    <a:pt x="482" y="206"/>
                    <a:pt x="484" y="205"/>
                  </a:cubicBezTo>
                  <a:cubicBezTo>
                    <a:pt x="484" y="205"/>
                    <a:pt x="485" y="206"/>
                    <a:pt x="486" y="205"/>
                  </a:cubicBezTo>
                  <a:cubicBezTo>
                    <a:pt x="485" y="204"/>
                    <a:pt x="486" y="203"/>
                    <a:pt x="485" y="202"/>
                  </a:cubicBezTo>
                  <a:cubicBezTo>
                    <a:pt x="484" y="201"/>
                    <a:pt x="481" y="201"/>
                    <a:pt x="480" y="199"/>
                  </a:cubicBezTo>
                  <a:cubicBezTo>
                    <a:pt x="478" y="196"/>
                    <a:pt x="479" y="183"/>
                    <a:pt x="480" y="179"/>
                  </a:cubicBezTo>
                  <a:cubicBezTo>
                    <a:pt x="482" y="172"/>
                    <a:pt x="491" y="170"/>
                    <a:pt x="500" y="169"/>
                  </a:cubicBezTo>
                  <a:cubicBezTo>
                    <a:pt x="499" y="169"/>
                    <a:pt x="501" y="169"/>
                    <a:pt x="501" y="169"/>
                  </a:cubicBezTo>
                  <a:cubicBezTo>
                    <a:pt x="501" y="169"/>
                    <a:pt x="501" y="167"/>
                    <a:pt x="501" y="167"/>
                  </a:cubicBezTo>
                  <a:cubicBezTo>
                    <a:pt x="500" y="167"/>
                    <a:pt x="497" y="166"/>
                    <a:pt x="496" y="166"/>
                  </a:cubicBezTo>
                  <a:cubicBezTo>
                    <a:pt x="493" y="165"/>
                    <a:pt x="486" y="165"/>
                    <a:pt x="482" y="166"/>
                  </a:cubicBezTo>
                  <a:cubicBezTo>
                    <a:pt x="480" y="168"/>
                    <a:pt x="480" y="168"/>
                    <a:pt x="480" y="168"/>
                  </a:cubicBezTo>
                  <a:cubicBezTo>
                    <a:pt x="478" y="168"/>
                    <a:pt x="477" y="166"/>
                    <a:pt x="474" y="166"/>
                  </a:cubicBezTo>
                  <a:cubicBezTo>
                    <a:pt x="473" y="166"/>
                    <a:pt x="471" y="168"/>
                    <a:pt x="470" y="168"/>
                  </a:cubicBezTo>
                  <a:cubicBezTo>
                    <a:pt x="467" y="168"/>
                    <a:pt x="467" y="167"/>
                    <a:pt x="464" y="168"/>
                  </a:cubicBezTo>
                  <a:cubicBezTo>
                    <a:pt x="464" y="168"/>
                    <a:pt x="464" y="168"/>
                    <a:pt x="464" y="168"/>
                  </a:cubicBezTo>
                  <a:cubicBezTo>
                    <a:pt x="463" y="169"/>
                    <a:pt x="461" y="171"/>
                    <a:pt x="460" y="172"/>
                  </a:cubicBezTo>
                  <a:cubicBezTo>
                    <a:pt x="460" y="173"/>
                    <a:pt x="461" y="175"/>
                    <a:pt x="461" y="175"/>
                  </a:cubicBezTo>
                  <a:cubicBezTo>
                    <a:pt x="461" y="175"/>
                    <a:pt x="456" y="178"/>
                    <a:pt x="456" y="178"/>
                  </a:cubicBezTo>
                  <a:cubicBezTo>
                    <a:pt x="457" y="181"/>
                    <a:pt x="457" y="181"/>
                    <a:pt x="457" y="181"/>
                  </a:cubicBezTo>
                  <a:cubicBezTo>
                    <a:pt x="456" y="183"/>
                    <a:pt x="449" y="189"/>
                    <a:pt x="449" y="190"/>
                  </a:cubicBezTo>
                  <a:cubicBezTo>
                    <a:pt x="448" y="191"/>
                    <a:pt x="450" y="192"/>
                    <a:pt x="450" y="194"/>
                  </a:cubicBezTo>
                  <a:cubicBezTo>
                    <a:pt x="450" y="195"/>
                    <a:pt x="447" y="197"/>
                    <a:pt x="447" y="197"/>
                  </a:cubicBezTo>
                  <a:cubicBezTo>
                    <a:pt x="446" y="199"/>
                    <a:pt x="446" y="199"/>
                    <a:pt x="446" y="201"/>
                  </a:cubicBezTo>
                  <a:cubicBezTo>
                    <a:pt x="448" y="202"/>
                    <a:pt x="450" y="203"/>
                    <a:pt x="453" y="204"/>
                  </a:cubicBezTo>
                  <a:cubicBezTo>
                    <a:pt x="453" y="205"/>
                    <a:pt x="453" y="205"/>
                    <a:pt x="453" y="205"/>
                  </a:cubicBezTo>
                  <a:cubicBezTo>
                    <a:pt x="452" y="205"/>
                    <a:pt x="452" y="205"/>
                    <a:pt x="452" y="205"/>
                  </a:cubicBezTo>
                  <a:cubicBezTo>
                    <a:pt x="450" y="205"/>
                    <a:pt x="454" y="209"/>
                    <a:pt x="455" y="209"/>
                  </a:cubicBezTo>
                  <a:cubicBezTo>
                    <a:pt x="455" y="210"/>
                    <a:pt x="455" y="210"/>
                    <a:pt x="455" y="210"/>
                  </a:cubicBezTo>
                  <a:cubicBezTo>
                    <a:pt x="458" y="211"/>
                    <a:pt x="463" y="210"/>
                    <a:pt x="466" y="210"/>
                  </a:cubicBezTo>
                  <a:cubicBezTo>
                    <a:pt x="467" y="213"/>
                    <a:pt x="467" y="213"/>
                    <a:pt x="467" y="213"/>
                  </a:cubicBezTo>
                  <a:cubicBezTo>
                    <a:pt x="465" y="212"/>
                    <a:pt x="463" y="213"/>
                    <a:pt x="461" y="213"/>
                  </a:cubicBezTo>
                  <a:cubicBezTo>
                    <a:pt x="461" y="213"/>
                    <a:pt x="461" y="215"/>
                    <a:pt x="461" y="215"/>
                  </a:cubicBezTo>
                  <a:cubicBezTo>
                    <a:pt x="461" y="215"/>
                    <a:pt x="464" y="218"/>
                    <a:pt x="464" y="218"/>
                  </a:cubicBezTo>
                  <a:cubicBezTo>
                    <a:pt x="464" y="219"/>
                    <a:pt x="464" y="219"/>
                    <a:pt x="464" y="219"/>
                  </a:cubicBezTo>
                  <a:cubicBezTo>
                    <a:pt x="464" y="219"/>
                    <a:pt x="464" y="218"/>
                    <a:pt x="466" y="218"/>
                  </a:cubicBezTo>
                  <a:cubicBezTo>
                    <a:pt x="466" y="218"/>
                    <a:pt x="469" y="220"/>
                    <a:pt x="470" y="221"/>
                  </a:cubicBezTo>
                  <a:cubicBezTo>
                    <a:pt x="469" y="221"/>
                    <a:pt x="468" y="221"/>
                    <a:pt x="468" y="221"/>
                  </a:cubicBezTo>
                  <a:cubicBezTo>
                    <a:pt x="468" y="223"/>
                    <a:pt x="468" y="223"/>
                    <a:pt x="468" y="223"/>
                  </a:cubicBezTo>
                  <a:cubicBezTo>
                    <a:pt x="469" y="223"/>
                    <a:pt x="471" y="223"/>
                    <a:pt x="472" y="223"/>
                  </a:cubicBezTo>
                  <a:cubicBezTo>
                    <a:pt x="474" y="221"/>
                    <a:pt x="475" y="219"/>
                    <a:pt x="478" y="221"/>
                  </a:cubicBezTo>
                  <a:cubicBezTo>
                    <a:pt x="479" y="221"/>
                    <a:pt x="478" y="222"/>
                    <a:pt x="478" y="223"/>
                  </a:cubicBezTo>
                  <a:cubicBezTo>
                    <a:pt x="479" y="223"/>
                    <a:pt x="483" y="226"/>
                    <a:pt x="484" y="227"/>
                  </a:cubicBezTo>
                  <a:cubicBezTo>
                    <a:pt x="484" y="227"/>
                    <a:pt x="483" y="227"/>
                    <a:pt x="483" y="229"/>
                  </a:cubicBezTo>
                  <a:cubicBezTo>
                    <a:pt x="483" y="229"/>
                    <a:pt x="484" y="229"/>
                    <a:pt x="484" y="229"/>
                  </a:cubicBezTo>
                  <a:cubicBezTo>
                    <a:pt x="487" y="229"/>
                    <a:pt x="488" y="229"/>
                    <a:pt x="490" y="229"/>
                  </a:cubicBezTo>
                  <a:cubicBezTo>
                    <a:pt x="490" y="229"/>
                    <a:pt x="488" y="226"/>
                    <a:pt x="489" y="226"/>
                  </a:cubicBezTo>
                  <a:cubicBezTo>
                    <a:pt x="490" y="226"/>
                    <a:pt x="490" y="226"/>
                    <a:pt x="490" y="226"/>
                  </a:cubicBezTo>
                  <a:cubicBezTo>
                    <a:pt x="491" y="226"/>
                    <a:pt x="493" y="229"/>
                    <a:pt x="493" y="229"/>
                  </a:cubicBezTo>
                  <a:cubicBezTo>
                    <a:pt x="495" y="230"/>
                    <a:pt x="497" y="229"/>
                    <a:pt x="499" y="229"/>
                  </a:cubicBezTo>
                  <a:cubicBezTo>
                    <a:pt x="500" y="231"/>
                    <a:pt x="500" y="231"/>
                    <a:pt x="500" y="231"/>
                  </a:cubicBezTo>
                  <a:cubicBezTo>
                    <a:pt x="501" y="231"/>
                    <a:pt x="502" y="231"/>
                    <a:pt x="504" y="231"/>
                  </a:cubicBezTo>
                  <a:cubicBezTo>
                    <a:pt x="505" y="231"/>
                    <a:pt x="509" y="229"/>
                    <a:pt x="510" y="229"/>
                  </a:cubicBezTo>
                  <a:cubicBezTo>
                    <a:pt x="511" y="229"/>
                    <a:pt x="511" y="231"/>
                    <a:pt x="512" y="231"/>
                  </a:cubicBezTo>
                  <a:cubicBezTo>
                    <a:pt x="513" y="232"/>
                    <a:pt x="517" y="233"/>
                    <a:pt x="518" y="233"/>
                  </a:cubicBezTo>
                  <a:cubicBezTo>
                    <a:pt x="524" y="233"/>
                    <a:pt x="520" y="231"/>
                    <a:pt x="518" y="229"/>
                  </a:cubicBezTo>
                  <a:cubicBezTo>
                    <a:pt x="518" y="229"/>
                    <a:pt x="518" y="228"/>
                    <a:pt x="518" y="227"/>
                  </a:cubicBezTo>
                  <a:cubicBezTo>
                    <a:pt x="516" y="226"/>
                    <a:pt x="515" y="225"/>
                    <a:pt x="514" y="224"/>
                  </a:cubicBezTo>
                  <a:cubicBezTo>
                    <a:pt x="512" y="223"/>
                    <a:pt x="513" y="222"/>
                    <a:pt x="516" y="223"/>
                  </a:cubicBezTo>
                  <a:cubicBezTo>
                    <a:pt x="517" y="223"/>
                    <a:pt x="520" y="228"/>
                    <a:pt x="521" y="229"/>
                  </a:cubicBezTo>
                  <a:cubicBezTo>
                    <a:pt x="521" y="230"/>
                    <a:pt x="522" y="229"/>
                    <a:pt x="523" y="229"/>
                  </a:cubicBezTo>
                  <a:cubicBezTo>
                    <a:pt x="525" y="230"/>
                    <a:pt x="526" y="233"/>
                    <a:pt x="528" y="235"/>
                  </a:cubicBezTo>
                  <a:cubicBezTo>
                    <a:pt x="528" y="235"/>
                    <a:pt x="529" y="235"/>
                    <a:pt x="530" y="235"/>
                  </a:cubicBezTo>
                  <a:cubicBezTo>
                    <a:pt x="529" y="234"/>
                    <a:pt x="531" y="233"/>
                    <a:pt x="530" y="231"/>
                  </a:cubicBezTo>
                  <a:cubicBezTo>
                    <a:pt x="530" y="231"/>
                    <a:pt x="527" y="230"/>
                    <a:pt x="527" y="229"/>
                  </a:cubicBezTo>
                  <a:cubicBezTo>
                    <a:pt x="527" y="229"/>
                    <a:pt x="527" y="228"/>
                    <a:pt x="527" y="227"/>
                  </a:cubicBezTo>
                  <a:cubicBezTo>
                    <a:pt x="527" y="227"/>
                    <a:pt x="525" y="226"/>
                    <a:pt x="525" y="226"/>
                  </a:cubicBezTo>
                  <a:cubicBezTo>
                    <a:pt x="525" y="224"/>
                    <a:pt x="526" y="225"/>
                    <a:pt x="526" y="224"/>
                  </a:cubicBezTo>
                  <a:cubicBezTo>
                    <a:pt x="527" y="224"/>
                    <a:pt x="529" y="224"/>
                    <a:pt x="531" y="224"/>
                  </a:cubicBezTo>
                  <a:cubicBezTo>
                    <a:pt x="531" y="223"/>
                    <a:pt x="531" y="223"/>
                    <a:pt x="531" y="223"/>
                  </a:cubicBezTo>
                  <a:cubicBezTo>
                    <a:pt x="531" y="223"/>
                    <a:pt x="534" y="223"/>
                    <a:pt x="534" y="223"/>
                  </a:cubicBezTo>
                  <a:cubicBezTo>
                    <a:pt x="534" y="224"/>
                    <a:pt x="535" y="223"/>
                    <a:pt x="536" y="223"/>
                  </a:cubicBezTo>
                  <a:cubicBezTo>
                    <a:pt x="537" y="224"/>
                    <a:pt x="537" y="226"/>
                    <a:pt x="538" y="227"/>
                  </a:cubicBezTo>
                  <a:cubicBezTo>
                    <a:pt x="542" y="230"/>
                    <a:pt x="542" y="228"/>
                    <a:pt x="545" y="227"/>
                  </a:cubicBezTo>
                  <a:cubicBezTo>
                    <a:pt x="546" y="227"/>
                    <a:pt x="546" y="228"/>
                    <a:pt x="548" y="228"/>
                  </a:cubicBezTo>
                  <a:cubicBezTo>
                    <a:pt x="548" y="228"/>
                    <a:pt x="548" y="227"/>
                    <a:pt x="549" y="227"/>
                  </a:cubicBezTo>
                  <a:cubicBezTo>
                    <a:pt x="548" y="224"/>
                    <a:pt x="548" y="223"/>
                    <a:pt x="548" y="221"/>
                  </a:cubicBezTo>
                  <a:cubicBezTo>
                    <a:pt x="546" y="221"/>
                    <a:pt x="546" y="221"/>
                    <a:pt x="546" y="221"/>
                  </a:cubicBezTo>
                  <a:cubicBezTo>
                    <a:pt x="546" y="222"/>
                    <a:pt x="545" y="223"/>
                    <a:pt x="545" y="223"/>
                  </a:cubicBezTo>
                  <a:cubicBezTo>
                    <a:pt x="544" y="224"/>
                    <a:pt x="544" y="223"/>
                    <a:pt x="543" y="223"/>
                  </a:cubicBezTo>
                  <a:cubicBezTo>
                    <a:pt x="543" y="223"/>
                    <a:pt x="543" y="221"/>
                    <a:pt x="543" y="221"/>
                  </a:cubicBezTo>
                  <a:cubicBezTo>
                    <a:pt x="545" y="220"/>
                    <a:pt x="546" y="220"/>
                    <a:pt x="548" y="219"/>
                  </a:cubicBezTo>
                  <a:cubicBezTo>
                    <a:pt x="549" y="220"/>
                    <a:pt x="550" y="222"/>
                    <a:pt x="550" y="224"/>
                  </a:cubicBezTo>
                  <a:cubicBezTo>
                    <a:pt x="551" y="224"/>
                    <a:pt x="552" y="224"/>
                    <a:pt x="553" y="225"/>
                  </a:cubicBezTo>
                  <a:cubicBezTo>
                    <a:pt x="553" y="223"/>
                    <a:pt x="553" y="223"/>
                    <a:pt x="553" y="223"/>
                  </a:cubicBezTo>
                  <a:cubicBezTo>
                    <a:pt x="553" y="223"/>
                    <a:pt x="555" y="223"/>
                    <a:pt x="556" y="223"/>
                  </a:cubicBezTo>
                  <a:cubicBezTo>
                    <a:pt x="557" y="226"/>
                    <a:pt x="557" y="230"/>
                    <a:pt x="558" y="233"/>
                  </a:cubicBezTo>
                  <a:cubicBezTo>
                    <a:pt x="560" y="233"/>
                    <a:pt x="560" y="233"/>
                    <a:pt x="560" y="233"/>
                  </a:cubicBezTo>
                  <a:cubicBezTo>
                    <a:pt x="560" y="232"/>
                    <a:pt x="560" y="230"/>
                    <a:pt x="560" y="229"/>
                  </a:cubicBezTo>
                  <a:cubicBezTo>
                    <a:pt x="561" y="229"/>
                    <a:pt x="560" y="229"/>
                    <a:pt x="562" y="229"/>
                  </a:cubicBezTo>
                  <a:cubicBezTo>
                    <a:pt x="562" y="229"/>
                    <a:pt x="563" y="228"/>
                    <a:pt x="563" y="228"/>
                  </a:cubicBezTo>
                  <a:cubicBezTo>
                    <a:pt x="564" y="228"/>
                    <a:pt x="564" y="229"/>
                    <a:pt x="566" y="229"/>
                  </a:cubicBezTo>
                  <a:cubicBezTo>
                    <a:pt x="566" y="230"/>
                    <a:pt x="565" y="231"/>
                    <a:pt x="566" y="231"/>
                  </a:cubicBezTo>
                  <a:cubicBezTo>
                    <a:pt x="567" y="232"/>
                    <a:pt x="568" y="231"/>
                    <a:pt x="568" y="231"/>
                  </a:cubicBezTo>
                  <a:cubicBezTo>
                    <a:pt x="568" y="233"/>
                    <a:pt x="567" y="233"/>
                    <a:pt x="567" y="235"/>
                  </a:cubicBezTo>
                  <a:cubicBezTo>
                    <a:pt x="568" y="235"/>
                    <a:pt x="569" y="235"/>
                    <a:pt x="570" y="235"/>
                  </a:cubicBezTo>
                  <a:cubicBezTo>
                    <a:pt x="572" y="231"/>
                    <a:pt x="571" y="232"/>
                    <a:pt x="575" y="232"/>
                  </a:cubicBezTo>
                  <a:cubicBezTo>
                    <a:pt x="576" y="235"/>
                    <a:pt x="576" y="235"/>
                    <a:pt x="576" y="235"/>
                  </a:cubicBezTo>
                  <a:cubicBezTo>
                    <a:pt x="575" y="235"/>
                    <a:pt x="574" y="234"/>
                    <a:pt x="573" y="234"/>
                  </a:cubicBezTo>
                  <a:cubicBezTo>
                    <a:pt x="573" y="235"/>
                    <a:pt x="573" y="235"/>
                    <a:pt x="572" y="235"/>
                  </a:cubicBezTo>
                  <a:cubicBezTo>
                    <a:pt x="572" y="236"/>
                    <a:pt x="572" y="238"/>
                    <a:pt x="572" y="239"/>
                  </a:cubicBezTo>
                  <a:cubicBezTo>
                    <a:pt x="573" y="239"/>
                    <a:pt x="573" y="240"/>
                    <a:pt x="574" y="241"/>
                  </a:cubicBezTo>
                  <a:cubicBezTo>
                    <a:pt x="575" y="241"/>
                    <a:pt x="577" y="241"/>
                    <a:pt x="578" y="241"/>
                  </a:cubicBezTo>
                  <a:cubicBezTo>
                    <a:pt x="579" y="242"/>
                    <a:pt x="579" y="245"/>
                    <a:pt x="578" y="244"/>
                  </a:cubicBezTo>
                  <a:cubicBezTo>
                    <a:pt x="578" y="244"/>
                    <a:pt x="578" y="243"/>
                    <a:pt x="577" y="243"/>
                  </a:cubicBezTo>
                  <a:cubicBezTo>
                    <a:pt x="577" y="243"/>
                    <a:pt x="576" y="243"/>
                    <a:pt x="575" y="243"/>
                  </a:cubicBezTo>
                  <a:cubicBezTo>
                    <a:pt x="575" y="243"/>
                    <a:pt x="575" y="244"/>
                    <a:pt x="575" y="245"/>
                  </a:cubicBezTo>
                  <a:cubicBezTo>
                    <a:pt x="574" y="246"/>
                    <a:pt x="575" y="246"/>
                    <a:pt x="574" y="247"/>
                  </a:cubicBezTo>
                  <a:cubicBezTo>
                    <a:pt x="572" y="246"/>
                    <a:pt x="574" y="251"/>
                    <a:pt x="574" y="251"/>
                  </a:cubicBezTo>
                  <a:cubicBezTo>
                    <a:pt x="574" y="251"/>
                    <a:pt x="576" y="250"/>
                    <a:pt x="576" y="251"/>
                  </a:cubicBezTo>
                  <a:cubicBezTo>
                    <a:pt x="577" y="251"/>
                    <a:pt x="575" y="254"/>
                    <a:pt x="576" y="255"/>
                  </a:cubicBezTo>
                  <a:cubicBezTo>
                    <a:pt x="577" y="254"/>
                    <a:pt x="577" y="255"/>
                    <a:pt x="578" y="255"/>
                  </a:cubicBezTo>
                  <a:cubicBezTo>
                    <a:pt x="580" y="254"/>
                    <a:pt x="584" y="249"/>
                    <a:pt x="585" y="247"/>
                  </a:cubicBezTo>
                  <a:cubicBezTo>
                    <a:pt x="586" y="248"/>
                    <a:pt x="587" y="248"/>
                    <a:pt x="588" y="248"/>
                  </a:cubicBezTo>
                  <a:cubicBezTo>
                    <a:pt x="589" y="248"/>
                    <a:pt x="589" y="245"/>
                    <a:pt x="590" y="245"/>
                  </a:cubicBezTo>
                  <a:cubicBezTo>
                    <a:pt x="591" y="245"/>
                    <a:pt x="591" y="249"/>
                    <a:pt x="591" y="250"/>
                  </a:cubicBezTo>
                  <a:cubicBezTo>
                    <a:pt x="591" y="250"/>
                    <a:pt x="589" y="251"/>
                    <a:pt x="588" y="251"/>
                  </a:cubicBezTo>
                  <a:cubicBezTo>
                    <a:pt x="588" y="252"/>
                    <a:pt x="588" y="253"/>
                    <a:pt x="589" y="253"/>
                  </a:cubicBezTo>
                  <a:cubicBezTo>
                    <a:pt x="589" y="254"/>
                    <a:pt x="589" y="254"/>
                    <a:pt x="589" y="255"/>
                  </a:cubicBezTo>
                  <a:cubicBezTo>
                    <a:pt x="589" y="256"/>
                    <a:pt x="589" y="256"/>
                    <a:pt x="589" y="256"/>
                  </a:cubicBezTo>
                  <a:cubicBezTo>
                    <a:pt x="591" y="256"/>
                    <a:pt x="592" y="256"/>
                    <a:pt x="593" y="256"/>
                  </a:cubicBezTo>
                  <a:cubicBezTo>
                    <a:pt x="593" y="256"/>
                    <a:pt x="595" y="258"/>
                    <a:pt x="593" y="257"/>
                  </a:cubicBezTo>
                  <a:cubicBezTo>
                    <a:pt x="594" y="257"/>
                    <a:pt x="594" y="259"/>
                    <a:pt x="594" y="259"/>
                  </a:cubicBezTo>
                  <a:cubicBezTo>
                    <a:pt x="595" y="260"/>
                    <a:pt x="596" y="259"/>
                    <a:pt x="597" y="260"/>
                  </a:cubicBezTo>
                  <a:cubicBezTo>
                    <a:pt x="597" y="263"/>
                    <a:pt x="596" y="263"/>
                    <a:pt x="597" y="267"/>
                  </a:cubicBezTo>
                  <a:cubicBezTo>
                    <a:pt x="599" y="267"/>
                    <a:pt x="599" y="267"/>
                    <a:pt x="599" y="267"/>
                  </a:cubicBezTo>
                  <a:cubicBezTo>
                    <a:pt x="599" y="268"/>
                    <a:pt x="598" y="269"/>
                    <a:pt x="598" y="271"/>
                  </a:cubicBezTo>
                  <a:cubicBezTo>
                    <a:pt x="598" y="271"/>
                    <a:pt x="600" y="271"/>
                    <a:pt x="601" y="271"/>
                  </a:cubicBezTo>
                  <a:cubicBezTo>
                    <a:pt x="601" y="271"/>
                    <a:pt x="600" y="273"/>
                    <a:pt x="601" y="273"/>
                  </a:cubicBezTo>
                  <a:cubicBezTo>
                    <a:pt x="600" y="273"/>
                    <a:pt x="600" y="273"/>
                    <a:pt x="600" y="275"/>
                  </a:cubicBezTo>
                  <a:cubicBezTo>
                    <a:pt x="598" y="275"/>
                    <a:pt x="599" y="274"/>
                    <a:pt x="597" y="274"/>
                  </a:cubicBezTo>
                  <a:cubicBezTo>
                    <a:pt x="597" y="275"/>
                    <a:pt x="596" y="274"/>
                    <a:pt x="595" y="275"/>
                  </a:cubicBezTo>
                  <a:cubicBezTo>
                    <a:pt x="593" y="280"/>
                    <a:pt x="596" y="282"/>
                    <a:pt x="599" y="283"/>
                  </a:cubicBezTo>
                  <a:cubicBezTo>
                    <a:pt x="595" y="283"/>
                    <a:pt x="593" y="285"/>
                    <a:pt x="591" y="288"/>
                  </a:cubicBezTo>
                  <a:cubicBezTo>
                    <a:pt x="590" y="289"/>
                    <a:pt x="590" y="291"/>
                    <a:pt x="589" y="292"/>
                  </a:cubicBezTo>
                  <a:cubicBezTo>
                    <a:pt x="587" y="293"/>
                    <a:pt x="586" y="293"/>
                    <a:pt x="584" y="294"/>
                  </a:cubicBezTo>
                  <a:cubicBezTo>
                    <a:pt x="584" y="294"/>
                    <a:pt x="584" y="296"/>
                    <a:pt x="584" y="296"/>
                  </a:cubicBezTo>
                  <a:cubicBezTo>
                    <a:pt x="585" y="297"/>
                    <a:pt x="587" y="300"/>
                    <a:pt x="587" y="300"/>
                  </a:cubicBezTo>
                  <a:cubicBezTo>
                    <a:pt x="588" y="300"/>
                    <a:pt x="589" y="299"/>
                    <a:pt x="589" y="300"/>
                  </a:cubicBezTo>
                  <a:cubicBezTo>
                    <a:pt x="590" y="301"/>
                    <a:pt x="590" y="302"/>
                    <a:pt x="590" y="303"/>
                  </a:cubicBezTo>
                  <a:cubicBezTo>
                    <a:pt x="591" y="304"/>
                    <a:pt x="593" y="305"/>
                    <a:pt x="594" y="306"/>
                  </a:cubicBezTo>
                  <a:cubicBezTo>
                    <a:pt x="595" y="308"/>
                    <a:pt x="595" y="309"/>
                    <a:pt x="595" y="310"/>
                  </a:cubicBezTo>
                  <a:cubicBezTo>
                    <a:pt x="593" y="310"/>
                    <a:pt x="589" y="310"/>
                    <a:pt x="585" y="311"/>
                  </a:cubicBezTo>
                  <a:cubicBezTo>
                    <a:pt x="584" y="311"/>
                    <a:pt x="582" y="313"/>
                    <a:pt x="582" y="313"/>
                  </a:cubicBezTo>
                  <a:cubicBezTo>
                    <a:pt x="580" y="313"/>
                    <a:pt x="580" y="312"/>
                    <a:pt x="577" y="312"/>
                  </a:cubicBezTo>
                  <a:cubicBezTo>
                    <a:pt x="577" y="312"/>
                    <a:pt x="576" y="312"/>
                    <a:pt x="575" y="312"/>
                  </a:cubicBezTo>
                  <a:cubicBezTo>
                    <a:pt x="575" y="314"/>
                    <a:pt x="575" y="314"/>
                    <a:pt x="575" y="314"/>
                  </a:cubicBezTo>
                  <a:cubicBezTo>
                    <a:pt x="574" y="314"/>
                    <a:pt x="573" y="312"/>
                    <a:pt x="572" y="312"/>
                  </a:cubicBezTo>
                  <a:cubicBezTo>
                    <a:pt x="572" y="313"/>
                    <a:pt x="572" y="313"/>
                    <a:pt x="572" y="313"/>
                  </a:cubicBezTo>
                  <a:cubicBezTo>
                    <a:pt x="571" y="313"/>
                    <a:pt x="571" y="314"/>
                    <a:pt x="571" y="314"/>
                  </a:cubicBezTo>
                  <a:cubicBezTo>
                    <a:pt x="570" y="315"/>
                    <a:pt x="569" y="314"/>
                    <a:pt x="568" y="314"/>
                  </a:cubicBezTo>
                  <a:cubicBezTo>
                    <a:pt x="567" y="316"/>
                    <a:pt x="567" y="316"/>
                    <a:pt x="567" y="316"/>
                  </a:cubicBezTo>
                  <a:cubicBezTo>
                    <a:pt x="565" y="316"/>
                    <a:pt x="564" y="315"/>
                    <a:pt x="563" y="314"/>
                  </a:cubicBezTo>
                  <a:cubicBezTo>
                    <a:pt x="561" y="314"/>
                    <a:pt x="557" y="314"/>
                    <a:pt x="555" y="314"/>
                  </a:cubicBezTo>
                  <a:cubicBezTo>
                    <a:pt x="554" y="316"/>
                    <a:pt x="552" y="320"/>
                    <a:pt x="552" y="321"/>
                  </a:cubicBezTo>
                  <a:cubicBezTo>
                    <a:pt x="552" y="323"/>
                    <a:pt x="553" y="322"/>
                    <a:pt x="554" y="323"/>
                  </a:cubicBezTo>
                  <a:cubicBezTo>
                    <a:pt x="552" y="325"/>
                    <a:pt x="552" y="327"/>
                    <a:pt x="550" y="328"/>
                  </a:cubicBezTo>
                  <a:cubicBezTo>
                    <a:pt x="550" y="328"/>
                    <a:pt x="551" y="331"/>
                    <a:pt x="552" y="332"/>
                  </a:cubicBezTo>
                  <a:cubicBezTo>
                    <a:pt x="553" y="333"/>
                    <a:pt x="554" y="332"/>
                    <a:pt x="556" y="333"/>
                  </a:cubicBezTo>
                  <a:cubicBezTo>
                    <a:pt x="556" y="334"/>
                    <a:pt x="556" y="334"/>
                    <a:pt x="556" y="334"/>
                  </a:cubicBezTo>
                  <a:cubicBezTo>
                    <a:pt x="558" y="335"/>
                    <a:pt x="557" y="333"/>
                    <a:pt x="559" y="334"/>
                  </a:cubicBezTo>
                  <a:cubicBezTo>
                    <a:pt x="560" y="335"/>
                    <a:pt x="560" y="335"/>
                    <a:pt x="560" y="335"/>
                  </a:cubicBezTo>
                  <a:cubicBezTo>
                    <a:pt x="562" y="335"/>
                    <a:pt x="563" y="335"/>
                    <a:pt x="566" y="334"/>
                  </a:cubicBezTo>
                  <a:cubicBezTo>
                    <a:pt x="566" y="332"/>
                    <a:pt x="566" y="332"/>
                    <a:pt x="566" y="332"/>
                  </a:cubicBezTo>
                  <a:cubicBezTo>
                    <a:pt x="567" y="332"/>
                    <a:pt x="568" y="333"/>
                    <a:pt x="570" y="332"/>
                  </a:cubicBezTo>
                  <a:cubicBezTo>
                    <a:pt x="570" y="331"/>
                    <a:pt x="569" y="330"/>
                    <a:pt x="570" y="330"/>
                  </a:cubicBezTo>
                  <a:cubicBezTo>
                    <a:pt x="570" y="330"/>
                    <a:pt x="571" y="329"/>
                    <a:pt x="572" y="329"/>
                  </a:cubicBezTo>
                  <a:cubicBezTo>
                    <a:pt x="572" y="328"/>
                    <a:pt x="572" y="327"/>
                    <a:pt x="573" y="326"/>
                  </a:cubicBezTo>
                  <a:cubicBezTo>
                    <a:pt x="574" y="329"/>
                    <a:pt x="574" y="329"/>
                    <a:pt x="574" y="329"/>
                  </a:cubicBezTo>
                  <a:cubicBezTo>
                    <a:pt x="575" y="329"/>
                    <a:pt x="578" y="331"/>
                    <a:pt x="579" y="330"/>
                  </a:cubicBezTo>
                  <a:cubicBezTo>
                    <a:pt x="579" y="330"/>
                    <a:pt x="579" y="329"/>
                    <a:pt x="580" y="329"/>
                  </a:cubicBezTo>
                  <a:cubicBezTo>
                    <a:pt x="580" y="329"/>
                    <a:pt x="580" y="327"/>
                    <a:pt x="580" y="327"/>
                  </a:cubicBezTo>
                  <a:cubicBezTo>
                    <a:pt x="579" y="326"/>
                    <a:pt x="577" y="325"/>
                    <a:pt x="576" y="324"/>
                  </a:cubicBezTo>
                  <a:cubicBezTo>
                    <a:pt x="576" y="323"/>
                    <a:pt x="576" y="323"/>
                    <a:pt x="576" y="323"/>
                  </a:cubicBezTo>
                  <a:cubicBezTo>
                    <a:pt x="578" y="322"/>
                    <a:pt x="577" y="322"/>
                    <a:pt x="578" y="321"/>
                  </a:cubicBezTo>
                  <a:cubicBezTo>
                    <a:pt x="579" y="321"/>
                    <a:pt x="579" y="321"/>
                    <a:pt x="579" y="321"/>
                  </a:cubicBezTo>
                  <a:cubicBezTo>
                    <a:pt x="580" y="322"/>
                    <a:pt x="579" y="323"/>
                    <a:pt x="579" y="324"/>
                  </a:cubicBezTo>
                  <a:cubicBezTo>
                    <a:pt x="580" y="324"/>
                    <a:pt x="581" y="326"/>
                    <a:pt x="581" y="326"/>
                  </a:cubicBezTo>
                  <a:cubicBezTo>
                    <a:pt x="583" y="326"/>
                    <a:pt x="583" y="326"/>
                    <a:pt x="584" y="326"/>
                  </a:cubicBezTo>
                  <a:cubicBezTo>
                    <a:pt x="585" y="326"/>
                    <a:pt x="585" y="323"/>
                    <a:pt x="584" y="323"/>
                  </a:cubicBezTo>
                  <a:cubicBezTo>
                    <a:pt x="585" y="323"/>
                    <a:pt x="586" y="324"/>
                    <a:pt x="586" y="324"/>
                  </a:cubicBezTo>
                  <a:cubicBezTo>
                    <a:pt x="586" y="324"/>
                    <a:pt x="586" y="326"/>
                    <a:pt x="586" y="326"/>
                  </a:cubicBezTo>
                  <a:cubicBezTo>
                    <a:pt x="587" y="326"/>
                    <a:pt x="588" y="326"/>
                    <a:pt x="589" y="327"/>
                  </a:cubicBezTo>
                  <a:cubicBezTo>
                    <a:pt x="589" y="327"/>
                    <a:pt x="589" y="329"/>
                    <a:pt x="589" y="330"/>
                  </a:cubicBezTo>
                  <a:cubicBezTo>
                    <a:pt x="589" y="329"/>
                    <a:pt x="590" y="327"/>
                    <a:pt x="591" y="327"/>
                  </a:cubicBezTo>
                  <a:cubicBezTo>
                    <a:pt x="591" y="327"/>
                    <a:pt x="593" y="327"/>
                    <a:pt x="593" y="327"/>
                  </a:cubicBezTo>
                  <a:cubicBezTo>
                    <a:pt x="594" y="328"/>
                    <a:pt x="595" y="334"/>
                    <a:pt x="596" y="335"/>
                  </a:cubicBezTo>
                  <a:cubicBezTo>
                    <a:pt x="596" y="335"/>
                    <a:pt x="598" y="335"/>
                    <a:pt x="599" y="335"/>
                  </a:cubicBezTo>
                  <a:cubicBezTo>
                    <a:pt x="599" y="337"/>
                    <a:pt x="600" y="340"/>
                    <a:pt x="600" y="342"/>
                  </a:cubicBezTo>
                  <a:cubicBezTo>
                    <a:pt x="602" y="342"/>
                    <a:pt x="602" y="342"/>
                    <a:pt x="603" y="341"/>
                  </a:cubicBezTo>
                  <a:cubicBezTo>
                    <a:pt x="603" y="343"/>
                    <a:pt x="603" y="343"/>
                    <a:pt x="603" y="343"/>
                  </a:cubicBezTo>
                  <a:cubicBezTo>
                    <a:pt x="605" y="344"/>
                    <a:pt x="605" y="344"/>
                    <a:pt x="605" y="344"/>
                  </a:cubicBezTo>
                  <a:cubicBezTo>
                    <a:pt x="605" y="343"/>
                    <a:pt x="605" y="344"/>
                    <a:pt x="606" y="344"/>
                  </a:cubicBezTo>
                  <a:cubicBezTo>
                    <a:pt x="606" y="343"/>
                    <a:pt x="606" y="341"/>
                    <a:pt x="606" y="341"/>
                  </a:cubicBezTo>
                  <a:cubicBezTo>
                    <a:pt x="607" y="341"/>
                    <a:pt x="608" y="342"/>
                    <a:pt x="608" y="342"/>
                  </a:cubicBezTo>
                  <a:cubicBezTo>
                    <a:pt x="608" y="342"/>
                    <a:pt x="610" y="342"/>
                    <a:pt x="610" y="342"/>
                  </a:cubicBezTo>
                  <a:cubicBezTo>
                    <a:pt x="610" y="343"/>
                    <a:pt x="611" y="343"/>
                    <a:pt x="611" y="344"/>
                  </a:cubicBezTo>
                  <a:cubicBezTo>
                    <a:pt x="610" y="344"/>
                    <a:pt x="610" y="344"/>
                    <a:pt x="610" y="346"/>
                  </a:cubicBezTo>
                  <a:cubicBezTo>
                    <a:pt x="608" y="346"/>
                    <a:pt x="606" y="347"/>
                    <a:pt x="604" y="347"/>
                  </a:cubicBezTo>
                  <a:cubicBezTo>
                    <a:pt x="604" y="348"/>
                    <a:pt x="604" y="348"/>
                    <a:pt x="604" y="348"/>
                  </a:cubicBezTo>
                  <a:cubicBezTo>
                    <a:pt x="605" y="349"/>
                    <a:pt x="606" y="348"/>
                    <a:pt x="607" y="348"/>
                  </a:cubicBezTo>
                  <a:cubicBezTo>
                    <a:pt x="608" y="349"/>
                    <a:pt x="610" y="351"/>
                    <a:pt x="610" y="351"/>
                  </a:cubicBezTo>
                  <a:cubicBezTo>
                    <a:pt x="612" y="351"/>
                    <a:pt x="612" y="349"/>
                    <a:pt x="613" y="349"/>
                  </a:cubicBezTo>
                  <a:cubicBezTo>
                    <a:pt x="614" y="349"/>
                    <a:pt x="614" y="350"/>
                    <a:pt x="615" y="351"/>
                  </a:cubicBezTo>
                  <a:cubicBezTo>
                    <a:pt x="617" y="351"/>
                    <a:pt x="619" y="351"/>
                    <a:pt x="621" y="351"/>
                  </a:cubicBezTo>
                  <a:cubicBezTo>
                    <a:pt x="621" y="350"/>
                    <a:pt x="622" y="348"/>
                    <a:pt x="622" y="348"/>
                  </a:cubicBezTo>
                  <a:cubicBezTo>
                    <a:pt x="623" y="348"/>
                    <a:pt x="623" y="349"/>
                    <a:pt x="624" y="350"/>
                  </a:cubicBezTo>
                  <a:cubicBezTo>
                    <a:pt x="625" y="350"/>
                    <a:pt x="625" y="349"/>
                    <a:pt x="626" y="349"/>
                  </a:cubicBezTo>
                  <a:cubicBezTo>
                    <a:pt x="628" y="349"/>
                    <a:pt x="631" y="350"/>
                    <a:pt x="633" y="351"/>
                  </a:cubicBezTo>
                  <a:cubicBezTo>
                    <a:pt x="634" y="350"/>
                    <a:pt x="634" y="349"/>
                    <a:pt x="635" y="349"/>
                  </a:cubicBezTo>
                  <a:cubicBezTo>
                    <a:pt x="635" y="349"/>
                    <a:pt x="637" y="351"/>
                    <a:pt x="637" y="351"/>
                  </a:cubicBezTo>
                  <a:cubicBezTo>
                    <a:pt x="640" y="352"/>
                    <a:pt x="642" y="350"/>
                    <a:pt x="644" y="350"/>
                  </a:cubicBezTo>
                  <a:cubicBezTo>
                    <a:pt x="645" y="350"/>
                    <a:pt x="647" y="353"/>
                    <a:pt x="649" y="353"/>
                  </a:cubicBezTo>
                  <a:cubicBezTo>
                    <a:pt x="650" y="353"/>
                    <a:pt x="649" y="352"/>
                    <a:pt x="651" y="352"/>
                  </a:cubicBezTo>
                  <a:cubicBezTo>
                    <a:pt x="651" y="352"/>
                    <a:pt x="654" y="354"/>
                    <a:pt x="655" y="354"/>
                  </a:cubicBezTo>
                  <a:cubicBezTo>
                    <a:pt x="657" y="353"/>
                    <a:pt x="656" y="352"/>
                    <a:pt x="657" y="350"/>
                  </a:cubicBezTo>
                  <a:cubicBezTo>
                    <a:pt x="657" y="348"/>
                    <a:pt x="657" y="348"/>
                    <a:pt x="657" y="348"/>
                  </a:cubicBezTo>
                  <a:cubicBezTo>
                    <a:pt x="658" y="349"/>
                    <a:pt x="657" y="347"/>
                    <a:pt x="657" y="347"/>
                  </a:cubicBezTo>
                  <a:cubicBezTo>
                    <a:pt x="654" y="346"/>
                    <a:pt x="652" y="347"/>
                    <a:pt x="649" y="346"/>
                  </a:cubicBezTo>
                  <a:cubicBezTo>
                    <a:pt x="648" y="345"/>
                    <a:pt x="649" y="344"/>
                    <a:pt x="649" y="343"/>
                  </a:cubicBezTo>
                  <a:cubicBezTo>
                    <a:pt x="647" y="343"/>
                    <a:pt x="647" y="343"/>
                    <a:pt x="647" y="343"/>
                  </a:cubicBezTo>
                  <a:cubicBezTo>
                    <a:pt x="647" y="343"/>
                    <a:pt x="645" y="341"/>
                    <a:pt x="645" y="340"/>
                  </a:cubicBezTo>
                  <a:cubicBezTo>
                    <a:pt x="643" y="340"/>
                    <a:pt x="640" y="341"/>
                    <a:pt x="639" y="340"/>
                  </a:cubicBezTo>
                  <a:cubicBezTo>
                    <a:pt x="639" y="340"/>
                    <a:pt x="639" y="338"/>
                    <a:pt x="639" y="338"/>
                  </a:cubicBezTo>
                  <a:cubicBezTo>
                    <a:pt x="638" y="338"/>
                    <a:pt x="638" y="338"/>
                    <a:pt x="638" y="338"/>
                  </a:cubicBezTo>
                  <a:cubicBezTo>
                    <a:pt x="634" y="336"/>
                    <a:pt x="631" y="333"/>
                    <a:pt x="627" y="330"/>
                  </a:cubicBezTo>
                  <a:cubicBezTo>
                    <a:pt x="627" y="330"/>
                    <a:pt x="627" y="328"/>
                    <a:pt x="627" y="329"/>
                  </a:cubicBezTo>
                  <a:cubicBezTo>
                    <a:pt x="627" y="329"/>
                    <a:pt x="629" y="327"/>
                    <a:pt x="629" y="327"/>
                  </a:cubicBezTo>
                  <a:cubicBezTo>
                    <a:pt x="632" y="326"/>
                    <a:pt x="637" y="331"/>
                    <a:pt x="639" y="331"/>
                  </a:cubicBezTo>
                  <a:cubicBezTo>
                    <a:pt x="639" y="331"/>
                    <a:pt x="639" y="329"/>
                    <a:pt x="639" y="328"/>
                  </a:cubicBezTo>
                  <a:cubicBezTo>
                    <a:pt x="641" y="328"/>
                    <a:pt x="641" y="328"/>
                    <a:pt x="641" y="328"/>
                  </a:cubicBezTo>
                  <a:cubicBezTo>
                    <a:pt x="643" y="329"/>
                    <a:pt x="644" y="332"/>
                    <a:pt x="646" y="332"/>
                  </a:cubicBezTo>
                  <a:cubicBezTo>
                    <a:pt x="647" y="332"/>
                    <a:pt x="647" y="330"/>
                    <a:pt x="647" y="330"/>
                  </a:cubicBezTo>
                  <a:cubicBezTo>
                    <a:pt x="650" y="330"/>
                    <a:pt x="652" y="330"/>
                    <a:pt x="654" y="330"/>
                  </a:cubicBezTo>
                  <a:cubicBezTo>
                    <a:pt x="655" y="331"/>
                    <a:pt x="655" y="332"/>
                    <a:pt x="655" y="333"/>
                  </a:cubicBezTo>
                  <a:cubicBezTo>
                    <a:pt x="656" y="333"/>
                    <a:pt x="656" y="332"/>
                    <a:pt x="657" y="332"/>
                  </a:cubicBezTo>
                  <a:cubicBezTo>
                    <a:pt x="659" y="333"/>
                    <a:pt x="660" y="334"/>
                    <a:pt x="661" y="337"/>
                  </a:cubicBezTo>
                  <a:cubicBezTo>
                    <a:pt x="662" y="337"/>
                    <a:pt x="664" y="336"/>
                    <a:pt x="665" y="336"/>
                  </a:cubicBezTo>
                  <a:cubicBezTo>
                    <a:pt x="664" y="335"/>
                    <a:pt x="664" y="335"/>
                    <a:pt x="664" y="335"/>
                  </a:cubicBezTo>
                  <a:cubicBezTo>
                    <a:pt x="664" y="335"/>
                    <a:pt x="663" y="335"/>
                    <a:pt x="662" y="336"/>
                  </a:cubicBezTo>
                  <a:cubicBezTo>
                    <a:pt x="661" y="334"/>
                    <a:pt x="660" y="332"/>
                    <a:pt x="660" y="330"/>
                  </a:cubicBezTo>
                  <a:cubicBezTo>
                    <a:pt x="659" y="330"/>
                    <a:pt x="658" y="331"/>
                    <a:pt x="657" y="330"/>
                  </a:cubicBezTo>
                  <a:cubicBezTo>
                    <a:pt x="657" y="330"/>
                    <a:pt x="657" y="328"/>
                    <a:pt x="657" y="328"/>
                  </a:cubicBezTo>
                  <a:cubicBezTo>
                    <a:pt x="663" y="328"/>
                    <a:pt x="662" y="330"/>
                    <a:pt x="661" y="324"/>
                  </a:cubicBezTo>
                  <a:cubicBezTo>
                    <a:pt x="660" y="324"/>
                    <a:pt x="659" y="323"/>
                    <a:pt x="661" y="323"/>
                  </a:cubicBezTo>
                  <a:cubicBezTo>
                    <a:pt x="661" y="323"/>
                    <a:pt x="662" y="324"/>
                    <a:pt x="663" y="324"/>
                  </a:cubicBezTo>
                  <a:cubicBezTo>
                    <a:pt x="664" y="324"/>
                    <a:pt x="664" y="323"/>
                    <a:pt x="665" y="322"/>
                  </a:cubicBezTo>
                  <a:cubicBezTo>
                    <a:pt x="663" y="320"/>
                    <a:pt x="663" y="318"/>
                    <a:pt x="661" y="315"/>
                  </a:cubicBezTo>
                  <a:cubicBezTo>
                    <a:pt x="659" y="316"/>
                    <a:pt x="660" y="314"/>
                    <a:pt x="659" y="314"/>
                  </a:cubicBezTo>
                  <a:cubicBezTo>
                    <a:pt x="659" y="314"/>
                    <a:pt x="657" y="316"/>
                    <a:pt x="659" y="316"/>
                  </a:cubicBezTo>
                  <a:cubicBezTo>
                    <a:pt x="659" y="317"/>
                    <a:pt x="659" y="318"/>
                    <a:pt x="660" y="318"/>
                  </a:cubicBezTo>
                  <a:cubicBezTo>
                    <a:pt x="660" y="318"/>
                    <a:pt x="660" y="319"/>
                    <a:pt x="659" y="318"/>
                  </a:cubicBezTo>
                  <a:cubicBezTo>
                    <a:pt x="657" y="318"/>
                    <a:pt x="658" y="317"/>
                    <a:pt x="657" y="315"/>
                  </a:cubicBezTo>
                  <a:cubicBezTo>
                    <a:pt x="656" y="315"/>
                    <a:pt x="656" y="316"/>
                    <a:pt x="655" y="316"/>
                  </a:cubicBezTo>
                  <a:cubicBezTo>
                    <a:pt x="654" y="316"/>
                    <a:pt x="655" y="314"/>
                    <a:pt x="655" y="314"/>
                  </a:cubicBezTo>
                  <a:cubicBezTo>
                    <a:pt x="654" y="313"/>
                    <a:pt x="652" y="312"/>
                    <a:pt x="652" y="312"/>
                  </a:cubicBezTo>
                  <a:cubicBezTo>
                    <a:pt x="651" y="311"/>
                    <a:pt x="649" y="312"/>
                    <a:pt x="649" y="312"/>
                  </a:cubicBezTo>
                  <a:cubicBezTo>
                    <a:pt x="648" y="311"/>
                    <a:pt x="648" y="310"/>
                    <a:pt x="648" y="309"/>
                  </a:cubicBezTo>
                  <a:cubicBezTo>
                    <a:pt x="648" y="308"/>
                    <a:pt x="646" y="308"/>
                    <a:pt x="645" y="308"/>
                  </a:cubicBezTo>
                  <a:cubicBezTo>
                    <a:pt x="644" y="306"/>
                    <a:pt x="644" y="304"/>
                    <a:pt x="643" y="301"/>
                  </a:cubicBezTo>
                  <a:cubicBezTo>
                    <a:pt x="638" y="302"/>
                    <a:pt x="638" y="300"/>
                    <a:pt x="636" y="294"/>
                  </a:cubicBezTo>
                  <a:cubicBezTo>
                    <a:pt x="637" y="295"/>
                    <a:pt x="637" y="294"/>
                    <a:pt x="639" y="294"/>
                  </a:cubicBezTo>
                  <a:cubicBezTo>
                    <a:pt x="639" y="296"/>
                    <a:pt x="639" y="296"/>
                    <a:pt x="639" y="296"/>
                  </a:cubicBezTo>
                  <a:cubicBezTo>
                    <a:pt x="640" y="296"/>
                    <a:pt x="642" y="296"/>
                    <a:pt x="643" y="296"/>
                  </a:cubicBezTo>
                  <a:cubicBezTo>
                    <a:pt x="643" y="296"/>
                    <a:pt x="643" y="294"/>
                    <a:pt x="643" y="294"/>
                  </a:cubicBezTo>
                  <a:cubicBezTo>
                    <a:pt x="643" y="294"/>
                    <a:pt x="641" y="294"/>
                    <a:pt x="642" y="293"/>
                  </a:cubicBezTo>
                  <a:cubicBezTo>
                    <a:pt x="641" y="293"/>
                    <a:pt x="641" y="293"/>
                    <a:pt x="641" y="293"/>
                  </a:cubicBezTo>
                  <a:cubicBezTo>
                    <a:pt x="640" y="291"/>
                    <a:pt x="639" y="290"/>
                    <a:pt x="639" y="286"/>
                  </a:cubicBezTo>
                  <a:cubicBezTo>
                    <a:pt x="639" y="287"/>
                    <a:pt x="640" y="287"/>
                    <a:pt x="641" y="287"/>
                  </a:cubicBezTo>
                  <a:cubicBezTo>
                    <a:pt x="641" y="289"/>
                    <a:pt x="641" y="290"/>
                    <a:pt x="642" y="291"/>
                  </a:cubicBezTo>
                  <a:cubicBezTo>
                    <a:pt x="644" y="290"/>
                    <a:pt x="644" y="290"/>
                    <a:pt x="644" y="290"/>
                  </a:cubicBezTo>
                  <a:cubicBezTo>
                    <a:pt x="644" y="289"/>
                    <a:pt x="644" y="289"/>
                    <a:pt x="644" y="289"/>
                  </a:cubicBezTo>
                  <a:cubicBezTo>
                    <a:pt x="644" y="289"/>
                    <a:pt x="644" y="288"/>
                    <a:pt x="644" y="286"/>
                  </a:cubicBezTo>
                  <a:cubicBezTo>
                    <a:pt x="643" y="285"/>
                    <a:pt x="641" y="284"/>
                    <a:pt x="643" y="284"/>
                  </a:cubicBezTo>
                  <a:cubicBezTo>
                    <a:pt x="645" y="286"/>
                    <a:pt x="645" y="286"/>
                    <a:pt x="645" y="286"/>
                  </a:cubicBezTo>
                  <a:cubicBezTo>
                    <a:pt x="645" y="286"/>
                    <a:pt x="646" y="284"/>
                    <a:pt x="647" y="285"/>
                  </a:cubicBezTo>
                  <a:cubicBezTo>
                    <a:pt x="648" y="286"/>
                    <a:pt x="646" y="287"/>
                    <a:pt x="647" y="288"/>
                  </a:cubicBezTo>
                  <a:cubicBezTo>
                    <a:pt x="647" y="289"/>
                    <a:pt x="648" y="289"/>
                    <a:pt x="649" y="289"/>
                  </a:cubicBezTo>
                  <a:cubicBezTo>
                    <a:pt x="650" y="290"/>
                    <a:pt x="649" y="293"/>
                    <a:pt x="650" y="294"/>
                  </a:cubicBezTo>
                  <a:cubicBezTo>
                    <a:pt x="651" y="295"/>
                    <a:pt x="651" y="294"/>
                    <a:pt x="653" y="294"/>
                  </a:cubicBezTo>
                  <a:cubicBezTo>
                    <a:pt x="653" y="295"/>
                    <a:pt x="655" y="296"/>
                    <a:pt x="655" y="296"/>
                  </a:cubicBezTo>
                  <a:cubicBezTo>
                    <a:pt x="658" y="297"/>
                    <a:pt x="661" y="295"/>
                    <a:pt x="663" y="294"/>
                  </a:cubicBezTo>
                  <a:cubicBezTo>
                    <a:pt x="662" y="295"/>
                    <a:pt x="662" y="297"/>
                    <a:pt x="661" y="297"/>
                  </a:cubicBezTo>
                  <a:cubicBezTo>
                    <a:pt x="660" y="298"/>
                    <a:pt x="660" y="297"/>
                    <a:pt x="659" y="298"/>
                  </a:cubicBezTo>
                  <a:cubicBezTo>
                    <a:pt x="659" y="299"/>
                    <a:pt x="659" y="299"/>
                    <a:pt x="659" y="299"/>
                  </a:cubicBezTo>
                  <a:cubicBezTo>
                    <a:pt x="660" y="299"/>
                    <a:pt x="663" y="298"/>
                    <a:pt x="663" y="298"/>
                  </a:cubicBezTo>
                  <a:cubicBezTo>
                    <a:pt x="663" y="301"/>
                    <a:pt x="663" y="301"/>
                    <a:pt x="663" y="301"/>
                  </a:cubicBezTo>
                  <a:cubicBezTo>
                    <a:pt x="663" y="301"/>
                    <a:pt x="664" y="301"/>
                    <a:pt x="665" y="301"/>
                  </a:cubicBezTo>
                  <a:cubicBezTo>
                    <a:pt x="664" y="301"/>
                    <a:pt x="667" y="300"/>
                    <a:pt x="667" y="300"/>
                  </a:cubicBezTo>
                  <a:cubicBezTo>
                    <a:pt x="666" y="301"/>
                    <a:pt x="666" y="303"/>
                    <a:pt x="665" y="303"/>
                  </a:cubicBezTo>
                  <a:cubicBezTo>
                    <a:pt x="664" y="303"/>
                    <a:pt x="665" y="304"/>
                    <a:pt x="665" y="304"/>
                  </a:cubicBezTo>
                  <a:cubicBezTo>
                    <a:pt x="666" y="304"/>
                    <a:pt x="675" y="302"/>
                    <a:pt x="669" y="306"/>
                  </a:cubicBezTo>
                  <a:cubicBezTo>
                    <a:pt x="667" y="307"/>
                    <a:pt x="668" y="307"/>
                    <a:pt x="670" y="308"/>
                  </a:cubicBezTo>
                  <a:cubicBezTo>
                    <a:pt x="671" y="308"/>
                    <a:pt x="671" y="307"/>
                    <a:pt x="672" y="306"/>
                  </a:cubicBezTo>
                  <a:cubicBezTo>
                    <a:pt x="672" y="307"/>
                    <a:pt x="672" y="308"/>
                    <a:pt x="672" y="308"/>
                  </a:cubicBezTo>
                  <a:cubicBezTo>
                    <a:pt x="673" y="309"/>
                    <a:pt x="673" y="310"/>
                    <a:pt x="674" y="310"/>
                  </a:cubicBezTo>
                  <a:cubicBezTo>
                    <a:pt x="675" y="311"/>
                    <a:pt x="675" y="309"/>
                    <a:pt x="677" y="310"/>
                  </a:cubicBezTo>
                  <a:cubicBezTo>
                    <a:pt x="677" y="311"/>
                    <a:pt x="677" y="311"/>
                    <a:pt x="677" y="311"/>
                  </a:cubicBezTo>
                  <a:cubicBezTo>
                    <a:pt x="681" y="311"/>
                    <a:pt x="678" y="311"/>
                    <a:pt x="679" y="310"/>
                  </a:cubicBezTo>
                  <a:cubicBezTo>
                    <a:pt x="683" y="307"/>
                    <a:pt x="680" y="308"/>
                    <a:pt x="679" y="305"/>
                  </a:cubicBezTo>
                  <a:cubicBezTo>
                    <a:pt x="679" y="304"/>
                    <a:pt x="679" y="303"/>
                    <a:pt x="679" y="302"/>
                  </a:cubicBezTo>
                  <a:cubicBezTo>
                    <a:pt x="679" y="302"/>
                    <a:pt x="677" y="302"/>
                    <a:pt x="677" y="302"/>
                  </a:cubicBezTo>
                  <a:cubicBezTo>
                    <a:pt x="677" y="301"/>
                    <a:pt x="679" y="298"/>
                    <a:pt x="679" y="299"/>
                  </a:cubicBezTo>
                  <a:cubicBezTo>
                    <a:pt x="679" y="299"/>
                    <a:pt x="679" y="300"/>
                    <a:pt x="680" y="301"/>
                  </a:cubicBezTo>
                  <a:cubicBezTo>
                    <a:pt x="680" y="301"/>
                    <a:pt x="684" y="300"/>
                    <a:pt x="683" y="300"/>
                  </a:cubicBezTo>
                  <a:cubicBezTo>
                    <a:pt x="684" y="300"/>
                    <a:pt x="684" y="300"/>
                    <a:pt x="686" y="300"/>
                  </a:cubicBezTo>
                  <a:cubicBezTo>
                    <a:pt x="685" y="300"/>
                    <a:pt x="686" y="299"/>
                    <a:pt x="686" y="298"/>
                  </a:cubicBezTo>
                  <a:cubicBezTo>
                    <a:pt x="686" y="298"/>
                    <a:pt x="685" y="298"/>
                    <a:pt x="684" y="298"/>
                  </a:cubicBezTo>
                  <a:cubicBezTo>
                    <a:pt x="684" y="296"/>
                    <a:pt x="684" y="296"/>
                    <a:pt x="684" y="296"/>
                  </a:cubicBezTo>
                  <a:cubicBezTo>
                    <a:pt x="682" y="295"/>
                    <a:pt x="684" y="296"/>
                    <a:pt x="686" y="296"/>
                  </a:cubicBezTo>
                  <a:cubicBezTo>
                    <a:pt x="686" y="294"/>
                    <a:pt x="686" y="294"/>
                    <a:pt x="686" y="294"/>
                  </a:cubicBezTo>
                  <a:cubicBezTo>
                    <a:pt x="685" y="294"/>
                    <a:pt x="685" y="294"/>
                    <a:pt x="685" y="294"/>
                  </a:cubicBezTo>
                  <a:cubicBezTo>
                    <a:pt x="685" y="294"/>
                    <a:pt x="685" y="291"/>
                    <a:pt x="685" y="291"/>
                  </a:cubicBezTo>
                  <a:cubicBezTo>
                    <a:pt x="686" y="291"/>
                    <a:pt x="687" y="291"/>
                    <a:pt x="688" y="290"/>
                  </a:cubicBezTo>
                  <a:cubicBezTo>
                    <a:pt x="688" y="290"/>
                    <a:pt x="690" y="286"/>
                    <a:pt x="688" y="288"/>
                  </a:cubicBezTo>
                  <a:cubicBezTo>
                    <a:pt x="688" y="287"/>
                    <a:pt x="689" y="286"/>
                    <a:pt x="688" y="286"/>
                  </a:cubicBezTo>
                  <a:cubicBezTo>
                    <a:pt x="689" y="286"/>
                    <a:pt x="691" y="286"/>
                    <a:pt x="691" y="286"/>
                  </a:cubicBezTo>
                  <a:cubicBezTo>
                    <a:pt x="692" y="288"/>
                    <a:pt x="692" y="288"/>
                    <a:pt x="692" y="288"/>
                  </a:cubicBezTo>
                  <a:cubicBezTo>
                    <a:pt x="693" y="289"/>
                    <a:pt x="695" y="289"/>
                    <a:pt x="695" y="288"/>
                  </a:cubicBezTo>
                  <a:cubicBezTo>
                    <a:pt x="695" y="290"/>
                    <a:pt x="696" y="288"/>
                    <a:pt x="696" y="288"/>
                  </a:cubicBezTo>
                  <a:cubicBezTo>
                    <a:pt x="693" y="287"/>
                    <a:pt x="696" y="286"/>
                    <a:pt x="695" y="284"/>
                  </a:cubicBezTo>
                  <a:cubicBezTo>
                    <a:pt x="695" y="283"/>
                    <a:pt x="694" y="283"/>
                    <a:pt x="694" y="283"/>
                  </a:cubicBezTo>
                  <a:cubicBezTo>
                    <a:pt x="695" y="283"/>
                    <a:pt x="695" y="283"/>
                    <a:pt x="696" y="283"/>
                  </a:cubicBezTo>
                  <a:cubicBezTo>
                    <a:pt x="695" y="284"/>
                    <a:pt x="698" y="284"/>
                    <a:pt x="698" y="284"/>
                  </a:cubicBezTo>
                  <a:cubicBezTo>
                    <a:pt x="698" y="283"/>
                    <a:pt x="697" y="282"/>
                    <a:pt x="698" y="282"/>
                  </a:cubicBezTo>
                  <a:cubicBezTo>
                    <a:pt x="698" y="281"/>
                    <a:pt x="698" y="281"/>
                    <a:pt x="698" y="281"/>
                  </a:cubicBezTo>
                  <a:cubicBezTo>
                    <a:pt x="696" y="280"/>
                    <a:pt x="696" y="280"/>
                    <a:pt x="696" y="280"/>
                  </a:cubicBezTo>
                  <a:cubicBezTo>
                    <a:pt x="696" y="279"/>
                    <a:pt x="696" y="276"/>
                    <a:pt x="695" y="276"/>
                  </a:cubicBezTo>
                  <a:cubicBezTo>
                    <a:pt x="694" y="275"/>
                    <a:pt x="692" y="275"/>
                    <a:pt x="691" y="275"/>
                  </a:cubicBezTo>
                  <a:cubicBezTo>
                    <a:pt x="691" y="274"/>
                    <a:pt x="691" y="273"/>
                    <a:pt x="690" y="273"/>
                  </a:cubicBezTo>
                  <a:cubicBezTo>
                    <a:pt x="689" y="272"/>
                    <a:pt x="690" y="277"/>
                    <a:pt x="690" y="278"/>
                  </a:cubicBezTo>
                  <a:cubicBezTo>
                    <a:pt x="689" y="278"/>
                    <a:pt x="690" y="277"/>
                    <a:pt x="689" y="277"/>
                  </a:cubicBezTo>
                  <a:cubicBezTo>
                    <a:pt x="688" y="277"/>
                    <a:pt x="687" y="278"/>
                    <a:pt x="686" y="279"/>
                  </a:cubicBezTo>
                  <a:cubicBezTo>
                    <a:pt x="686" y="277"/>
                    <a:pt x="686" y="277"/>
                    <a:pt x="686" y="277"/>
                  </a:cubicBezTo>
                  <a:cubicBezTo>
                    <a:pt x="685" y="277"/>
                    <a:pt x="685" y="277"/>
                    <a:pt x="685" y="277"/>
                  </a:cubicBezTo>
                  <a:cubicBezTo>
                    <a:pt x="687" y="276"/>
                    <a:pt x="682" y="278"/>
                    <a:pt x="684" y="278"/>
                  </a:cubicBezTo>
                  <a:cubicBezTo>
                    <a:pt x="684" y="278"/>
                    <a:pt x="683" y="281"/>
                    <a:pt x="683" y="281"/>
                  </a:cubicBezTo>
                  <a:cubicBezTo>
                    <a:pt x="683" y="281"/>
                    <a:pt x="681" y="281"/>
                    <a:pt x="681" y="281"/>
                  </a:cubicBezTo>
                  <a:cubicBezTo>
                    <a:pt x="681" y="280"/>
                    <a:pt x="681" y="278"/>
                    <a:pt x="681" y="277"/>
                  </a:cubicBezTo>
                  <a:cubicBezTo>
                    <a:pt x="681" y="277"/>
                    <a:pt x="683" y="275"/>
                    <a:pt x="683" y="275"/>
                  </a:cubicBezTo>
                  <a:cubicBezTo>
                    <a:pt x="683" y="274"/>
                    <a:pt x="684" y="273"/>
                    <a:pt x="683" y="274"/>
                  </a:cubicBezTo>
                  <a:cubicBezTo>
                    <a:pt x="683" y="275"/>
                    <a:pt x="683" y="275"/>
                    <a:pt x="683" y="275"/>
                  </a:cubicBezTo>
                  <a:cubicBezTo>
                    <a:pt x="682" y="275"/>
                    <a:pt x="680" y="274"/>
                    <a:pt x="680" y="273"/>
                  </a:cubicBezTo>
                  <a:cubicBezTo>
                    <a:pt x="680" y="275"/>
                    <a:pt x="680" y="275"/>
                    <a:pt x="680" y="275"/>
                  </a:cubicBezTo>
                  <a:cubicBezTo>
                    <a:pt x="679" y="275"/>
                    <a:pt x="679" y="275"/>
                    <a:pt x="679" y="275"/>
                  </a:cubicBezTo>
                  <a:cubicBezTo>
                    <a:pt x="679" y="276"/>
                    <a:pt x="679" y="277"/>
                    <a:pt x="679" y="279"/>
                  </a:cubicBezTo>
                  <a:cubicBezTo>
                    <a:pt x="674" y="275"/>
                    <a:pt x="678" y="277"/>
                    <a:pt x="672" y="277"/>
                  </a:cubicBezTo>
                  <a:cubicBezTo>
                    <a:pt x="672" y="275"/>
                    <a:pt x="672" y="275"/>
                    <a:pt x="672" y="275"/>
                  </a:cubicBezTo>
                  <a:cubicBezTo>
                    <a:pt x="671" y="275"/>
                    <a:pt x="670" y="275"/>
                    <a:pt x="669" y="276"/>
                  </a:cubicBezTo>
                  <a:cubicBezTo>
                    <a:pt x="669" y="275"/>
                    <a:pt x="669" y="275"/>
                    <a:pt x="669" y="275"/>
                  </a:cubicBezTo>
                  <a:cubicBezTo>
                    <a:pt x="669" y="274"/>
                    <a:pt x="671" y="274"/>
                    <a:pt x="672" y="273"/>
                  </a:cubicBezTo>
                  <a:cubicBezTo>
                    <a:pt x="672" y="273"/>
                    <a:pt x="671" y="272"/>
                    <a:pt x="671" y="272"/>
                  </a:cubicBezTo>
                  <a:cubicBezTo>
                    <a:pt x="671" y="272"/>
                    <a:pt x="671" y="270"/>
                    <a:pt x="671" y="269"/>
                  </a:cubicBezTo>
                  <a:cubicBezTo>
                    <a:pt x="669" y="269"/>
                    <a:pt x="668" y="268"/>
                    <a:pt x="666" y="267"/>
                  </a:cubicBezTo>
                  <a:cubicBezTo>
                    <a:pt x="666" y="267"/>
                    <a:pt x="666" y="269"/>
                    <a:pt x="666" y="270"/>
                  </a:cubicBezTo>
                  <a:cubicBezTo>
                    <a:pt x="666" y="270"/>
                    <a:pt x="663" y="270"/>
                    <a:pt x="663" y="271"/>
                  </a:cubicBezTo>
                  <a:cubicBezTo>
                    <a:pt x="663" y="271"/>
                    <a:pt x="664" y="265"/>
                    <a:pt x="665" y="263"/>
                  </a:cubicBezTo>
                  <a:cubicBezTo>
                    <a:pt x="663" y="264"/>
                    <a:pt x="664" y="262"/>
                    <a:pt x="663" y="263"/>
                  </a:cubicBezTo>
                  <a:cubicBezTo>
                    <a:pt x="662" y="263"/>
                    <a:pt x="660" y="266"/>
                    <a:pt x="661" y="265"/>
                  </a:cubicBezTo>
                  <a:cubicBezTo>
                    <a:pt x="660" y="266"/>
                    <a:pt x="660" y="267"/>
                    <a:pt x="660" y="268"/>
                  </a:cubicBezTo>
                  <a:cubicBezTo>
                    <a:pt x="660" y="268"/>
                    <a:pt x="659" y="268"/>
                    <a:pt x="659" y="269"/>
                  </a:cubicBezTo>
                  <a:cubicBezTo>
                    <a:pt x="658" y="268"/>
                    <a:pt x="659" y="266"/>
                    <a:pt x="659" y="265"/>
                  </a:cubicBezTo>
                  <a:cubicBezTo>
                    <a:pt x="658" y="265"/>
                    <a:pt x="658" y="265"/>
                    <a:pt x="657" y="265"/>
                  </a:cubicBezTo>
                  <a:cubicBezTo>
                    <a:pt x="657" y="265"/>
                    <a:pt x="657" y="266"/>
                    <a:pt x="656" y="267"/>
                  </a:cubicBezTo>
                  <a:cubicBezTo>
                    <a:pt x="657" y="267"/>
                    <a:pt x="655" y="269"/>
                    <a:pt x="655" y="269"/>
                  </a:cubicBezTo>
                  <a:cubicBezTo>
                    <a:pt x="655" y="269"/>
                    <a:pt x="655" y="267"/>
                    <a:pt x="655" y="267"/>
                  </a:cubicBezTo>
                  <a:cubicBezTo>
                    <a:pt x="653" y="267"/>
                    <a:pt x="653" y="267"/>
                    <a:pt x="653" y="267"/>
                  </a:cubicBezTo>
                  <a:cubicBezTo>
                    <a:pt x="652" y="268"/>
                    <a:pt x="653" y="268"/>
                    <a:pt x="652" y="270"/>
                  </a:cubicBezTo>
                  <a:cubicBezTo>
                    <a:pt x="651" y="270"/>
                    <a:pt x="650" y="270"/>
                    <a:pt x="650" y="270"/>
                  </a:cubicBezTo>
                  <a:cubicBezTo>
                    <a:pt x="651" y="268"/>
                    <a:pt x="651" y="266"/>
                    <a:pt x="651" y="265"/>
                  </a:cubicBezTo>
                  <a:cubicBezTo>
                    <a:pt x="653" y="264"/>
                    <a:pt x="650" y="263"/>
                    <a:pt x="650" y="263"/>
                  </a:cubicBezTo>
                  <a:cubicBezTo>
                    <a:pt x="650" y="264"/>
                    <a:pt x="651" y="265"/>
                    <a:pt x="649" y="265"/>
                  </a:cubicBezTo>
                  <a:cubicBezTo>
                    <a:pt x="649" y="265"/>
                    <a:pt x="649" y="263"/>
                    <a:pt x="649" y="263"/>
                  </a:cubicBezTo>
                  <a:cubicBezTo>
                    <a:pt x="649" y="263"/>
                    <a:pt x="648" y="264"/>
                    <a:pt x="647" y="263"/>
                  </a:cubicBezTo>
                  <a:cubicBezTo>
                    <a:pt x="647" y="263"/>
                    <a:pt x="647" y="261"/>
                    <a:pt x="647" y="261"/>
                  </a:cubicBezTo>
                  <a:cubicBezTo>
                    <a:pt x="646" y="262"/>
                    <a:pt x="644" y="262"/>
                    <a:pt x="643" y="262"/>
                  </a:cubicBezTo>
                  <a:cubicBezTo>
                    <a:pt x="647" y="258"/>
                    <a:pt x="646" y="260"/>
                    <a:pt x="643" y="257"/>
                  </a:cubicBezTo>
                  <a:cubicBezTo>
                    <a:pt x="642" y="258"/>
                    <a:pt x="642" y="259"/>
                    <a:pt x="641" y="259"/>
                  </a:cubicBezTo>
                  <a:cubicBezTo>
                    <a:pt x="641" y="258"/>
                    <a:pt x="641" y="257"/>
                    <a:pt x="641" y="256"/>
                  </a:cubicBezTo>
                  <a:cubicBezTo>
                    <a:pt x="640" y="256"/>
                    <a:pt x="636" y="256"/>
                    <a:pt x="634" y="255"/>
                  </a:cubicBezTo>
                  <a:cubicBezTo>
                    <a:pt x="633" y="255"/>
                    <a:pt x="634" y="253"/>
                    <a:pt x="634" y="253"/>
                  </a:cubicBezTo>
                  <a:cubicBezTo>
                    <a:pt x="633" y="252"/>
                    <a:pt x="632" y="253"/>
                    <a:pt x="631" y="253"/>
                  </a:cubicBezTo>
                  <a:cubicBezTo>
                    <a:pt x="631" y="251"/>
                    <a:pt x="631" y="251"/>
                    <a:pt x="631" y="251"/>
                  </a:cubicBezTo>
                  <a:cubicBezTo>
                    <a:pt x="633" y="251"/>
                    <a:pt x="636" y="251"/>
                    <a:pt x="637" y="251"/>
                  </a:cubicBezTo>
                  <a:cubicBezTo>
                    <a:pt x="637" y="250"/>
                    <a:pt x="637" y="249"/>
                    <a:pt x="637" y="249"/>
                  </a:cubicBezTo>
                  <a:cubicBezTo>
                    <a:pt x="638" y="248"/>
                    <a:pt x="639" y="248"/>
                    <a:pt x="639" y="248"/>
                  </a:cubicBezTo>
                  <a:cubicBezTo>
                    <a:pt x="639" y="247"/>
                    <a:pt x="639" y="247"/>
                    <a:pt x="639" y="247"/>
                  </a:cubicBezTo>
                  <a:cubicBezTo>
                    <a:pt x="639" y="246"/>
                    <a:pt x="636" y="244"/>
                    <a:pt x="635" y="244"/>
                  </a:cubicBezTo>
                  <a:cubicBezTo>
                    <a:pt x="635" y="242"/>
                    <a:pt x="635" y="242"/>
                    <a:pt x="635" y="242"/>
                  </a:cubicBezTo>
                  <a:cubicBezTo>
                    <a:pt x="634" y="242"/>
                    <a:pt x="635" y="241"/>
                    <a:pt x="636" y="241"/>
                  </a:cubicBezTo>
                  <a:cubicBezTo>
                    <a:pt x="637" y="243"/>
                    <a:pt x="637" y="243"/>
                    <a:pt x="637" y="243"/>
                  </a:cubicBezTo>
                  <a:cubicBezTo>
                    <a:pt x="639" y="243"/>
                    <a:pt x="642" y="243"/>
                    <a:pt x="644" y="243"/>
                  </a:cubicBezTo>
                  <a:cubicBezTo>
                    <a:pt x="648" y="242"/>
                    <a:pt x="640" y="238"/>
                    <a:pt x="638" y="237"/>
                  </a:cubicBezTo>
                  <a:cubicBezTo>
                    <a:pt x="637" y="237"/>
                    <a:pt x="634" y="238"/>
                    <a:pt x="634" y="238"/>
                  </a:cubicBezTo>
                  <a:cubicBezTo>
                    <a:pt x="634" y="237"/>
                    <a:pt x="634" y="237"/>
                    <a:pt x="634" y="237"/>
                  </a:cubicBezTo>
                  <a:cubicBezTo>
                    <a:pt x="634" y="236"/>
                    <a:pt x="631" y="234"/>
                    <a:pt x="631" y="234"/>
                  </a:cubicBezTo>
                  <a:cubicBezTo>
                    <a:pt x="632" y="234"/>
                    <a:pt x="634" y="234"/>
                    <a:pt x="636" y="234"/>
                  </a:cubicBezTo>
                  <a:cubicBezTo>
                    <a:pt x="636" y="234"/>
                    <a:pt x="637" y="232"/>
                    <a:pt x="637" y="232"/>
                  </a:cubicBezTo>
                  <a:cubicBezTo>
                    <a:pt x="638" y="232"/>
                    <a:pt x="640" y="232"/>
                    <a:pt x="641" y="232"/>
                  </a:cubicBezTo>
                  <a:cubicBezTo>
                    <a:pt x="641" y="230"/>
                    <a:pt x="642" y="229"/>
                    <a:pt x="641" y="227"/>
                  </a:cubicBezTo>
                  <a:cubicBezTo>
                    <a:pt x="641" y="226"/>
                    <a:pt x="639" y="225"/>
                    <a:pt x="639" y="225"/>
                  </a:cubicBezTo>
                  <a:cubicBezTo>
                    <a:pt x="638" y="224"/>
                    <a:pt x="638" y="223"/>
                    <a:pt x="637" y="223"/>
                  </a:cubicBezTo>
                  <a:cubicBezTo>
                    <a:pt x="637" y="223"/>
                    <a:pt x="635" y="223"/>
                    <a:pt x="636" y="223"/>
                  </a:cubicBezTo>
                  <a:cubicBezTo>
                    <a:pt x="636" y="224"/>
                    <a:pt x="633" y="228"/>
                    <a:pt x="632" y="228"/>
                  </a:cubicBezTo>
                  <a:cubicBezTo>
                    <a:pt x="629" y="229"/>
                    <a:pt x="632" y="227"/>
                    <a:pt x="630" y="225"/>
                  </a:cubicBezTo>
                  <a:cubicBezTo>
                    <a:pt x="629" y="225"/>
                    <a:pt x="627" y="225"/>
                    <a:pt x="626" y="225"/>
                  </a:cubicBezTo>
                  <a:cubicBezTo>
                    <a:pt x="626" y="225"/>
                    <a:pt x="627" y="224"/>
                    <a:pt x="627" y="224"/>
                  </a:cubicBezTo>
                  <a:cubicBezTo>
                    <a:pt x="628" y="224"/>
                    <a:pt x="628" y="224"/>
                    <a:pt x="629" y="223"/>
                  </a:cubicBezTo>
                  <a:cubicBezTo>
                    <a:pt x="630" y="223"/>
                    <a:pt x="630" y="222"/>
                    <a:pt x="630" y="221"/>
                  </a:cubicBezTo>
                  <a:cubicBezTo>
                    <a:pt x="631" y="221"/>
                    <a:pt x="632" y="222"/>
                    <a:pt x="633" y="222"/>
                  </a:cubicBezTo>
                  <a:cubicBezTo>
                    <a:pt x="633" y="222"/>
                    <a:pt x="633" y="220"/>
                    <a:pt x="633" y="220"/>
                  </a:cubicBezTo>
                  <a:cubicBezTo>
                    <a:pt x="631" y="219"/>
                    <a:pt x="630" y="220"/>
                    <a:pt x="629" y="219"/>
                  </a:cubicBezTo>
                  <a:cubicBezTo>
                    <a:pt x="628" y="219"/>
                    <a:pt x="627" y="216"/>
                    <a:pt x="627" y="216"/>
                  </a:cubicBezTo>
                  <a:cubicBezTo>
                    <a:pt x="626" y="216"/>
                    <a:pt x="624" y="216"/>
                    <a:pt x="623" y="216"/>
                  </a:cubicBezTo>
                  <a:cubicBezTo>
                    <a:pt x="622" y="217"/>
                    <a:pt x="621" y="218"/>
                    <a:pt x="621" y="219"/>
                  </a:cubicBezTo>
                  <a:cubicBezTo>
                    <a:pt x="620" y="219"/>
                    <a:pt x="619" y="218"/>
                    <a:pt x="620" y="218"/>
                  </a:cubicBezTo>
                  <a:cubicBezTo>
                    <a:pt x="620" y="218"/>
                    <a:pt x="621" y="216"/>
                    <a:pt x="621" y="216"/>
                  </a:cubicBezTo>
                  <a:cubicBezTo>
                    <a:pt x="619" y="216"/>
                    <a:pt x="616" y="215"/>
                    <a:pt x="615" y="218"/>
                  </a:cubicBezTo>
                  <a:cubicBezTo>
                    <a:pt x="615" y="219"/>
                    <a:pt x="615" y="219"/>
                    <a:pt x="615" y="219"/>
                  </a:cubicBezTo>
                  <a:cubicBezTo>
                    <a:pt x="613" y="219"/>
                    <a:pt x="613" y="219"/>
                    <a:pt x="613" y="219"/>
                  </a:cubicBezTo>
                  <a:cubicBezTo>
                    <a:pt x="614" y="219"/>
                    <a:pt x="613" y="216"/>
                    <a:pt x="613" y="216"/>
                  </a:cubicBezTo>
                  <a:cubicBezTo>
                    <a:pt x="614" y="216"/>
                    <a:pt x="615" y="216"/>
                    <a:pt x="615" y="216"/>
                  </a:cubicBezTo>
                  <a:cubicBezTo>
                    <a:pt x="616" y="216"/>
                    <a:pt x="617" y="214"/>
                    <a:pt x="617" y="214"/>
                  </a:cubicBezTo>
                  <a:cubicBezTo>
                    <a:pt x="617" y="211"/>
                    <a:pt x="617" y="211"/>
                    <a:pt x="617" y="211"/>
                  </a:cubicBezTo>
                  <a:cubicBezTo>
                    <a:pt x="617" y="211"/>
                    <a:pt x="614" y="213"/>
                    <a:pt x="615" y="213"/>
                  </a:cubicBezTo>
                  <a:cubicBezTo>
                    <a:pt x="614" y="212"/>
                    <a:pt x="613" y="213"/>
                    <a:pt x="613" y="213"/>
                  </a:cubicBezTo>
                  <a:cubicBezTo>
                    <a:pt x="613" y="213"/>
                    <a:pt x="613" y="211"/>
                    <a:pt x="613" y="211"/>
                  </a:cubicBezTo>
                  <a:cubicBezTo>
                    <a:pt x="613" y="211"/>
                    <a:pt x="611" y="211"/>
                    <a:pt x="612" y="211"/>
                  </a:cubicBezTo>
                  <a:cubicBezTo>
                    <a:pt x="611" y="211"/>
                    <a:pt x="611" y="211"/>
                    <a:pt x="611" y="211"/>
                  </a:cubicBezTo>
                  <a:cubicBezTo>
                    <a:pt x="612" y="212"/>
                    <a:pt x="612" y="213"/>
                    <a:pt x="612" y="213"/>
                  </a:cubicBezTo>
                  <a:cubicBezTo>
                    <a:pt x="612" y="214"/>
                    <a:pt x="610" y="214"/>
                    <a:pt x="610" y="215"/>
                  </a:cubicBezTo>
                  <a:cubicBezTo>
                    <a:pt x="606" y="214"/>
                    <a:pt x="605" y="215"/>
                    <a:pt x="608" y="212"/>
                  </a:cubicBezTo>
                  <a:cubicBezTo>
                    <a:pt x="609" y="211"/>
                    <a:pt x="610" y="211"/>
                    <a:pt x="611" y="211"/>
                  </a:cubicBezTo>
                  <a:cubicBezTo>
                    <a:pt x="611" y="210"/>
                    <a:pt x="611" y="209"/>
                    <a:pt x="610" y="209"/>
                  </a:cubicBezTo>
                  <a:cubicBezTo>
                    <a:pt x="610" y="209"/>
                    <a:pt x="606" y="209"/>
                    <a:pt x="606" y="209"/>
                  </a:cubicBezTo>
                  <a:cubicBezTo>
                    <a:pt x="605" y="208"/>
                    <a:pt x="605" y="206"/>
                    <a:pt x="604" y="205"/>
                  </a:cubicBezTo>
                  <a:cubicBezTo>
                    <a:pt x="603" y="205"/>
                    <a:pt x="603" y="204"/>
                    <a:pt x="602" y="204"/>
                  </a:cubicBezTo>
                  <a:cubicBezTo>
                    <a:pt x="598" y="204"/>
                    <a:pt x="599" y="208"/>
                    <a:pt x="599" y="211"/>
                  </a:cubicBezTo>
                  <a:cubicBezTo>
                    <a:pt x="599" y="211"/>
                    <a:pt x="599" y="211"/>
                    <a:pt x="598" y="211"/>
                  </a:cubicBezTo>
                  <a:cubicBezTo>
                    <a:pt x="598" y="211"/>
                    <a:pt x="598" y="209"/>
                    <a:pt x="598" y="209"/>
                  </a:cubicBezTo>
                  <a:cubicBezTo>
                    <a:pt x="596" y="210"/>
                    <a:pt x="597" y="209"/>
                    <a:pt x="596" y="209"/>
                  </a:cubicBezTo>
                  <a:cubicBezTo>
                    <a:pt x="596" y="209"/>
                    <a:pt x="595" y="211"/>
                    <a:pt x="594" y="211"/>
                  </a:cubicBezTo>
                  <a:cubicBezTo>
                    <a:pt x="593" y="208"/>
                    <a:pt x="593" y="199"/>
                    <a:pt x="590" y="206"/>
                  </a:cubicBezTo>
                  <a:cubicBezTo>
                    <a:pt x="590" y="207"/>
                    <a:pt x="590" y="208"/>
                    <a:pt x="589" y="209"/>
                  </a:cubicBezTo>
                  <a:cubicBezTo>
                    <a:pt x="589" y="210"/>
                    <a:pt x="588" y="210"/>
                    <a:pt x="587" y="210"/>
                  </a:cubicBezTo>
                  <a:cubicBezTo>
                    <a:pt x="588" y="210"/>
                    <a:pt x="586" y="209"/>
                    <a:pt x="586" y="209"/>
                  </a:cubicBezTo>
                  <a:cubicBezTo>
                    <a:pt x="587" y="209"/>
                    <a:pt x="587" y="207"/>
                    <a:pt x="587" y="207"/>
                  </a:cubicBezTo>
                  <a:cubicBezTo>
                    <a:pt x="588" y="207"/>
                    <a:pt x="587" y="205"/>
                    <a:pt x="587" y="205"/>
                  </a:cubicBezTo>
                  <a:cubicBezTo>
                    <a:pt x="586" y="205"/>
                    <a:pt x="586" y="206"/>
                    <a:pt x="585" y="205"/>
                  </a:cubicBezTo>
                  <a:cubicBezTo>
                    <a:pt x="585" y="205"/>
                    <a:pt x="584" y="203"/>
                    <a:pt x="584" y="203"/>
                  </a:cubicBezTo>
                  <a:cubicBezTo>
                    <a:pt x="586" y="203"/>
                    <a:pt x="588" y="203"/>
                    <a:pt x="589" y="202"/>
                  </a:cubicBezTo>
                  <a:cubicBezTo>
                    <a:pt x="589" y="196"/>
                    <a:pt x="589" y="194"/>
                    <a:pt x="583" y="194"/>
                  </a:cubicBezTo>
                  <a:cubicBezTo>
                    <a:pt x="584" y="194"/>
                    <a:pt x="585" y="194"/>
                    <a:pt x="586" y="193"/>
                  </a:cubicBezTo>
                  <a:cubicBezTo>
                    <a:pt x="586" y="193"/>
                    <a:pt x="586" y="191"/>
                    <a:pt x="586" y="191"/>
                  </a:cubicBezTo>
                  <a:cubicBezTo>
                    <a:pt x="585" y="191"/>
                    <a:pt x="585" y="191"/>
                    <a:pt x="585" y="191"/>
                  </a:cubicBezTo>
                  <a:cubicBezTo>
                    <a:pt x="585" y="191"/>
                    <a:pt x="583" y="187"/>
                    <a:pt x="583" y="186"/>
                  </a:cubicBezTo>
                  <a:cubicBezTo>
                    <a:pt x="582" y="187"/>
                    <a:pt x="579" y="187"/>
                    <a:pt x="578" y="187"/>
                  </a:cubicBezTo>
                  <a:cubicBezTo>
                    <a:pt x="576" y="187"/>
                    <a:pt x="576" y="186"/>
                    <a:pt x="575" y="187"/>
                  </a:cubicBezTo>
                  <a:cubicBezTo>
                    <a:pt x="574" y="187"/>
                    <a:pt x="573" y="189"/>
                    <a:pt x="570" y="189"/>
                  </a:cubicBezTo>
                  <a:cubicBezTo>
                    <a:pt x="569" y="189"/>
                    <a:pt x="567" y="187"/>
                    <a:pt x="566" y="186"/>
                  </a:cubicBezTo>
                  <a:close/>
                  <a:moveTo>
                    <a:pt x="474" y="30"/>
                  </a:moveTo>
                  <a:cubicBezTo>
                    <a:pt x="471" y="29"/>
                    <a:pt x="467" y="22"/>
                    <a:pt x="464" y="22"/>
                  </a:cubicBezTo>
                  <a:cubicBezTo>
                    <a:pt x="463" y="23"/>
                    <a:pt x="463" y="23"/>
                    <a:pt x="463" y="23"/>
                  </a:cubicBezTo>
                  <a:cubicBezTo>
                    <a:pt x="462" y="23"/>
                    <a:pt x="460" y="23"/>
                    <a:pt x="459" y="24"/>
                  </a:cubicBezTo>
                  <a:cubicBezTo>
                    <a:pt x="456" y="25"/>
                    <a:pt x="453" y="29"/>
                    <a:pt x="451" y="31"/>
                  </a:cubicBezTo>
                  <a:cubicBezTo>
                    <a:pt x="449" y="30"/>
                    <a:pt x="443" y="27"/>
                    <a:pt x="439" y="28"/>
                  </a:cubicBezTo>
                  <a:cubicBezTo>
                    <a:pt x="439" y="28"/>
                    <a:pt x="437" y="30"/>
                    <a:pt x="437" y="30"/>
                  </a:cubicBezTo>
                  <a:cubicBezTo>
                    <a:pt x="436" y="30"/>
                    <a:pt x="434" y="29"/>
                    <a:pt x="433" y="30"/>
                  </a:cubicBezTo>
                  <a:cubicBezTo>
                    <a:pt x="433" y="30"/>
                    <a:pt x="433" y="32"/>
                    <a:pt x="433" y="33"/>
                  </a:cubicBezTo>
                  <a:cubicBezTo>
                    <a:pt x="436" y="32"/>
                    <a:pt x="439" y="31"/>
                    <a:pt x="444" y="31"/>
                  </a:cubicBezTo>
                  <a:cubicBezTo>
                    <a:pt x="443" y="32"/>
                    <a:pt x="440" y="33"/>
                    <a:pt x="438" y="33"/>
                  </a:cubicBezTo>
                  <a:cubicBezTo>
                    <a:pt x="438" y="33"/>
                    <a:pt x="437" y="36"/>
                    <a:pt x="439" y="36"/>
                  </a:cubicBezTo>
                  <a:cubicBezTo>
                    <a:pt x="441" y="36"/>
                    <a:pt x="446" y="34"/>
                    <a:pt x="449" y="34"/>
                  </a:cubicBezTo>
                  <a:cubicBezTo>
                    <a:pt x="452" y="34"/>
                    <a:pt x="455" y="35"/>
                    <a:pt x="457" y="35"/>
                  </a:cubicBezTo>
                  <a:cubicBezTo>
                    <a:pt x="451" y="36"/>
                    <a:pt x="446" y="37"/>
                    <a:pt x="439" y="39"/>
                  </a:cubicBezTo>
                  <a:cubicBezTo>
                    <a:pt x="439" y="39"/>
                    <a:pt x="439" y="41"/>
                    <a:pt x="439" y="43"/>
                  </a:cubicBezTo>
                  <a:cubicBezTo>
                    <a:pt x="440" y="42"/>
                    <a:pt x="441" y="43"/>
                    <a:pt x="441" y="42"/>
                  </a:cubicBezTo>
                  <a:cubicBezTo>
                    <a:pt x="442" y="41"/>
                    <a:pt x="442" y="41"/>
                    <a:pt x="444" y="41"/>
                  </a:cubicBezTo>
                  <a:cubicBezTo>
                    <a:pt x="450" y="38"/>
                    <a:pt x="457" y="38"/>
                    <a:pt x="463" y="36"/>
                  </a:cubicBezTo>
                  <a:cubicBezTo>
                    <a:pt x="463" y="37"/>
                    <a:pt x="463" y="37"/>
                    <a:pt x="463" y="37"/>
                  </a:cubicBezTo>
                  <a:cubicBezTo>
                    <a:pt x="462" y="38"/>
                    <a:pt x="461" y="38"/>
                    <a:pt x="461" y="39"/>
                  </a:cubicBezTo>
                  <a:cubicBezTo>
                    <a:pt x="458" y="40"/>
                    <a:pt x="457" y="38"/>
                    <a:pt x="454" y="39"/>
                  </a:cubicBezTo>
                  <a:cubicBezTo>
                    <a:pt x="452" y="39"/>
                    <a:pt x="451" y="41"/>
                    <a:pt x="450" y="41"/>
                  </a:cubicBezTo>
                  <a:cubicBezTo>
                    <a:pt x="449" y="42"/>
                    <a:pt x="447" y="41"/>
                    <a:pt x="446" y="41"/>
                  </a:cubicBezTo>
                  <a:cubicBezTo>
                    <a:pt x="445" y="41"/>
                    <a:pt x="443" y="44"/>
                    <a:pt x="442" y="45"/>
                  </a:cubicBezTo>
                  <a:cubicBezTo>
                    <a:pt x="443" y="45"/>
                    <a:pt x="444" y="47"/>
                    <a:pt x="445" y="47"/>
                  </a:cubicBezTo>
                  <a:cubicBezTo>
                    <a:pt x="447" y="47"/>
                    <a:pt x="448" y="45"/>
                    <a:pt x="449" y="45"/>
                  </a:cubicBezTo>
                  <a:cubicBezTo>
                    <a:pt x="452" y="45"/>
                    <a:pt x="458" y="47"/>
                    <a:pt x="461" y="47"/>
                  </a:cubicBezTo>
                  <a:cubicBezTo>
                    <a:pt x="463" y="45"/>
                    <a:pt x="463" y="45"/>
                    <a:pt x="463" y="45"/>
                  </a:cubicBezTo>
                  <a:cubicBezTo>
                    <a:pt x="464" y="45"/>
                    <a:pt x="465" y="46"/>
                    <a:pt x="466" y="46"/>
                  </a:cubicBezTo>
                  <a:cubicBezTo>
                    <a:pt x="467" y="46"/>
                    <a:pt x="466" y="44"/>
                    <a:pt x="468" y="45"/>
                  </a:cubicBezTo>
                  <a:cubicBezTo>
                    <a:pt x="469" y="45"/>
                    <a:pt x="469" y="46"/>
                    <a:pt x="469" y="47"/>
                  </a:cubicBezTo>
                  <a:cubicBezTo>
                    <a:pt x="471" y="47"/>
                    <a:pt x="472" y="47"/>
                    <a:pt x="474" y="47"/>
                  </a:cubicBezTo>
                  <a:cubicBezTo>
                    <a:pt x="475" y="47"/>
                    <a:pt x="478" y="44"/>
                    <a:pt x="480" y="43"/>
                  </a:cubicBezTo>
                  <a:cubicBezTo>
                    <a:pt x="480" y="43"/>
                    <a:pt x="479" y="47"/>
                    <a:pt x="479" y="48"/>
                  </a:cubicBezTo>
                  <a:cubicBezTo>
                    <a:pt x="481" y="48"/>
                    <a:pt x="483" y="49"/>
                    <a:pt x="485" y="49"/>
                  </a:cubicBezTo>
                  <a:cubicBezTo>
                    <a:pt x="486" y="49"/>
                    <a:pt x="489" y="48"/>
                    <a:pt x="490" y="49"/>
                  </a:cubicBezTo>
                  <a:cubicBezTo>
                    <a:pt x="491" y="49"/>
                    <a:pt x="492" y="50"/>
                    <a:pt x="492" y="50"/>
                  </a:cubicBezTo>
                  <a:cubicBezTo>
                    <a:pt x="494" y="47"/>
                    <a:pt x="494" y="47"/>
                    <a:pt x="497" y="45"/>
                  </a:cubicBezTo>
                  <a:cubicBezTo>
                    <a:pt x="497" y="44"/>
                    <a:pt x="496" y="42"/>
                    <a:pt x="496" y="42"/>
                  </a:cubicBezTo>
                  <a:cubicBezTo>
                    <a:pt x="497" y="42"/>
                    <a:pt x="498" y="42"/>
                    <a:pt x="498" y="41"/>
                  </a:cubicBezTo>
                  <a:cubicBezTo>
                    <a:pt x="498" y="41"/>
                    <a:pt x="499" y="41"/>
                    <a:pt x="500" y="41"/>
                  </a:cubicBezTo>
                  <a:cubicBezTo>
                    <a:pt x="500" y="43"/>
                    <a:pt x="500" y="43"/>
                    <a:pt x="500" y="43"/>
                  </a:cubicBezTo>
                  <a:cubicBezTo>
                    <a:pt x="500" y="42"/>
                    <a:pt x="499" y="45"/>
                    <a:pt x="499" y="46"/>
                  </a:cubicBezTo>
                  <a:cubicBezTo>
                    <a:pt x="500" y="46"/>
                    <a:pt x="500" y="45"/>
                    <a:pt x="500" y="47"/>
                  </a:cubicBezTo>
                  <a:cubicBezTo>
                    <a:pt x="507" y="45"/>
                    <a:pt x="515" y="43"/>
                    <a:pt x="522" y="43"/>
                  </a:cubicBezTo>
                  <a:cubicBezTo>
                    <a:pt x="529" y="42"/>
                    <a:pt x="532" y="43"/>
                    <a:pt x="538" y="43"/>
                  </a:cubicBezTo>
                  <a:cubicBezTo>
                    <a:pt x="544" y="42"/>
                    <a:pt x="550" y="40"/>
                    <a:pt x="555" y="38"/>
                  </a:cubicBezTo>
                  <a:cubicBezTo>
                    <a:pt x="556" y="37"/>
                    <a:pt x="556" y="37"/>
                    <a:pt x="556" y="37"/>
                  </a:cubicBezTo>
                  <a:cubicBezTo>
                    <a:pt x="556" y="36"/>
                    <a:pt x="559" y="37"/>
                    <a:pt x="560" y="37"/>
                  </a:cubicBezTo>
                  <a:cubicBezTo>
                    <a:pt x="563" y="37"/>
                    <a:pt x="566" y="36"/>
                    <a:pt x="569" y="35"/>
                  </a:cubicBezTo>
                  <a:cubicBezTo>
                    <a:pt x="568" y="35"/>
                    <a:pt x="566" y="37"/>
                    <a:pt x="565" y="37"/>
                  </a:cubicBezTo>
                  <a:cubicBezTo>
                    <a:pt x="562" y="38"/>
                    <a:pt x="561" y="37"/>
                    <a:pt x="558" y="38"/>
                  </a:cubicBezTo>
                  <a:cubicBezTo>
                    <a:pt x="558" y="38"/>
                    <a:pt x="556" y="40"/>
                    <a:pt x="556" y="40"/>
                  </a:cubicBezTo>
                  <a:cubicBezTo>
                    <a:pt x="556" y="40"/>
                    <a:pt x="556" y="40"/>
                    <a:pt x="557" y="41"/>
                  </a:cubicBezTo>
                  <a:cubicBezTo>
                    <a:pt x="559" y="41"/>
                    <a:pt x="562" y="41"/>
                    <a:pt x="565" y="41"/>
                  </a:cubicBezTo>
                  <a:cubicBezTo>
                    <a:pt x="565" y="43"/>
                    <a:pt x="565" y="43"/>
                    <a:pt x="565" y="43"/>
                  </a:cubicBezTo>
                  <a:cubicBezTo>
                    <a:pt x="561" y="43"/>
                    <a:pt x="557" y="42"/>
                    <a:pt x="556" y="43"/>
                  </a:cubicBezTo>
                  <a:cubicBezTo>
                    <a:pt x="555" y="43"/>
                    <a:pt x="553" y="44"/>
                    <a:pt x="553" y="45"/>
                  </a:cubicBezTo>
                  <a:cubicBezTo>
                    <a:pt x="550" y="45"/>
                    <a:pt x="548" y="44"/>
                    <a:pt x="546" y="45"/>
                  </a:cubicBezTo>
                  <a:cubicBezTo>
                    <a:pt x="536" y="48"/>
                    <a:pt x="557" y="48"/>
                    <a:pt x="559" y="48"/>
                  </a:cubicBezTo>
                  <a:cubicBezTo>
                    <a:pt x="555" y="49"/>
                    <a:pt x="549" y="51"/>
                    <a:pt x="544" y="51"/>
                  </a:cubicBezTo>
                  <a:cubicBezTo>
                    <a:pt x="543" y="51"/>
                    <a:pt x="541" y="50"/>
                    <a:pt x="540" y="50"/>
                  </a:cubicBezTo>
                  <a:cubicBezTo>
                    <a:pt x="539" y="50"/>
                    <a:pt x="539" y="51"/>
                    <a:pt x="539" y="52"/>
                  </a:cubicBezTo>
                  <a:cubicBezTo>
                    <a:pt x="531" y="51"/>
                    <a:pt x="525" y="52"/>
                    <a:pt x="516" y="53"/>
                  </a:cubicBezTo>
                  <a:cubicBezTo>
                    <a:pt x="517" y="54"/>
                    <a:pt x="516" y="55"/>
                    <a:pt x="516" y="55"/>
                  </a:cubicBezTo>
                  <a:cubicBezTo>
                    <a:pt x="517" y="56"/>
                    <a:pt x="519" y="56"/>
                    <a:pt x="518" y="59"/>
                  </a:cubicBezTo>
                  <a:cubicBezTo>
                    <a:pt x="518" y="59"/>
                    <a:pt x="517" y="60"/>
                    <a:pt x="518" y="61"/>
                  </a:cubicBezTo>
                  <a:cubicBezTo>
                    <a:pt x="518" y="62"/>
                    <a:pt x="519" y="62"/>
                    <a:pt x="519" y="62"/>
                  </a:cubicBezTo>
                  <a:cubicBezTo>
                    <a:pt x="522" y="63"/>
                    <a:pt x="532" y="63"/>
                    <a:pt x="528" y="63"/>
                  </a:cubicBezTo>
                  <a:cubicBezTo>
                    <a:pt x="530" y="64"/>
                    <a:pt x="531" y="63"/>
                    <a:pt x="532" y="64"/>
                  </a:cubicBezTo>
                  <a:cubicBezTo>
                    <a:pt x="532" y="65"/>
                    <a:pt x="532" y="65"/>
                    <a:pt x="532" y="65"/>
                  </a:cubicBezTo>
                  <a:cubicBezTo>
                    <a:pt x="531" y="65"/>
                    <a:pt x="530" y="64"/>
                    <a:pt x="530" y="64"/>
                  </a:cubicBezTo>
                  <a:cubicBezTo>
                    <a:pt x="529" y="66"/>
                    <a:pt x="530" y="65"/>
                    <a:pt x="528" y="65"/>
                  </a:cubicBezTo>
                  <a:cubicBezTo>
                    <a:pt x="528" y="67"/>
                    <a:pt x="528" y="67"/>
                    <a:pt x="528" y="67"/>
                  </a:cubicBezTo>
                  <a:cubicBezTo>
                    <a:pt x="527" y="67"/>
                    <a:pt x="526" y="66"/>
                    <a:pt x="525" y="66"/>
                  </a:cubicBezTo>
                  <a:cubicBezTo>
                    <a:pt x="523" y="66"/>
                    <a:pt x="522" y="67"/>
                    <a:pt x="521" y="66"/>
                  </a:cubicBezTo>
                  <a:cubicBezTo>
                    <a:pt x="520" y="65"/>
                    <a:pt x="520" y="65"/>
                    <a:pt x="520" y="65"/>
                  </a:cubicBezTo>
                  <a:cubicBezTo>
                    <a:pt x="520" y="65"/>
                    <a:pt x="518" y="65"/>
                    <a:pt x="518" y="65"/>
                  </a:cubicBezTo>
                  <a:cubicBezTo>
                    <a:pt x="514" y="64"/>
                    <a:pt x="516" y="60"/>
                    <a:pt x="515" y="57"/>
                  </a:cubicBezTo>
                  <a:cubicBezTo>
                    <a:pt x="510" y="53"/>
                    <a:pt x="510" y="53"/>
                    <a:pt x="510" y="53"/>
                  </a:cubicBezTo>
                  <a:cubicBezTo>
                    <a:pt x="510" y="52"/>
                    <a:pt x="510" y="52"/>
                    <a:pt x="510" y="52"/>
                  </a:cubicBezTo>
                  <a:cubicBezTo>
                    <a:pt x="506" y="50"/>
                    <a:pt x="489" y="52"/>
                    <a:pt x="483" y="52"/>
                  </a:cubicBezTo>
                  <a:cubicBezTo>
                    <a:pt x="482" y="56"/>
                    <a:pt x="482" y="56"/>
                    <a:pt x="482" y="56"/>
                  </a:cubicBezTo>
                  <a:cubicBezTo>
                    <a:pt x="483" y="55"/>
                    <a:pt x="483" y="57"/>
                    <a:pt x="483" y="57"/>
                  </a:cubicBezTo>
                  <a:cubicBezTo>
                    <a:pt x="483" y="56"/>
                    <a:pt x="482" y="60"/>
                    <a:pt x="482" y="60"/>
                  </a:cubicBezTo>
                  <a:cubicBezTo>
                    <a:pt x="481" y="61"/>
                    <a:pt x="480" y="60"/>
                    <a:pt x="478" y="61"/>
                  </a:cubicBezTo>
                  <a:cubicBezTo>
                    <a:pt x="478" y="61"/>
                    <a:pt x="477" y="64"/>
                    <a:pt x="476" y="64"/>
                  </a:cubicBezTo>
                  <a:cubicBezTo>
                    <a:pt x="476" y="64"/>
                    <a:pt x="475" y="63"/>
                    <a:pt x="475" y="62"/>
                  </a:cubicBezTo>
                  <a:cubicBezTo>
                    <a:pt x="476" y="61"/>
                    <a:pt x="477" y="60"/>
                    <a:pt x="477" y="58"/>
                  </a:cubicBezTo>
                  <a:cubicBezTo>
                    <a:pt x="477" y="58"/>
                    <a:pt x="475" y="56"/>
                    <a:pt x="475" y="55"/>
                  </a:cubicBezTo>
                  <a:cubicBezTo>
                    <a:pt x="475" y="55"/>
                    <a:pt x="473" y="55"/>
                    <a:pt x="473" y="55"/>
                  </a:cubicBezTo>
                  <a:cubicBezTo>
                    <a:pt x="473" y="54"/>
                    <a:pt x="473" y="53"/>
                    <a:pt x="473" y="51"/>
                  </a:cubicBezTo>
                  <a:cubicBezTo>
                    <a:pt x="472" y="51"/>
                    <a:pt x="472" y="51"/>
                    <a:pt x="472" y="51"/>
                  </a:cubicBezTo>
                  <a:cubicBezTo>
                    <a:pt x="471" y="51"/>
                    <a:pt x="471" y="53"/>
                    <a:pt x="471" y="54"/>
                  </a:cubicBezTo>
                  <a:cubicBezTo>
                    <a:pt x="470" y="53"/>
                    <a:pt x="468" y="54"/>
                    <a:pt x="467" y="54"/>
                  </a:cubicBezTo>
                  <a:cubicBezTo>
                    <a:pt x="467" y="52"/>
                    <a:pt x="467" y="51"/>
                    <a:pt x="466" y="51"/>
                  </a:cubicBezTo>
                  <a:cubicBezTo>
                    <a:pt x="466" y="51"/>
                    <a:pt x="465" y="52"/>
                    <a:pt x="464" y="52"/>
                  </a:cubicBezTo>
                  <a:cubicBezTo>
                    <a:pt x="464" y="53"/>
                    <a:pt x="464" y="53"/>
                    <a:pt x="464" y="53"/>
                  </a:cubicBezTo>
                  <a:cubicBezTo>
                    <a:pt x="464" y="53"/>
                    <a:pt x="444" y="53"/>
                    <a:pt x="443" y="53"/>
                  </a:cubicBezTo>
                  <a:cubicBezTo>
                    <a:pt x="442" y="53"/>
                    <a:pt x="438" y="51"/>
                    <a:pt x="436" y="50"/>
                  </a:cubicBezTo>
                  <a:cubicBezTo>
                    <a:pt x="436" y="48"/>
                    <a:pt x="437" y="47"/>
                    <a:pt x="437" y="45"/>
                  </a:cubicBezTo>
                  <a:cubicBezTo>
                    <a:pt x="431" y="38"/>
                    <a:pt x="431" y="38"/>
                    <a:pt x="431" y="38"/>
                  </a:cubicBezTo>
                  <a:cubicBezTo>
                    <a:pt x="428" y="35"/>
                    <a:pt x="422" y="37"/>
                    <a:pt x="417" y="36"/>
                  </a:cubicBezTo>
                  <a:cubicBezTo>
                    <a:pt x="416" y="36"/>
                    <a:pt x="414" y="34"/>
                    <a:pt x="414" y="34"/>
                  </a:cubicBezTo>
                  <a:cubicBezTo>
                    <a:pt x="409" y="32"/>
                    <a:pt x="401" y="33"/>
                    <a:pt x="397" y="33"/>
                  </a:cubicBezTo>
                  <a:cubicBezTo>
                    <a:pt x="397" y="33"/>
                    <a:pt x="397" y="36"/>
                    <a:pt x="397" y="36"/>
                  </a:cubicBezTo>
                  <a:cubicBezTo>
                    <a:pt x="401" y="35"/>
                    <a:pt x="402" y="35"/>
                    <a:pt x="406" y="36"/>
                  </a:cubicBezTo>
                  <a:cubicBezTo>
                    <a:pt x="406" y="36"/>
                    <a:pt x="408" y="35"/>
                    <a:pt x="409" y="36"/>
                  </a:cubicBezTo>
                  <a:cubicBezTo>
                    <a:pt x="409" y="36"/>
                    <a:pt x="410" y="37"/>
                    <a:pt x="410" y="37"/>
                  </a:cubicBezTo>
                  <a:cubicBezTo>
                    <a:pt x="411" y="36"/>
                    <a:pt x="411" y="39"/>
                    <a:pt x="411" y="39"/>
                  </a:cubicBezTo>
                  <a:cubicBezTo>
                    <a:pt x="410" y="39"/>
                    <a:pt x="410" y="39"/>
                    <a:pt x="410" y="39"/>
                  </a:cubicBezTo>
                  <a:cubicBezTo>
                    <a:pt x="411" y="41"/>
                    <a:pt x="411" y="41"/>
                    <a:pt x="411" y="43"/>
                  </a:cubicBezTo>
                  <a:cubicBezTo>
                    <a:pt x="407" y="42"/>
                    <a:pt x="405" y="42"/>
                    <a:pt x="401" y="41"/>
                  </a:cubicBezTo>
                  <a:cubicBezTo>
                    <a:pt x="399" y="40"/>
                    <a:pt x="399" y="40"/>
                    <a:pt x="399" y="40"/>
                  </a:cubicBezTo>
                  <a:cubicBezTo>
                    <a:pt x="397" y="40"/>
                    <a:pt x="397" y="41"/>
                    <a:pt x="396" y="41"/>
                  </a:cubicBezTo>
                  <a:cubicBezTo>
                    <a:pt x="396" y="42"/>
                    <a:pt x="397" y="44"/>
                    <a:pt x="397" y="45"/>
                  </a:cubicBezTo>
                  <a:cubicBezTo>
                    <a:pt x="398" y="45"/>
                    <a:pt x="399" y="45"/>
                    <a:pt x="400" y="45"/>
                  </a:cubicBezTo>
                  <a:cubicBezTo>
                    <a:pt x="400" y="45"/>
                    <a:pt x="400" y="46"/>
                    <a:pt x="400" y="47"/>
                  </a:cubicBezTo>
                  <a:cubicBezTo>
                    <a:pt x="404" y="47"/>
                    <a:pt x="404" y="45"/>
                    <a:pt x="405" y="44"/>
                  </a:cubicBezTo>
                  <a:cubicBezTo>
                    <a:pt x="409" y="46"/>
                    <a:pt x="409" y="47"/>
                    <a:pt x="415" y="47"/>
                  </a:cubicBezTo>
                  <a:cubicBezTo>
                    <a:pt x="415" y="45"/>
                    <a:pt x="415" y="45"/>
                    <a:pt x="416" y="44"/>
                  </a:cubicBezTo>
                  <a:cubicBezTo>
                    <a:pt x="416" y="45"/>
                    <a:pt x="416" y="46"/>
                    <a:pt x="417" y="47"/>
                  </a:cubicBezTo>
                  <a:cubicBezTo>
                    <a:pt x="417" y="48"/>
                    <a:pt x="418" y="48"/>
                    <a:pt x="419" y="49"/>
                  </a:cubicBezTo>
                  <a:cubicBezTo>
                    <a:pt x="419" y="49"/>
                    <a:pt x="418" y="50"/>
                    <a:pt x="419" y="51"/>
                  </a:cubicBezTo>
                  <a:cubicBezTo>
                    <a:pt x="413" y="51"/>
                    <a:pt x="408" y="51"/>
                    <a:pt x="404" y="52"/>
                  </a:cubicBezTo>
                  <a:cubicBezTo>
                    <a:pt x="404" y="53"/>
                    <a:pt x="406" y="55"/>
                    <a:pt x="406" y="55"/>
                  </a:cubicBezTo>
                  <a:cubicBezTo>
                    <a:pt x="405" y="56"/>
                    <a:pt x="405" y="56"/>
                    <a:pt x="405" y="56"/>
                  </a:cubicBezTo>
                  <a:cubicBezTo>
                    <a:pt x="404" y="57"/>
                    <a:pt x="405" y="56"/>
                    <a:pt x="403" y="56"/>
                  </a:cubicBezTo>
                  <a:cubicBezTo>
                    <a:pt x="402" y="57"/>
                    <a:pt x="402" y="57"/>
                    <a:pt x="402" y="57"/>
                  </a:cubicBezTo>
                  <a:cubicBezTo>
                    <a:pt x="398" y="58"/>
                    <a:pt x="410" y="60"/>
                    <a:pt x="412" y="60"/>
                  </a:cubicBezTo>
                  <a:cubicBezTo>
                    <a:pt x="412" y="60"/>
                    <a:pt x="413" y="58"/>
                    <a:pt x="414" y="57"/>
                  </a:cubicBezTo>
                  <a:cubicBezTo>
                    <a:pt x="414" y="58"/>
                    <a:pt x="414" y="60"/>
                    <a:pt x="414" y="60"/>
                  </a:cubicBezTo>
                  <a:cubicBezTo>
                    <a:pt x="416" y="60"/>
                    <a:pt x="415" y="61"/>
                    <a:pt x="417" y="61"/>
                  </a:cubicBezTo>
                  <a:cubicBezTo>
                    <a:pt x="419" y="60"/>
                    <a:pt x="419" y="60"/>
                    <a:pt x="419" y="60"/>
                  </a:cubicBezTo>
                  <a:cubicBezTo>
                    <a:pt x="419" y="60"/>
                    <a:pt x="421" y="61"/>
                    <a:pt x="420" y="61"/>
                  </a:cubicBezTo>
                  <a:cubicBezTo>
                    <a:pt x="421" y="61"/>
                    <a:pt x="421" y="63"/>
                    <a:pt x="421" y="63"/>
                  </a:cubicBezTo>
                  <a:cubicBezTo>
                    <a:pt x="418" y="63"/>
                    <a:pt x="415" y="63"/>
                    <a:pt x="412" y="62"/>
                  </a:cubicBezTo>
                  <a:cubicBezTo>
                    <a:pt x="411" y="62"/>
                    <a:pt x="409" y="61"/>
                    <a:pt x="409" y="60"/>
                  </a:cubicBezTo>
                  <a:cubicBezTo>
                    <a:pt x="402" y="60"/>
                    <a:pt x="404" y="65"/>
                    <a:pt x="405" y="64"/>
                  </a:cubicBezTo>
                  <a:cubicBezTo>
                    <a:pt x="405" y="64"/>
                    <a:pt x="405" y="68"/>
                    <a:pt x="405" y="67"/>
                  </a:cubicBezTo>
                  <a:cubicBezTo>
                    <a:pt x="406" y="67"/>
                    <a:pt x="406" y="68"/>
                    <a:pt x="407" y="68"/>
                  </a:cubicBezTo>
                  <a:cubicBezTo>
                    <a:pt x="411" y="72"/>
                    <a:pt x="416" y="74"/>
                    <a:pt x="423" y="72"/>
                  </a:cubicBezTo>
                  <a:cubicBezTo>
                    <a:pt x="423" y="74"/>
                    <a:pt x="423" y="74"/>
                    <a:pt x="423" y="74"/>
                  </a:cubicBezTo>
                  <a:cubicBezTo>
                    <a:pt x="422" y="74"/>
                    <a:pt x="421" y="74"/>
                    <a:pt x="421" y="74"/>
                  </a:cubicBezTo>
                  <a:cubicBezTo>
                    <a:pt x="419" y="75"/>
                    <a:pt x="415" y="73"/>
                    <a:pt x="413" y="74"/>
                  </a:cubicBezTo>
                  <a:cubicBezTo>
                    <a:pt x="412" y="75"/>
                    <a:pt x="412" y="78"/>
                    <a:pt x="413" y="77"/>
                  </a:cubicBezTo>
                  <a:cubicBezTo>
                    <a:pt x="413" y="78"/>
                    <a:pt x="413" y="78"/>
                    <a:pt x="413" y="78"/>
                  </a:cubicBezTo>
                  <a:cubicBezTo>
                    <a:pt x="414" y="79"/>
                    <a:pt x="424" y="78"/>
                    <a:pt x="425" y="78"/>
                  </a:cubicBezTo>
                  <a:cubicBezTo>
                    <a:pt x="426" y="77"/>
                    <a:pt x="427" y="75"/>
                    <a:pt x="427" y="75"/>
                  </a:cubicBezTo>
                  <a:cubicBezTo>
                    <a:pt x="430" y="74"/>
                    <a:pt x="433" y="75"/>
                    <a:pt x="436" y="76"/>
                  </a:cubicBezTo>
                  <a:cubicBezTo>
                    <a:pt x="436" y="76"/>
                    <a:pt x="436" y="78"/>
                    <a:pt x="436" y="78"/>
                  </a:cubicBezTo>
                  <a:cubicBezTo>
                    <a:pt x="430" y="78"/>
                    <a:pt x="428" y="79"/>
                    <a:pt x="423" y="80"/>
                  </a:cubicBezTo>
                  <a:cubicBezTo>
                    <a:pt x="423" y="81"/>
                    <a:pt x="423" y="82"/>
                    <a:pt x="423" y="82"/>
                  </a:cubicBezTo>
                  <a:cubicBezTo>
                    <a:pt x="423" y="83"/>
                    <a:pt x="424" y="84"/>
                    <a:pt x="425" y="86"/>
                  </a:cubicBezTo>
                  <a:cubicBezTo>
                    <a:pt x="425" y="86"/>
                    <a:pt x="427" y="86"/>
                    <a:pt x="427" y="86"/>
                  </a:cubicBezTo>
                  <a:cubicBezTo>
                    <a:pt x="427" y="86"/>
                    <a:pt x="427" y="90"/>
                    <a:pt x="427" y="90"/>
                  </a:cubicBezTo>
                  <a:cubicBezTo>
                    <a:pt x="428" y="90"/>
                    <a:pt x="429" y="90"/>
                    <a:pt x="430" y="90"/>
                  </a:cubicBezTo>
                  <a:cubicBezTo>
                    <a:pt x="430" y="92"/>
                    <a:pt x="430" y="92"/>
                    <a:pt x="430" y="92"/>
                  </a:cubicBezTo>
                  <a:cubicBezTo>
                    <a:pt x="428" y="92"/>
                    <a:pt x="428" y="92"/>
                    <a:pt x="427" y="92"/>
                  </a:cubicBezTo>
                  <a:cubicBezTo>
                    <a:pt x="427" y="93"/>
                    <a:pt x="428" y="95"/>
                    <a:pt x="427" y="95"/>
                  </a:cubicBezTo>
                  <a:cubicBezTo>
                    <a:pt x="434" y="95"/>
                    <a:pt x="436" y="96"/>
                    <a:pt x="441" y="94"/>
                  </a:cubicBezTo>
                  <a:cubicBezTo>
                    <a:pt x="441" y="93"/>
                    <a:pt x="440" y="92"/>
                    <a:pt x="441" y="91"/>
                  </a:cubicBezTo>
                  <a:cubicBezTo>
                    <a:pt x="441" y="91"/>
                    <a:pt x="442" y="91"/>
                    <a:pt x="443" y="91"/>
                  </a:cubicBezTo>
                  <a:cubicBezTo>
                    <a:pt x="443" y="91"/>
                    <a:pt x="443" y="93"/>
                    <a:pt x="444" y="94"/>
                  </a:cubicBezTo>
                  <a:cubicBezTo>
                    <a:pt x="445" y="94"/>
                    <a:pt x="446" y="94"/>
                    <a:pt x="447" y="94"/>
                  </a:cubicBezTo>
                  <a:cubicBezTo>
                    <a:pt x="446" y="95"/>
                    <a:pt x="449" y="95"/>
                    <a:pt x="449" y="95"/>
                  </a:cubicBezTo>
                  <a:cubicBezTo>
                    <a:pt x="449" y="95"/>
                    <a:pt x="449" y="93"/>
                    <a:pt x="449" y="93"/>
                  </a:cubicBezTo>
                  <a:cubicBezTo>
                    <a:pt x="450" y="93"/>
                    <a:pt x="451" y="95"/>
                    <a:pt x="452" y="94"/>
                  </a:cubicBezTo>
                  <a:cubicBezTo>
                    <a:pt x="454" y="88"/>
                    <a:pt x="454" y="88"/>
                    <a:pt x="454" y="88"/>
                  </a:cubicBezTo>
                  <a:cubicBezTo>
                    <a:pt x="454" y="88"/>
                    <a:pt x="457" y="89"/>
                    <a:pt x="458" y="88"/>
                  </a:cubicBezTo>
                  <a:cubicBezTo>
                    <a:pt x="459" y="88"/>
                    <a:pt x="461" y="87"/>
                    <a:pt x="463" y="86"/>
                  </a:cubicBezTo>
                  <a:cubicBezTo>
                    <a:pt x="461" y="85"/>
                    <a:pt x="462" y="80"/>
                    <a:pt x="464" y="79"/>
                  </a:cubicBezTo>
                  <a:cubicBezTo>
                    <a:pt x="464" y="79"/>
                    <a:pt x="464" y="82"/>
                    <a:pt x="464" y="84"/>
                  </a:cubicBezTo>
                  <a:cubicBezTo>
                    <a:pt x="465" y="83"/>
                    <a:pt x="466" y="84"/>
                    <a:pt x="467" y="84"/>
                  </a:cubicBezTo>
                  <a:cubicBezTo>
                    <a:pt x="467" y="83"/>
                    <a:pt x="467" y="83"/>
                    <a:pt x="467" y="83"/>
                  </a:cubicBezTo>
                  <a:cubicBezTo>
                    <a:pt x="468" y="83"/>
                    <a:pt x="472" y="78"/>
                    <a:pt x="472" y="78"/>
                  </a:cubicBezTo>
                  <a:cubicBezTo>
                    <a:pt x="474" y="78"/>
                    <a:pt x="474" y="80"/>
                    <a:pt x="474" y="80"/>
                  </a:cubicBezTo>
                  <a:cubicBezTo>
                    <a:pt x="475" y="80"/>
                    <a:pt x="478" y="79"/>
                    <a:pt x="479" y="79"/>
                  </a:cubicBezTo>
                  <a:cubicBezTo>
                    <a:pt x="479" y="79"/>
                    <a:pt x="477" y="82"/>
                    <a:pt x="478" y="82"/>
                  </a:cubicBezTo>
                  <a:cubicBezTo>
                    <a:pt x="481" y="82"/>
                    <a:pt x="482" y="79"/>
                    <a:pt x="479" y="78"/>
                  </a:cubicBezTo>
                  <a:cubicBezTo>
                    <a:pt x="480" y="79"/>
                    <a:pt x="483" y="80"/>
                    <a:pt x="483" y="80"/>
                  </a:cubicBezTo>
                  <a:cubicBezTo>
                    <a:pt x="483" y="78"/>
                    <a:pt x="483" y="78"/>
                    <a:pt x="483" y="78"/>
                  </a:cubicBezTo>
                  <a:cubicBezTo>
                    <a:pt x="486" y="78"/>
                    <a:pt x="491" y="77"/>
                    <a:pt x="492" y="75"/>
                  </a:cubicBezTo>
                  <a:cubicBezTo>
                    <a:pt x="493" y="75"/>
                    <a:pt x="493" y="72"/>
                    <a:pt x="493" y="72"/>
                  </a:cubicBezTo>
                  <a:cubicBezTo>
                    <a:pt x="493" y="72"/>
                    <a:pt x="489" y="66"/>
                    <a:pt x="489" y="65"/>
                  </a:cubicBezTo>
                  <a:cubicBezTo>
                    <a:pt x="489" y="65"/>
                    <a:pt x="491" y="65"/>
                    <a:pt x="491" y="65"/>
                  </a:cubicBezTo>
                  <a:cubicBezTo>
                    <a:pt x="492" y="68"/>
                    <a:pt x="494" y="70"/>
                    <a:pt x="495" y="73"/>
                  </a:cubicBezTo>
                  <a:cubicBezTo>
                    <a:pt x="497" y="72"/>
                    <a:pt x="496" y="74"/>
                    <a:pt x="497" y="74"/>
                  </a:cubicBezTo>
                  <a:cubicBezTo>
                    <a:pt x="497" y="74"/>
                    <a:pt x="499" y="72"/>
                    <a:pt x="500" y="72"/>
                  </a:cubicBezTo>
                  <a:cubicBezTo>
                    <a:pt x="500" y="73"/>
                    <a:pt x="500" y="73"/>
                    <a:pt x="500" y="73"/>
                  </a:cubicBezTo>
                  <a:cubicBezTo>
                    <a:pt x="500" y="73"/>
                    <a:pt x="500" y="73"/>
                    <a:pt x="500" y="73"/>
                  </a:cubicBezTo>
                  <a:cubicBezTo>
                    <a:pt x="501" y="74"/>
                    <a:pt x="502" y="75"/>
                    <a:pt x="502" y="76"/>
                  </a:cubicBezTo>
                  <a:cubicBezTo>
                    <a:pt x="501" y="76"/>
                    <a:pt x="491" y="77"/>
                    <a:pt x="495" y="78"/>
                  </a:cubicBezTo>
                  <a:cubicBezTo>
                    <a:pt x="501" y="79"/>
                    <a:pt x="508" y="79"/>
                    <a:pt x="513" y="80"/>
                  </a:cubicBezTo>
                  <a:cubicBezTo>
                    <a:pt x="512" y="81"/>
                    <a:pt x="514" y="83"/>
                    <a:pt x="512" y="83"/>
                  </a:cubicBezTo>
                  <a:cubicBezTo>
                    <a:pt x="510" y="82"/>
                    <a:pt x="510" y="82"/>
                    <a:pt x="510" y="82"/>
                  </a:cubicBezTo>
                  <a:cubicBezTo>
                    <a:pt x="505" y="81"/>
                    <a:pt x="500" y="81"/>
                    <a:pt x="495" y="81"/>
                  </a:cubicBezTo>
                  <a:cubicBezTo>
                    <a:pt x="494" y="81"/>
                    <a:pt x="491" y="82"/>
                    <a:pt x="488" y="82"/>
                  </a:cubicBezTo>
                  <a:cubicBezTo>
                    <a:pt x="488" y="82"/>
                    <a:pt x="487" y="80"/>
                    <a:pt x="486" y="80"/>
                  </a:cubicBezTo>
                  <a:cubicBezTo>
                    <a:pt x="485" y="80"/>
                    <a:pt x="475" y="84"/>
                    <a:pt x="474" y="84"/>
                  </a:cubicBezTo>
                  <a:cubicBezTo>
                    <a:pt x="474" y="84"/>
                    <a:pt x="473" y="86"/>
                    <a:pt x="473" y="86"/>
                  </a:cubicBezTo>
                  <a:cubicBezTo>
                    <a:pt x="472" y="86"/>
                    <a:pt x="471" y="85"/>
                    <a:pt x="470" y="86"/>
                  </a:cubicBezTo>
                  <a:cubicBezTo>
                    <a:pt x="472" y="85"/>
                    <a:pt x="468" y="85"/>
                    <a:pt x="468" y="85"/>
                  </a:cubicBezTo>
                  <a:cubicBezTo>
                    <a:pt x="467" y="89"/>
                    <a:pt x="466" y="91"/>
                    <a:pt x="466" y="95"/>
                  </a:cubicBezTo>
                  <a:cubicBezTo>
                    <a:pt x="468" y="95"/>
                    <a:pt x="467" y="95"/>
                    <a:pt x="468" y="96"/>
                  </a:cubicBezTo>
                  <a:cubicBezTo>
                    <a:pt x="469" y="95"/>
                    <a:pt x="470" y="96"/>
                    <a:pt x="470" y="96"/>
                  </a:cubicBezTo>
                  <a:cubicBezTo>
                    <a:pt x="473" y="95"/>
                    <a:pt x="476" y="92"/>
                    <a:pt x="478" y="92"/>
                  </a:cubicBezTo>
                  <a:cubicBezTo>
                    <a:pt x="481" y="92"/>
                    <a:pt x="478" y="93"/>
                    <a:pt x="480" y="94"/>
                  </a:cubicBezTo>
                  <a:cubicBezTo>
                    <a:pt x="484" y="95"/>
                    <a:pt x="487" y="93"/>
                    <a:pt x="489" y="92"/>
                  </a:cubicBezTo>
                  <a:cubicBezTo>
                    <a:pt x="491" y="90"/>
                    <a:pt x="493" y="89"/>
                    <a:pt x="494" y="87"/>
                  </a:cubicBezTo>
                  <a:cubicBezTo>
                    <a:pt x="494" y="92"/>
                    <a:pt x="494" y="92"/>
                    <a:pt x="491" y="96"/>
                  </a:cubicBezTo>
                  <a:cubicBezTo>
                    <a:pt x="492" y="96"/>
                    <a:pt x="492" y="96"/>
                    <a:pt x="494" y="96"/>
                  </a:cubicBezTo>
                  <a:cubicBezTo>
                    <a:pt x="494" y="98"/>
                    <a:pt x="495" y="99"/>
                    <a:pt x="495" y="100"/>
                  </a:cubicBezTo>
                  <a:cubicBezTo>
                    <a:pt x="494" y="101"/>
                    <a:pt x="496" y="102"/>
                    <a:pt x="496" y="102"/>
                  </a:cubicBezTo>
                  <a:cubicBezTo>
                    <a:pt x="497" y="101"/>
                    <a:pt x="497" y="100"/>
                    <a:pt x="498" y="99"/>
                  </a:cubicBezTo>
                  <a:cubicBezTo>
                    <a:pt x="499" y="99"/>
                    <a:pt x="499" y="99"/>
                    <a:pt x="499" y="99"/>
                  </a:cubicBezTo>
                  <a:cubicBezTo>
                    <a:pt x="500" y="102"/>
                    <a:pt x="500" y="102"/>
                    <a:pt x="500" y="102"/>
                  </a:cubicBezTo>
                  <a:cubicBezTo>
                    <a:pt x="503" y="103"/>
                    <a:pt x="509" y="100"/>
                    <a:pt x="508" y="101"/>
                  </a:cubicBezTo>
                  <a:cubicBezTo>
                    <a:pt x="507" y="101"/>
                    <a:pt x="506" y="103"/>
                    <a:pt x="506" y="103"/>
                  </a:cubicBezTo>
                  <a:cubicBezTo>
                    <a:pt x="506" y="104"/>
                    <a:pt x="507" y="105"/>
                    <a:pt x="506" y="106"/>
                  </a:cubicBezTo>
                  <a:cubicBezTo>
                    <a:pt x="506" y="106"/>
                    <a:pt x="504" y="106"/>
                    <a:pt x="504" y="106"/>
                  </a:cubicBezTo>
                  <a:cubicBezTo>
                    <a:pt x="503" y="108"/>
                    <a:pt x="503" y="108"/>
                    <a:pt x="503" y="108"/>
                  </a:cubicBezTo>
                  <a:cubicBezTo>
                    <a:pt x="501" y="109"/>
                    <a:pt x="501" y="107"/>
                    <a:pt x="500" y="106"/>
                  </a:cubicBezTo>
                  <a:cubicBezTo>
                    <a:pt x="497" y="106"/>
                    <a:pt x="492" y="108"/>
                    <a:pt x="491" y="107"/>
                  </a:cubicBezTo>
                  <a:cubicBezTo>
                    <a:pt x="491" y="107"/>
                    <a:pt x="489" y="102"/>
                    <a:pt x="488" y="102"/>
                  </a:cubicBezTo>
                  <a:cubicBezTo>
                    <a:pt x="488" y="101"/>
                    <a:pt x="485" y="102"/>
                    <a:pt x="484" y="102"/>
                  </a:cubicBezTo>
                  <a:cubicBezTo>
                    <a:pt x="483" y="101"/>
                    <a:pt x="482" y="98"/>
                    <a:pt x="480" y="98"/>
                  </a:cubicBezTo>
                  <a:cubicBezTo>
                    <a:pt x="476" y="97"/>
                    <a:pt x="468" y="98"/>
                    <a:pt x="464" y="99"/>
                  </a:cubicBezTo>
                  <a:cubicBezTo>
                    <a:pt x="464" y="99"/>
                    <a:pt x="465" y="103"/>
                    <a:pt x="464" y="103"/>
                  </a:cubicBezTo>
                  <a:cubicBezTo>
                    <a:pt x="465" y="103"/>
                    <a:pt x="466" y="105"/>
                    <a:pt x="466" y="105"/>
                  </a:cubicBezTo>
                  <a:cubicBezTo>
                    <a:pt x="467" y="105"/>
                    <a:pt x="469" y="105"/>
                    <a:pt x="470" y="105"/>
                  </a:cubicBezTo>
                  <a:cubicBezTo>
                    <a:pt x="470" y="105"/>
                    <a:pt x="470" y="106"/>
                    <a:pt x="470" y="106"/>
                  </a:cubicBezTo>
                  <a:cubicBezTo>
                    <a:pt x="471" y="107"/>
                    <a:pt x="471" y="109"/>
                    <a:pt x="471" y="110"/>
                  </a:cubicBezTo>
                  <a:cubicBezTo>
                    <a:pt x="461" y="112"/>
                    <a:pt x="457" y="111"/>
                    <a:pt x="451" y="117"/>
                  </a:cubicBezTo>
                  <a:cubicBezTo>
                    <a:pt x="450" y="117"/>
                    <a:pt x="449" y="118"/>
                    <a:pt x="449" y="118"/>
                  </a:cubicBezTo>
                  <a:cubicBezTo>
                    <a:pt x="450" y="121"/>
                    <a:pt x="451" y="123"/>
                    <a:pt x="452" y="126"/>
                  </a:cubicBezTo>
                  <a:cubicBezTo>
                    <a:pt x="452" y="125"/>
                    <a:pt x="454" y="126"/>
                    <a:pt x="454" y="126"/>
                  </a:cubicBezTo>
                  <a:cubicBezTo>
                    <a:pt x="454" y="126"/>
                    <a:pt x="454" y="124"/>
                    <a:pt x="454" y="124"/>
                  </a:cubicBezTo>
                  <a:cubicBezTo>
                    <a:pt x="455" y="124"/>
                    <a:pt x="455" y="124"/>
                    <a:pt x="455" y="124"/>
                  </a:cubicBezTo>
                  <a:cubicBezTo>
                    <a:pt x="455" y="122"/>
                    <a:pt x="455" y="122"/>
                    <a:pt x="455" y="122"/>
                  </a:cubicBezTo>
                  <a:cubicBezTo>
                    <a:pt x="455" y="122"/>
                    <a:pt x="457" y="122"/>
                    <a:pt x="455" y="123"/>
                  </a:cubicBezTo>
                  <a:cubicBezTo>
                    <a:pt x="456" y="123"/>
                    <a:pt x="457" y="123"/>
                    <a:pt x="457" y="123"/>
                  </a:cubicBezTo>
                  <a:cubicBezTo>
                    <a:pt x="458" y="126"/>
                    <a:pt x="458" y="126"/>
                    <a:pt x="458" y="126"/>
                  </a:cubicBezTo>
                  <a:cubicBezTo>
                    <a:pt x="461" y="127"/>
                    <a:pt x="464" y="125"/>
                    <a:pt x="466" y="125"/>
                  </a:cubicBezTo>
                  <a:cubicBezTo>
                    <a:pt x="466" y="125"/>
                    <a:pt x="467" y="122"/>
                    <a:pt x="465" y="124"/>
                  </a:cubicBezTo>
                  <a:cubicBezTo>
                    <a:pt x="465" y="122"/>
                    <a:pt x="465" y="122"/>
                    <a:pt x="465" y="122"/>
                  </a:cubicBezTo>
                  <a:cubicBezTo>
                    <a:pt x="466" y="122"/>
                    <a:pt x="467" y="121"/>
                    <a:pt x="467" y="120"/>
                  </a:cubicBezTo>
                  <a:cubicBezTo>
                    <a:pt x="468" y="121"/>
                    <a:pt x="469" y="122"/>
                    <a:pt x="470" y="122"/>
                  </a:cubicBezTo>
                  <a:cubicBezTo>
                    <a:pt x="470" y="123"/>
                    <a:pt x="470" y="124"/>
                    <a:pt x="470" y="124"/>
                  </a:cubicBezTo>
                  <a:cubicBezTo>
                    <a:pt x="472" y="124"/>
                    <a:pt x="472" y="126"/>
                    <a:pt x="472" y="126"/>
                  </a:cubicBezTo>
                  <a:cubicBezTo>
                    <a:pt x="472" y="126"/>
                    <a:pt x="472" y="125"/>
                    <a:pt x="473" y="122"/>
                  </a:cubicBezTo>
                  <a:cubicBezTo>
                    <a:pt x="474" y="121"/>
                    <a:pt x="474" y="121"/>
                    <a:pt x="474" y="121"/>
                  </a:cubicBezTo>
                  <a:cubicBezTo>
                    <a:pt x="475" y="121"/>
                    <a:pt x="474" y="123"/>
                    <a:pt x="474" y="124"/>
                  </a:cubicBezTo>
                  <a:cubicBezTo>
                    <a:pt x="476" y="124"/>
                    <a:pt x="478" y="125"/>
                    <a:pt x="480" y="126"/>
                  </a:cubicBezTo>
                  <a:cubicBezTo>
                    <a:pt x="483" y="126"/>
                    <a:pt x="484" y="125"/>
                    <a:pt x="487" y="126"/>
                  </a:cubicBezTo>
                  <a:cubicBezTo>
                    <a:pt x="488" y="127"/>
                    <a:pt x="488" y="128"/>
                    <a:pt x="488" y="128"/>
                  </a:cubicBezTo>
                  <a:cubicBezTo>
                    <a:pt x="489" y="128"/>
                    <a:pt x="488" y="126"/>
                    <a:pt x="488" y="126"/>
                  </a:cubicBezTo>
                  <a:cubicBezTo>
                    <a:pt x="494" y="123"/>
                    <a:pt x="494" y="124"/>
                    <a:pt x="490" y="119"/>
                  </a:cubicBezTo>
                  <a:cubicBezTo>
                    <a:pt x="496" y="121"/>
                    <a:pt x="494" y="121"/>
                    <a:pt x="497" y="118"/>
                  </a:cubicBezTo>
                  <a:cubicBezTo>
                    <a:pt x="497" y="117"/>
                    <a:pt x="498" y="117"/>
                    <a:pt x="498" y="117"/>
                  </a:cubicBezTo>
                  <a:cubicBezTo>
                    <a:pt x="498" y="116"/>
                    <a:pt x="498" y="116"/>
                    <a:pt x="498" y="116"/>
                  </a:cubicBezTo>
                  <a:cubicBezTo>
                    <a:pt x="500" y="115"/>
                    <a:pt x="499" y="121"/>
                    <a:pt x="499" y="120"/>
                  </a:cubicBezTo>
                  <a:cubicBezTo>
                    <a:pt x="499" y="121"/>
                    <a:pt x="499" y="122"/>
                    <a:pt x="499" y="122"/>
                  </a:cubicBezTo>
                  <a:cubicBezTo>
                    <a:pt x="502" y="122"/>
                    <a:pt x="506" y="121"/>
                    <a:pt x="507" y="121"/>
                  </a:cubicBezTo>
                  <a:cubicBezTo>
                    <a:pt x="507" y="121"/>
                    <a:pt x="510" y="122"/>
                    <a:pt x="510" y="122"/>
                  </a:cubicBezTo>
                  <a:cubicBezTo>
                    <a:pt x="512" y="122"/>
                    <a:pt x="513" y="121"/>
                    <a:pt x="514" y="121"/>
                  </a:cubicBezTo>
                  <a:cubicBezTo>
                    <a:pt x="514" y="121"/>
                    <a:pt x="515" y="121"/>
                    <a:pt x="515" y="122"/>
                  </a:cubicBezTo>
                  <a:cubicBezTo>
                    <a:pt x="515" y="121"/>
                    <a:pt x="516" y="121"/>
                    <a:pt x="516" y="120"/>
                  </a:cubicBezTo>
                  <a:cubicBezTo>
                    <a:pt x="516" y="117"/>
                    <a:pt x="516" y="116"/>
                    <a:pt x="515" y="114"/>
                  </a:cubicBezTo>
                  <a:cubicBezTo>
                    <a:pt x="516" y="115"/>
                    <a:pt x="517" y="115"/>
                    <a:pt x="518" y="116"/>
                  </a:cubicBezTo>
                  <a:cubicBezTo>
                    <a:pt x="518" y="117"/>
                    <a:pt x="517" y="118"/>
                    <a:pt x="518" y="119"/>
                  </a:cubicBezTo>
                  <a:cubicBezTo>
                    <a:pt x="520" y="122"/>
                    <a:pt x="521" y="120"/>
                    <a:pt x="523" y="120"/>
                  </a:cubicBezTo>
                  <a:cubicBezTo>
                    <a:pt x="522" y="119"/>
                    <a:pt x="524" y="119"/>
                    <a:pt x="524" y="119"/>
                  </a:cubicBezTo>
                  <a:cubicBezTo>
                    <a:pt x="525" y="119"/>
                    <a:pt x="525" y="121"/>
                    <a:pt x="526" y="121"/>
                  </a:cubicBezTo>
                  <a:cubicBezTo>
                    <a:pt x="526" y="124"/>
                    <a:pt x="526" y="125"/>
                    <a:pt x="526" y="129"/>
                  </a:cubicBezTo>
                  <a:cubicBezTo>
                    <a:pt x="526" y="129"/>
                    <a:pt x="529" y="129"/>
                    <a:pt x="528" y="128"/>
                  </a:cubicBezTo>
                  <a:cubicBezTo>
                    <a:pt x="529" y="128"/>
                    <a:pt x="531" y="129"/>
                    <a:pt x="531" y="129"/>
                  </a:cubicBezTo>
                  <a:cubicBezTo>
                    <a:pt x="532" y="129"/>
                    <a:pt x="532" y="126"/>
                    <a:pt x="533" y="126"/>
                  </a:cubicBezTo>
                  <a:cubicBezTo>
                    <a:pt x="534" y="124"/>
                    <a:pt x="537" y="124"/>
                    <a:pt x="538" y="122"/>
                  </a:cubicBezTo>
                  <a:cubicBezTo>
                    <a:pt x="539" y="122"/>
                    <a:pt x="539" y="122"/>
                    <a:pt x="539" y="122"/>
                  </a:cubicBezTo>
                  <a:cubicBezTo>
                    <a:pt x="539" y="120"/>
                    <a:pt x="539" y="120"/>
                    <a:pt x="539" y="120"/>
                  </a:cubicBezTo>
                  <a:cubicBezTo>
                    <a:pt x="540" y="121"/>
                    <a:pt x="540" y="122"/>
                    <a:pt x="541" y="123"/>
                  </a:cubicBezTo>
                  <a:cubicBezTo>
                    <a:pt x="542" y="123"/>
                    <a:pt x="543" y="123"/>
                    <a:pt x="544" y="123"/>
                  </a:cubicBezTo>
                  <a:cubicBezTo>
                    <a:pt x="544" y="123"/>
                    <a:pt x="545" y="121"/>
                    <a:pt x="545" y="121"/>
                  </a:cubicBezTo>
                  <a:cubicBezTo>
                    <a:pt x="547" y="119"/>
                    <a:pt x="550" y="118"/>
                    <a:pt x="552" y="116"/>
                  </a:cubicBezTo>
                  <a:cubicBezTo>
                    <a:pt x="551" y="116"/>
                    <a:pt x="551" y="114"/>
                    <a:pt x="550" y="114"/>
                  </a:cubicBezTo>
                  <a:cubicBezTo>
                    <a:pt x="549" y="114"/>
                    <a:pt x="547" y="115"/>
                    <a:pt x="546" y="114"/>
                  </a:cubicBezTo>
                  <a:cubicBezTo>
                    <a:pt x="545" y="114"/>
                    <a:pt x="543" y="110"/>
                    <a:pt x="542" y="109"/>
                  </a:cubicBezTo>
                  <a:cubicBezTo>
                    <a:pt x="539" y="108"/>
                    <a:pt x="536" y="108"/>
                    <a:pt x="532" y="108"/>
                  </a:cubicBezTo>
                  <a:cubicBezTo>
                    <a:pt x="539" y="106"/>
                    <a:pt x="545" y="106"/>
                    <a:pt x="552" y="104"/>
                  </a:cubicBezTo>
                  <a:cubicBezTo>
                    <a:pt x="551" y="101"/>
                    <a:pt x="551" y="99"/>
                    <a:pt x="551" y="97"/>
                  </a:cubicBezTo>
                  <a:cubicBezTo>
                    <a:pt x="554" y="97"/>
                    <a:pt x="559" y="100"/>
                    <a:pt x="564" y="98"/>
                  </a:cubicBezTo>
                  <a:cubicBezTo>
                    <a:pt x="565" y="97"/>
                    <a:pt x="565" y="97"/>
                    <a:pt x="565" y="97"/>
                  </a:cubicBezTo>
                  <a:cubicBezTo>
                    <a:pt x="566" y="97"/>
                    <a:pt x="568" y="98"/>
                    <a:pt x="569" y="97"/>
                  </a:cubicBezTo>
                  <a:cubicBezTo>
                    <a:pt x="569" y="97"/>
                    <a:pt x="569" y="96"/>
                    <a:pt x="570" y="96"/>
                  </a:cubicBezTo>
                  <a:cubicBezTo>
                    <a:pt x="571" y="96"/>
                    <a:pt x="570" y="94"/>
                    <a:pt x="571" y="94"/>
                  </a:cubicBezTo>
                  <a:cubicBezTo>
                    <a:pt x="568" y="93"/>
                    <a:pt x="563" y="92"/>
                    <a:pt x="569" y="92"/>
                  </a:cubicBezTo>
                  <a:cubicBezTo>
                    <a:pt x="572" y="91"/>
                    <a:pt x="580" y="93"/>
                    <a:pt x="574" y="89"/>
                  </a:cubicBezTo>
                  <a:cubicBezTo>
                    <a:pt x="574" y="88"/>
                    <a:pt x="574" y="88"/>
                    <a:pt x="574" y="88"/>
                  </a:cubicBezTo>
                  <a:cubicBezTo>
                    <a:pt x="580" y="88"/>
                    <a:pt x="580" y="87"/>
                    <a:pt x="584" y="85"/>
                  </a:cubicBezTo>
                  <a:cubicBezTo>
                    <a:pt x="584" y="84"/>
                    <a:pt x="584" y="84"/>
                    <a:pt x="584" y="84"/>
                  </a:cubicBezTo>
                  <a:cubicBezTo>
                    <a:pt x="583" y="83"/>
                    <a:pt x="584" y="83"/>
                    <a:pt x="583" y="81"/>
                  </a:cubicBezTo>
                  <a:cubicBezTo>
                    <a:pt x="580" y="81"/>
                    <a:pt x="579" y="82"/>
                    <a:pt x="576" y="82"/>
                  </a:cubicBezTo>
                  <a:cubicBezTo>
                    <a:pt x="576" y="82"/>
                    <a:pt x="576" y="80"/>
                    <a:pt x="576" y="80"/>
                  </a:cubicBezTo>
                  <a:cubicBezTo>
                    <a:pt x="574" y="80"/>
                    <a:pt x="570" y="78"/>
                    <a:pt x="570" y="78"/>
                  </a:cubicBezTo>
                  <a:cubicBezTo>
                    <a:pt x="569" y="78"/>
                    <a:pt x="568" y="80"/>
                    <a:pt x="568" y="80"/>
                  </a:cubicBezTo>
                  <a:cubicBezTo>
                    <a:pt x="566" y="80"/>
                    <a:pt x="565" y="79"/>
                    <a:pt x="564" y="80"/>
                  </a:cubicBezTo>
                  <a:cubicBezTo>
                    <a:pt x="562" y="81"/>
                    <a:pt x="562" y="81"/>
                    <a:pt x="562" y="81"/>
                  </a:cubicBezTo>
                  <a:cubicBezTo>
                    <a:pt x="558" y="82"/>
                    <a:pt x="556" y="83"/>
                    <a:pt x="552" y="84"/>
                  </a:cubicBezTo>
                  <a:cubicBezTo>
                    <a:pt x="553" y="83"/>
                    <a:pt x="552" y="82"/>
                    <a:pt x="553" y="81"/>
                  </a:cubicBezTo>
                  <a:cubicBezTo>
                    <a:pt x="554" y="80"/>
                    <a:pt x="556" y="79"/>
                    <a:pt x="557" y="79"/>
                  </a:cubicBezTo>
                  <a:cubicBezTo>
                    <a:pt x="558" y="80"/>
                    <a:pt x="556" y="77"/>
                    <a:pt x="556" y="77"/>
                  </a:cubicBezTo>
                  <a:cubicBezTo>
                    <a:pt x="553" y="76"/>
                    <a:pt x="551" y="76"/>
                    <a:pt x="548" y="76"/>
                  </a:cubicBezTo>
                  <a:cubicBezTo>
                    <a:pt x="548" y="76"/>
                    <a:pt x="549" y="74"/>
                    <a:pt x="550" y="74"/>
                  </a:cubicBezTo>
                  <a:cubicBezTo>
                    <a:pt x="550" y="74"/>
                    <a:pt x="558" y="76"/>
                    <a:pt x="559" y="76"/>
                  </a:cubicBezTo>
                  <a:cubicBezTo>
                    <a:pt x="559" y="76"/>
                    <a:pt x="561" y="78"/>
                    <a:pt x="561" y="78"/>
                  </a:cubicBezTo>
                  <a:cubicBezTo>
                    <a:pt x="562" y="78"/>
                    <a:pt x="564" y="77"/>
                    <a:pt x="566" y="77"/>
                  </a:cubicBezTo>
                  <a:cubicBezTo>
                    <a:pt x="567" y="77"/>
                    <a:pt x="574" y="76"/>
                    <a:pt x="569" y="74"/>
                  </a:cubicBezTo>
                  <a:cubicBezTo>
                    <a:pt x="566" y="73"/>
                    <a:pt x="565" y="73"/>
                    <a:pt x="562" y="72"/>
                  </a:cubicBezTo>
                  <a:cubicBezTo>
                    <a:pt x="563" y="72"/>
                    <a:pt x="560" y="71"/>
                    <a:pt x="560" y="71"/>
                  </a:cubicBezTo>
                  <a:cubicBezTo>
                    <a:pt x="564" y="72"/>
                    <a:pt x="567" y="71"/>
                    <a:pt x="571" y="72"/>
                  </a:cubicBezTo>
                  <a:cubicBezTo>
                    <a:pt x="571" y="73"/>
                    <a:pt x="573" y="74"/>
                    <a:pt x="574" y="74"/>
                  </a:cubicBezTo>
                  <a:cubicBezTo>
                    <a:pt x="574" y="74"/>
                    <a:pt x="576" y="73"/>
                    <a:pt x="576" y="72"/>
                  </a:cubicBezTo>
                  <a:cubicBezTo>
                    <a:pt x="575" y="70"/>
                    <a:pt x="575" y="70"/>
                    <a:pt x="575" y="70"/>
                  </a:cubicBezTo>
                  <a:cubicBezTo>
                    <a:pt x="570" y="69"/>
                    <a:pt x="565" y="69"/>
                    <a:pt x="560" y="69"/>
                  </a:cubicBezTo>
                  <a:cubicBezTo>
                    <a:pt x="560" y="69"/>
                    <a:pt x="560" y="67"/>
                    <a:pt x="560" y="66"/>
                  </a:cubicBezTo>
                  <a:cubicBezTo>
                    <a:pt x="562" y="67"/>
                    <a:pt x="564" y="67"/>
                    <a:pt x="566" y="68"/>
                  </a:cubicBezTo>
                  <a:cubicBezTo>
                    <a:pt x="566" y="67"/>
                    <a:pt x="567" y="65"/>
                    <a:pt x="568" y="65"/>
                  </a:cubicBezTo>
                  <a:cubicBezTo>
                    <a:pt x="568" y="65"/>
                    <a:pt x="569" y="66"/>
                    <a:pt x="570" y="65"/>
                  </a:cubicBezTo>
                  <a:cubicBezTo>
                    <a:pt x="570" y="65"/>
                    <a:pt x="570" y="67"/>
                    <a:pt x="570" y="67"/>
                  </a:cubicBezTo>
                  <a:cubicBezTo>
                    <a:pt x="572" y="69"/>
                    <a:pt x="576" y="70"/>
                    <a:pt x="577" y="69"/>
                  </a:cubicBezTo>
                  <a:cubicBezTo>
                    <a:pt x="577" y="69"/>
                    <a:pt x="575" y="66"/>
                    <a:pt x="579" y="67"/>
                  </a:cubicBezTo>
                  <a:cubicBezTo>
                    <a:pt x="579" y="67"/>
                    <a:pt x="582" y="69"/>
                    <a:pt x="583" y="70"/>
                  </a:cubicBezTo>
                  <a:cubicBezTo>
                    <a:pt x="584" y="69"/>
                    <a:pt x="586" y="67"/>
                    <a:pt x="586" y="66"/>
                  </a:cubicBezTo>
                  <a:cubicBezTo>
                    <a:pt x="587" y="67"/>
                    <a:pt x="588" y="68"/>
                    <a:pt x="588" y="68"/>
                  </a:cubicBezTo>
                  <a:cubicBezTo>
                    <a:pt x="593" y="70"/>
                    <a:pt x="596" y="68"/>
                    <a:pt x="600" y="68"/>
                  </a:cubicBezTo>
                  <a:cubicBezTo>
                    <a:pt x="600" y="68"/>
                    <a:pt x="601" y="66"/>
                    <a:pt x="601" y="65"/>
                  </a:cubicBezTo>
                  <a:cubicBezTo>
                    <a:pt x="600" y="65"/>
                    <a:pt x="600" y="65"/>
                    <a:pt x="599" y="64"/>
                  </a:cubicBezTo>
                  <a:cubicBezTo>
                    <a:pt x="596" y="63"/>
                    <a:pt x="603" y="64"/>
                    <a:pt x="603" y="64"/>
                  </a:cubicBezTo>
                  <a:cubicBezTo>
                    <a:pt x="604" y="64"/>
                    <a:pt x="605" y="61"/>
                    <a:pt x="605" y="61"/>
                  </a:cubicBezTo>
                  <a:cubicBezTo>
                    <a:pt x="605" y="61"/>
                    <a:pt x="615" y="60"/>
                    <a:pt x="611" y="59"/>
                  </a:cubicBezTo>
                  <a:cubicBezTo>
                    <a:pt x="610" y="59"/>
                    <a:pt x="608" y="58"/>
                    <a:pt x="607" y="58"/>
                  </a:cubicBezTo>
                  <a:cubicBezTo>
                    <a:pt x="607" y="58"/>
                    <a:pt x="608" y="57"/>
                    <a:pt x="607" y="56"/>
                  </a:cubicBezTo>
                  <a:cubicBezTo>
                    <a:pt x="609" y="55"/>
                    <a:pt x="609" y="55"/>
                    <a:pt x="609" y="55"/>
                  </a:cubicBezTo>
                  <a:cubicBezTo>
                    <a:pt x="610" y="55"/>
                    <a:pt x="611" y="57"/>
                    <a:pt x="612" y="57"/>
                  </a:cubicBezTo>
                  <a:cubicBezTo>
                    <a:pt x="616" y="59"/>
                    <a:pt x="616" y="57"/>
                    <a:pt x="619" y="56"/>
                  </a:cubicBezTo>
                  <a:cubicBezTo>
                    <a:pt x="619" y="54"/>
                    <a:pt x="619" y="54"/>
                    <a:pt x="619" y="54"/>
                  </a:cubicBezTo>
                  <a:cubicBezTo>
                    <a:pt x="620" y="54"/>
                    <a:pt x="621" y="55"/>
                    <a:pt x="622" y="54"/>
                  </a:cubicBezTo>
                  <a:cubicBezTo>
                    <a:pt x="623" y="53"/>
                    <a:pt x="621" y="52"/>
                    <a:pt x="621" y="51"/>
                  </a:cubicBezTo>
                  <a:cubicBezTo>
                    <a:pt x="622" y="50"/>
                    <a:pt x="623" y="50"/>
                    <a:pt x="623" y="49"/>
                  </a:cubicBezTo>
                  <a:cubicBezTo>
                    <a:pt x="627" y="55"/>
                    <a:pt x="628" y="51"/>
                    <a:pt x="627" y="51"/>
                  </a:cubicBezTo>
                  <a:cubicBezTo>
                    <a:pt x="628" y="51"/>
                    <a:pt x="628" y="52"/>
                    <a:pt x="629" y="52"/>
                  </a:cubicBezTo>
                  <a:cubicBezTo>
                    <a:pt x="630" y="52"/>
                    <a:pt x="630" y="49"/>
                    <a:pt x="631" y="49"/>
                  </a:cubicBezTo>
                  <a:cubicBezTo>
                    <a:pt x="633" y="48"/>
                    <a:pt x="635" y="48"/>
                    <a:pt x="637" y="47"/>
                  </a:cubicBezTo>
                  <a:cubicBezTo>
                    <a:pt x="638" y="47"/>
                    <a:pt x="639" y="45"/>
                    <a:pt x="639" y="45"/>
                  </a:cubicBezTo>
                  <a:cubicBezTo>
                    <a:pt x="640" y="44"/>
                    <a:pt x="642" y="44"/>
                    <a:pt x="643" y="43"/>
                  </a:cubicBezTo>
                  <a:cubicBezTo>
                    <a:pt x="644" y="43"/>
                    <a:pt x="643" y="41"/>
                    <a:pt x="644" y="41"/>
                  </a:cubicBezTo>
                  <a:cubicBezTo>
                    <a:pt x="646" y="41"/>
                    <a:pt x="647" y="42"/>
                    <a:pt x="650" y="42"/>
                  </a:cubicBezTo>
                  <a:cubicBezTo>
                    <a:pt x="651" y="42"/>
                    <a:pt x="655" y="40"/>
                    <a:pt x="656" y="40"/>
                  </a:cubicBezTo>
                  <a:cubicBezTo>
                    <a:pt x="663" y="38"/>
                    <a:pt x="667" y="38"/>
                    <a:pt x="673" y="35"/>
                  </a:cubicBezTo>
                  <a:cubicBezTo>
                    <a:pt x="674" y="34"/>
                    <a:pt x="674" y="32"/>
                    <a:pt x="675" y="31"/>
                  </a:cubicBezTo>
                  <a:cubicBezTo>
                    <a:pt x="673" y="31"/>
                    <a:pt x="672" y="31"/>
                    <a:pt x="670" y="31"/>
                  </a:cubicBezTo>
                  <a:cubicBezTo>
                    <a:pt x="668" y="32"/>
                    <a:pt x="664" y="34"/>
                    <a:pt x="662" y="35"/>
                  </a:cubicBezTo>
                  <a:cubicBezTo>
                    <a:pt x="659" y="35"/>
                    <a:pt x="652" y="35"/>
                    <a:pt x="653" y="35"/>
                  </a:cubicBezTo>
                  <a:cubicBezTo>
                    <a:pt x="655" y="33"/>
                    <a:pt x="655" y="33"/>
                    <a:pt x="655" y="33"/>
                  </a:cubicBezTo>
                  <a:cubicBezTo>
                    <a:pt x="658" y="32"/>
                    <a:pt x="661" y="33"/>
                    <a:pt x="665" y="32"/>
                  </a:cubicBezTo>
                  <a:cubicBezTo>
                    <a:pt x="664" y="31"/>
                    <a:pt x="665" y="31"/>
                    <a:pt x="665" y="31"/>
                  </a:cubicBezTo>
                  <a:cubicBezTo>
                    <a:pt x="665" y="31"/>
                    <a:pt x="663" y="29"/>
                    <a:pt x="664" y="29"/>
                  </a:cubicBezTo>
                  <a:cubicBezTo>
                    <a:pt x="665" y="29"/>
                    <a:pt x="667" y="30"/>
                    <a:pt x="667" y="31"/>
                  </a:cubicBezTo>
                  <a:cubicBezTo>
                    <a:pt x="668" y="31"/>
                    <a:pt x="674" y="30"/>
                    <a:pt x="675" y="29"/>
                  </a:cubicBezTo>
                  <a:cubicBezTo>
                    <a:pt x="676" y="29"/>
                    <a:pt x="677" y="26"/>
                    <a:pt x="678" y="25"/>
                  </a:cubicBezTo>
                  <a:cubicBezTo>
                    <a:pt x="679" y="25"/>
                    <a:pt x="682" y="26"/>
                    <a:pt x="683" y="25"/>
                  </a:cubicBezTo>
                  <a:cubicBezTo>
                    <a:pt x="683" y="24"/>
                    <a:pt x="683" y="24"/>
                    <a:pt x="683" y="24"/>
                  </a:cubicBezTo>
                  <a:cubicBezTo>
                    <a:pt x="684" y="24"/>
                    <a:pt x="686" y="24"/>
                    <a:pt x="687" y="23"/>
                  </a:cubicBezTo>
                  <a:cubicBezTo>
                    <a:pt x="688" y="23"/>
                    <a:pt x="689" y="21"/>
                    <a:pt x="689" y="21"/>
                  </a:cubicBezTo>
                  <a:cubicBezTo>
                    <a:pt x="690" y="20"/>
                    <a:pt x="692" y="21"/>
                    <a:pt x="693" y="21"/>
                  </a:cubicBezTo>
                  <a:cubicBezTo>
                    <a:pt x="694" y="19"/>
                    <a:pt x="694" y="19"/>
                    <a:pt x="694" y="19"/>
                  </a:cubicBezTo>
                  <a:cubicBezTo>
                    <a:pt x="695" y="19"/>
                    <a:pt x="696" y="20"/>
                    <a:pt x="696" y="19"/>
                  </a:cubicBezTo>
                  <a:cubicBezTo>
                    <a:pt x="696" y="19"/>
                    <a:pt x="696" y="19"/>
                    <a:pt x="696" y="19"/>
                  </a:cubicBezTo>
                  <a:cubicBezTo>
                    <a:pt x="696" y="18"/>
                    <a:pt x="698" y="17"/>
                    <a:pt x="698" y="17"/>
                  </a:cubicBezTo>
                  <a:cubicBezTo>
                    <a:pt x="698" y="14"/>
                    <a:pt x="698" y="14"/>
                    <a:pt x="698" y="14"/>
                  </a:cubicBezTo>
                  <a:cubicBezTo>
                    <a:pt x="695" y="14"/>
                    <a:pt x="693" y="14"/>
                    <a:pt x="690" y="13"/>
                  </a:cubicBezTo>
                  <a:cubicBezTo>
                    <a:pt x="690" y="12"/>
                    <a:pt x="690" y="12"/>
                    <a:pt x="690" y="12"/>
                  </a:cubicBezTo>
                  <a:cubicBezTo>
                    <a:pt x="690" y="12"/>
                    <a:pt x="686" y="11"/>
                    <a:pt x="686" y="11"/>
                  </a:cubicBezTo>
                  <a:cubicBezTo>
                    <a:pt x="685" y="11"/>
                    <a:pt x="684" y="13"/>
                    <a:pt x="683" y="12"/>
                  </a:cubicBezTo>
                  <a:cubicBezTo>
                    <a:pt x="683" y="11"/>
                    <a:pt x="683" y="11"/>
                    <a:pt x="683" y="11"/>
                  </a:cubicBezTo>
                  <a:cubicBezTo>
                    <a:pt x="681" y="11"/>
                    <a:pt x="682" y="10"/>
                    <a:pt x="681" y="9"/>
                  </a:cubicBezTo>
                  <a:cubicBezTo>
                    <a:pt x="680" y="9"/>
                    <a:pt x="679" y="9"/>
                    <a:pt x="678" y="9"/>
                  </a:cubicBezTo>
                  <a:cubicBezTo>
                    <a:pt x="678" y="7"/>
                    <a:pt x="678" y="7"/>
                    <a:pt x="678" y="7"/>
                  </a:cubicBezTo>
                  <a:cubicBezTo>
                    <a:pt x="675" y="6"/>
                    <a:pt x="673" y="7"/>
                    <a:pt x="669" y="6"/>
                  </a:cubicBezTo>
                  <a:cubicBezTo>
                    <a:pt x="669" y="6"/>
                    <a:pt x="667" y="4"/>
                    <a:pt x="666" y="4"/>
                  </a:cubicBezTo>
                  <a:cubicBezTo>
                    <a:pt x="662" y="3"/>
                    <a:pt x="654" y="3"/>
                    <a:pt x="653" y="3"/>
                  </a:cubicBezTo>
                  <a:cubicBezTo>
                    <a:pt x="651" y="4"/>
                    <a:pt x="650" y="8"/>
                    <a:pt x="648" y="9"/>
                  </a:cubicBezTo>
                  <a:cubicBezTo>
                    <a:pt x="646" y="10"/>
                    <a:pt x="644" y="10"/>
                    <a:pt x="643" y="11"/>
                  </a:cubicBezTo>
                  <a:cubicBezTo>
                    <a:pt x="642" y="11"/>
                    <a:pt x="641" y="13"/>
                    <a:pt x="640" y="13"/>
                  </a:cubicBezTo>
                  <a:cubicBezTo>
                    <a:pt x="638" y="14"/>
                    <a:pt x="638" y="12"/>
                    <a:pt x="637" y="13"/>
                  </a:cubicBezTo>
                  <a:cubicBezTo>
                    <a:pt x="637" y="13"/>
                    <a:pt x="635" y="14"/>
                    <a:pt x="635" y="15"/>
                  </a:cubicBezTo>
                  <a:cubicBezTo>
                    <a:pt x="631" y="16"/>
                    <a:pt x="630" y="15"/>
                    <a:pt x="627" y="17"/>
                  </a:cubicBezTo>
                  <a:cubicBezTo>
                    <a:pt x="628" y="16"/>
                    <a:pt x="627" y="15"/>
                    <a:pt x="627" y="15"/>
                  </a:cubicBezTo>
                  <a:cubicBezTo>
                    <a:pt x="628" y="14"/>
                    <a:pt x="631" y="12"/>
                    <a:pt x="633" y="11"/>
                  </a:cubicBezTo>
                  <a:cubicBezTo>
                    <a:pt x="634" y="11"/>
                    <a:pt x="636" y="12"/>
                    <a:pt x="638" y="11"/>
                  </a:cubicBezTo>
                  <a:cubicBezTo>
                    <a:pt x="639" y="11"/>
                    <a:pt x="647" y="7"/>
                    <a:pt x="647" y="6"/>
                  </a:cubicBezTo>
                  <a:cubicBezTo>
                    <a:pt x="648" y="5"/>
                    <a:pt x="647" y="4"/>
                    <a:pt x="648" y="3"/>
                  </a:cubicBezTo>
                  <a:cubicBezTo>
                    <a:pt x="647" y="3"/>
                    <a:pt x="645" y="2"/>
                    <a:pt x="644" y="2"/>
                  </a:cubicBezTo>
                  <a:cubicBezTo>
                    <a:pt x="639" y="0"/>
                    <a:pt x="637" y="2"/>
                    <a:pt x="632" y="3"/>
                  </a:cubicBezTo>
                  <a:cubicBezTo>
                    <a:pt x="631" y="3"/>
                    <a:pt x="628" y="2"/>
                    <a:pt x="629" y="2"/>
                  </a:cubicBezTo>
                  <a:cubicBezTo>
                    <a:pt x="628" y="3"/>
                    <a:pt x="628" y="3"/>
                    <a:pt x="628" y="3"/>
                  </a:cubicBezTo>
                  <a:cubicBezTo>
                    <a:pt x="627" y="3"/>
                    <a:pt x="623" y="3"/>
                    <a:pt x="622" y="2"/>
                  </a:cubicBezTo>
                  <a:cubicBezTo>
                    <a:pt x="621" y="1"/>
                    <a:pt x="621" y="1"/>
                    <a:pt x="621" y="1"/>
                  </a:cubicBezTo>
                  <a:cubicBezTo>
                    <a:pt x="621" y="0"/>
                    <a:pt x="620" y="1"/>
                    <a:pt x="618" y="1"/>
                  </a:cubicBezTo>
                  <a:cubicBezTo>
                    <a:pt x="616" y="1"/>
                    <a:pt x="613" y="0"/>
                    <a:pt x="611" y="0"/>
                  </a:cubicBezTo>
                  <a:cubicBezTo>
                    <a:pt x="610" y="0"/>
                    <a:pt x="606" y="3"/>
                    <a:pt x="606" y="3"/>
                  </a:cubicBezTo>
                  <a:cubicBezTo>
                    <a:pt x="606" y="4"/>
                    <a:pt x="606" y="6"/>
                    <a:pt x="606" y="7"/>
                  </a:cubicBezTo>
                  <a:cubicBezTo>
                    <a:pt x="605" y="6"/>
                    <a:pt x="605" y="5"/>
                    <a:pt x="605" y="5"/>
                  </a:cubicBezTo>
                  <a:cubicBezTo>
                    <a:pt x="602" y="4"/>
                    <a:pt x="589" y="7"/>
                    <a:pt x="594" y="12"/>
                  </a:cubicBezTo>
                  <a:cubicBezTo>
                    <a:pt x="592" y="11"/>
                    <a:pt x="590" y="11"/>
                    <a:pt x="588" y="9"/>
                  </a:cubicBezTo>
                  <a:cubicBezTo>
                    <a:pt x="587" y="9"/>
                    <a:pt x="587" y="7"/>
                    <a:pt x="585" y="7"/>
                  </a:cubicBezTo>
                  <a:cubicBezTo>
                    <a:pt x="584" y="6"/>
                    <a:pt x="582" y="7"/>
                    <a:pt x="582" y="7"/>
                  </a:cubicBezTo>
                  <a:cubicBezTo>
                    <a:pt x="575" y="8"/>
                    <a:pt x="566" y="6"/>
                    <a:pt x="561" y="7"/>
                  </a:cubicBezTo>
                  <a:cubicBezTo>
                    <a:pt x="559" y="7"/>
                    <a:pt x="557" y="9"/>
                    <a:pt x="556" y="9"/>
                  </a:cubicBezTo>
                  <a:cubicBezTo>
                    <a:pt x="556" y="11"/>
                    <a:pt x="556" y="11"/>
                    <a:pt x="556" y="11"/>
                  </a:cubicBezTo>
                  <a:cubicBezTo>
                    <a:pt x="556" y="11"/>
                    <a:pt x="557" y="11"/>
                    <a:pt x="558" y="11"/>
                  </a:cubicBezTo>
                  <a:cubicBezTo>
                    <a:pt x="558" y="12"/>
                    <a:pt x="557" y="13"/>
                    <a:pt x="558" y="13"/>
                  </a:cubicBezTo>
                  <a:cubicBezTo>
                    <a:pt x="559" y="14"/>
                    <a:pt x="561" y="13"/>
                    <a:pt x="562" y="13"/>
                  </a:cubicBezTo>
                  <a:cubicBezTo>
                    <a:pt x="562" y="13"/>
                    <a:pt x="563" y="15"/>
                    <a:pt x="563" y="15"/>
                  </a:cubicBezTo>
                  <a:cubicBezTo>
                    <a:pt x="564" y="15"/>
                    <a:pt x="566" y="16"/>
                    <a:pt x="567" y="17"/>
                  </a:cubicBezTo>
                  <a:cubicBezTo>
                    <a:pt x="567" y="18"/>
                    <a:pt x="566" y="20"/>
                    <a:pt x="566" y="20"/>
                  </a:cubicBezTo>
                  <a:cubicBezTo>
                    <a:pt x="564" y="17"/>
                    <a:pt x="563" y="15"/>
                    <a:pt x="560" y="15"/>
                  </a:cubicBezTo>
                  <a:cubicBezTo>
                    <a:pt x="559" y="14"/>
                    <a:pt x="557" y="15"/>
                    <a:pt x="557" y="15"/>
                  </a:cubicBezTo>
                  <a:cubicBezTo>
                    <a:pt x="556" y="14"/>
                    <a:pt x="555" y="12"/>
                    <a:pt x="554" y="11"/>
                  </a:cubicBezTo>
                  <a:cubicBezTo>
                    <a:pt x="554" y="12"/>
                    <a:pt x="553" y="11"/>
                    <a:pt x="552" y="11"/>
                  </a:cubicBezTo>
                  <a:cubicBezTo>
                    <a:pt x="552" y="11"/>
                    <a:pt x="551" y="13"/>
                    <a:pt x="551" y="13"/>
                  </a:cubicBezTo>
                  <a:cubicBezTo>
                    <a:pt x="549" y="14"/>
                    <a:pt x="547" y="13"/>
                    <a:pt x="545" y="13"/>
                  </a:cubicBezTo>
                  <a:cubicBezTo>
                    <a:pt x="544" y="12"/>
                    <a:pt x="544" y="11"/>
                    <a:pt x="543" y="11"/>
                  </a:cubicBezTo>
                  <a:cubicBezTo>
                    <a:pt x="543" y="11"/>
                    <a:pt x="543" y="13"/>
                    <a:pt x="543" y="13"/>
                  </a:cubicBezTo>
                  <a:cubicBezTo>
                    <a:pt x="543" y="14"/>
                    <a:pt x="540" y="17"/>
                    <a:pt x="539" y="17"/>
                  </a:cubicBezTo>
                  <a:cubicBezTo>
                    <a:pt x="538" y="17"/>
                    <a:pt x="537" y="18"/>
                    <a:pt x="536" y="17"/>
                  </a:cubicBezTo>
                  <a:cubicBezTo>
                    <a:pt x="535" y="17"/>
                    <a:pt x="535" y="15"/>
                    <a:pt x="535" y="15"/>
                  </a:cubicBezTo>
                  <a:cubicBezTo>
                    <a:pt x="534" y="15"/>
                    <a:pt x="533" y="15"/>
                    <a:pt x="532" y="15"/>
                  </a:cubicBezTo>
                  <a:cubicBezTo>
                    <a:pt x="532" y="15"/>
                    <a:pt x="531" y="16"/>
                    <a:pt x="531" y="17"/>
                  </a:cubicBezTo>
                  <a:cubicBezTo>
                    <a:pt x="532" y="18"/>
                    <a:pt x="533" y="19"/>
                    <a:pt x="533" y="19"/>
                  </a:cubicBezTo>
                  <a:cubicBezTo>
                    <a:pt x="534" y="20"/>
                    <a:pt x="535" y="19"/>
                    <a:pt x="536" y="19"/>
                  </a:cubicBezTo>
                  <a:cubicBezTo>
                    <a:pt x="536" y="21"/>
                    <a:pt x="536" y="21"/>
                    <a:pt x="536" y="21"/>
                  </a:cubicBezTo>
                  <a:cubicBezTo>
                    <a:pt x="532" y="19"/>
                    <a:pt x="529" y="17"/>
                    <a:pt x="526" y="17"/>
                  </a:cubicBezTo>
                  <a:cubicBezTo>
                    <a:pt x="526" y="16"/>
                    <a:pt x="524" y="17"/>
                    <a:pt x="524" y="17"/>
                  </a:cubicBezTo>
                  <a:cubicBezTo>
                    <a:pt x="523" y="16"/>
                    <a:pt x="522" y="14"/>
                    <a:pt x="521" y="14"/>
                  </a:cubicBezTo>
                  <a:cubicBezTo>
                    <a:pt x="520" y="14"/>
                    <a:pt x="518" y="14"/>
                    <a:pt x="517" y="14"/>
                  </a:cubicBezTo>
                  <a:cubicBezTo>
                    <a:pt x="517" y="16"/>
                    <a:pt x="517" y="21"/>
                    <a:pt x="518" y="23"/>
                  </a:cubicBezTo>
                  <a:cubicBezTo>
                    <a:pt x="519" y="24"/>
                    <a:pt x="521" y="24"/>
                    <a:pt x="521" y="25"/>
                  </a:cubicBezTo>
                  <a:cubicBezTo>
                    <a:pt x="521" y="25"/>
                    <a:pt x="521" y="26"/>
                    <a:pt x="521" y="27"/>
                  </a:cubicBezTo>
                  <a:cubicBezTo>
                    <a:pt x="520" y="26"/>
                    <a:pt x="519" y="24"/>
                    <a:pt x="518" y="23"/>
                  </a:cubicBezTo>
                  <a:cubicBezTo>
                    <a:pt x="517" y="23"/>
                    <a:pt x="517" y="22"/>
                    <a:pt x="516" y="22"/>
                  </a:cubicBezTo>
                  <a:cubicBezTo>
                    <a:pt x="516" y="23"/>
                    <a:pt x="515" y="21"/>
                    <a:pt x="514" y="21"/>
                  </a:cubicBezTo>
                  <a:cubicBezTo>
                    <a:pt x="514" y="22"/>
                    <a:pt x="515" y="25"/>
                    <a:pt x="514" y="25"/>
                  </a:cubicBezTo>
                  <a:cubicBezTo>
                    <a:pt x="513" y="25"/>
                    <a:pt x="513" y="25"/>
                    <a:pt x="513" y="25"/>
                  </a:cubicBezTo>
                  <a:cubicBezTo>
                    <a:pt x="510" y="21"/>
                    <a:pt x="510" y="19"/>
                    <a:pt x="504" y="18"/>
                  </a:cubicBezTo>
                  <a:cubicBezTo>
                    <a:pt x="503" y="17"/>
                    <a:pt x="503" y="17"/>
                    <a:pt x="503" y="17"/>
                  </a:cubicBezTo>
                  <a:cubicBezTo>
                    <a:pt x="500" y="16"/>
                    <a:pt x="498" y="17"/>
                    <a:pt x="495" y="16"/>
                  </a:cubicBezTo>
                  <a:cubicBezTo>
                    <a:pt x="491" y="15"/>
                    <a:pt x="491" y="15"/>
                    <a:pt x="491" y="15"/>
                  </a:cubicBezTo>
                  <a:cubicBezTo>
                    <a:pt x="491" y="14"/>
                    <a:pt x="490" y="13"/>
                    <a:pt x="490" y="13"/>
                  </a:cubicBezTo>
                  <a:cubicBezTo>
                    <a:pt x="490" y="12"/>
                    <a:pt x="490" y="12"/>
                    <a:pt x="490" y="12"/>
                  </a:cubicBezTo>
                  <a:cubicBezTo>
                    <a:pt x="488" y="11"/>
                    <a:pt x="484" y="12"/>
                    <a:pt x="482" y="12"/>
                  </a:cubicBezTo>
                  <a:cubicBezTo>
                    <a:pt x="483" y="13"/>
                    <a:pt x="482" y="13"/>
                    <a:pt x="482" y="14"/>
                  </a:cubicBezTo>
                  <a:cubicBezTo>
                    <a:pt x="482" y="14"/>
                    <a:pt x="485" y="18"/>
                    <a:pt x="486" y="19"/>
                  </a:cubicBezTo>
                  <a:cubicBezTo>
                    <a:pt x="480" y="17"/>
                    <a:pt x="476" y="19"/>
                    <a:pt x="470" y="18"/>
                  </a:cubicBezTo>
                  <a:cubicBezTo>
                    <a:pt x="471" y="20"/>
                    <a:pt x="471" y="21"/>
                    <a:pt x="472" y="23"/>
                  </a:cubicBezTo>
                  <a:cubicBezTo>
                    <a:pt x="474" y="23"/>
                    <a:pt x="474" y="22"/>
                    <a:pt x="476" y="23"/>
                  </a:cubicBezTo>
                  <a:cubicBezTo>
                    <a:pt x="477" y="23"/>
                    <a:pt x="478" y="25"/>
                    <a:pt x="478" y="25"/>
                  </a:cubicBezTo>
                  <a:cubicBezTo>
                    <a:pt x="481" y="25"/>
                    <a:pt x="482" y="23"/>
                    <a:pt x="484" y="23"/>
                  </a:cubicBezTo>
                  <a:cubicBezTo>
                    <a:pt x="485" y="23"/>
                    <a:pt x="487" y="24"/>
                    <a:pt x="489" y="24"/>
                  </a:cubicBezTo>
                  <a:cubicBezTo>
                    <a:pt x="490" y="24"/>
                    <a:pt x="491" y="22"/>
                    <a:pt x="493" y="23"/>
                  </a:cubicBezTo>
                  <a:cubicBezTo>
                    <a:pt x="493" y="23"/>
                    <a:pt x="494" y="24"/>
                    <a:pt x="494" y="24"/>
                  </a:cubicBezTo>
                  <a:cubicBezTo>
                    <a:pt x="494" y="25"/>
                    <a:pt x="494" y="25"/>
                    <a:pt x="494" y="25"/>
                  </a:cubicBezTo>
                  <a:cubicBezTo>
                    <a:pt x="494" y="26"/>
                    <a:pt x="492" y="25"/>
                    <a:pt x="492" y="25"/>
                  </a:cubicBezTo>
                  <a:cubicBezTo>
                    <a:pt x="492" y="25"/>
                    <a:pt x="492" y="31"/>
                    <a:pt x="492" y="31"/>
                  </a:cubicBezTo>
                  <a:cubicBezTo>
                    <a:pt x="491" y="31"/>
                    <a:pt x="491" y="31"/>
                    <a:pt x="490" y="31"/>
                  </a:cubicBezTo>
                  <a:cubicBezTo>
                    <a:pt x="490" y="29"/>
                    <a:pt x="490" y="28"/>
                    <a:pt x="489" y="26"/>
                  </a:cubicBezTo>
                  <a:cubicBezTo>
                    <a:pt x="487" y="26"/>
                    <a:pt x="486" y="26"/>
                    <a:pt x="484" y="27"/>
                  </a:cubicBezTo>
                  <a:cubicBezTo>
                    <a:pt x="483" y="29"/>
                    <a:pt x="483" y="29"/>
                    <a:pt x="483" y="29"/>
                  </a:cubicBezTo>
                  <a:cubicBezTo>
                    <a:pt x="483" y="29"/>
                    <a:pt x="476" y="26"/>
                    <a:pt x="474" y="25"/>
                  </a:cubicBezTo>
                  <a:cubicBezTo>
                    <a:pt x="475" y="25"/>
                    <a:pt x="473" y="27"/>
                    <a:pt x="473" y="27"/>
                  </a:cubicBezTo>
                  <a:cubicBezTo>
                    <a:pt x="474" y="27"/>
                    <a:pt x="475" y="30"/>
                    <a:pt x="474" y="30"/>
                  </a:cubicBezTo>
                  <a:close/>
                  <a:moveTo>
                    <a:pt x="101" y="453"/>
                  </a:moveTo>
                  <a:cubicBezTo>
                    <a:pt x="102" y="453"/>
                    <a:pt x="102" y="453"/>
                    <a:pt x="102" y="453"/>
                  </a:cubicBezTo>
                  <a:cubicBezTo>
                    <a:pt x="102" y="452"/>
                    <a:pt x="102" y="452"/>
                    <a:pt x="102" y="452"/>
                  </a:cubicBezTo>
                  <a:cubicBezTo>
                    <a:pt x="102" y="452"/>
                    <a:pt x="103" y="453"/>
                    <a:pt x="104" y="453"/>
                  </a:cubicBezTo>
                  <a:cubicBezTo>
                    <a:pt x="103" y="453"/>
                    <a:pt x="104" y="455"/>
                    <a:pt x="104" y="455"/>
                  </a:cubicBezTo>
                  <a:cubicBezTo>
                    <a:pt x="103" y="456"/>
                    <a:pt x="102" y="455"/>
                    <a:pt x="102" y="455"/>
                  </a:cubicBezTo>
                  <a:cubicBezTo>
                    <a:pt x="100" y="456"/>
                    <a:pt x="97" y="462"/>
                    <a:pt x="96" y="464"/>
                  </a:cubicBezTo>
                  <a:cubicBezTo>
                    <a:pt x="97" y="465"/>
                    <a:pt x="99" y="465"/>
                    <a:pt x="100" y="466"/>
                  </a:cubicBezTo>
                  <a:cubicBezTo>
                    <a:pt x="100" y="467"/>
                    <a:pt x="99" y="467"/>
                    <a:pt x="99" y="467"/>
                  </a:cubicBezTo>
                  <a:cubicBezTo>
                    <a:pt x="99" y="467"/>
                    <a:pt x="99" y="469"/>
                    <a:pt x="99" y="469"/>
                  </a:cubicBezTo>
                  <a:cubicBezTo>
                    <a:pt x="99" y="469"/>
                    <a:pt x="101" y="470"/>
                    <a:pt x="101" y="470"/>
                  </a:cubicBezTo>
                  <a:cubicBezTo>
                    <a:pt x="101" y="471"/>
                    <a:pt x="101" y="471"/>
                    <a:pt x="101" y="471"/>
                  </a:cubicBezTo>
                  <a:cubicBezTo>
                    <a:pt x="98" y="470"/>
                    <a:pt x="100" y="476"/>
                    <a:pt x="101" y="477"/>
                  </a:cubicBezTo>
                  <a:cubicBezTo>
                    <a:pt x="104" y="480"/>
                    <a:pt x="104" y="480"/>
                    <a:pt x="104" y="480"/>
                  </a:cubicBezTo>
                  <a:cubicBezTo>
                    <a:pt x="104" y="479"/>
                    <a:pt x="106" y="480"/>
                    <a:pt x="106" y="479"/>
                  </a:cubicBezTo>
                  <a:cubicBezTo>
                    <a:pt x="107" y="479"/>
                    <a:pt x="106" y="478"/>
                    <a:pt x="106" y="478"/>
                  </a:cubicBezTo>
                  <a:cubicBezTo>
                    <a:pt x="108" y="475"/>
                    <a:pt x="108" y="475"/>
                    <a:pt x="108" y="475"/>
                  </a:cubicBezTo>
                  <a:cubicBezTo>
                    <a:pt x="109" y="474"/>
                    <a:pt x="110" y="476"/>
                    <a:pt x="111" y="475"/>
                  </a:cubicBezTo>
                  <a:cubicBezTo>
                    <a:pt x="110" y="477"/>
                    <a:pt x="110" y="476"/>
                    <a:pt x="109" y="477"/>
                  </a:cubicBezTo>
                  <a:cubicBezTo>
                    <a:pt x="109" y="478"/>
                    <a:pt x="110" y="481"/>
                    <a:pt x="110" y="481"/>
                  </a:cubicBezTo>
                  <a:cubicBezTo>
                    <a:pt x="110" y="481"/>
                    <a:pt x="108" y="481"/>
                    <a:pt x="108" y="481"/>
                  </a:cubicBezTo>
                  <a:cubicBezTo>
                    <a:pt x="108" y="481"/>
                    <a:pt x="107" y="483"/>
                    <a:pt x="107" y="484"/>
                  </a:cubicBezTo>
                  <a:cubicBezTo>
                    <a:pt x="108" y="484"/>
                    <a:pt x="109" y="485"/>
                    <a:pt x="110" y="486"/>
                  </a:cubicBezTo>
                  <a:cubicBezTo>
                    <a:pt x="110" y="489"/>
                    <a:pt x="110" y="489"/>
                    <a:pt x="110" y="489"/>
                  </a:cubicBezTo>
                  <a:cubicBezTo>
                    <a:pt x="110" y="489"/>
                    <a:pt x="112" y="487"/>
                    <a:pt x="110" y="487"/>
                  </a:cubicBezTo>
                  <a:cubicBezTo>
                    <a:pt x="111" y="487"/>
                    <a:pt x="112" y="487"/>
                    <a:pt x="113" y="487"/>
                  </a:cubicBezTo>
                  <a:cubicBezTo>
                    <a:pt x="114" y="487"/>
                    <a:pt x="112" y="486"/>
                    <a:pt x="114" y="485"/>
                  </a:cubicBezTo>
                  <a:cubicBezTo>
                    <a:pt x="114" y="487"/>
                    <a:pt x="114" y="490"/>
                    <a:pt x="116" y="491"/>
                  </a:cubicBezTo>
                  <a:cubicBezTo>
                    <a:pt x="116" y="492"/>
                    <a:pt x="118" y="491"/>
                    <a:pt x="120" y="493"/>
                  </a:cubicBezTo>
                  <a:cubicBezTo>
                    <a:pt x="119" y="495"/>
                    <a:pt x="119" y="495"/>
                    <a:pt x="119" y="495"/>
                  </a:cubicBezTo>
                  <a:cubicBezTo>
                    <a:pt x="118" y="494"/>
                    <a:pt x="119" y="495"/>
                    <a:pt x="121" y="495"/>
                  </a:cubicBezTo>
                  <a:cubicBezTo>
                    <a:pt x="120" y="497"/>
                    <a:pt x="121" y="496"/>
                    <a:pt x="120" y="497"/>
                  </a:cubicBezTo>
                  <a:cubicBezTo>
                    <a:pt x="120" y="498"/>
                    <a:pt x="120" y="499"/>
                    <a:pt x="120" y="500"/>
                  </a:cubicBezTo>
                  <a:cubicBezTo>
                    <a:pt x="120" y="500"/>
                    <a:pt x="122" y="501"/>
                    <a:pt x="122" y="501"/>
                  </a:cubicBezTo>
                  <a:cubicBezTo>
                    <a:pt x="122" y="501"/>
                    <a:pt x="121" y="502"/>
                    <a:pt x="120" y="502"/>
                  </a:cubicBezTo>
                  <a:cubicBezTo>
                    <a:pt x="118" y="502"/>
                    <a:pt x="122" y="502"/>
                    <a:pt x="121" y="503"/>
                  </a:cubicBezTo>
                  <a:cubicBezTo>
                    <a:pt x="120" y="504"/>
                    <a:pt x="119" y="503"/>
                    <a:pt x="118" y="504"/>
                  </a:cubicBezTo>
                  <a:cubicBezTo>
                    <a:pt x="117" y="505"/>
                    <a:pt x="119" y="509"/>
                    <a:pt x="119" y="510"/>
                  </a:cubicBezTo>
                  <a:cubicBezTo>
                    <a:pt x="117" y="510"/>
                    <a:pt x="116" y="510"/>
                    <a:pt x="114" y="509"/>
                  </a:cubicBezTo>
                  <a:cubicBezTo>
                    <a:pt x="114" y="509"/>
                    <a:pt x="114" y="512"/>
                    <a:pt x="114" y="513"/>
                  </a:cubicBezTo>
                  <a:cubicBezTo>
                    <a:pt x="116" y="514"/>
                    <a:pt x="116" y="514"/>
                    <a:pt x="116" y="514"/>
                  </a:cubicBezTo>
                  <a:cubicBezTo>
                    <a:pt x="116" y="515"/>
                    <a:pt x="116" y="517"/>
                    <a:pt x="116" y="520"/>
                  </a:cubicBezTo>
                  <a:cubicBezTo>
                    <a:pt x="117" y="520"/>
                    <a:pt x="117" y="521"/>
                    <a:pt x="118" y="520"/>
                  </a:cubicBezTo>
                  <a:cubicBezTo>
                    <a:pt x="119" y="520"/>
                    <a:pt x="120" y="518"/>
                    <a:pt x="121" y="518"/>
                  </a:cubicBezTo>
                  <a:cubicBezTo>
                    <a:pt x="122" y="520"/>
                    <a:pt x="122" y="520"/>
                    <a:pt x="122" y="520"/>
                  </a:cubicBezTo>
                  <a:cubicBezTo>
                    <a:pt x="124" y="520"/>
                    <a:pt x="127" y="520"/>
                    <a:pt x="130" y="520"/>
                  </a:cubicBezTo>
                  <a:cubicBezTo>
                    <a:pt x="129" y="523"/>
                    <a:pt x="129" y="525"/>
                    <a:pt x="129" y="526"/>
                  </a:cubicBezTo>
                  <a:cubicBezTo>
                    <a:pt x="131" y="525"/>
                    <a:pt x="132" y="525"/>
                    <a:pt x="135" y="525"/>
                  </a:cubicBezTo>
                  <a:cubicBezTo>
                    <a:pt x="135" y="525"/>
                    <a:pt x="135" y="526"/>
                    <a:pt x="135" y="526"/>
                  </a:cubicBezTo>
                  <a:cubicBezTo>
                    <a:pt x="136" y="527"/>
                    <a:pt x="137" y="526"/>
                    <a:pt x="137" y="526"/>
                  </a:cubicBezTo>
                  <a:cubicBezTo>
                    <a:pt x="137" y="526"/>
                    <a:pt x="137" y="529"/>
                    <a:pt x="137" y="529"/>
                  </a:cubicBezTo>
                  <a:cubicBezTo>
                    <a:pt x="139" y="530"/>
                    <a:pt x="141" y="530"/>
                    <a:pt x="143" y="530"/>
                  </a:cubicBezTo>
                  <a:cubicBezTo>
                    <a:pt x="143" y="534"/>
                    <a:pt x="142" y="535"/>
                    <a:pt x="146" y="537"/>
                  </a:cubicBezTo>
                  <a:cubicBezTo>
                    <a:pt x="147" y="537"/>
                    <a:pt x="148" y="537"/>
                    <a:pt x="149" y="537"/>
                  </a:cubicBezTo>
                  <a:cubicBezTo>
                    <a:pt x="149" y="537"/>
                    <a:pt x="149" y="538"/>
                    <a:pt x="149" y="538"/>
                  </a:cubicBezTo>
                  <a:cubicBezTo>
                    <a:pt x="156" y="538"/>
                    <a:pt x="158" y="539"/>
                    <a:pt x="162" y="540"/>
                  </a:cubicBezTo>
                  <a:cubicBezTo>
                    <a:pt x="162" y="539"/>
                    <a:pt x="162" y="537"/>
                    <a:pt x="162" y="536"/>
                  </a:cubicBezTo>
                  <a:cubicBezTo>
                    <a:pt x="162" y="536"/>
                    <a:pt x="160" y="536"/>
                    <a:pt x="159" y="535"/>
                  </a:cubicBezTo>
                  <a:cubicBezTo>
                    <a:pt x="159" y="535"/>
                    <a:pt x="157" y="532"/>
                    <a:pt x="157" y="532"/>
                  </a:cubicBezTo>
                  <a:cubicBezTo>
                    <a:pt x="157" y="531"/>
                    <a:pt x="158" y="531"/>
                    <a:pt x="157" y="530"/>
                  </a:cubicBezTo>
                  <a:cubicBezTo>
                    <a:pt x="156" y="529"/>
                    <a:pt x="151" y="526"/>
                    <a:pt x="149" y="525"/>
                  </a:cubicBezTo>
                  <a:cubicBezTo>
                    <a:pt x="147" y="524"/>
                    <a:pt x="144" y="525"/>
                    <a:pt x="143" y="523"/>
                  </a:cubicBezTo>
                  <a:cubicBezTo>
                    <a:pt x="142" y="523"/>
                    <a:pt x="143" y="520"/>
                    <a:pt x="143" y="520"/>
                  </a:cubicBezTo>
                  <a:cubicBezTo>
                    <a:pt x="143" y="519"/>
                    <a:pt x="141" y="519"/>
                    <a:pt x="140" y="519"/>
                  </a:cubicBezTo>
                  <a:cubicBezTo>
                    <a:pt x="139" y="519"/>
                    <a:pt x="139" y="515"/>
                    <a:pt x="139" y="517"/>
                  </a:cubicBezTo>
                  <a:cubicBezTo>
                    <a:pt x="140" y="515"/>
                    <a:pt x="140" y="515"/>
                    <a:pt x="140" y="515"/>
                  </a:cubicBezTo>
                  <a:cubicBezTo>
                    <a:pt x="139" y="515"/>
                    <a:pt x="139" y="516"/>
                    <a:pt x="138" y="516"/>
                  </a:cubicBezTo>
                  <a:cubicBezTo>
                    <a:pt x="138" y="516"/>
                    <a:pt x="136" y="514"/>
                    <a:pt x="135" y="514"/>
                  </a:cubicBezTo>
                  <a:cubicBezTo>
                    <a:pt x="133" y="513"/>
                    <a:pt x="130" y="514"/>
                    <a:pt x="128" y="514"/>
                  </a:cubicBezTo>
                  <a:cubicBezTo>
                    <a:pt x="125" y="513"/>
                    <a:pt x="121" y="511"/>
                    <a:pt x="119" y="511"/>
                  </a:cubicBezTo>
                  <a:cubicBezTo>
                    <a:pt x="121" y="510"/>
                    <a:pt x="123" y="508"/>
                    <a:pt x="127" y="508"/>
                  </a:cubicBezTo>
                  <a:cubicBezTo>
                    <a:pt x="131" y="508"/>
                    <a:pt x="130" y="510"/>
                    <a:pt x="128" y="512"/>
                  </a:cubicBezTo>
                  <a:cubicBezTo>
                    <a:pt x="129" y="512"/>
                    <a:pt x="129" y="513"/>
                    <a:pt x="130" y="513"/>
                  </a:cubicBezTo>
                  <a:cubicBezTo>
                    <a:pt x="132" y="514"/>
                    <a:pt x="137" y="512"/>
                    <a:pt x="139" y="511"/>
                  </a:cubicBezTo>
                  <a:cubicBezTo>
                    <a:pt x="140" y="511"/>
                    <a:pt x="141" y="510"/>
                    <a:pt x="142" y="510"/>
                  </a:cubicBezTo>
                  <a:cubicBezTo>
                    <a:pt x="143" y="510"/>
                    <a:pt x="142" y="512"/>
                    <a:pt x="142" y="513"/>
                  </a:cubicBezTo>
                  <a:cubicBezTo>
                    <a:pt x="142" y="513"/>
                    <a:pt x="144" y="513"/>
                    <a:pt x="145" y="514"/>
                  </a:cubicBezTo>
                  <a:cubicBezTo>
                    <a:pt x="145" y="515"/>
                    <a:pt x="144" y="515"/>
                    <a:pt x="144" y="516"/>
                  </a:cubicBezTo>
                  <a:cubicBezTo>
                    <a:pt x="147" y="517"/>
                    <a:pt x="148" y="517"/>
                    <a:pt x="151" y="517"/>
                  </a:cubicBezTo>
                  <a:cubicBezTo>
                    <a:pt x="151" y="518"/>
                    <a:pt x="151" y="518"/>
                    <a:pt x="151" y="518"/>
                  </a:cubicBezTo>
                  <a:cubicBezTo>
                    <a:pt x="155" y="520"/>
                    <a:pt x="149" y="524"/>
                    <a:pt x="153" y="523"/>
                  </a:cubicBezTo>
                  <a:cubicBezTo>
                    <a:pt x="154" y="523"/>
                    <a:pt x="155" y="521"/>
                    <a:pt x="155" y="520"/>
                  </a:cubicBezTo>
                  <a:cubicBezTo>
                    <a:pt x="156" y="520"/>
                    <a:pt x="157" y="521"/>
                    <a:pt x="157" y="520"/>
                  </a:cubicBezTo>
                  <a:cubicBezTo>
                    <a:pt x="157" y="521"/>
                    <a:pt x="158" y="522"/>
                    <a:pt x="158" y="522"/>
                  </a:cubicBezTo>
                  <a:cubicBezTo>
                    <a:pt x="157" y="522"/>
                    <a:pt x="157" y="524"/>
                    <a:pt x="157" y="524"/>
                  </a:cubicBezTo>
                  <a:cubicBezTo>
                    <a:pt x="158" y="525"/>
                    <a:pt x="159" y="525"/>
                    <a:pt x="160" y="526"/>
                  </a:cubicBezTo>
                  <a:cubicBezTo>
                    <a:pt x="160" y="527"/>
                    <a:pt x="160" y="527"/>
                    <a:pt x="160" y="527"/>
                  </a:cubicBezTo>
                  <a:cubicBezTo>
                    <a:pt x="161" y="527"/>
                    <a:pt x="161" y="527"/>
                    <a:pt x="162" y="527"/>
                  </a:cubicBezTo>
                  <a:cubicBezTo>
                    <a:pt x="162" y="528"/>
                    <a:pt x="162" y="529"/>
                    <a:pt x="162" y="530"/>
                  </a:cubicBezTo>
                  <a:cubicBezTo>
                    <a:pt x="163" y="531"/>
                    <a:pt x="165" y="531"/>
                    <a:pt x="165" y="532"/>
                  </a:cubicBezTo>
                  <a:cubicBezTo>
                    <a:pt x="403" y="536"/>
                    <a:pt x="403" y="536"/>
                    <a:pt x="403" y="536"/>
                  </a:cubicBezTo>
                  <a:cubicBezTo>
                    <a:pt x="403" y="536"/>
                    <a:pt x="403" y="531"/>
                    <a:pt x="405" y="531"/>
                  </a:cubicBezTo>
                  <a:cubicBezTo>
                    <a:pt x="407" y="531"/>
                    <a:pt x="409" y="539"/>
                    <a:pt x="409" y="539"/>
                  </a:cubicBezTo>
                  <a:cubicBezTo>
                    <a:pt x="409" y="539"/>
                    <a:pt x="410" y="540"/>
                    <a:pt x="413" y="540"/>
                  </a:cubicBezTo>
                  <a:cubicBezTo>
                    <a:pt x="416" y="540"/>
                    <a:pt x="418" y="544"/>
                    <a:pt x="419" y="542"/>
                  </a:cubicBezTo>
                  <a:cubicBezTo>
                    <a:pt x="419" y="540"/>
                    <a:pt x="422" y="539"/>
                    <a:pt x="423" y="540"/>
                  </a:cubicBezTo>
                  <a:cubicBezTo>
                    <a:pt x="425" y="541"/>
                    <a:pt x="427" y="543"/>
                    <a:pt x="430" y="543"/>
                  </a:cubicBezTo>
                  <a:cubicBezTo>
                    <a:pt x="432" y="543"/>
                    <a:pt x="433" y="544"/>
                    <a:pt x="435" y="544"/>
                  </a:cubicBezTo>
                  <a:cubicBezTo>
                    <a:pt x="437" y="543"/>
                    <a:pt x="438" y="544"/>
                    <a:pt x="440" y="544"/>
                  </a:cubicBezTo>
                  <a:cubicBezTo>
                    <a:pt x="442" y="545"/>
                    <a:pt x="443" y="543"/>
                    <a:pt x="445" y="545"/>
                  </a:cubicBezTo>
                  <a:cubicBezTo>
                    <a:pt x="446" y="546"/>
                    <a:pt x="448" y="546"/>
                    <a:pt x="449" y="547"/>
                  </a:cubicBezTo>
                  <a:cubicBezTo>
                    <a:pt x="451" y="546"/>
                    <a:pt x="451" y="545"/>
                    <a:pt x="453" y="540"/>
                  </a:cubicBezTo>
                  <a:cubicBezTo>
                    <a:pt x="454" y="540"/>
                    <a:pt x="454" y="541"/>
                    <a:pt x="456" y="541"/>
                  </a:cubicBezTo>
                  <a:cubicBezTo>
                    <a:pt x="456" y="541"/>
                    <a:pt x="457" y="539"/>
                    <a:pt x="457" y="539"/>
                  </a:cubicBezTo>
                  <a:cubicBezTo>
                    <a:pt x="459" y="539"/>
                    <a:pt x="459" y="539"/>
                    <a:pt x="459" y="539"/>
                  </a:cubicBezTo>
                  <a:cubicBezTo>
                    <a:pt x="459" y="538"/>
                    <a:pt x="458" y="537"/>
                    <a:pt x="459" y="536"/>
                  </a:cubicBezTo>
                  <a:cubicBezTo>
                    <a:pt x="461" y="536"/>
                    <a:pt x="461" y="536"/>
                    <a:pt x="461" y="536"/>
                  </a:cubicBezTo>
                  <a:cubicBezTo>
                    <a:pt x="459" y="537"/>
                    <a:pt x="460" y="539"/>
                    <a:pt x="461" y="539"/>
                  </a:cubicBezTo>
                  <a:cubicBezTo>
                    <a:pt x="461" y="539"/>
                    <a:pt x="462" y="539"/>
                    <a:pt x="462" y="538"/>
                  </a:cubicBezTo>
                  <a:cubicBezTo>
                    <a:pt x="462" y="537"/>
                    <a:pt x="462" y="537"/>
                    <a:pt x="462" y="537"/>
                  </a:cubicBezTo>
                  <a:cubicBezTo>
                    <a:pt x="462" y="538"/>
                    <a:pt x="461" y="536"/>
                    <a:pt x="461" y="535"/>
                  </a:cubicBezTo>
                  <a:cubicBezTo>
                    <a:pt x="463" y="534"/>
                    <a:pt x="463" y="534"/>
                    <a:pt x="463" y="534"/>
                  </a:cubicBezTo>
                  <a:cubicBezTo>
                    <a:pt x="464" y="534"/>
                    <a:pt x="465" y="535"/>
                    <a:pt x="466" y="535"/>
                  </a:cubicBezTo>
                  <a:cubicBezTo>
                    <a:pt x="467" y="535"/>
                    <a:pt x="469" y="534"/>
                    <a:pt x="470" y="534"/>
                  </a:cubicBezTo>
                  <a:cubicBezTo>
                    <a:pt x="471" y="534"/>
                    <a:pt x="470" y="536"/>
                    <a:pt x="472" y="536"/>
                  </a:cubicBezTo>
                  <a:cubicBezTo>
                    <a:pt x="473" y="536"/>
                    <a:pt x="473" y="535"/>
                    <a:pt x="474" y="534"/>
                  </a:cubicBezTo>
                  <a:cubicBezTo>
                    <a:pt x="476" y="538"/>
                    <a:pt x="479" y="547"/>
                    <a:pt x="483" y="548"/>
                  </a:cubicBezTo>
                  <a:cubicBezTo>
                    <a:pt x="485" y="548"/>
                    <a:pt x="486" y="546"/>
                    <a:pt x="488" y="547"/>
                  </a:cubicBezTo>
                  <a:cubicBezTo>
                    <a:pt x="488" y="547"/>
                    <a:pt x="488" y="548"/>
                    <a:pt x="489" y="548"/>
                  </a:cubicBezTo>
                  <a:cubicBezTo>
                    <a:pt x="490" y="554"/>
                    <a:pt x="488" y="552"/>
                    <a:pt x="492" y="555"/>
                  </a:cubicBezTo>
                  <a:cubicBezTo>
                    <a:pt x="492" y="556"/>
                    <a:pt x="492" y="556"/>
                    <a:pt x="491" y="556"/>
                  </a:cubicBezTo>
                  <a:cubicBezTo>
                    <a:pt x="492" y="560"/>
                    <a:pt x="492" y="562"/>
                    <a:pt x="493" y="566"/>
                  </a:cubicBezTo>
                  <a:cubicBezTo>
                    <a:pt x="494" y="566"/>
                    <a:pt x="496" y="566"/>
                    <a:pt x="497" y="566"/>
                  </a:cubicBezTo>
                  <a:cubicBezTo>
                    <a:pt x="498" y="567"/>
                    <a:pt x="500" y="570"/>
                    <a:pt x="502" y="570"/>
                  </a:cubicBezTo>
                  <a:cubicBezTo>
                    <a:pt x="503" y="571"/>
                    <a:pt x="502" y="570"/>
                    <a:pt x="503" y="570"/>
                  </a:cubicBezTo>
                  <a:cubicBezTo>
                    <a:pt x="503" y="570"/>
                    <a:pt x="508" y="570"/>
                    <a:pt x="509" y="570"/>
                  </a:cubicBezTo>
                  <a:cubicBezTo>
                    <a:pt x="510" y="572"/>
                    <a:pt x="510" y="572"/>
                    <a:pt x="510" y="572"/>
                  </a:cubicBezTo>
                  <a:cubicBezTo>
                    <a:pt x="512" y="572"/>
                    <a:pt x="514" y="571"/>
                    <a:pt x="516" y="572"/>
                  </a:cubicBezTo>
                  <a:cubicBezTo>
                    <a:pt x="516" y="572"/>
                    <a:pt x="517" y="574"/>
                    <a:pt x="517" y="574"/>
                  </a:cubicBezTo>
                  <a:cubicBezTo>
                    <a:pt x="521" y="574"/>
                    <a:pt x="522" y="572"/>
                    <a:pt x="525" y="572"/>
                  </a:cubicBezTo>
                  <a:cubicBezTo>
                    <a:pt x="525" y="574"/>
                    <a:pt x="525" y="574"/>
                    <a:pt x="525" y="574"/>
                  </a:cubicBezTo>
                  <a:cubicBezTo>
                    <a:pt x="525" y="575"/>
                    <a:pt x="529" y="575"/>
                    <a:pt x="529" y="576"/>
                  </a:cubicBezTo>
                  <a:cubicBezTo>
                    <a:pt x="529" y="578"/>
                    <a:pt x="529" y="578"/>
                    <a:pt x="529" y="578"/>
                  </a:cubicBezTo>
                  <a:cubicBezTo>
                    <a:pt x="530" y="578"/>
                    <a:pt x="531" y="577"/>
                    <a:pt x="532" y="578"/>
                  </a:cubicBezTo>
                  <a:cubicBezTo>
                    <a:pt x="532" y="584"/>
                    <a:pt x="532" y="583"/>
                    <a:pt x="536" y="586"/>
                  </a:cubicBezTo>
                  <a:cubicBezTo>
                    <a:pt x="536" y="587"/>
                    <a:pt x="536" y="588"/>
                    <a:pt x="536" y="588"/>
                  </a:cubicBezTo>
                  <a:cubicBezTo>
                    <a:pt x="536" y="588"/>
                    <a:pt x="535" y="590"/>
                    <a:pt x="535" y="590"/>
                  </a:cubicBezTo>
                  <a:cubicBezTo>
                    <a:pt x="535" y="590"/>
                    <a:pt x="532" y="590"/>
                    <a:pt x="532" y="590"/>
                  </a:cubicBezTo>
                  <a:cubicBezTo>
                    <a:pt x="533" y="590"/>
                    <a:pt x="532" y="590"/>
                    <a:pt x="532" y="590"/>
                  </a:cubicBezTo>
                  <a:cubicBezTo>
                    <a:pt x="532" y="591"/>
                    <a:pt x="532" y="592"/>
                    <a:pt x="533" y="592"/>
                  </a:cubicBezTo>
                  <a:cubicBezTo>
                    <a:pt x="533" y="592"/>
                    <a:pt x="532" y="592"/>
                    <a:pt x="532" y="594"/>
                  </a:cubicBezTo>
                  <a:cubicBezTo>
                    <a:pt x="532" y="593"/>
                    <a:pt x="530" y="594"/>
                    <a:pt x="530" y="594"/>
                  </a:cubicBezTo>
                  <a:cubicBezTo>
                    <a:pt x="529" y="593"/>
                    <a:pt x="529" y="592"/>
                    <a:pt x="529" y="592"/>
                  </a:cubicBezTo>
                  <a:cubicBezTo>
                    <a:pt x="528" y="591"/>
                    <a:pt x="524" y="591"/>
                    <a:pt x="524" y="591"/>
                  </a:cubicBezTo>
                  <a:cubicBezTo>
                    <a:pt x="524" y="591"/>
                    <a:pt x="524" y="589"/>
                    <a:pt x="524" y="589"/>
                  </a:cubicBezTo>
                  <a:cubicBezTo>
                    <a:pt x="523" y="589"/>
                    <a:pt x="522" y="588"/>
                    <a:pt x="522" y="588"/>
                  </a:cubicBezTo>
                  <a:cubicBezTo>
                    <a:pt x="520" y="590"/>
                    <a:pt x="517" y="593"/>
                    <a:pt x="516" y="594"/>
                  </a:cubicBezTo>
                  <a:cubicBezTo>
                    <a:pt x="514" y="598"/>
                    <a:pt x="517" y="601"/>
                    <a:pt x="516" y="605"/>
                  </a:cubicBezTo>
                  <a:cubicBezTo>
                    <a:pt x="516" y="605"/>
                    <a:pt x="515" y="607"/>
                    <a:pt x="515" y="608"/>
                  </a:cubicBezTo>
                  <a:cubicBezTo>
                    <a:pt x="513" y="608"/>
                    <a:pt x="512" y="608"/>
                    <a:pt x="511" y="609"/>
                  </a:cubicBezTo>
                  <a:cubicBezTo>
                    <a:pt x="511" y="609"/>
                    <a:pt x="510" y="612"/>
                    <a:pt x="510" y="615"/>
                  </a:cubicBezTo>
                  <a:cubicBezTo>
                    <a:pt x="510" y="617"/>
                    <a:pt x="508" y="618"/>
                    <a:pt x="506" y="619"/>
                  </a:cubicBezTo>
                  <a:cubicBezTo>
                    <a:pt x="506" y="619"/>
                    <a:pt x="506" y="620"/>
                    <a:pt x="506" y="622"/>
                  </a:cubicBezTo>
                  <a:cubicBezTo>
                    <a:pt x="511" y="621"/>
                    <a:pt x="511" y="621"/>
                    <a:pt x="514" y="620"/>
                  </a:cubicBezTo>
                  <a:cubicBezTo>
                    <a:pt x="515" y="619"/>
                    <a:pt x="515" y="617"/>
                    <a:pt x="516" y="617"/>
                  </a:cubicBezTo>
                  <a:cubicBezTo>
                    <a:pt x="517" y="616"/>
                    <a:pt x="518" y="617"/>
                    <a:pt x="519" y="616"/>
                  </a:cubicBezTo>
                  <a:cubicBezTo>
                    <a:pt x="519" y="616"/>
                    <a:pt x="520" y="614"/>
                    <a:pt x="521" y="614"/>
                  </a:cubicBezTo>
                  <a:cubicBezTo>
                    <a:pt x="523" y="613"/>
                    <a:pt x="525" y="614"/>
                    <a:pt x="528" y="613"/>
                  </a:cubicBezTo>
                  <a:cubicBezTo>
                    <a:pt x="528" y="613"/>
                    <a:pt x="528" y="611"/>
                    <a:pt x="528" y="611"/>
                  </a:cubicBezTo>
                  <a:cubicBezTo>
                    <a:pt x="531" y="609"/>
                    <a:pt x="534" y="610"/>
                    <a:pt x="537" y="610"/>
                  </a:cubicBezTo>
                  <a:cubicBezTo>
                    <a:pt x="537" y="610"/>
                    <a:pt x="539" y="607"/>
                    <a:pt x="537" y="606"/>
                  </a:cubicBezTo>
                  <a:cubicBezTo>
                    <a:pt x="536" y="606"/>
                    <a:pt x="535" y="607"/>
                    <a:pt x="534" y="606"/>
                  </a:cubicBezTo>
                  <a:cubicBezTo>
                    <a:pt x="534" y="605"/>
                    <a:pt x="534" y="605"/>
                    <a:pt x="534" y="605"/>
                  </a:cubicBezTo>
                  <a:cubicBezTo>
                    <a:pt x="537" y="603"/>
                    <a:pt x="545" y="598"/>
                    <a:pt x="552" y="600"/>
                  </a:cubicBezTo>
                  <a:cubicBezTo>
                    <a:pt x="553" y="600"/>
                    <a:pt x="553" y="602"/>
                    <a:pt x="554" y="602"/>
                  </a:cubicBezTo>
                  <a:cubicBezTo>
                    <a:pt x="554" y="603"/>
                    <a:pt x="556" y="602"/>
                    <a:pt x="556" y="602"/>
                  </a:cubicBezTo>
                  <a:cubicBezTo>
                    <a:pt x="557" y="601"/>
                    <a:pt x="557" y="600"/>
                    <a:pt x="559" y="600"/>
                  </a:cubicBezTo>
                  <a:cubicBezTo>
                    <a:pt x="560" y="599"/>
                    <a:pt x="557" y="599"/>
                    <a:pt x="557" y="599"/>
                  </a:cubicBezTo>
                  <a:cubicBezTo>
                    <a:pt x="556" y="600"/>
                    <a:pt x="556" y="599"/>
                    <a:pt x="555" y="600"/>
                  </a:cubicBezTo>
                  <a:cubicBezTo>
                    <a:pt x="554" y="600"/>
                    <a:pt x="555" y="598"/>
                    <a:pt x="554" y="598"/>
                  </a:cubicBezTo>
                  <a:cubicBezTo>
                    <a:pt x="553" y="597"/>
                    <a:pt x="552" y="598"/>
                    <a:pt x="551" y="597"/>
                  </a:cubicBezTo>
                  <a:cubicBezTo>
                    <a:pt x="551" y="597"/>
                    <a:pt x="550" y="596"/>
                    <a:pt x="550" y="596"/>
                  </a:cubicBezTo>
                  <a:cubicBezTo>
                    <a:pt x="553" y="595"/>
                    <a:pt x="554" y="595"/>
                    <a:pt x="556" y="595"/>
                  </a:cubicBezTo>
                  <a:cubicBezTo>
                    <a:pt x="557" y="595"/>
                    <a:pt x="560" y="597"/>
                    <a:pt x="563" y="596"/>
                  </a:cubicBezTo>
                  <a:cubicBezTo>
                    <a:pt x="564" y="596"/>
                    <a:pt x="565" y="595"/>
                    <a:pt x="566" y="594"/>
                  </a:cubicBezTo>
                  <a:cubicBezTo>
                    <a:pt x="566" y="594"/>
                    <a:pt x="566" y="593"/>
                    <a:pt x="566" y="593"/>
                  </a:cubicBezTo>
                  <a:cubicBezTo>
                    <a:pt x="566" y="593"/>
                    <a:pt x="567" y="591"/>
                    <a:pt x="574" y="587"/>
                  </a:cubicBezTo>
                  <a:cubicBezTo>
                    <a:pt x="578" y="585"/>
                    <a:pt x="579" y="584"/>
                    <a:pt x="581" y="584"/>
                  </a:cubicBezTo>
                  <a:cubicBezTo>
                    <a:pt x="581" y="583"/>
                    <a:pt x="582" y="582"/>
                    <a:pt x="583" y="582"/>
                  </a:cubicBezTo>
                  <a:cubicBezTo>
                    <a:pt x="584" y="582"/>
                    <a:pt x="582" y="583"/>
                    <a:pt x="582" y="584"/>
                  </a:cubicBezTo>
                  <a:cubicBezTo>
                    <a:pt x="582" y="584"/>
                    <a:pt x="583" y="584"/>
                    <a:pt x="583" y="585"/>
                  </a:cubicBezTo>
                  <a:cubicBezTo>
                    <a:pt x="586" y="585"/>
                    <a:pt x="608" y="582"/>
                    <a:pt x="608" y="582"/>
                  </a:cubicBezTo>
                  <a:cubicBezTo>
                    <a:pt x="608" y="582"/>
                    <a:pt x="609" y="579"/>
                    <a:pt x="611" y="578"/>
                  </a:cubicBezTo>
                  <a:cubicBezTo>
                    <a:pt x="613" y="578"/>
                    <a:pt x="619" y="572"/>
                    <a:pt x="619" y="571"/>
                  </a:cubicBezTo>
                  <a:cubicBezTo>
                    <a:pt x="618" y="569"/>
                    <a:pt x="621" y="564"/>
                    <a:pt x="621" y="564"/>
                  </a:cubicBezTo>
                  <a:cubicBezTo>
                    <a:pt x="624" y="559"/>
                    <a:pt x="624" y="559"/>
                    <a:pt x="624" y="559"/>
                  </a:cubicBezTo>
                  <a:cubicBezTo>
                    <a:pt x="624" y="559"/>
                    <a:pt x="626" y="556"/>
                    <a:pt x="627" y="560"/>
                  </a:cubicBezTo>
                  <a:cubicBezTo>
                    <a:pt x="627" y="564"/>
                    <a:pt x="628" y="557"/>
                    <a:pt x="631" y="558"/>
                  </a:cubicBezTo>
                  <a:cubicBezTo>
                    <a:pt x="635" y="559"/>
                    <a:pt x="638" y="560"/>
                    <a:pt x="637" y="565"/>
                  </a:cubicBezTo>
                  <a:cubicBezTo>
                    <a:pt x="637" y="570"/>
                    <a:pt x="637" y="577"/>
                    <a:pt x="637" y="577"/>
                  </a:cubicBezTo>
                  <a:cubicBezTo>
                    <a:pt x="637" y="577"/>
                    <a:pt x="641" y="576"/>
                    <a:pt x="641" y="578"/>
                  </a:cubicBezTo>
                  <a:cubicBezTo>
                    <a:pt x="641" y="581"/>
                    <a:pt x="640" y="583"/>
                    <a:pt x="641" y="583"/>
                  </a:cubicBezTo>
                  <a:cubicBezTo>
                    <a:pt x="642" y="583"/>
                    <a:pt x="643" y="584"/>
                    <a:pt x="643" y="584"/>
                  </a:cubicBezTo>
                  <a:cubicBezTo>
                    <a:pt x="643" y="584"/>
                    <a:pt x="644" y="584"/>
                    <a:pt x="645" y="584"/>
                  </a:cubicBezTo>
                  <a:cubicBezTo>
                    <a:pt x="646" y="584"/>
                    <a:pt x="647" y="586"/>
                    <a:pt x="649" y="586"/>
                  </a:cubicBezTo>
                  <a:cubicBezTo>
                    <a:pt x="649" y="586"/>
                    <a:pt x="651" y="586"/>
                    <a:pt x="650" y="586"/>
                  </a:cubicBezTo>
                  <a:cubicBezTo>
                    <a:pt x="651" y="585"/>
                    <a:pt x="655" y="585"/>
                    <a:pt x="653" y="584"/>
                  </a:cubicBezTo>
                  <a:cubicBezTo>
                    <a:pt x="652" y="583"/>
                    <a:pt x="652" y="583"/>
                    <a:pt x="651" y="583"/>
                  </a:cubicBezTo>
                  <a:cubicBezTo>
                    <a:pt x="651" y="582"/>
                    <a:pt x="651" y="582"/>
                    <a:pt x="651" y="582"/>
                  </a:cubicBezTo>
                  <a:cubicBezTo>
                    <a:pt x="651" y="581"/>
                    <a:pt x="652" y="581"/>
                    <a:pt x="653" y="581"/>
                  </a:cubicBezTo>
                  <a:cubicBezTo>
                    <a:pt x="653" y="580"/>
                    <a:pt x="653" y="579"/>
                    <a:pt x="653" y="578"/>
                  </a:cubicBezTo>
                  <a:cubicBezTo>
                    <a:pt x="653" y="578"/>
                    <a:pt x="654" y="579"/>
                    <a:pt x="655" y="579"/>
                  </a:cubicBezTo>
                  <a:cubicBezTo>
                    <a:pt x="655" y="580"/>
                    <a:pt x="655" y="580"/>
                    <a:pt x="655" y="580"/>
                  </a:cubicBezTo>
                  <a:cubicBezTo>
                    <a:pt x="655" y="580"/>
                    <a:pt x="653" y="581"/>
                    <a:pt x="654" y="581"/>
                  </a:cubicBezTo>
                  <a:cubicBezTo>
                    <a:pt x="653" y="580"/>
                    <a:pt x="654" y="583"/>
                    <a:pt x="655" y="584"/>
                  </a:cubicBezTo>
                  <a:cubicBezTo>
                    <a:pt x="656" y="584"/>
                    <a:pt x="656" y="584"/>
                    <a:pt x="656" y="584"/>
                  </a:cubicBezTo>
                  <a:cubicBezTo>
                    <a:pt x="657" y="583"/>
                    <a:pt x="657" y="580"/>
                    <a:pt x="661" y="579"/>
                  </a:cubicBezTo>
                  <a:cubicBezTo>
                    <a:pt x="661" y="578"/>
                    <a:pt x="661" y="578"/>
                    <a:pt x="661" y="578"/>
                  </a:cubicBezTo>
                  <a:cubicBezTo>
                    <a:pt x="661" y="578"/>
                    <a:pt x="661" y="576"/>
                    <a:pt x="661" y="576"/>
                  </a:cubicBezTo>
                  <a:cubicBezTo>
                    <a:pt x="662" y="576"/>
                    <a:pt x="662" y="576"/>
                    <a:pt x="662" y="576"/>
                  </a:cubicBezTo>
                  <a:cubicBezTo>
                    <a:pt x="662" y="574"/>
                    <a:pt x="662" y="574"/>
                    <a:pt x="662" y="572"/>
                  </a:cubicBezTo>
                  <a:cubicBezTo>
                    <a:pt x="663" y="572"/>
                    <a:pt x="663" y="574"/>
                    <a:pt x="663" y="574"/>
                  </a:cubicBezTo>
                  <a:cubicBezTo>
                    <a:pt x="664" y="574"/>
                    <a:pt x="665" y="573"/>
                    <a:pt x="666" y="573"/>
                  </a:cubicBezTo>
                  <a:cubicBezTo>
                    <a:pt x="666" y="573"/>
                    <a:pt x="666" y="575"/>
                    <a:pt x="666" y="575"/>
                  </a:cubicBezTo>
                  <a:cubicBezTo>
                    <a:pt x="666" y="575"/>
                    <a:pt x="664" y="576"/>
                    <a:pt x="664" y="576"/>
                  </a:cubicBezTo>
                  <a:cubicBezTo>
                    <a:pt x="664" y="577"/>
                    <a:pt x="665" y="577"/>
                    <a:pt x="665" y="578"/>
                  </a:cubicBezTo>
                  <a:cubicBezTo>
                    <a:pt x="664" y="578"/>
                    <a:pt x="663" y="579"/>
                    <a:pt x="663" y="580"/>
                  </a:cubicBezTo>
                  <a:cubicBezTo>
                    <a:pt x="662" y="581"/>
                    <a:pt x="663" y="582"/>
                    <a:pt x="663" y="582"/>
                  </a:cubicBezTo>
                  <a:cubicBezTo>
                    <a:pt x="663" y="582"/>
                    <a:pt x="663" y="581"/>
                    <a:pt x="663" y="581"/>
                  </a:cubicBezTo>
                  <a:cubicBezTo>
                    <a:pt x="667" y="580"/>
                    <a:pt x="673" y="581"/>
                    <a:pt x="676" y="581"/>
                  </a:cubicBezTo>
                  <a:cubicBezTo>
                    <a:pt x="675" y="581"/>
                    <a:pt x="674" y="581"/>
                    <a:pt x="673" y="582"/>
                  </a:cubicBezTo>
                  <a:cubicBezTo>
                    <a:pt x="672" y="583"/>
                    <a:pt x="671" y="585"/>
                    <a:pt x="670" y="586"/>
                  </a:cubicBezTo>
                  <a:cubicBezTo>
                    <a:pt x="669" y="586"/>
                    <a:pt x="668" y="586"/>
                    <a:pt x="667" y="586"/>
                  </a:cubicBezTo>
                  <a:cubicBezTo>
                    <a:pt x="667" y="586"/>
                    <a:pt x="667" y="584"/>
                    <a:pt x="667" y="584"/>
                  </a:cubicBezTo>
                  <a:cubicBezTo>
                    <a:pt x="665" y="583"/>
                    <a:pt x="659" y="586"/>
                    <a:pt x="659" y="587"/>
                  </a:cubicBezTo>
                  <a:cubicBezTo>
                    <a:pt x="658" y="588"/>
                    <a:pt x="659" y="589"/>
                    <a:pt x="658" y="590"/>
                  </a:cubicBezTo>
                  <a:cubicBezTo>
                    <a:pt x="657" y="591"/>
                    <a:pt x="655" y="590"/>
                    <a:pt x="654" y="591"/>
                  </a:cubicBezTo>
                  <a:cubicBezTo>
                    <a:pt x="654" y="591"/>
                    <a:pt x="653" y="593"/>
                    <a:pt x="653" y="594"/>
                  </a:cubicBezTo>
                  <a:cubicBezTo>
                    <a:pt x="649" y="597"/>
                    <a:pt x="650" y="597"/>
                    <a:pt x="651" y="602"/>
                  </a:cubicBezTo>
                  <a:cubicBezTo>
                    <a:pt x="652" y="602"/>
                    <a:pt x="654" y="601"/>
                    <a:pt x="655" y="602"/>
                  </a:cubicBezTo>
                  <a:cubicBezTo>
                    <a:pt x="655" y="602"/>
                    <a:pt x="655" y="603"/>
                    <a:pt x="656" y="604"/>
                  </a:cubicBezTo>
                  <a:cubicBezTo>
                    <a:pt x="657" y="604"/>
                    <a:pt x="657" y="604"/>
                    <a:pt x="657" y="605"/>
                  </a:cubicBezTo>
                  <a:cubicBezTo>
                    <a:pt x="658" y="605"/>
                    <a:pt x="658" y="605"/>
                    <a:pt x="659" y="606"/>
                  </a:cubicBezTo>
                  <a:cubicBezTo>
                    <a:pt x="659" y="605"/>
                    <a:pt x="659" y="603"/>
                    <a:pt x="660" y="603"/>
                  </a:cubicBezTo>
                  <a:cubicBezTo>
                    <a:pt x="661" y="603"/>
                    <a:pt x="661" y="603"/>
                    <a:pt x="661" y="603"/>
                  </a:cubicBezTo>
                  <a:cubicBezTo>
                    <a:pt x="661" y="605"/>
                    <a:pt x="661" y="605"/>
                    <a:pt x="661" y="605"/>
                  </a:cubicBezTo>
                  <a:cubicBezTo>
                    <a:pt x="661" y="605"/>
                    <a:pt x="662" y="605"/>
                    <a:pt x="662" y="606"/>
                  </a:cubicBezTo>
                  <a:cubicBezTo>
                    <a:pt x="663" y="605"/>
                    <a:pt x="663" y="604"/>
                    <a:pt x="665" y="603"/>
                  </a:cubicBezTo>
                  <a:cubicBezTo>
                    <a:pt x="665" y="603"/>
                    <a:pt x="665" y="601"/>
                    <a:pt x="666" y="601"/>
                  </a:cubicBezTo>
                  <a:cubicBezTo>
                    <a:pt x="666" y="601"/>
                    <a:pt x="668" y="601"/>
                    <a:pt x="667" y="602"/>
                  </a:cubicBezTo>
                  <a:cubicBezTo>
                    <a:pt x="669" y="602"/>
                    <a:pt x="669" y="602"/>
                    <a:pt x="669" y="602"/>
                  </a:cubicBezTo>
                  <a:cubicBezTo>
                    <a:pt x="669" y="601"/>
                    <a:pt x="668" y="600"/>
                    <a:pt x="668" y="600"/>
                  </a:cubicBezTo>
                  <a:cubicBezTo>
                    <a:pt x="667" y="598"/>
                    <a:pt x="668" y="596"/>
                    <a:pt x="669" y="594"/>
                  </a:cubicBezTo>
                  <a:cubicBezTo>
                    <a:pt x="669" y="594"/>
                    <a:pt x="670" y="596"/>
                    <a:pt x="671" y="595"/>
                  </a:cubicBezTo>
                  <a:cubicBezTo>
                    <a:pt x="671" y="595"/>
                    <a:pt x="671" y="593"/>
                    <a:pt x="671" y="592"/>
                  </a:cubicBezTo>
                  <a:cubicBezTo>
                    <a:pt x="672" y="593"/>
                    <a:pt x="674" y="595"/>
                    <a:pt x="675" y="596"/>
                  </a:cubicBezTo>
                  <a:cubicBezTo>
                    <a:pt x="675" y="596"/>
                    <a:pt x="676" y="594"/>
                    <a:pt x="675" y="593"/>
                  </a:cubicBezTo>
                  <a:cubicBezTo>
                    <a:pt x="675" y="593"/>
                    <a:pt x="676" y="592"/>
                    <a:pt x="676" y="592"/>
                  </a:cubicBezTo>
                  <a:cubicBezTo>
                    <a:pt x="685" y="591"/>
                    <a:pt x="688" y="588"/>
                    <a:pt x="691" y="582"/>
                  </a:cubicBezTo>
                  <a:cubicBezTo>
                    <a:pt x="692" y="582"/>
                    <a:pt x="693" y="582"/>
                    <a:pt x="693" y="582"/>
                  </a:cubicBezTo>
                  <a:cubicBezTo>
                    <a:pt x="693" y="581"/>
                    <a:pt x="693" y="580"/>
                    <a:pt x="692" y="580"/>
                  </a:cubicBezTo>
                  <a:cubicBezTo>
                    <a:pt x="692" y="579"/>
                    <a:pt x="690" y="580"/>
                    <a:pt x="690" y="580"/>
                  </a:cubicBezTo>
                  <a:cubicBezTo>
                    <a:pt x="690" y="577"/>
                    <a:pt x="690" y="577"/>
                    <a:pt x="690" y="574"/>
                  </a:cubicBezTo>
                  <a:cubicBezTo>
                    <a:pt x="690" y="575"/>
                    <a:pt x="689" y="574"/>
                    <a:pt x="688" y="574"/>
                  </a:cubicBezTo>
                  <a:cubicBezTo>
                    <a:pt x="687" y="575"/>
                    <a:pt x="685" y="579"/>
                    <a:pt x="683" y="580"/>
                  </a:cubicBezTo>
                  <a:cubicBezTo>
                    <a:pt x="683" y="580"/>
                    <a:pt x="681" y="580"/>
                    <a:pt x="681" y="580"/>
                  </a:cubicBezTo>
                  <a:cubicBezTo>
                    <a:pt x="681" y="579"/>
                    <a:pt x="681" y="578"/>
                    <a:pt x="681" y="578"/>
                  </a:cubicBezTo>
                  <a:cubicBezTo>
                    <a:pt x="681" y="577"/>
                    <a:pt x="679" y="578"/>
                    <a:pt x="679" y="578"/>
                  </a:cubicBezTo>
                  <a:cubicBezTo>
                    <a:pt x="678" y="577"/>
                    <a:pt x="676" y="575"/>
                    <a:pt x="675" y="575"/>
                  </a:cubicBezTo>
                  <a:cubicBezTo>
                    <a:pt x="674" y="575"/>
                    <a:pt x="674" y="575"/>
                    <a:pt x="674" y="575"/>
                  </a:cubicBezTo>
                  <a:cubicBezTo>
                    <a:pt x="673" y="575"/>
                    <a:pt x="673" y="576"/>
                    <a:pt x="672" y="576"/>
                  </a:cubicBezTo>
                  <a:cubicBezTo>
                    <a:pt x="671" y="574"/>
                    <a:pt x="671" y="574"/>
                    <a:pt x="671" y="574"/>
                  </a:cubicBezTo>
                  <a:cubicBezTo>
                    <a:pt x="672" y="574"/>
                    <a:pt x="673" y="574"/>
                    <a:pt x="674" y="574"/>
                  </a:cubicBezTo>
                  <a:cubicBezTo>
                    <a:pt x="674" y="573"/>
                    <a:pt x="674" y="572"/>
                    <a:pt x="675" y="572"/>
                  </a:cubicBezTo>
                  <a:cubicBezTo>
                    <a:pt x="672" y="572"/>
                    <a:pt x="670" y="571"/>
                    <a:pt x="667" y="570"/>
                  </a:cubicBezTo>
                  <a:cubicBezTo>
                    <a:pt x="667" y="570"/>
                    <a:pt x="667" y="568"/>
                    <a:pt x="667" y="568"/>
                  </a:cubicBezTo>
                  <a:cubicBezTo>
                    <a:pt x="666" y="568"/>
                    <a:pt x="666" y="569"/>
                    <a:pt x="665" y="568"/>
                  </a:cubicBezTo>
                  <a:cubicBezTo>
                    <a:pt x="666" y="568"/>
                    <a:pt x="666" y="563"/>
                    <a:pt x="665" y="562"/>
                  </a:cubicBezTo>
                  <a:cubicBezTo>
                    <a:pt x="667" y="562"/>
                    <a:pt x="667" y="562"/>
                    <a:pt x="667" y="562"/>
                  </a:cubicBezTo>
                  <a:cubicBezTo>
                    <a:pt x="668" y="561"/>
                    <a:pt x="667" y="560"/>
                    <a:pt x="667" y="559"/>
                  </a:cubicBezTo>
                  <a:cubicBezTo>
                    <a:pt x="666" y="559"/>
                    <a:pt x="663" y="560"/>
                    <a:pt x="663" y="560"/>
                  </a:cubicBezTo>
                  <a:cubicBezTo>
                    <a:pt x="663" y="560"/>
                    <a:pt x="660" y="559"/>
                    <a:pt x="662" y="559"/>
                  </a:cubicBezTo>
                  <a:cubicBezTo>
                    <a:pt x="663" y="557"/>
                    <a:pt x="663" y="557"/>
                    <a:pt x="663" y="557"/>
                  </a:cubicBezTo>
                  <a:cubicBezTo>
                    <a:pt x="663" y="557"/>
                    <a:pt x="664" y="557"/>
                    <a:pt x="665" y="557"/>
                  </a:cubicBezTo>
                  <a:cubicBezTo>
                    <a:pt x="665" y="556"/>
                    <a:pt x="665" y="556"/>
                    <a:pt x="665" y="556"/>
                  </a:cubicBezTo>
                  <a:cubicBezTo>
                    <a:pt x="664" y="556"/>
                    <a:pt x="664" y="553"/>
                    <a:pt x="664" y="552"/>
                  </a:cubicBezTo>
                  <a:cubicBezTo>
                    <a:pt x="666" y="552"/>
                    <a:pt x="666" y="552"/>
                    <a:pt x="666" y="552"/>
                  </a:cubicBezTo>
                  <a:cubicBezTo>
                    <a:pt x="666" y="550"/>
                    <a:pt x="665" y="551"/>
                    <a:pt x="665" y="549"/>
                  </a:cubicBezTo>
                  <a:cubicBezTo>
                    <a:pt x="664" y="549"/>
                    <a:pt x="662" y="548"/>
                    <a:pt x="660" y="549"/>
                  </a:cubicBezTo>
                  <a:cubicBezTo>
                    <a:pt x="659" y="549"/>
                    <a:pt x="659" y="551"/>
                    <a:pt x="658" y="551"/>
                  </a:cubicBezTo>
                  <a:cubicBezTo>
                    <a:pt x="652" y="553"/>
                    <a:pt x="653" y="549"/>
                    <a:pt x="655" y="549"/>
                  </a:cubicBezTo>
                  <a:cubicBezTo>
                    <a:pt x="655" y="548"/>
                    <a:pt x="655" y="548"/>
                    <a:pt x="655" y="548"/>
                  </a:cubicBezTo>
                  <a:cubicBezTo>
                    <a:pt x="654" y="547"/>
                    <a:pt x="654" y="547"/>
                    <a:pt x="653" y="546"/>
                  </a:cubicBezTo>
                  <a:cubicBezTo>
                    <a:pt x="653" y="545"/>
                    <a:pt x="653" y="545"/>
                    <a:pt x="653" y="545"/>
                  </a:cubicBezTo>
                  <a:cubicBezTo>
                    <a:pt x="654" y="545"/>
                    <a:pt x="654" y="543"/>
                    <a:pt x="655" y="543"/>
                  </a:cubicBezTo>
                  <a:cubicBezTo>
                    <a:pt x="655" y="543"/>
                    <a:pt x="656" y="544"/>
                    <a:pt x="656" y="544"/>
                  </a:cubicBezTo>
                  <a:cubicBezTo>
                    <a:pt x="656" y="545"/>
                    <a:pt x="656" y="546"/>
                    <a:pt x="657" y="547"/>
                  </a:cubicBezTo>
                  <a:cubicBezTo>
                    <a:pt x="657" y="547"/>
                    <a:pt x="659" y="548"/>
                    <a:pt x="659" y="548"/>
                  </a:cubicBezTo>
                  <a:cubicBezTo>
                    <a:pt x="659" y="546"/>
                    <a:pt x="659" y="546"/>
                    <a:pt x="659" y="546"/>
                  </a:cubicBezTo>
                  <a:cubicBezTo>
                    <a:pt x="660" y="546"/>
                    <a:pt x="662" y="546"/>
                    <a:pt x="663" y="546"/>
                  </a:cubicBezTo>
                  <a:cubicBezTo>
                    <a:pt x="663" y="544"/>
                    <a:pt x="663" y="543"/>
                    <a:pt x="663" y="540"/>
                  </a:cubicBezTo>
                  <a:cubicBezTo>
                    <a:pt x="664" y="540"/>
                    <a:pt x="666" y="541"/>
                    <a:pt x="667" y="541"/>
                  </a:cubicBezTo>
                  <a:cubicBezTo>
                    <a:pt x="668" y="538"/>
                    <a:pt x="668" y="537"/>
                    <a:pt x="667" y="533"/>
                  </a:cubicBezTo>
                  <a:cubicBezTo>
                    <a:pt x="668" y="533"/>
                    <a:pt x="669" y="534"/>
                    <a:pt x="670" y="534"/>
                  </a:cubicBezTo>
                  <a:cubicBezTo>
                    <a:pt x="670" y="534"/>
                    <a:pt x="670" y="532"/>
                    <a:pt x="670" y="532"/>
                  </a:cubicBezTo>
                  <a:cubicBezTo>
                    <a:pt x="669" y="531"/>
                    <a:pt x="669" y="531"/>
                    <a:pt x="669" y="530"/>
                  </a:cubicBezTo>
                  <a:cubicBezTo>
                    <a:pt x="667" y="530"/>
                    <a:pt x="667" y="530"/>
                    <a:pt x="667" y="530"/>
                  </a:cubicBezTo>
                  <a:cubicBezTo>
                    <a:pt x="667" y="528"/>
                    <a:pt x="667" y="528"/>
                    <a:pt x="667" y="528"/>
                  </a:cubicBezTo>
                  <a:cubicBezTo>
                    <a:pt x="666" y="528"/>
                    <a:pt x="666" y="528"/>
                    <a:pt x="666" y="528"/>
                  </a:cubicBezTo>
                  <a:cubicBezTo>
                    <a:pt x="666" y="528"/>
                    <a:pt x="666" y="528"/>
                    <a:pt x="666" y="528"/>
                  </a:cubicBezTo>
                  <a:cubicBezTo>
                    <a:pt x="663" y="527"/>
                    <a:pt x="660" y="529"/>
                    <a:pt x="658" y="528"/>
                  </a:cubicBezTo>
                  <a:cubicBezTo>
                    <a:pt x="657" y="528"/>
                    <a:pt x="658" y="526"/>
                    <a:pt x="656" y="526"/>
                  </a:cubicBezTo>
                  <a:cubicBezTo>
                    <a:pt x="655" y="528"/>
                    <a:pt x="655" y="528"/>
                    <a:pt x="655" y="528"/>
                  </a:cubicBezTo>
                  <a:cubicBezTo>
                    <a:pt x="651" y="529"/>
                    <a:pt x="648" y="529"/>
                    <a:pt x="645" y="531"/>
                  </a:cubicBezTo>
                  <a:cubicBezTo>
                    <a:pt x="644" y="531"/>
                    <a:pt x="644" y="533"/>
                    <a:pt x="643" y="533"/>
                  </a:cubicBezTo>
                  <a:cubicBezTo>
                    <a:pt x="642" y="534"/>
                    <a:pt x="641" y="533"/>
                    <a:pt x="640" y="534"/>
                  </a:cubicBezTo>
                  <a:cubicBezTo>
                    <a:pt x="640" y="534"/>
                    <a:pt x="639" y="536"/>
                    <a:pt x="639" y="536"/>
                  </a:cubicBezTo>
                  <a:cubicBezTo>
                    <a:pt x="638" y="536"/>
                    <a:pt x="637" y="535"/>
                    <a:pt x="637" y="536"/>
                  </a:cubicBezTo>
                  <a:cubicBezTo>
                    <a:pt x="635" y="537"/>
                    <a:pt x="635" y="539"/>
                    <a:pt x="634" y="540"/>
                  </a:cubicBezTo>
                  <a:cubicBezTo>
                    <a:pt x="633" y="541"/>
                    <a:pt x="629" y="541"/>
                    <a:pt x="628" y="542"/>
                  </a:cubicBezTo>
                  <a:cubicBezTo>
                    <a:pt x="627" y="543"/>
                    <a:pt x="628" y="546"/>
                    <a:pt x="628" y="546"/>
                  </a:cubicBezTo>
                  <a:cubicBezTo>
                    <a:pt x="627" y="547"/>
                    <a:pt x="623" y="547"/>
                    <a:pt x="623" y="547"/>
                  </a:cubicBezTo>
                  <a:cubicBezTo>
                    <a:pt x="622" y="548"/>
                    <a:pt x="622" y="551"/>
                    <a:pt x="622" y="552"/>
                  </a:cubicBezTo>
                  <a:cubicBezTo>
                    <a:pt x="622" y="552"/>
                    <a:pt x="618" y="557"/>
                    <a:pt x="617" y="557"/>
                  </a:cubicBezTo>
                  <a:cubicBezTo>
                    <a:pt x="617" y="557"/>
                    <a:pt x="617" y="557"/>
                    <a:pt x="617" y="557"/>
                  </a:cubicBezTo>
                  <a:cubicBezTo>
                    <a:pt x="617" y="558"/>
                    <a:pt x="617" y="558"/>
                    <a:pt x="617" y="558"/>
                  </a:cubicBezTo>
                  <a:cubicBezTo>
                    <a:pt x="616" y="558"/>
                    <a:pt x="616" y="557"/>
                    <a:pt x="615" y="558"/>
                  </a:cubicBezTo>
                  <a:cubicBezTo>
                    <a:pt x="618" y="553"/>
                    <a:pt x="620" y="551"/>
                    <a:pt x="622" y="544"/>
                  </a:cubicBezTo>
                  <a:cubicBezTo>
                    <a:pt x="621" y="544"/>
                    <a:pt x="620" y="543"/>
                    <a:pt x="619" y="542"/>
                  </a:cubicBezTo>
                  <a:cubicBezTo>
                    <a:pt x="621" y="542"/>
                    <a:pt x="622" y="543"/>
                    <a:pt x="623" y="542"/>
                  </a:cubicBezTo>
                  <a:cubicBezTo>
                    <a:pt x="625" y="542"/>
                    <a:pt x="625" y="538"/>
                    <a:pt x="627" y="537"/>
                  </a:cubicBezTo>
                  <a:cubicBezTo>
                    <a:pt x="627" y="537"/>
                    <a:pt x="628" y="537"/>
                    <a:pt x="629" y="536"/>
                  </a:cubicBezTo>
                  <a:cubicBezTo>
                    <a:pt x="629" y="536"/>
                    <a:pt x="629" y="535"/>
                    <a:pt x="629" y="534"/>
                  </a:cubicBezTo>
                  <a:cubicBezTo>
                    <a:pt x="631" y="534"/>
                    <a:pt x="632" y="535"/>
                    <a:pt x="633" y="534"/>
                  </a:cubicBezTo>
                  <a:cubicBezTo>
                    <a:pt x="633" y="534"/>
                    <a:pt x="633" y="532"/>
                    <a:pt x="634" y="531"/>
                  </a:cubicBezTo>
                  <a:cubicBezTo>
                    <a:pt x="634" y="530"/>
                    <a:pt x="634" y="530"/>
                    <a:pt x="634" y="530"/>
                  </a:cubicBezTo>
                  <a:cubicBezTo>
                    <a:pt x="635" y="530"/>
                    <a:pt x="637" y="531"/>
                    <a:pt x="637" y="530"/>
                  </a:cubicBezTo>
                  <a:cubicBezTo>
                    <a:pt x="638" y="529"/>
                    <a:pt x="637" y="528"/>
                    <a:pt x="638" y="527"/>
                  </a:cubicBezTo>
                  <a:cubicBezTo>
                    <a:pt x="639" y="526"/>
                    <a:pt x="641" y="527"/>
                    <a:pt x="642" y="526"/>
                  </a:cubicBezTo>
                  <a:cubicBezTo>
                    <a:pt x="643" y="525"/>
                    <a:pt x="643" y="520"/>
                    <a:pt x="643" y="520"/>
                  </a:cubicBezTo>
                  <a:cubicBezTo>
                    <a:pt x="645" y="520"/>
                    <a:pt x="645" y="520"/>
                    <a:pt x="645" y="520"/>
                  </a:cubicBezTo>
                  <a:cubicBezTo>
                    <a:pt x="645" y="518"/>
                    <a:pt x="645" y="518"/>
                    <a:pt x="645" y="518"/>
                  </a:cubicBezTo>
                  <a:cubicBezTo>
                    <a:pt x="645" y="518"/>
                    <a:pt x="646" y="519"/>
                    <a:pt x="646" y="519"/>
                  </a:cubicBezTo>
                  <a:cubicBezTo>
                    <a:pt x="647" y="518"/>
                    <a:pt x="647" y="518"/>
                    <a:pt x="649" y="517"/>
                  </a:cubicBezTo>
                  <a:cubicBezTo>
                    <a:pt x="649" y="516"/>
                    <a:pt x="649" y="516"/>
                    <a:pt x="649" y="516"/>
                  </a:cubicBezTo>
                  <a:cubicBezTo>
                    <a:pt x="650" y="515"/>
                    <a:pt x="655" y="517"/>
                    <a:pt x="658" y="517"/>
                  </a:cubicBezTo>
                  <a:cubicBezTo>
                    <a:pt x="658" y="517"/>
                    <a:pt x="658" y="517"/>
                    <a:pt x="658" y="517"/>
                  </a:cubicBezTo>
                  <a:cubicBezTo>
                    <a:pt x="661" y="517"/>
                    <a:pt x="662" y="517"/>
                    <a:pt x="665" y="517"/>
                  </a:cubicBezTo>
                  <a:cubicBezTo>
                    <a:pt x="665" y="516"/>
                    <a:pt x="665" y="515"/>
                    <a:pt x="665" y="515"/>
                  </a:cubicBezTo>
                  <a:cubicBezTo>
                    <a:pt x="667" y="515"/>
                    <a:pt x="668" y="517"/>
                    <a:pt x="669" y="517"/>
                  </a:cubicBezTo>
                  <a:cubicBezTo>
                    <a:pt x="670" y="517"/>
                    <a:pt x="671" y="516"/>
                    <a:pt x="673" y="516"/>
                  </a:cubicBezTo>
                  <a:cubicBezTo>
                    <a:pt x="675" y="516"/>
                    <a:pt x="676" y="517"/>
                    <a:pt x="677" y="517"/>
                  </a:cubicBezTo>
                  <a:cubicBezTo>
                    <a:pt x="677" y="517"/>
                    <a:pt x="678" y="515"/>
                    <a:pt x="679" y="515"/>
                  </a:cubicBezTo>
                  <a:cubicBezTo>
                    <a:pt x="685" y="514"/>
                    <a:pt x="683" y="518"/>
                    <a:pt x="690" y="515"/>
                  </a:cubicBezTo>
                  <a:cubicBezTo>
                    <a:pt x="691" y="515"/>
                    <a:pt x="691" y="517"/>
                    <a:pt x="691" y="518"/>
                  </a:cubicBezTo>
                  <a:cubicBezTo>
                    <a:pt x="693" y="518"/>
                    <a:pt x="694" y="517"/>
                    <a:pt x="694" y="517"/>
                  </a:cubicBezTo>
                  <a:cubicBezTo>
                    <a:pt x="694" y="519"/>
                    <a:pt x="696" y="517"/>
                    <a:pt x="696" y="517"/>
                  </a:cubicBezTo>
                  <a:cubicBezTo>
                    <a:pt x="696" y="517"/>
                    <a:pt x="696" y="515"/>
                    <a:pt x="696" y="515"/>
                  </a:cubicBezTo>
                  <a:cubicBezTo>
                    <a:pt x="696" y="515"/>
                    <a:pt x="697" y="516"/>
                    <a:pt x="698" y="515"/>
                  </a:cubicBezTo>
                  <a:cubicBezTo>
                    <a:pt x="699" y="516"/>
                    <a:pt x="699" y="518"/>
                    <a:pt x="702" y="517"/>
                  </a:cubicBezTo>
                  <a:cubicBezTo>
                    <a:pt x="702" y="517"/>
                    <a:pt x="703" y="515"/>
                    <a:pt x="703" y="515"/>
                  </a:cubicBezTo>
                  <a:cubicBezTo>
                    <a:pt x="706" y="514"/>
                    <a:pt x="706" y="514"/>
                    <a:pt x="708" y="515"/>
                  </a:cubicBezTo>
                  <a:cubicBezTo>
                    <a:pt x="708" y="514"/>
                    <a:pt x="709" y="513"/>
                    <a:pt x="709" y="513"/>
                  </a:cubicBezTo>
                  <a:cubicBezTo>
                    <a:pt x="709" y="513"/>
                    <a:pt x="709" y="510"/>
                    <a:pt x="709" y="510"/>
                  </a:cubicBezTo>
                  <a:cubicBezTo>
                    <a:pt x="709" y="510"/>
                    <a:pt x="714" y="510"/>
                    <a:pt x="715" y="508"/>
                  </a:cubicBezTo>
                  <a:cubicBezTo>
                    <a:pt x="716" y="506"/>
                    <a:pt x="714" y="506"/>
                    <a:pt x="714" y="505"/>
                  </a:cubicBezTo>
                  <a:cubicBezTo>
                    <a:pt x="715" y="504"/>
                    <a:pt x="717" y="503"/>
                    <a:pt x="717" y="503"/>
                  </a:cubicBezTo>
                  <a:cubicBezTo>
                    <a:pt x="717" y="502"/>
                    <a:pt x="717" y="500"/>
                    <a:pt x="717" y="500"/>
                  </a:cubicBezTo>
                  <a:cubicBezTo>
                    <a:pt x="718" y="499"/>
                    <a:pt x="719" y="500"/>
                    <a:pt x="720" y="499"/>
                  </a:cubicBezTo>
                  <a:cubicBezTo>
                    <a:pt x="721" y="499"/>
                    <a:pt x="720" y="497"/>
                    <a:pt x="720" y="497"/>
                  </a:cubicBezTo>
                  <a:cubicBezTo>
                    <a:pt x="722" y="497"/>
                    <a:pt x="720" y="498"/>
                    <a:pt x="721" y="498"/>
                  </a:cubicBezTo>
                  <a:cubicBezTo>
                    <a:pt x="725" y="499"/>
                    <a:pt x="725" y="495"/>
                    <a:pt x="729" y="496"/>
                  </a:cubicBezTo>
                  <a:cubicBezTo>
                    <a:pt x="729" y="496"/>
                    <a:pt x="730" y="497"/>
                    <a:pt x="732" y="497"/>
                  </a:cubicBezTo>
                  <a:cubicBezTo>
                    <a:pt x="734" y="494"/>
                    <a:pt x="734" y="494"/>
                    <a:pt x="734" y="494"/>
                  </a:cubicBezTo>
                  <a:cubicBezTo>
                    <a:pt x="735" y="493"/>
                    <a:pt x="736" y="494"/>
                    <a:pt x="737" y="493"/>
                  </a:cubicBezTo>
                  <a:cubicBezTo>
                    <a:pt x="738" y="493"/>
                    <a:pt x="737" y="491"/>
                    <a:pt x="738" y="491"/>
                  </a:cubicBezTo>
                  <a:cubicBezTo>
                    <a:pt x="738" y="491"/>
                    <a:pt x="739" y="492"/>
                    <a:pt x="740" y="491"/>
                  </a:cubicBezTo>
                  <a:cubicBezTo>
                    <a:pt x="740" y="490"/>
                    <a:pt x="740" y="490"/>
                    <a:pt x="740" y="490"/>
                  </a:cubicBezTo>
                  <a:cubicBezTo>
                    <a:pt x="741" y="489"/>
                    <a:pt x="741" y="489"/>
                    <a:pt x="741" y="489"/>
                  </a:cubicBezTo>
                  <a:cubicBezTo>
                    <a:pt x="743" y="486"/>
                    <a:pt x="742" y="486"/>
                    <a:pt x="740" y="483"/>
                  </a:cubicBezTo>
                  <a:cubicBezTo>
                    <a:pt x="741" y="483"/>
                    <a:pt x="741" y="483"/>
                    <a:pt x="740" y="483"/>
                  </a:cubicBezTo>
                  <a:cubicBezTo>
                    <a:pt x="740" y="481"/>
                    <a:pt x="740" y="481"/>
                    <a:pt x="740" y="481"/>
                  </a:cubicBezTo>
                  <a:cubicBezTo>
                    <a:pt x="742" y="481"/>
                    <a:pt x="742" y="478"/>
                    <a:pt x="742" y="476"/>
                  </a:cubicBezTo>
                  <a:cubicBezTo>
                    <a:pt x="741" y="476"/>
                    <a:pt x="741" y="475"/>
                    <a:pt x="740" y="475"/>
                  </a:cubicBezTo>
                  <a:cubicBezTo>
                    <a:pt x="740" y="475"/>
                    <a:pt x="738" y="475"/>
                    <a:pt x="738" y="475"/>
                  </a:cubicBezTo>
                  <a:cubicBezTo>
                    <a:pt x="738" y="475"/>
                    <a:pt x="738" y="477"/>
                    <a:pt x="738" y="477"/>
                  </a:cubicBezTo>
                  <a:cubicBezTo>
                    <a:pt x="736" y="477"/>
                    <a:pt x="736" y="477"/>
                    <a:pt x="736" y="477"/>
                  </a:cubicBezTo>
                  <a:cubicBezTo>
                    <a:pt x="736" y="476"/>
                    <a:pt x="736" y="475"/>
                    <a:pt x="736" y="474"/>
                  </a:cubicBezTo>
                  <a:cubicBezTo>
                    <a:pt x="735" y="473"/>
                    <a:pt x="732" y="472"/>
                    <a:pt x="731" y="471"/>
                  </a:cubicBezTo>
                  <a:cubicBezTo>
                    <a:pt x="731" y="471"/>
                    <a:pt x="730" y="469"/>
                    <a:pt x="730" y="469"/>
                  </a:cubicBezTo>
                  <a:cubicBezTo>
                    <a:pt x="727" y="468"/>
                    <a:pt x="725" y="469"/>
                    <a:pt x="723" y="469"/>
                  </a:cubicBezTo>
                  <a:cubicBezTo>
                    <a:pt x="724" y="471"/>
                    <a:pt x="724" y="471"/>
                    <a:pt x="724" y="471"/>
                  </a:cubicBezTo>
                  <a:cubicBezTo>
                    <a:pt x="722" y="472"/>
                    <a:pt x="720" y="471"/>
                    <a:pt x="718" y="471"/>
                  </a:cubicBezTo>
                  <a:cubicBezTo>
                    <a:pt x="716" y="472"/>
                    <a:pt x="713" y="476"/>
                    <a:pt x="710" y="477"/>
                  </a:cubicBezTo>
                  <a:cubicBezTo>
                    <a:pt x="709" y="478"/>
                    <a:pt x="708" y="477"/>
                    <a:pt x="706" y="478"/>
                  </a:cubicBezTo>
                  <a:cubicBezTo>
                    <a:pt x="706" y="478"/>
                    <a:pt x="706" y="481"/>
                    <a:pt x="705" y="481"/>
                  </a:cubicBezTo>
                  <a:cubicBezTo>
                    <a:pt x="704" y="482"/>
                    <a:pt x="703" y="481"/>
                    <a:pt x="702" y="481"/>
                  </a:cubicBezTo>
                  <a:cubicBezTo>
                    <a:pt x="702" y="480"/>
                    <a:pt x="702" y="478"/>
                    <a:pt x="701" y="476"/>
                  </a:cubicBezTo>
                  <a:cubicBezTo>
                    <a:pt x="702" y="476"/>
                    <a:pt x="706" y="476"/>
                    <a:pt x="708" y="476"/>
                  </a:cubicBezTo>
                  <a:cubicBezTo>
                    <a:pt x="709" y="476"/>
                    <a:pt x="713" y="472"/>
                    <a:pt x="714" y="471"/>
                  </a:cubicBezTo>
                  <a:cubicBezTo>
                    <a:pt x="714" y="471"/>
                    <a:pt x="715" y="472"/>
                    <a:pt x="716" y="471"/>
                  </a:cubicBezTo>
                  <a:cubicBezTo>
                    <a:pt x="716" y="471"/>
                    <a:pt x="717" y="470"/>
                    <a:pt x="717" y="469"/>
                  </a:cubicBezTo>
                  <a:cubicBezTo>
                    <a:pt x="719" y="468"/>
                    <a:pt x="719" y="470"/>
                    <a:pt x="721" y="469"/>
                  </a:cubicBezTo>
                  <a:cubicBezTo>
                    <a:pt x="722" y="468"/>
                    <a:pt x="722" y="468"/>
                    <a:pt x="722" y="468"/>
                  </a:cubicBezTo>
                  <a:cubicBezTo>
                    <a:pt x="723" y="467"/>
                    <a:pt x="724" y="468"/>
                    <a:pt x="725" y="467"/>
                  </a:cubicBezTo>
                  <a:cubicBezTo>
                    <a:pt x="726" y="467"/>
                    <a:pt x="727" y="464"/>
                    <a:pt x="728" y="463"/>
                  </a:cubicBezTo>
                  <a:cubicBezTo>
                    <a:pt x="728" y="463"/>
                    <a:pt x="727" y="463"/>
                    <a:pt x="726" y="463"/>
                  </a:cubicBezTo>
                  <a:cubicBezTo>
                    <a:pt x="726" y="463"/>
                    <a:pt x="725" y="462"/>
                    <a:pt x="724" y="462"/>
                  </a:cubicBezTo>
                  <a:cubicBezTo>
                    <a:pt x="724" y="461"/>
                    <a:pt x="724" y="459"/>
                    <a:pt x="724" y="458"/>
                  </a:cubicBezTo>
                  <a:cubicBezTo>
                    <a:pt x="723" y="458"/>
                    <a:pt x="722" y="459"/>
                    <a:pt x="722" y="459"/>
                  </a:cubicBezTo>
                  <a:cubicBezTo>
                    <a:pt x="721" y="460"/>
                    <a:pt x="722" y="461"/>
                    <a:pt x="721" y="462"/>
                  </a:cubicBezTo>
                  <a:cubicBezTo>
                    <a:pt x="718" y="461"/>
                    <a:pt x="718" y="462"/>
                    <a:pt x="716" y="459"/>
                  </a:cubicBezTo>
                  <a:cubicBezTo>
                    <a:pt x="715" y="458"/>
                    <a:pt x="715" y="458"/>
                    <a:pt x="715" y="458"/>
                  </a:cubicBezTo>
                  <a:cubicBezTo>
                    <a:pt x="715" y="457"/>
                    <a:pt x="715" y="456"/>
                    <a:pt x="715" y="455"/>
                  </a:cubicBezTo>
                  <a:cubicBezTo>
                    <a:pt x="714" y="455"/>
                    <a:pt x="713" y="456"/>
                    <a:pt x="713" y="456"/>
                  </a:cubicBezTo>
                  <a:cubicBezTo>
                    <a:pt x="712" y="456"/>
                    <a:pt x="713" y="456"/>
                    <a:pt x="712" y="455"/>
                  </a:cubicBezTo>
                  <a:cubicBezTo>
                    <a:pt x="711" y="456"/>
                    <a:pt x="710" y="456"/>
                    <a:pt x="709" y="457"/>
                  </a:cubicBezTo>
                  <a:cubicBezTo>
                    <a:pt x="709" y="457"/>
                    <a:pt x="709" y="455"/>
                    <a:pt x="709" y="455"/>
                  </a:cubicBezTo>
                  <a:cubicBezTo>
                    <a:pt x="706" y="455"/>
                    <a:pt x="706" y="455"/>
                    <a:pt x="702" y="455"/>
                  </a:cubicBezTo>
                  <a:cubicBezTo>
                    <a:pt x="703" y="454"/>
                    <a:pt x="702" y="451"/>
                    <a:pt x="702" y="451"/>
                  </a:cubicBezTo>
                  <a:cubicBezTo>
                    <a:pt x="701" y="450"/>
                    <a:pt x="702" y="448"/>
                    <a:pt x="702" y="447"/>
                  </a:cubicBezTo>
                  <a:cubicBezTo>
                    <a:pt x="701" y="447"/>
                    <a:pt x="700" y="448"/>
                    <a:pt x="700" y="447"/>
                  </a:cubicBezTo>
                  <a:cubicBezTo>
                    <a:pt x="699" y="447"/>
                    <a:pt x="699" y="445"/>
                    <a:pt x="698" y="445"/>
                  </a:cubicBezTo>
                  <a:cubicBezTo>
                    <a:pt x="696" y="444"/>
                    <a:pt x="694" y="444"/>
                    <a:pt x="692" y="444"/>
                  </a:cubicBezTo>
                  <a:cubicBezTo>
                    <a:pt x="692" y="443"/>
                    <a:pt x="692" y="441"/>
                    <a:pt x="692" y="439"/>
                  </a:cubicBezTo>
                  <a:cubicBezTo>
                    <a:pt x="692" y="439"/>
                    <a:pt x="689" y="440"/>
                    <a:pt x="689" y="439"/>
                  </a:cubicBezTo>
                  <a:cubicBezTo>
                    <a:pt x="688" y="438"/>
                    <a:pt x="690" y="439"/>
                    <a:pt x="690" y="439"/>
                  </a:cubicBezTo>
                  <a:cubicBezTo>
                    <a:pt x="691" y="435"/>
                    <a:pt x="687" y="438"/>
                    <a:pt x="686" y="438"/>
                  </a:cubicBezTo>
                  <a:cubicBezTo>
                    <a:pt x="688" y="434"/>
                    <a:pt x="689" y="434"/>
                    <a:pt x="685" y="433"/>
                  </a:cubicBezTo>
                  <a:cubicBezTo>
                    <a:pt x="685" y="431"/>
                    <a:pt x="685" y="431"/>
                    <a:pt x="685" y="431"/>
                  </a:cubicBezTo>
                  <a:cubicBezTo>
                    <a:pt x="687" y="432"/>
                    <a:pt x="689" y="433"/>
                    <a:pt x="691" y="432"/>
                  </a:cubicBezTo>
                  <a:cubicBezTo>
                    <a:pt x="692" y="432"/>
                    <a:pt x="692" y="431"/>
                    <a:pt x="692" y="431"/>
                  </a:cubicBezTo>
                  <a:cubicBezTo>
                    <a:pt x="693" y="431"/>
                    <a:pt x="693" y="432"/>
                    <a:pt x="694" y="432"/>
                  </a:cubicBezTo>
                  <a:cubicBezTo>
                    <a:pt x="694" y="431"/>
                    <a:pt x="693" y="430"/>
                    <a:pt x="694" y="430"/>
                  </a:cubicBezTo>
                  <a:cubicBezTo>
                    <a:pt x="694" y="429"/>
                    <a:pt x="694" y="427"/>
                    <a:pt x="693" y="427"/>
                  </a:cubicBezTo>
                  <a:cubicBezTo>
                    <a:pt x="693" y="426"/>
                    <a:pt x="691" y="427"/>
                    <a:pt x="690" y="427"/>
                  </a:cubicBezTo>
                  <a:cubicBezTo>
                    <a:pt x="689" y="426"/>
                    <a:pt x="689" y="424"/>
                    <a:pt x="688" y="424"/>
                  </a:cubicBezTo>
                  <a:cubicBezTo>
                    <a:pt x="687" y="424"/>
                    <a:pt x="686" y="425"/>
                    <a:pt x="685" y="424"/>
                  </a:cubicBezTo>
                  <a:cubicBezTo>
                    <a:pt x="687" y="421"/>
                    <a:pt x="687" y="422"/>
                    <a:pt x="688" y="417"/>
                  </a:cubicBezTo>
                  <a:cubicBezTo>
                    <a:pt x="687" y="417"/>
                    <a:pt x="687" y="417"/>
                    <a:pt x="686" y="417"/>
                  </a:cubicBezTo>
                  <a:cubicBezTo>
                    <a:pt x="686" y="417"/>
                    <a:pt x="686" y="415"/>
                    <a:pt x="685" y="415"/>
                  </a:cubicBezTo>
                  <a:cubicBezTo>
                    <a:pt x="684" y="415"/>
                    <a:pt x="683" y="415"/>
                    <a:pt x="683" y="415"/>
                  </a:cubicBezTo>
                  <a:cubicBezTo>
                    <a:pt x="683" y="415"/>
                    <a:pt x="683" y="412"/>
                    <a:pt x="683" y="412"/>
                  </a:cubicBezTo>
                  <a:cubicBezTo>
                    <a:pt x="682" y="412"/>
                    <a:pt x="681" y="412"/>
                    <a:pt x="681" y="412"/>
                  </a:cubicBezTo>
                  <a:cubicBezTo>
                    <a:pt x="681" y="411"/>
                    <a:pt x="682" y="410"/>
                    <a:pt x="683" y="409"/>
                  </a:cubicBezTo>
                  <a:cubicBezTo>
                    <a:pt x="683" y="408"/>
                    <a:pt x="682" y="408"/>
                    <a:pt x="683" y="407"/>
                  </a:cubicBezTo>
                  <a:cubicBezTo>
                    <a:pt x="679" y="408"/>
                    <a:pt x="677" y="407"/>
                    <a:pt x="675" y="407"/>
                  </a:cubicBezTo>
                  <a:cubicBezTo>
                    <a:pt x="675" y="407"/>
                    <a:pt x="675" y="406"/>
                    <a:pt x="675" y="405"/>
                  </a:cubicBezTo>
                  <a:cubicBezTo>
                    <a:pt x="676" y="405"/>
                    <a:pt x="678" y="405"/>
                    <a:pt x="679" y="404"/>
                  </a:cubicBezTo>
                  <a:cubicBezTo>
                    <a:pt x="682" y="401"/>
                    <a:pt x="677" y="402"/>
                    <a:pt x="677" y="400"/>
                  </a:cubicBezTo>
                  <a:cubicBezTo>
                    <a:pt x="676" y="399"/>
                    <a:pt x="678" y="399"/>
                    <a:pt x="678" y="399"/>
                  </a:cubicBezTo>
                  <a:cubicBezTo>
                    <a:pt x="678" y="398"/>
                    <a:pt x="678" y="398"/>
                    <a:pt x="678" y="398"/>
                  </a:cubicBezTo>
                  <a:cubicBezTo>
                    <a:pt x="677" y="397"/>
                    <a:pt x="677" y="398"/>
                    <a:pt x="676" y="398"/>
                  </a:cubicBezTo>
                  <a:cubicBezTo>
                    <a:pt x="676" y="397"/>
                    <a:pt x="676" y="396"/>
                    <a:pt x="676" y="396"/>
                  </a:cubicBezTo>
                  <a:cubicBezTo>
                    <a:pt x="674" y="396"/>
                    <a:pt x="675" y="395"/>
                    <a:pt x="674" y="395"/>
                  </a:cubicBezTo>
                  <a:cubicBezTo>
                    <a:pt x="674" y="395"/>
                    <a:pt x="672" y="396"/>
                    <a:pt x="671" y="396"/>
                  </a:cubicBezTo>
                  <a:cubicBezTo>
                    <a:pt x="671" y="395"/>
                    <a:pt x="671" y="394"/>
                    <a:pt x="671" y="394"/>
                  </a:cubicBezTo>
                  <a:cubicBezTo>
                    <a:pt x="670" y="394"/>
                    <a:pt x="670" y="394"/>
                    <a:pt x="670" y="394"/>
                  </a:cubicBezTo>
                  <a:cubicBezTo>
                    <a:pt x="669" y="391"/>
                    <a:pt x="668" y="389"/>
                    <a:pt x="669" y="386"/>
                  </a:cubicBezTo>
                  <a:cubicBezTo>
                    <a:pt x="669" y="386"/>
                    <a:pt x="670" y="385"/>
                    <a:pt x="670" y="383"/>
                  </a:cubicBezTo>
                  <a:cubicBezTo>
                    <a:pt x="670" y="382"/>
                    <a:pt x="669" y="382"/>
                    <a:pt x="668" y="382"/>
                  </a:cubicBezTo>
                  <a:cubicBezTo>
                    <a:pt x="668" y="379"/>
                    <a:pt x="668" y="379"/>
                    <a:pt x="668" y="376"/>
                  </a:cubicBezTo>
                  <a:cubicBezTo>
                    <a:pt x="666" y="376"/>
                    <a:pt x="666" y="376"/>
                    <a:pt x="664" y="376"/>
                  </a:cubicBezTo>
                  <a:cubicBezTo>
                    <a:pt x="663" y="378"/>
                    <a:pt x="664" y="379"/>
                    <a:pt x="663" y="381"/>
                  </a:cubicBezTo>
                  <a:cubicBezTo>
                    <a:pt x="662" y="381"/>
                    <a:pt x="662" y="381"/>
                    <a:pt x="661" y="382"/>
                  </a:cubicBezTo>
                  <a:cubicBezTo>
                    <a:pt x="661" y="383"/>
                    <a:pt x="662" y="384"/>
                    <a:pt x="661" y="385"/>
                  </a:cubicBezTo>
                  <a:cubicBezTo>
                    <a:pt x="661" y="385"/>
                    <a:pt x="659" y="386"/>
                    <a:pt x="659" y="386"/>
                  </a:cubicBezTo>
                  <a:cubicBezTo>
                    <a:pt x="658" y="389"/>
                    <a:pt x="660" y="389"/>
                    <a:pt x="660" y="390"/>
                  </a:cubicBezTo>
                  <a:cubicBezTo>
                    <a:pt x="659" y="391"/>
                    <a:pt x="659" y="391"/>
                    <a:pt x="659" y="391"/>
                  </a:cubicBezTo>
                  <a:cubicBezTo>
                    <a:pt x="657" y="394"/>
                    <a:pt x="656" y="394"/>
                    <a:pt x="654" y="396"/>
                  </a:cubicBezTo>
                  <a:cubicBezTo>
                    <a:pt x="654" y="397"/>
                    <a:pt x="655" y="400"/>
                    <a:pt x="655" y="400"/>
                  </a:cubicBezTo>
                  <a:cubicBezTo>
                    <a:pt x="654" y="401"/>
                    <a:pt x="652" y="399"/>
                    <a:pt x="651" y="399"/>
                  </a:cubicBezTo>
                  <a:cubicBezTo>
                    <a:pt x="651" y="401"/>
                    <a:pt x="649" y="405"/>
                    <a:pt x="647" y="405"/>
                  </a:cubicBezTo>
                  <a:cubicBezTo>
                    <a:pt x="647" y="406"/>
                    <a:pt x="646" y="405"/>
                    <a:pt x="645" y="405"/>
                  </a:cubicBezTo>
                  <a:cubicBezTo>
                    <a:pt x="645" y="406"/>
                    <a:pt x="644" y="407"/>
                    <a:pt x="644" y="407"/>
                  </a:cubicBezTo>
                  <a:cubicBezTo>
                    <a:pt x="643" y="406"/>
                    <a:pt x="642" y="404"/>
                    <a:pt x="641" y="403"/>
                  </a:cubicBezTo>
                  <a:cubicBezTo>
                    <a:pt x="640" y="403"/>
                    <a:pt x="640" y="403"/>
                    <a:pt x="640" y="403"/>
                  </a:cubicBezTo>
                  <a:cubicBezTo>
                    <a:pt x="640" y="402"/>
                    <a:pt x="640" y="401"/>
                    <a:pt x="640" y="401"/>
                  </a:cubicBezTo>
                  <a:cubicBezTo>
                    <a:pt x="640" y="401"/>
                    <a:pt x="638" y="400"/>
                    <a:pt x="638" y="400"/>
                  </a:cubicBezTo>
                  <a:cubicBezTo>
                    <a:pt x="638" y="401"/>
                    <a:pt x="638" y="401"/>
                    <a:pt x="638" y="401"/>
                  </a:cubicBezTo>
                  <a:cubicBezTo>
                    <a:pt x="637" y="402"/>
                    <a:pt x="636" y="403"/>
                    <a:pt x="636" y="403"/>
                  </a:cubicBezTo>
                  <a:cubicBezTo>
                    <a:pt x="635" y="402"/>
                    <a:pt x="634" y="399"/>
                    <a:pt x="634" y="397"/>
                  </a:cubicBezTo>
                  <a:cubicBezTo>
                    <a:pt x="633" y="397"/>
                    <a:pt x="630" y="396"/>
                    <a:pt x="629" y="396"/>
                  </a:cubicBezTo>
                  <a:cubicBezTo>
                    <a:pt x="629" y="395"/>
                    <a:pt x="629" y="395"/>
                    <a:pt x="629" y="395"/>
                  </a:cubicBezTo>
                  <a:cubicBezTo>
                    <a:pt x="627" y="394"/>
                    <a:pt x="627" y="396"/>
                    <a:pt x="626" y="396"/>
                  </a:cubicBezTo>
                  <a:cubicBezTo>
                    <a:pt x="625" y="395"/>
                    <a:pt x="623" y="393"/>
                    <a:pt x="622" y="393"/>
                  </a:cubicBezTo>
                  <a:cubicBezTo>
                    <a:pt x="622" y="391"/>
                    <a:pt x="621" y="392"/>
                    <a:pt x="621" y="390"/>
                  </a:cubicBezTo>
                  <a:cubicBezTo>
                    <a:pt x="621" y="390"/>
                    <a:pt x="623" y="390"/>
                    <a:pt x="623" y="390"/>
                  </a:cubicBezTo>
                  <a:cubicBezTo>
                    <a:pt x="623" y="388"/>
                    <a:pt x="623" y="385"/>
                    <a:pt x="623" y="384"/>
                  </a:cubicBezTo>
                  <a:cubicBezTo>
                    <a:pt x="623" y="383"/>
                    <a:pt x="621" y="383"/>
                    <a:pt x="621" y="382"/>
                  </a:cubicBezTo>
                  <a:cubicBezTo>
                    <a:pt x="621" y="382"/>
                    <a:pt x="620" y="379"/>
                    <a:pt x="621" y="378"/>
                  </a:cubicBezTo>
                  <a:cubicBezTo>
                    <a:pt x="621" y="378"/>
                    <a:pt x="624" y="378"/>
                    <a:pt x="624" y="378"/>
                  </a:cubicBezTo>
                  <a:cubicBezTo>
                    <a:pt x="624" y="377"/>
                    <a:pt x="624" y="376"/>
                    <a:pt x="624" y="376"/>
                  </a:cubicBezTo>
                  <a:cubicBezTo>
                    <a:pt x="619" y="378"/>
                    <a:pt x="626" y="368"/>
                    <a:pt x="627" y="368"/>
                  </a:cubicBezTo>
                  <a:cubicBezTo>
                    <a:pt x="626" y="368"/>
                    <a:pt x="625" y="367"/>
                    <a:pt x="625" y="368"/>
                  </a:cubicBezTo>
                  <a:cubicBezTo>
                    <a:pt x="624" y="368"/>
                    <a:pt x="623" y="370"/>
                    <a:pt x="623" y="370"/>
                  </a:cubicBezTo>
                  <a:cubicBezTo>
                    <a:pt x="623" y="370"/>
                    <a:pt x="622" y="368"/>
                    <a:pt x="621" y="368"/>
                  </a:cubicBezTo>
                  <a:cubicBezTo>
                    <a:pt x="617" y="367"/>
                    <a:pt x="613" y="369"/>
                    <a:pt x="619" y="365"/>
                  </a:cubicBezTo>
                  <a:cubicBezTo>
                    <a:pt x="619" y="364"/>
                    <a:pt x="619" y="364"/>
                    <a:pt x="619" y="364"/>
                  </a:cubicBezTo>
                  <a:cubicBezTo>
                    <a:pt x="615" y="363"/>
                    <a:pt x="611" y="364"/>
                    <a:pt x="606" y="363"/>
                  </a:cubicBezTo>
                  <a:cubicBezTo>
                    <a:pt x="606" y="363"/>
                    <a:pt x="606" y="360"/>
                    <a:pt x="605" y="359"/>
                  </a:cubicBezTo>
                  <a:cubicBezTo>
                    <a:pt x="605" y="359"/>
                    <a:pt x="604" y="359"/>
                    <a:pt x="603" y="360"/>
                  </a:cubicBezTo>
                  <a:cubicBezTo>
                    <a:pt x="603" y="359"/>
                    <a:pt x="603" y="357"/>
                    <a:pt x="603" y="356"/>
                  </a:cubicBezTo>
                  <a:cubicBezTo>
                    <a:pt x="602" y="355"/>
                    <a:pt x="599" y="355"/>
                    <a:pt x="599" y="354"/>
                  </a:cubicBezTo>
                  <a:cubicBezTo>
                    <a:pt x="598" y="354"/>
                    <a:pt x="599" y="352"/>
                    <a:pt x="599" y="352"/>
                  </a:cubicBezTo>
                  <a:cubicBezTo>
                    <a:pt x="598" y="351"/>
                    <a:pt x="597" y="351"/>
                    <a:pt x="597" y="351"/>
                  </a:cubicBezTo>
                  <a:cubicBezTo>
                    <a:pt x="596" y="351"/>
                    <a:pt x="595" y="349"/>
                    <a:pt x="595" y="348"/>
                  </a:cubicBezTo>
                  <a:cubicBezTo>
                    <a:pt x="593" y="347"/>
                    <a:pt x="591" y="348"/>
                    <a:pt x="589" y="347"/>
                  </a:cubicBezTo>
                  <a:cubicBezTo>
                    <a:pt x="589" y="346"/>
                    <a:pt x="589" y="346"/>
                    <a:pt x="589" y="346"/>
                  </a:cubicBezTo>
                  <a:cubicBezTo>
                    <a:pt x="587" y="346"/>
                    <a:pt x="581" y="352"/>
                    <a:pt x="581" y="352"/>
                  </a:cubicBezTo>
                  <a:cubicBezTo>
                    <a:pt x="578" y="352"/>
                    <a:pt x="576" y="350"/>
                    <a:pt x="574" y="350"/>
                  </a:cubicBezTo>
                  <a:cubicBezTo>
                    <a:pt x="571" y="350"/>
                    <a:pt x="569" y="351"/>
                    <a:pt x="566" y="351"/>
                  </a:cubicBezTo>
                  <a:cubicBezTo>
                    <a:pt x="566" y="351"/>
                    <a:pt x="564" y="349"/>
                    <a:pt x="564" y="349"/>
                  </a:cubicBezTo>
                  <a:cubicBezTo>
                    <a:pt x="563" y="349"/>
                    <a:pt x="562" y="350"/>
                    <a:pt x="561" y="350"/>
                  </a:cubicBezTo>
                  <a:cubicBezTo>
                    <a:pt x="558" y="348"/>
                    <a:pt x="558" y="348"/>
                    <a:pt x="558" y="348"/>
                  </a:cubicBezTo>
                  <a:cubicBezTo>
                    <a:pt x="555" y="348"/>
                    <a:pt x="555" y="350"/>
                    <a:pt x="554" y="350"/>
                  </a:cubicBezTo>
                  <a:cubicBezTo>
                    <a:pt x="553" y="351"/>
                    <a:pt x="552" y="350"/>
                    <a:pt x="551" y="350"/>
                  </a:cubicBezTo>
                  <a:cubicBezTo>
                    <a:pt x="551" y="351"/>
                    <a:pt x="550" y="352"/>
                    <a:pt x="550" y="353"/>
                  </a:cubicBezTo>
                  <a:cubicBezTo>
                    <a:pt x="550" y="354"/>
                    <a:pt x="552" y="355"/>
                    <a:pt x="552" y="356"/>
                  </a:cubicBezTo>
                  <a:cubicBezTo>
                    <a:pt x="553" y="355"/>
                    <a:pt x="555" y="355"/>
                    <a:pt x="555" y="355"/>
                  </a:cubicBezTo>
                  <a:cubicBezTo>
                    <a:pt x="555" y="355"/>
                    <a:pt x="555" y="358"/>
                    <a:pt x="555" y="358"/>
                  </a:cubicBezTo>
                  <a:cubicBezTo>
                    <a:pt x="553" y="358"/>
                    <a:pt x="553" y="358"/>
                    <a:pt x="553" y="358"/>
                  </a:cubicBezTo>
                  <a:cubicBezTo>
                    <a:pt x="553" y="358"/>
                    <a:pt x="554" y="360"/>
                    <a:pt x="554" y="361"/>
                  </a:cubicBezTo>
                  <a:cubicBezTo>
                    <a:pt x="553" y="362"/>
                    <a:pt x="550" y="366"/>
                    <a:pt x="549" y="368"/>
                  </a:cubicBezTo>
                  <a:cubicBezTo>
                    <a:pt x="549" y="368"/>
                    <a:pt x="550" y="369"/>
                    <a:pt x="550" y="370"/>
                  </a:cubicBezTo>
                  <a:cubicBezTo>
                    <a:pt x="551" y="370"/>
                    <a:pt x="553" y="369"/>
                    <a:pt x="554" y="370"/>
                  </a:cubicBezTo>
                  <a:cubicBezTo>
                    <a:pt x="553" y="370"/>
                    <a:pt x="552" y="371"/>
                    <a:pt x="551" y="372"/>
                  </a:cubicBezTo>
                  <a:cubicBezTo>
                    <a:pt x="551" y="373"/>
                    <a:pt x="552" y="378"/>
                    <a:pt x="553" y="378"/>
                  </a:cubicBezTo>
                  <a:cubicBezTo>
                    <a:pt x="553" y="378"/>
                    <a:pt x="552" y="379"/>
                    <a:pt x="552" y="380"/>
                  </a:cubicBezTo>
                  <a:cubicBezTo>
                    <a:pt x="552" y="380"/>
                    <a:pt x="555" y="381"/>
                    <a:pt x="555" y="381"/>
                  </a:cubicBezTo>
                  <a:cubicBezTo>
                    <a:pt x="555" y="381"/>
                    <a:pt x="554" y="383"/>
                    <a:pt x="555" y="384"/>
                  </a:cubicBezTo>
                  <a:cubicBezTo>
                    <a:pt x="554" y="384"/>
                    <a:pt x="554" y="384"/>
                    <a:pt x="554" y="384"/>
                  </a:cubicBezTo>
                  <a:cubicBezTo>
                    <a:pt x="553" y="385"/>
                    <a:pt x="554" y="386"/>
                    <a:pt x="553" y="386"/>
                  </a:cubicBezTo>
                  <a:cubicBezTo>
                    <a:pt x="550" y="386"/>
                    <a:pt x="550" y="386"/>
                    <a:pt x="550" y="386"/>
                  </a:cubicBezTo>
                  <a:cubicBezTo>
                    <a:pt x="550" y="386"/>
                    <a:pt x="550" y="388"/>
                    <a:pt x="551" y="388"/>
                  </a:cubicBezTo>
                  <a:cubicBezTo>
                    <a:pt x="551" y="389"/>
                    <a:pt x="551" y="390"/>
                    <a:pt x="551" y="391"/>
                  </a:cubicBezTo>
                  <a:cubicBezTo>
                    <a:pt x="544" y="392"/>
                    <a:pt x="544" y="393"/>
                    <a:pt x="542" y="399"/>
                  </a:cubicBezTo>
                  <a:cubicBezTo>
                    <a:pt x="543" y="399"/>
                    <a:pt x="542" y="400"/>
                    <a:pt x="543" y="400"/>
                  </a:cubicBezTo>
                  <a:cubicBezTo>
                    <a:pt x="545" y="401"/>
                    <a:pt x="546" y="400"/>
                    <a:pt x="547" y="401"/>
                  </a:cubicBezTo>
                  <a:cubicBezTo>
                    <a:pt x="548" y="402"/>
                    <a:pt x="548" y="404"/>
                    <a:pt x="549" y="405"/>
                  </a:cubicBezTo>
                  <a:cubicBezTo>
                    <a:pt x="550" y="405"/>
                    <a:pt x="551" y="405"/>
                    <a:pt x="552" y="405"/>
                  </a:cubicBezTo>
                  <a:cubicBezTo>
                    <a:pt x="553" y="406"/>
                    <a:pt x="553" y="408"/>
                    <a:pt x="553" y="409"/>
                  </a:cubicBezTo>
                  <a:cubicBezTo>
                    <a:pt x="553" y="409"/>
                    <a:pt x="554" y="409"/>
                    <a:pt x="554" y="409"/>
                  </a:cubicBezTo>
                  <a:cubicBezTo>
                    <a:pt x="555" y="411"/>
                    <a:pt x="554" y="412"/>
                    <a:pt x="555" y="413"/>
                  </a:cubicBezTo>
                  <a:cubicBezTo>
                    <a:pt x="555" y="414"/>
                    <a:pt x="557" y="414"/>
                    <a:pt x="557" y="415"/>
                  </a:cubicBezTo>
                  <a:cubicBezTo>
                    <a:pt x="558" y="417"/>
                    <a:pt x="557" y="420"/>
                    <a:pt x="559" y="422"/>
                  </a:cubicBezTo>
                  <a:cubicBezTo>
                    <a:pt x="560" y="423"/>
                    <a:pt x="562" y="424"/>
                    <a:pt x="563" y="425"/>
                  </a:cubicBezTo>
                  <a:cubicBezTo>
                    <a:pt x="561" y="429"/>
                    <a:pt x="560" y="431"/>
                    <a:pt x="560" y="437"/>
                  </a:cubicBezTo>
                  <a:cubicBezTo>
                    <a:pt x="562" y="437"/>
                    <a:pt x="562" y="437"/>
                    <a:pt x="562" y="437"/>
                  </a:cubicBezTo>
                  <a:cubicBezTo>
                    <a:pt x="562" y="430"/>
                    <a:pt x="563" y="434"/>
                    <a:pt x="564" y="438"/>
                  </a:cubicBezTo>
                  <a:cubicBezTo>
                    <a:pt x="563" y="438"/>
                    <a:pt x="562" y="438"/>
                    <a:pt x="560" y="439"/>
                  </a:cubicBezTo>
                  <a:cubicBezTo>
                    <a:pt x="559" y="440"/>
                    <a:pt x="559" y="441"/>
                    <a:pt x="559" y="442"/>
                  </a:cubicBezTo>
                  <a:cubicBezTo>
                    <a:pt x="558" y="443"/>
                    <a:pt x="556" y="444"/>
                    <a:pt x="555" y="445"/>
                  </a:cubicBezTo>
                  <a:cubicBezTo>
                    <a:pt x="554" y="447"/>
                    <a:pt x="554" y="448"/>
                    <a:pt x="554" y="449"/>
                  </a:cubicBezTo>
                  <a:cubicBezTo>
                    <a:pt x="553" y="450"/>
                    <a:pt x="550" y="451"/>
                    <a:pt x="549" y="452"/>
                  </a:cubicBezTo>
                  <a:cubicBezTo>
                    <a:pt x="549" y="452"/>
                    <a:pt x="548" y="454"/>
                    <a:pt x="548" y="454"/>
                  </a:cubicBezTo>
                  <a:cubicBezTo>
                    <a:pt x="547" y="455"/>
                    <a:pt x="546" y="454"/>
                    <a:pt x="545" y="455"/>
                  </a:cubicBezTo>
                  <a:cubicBezTo>
                    <a:pt x="544" y="455"/>
                    <a:pt x="544" y="456"/>
                    <a:pt x="544" y="457"/>
                  </a:cubicBezTo>
                  <a:cubicBezTo>
                    <a:pt x="542" y="458"/>
                    <a:pt x="540" y="457"/>
                    <a:pt x="538" y="459"/>
                  </a:cubicBezTo>
                  <a:cubicBezTo>
                    <a:pt x="538" y="459"/>
                    <a:pt x="538" y="459"/>
                    <a:pt x="538" y="459"/>
                  </a:cubicBezTo>
                  <a:cubicBezTo>
                    <a:pt x="537" y="461"/>
                    <a:pt x="537" y="467"/>
                    <a:pt x="538" y="468"/>
                  </a:cubicBezTo>
                  <a:cubicBezTo>
                    <a:pt x="542" y="471"/>
                    <a:pt x="542" y="471"/>
                    <a:pt x="542" y="471"/>
                  </a:cubicBezTo>
                  <a:cubicBezTo>
                    <a:pt x="543" y="475"/>
                    <a:pt x="541" y="480"/>
                    <a:pt x="542" y="484"/>
                  </a:cubicBezTo>
                  <a:cubicBezTo>
                    <a:pt x="542" y="484"/>
                    <a:pt x="543" y="485"/>
                    <a:pt x="543" y="485"/>
                  </a:cubicBezTo>
                  <a:cubicBezTo>
                    <a:pt x="544" y="487"/>
                    <a:pt x="541" y="487"/>
                    <a:pt x="544" y="489"/>
                  </a:cubicBezTo>
                  <a:cubicBezTo>
                    <a:pt x="544" y="489"/>
                    <a:pt x="546" y="490"/>
                    <a:pt x="544" y="490"/>
                  </a:cubicBezTo>
                  <a:cubicBezTo>
                    <a:pt x="541" y="496"/>
                    <a:pt x="541" y="496"/>
                    <a:pt x="541" y="496"/>
                  </a:cubicBezTo>
                  <a:cubicBezTo>
                    <a:pt x="541" y="497"/>
                    <a:pt x="541" y="499"/>
                    <a:pt x="542" y="499"/>
                  </a:cubicBezTo>
                  <a:cubicBezTo>
                    <a:pt x="542" y="500"/>
                    <a:pt x="542" y="500"/>
                    <a:pt x="542" y="500"/>
                  </a:cubicBezTo>
                  <a:cubicBezTo>
                    <a:pt x="540" y="501"/>
                    <a:pt x="539" y="499"/>
                    <a:pt x="538" y="500"/>
                  </a:cubicBezTo>
                  <a:cubicBezTo>
                    <a:pt x="537" y="500"/>
                    <a:pt x="537" y="502"/>
                    <a:pt x="536" y="502"/>
                  </a:cubicBezTo>
                  <a:cubicBezTo>
                    <a:pt x="535" y="503"/>
                    <a:pt x="536" y="502"/>
                    <a:pt x="536" y="504"/>
                  </a:cubicBezTo>
                  <a:cubicBezTo>
                    <a:pt x="532" y="503"/>
                    <a:pt x="530" y="504"/>
                    <a:pt x="527" y="503"/>
                  </a:cubicBezTo>
                  <a:cubicBezTo>
                    <a:pt x="527" y="502"/>
                    <a:pt x="527" y="502"/>
                    <a:pt x="528" y="502"/>
                  </a:cubicBezTo>
                  <a:cubicBezTo>
                    <a:pt x="528" y="501"/>
                    <a:pt x="525" y="498"/>
                    <a:pt x="524" y="498"/>
                  </a:cubicBezTo>
                  <a:cubicBezTo>
                    <a:pt x="524" y="498"/>
                    <a:pt x="518" y="493"/>
                    <a:pt x="518" y="493"/>
                  </a:cubicBezTo>
                  <a:cubicBezTo>
                    <a:pt x="518" y="492"/>
                    <a:pt x="520" y="492"/>
                    <a:pt x="520" y="491"/>
                  </a:cubicBezTo>
                  <a:cubicBezTo>
                    <a:pt x="520" y="490"/>
                    <a:pt x="517" y="484"/>
                    <a:pt x="516" y="484"/>
                  </a:cubicBezTo>
                  <a:cubicBezTo>
                    <a:pt x="515" y="484"/>
                    <a:pt x="514" y="484"/>
                    <a:pt x="514" y="484"/>
                  </a:cubicBezTo>
                  <a:cubicBezTo>
                    <a:pt x="514" y="482"/>
                    <a:pt x="515" y="471"/>
                    <a:pt x="514" y="469"/>
                  </a:cubicBezTo>
                  <a:cubicBezTo>
                    <a:pt x="514" y="468"/>
                    <a:pt x="512" y="467"/>
                    <a:pt x="512" y="467"/>
                  </a:cubicBezTo>
                  <a:cubicBezTo>
                    <a:pt x="512" y="465"/>
                    <a:pt x="514" y="462"/>
                    <a:pt x="514" y="461"/>
                  </a:cubicBezTo>
                  <a:cubicBezTo>
                    <a:pt x="515" y="459"/>
                    <a:pt x="514" y="457"/>
                    <a:pt x="514" y="455"/>
                  </a:cubicBezTo>
                  <a:cubicBezTo>
                    <a:pt x="513" y="454"/>
                    <a:pt x="508" y="452"/>
                    <a:pt x="508" y="452"/>
                  </a:cubicBezTo>
                  <a:cubicBezTo>
                    <a:pt x="506" y="452"/>
                    <a:pt x="506" y="453"/>
                    <a:pt x="504" y="453"/>
                  </a:cubicBezTo>
                  <a:cubicBezTo>
                    <a:pt x="504" y="453"/>
                    <a:pt x="502" y="451"/>
                    <a:pt x="502" y="451"/>
                  </a:cubicBezTo>
                  <a:cubicBezTo>
                    <a:pt x="498" y="450"/>
                    <a:pt x="495" y="452"/>
                    <a:pt x="491" y="451"/>
                  </a:cubicBezTo>
                  <a:cubicBezTo>
                    <a:pt x="491" y="451"/>
                    <a:pt x="489" y="450"/>
                    <a:pt x="488" y="449"/>
                  </a:cubicBezTo>
                  <a:cubicBezTo>
                    <a:pt x="488" y="448"/>
                    <a:pt x="488" y="448"/>
                    <a:pt x="488" y="448"/>
                  </a:cubicBezTo>
                  <a:cubicBezTo>
                    <a:pt x="486" y="447"/>
                    <a:pt x="485" y="448"/>
                    <a:pt x="483" y="447"/>
                  </a:cubicBezTo>
                  <a:cubicBezTo>
                    <a:pt x="483" y="447"/>
                    <a:pt x="482" y="445"/>
                    <a:pt x="482" y="445"/>
                  </a:cubicBezTo>
                  <a:cubicBezTo>
                    <a:pt x="480" y="444"/>
                    <a:pt x="479" y="446"/>
                    <a:pt x="476" y="445"/>
                  </a:cubicBezTo>
                  <a:cubicBezTo>
                    <a:pt x="474" y="444"/>
                    <a:pt x="473" y="441"/>
                    <a:pt x="472" y="441"/>
                  </a:cubicBezTo>
                  <a:cubicBezTo>
                    <a:pt x="470" y="440"/>
                    <a:pt x="469" y="441"/>
                    <a:pt x="466" y="441"/>
                  </a:cubicBezTo>
                  <a:cubicBezTo>
                    <a:pt x="466" y="439"/>
                    <a:pt x="467" y="438"/>
                    <a:pt x="466" y="437"/>
                  </a:cubicBezTo>
                  <a:cubicBezTo>
                    <a:pt x="466" y="436"/>
                    <a:pt x="464" y="435"/>
                    <a:pt x="464" y="433"/>
                  </a:cubicBezTo>
                  <a:cubicBezTo>
                    <a:pt x="464" y="433"/>
                    <a:pt x="464" y="432"/>
                    <a:pt x="464" y="431"/>
                  </a:cubicBezTo>
                  <a:cubicBezTo>
                    <a:pt x="463" y="430"/>
                    <a:pt x="460" y="431"/>
                    <a:pt x="459" y="431"/>
                  </a:cubicBezTo>
                  <a:cubicBezTo>
                    <a:pt x="458" y="430"/>
                    <a:pt x="457" y="428"/>
                    <a:pt x="456" y="427"/>
                  </a:cubicBezTo>
                  <a:cubicBezTo>
                    <a:pt x="455" y="427"/>
                    <a:pt x="454" y="428"/>
                    <a:pt x="453" y="427"/>
                  </a:cubicBezTo>
                  <a:cubicBezTo>
                    <a:pt x="451" y="427"/>
                    <a:pt x="449" y="425"/>
                    <a:pt x="448" y="424"/>
                  </a:cubicBezTo>
                  <a:cubicBezTo>
                    <a:pt x="447" y="424"/>
                    <a:pt x="445" y="424"/>
                    <a:pt x="445" y="424"/>
                  </a:cubicBezTo>
                  <a:cubicBezTo>
                    <a:pt x="443" y="424"/>
                    <a:pt x="441" y="420"/>
                    <a:pt x="440" y="420"/>
                  </a:cubicBezTo>
                  <a:cubicBezTo>
                    <a:pt x="436" y="419"/>
                    <a:pt x="430" y="423"/>
                    <a:pt x="427" y="423"/>
                  </a:cubicBezTo>
                  <a:cubicBezTo>
                    <a:pt x="427" y="421"/>
                    <a:pt x="427" y="418"/>
                    <a:pt x="426" y="415"/>
                  </a:cubicBezTo>
                  <a:cubicBezTo>
                    <a:pt x="426" y="415"/>
                    <a:pt x="424" y="413"/>
                    <a:pt x="423" y="412"/>
                  </a:cubicBezTo>
                  <a:cubicBezTo>
                    <a:pt x="423" y="411"/>
                    <a:pt x="424" y="409"/>
                    <a:pt x="423" y="408"/>
                  </a:cubicBezTo>
                  <a:cubicBezTo>
                    <a:pt x="423" y="408"/>
                    <a:pt x="421" y="407"/>
                    <a:pt x="421" y="407"/>
                  </a:cubicBezTo>
                  <a:cubicBezTo>
                    <a:pt x="421" y="406"/>
                    <a:pt x="421" y="405"/>
                    <a:pt x="421" y="405"/>
                  </a:cubicBezTo>
                  <a:cubicBezTo>
                    <a:pt x="421" y="403"/>
                    <a:pt x="419" y="401"/>
                    <a:pt x="418" y="399"/>
                  </a:cubicBezTo>
                  <a:cubicBezTo>
                    <a:pt x="413" y="400"/>
                    <a:pt x="406" y="401"/>
                    <a:pt x="405" y="398"/>
                  </a:cubicBezTo>
                  <a:cubicBezTo>
                    <a:pt x="404" y="396"/>
                    <a:pt x="405" y="393"/>
                    <a:pt x="404" y="391"/>
                  </a:cubicBezTo>
                  <a:cubicBezTo>
                    <a:pt x="404" y="391"/>
                    <a:pt x="401" y="388"/>
                    <a:pt x="401" y="388"/>
                  </a:cubicBezTo>
                  <a:cubicBezTo>
                    <a:pt x="402" y="388"/>
                    <a:pt x="403" y="387"/>
                    <a:pt x="403" y="387"/>
                  </a:cubicBezTo>
                  <a:cubicBezTo>
                    <a:pt x="404" y="385"/>
                    <a:pt x="403" y="383"/>
                    <a:pt x="403" y="381"/>
                  </a:cubicBezTo>
                  <a:cubicBezTo>
                    <a:pt x="404" y="380"/>
                    <a:pt x="407" y="377"/>
                    <a:pt x="407" y="377"/>
                  </a:cubicBezTo>
                  <a:cubicBezTo>
                    <a:pt x="408" y="376"/>
                    <a:pt x="407" y="375"/>
                    <a:pt x="407" y="374"/>
                  </a:cubicBezTo>
                  <a:cubicBezTo>
                    <a:pt x="406" y="374"/>
                    <a:pt x="406" y="374"/>
                    <a:pt x="405" y="374"/>
                  </a:cubicBezTo>
                  <a:cubicBezTo>
                    <a:pt x="406" y="373"/>
                    <a:pt x="406" y="372"/>
                    <a:pt x="406" y="372"/>
                  </a:cubicBezTo>
                  <a:cubicBezTo>
                    <a:pt x="408" y="372"/>
                    <a:pt x="410" y="372"/>
                    <a:pt x="412" y="372"/>
                  </a:cubicBezTo>
                  <a:cubicBezTo>
                    <a:pt x="412" y="370"/>
                    <a:pt x="410" y="369"/>
                    <a:pt x="411" y="367"/>
                  </a:cubicBezTo>
                  <a:cubicBezTo>
                    <a:pt x="411" y="366"/>
                    <a:pt x="417" y="362"/>
                    <a:pt x="417" y="362"/>
                  </a:cubicBezTo>
                  <a:cubicBezTo>
                    <a:pt x="417" y="362"/>
                    <a:pt x="416" y="360"/>
                    <a:pt x="417" y="360"/>
                  </a:cubicBezTo>
                  <a:cubicBezTo>
                    <a:pt x="417" y="359"/>
                    <a:pt x="421" y="359"/>
                    <a:pt x="421" y="359"/>
                  </a:cubicBezTo>
                  <a:cubicBezTo>
                    <a:pt x="421" y="357"/>
                    <a:pt x="422" y="356"/>
                    <a:pt x="422" y="353"/>
                  </a:cubicBezTo>
                  <a:cubicBezTo>
                    <a:pt x="422" y="353"/>
                    <a:pt x="424" y="353"/>
                    <a:pt x="425" y="353"/>
                  </a:cubicBezTo>
                  <a:cubicBezTo>
                    <a:pt x="425" y="353"/>
                    <a:pt x="425" y="351"/>
                    <a:pt x="425" y="350"/>
                  </a:cubicBezTo>
                  <a:cubicBezTo>
                    <a:pt x="425" y="350"/>
                    <a:pt x="427" y="350"/>
                    <a:pt x="426" y="351"/>
                  </a:cubicBezTo>
                  <a:cubicBezTo>
                    <a:pt x="427" y="351"/>
                    <a:pt x="429" y="351"/>
                    <a:pt x="430" y="351"/>
                  </a:cubicBezTo>
                  <a:cubicBezTo>
                    <a:pt x="429" y="351"/>
                    <a:pt x="430" y="349"/>
                    <a:pt x="428" y="350"/>
                  </a:cubicBezTo>
                  <a:cubicBezTo>
                    <a:pt x="428" y="349"/>
                    <a:pt x="427" y="348"/>
                    <a:pt x="427" y="348"/>
                  </a:cubicBezTo>
                  <a:cubicBezTo>
                    <a:pt x="428" y="348"/>
                    <a:pt x="430" y="348"/>
                    <a:pt x="431" y="348"/>
                  </a:cubicBezTo>
                  <a:cubicBezTo>
                    <a:pt x="431" y="348"/>
                    <a:pt x="433" y="345"/>
                    <a:pt x="430" y="346"/>
                  </a:cubicBezTo>
                  <a:cubicBezTo>
                    <a:pt x="430" y="344"/>
                    <a:pt x="430" y="344"/>
                    <a:pt x="430" y="344"/>
                  </a:cubicBezTo>
                  <a:cubicBezTo>
                    <a:pt x="435" y="346"/>
                    <a:pt x="436" y="346"/>
                    <a:pt x="441" y="344"/>
                  </a:cubicBezTo>
                  <a:cubicBezTo>
                    <a:pt x="441" y="343"/>
                    <a:pt x="442" y="344"/>
                    <a:pt x="443" y="343"/>
                  </a:cubicBezTo>
                  <a:cubicBezTo>
                    <a:pt x="443" y="343"/>
                    <a:pt x="443" y="341"/>
                    <a:pt x="443" y="341"/>
                  </a:cubicBezTo>
                  <a:cubicBezTo>
                    <a:pt x="443" y="341"/>
                    <a:pt x="443" y="339"/>
                    <a:pt x="443" y="338"/>
                  </a:cubicBezTo>
                  <a:cubicBezTo>
                    <a:pt x="442" y="338"/>
                    <a:pt x="440" y="338"/>
                    <a:pt x="440" y="338"/>
                  </a:cubicBezTo>
                  <a:cubicBezTo>
                    <a:pt x="439" y="337"/>
                    <a:pt x="440" y="335"/>
                    <a:pt x="440" y="334"/>
                  </a:cubicBezTo>
                  <a:cubicBezTo>
                    <a:pt x="438" y="333"/>
                    <a:pt x="443" y="334"/>
                    <a:pt x="444" y="334"/>
                  </a:cubicBezTo>
                  <a:cubicBezTo>
                    <a:pt x="445" y="332"/>
                    <a:pt x="445" y="332"/>
                    <a:pt x="445" y="332"/>
                  </a:cubicBezTo>
                  <a:cubicBezTo>
                    <a:pt x="446" y="332"/>
                    <a:pt x="446" y="332"/>
                    <a:pt x="446" y="332"/>
                  </a:cubicBezTo>
                  <a:cubicBezTo>
                    <a:pt x="446" y="331"/>
                    <a:pt x="446" y="330"/>
                    <a:pt x="447" y="329"/>
                  </a:cubicBezTo>
                  <a:cubicBezTo>
                    <a:pt x="444" y="328"/>
                    <a:pt x="445" y="327"/>
                    <a:pt x="446" y="324"/>
                  </a:cubicBezTo>
                  <a:cubicBezTo>
                    <a:pt x="447" y="324"/>
                    <a:pt x="448" y="324"/>
                    <a:pt x="451" y="324"/>
                  </a:cubicBezTo>
                  <a:cubicBezTo>
                    <a:pt x="451" y="323"/>
                    <a:pt x="450" y="321"/>
                    <a:pt x="451" y="321"/>
                  </a:cubicBezTo>
                  <a:cubicBezTo>
                    <a:pt x="452" y="321"/>
                    <a:pt x="459" y="323"/>
                    <a:pt x="459" y="323"/>
                  </a:cubicBezTo>
                  <a:cubicBezTo>
                    <a:pt x="460" y="323"/>
                    <a:pt x="459" y="325"/>
                    <a:pt x="461" y="325"/>
                  </a:cubicBezTo>
                  <a:cubicBezTo>
                    <a:pt x="461" y="323"/>
                    <a:pt x="461" y="323"/>
                    <a:pt x="461" y="323"/>
                  </a:cubicBezTo>
                  <a:cubicBezTo>
                    <a:pt x="462" y="322"/>
                    <a:pt x="464" y="323"/>
                    <a:pt x="465" y="322"/>
                  </a:cubicBezTo>
                  <a:cubicBezTo>
                    <a:pt x="466" y="322"/>
                    <a:pt x="468" y="320"/>
                    <a:pt x="469" y="320"/>
                  </a:cubicBezTo>
                  <a:cubicBezTo>
                    <a:pt x="468" y="314"/>
                    <a:pt x="469" y="312"/>
                    <a:pt x="472" y="310"/>
                  </a:cubicBezTo>
                  <a:cubicBezTo>
                    <a:pt x="468" y="309"/>
                    <a:pt x="465" y="307"/>
                    <a:pt x="461" y="307"/>
                  </a:cubicBezTo>
                  <a:cubicBezTo>
                    <a:pt x="455" y="307"/>
                    <a:pt x="447" y="308"/>
                    <a:pt x="443" y="308"/>
                  </a:cubicBezTo>
                  <a:cubicBezTo>
                    <a:pt x="443" y="308"/>
                    <a:pt x="443" y="306"/>
                    <a:pt x="443" y="306"/>
                  </a:cubicBezTo>
                  <a:cubicBezTo>
                    <a:pt x="445" y="306"/>
                    <a:pt x="446" y="307"/>
                    <a:pt x="447" y="306"/>
                  </a:cubicBezTo>
                  <a:cubicBezTo>
                    <a:pt x="448" y="306"/>
                    <a:pt x="451" y="305"/>
                    <a:pt x="452" y="305"/>
                  </a:cubicBezTo>
                  <a:cubicBezTo>
                    <a:pt x="452" y="304"/>
                    <a:pt x="452" y="304"/>
                    <a:pt x="452" y="304"/>
                  </a:cubicBezTo>
                  <a:cubicBezTo>
                    <a:pt x="451" y="304"/>
                    <a:pt x="449" y="303"/>
                    <a:pt x="451" y="303"/>
                  </a:cubicBezTo>
                  <a:cubicBezTo>
                    <a:pt x="451" y="302"/>
                    <a:pt x="451" y="301"/>
                    <a:pt x="451" y="300"/>
                  </a:cubicBezTo>
                  <a:cubicBezTo>
                    <a:pt x="453" y="301"/>
                    <a:pt x="455" y="303"/>
                    <a:pt x="458" y="302"/>
                  </a:cubicBezTo>
                  <a:cubicBezTo>
                    <a:pt x="459" y="302"/>
                    <a:pt x="458" y="301"/>
                    <a:pt x="461" y="301"/>
                  </a:cubicBezTo>
                  <a:cubicBezTo>
                    <a:pt x="461" y="301"/>
                    <a:pt x="463" y="303"/>
                    <a:pt x="464" y="303"/>
                  </a:cubicBezTo>
                  <a:cubicBezTo>
                    <a:pt x="465" y="303"/>
                    <a:pt x="466" y="302"/>
                    <a:pt x="467" y="302"/>
                  </a:cubicBezTo>
                  <a:cubicBezTo>
                    <a:pt x="468" y="303"/>
                    <a:pt x="472" y="307"/>
                    <a:pt x="474" y="308"/>
                  </a:cubicBezTo>
                  <a:cubicBezTo>
                    <a:pt x="474" y="308"/>
                    <a:pt x="475" y="307"/>
                    <a:pt x="476" y="307"/>
                  </a:cubicBezTo>
                  <a:cubicBezTo>
                    <a:pt x="476" y="306"/>
                    <a:pt x="475" y="306"/>
                    <a:pt x="476" y="304"/>
                  </a:cubicBezTo>
                  <a:cubicBezTo>
                    <a:pt x="477" y="302"/>
                    <a:pt x="480" y="302"/>
                    <a:pt x="479" y="297"/>
                  </a:cubicBezTo>
                  <a:cubicBezTo>
                    <a:pt x="479" y="296"/>
                    <a:pt x="476" y="294"/>
                    <a:pt x="476" y="294"/>
                  </a:cubicBezTo>
                  <a:cubicBezTo>
                    <a:pt x="477" y="294"/>
                    <a:pt x="484" y="292"/>
                    <a:pt x="484" y="292"/>
                  </a:cubicBezTo>
                  <a:cubicBezTo>
                    <a:pt x="484" y="292"/>
                    <a:pt x="490" y="297"/>
                    <a:pt x="490" y="298"/>
                  </a:cubicBezTo>
                  <a:cubicBezTo>
                    <a:pt x="490" y="298"/>
                    <a:pt x="493" y="298"/>
                    <a:pt x="494" y="298"/>
                  </a:cubicBezTo>
                  <a:cubicBezTo>
                    <a:pt x="494" y="297"/>
                    <a:pt x="494" y="297"/>
                    <a:pt x="494" y="297"/>
                  </a:cubicBezTo>
                  <a:cubicBezTo>
                    <a:pt x="496" y="297"/>
                    <a:pt x="497" y="296"/>
                    <a:pt x="499" y="296"/>
                  </a:cubicBezTo>
                  <a:cubicBezTo>
                    <a:pt x="499" y="296"/>
                    <a:pt x="498" y="295"/>
                    <a:pt x="498" y="294"/>
                  </a:cubicBezTo>
                  <a:cubicBezTo>
                    <a:pt x="498" y="294"/>
                    <a:pt x="497" y="295"/>
                    <a:pt x="496" y="294"/>
                  </a:cubicBezTo>
                  <a:cubicBezTo>
                    <a:pt x="496" y="293"/>
                    <a:pt x="496" y="293"/>
                    <a:pt x="496" y="293"/>
                  </a:cubicBezTo>
                  <a:cubicBezTo>
                    <a:pt x="496" y="292"/>
                    <a:pt x="495" y="293"/>
                    <a:pt x="494" y="292"/>
                  </a:cubicBezTo>
                  <a:cubicBezTo>
                    <a:pt x="494" y="292"/>
                    <a:pt x="493" y="291"/>
                    <a:pt x="493" y="290"/>
                  </a:cubicBezTo>
                  <a:cubicBezTo>
                    <a:pt x="492" y="289"/>
                    <a:pt x="492" y="290"/>
                    <a:pt x="492" y="288"/>
                  </a:cubicBezTo>
                  <a:cubicBezTo>
                    <a:pt x="491" y="288"/>
                    <a:pt x="490" y="289"/>
                    <a:pt x="489" y="288"/>
                  </a:cubicBezTo>
                  <a:cubicBezTo>
                    <a:pt x="490" y="288"/>
                    <a:pt x="488" y="289"/>
                    <a:pt x="491" y="286"/>
                  </a:cubicBezTo>
                  <a:cubicBezTo>
                    <a:pt x="490" y="286"/>
                    <a:pt x="492" y="286"/>
                    <a:pt x="492" y="286"/>
                  </a:cubicBezTo>
                  <a:cubicBezTo>
                    <a:pt x="493" y="286"/>
                    <a:pt x="493" y="288"/>
                    <a:pt x="494" y="288"/>
                  </a:cubicBezTo>
                  <a:cubicBezTo>
                    <a:pt x="495" y="288"/>
                    <a:pt x="495" y="287"/>
                    <a:pt x="496" y="287"/>
                  </a:cubicBezTo>
                  <a:cubicBezTo>
                    <a:pt x="497" y="288"/>
                    <a:pt x="496" y="290"/>
                    <a:pt x="497" y="291"/>
                  </a:cubicBezTo>
                  <a:cubicBezTo>
                    <a:pt x="498" y="292"/>
                    <a:pt x="499" y="291"/>
                    <a:pt x="500" y="292"/>
                  </a:cubicBezTo>
                  <a:cubicBezTo>
                    <a:pt x="501" y="292"/>
                    <a:pt x="501" y="294"/>
                    <a:pt x="502" y="294"/>
                  </a:cubicBezTo>
                  <a:cubicBezTo>
                    <a:pt x="503" y="294"/>
                    <a:pt x="503" y="294"/>
                    <a:pt x="503" y="294"/>
                  </a:cubicBezTo>
                  <a:cubicBezTo>
                    <a:pt x="503" y="294"/>
                    <a:pt x="507" y="289"/>
                    <a:pt x="508" y="288"/>
                  </a:cubicBezTo>
                  <a:cubicBezTo>
                    <a:pt x="508" y="288"/>
                    <a:pt x="508" y="288"/>
                    <a:pt x="508" y="288"/>
                  </a:cubicBezTo>
                  <a:cubicBezTo>
                    <a:pt x="509" y="287"/>
                    <a:pt x="511" y="288"/>
                    <a:pt x="512" y="287"/>
                  </a:cubicBezTo>
                  <a:cubicBezTo>
                    <a:pt x="513" y="287"/>
                    <a:pt x="516" y="284"/>
                    <a:pt x="518" y="283"/>
                  </a:cubicBezTo>
                  <a:cubicBezTo>
                    <a:pt x="520" y="282"/>
                    <a:pt x="520" y="284"/>
                    <a:pt x="522" y="283"/>
                  </a:cubicBezTo>
                  <a:cubicBezTo>
                    <a:pt x="524" y="282"/>
                    <a:pt x="527" y="278"/>
                    <a:pt x="526" y="275"/>
                  </a:cubicBezTo>
                  <a:cubicBezTo>
                    <a:pt x="525" y="273"/>
                    <a:pt x="525" y="273"/>
                    <a:pt x="525" y="273"/>
                  </a:cubicBezTo>
                  <a:cubicBezTo>
                    <a:pt x="523" y="269"/>
                    <a:pt x="523" y="272"/>
                    <a:pt x="520" y="271"/>
                  </a:cubicBezTo>
                  <a:cubicBezTo>
                    <a:pt x="519" y="270"/>
                    <a:pt x="516" y="265"/>
                    <a:pt x="516" y="264"/>
                  </a:cubicBezTo>
                  <a:cubicBezTo>
                    <a:pt x="517" y="263"/>
                    <a:pt x="514" y="260"/>
                    <a:pt x="516" y="258"/>
                  </a:cubicBezTo>
                  <a:cubicBezTo>
                    <a:pt x="517" y="257"/>
                    <a:pt x="519" y="257"/>
                    <a:pt x="520" y="257"/>
                  </a:cubicBezTo>
                  <a:cubicBezTo>
                    <a:pt x="521" y="254"/>
                    <a:pt x="521" y="254"/>
                    <a:pt x="521" y="254"/>
                  </a:cubicBezTo>
                  <a:cubicBezTo>
                    <a:pt x="520" y="254"/>
                    <a:pt x="518" y="254"/>
                    <a:pt x="518" y="254"/>
                  </a:cubicBezTo>
                  <a:cubicBezTo>
                    <a:pt x="518" y="253"/>
                    <a:pt x="517" y="254"/>
                    <a:pt x="517" y="252"/>
                  </a:cubicBezTo>
                  <a:cubicBezTo>
                    <a:pt x="517" y="252"/>
                    <a:pt x="526" y="244"/>
                    <a:pt x="521" y="243"/>
                  </a:cubicBezTo>
                  <a:cubicBezTo>
                    <a:pt x="520" y="242"/>
                    <a:pt x="516" y="244"/>
                    <a:pt x="514" y="244"/>
                  </a:cubicBezTo>
                  <a:cubicBezTo>
                    <a:pt x="513" y="242"/>
                    <a:pt x="511" y="239"/>
                    <a:pt x="514" y="239"/>
                  </a:cubicBezTo>
                  <a:cubicBezTo>
                    <a:pt x="512" y="238"/>
                    <a:pt x="511" y="238"/>
                    <a:pt x="510" y="237"/>
                  </a:cubicBezTo>
                  <a:cubicBezTo>
                    <a:pt x="510" y="236"/>
                    <a:pt x="511" y="236"/>
                    <a:pt x="510" y="235"/>
                  </a:cubicBezTo>
                  <a:cubicBezTo>
                    <a:pt x="508" y="234"/>
                    <a:pt x="506" y="234"/>
                    <a:pt x="504" y="234"/>
                  </a:cubicBezTo>
                  <a:cubicBezTo>
                    <a:pt x="503" y="235"/>
                    <a:pt x="503" y="236"/>
                    <a:pt x="502" y="236"/>
                  </a:cubicBezTo>
                  <a:cubicBezTo>
                    <a:pt x="502" y="236"/>
                    <a:pt x="500" y="234"/>
                    <a:pt x="500" y="234"/>
                  </a:cubicBezTo>
                  <a:cubicBezTo>
                    <a:pt x="496" y="232"/>
                    <a:pt x="493" y="233"/>
                    <a:pt x="488" y="233"/>
                  </a:cubicBezTo>
                  <a:cubicBezTo>
                    <a:pt x="488" y="234"/>
                    <a:pt x="490" y="234"/>
                    <a:pt x="490" y="235"/>
                  </a:cubicBezTo>
                  <a:cubicBezTo>
                    <a:pt x="490" y="235"/>
                    <a:pt x="489" y="241"/>
                    <a:pt x="490" y="244"/>
                  </a:cubicBezTo>
                  <a:cubicBezTo>
                    <a:pt x="492" y="245"/>
                    <a:pt x="492" y="245"/>
                    <a:pt x="492" y="245"/>
                  </a:cubicBezTo>
                  <a:cubicBezTo>
                    <a:pt x="493" y="246"/>
                    <a:pt x="494" y="247"/>
                    <a:pt x="494" y="247"/>
                  </a:cubicBezTo>
                  <a:cubicBezTo>
                    <a:pt x="493" y="247"/>
                    <a:pt x="493" y="249"/>
                    <a:pt x="493" y="249"/>
                  </a:cubicBezTo>
                  <a:cubicBezTo>
                    <a:pt x="493" y="250"/>
                    <a:pt x="494" y="250"/>
                    <a:pt x="494" y="251"/>
                  </a:cubicBezTo>
                  <a:cubicBezTo>
                    <a:pt x="494" y="251"/>
                    <a:pt x="493" y="250"/>
                    <a:pt x="492" y="251"/>
                  </a:cubicBezTo>
                  <a:cubicBezTo>
                    <a:pt x="492" y="252"/>
                    <a:pt x="492" y="252"/>
                    <a:pt x="492" y="252"/>
                  </a:cubicBezTo>
                  <a:cubicBezTo>
                    <a:pt x="494" y="252"/>
                    <a:pt x="492" y="253"/>
                    <a:pt x="492" y="253"/>
                  </a:cubicBezTo>
                  <a:cubicBezTo>
                    <a:pt x="492" y="253"/>
                    <a:pt x="489" y="253"/>
                    <a:pt x="488" y="253"/>
                  </a:cubicBezTo>
                  <a:cubicBezTo>
                    <a:pt x="487" y="255"/>
                    <a:pt x="487" y="258"/>
                    <a:pt x="486" y="260"/>
                  </a:cubicBezTo>
                  <a:cubicBezTo>
                    <a:pt x="486" y="260"/>
                    <a:pt x="485" y="261"/>
                    <a:pt x="485" y="261"/>
                  </a:cubicBezTo>
                  <a:cubicBezTo>
                    <a:pt x="485" y="262"/>
                    <a:pt x="486" y="262"/>
                    <a:pt x="486" y="263"/>
                  </a:cubicBezTo>
                  <a:cubicBezTo>
                    <a:pt x="486" y="263"/>
                    <a:pt x="484" y="264"/>
                    <a:pt x="484" y="264"/>
                  </a:cubicBezTo>
                  <a:cubicBezTo>
                    <a:pt x="483" y="264"/>
                    <a:pt x="483" y="266"/>
                    <a:pt x="483" y="267"/>
                  </a:cubicBezTo>
                  <a:cubicBezTo>
                    <a:pt x="482" y="268"/>
                    <a:pt x="478" y="270"/>
                    <a:pt x="479" y="274"/>
                  </a:cubicBezTo>
                  <a:cubicBezTo>
                    <a:pt x="479" y="274"/>
                    <a:pt x="480" y="275"/>
                    <a:pt x="480" y="276"/>
                  </a:cubicBezTo>
                  <a:cubicBezTo>
                    <a:pt x="478" y="277"/>
                    <a:pt x="477" y="277"/>
                    <a:pt x="474" y="278"/>
                  </a:cubicBezTo>
                  <a:cubicBezTo>
                    <a:pt x="475" y="278"/>
                    <a:pt x="475" y="280"/>
                    <a:pt x="475" y="281"/>
                  </a:cubicBezTo>
                  <a:cubicBezTo>
                    <a:pt x="473" y="281"/>
                    <a:pt x="473" y="279"/>
                    <a:pt x="472" y="279"/>
                  </a:cubicBezTo>
                  <a:cubicBezTo>
                    <a:pt x="471" y="279"/>
                    <a:pt x="471" y="279"/>
                    <a:pt x="469" y="280"/>
                  </a:cubicBezTo>
                  <a:cubicBezTo>
                    <a:pt x="468" y="278"/>
                    <a:pt x="467" y="274"/>
                    <a:pt x="466" y="273"/>
                  </a:cubicBezTo>
                  <a:cubicBezTo>
                    <a:pt x="465" y="272"/>
                    <a:pt x="463" y="272"/>
                    <a:pt x="463" y="272"/>
                  </a:cubicBezTo>
                  <a:cubicBezTo>
                    <a:pt x="462" y="271"/>
                    <a:pt x="459" y="265"/>
                    <a:pt x="459" y="264"/>
                  </a:cubicBezTo>
                  <a:cubicBezTo>
                    <a:pt x="460" y="263"/>
                    <a:pt x="460" y="261"/>
                    <a:pt x="462" y="261"/>
                  </a:cubicBezTo>
                  <a:cubicBezTo>
                    <a:pt x="463" y="261"/>
                    <a:pt x="463" y="261"/>
                    <a:pt x="463" y="261"/>
                  </a:cubicBezTo>
                  <a:cubicBezTo>
                    <a:pt x="463" y="259"/>
                    <a:pt x="462" y="257"/>
                    <a:pt x="463" y="255"/>
                  </a:cubicBezTo>
                  <a:cubicBezTo>
                    <a:pt x="463" y="255"/>
                    <a:pt x="464" y="254"/>
                    <a:pt x="464" y="253"/>
                  </a:cubicBezTo>
                  <a:cubicBezTo>
                    <a:pt x="466" y="251"/>
                    <a:pt x="466" y="251"/>
                    <a:pt x="466" y="251"/>
                  </a:cubicBezTo>
                  <a:cubicBezTo>
                    <a:pt x="466" y="250"/>
                    <a:pt x="465" y="248"/>
                    <a:pt x="465" y="248"/>
                  </a:cubicBezTo>
                  <a:cubicBezTo>
                    <a:pt x="464" y="246"/>
                    <a:pt x="463" y="243"/>
                    <a:pt x="462" y="241"/>
                  </a:cubicBezTo>
                  <a:cubicBezTo>
                    <a:pt x="460" y="242"/>
                    <a:pt x="455" y="243"/>
                    <a:pt x="454" y="245"/>
                  </a:cubicBezTo>
                  <a:cubicBezTo>
                    <a:pt x="453" y="246"/>
                    <a:pt x="453" y="250"/>
                    <a:pt x="453" y="251"/>
                  </a:cubicBezTo>
                  <a:cubicBezTo>
                    <a:pt x="454" y="251"/>
                    <a:pt x="453" y="255"/>
                    <a:pt x="453" y="257"/>
                  </a:cubicBezTo>
                  <a:cubicBezTo>
                    <a:pt x="452" y="257"/>
                    <a:pt x="452" y="256"/>
                    <a:pt x="451" y="257"/>
                  </a:cubicBezTo>
                  <a:cubicBezTo>
                    <a:pt x="449" y="258"/>
                    <a:pt x="449" y="258"/>
                    <a:pt x="449" y="258"/>
                  </a:cubicBezTo>
                  <a:cubicBezTo>
                    <a:pt x="448" y="264"/>
                    <a:pt x="451" y="262"/>
                    <a:pt x="445" y="262"/>
                  </a:cubicBezTo>
                  <a:cubicBezTo>
                    <a:pt x="445" y="261"/>
                    <a:pt x="445" y="261"/>
                    <a:pt x="445" y="261"/>
                  </a:cubicBezTo>
                  <a:cubicBezTo>
                    <a:pt x="445" y="261"/>
                    <a:pt x="446" y="259"/>
                    <a:pt x="446" y="258"/>
                  </a:cubicBezTo>
                  <a:cubicBezTo>
                    <a:pt x="446" y="257"/>
                    <a:pt x="444" y="254"/>
                    <a:pt x="444" y="253"/>
                  </a:cubicBezTo>
                  <a:cubicBezTo>
                    <a:pt x="443" y="252"/>
                    <a:pt x="443" y="252"/>
                    <a:pt x="442" y="251"/>
                  </a:cubicBezTo>
                  <a:cubicBezTo>
                    <a:pt x="445" y="251"/>
                    <a:pt x="441" y="246"/>
                    <a:pt x="441" y="246"/>
                  </a:cubicBezTo>
                  <a:cubicBezTo>
                    <a:pt x="440" y="246"/>
                    <a:pt x="440" y="244"/>
                    <a:pt x="440" y="242"/>
                  </a:cubicBezTo>
                  <a:cubicBezTo>
                    <a:pt x="437" y="242"/>
                    <a:pt x="434" y="242"/>
                    <a:pt x="431" y="241"/>
                  </a:cubicBezTo>
                  <a:cubicBezTo>
                    <a:pt x="431" y="240"/>
                    <a:pt x="430" y="238"/>
                    <a:pt x="429" y="238"/>
                  </a:cubicBezTo>
                  <a:cubicBezTo>
                    <a:pt x="429" y="238"/>
                    <a:pt x="427" y="238"/>
                    <a:pt x="427" y="237"/>
                  </a:cubicBezTo>
                  <a:cubicBezTo>
                    <a:pt x="426" y="237"/>
                    <a:pt x="426" y="236"/>
                    <a:pt x="426" y="235"/>
                  </a:cubicBezTo>
                  <a:cubicBezTo>
                    <a:pt x="425" y="235"/>
                    <a:pt x="425" y="235"/>
                    <a:pt x="425" y="235"/>
                  </a:cubicBezTo>
                  <a:cubicBezTo>
                    <a:pt x="426" y="235"/>
                    <a:pt x="427" y="233"/>
                    <a:pt x="427" y="233"/>
                  </a:cubicBezTo>
                  <a:cubicBezTo>
                    <a:pt x="428" y="232"/>
                    <a:pt x="429" y="233"/>
                    <a:pt x="429" y="233"/>
                  </a:cubicBezTo>
                  <a:cubicBezTo>
                    <a:pt x="429" y="233"/>
                    <a:pt x="432" y="230"/>
                    <a:pt x="433" y="230"/>
                  </a:cubicBezTo>
                  <a:cubicBezTo>
                    <a:pt x="433" y="230"/>
                    <a:pt x="433" y="227"/>
                    <a:pt x="433" y="227"/>
                  </a:cubicBezTo>
                  <a:cubicBezTo>
                    <a:pt x="433" y="227"/>
                    <a:pt x="430" y="227"/>
                    <a:pt x="431" y="227"/>
                  </a:cubicBezTo>
                  <a:cubicBezTo>
                    <a:pt x="430" y="228"/>
                    <a:pt x="429" y="228"/>
                    <a:pt x="428" y="229"/>
                  </a:cubicBezTo>
                  <a:cubicBezTo>
                    <a:pt x="429" y="227"/>
                    <a:pt x="429" y="225"/>
                    <a:pt x="430" y="223"/>
                  </a:cubicBezTo>
                  <a:cubicBezTo>
                    <a:pt x="430" y="223"/>
                    <a:pt x="431" y="223"/>
                    <a:pt x="431" y="223"/>
                  </a:cubicBezTo>
                  <a:cubicBezTo>
                    <a:pt x="433" y="225"/>
                    <a:pt x="433" y="225"/>
                    <a:pt x="433" y="225"/>
                  </a:cubicBezTo>
                  <a:cubicBezTo>
                    <a:pt x="434" y="225"/>
                    <a:pt x="436" y="225"/>
                    <a:pt x="437" y="225"/>
                  </a:cubicBezTo>
                  <a:cubicBezTo>
                    <a:pt x="437" y="220"/>
                    <a:pt x="437" y="220"/>
                    <a:pt x="437" y="220"/>
                  </a:cubicBezTo>
                  <a:cubicBezTo>
                    <a:pt x="436" y="220"/>
                    <a:pt x="435" y="220"/>
                    <a:pt x="435" y="221"/>
                  </a:cubicBezTo>
                  <a:cubicBezTo>
                    <a:pt x="433" y="217"/>
                    <a:pt x="433" y="217"/>
                    <a:pt x="433" y="217"/>
                  </a:cubicBezTo>
                  <a:cubicBezTo>
                    <a:pt x="431" y="216"/>
                    <a:pt x="430" y="217"/>
                    <a:pt x="429" y="217"/>
                  </a:cubicBezTo>
                  <a:cubicBezTo>
                    <a:pt x="428" y="216"/>
                    <a:pt x="426" y="213"/>
                    <a:pt x="425" y="212"/>
                  </a:cubicBezTo>
                  <a:cubicBezTo>
                    <a:pt x="423" y="212"/>
                    <a:pt x="422" y="212"/>
                    <a:pt x="421" y="212"/>
                  </a:cubicBezTo>
                  <a:cubicBezTo>
                    <a:pt x="421" y="211"/>
                    <a:pt x="421" y="211"/>
                    <a:pt x="421" y="211"/>
                  </a:cubicBezTo>
                  <a:cubicBezTo>
                    <a:pt x="419" y="211"/>
                    <a:pt x="418" y="209"/>
                    <a:pt x="417" y="209"/>
                  </a:cubicBezTo>
                  <a:cubicBezTo>
                    <a:pt x="417" y="209"/>
                    <a:pt x="416" y="209"/>
                    <a:pt x="415" y="209"/>
                  </a:cubicBezTo>
                  <a:cubicBezTo>
                    <a:pt x="415" y="207"/>
                    <a:pt x="415" y="207"/>
                    <a:pt x="415" y="207"/>
                  </a:cubicBezTo>
                  <a:cubicBezTo>
                    <a:pt x="411" y="203"/>
                    <a:pt x="411" y="203"/>
                    <a:pt x="411" y="203"/>
                  </a:cubicBezTo>
                  <a:cubicBezTo>
                    <a:pt x="410" y="204"/>
                    <a:pt x="410" y="204"/>
                    <a:pt x="409" y="204"/>
                  </a:cubicBezTo>
                  <a:cubicBezTo>
                    <a:pt x="409" y="204"/>
                    <a:pt x="409" y="202"/>
                    <a:pt x="409" y="201"/>
                  </a:cubicBezTo>
                  <a:cubicBezTo>
                    <a:pt x="407" y="201"/>
                    <a:pt x="408" y="203"/>
                    <a:pt x="406" y="202"/>
                  </a:cubicBezTo>
                  <a:cubicBezTo>
                    <a:pt x="406" y="202"/>
                    <a:pt x="406" y="200"/>
                    <a:pt x="406" y="199"/>
                  </a:cubicBezTo>
                  <a:cubicBezTo>
                    <a:pt x="407" y="199"/>
                    <a:pt x="408" y="199"/>
                    <a:pt x="409" y="199"/>
                  </a:cubicBezTo>
                  <a:cubicBezTo>
                    <a:pt x="408" y="199"/>
                    <a:pt x="409" y="198"/>
                    <a:pt x="409" y="198"/>
                  </a:cubicBezTo>
                  <a:cubicBezTo>
                    <a:pt x="410" y="198"/>
                    <a:pt x="408" y="197"/>
                    <a:pt x="408" y="197"/>
                  </a:cubicBezTo>
                  <a:cubicBezTo>
                    <a:pt x="408" y="197"/>
                    <a:pt x="409" y="195"/>
                    <a:pt x="409" y="195"/>
                  </a:cubicBezTo>
                  <a:cubicBezTo>
                    <a:pt x="410" y="194"/>
                    <a:pt x="411" y="194"/>
                    <a:pt x="413" y="193"/>
                  </a:cubicBezTo>
                  <a:cubicBezTo>
                    <a:pt x="413" y="193"/>
                    <a:pt x="413" y="193"/>
                    <a:pt x="413" y="193"/>
                  </a:cubicBezTo>
                  <a:cubicBezTo>
                    <a:pt x="414" y="192"/>
                    <a:pt x="410" y="190"/>
                    <a:pt x="409" y="189"/>
                  </a:cubicBezTo>
                  <a:cubicBezTo>
                    <a:pt x="410" y="189"/>
                    <a:pt x="409" y="187"/>
                    <a:pt x="409" y="187"/>
                  </a:cubicBezTo>
                  <a:cubicBezTo>
                    <a:pt x="409" y="187"/>
                    <a:pt x="411" y="187"/>
                    <a:pt x="410" y="186"/>
                  </a:cubicBezTo>
                  <a:cubicBezTo>
                    <a:pt x="411" y="186"/>
                    <a:pt x="411" y="185"/>
                    <a:pt x="411" y="185"/>
                  </a:cubicBezTo>
                  <a:cubicBezTo>
                    <a:pt x="414" y="184"/>
                    <a:pt x="417" y="185"/>
                    <a:pt x="420" y="185"/>
                  </a:cubicBezTo>
                  <a:cubicBezTo>
                    <a:pt x="423" y="185"/>
                    <a:pt x="431" y="183"/>
                    <a:pt x="434" y="182"/>
                  </a:cubicBezTo>
                  <a:cubicBezTo>
                    <a:pt x="436" y="181"/>
                    <a:pt x="436" y="178"/>
                    <a:pt x="438" y="177"/>
                  </a:cubicBezTo>
                  <a:cubicBezTo>
                    <a:pt x="439" y="176"/>
                    <a:pt x="440" y="176"/>
                    <a:pt x="441" y="175"/>
                  </a:cubicBezTo>
                  <a:cubicBezTo>
                    <a:pt x="441" y="174"/>
                    <a:pt x="440" y="173"/>
                    <a:pt x="441" y="172"/>
                  </a:cubicBezTo>
                  <a:cubicBezTo>
                    <a:pt x="441" y="172"/>
                    <a:pt x="442" y="172"/>
                    <a:pt x="442" y="171"/>
                  </a:cubicBezTo>
                  <a:cubicBezTo>
                    <a:pt x="443" y="170"/>
                    <a:pt x="443" y="168"/>
                    <a:pt x="444" y="166"/>
                  </a:cubicBezTo>
                  <a:cubicBezTo>
                    <a:pt x="438" y="165"/>
                    <a:pt x="436" y="164"/>
                    <a:pt x="430" y="164"/>
                  </a:cubicBezTo>
                  <a:cubicBezTo>
                    <a:pt x="429" y="165"/>
                    <a:pt x="430" y="165"/>
                    <a:pt x="429" y="166"/>
                  </a:cubicBezTo>
                  <a:cubicBezTo>
                    <a:pt x="428" y="165"/>
                    <a:pt x="428" y="163"/>
                    <a:pt x="427" y="163"/>
                  </a:cubicBezTo>
                  <a:cubicBezTo>
                    <a:pt x="425" y="161"/>
                    <a:pt x="416" y="160"/>
                    <a:pt x="412" y="160"/>
                  </a:cubicBezTo>
                  <a:cubicBezTo>
                    <a:pt x="411" y="161"/>
                    <a:pt x="410" y="163"/>
                    <a:pt x="409" y="165"/>
                  </a:cubicBezTo>
                  <a:cubicBezTo>
                    <a:pt x="408" y="164"/>
                    <a:pt x="408" y="164"/>
                    <a:pt x="407" y="163"/>
                  </a:cubicBezTo>
                  <a:cubicBezTo>
                    <a:pt x="404" y="163"/>
                    <a:pt x="402" y="163"/>
                    <a:pt x="399" y="164"/>
                  </a:cubicBezTo>
                  <a:cubicBezTo>
                    <a:pt x="401" y="170"/>
                    <a:pt x="401" y="168"/>
                    <a:pt x="397" y="168"/>
                  </a:cubicBezTo>
                  <a:cubicBezTo>
                    <a:pt x="397" y="168"/>
                    <a:pt x="397" y="171"/>
                    <a:pt x="397" y="171"/>
                  </a:cubicBezTo>
                  <a:cubicBezTo>
                    <a:pt x="398" y="172"/>
                    <a:pt x="398" y="172"/>
                    <a:pt x="398" y="172"/>
                  </a:cubicBezTo>
                  <a:cubicBezTo>
                    <a:pt x="398" y="172"/>
                    <a:pt x="397" y="173"/>
                    <a:pt x="397" y="174"/>
                  </a:cubicBezTo>
                  <a:cubicBezTo>
                    <a:pt x="397" y="175"/>
                    <a:pt x="399" y="177"/>
                    <a:pt x="399" y="177"/>
                  </a:cubicBezTo>
                  <a:cubicBezTo>
                    <a:pt x="400" y="179"/>
                    <a:pt x="399" y="180"/>
                    <a:pt x="400" y="183"/>
                  </a:cubicBezTo>
                  <a:cubicBezTo>
                    <a:pt x="401" y="183"/>
                    <a:pt x="401" y="183"/>
                    <a:pt x="401" y="183"/>
                  </a:cubicBezTo>
                  <a:cubicBezTo>
                    <a:pt x="402" y="184"/>
                    <a:pt x="401" y="185"/>
                    <a:pt x="401" y="186"/>
                  </a:cubicBezTo>
                  <a:cubicBezTo>
                    <a:pt x="400" y="187"/>
                    <a:pt x="400" y="187"/>
                    <a:pt x="399" y="188"/>
                  </a:cubicBezTo>
                  <a:cubicBezTo>
                    <a:pt x="400" y="189"/>
                    <a:pt x="402" y="190"/>
                    <a:pt x="403" y="191"/>
                  </a:cubicBezTo>
                  <a:cubicBezTo>
                    <a:pt x="403" y="192"/>
                    <a:pt x="401" y="199"/>
                    <a:pt x="403" y="199"/>
                  </a:cubicBezTo>
                  <a:cubicBezTo>
                    <a:pt x="403" y="199"/>
                    <a:pt x="401" y="200"/>
                    <a:pt x="402" y="201"/>
                  </a:cubicBezTo>
                  <a:cubicBezTo>
                    <a:pt x="401" y="201"/>
                    <a:pt x="400" y="201"/>
                    <a:pt x="399" y="201"/>
                  </a:cubicBezTo>
                  <a:cubicBezTo>
                    <a:pt x="398" y="202"/>
                    <a:pt x="397" y="204"/>
                    <a:pt x="397" y="205"/>
                  </a:cubicBezTo>
                  <a:cubicBezTo>
                    <a:pt x="399" y="206"/>
                    <a:pt x="400" y="207"/>
                    <a:pt x="401" y="209"/>
                  </a:cubicBezTo>
                  <a:cubicBezTo>
                    <a:pt x="401" y="209"/>
                    <a:pt x="400" y="210"/>
                    <a:pt x="399" y="209"/>
                  </a:cubicBezTo>
                  <a:cubicBezTo>
                    <a:pt x="399" y="209"/>
                    <a:pt x="397" y="208"/>
                    <a:pt x="397" y="207"/>
                  </a:cubicBezTo>
                  <a:cubicBezTo>
                    <a:pt x="397" y="207"/>
                    <a:pt x="395" y="207"/>
                    <a:pt x="395" y="207"/>
                  </a:cubicBezTo>
                  <a:cubicBezTo>
                    <a:pt x="394" y="208"/>
                    <a:pt x="395" y="209"/>
                    <a:pt x="395" y="210"/>
                  </a:cubicBezTo>
                  <a:cubicBezTo>
                    <a:pt x="395" y="210"/>
                    <a:pt x="393" y="211"/>
                    <a:pt x="393" y="211"/>
                  </a:cubicBezTo>
                  <a:cubicBezTo>
                    <a:pt x="392" y="211"/>
                    <a:pt x="393" y="213"/>
                    <a:pt x="392" y="213"/>
                  </a:cubicBezTo>
                  <a:cubicBezTo>
                    <a:pt x="392" y="212"/>
                    <a:pt x="393" y="215"/>
                    <a:pt x="393" y="215"/>
                  </a:cubicBezTo>
                  <a:cubicBezTo>
                    <a:pt x="392" y="215"/>
                    <a:pt x="392" y="215"/>
                    <a:pt x="392" y="215"/>
                  </a:cubicBezTo>
                  <a:cubicBezTo>
                    <a:pt x="393" y="220"/>
                    <a:pt x="392" y="219"/>
                    <a:pt x="395" y="222"/>
                  </a:cubicBezTo>
                  <a:cubicBezTo>
                    <a:pt x="393" y="222"/>
                    <a:pt x="392" y="222"/>
                    <a:pt x="389" y="223"/>
                  </a:cubicBezTo>
                  <a:cubicBezTo>
                    <a:pt x="390" y="224"/>
                    <a:pt x="389" y="226"/>
                    <a:pt x="391" y="225"/>
                  </a:cubicBezTo>
                  <a:cubicBezTo>
                    <a:pt x="390" y="227"/>
                    <a:pt x="390" y="227"/>
                    <a:pt x="390" y="227"/>
                  </a:cubicBezTo>
                  <a:cubicBezTo>
                    <a:pt x="393" y="230"/>
                    <a:pt x="393" y="230"/>
                    <a:pt x="393" y="230"/>
                  </a:cubicBezTo>
                  <a:cubicBezTo>
                    <a:pt x="394" y="230"/>
                    <a:pt x="395" y="230"/>
                    <a:pt x="396" y="230"/>
                  </a:cubicBezTo>
                  <a:cubicBezTo>
                    <a:pt x="397" y="230"/>
                    <a:pt x="396" y="232"/>
                    <a:pt x="396" y="232"/>
                  </a:cubicBezTo>
                  <a:cubicBezTo>
                    <a:pt x="396" y="232"/>
                    <a:pt x="394" y="233"/>
                    <a:pt x="394" y="233"/>
                  </a:cubicBezTo>
                  <a:cubicBezTo>
                    <a:pt x="394" y="235"/>
                    <a:pt x="393" y="238"/>
                    <a:pt x="395" y="237"/>
                  </a:cubicBezTo>
                  <a:cubicBezTo>
                    <a:pt x="395" y="237"/>
                    <a:pt x="397" y="235"/>
                    <a:pt x="396" y="235"/>
                  </a:cubicBezTo>
                  <a:cubicBezTo>
                    <a:pt x="398" y="236"/>
                    <a:pt x="396" y="236"/>
                    <a:pt x="397" y="237"/>
                  </a:cubicBezTo>
                  <a:cubicBezTo>
                    <a:pt x="397" y="237"/>
                    <a:pt x="400" y="236"/>
                    <a:pt x="399" y="235"/>
                  </a:cubicBezTo>
                  <a:cubicBezTo>
                    <a:pt x="399" y="234"/>
                    <a:pt x="398" y="233"/>
                    <a:pt x="399" y="232"/>
                  </a:cubicBezTo>
                  <a:cubicBezTo>
                    <a:pt x="400" y="231"/>
                    <a:pt x="400" y="231"/>
                    <a:pt x="400" y="231"/>
                  </a:cubicBezTo>
                  <a:cubicBezTo>
                    <a:pt x="405" y="233"/>
                    <a:pt x="407" y="236"/>
                    <a:pt x="409" y="240"/>
                  </a:cubicBezTo>
                  <a:cubicBezTo>
                    <a:pt x="411" y="239"/>
                    <a:pt x="412" y="240"/>
                    <a:pt x="414" y="239"/>
                  </a:cubicBezTo>
                  <a:cubicBezTo>
                    <a:pt x="416" y="238"/>
                    <a:pt x="418" y="235"/>
                    <a:pt x="421" y="235"/>
                  </a:cubicBezTo>
                  <a:cubicBezTo>
                    <a:pt x="422" y="234"/>
                    <a:pt x="422" y="235"/>
                    <a:pt x="423" y="235"/>
                  </a:cubicBezTo>
                  <a:cubicBezTo>
                    <a:pt x="423" y="235"/>
                    <a:pt x="423" y="237"/>
                    <a:pt x="423" y="237"/>
                  </a:cubicBezTo>
                  <a:cubicBezTo>
                    <a:pt x="422" y="237"/>
                    <a:pt x="420" y="237"/>
                    <a:pt x="419" y="237"/>
                  </a:cubicBezTo>
                  <a:cubicBezTo>
                    <a:pt x="418" y="237"/>
                    <a:pt x="417" y="238"/>
                    <a:pt x="417" y="239"/>
                  </a:cubicBezTo>
                  <a:cubicBezTo>
                    <a:pt x="416" y="241"/>
                    <a:pt x="417" y="243"/>
                    <a:pt x="417" y="245"/>
                  </a:cubicBezTo>
                  <a:cubicBezTo>
                    <a:pt x="415" y="245"/>
                    <a:pt x="411" y="243"/>
                    <a:pt x="410" y="243"/>
                  </a:cubicBezTo>
                  <a:cubicBezTo>
                    <a:pt x="409" y="243"/>
                    <a:pt x="408" y="245"/>
                    <a:pt x="407" y="245"/>
                  </a:cubicBezTo>
                  <a:cubicBezTo>
                    <a:pt x="407" y="246"/>
                    <a:pt x="408" y="247"/>
                    <a:pt x="407" y="247"/>
                  </a:cubicBezTo>
                  <a:cubicBezTo>
                    <a:pt x="407" y="247"/>
                    <a:pt x="409" y="250"/>
                    <a:pt x="409" y="250"/>
                  </a:cubicBezTo>
                  <a:cubicBezTo>
                    <a:pt x="407" y="251"/>
                    <a:pt x="406" y="256"/>
                    <a:pt x="411" y="255"/>
                  </a:cubicBezTo>
                  <a:cubicBezTo>
                    <a:pt x="412" y="255"/>
                    <a:pt x="414" y="252"/>
                    <a:pt x="415" y="252"/>
                  </a:cubicBezTo>
                  <a:cubicBezTo>
                    <a:pt x="414" y="254"/>
                    <a:pt x="414" y="254"/>
                    <a:pt x="415" y="255"/>
                  </a:cubicBezTo>
                  <a:cubicBezTo>
                    <a:pt x="415" y="256"/>
                    <a:pt x="415" y="255"/>
                    <a:pt x="415" y="257"/>
                  </a:cubicBezTo>
                  <a:cubicBezTo>
                    <a:pt x="414" y="257"/>
                    <a:pt x="411" y="259"/>
                    <a:pt x="409" y="259"/>
                  </a:cubicBezTo>
                  <a:cubicBezTo>
                    <a:pt x="409" y="259"/>
                    <a:pt x="407" y="259"/>
                    <a:pt x="407" y="259"/>
                  </a:cubicBezTo>
                  <a:cubicBezTo>
                    <a:pt x="404" y="260"/>
                    <a:pt x="404" y="265"/>
                    <a:pt x="401" y="267"/>
                  </a:cubicBezTo>
                  <a:cubicBezTo>
                    <a:pt x="401" y="267"/>
                    <a:pt x="398" y="266"/>
                    <a:pt x="397" y="266"/>
                  </a:cubicBezTo>
                  <a:cubicBezTo>
                    <a:pt x="397" y="267"/>
                    <a:pt x="397" y="267"/>
                    <a:pt x="397" y="267"/>
                  </a:cubicBezTo>
                  <a:cubicBezTo>
                    <a:pt x="398" y="267"/>
                    <a:pt x="398" y="267"/>
                    <a:pt x="398" y="268"/>
                  </a:cubicBezTo>
                  <a:cubicBezTo>
                    <a:pt x="398" y="268"/>
                    <a:pt x="396" y="269"/>
                    <a:pt x="396" y="269"/>
                  </a:cubicBezTo>
                  <a:cubicBezTo>
                    <a:pt x="396" y="270"/>
                    <a:pt x="396" y="271"/>
                    <a:pt x="396" y="272"/>
                  </a:cubicBezTo>
                  <a:cubicBezTo>
                    <a:pt x="396" y="272"/>
                    <a:pt x="393" y="273"/>
                    <a:pt x="393" y="273"/>
                  </a:cubicBezTo>
                  <a:cubicBezTo>
                    <a:pt x="393" y="275"/>
                    <a:pt x="393" y="275"/>
                    <a:pt x="393" y="275"/>
                  </a:cubicBezTo>
                  <a:cubicBezTo>
                    <a:pt x="394" y="275"/>
                    <a:pt x="396" y="275"/>
                    <a:pt x="397" y="276"/>
                  </a:cubicBezTo>
                  <a:cubicBezTo>
                    <a:pt x="397" y="277"/>
                    <a:pt x="396" y="278"/>
                    <a:pt x="396" y="279"/>
                  </a:cubicBezTo>
                  <a:cubicBezTo>
                    <a:pt x="397" y="280"/>
                    <a:pt x="398" y="280"/>
                    <a:pt x="400" y="281"/>
                  </a:cubicBezTo>
                  <a:cubicBezTo>
                    <a:pt x="400" y="282"/>
                    <a:pt x="400" y="282"/>
                    <a:pt x="400" y="282"/>
                  </a:cubicBezTo>
                  <a:cubicBezTo>
                    <a:pt x="399" y="282"/>
                    <a:pt x="399" y="282"/>
                    <a:pt x="399" y="282"/>
                  </a:cubicBezTo>
                  <a:cubicBezTo>
                    <a:pt x="398" y="283"/>
                    <a:pt x="398" y="283"/>
                    <a:pt x="398" y="283"/>
                  </a:cubicBezTo>
                  <a:cubicBezTo>
                    <a:pt x="397" y="283"/>
                    <a:pt x="393" y="280"/>
                    <a:pt x="391" y="280"/>
                  </a:cubicBezTo>
                  <a:cubicBezTo>
                    <a:pt x="392" y="280"/>
                    <a:pt x="392" y="278"/>
                    <a:pt x="391" y="278"/>
                  </a:cubicBezTo>
                  <a:cubicBezTo>
                    <a:pt x="391" y="278"/>
                    <a:pt x="390" y="278"/>
                    <a:pt x="389" y="278"/>
                  </a:cubicBezTo>
                  <a:cubicBezTo>
                    <a:pt x="388" y="277"/>
                    <a:pt x="386" y="275"/>
                    <a:pt x="385" y="274"/>
                  </a:cubicBezTo>
                  <a:cubicBezTo>
                    <a:pt x="387" y="271"/>
                    <a:pt x="387" y="268"/>
                    <a:pt x="388" y="263"/>
                  </a:cubicBezTo>
                  <a:cubicBezTo>
                    <a:pt x="388" y="263"/>
                    <a:pt x="386" y="264"/>
                    <a:pt x="387" y="265"/>
                  </a:cubicBezTo>
                  <a:cubicBezTo>
                    <a:pt x="386" y="265"/>
                    <a:pt x="386" y="263"/>
                    <a:pt x="387" y="263"/>
                  </a:cubicBezTo>
                  <a:cubicBezTo>
                    <a:pt x="386" y="260"/>
                    <a:pt x="386" y="260"/>
                    <a:pt x="386" y="260"/>
                  </a:cubicBezTo>
                  <a:cubicBezTo>
                    <a:pt x="386" y="261"/>
                    <a:pt x="384" y="261"/>
                    <a:pt x="384" y="262"/>
                  </a:cubicBezTo>
                  <a:cubicBezTo>
                    <a:pt x="384" y="263"/>
                    <a:pt x="384" y="263"/>
                    <a:pt x="384" y="263"/>
                  </a:cubicBezTo>
                  <a:cubicBezTo>
                    <a:pt x="384" y="263"/>
                    <a:pt x="379" y="262"/>
                    <a:pt x="381" y="262"/>
                  </a:cubicBezTo>
                  <a:cubicBezTo>
                    <a:pt x="381" y="262"/>
                    <a:pt x="380" y="261"/>
                    <a:pt x="379" y="261"/>
                  </a:cubicBezTo>
                  <a:cubicBezTo>
                    <a:pt x="379" y="259"/>
                    <a:pt x="379" y="259"/>
                    <a:pt x="379" y="259"/>
                  </a:cubicBezTo>
                  <a:cubicBezTo>
                    <a:pt x="379" y="259"/>
                    <a:pt x="378" y="259"/>
                    <a:pt x="377" y="259"/>
                  </a:cubicBezTo>
                  <a:cubicBezTo>
                    <a:pt x="376" y="259"/>
                    <a:pt x="374" y="257"/>
                    <a:pt x="373" y="256"/>
                  </a:cubicBezTo>
                  <a:cubicBezTo>
                    <a:pt x="372" y="256"/>
                    <a:pt x="372" y="259"/>
                    <a:pt x="373" y="259"/>
                  </a:cubicBezTo>
                  <a:cubicBezTo>
                    <a:pt x="373" y="259"/>
                    <a:pt x="371" y="259"/>
                    <a:pt x="371" y="259"/>
                  </a:cubicBezTo>
                  <a:cubicBezTo>
                    <a:pt x="371" y="261"/>
                    <a:pt x="371" y="266"/>
                    <a:pt x="373" y="267"/>
                  </a:cubicBezTo>
                  <a:cubicBezTo>
                    <a:pt x="373" y="268"/>
                    <a:pt x="372" y="268"/>
                    <a:pt x="372" y="269"/>
                  </a:cubicBezTo>
                  <a:cubicBezTo>
                    <a:pt x="371" y="269"/>
                    <a:pt x="371" y="268"/>
                    <a:pt x="369" y="268"/>
                  </a:cubicBezTo>
                  <a:cubicBezTo>
                    <a:pt x="368" y="268"/>
                    <a:pt x="368" y="270"/>
                    <a:pt x="367" y="271"/>
                  </a:cubicBezTo>
                  <a:cubicBezTo>
                    <a:pt x="366" y="271"/>
                    <a:pt x="364" y="269"/>
                    <a:pt x="363" y="269"/>
                  </a:cubicBezTo>
                  <a:cubicBezTo>
                    <a:pt x="353" y="268"/>
                    <a:pt x="351" y="266"/>
                    <a:pt x="344" y="272"/>
                  </a:cubicBezTo>
                  <a:cubicBezTo>
                    <a:pt x="344" y="271"/>
                    <a:pt x="344" y="271"/>
                    <a:pt x="344" y="271"/>
                  </a:cubicBezTo>
                  <a:cubicBezTo>
                    <a:pt x="343" y="271"/>
                    <a:pt x="342" y="269"/>
                    <a:pt x="342" y="269"/>
                  </a:cubicBezTo>
                  <a:cubicBezTo>
                    <a:pt x="341" y="268"/>
                    <a:pt x="341" y="269"/>
                    <a:pt x="340" y="270"/>
                  </a:cubicBezTo>
                  <a:cubicBezTo>
                    <a:pt x="340" y="270"/>
                    <a:pt x="339" y="270"/>
                    <a:pt x="338" y="270"/>
                  </a:cubicBezTo>
                  <a:cubicBezTo>
                    <a:pt x="338" y="268"/>
                    <a:pt x="338" y="268"/>
                    <a:pt x="338" y="268"/>
                  </a:cubicBezTo>
                  <a:cubicBezTo>
                    <a:pt x="336" y="267"/>
                    <a:pt x="334" y="268"/>
                    <a:pt x="333" y="268"/>
                  </a:cubicBezTo>
                  <a:cubicBezTo>
                    <a:pt x="332" y="268"/>
                    <a:pt x="333" y="266"/>
                    <a:pt x="332" y="266"/>
                  </a:cubicBezTo>
                  <a:cubicBezTo>
                    <a:pt x="332" y="265"/>
                    <a:pt x="331" y="266"/>
                    <a:pt x="330" y="266"/>
                  </a:cubicBezTo>
                  <a:cubicBezTo>
                    <a:pt x="329" y="266"/>
                    <a:pt x="330" y="264"/>
                    <a:pt x="330" y="263"/>
                  </a:cubicBezTo>
                  <a:cubicBezTo>
                    <a:pt x="328" y="263"/>
                    <a:pt x="329" y="264"/>
                    <a:pt x="328" y="264"/>
                  </a:cubicBezTo>
                  <a:cubicBezTo>
                    <a:pt x="327" y="263"/>
                    <a:pt x="327" y="263"/>
                    <a:pt x="327" y="263"/>
                  </a:cubicBezTo>
                  <a:cubicBezTo>
                    <a:pt x="325" y="263"/>
                    <a:pt x="326" y="264"/>
                    <a:pt x="326" y="265"/>
                  </a:cubicBezTo>
                  <a:cubicBezTo>
                    <a:pt x="324" y="265"/>
                    <a:pt x="321" y="265"/>
                    <a:pt x="319" y="265"/>
                  </a:cubicBezTo>
                  <a:cubicBezTo>
                    <a:pt x="321" y="261"/>
                    <a:pt x="321" y="263"/>
                    <a:pt x="319" y="259"/>
                  </a:cubicBezTo>
                  <a:cubicBezTo>
                    <a:pt x="317" y="261"/>
                    <a:pt x="314" y="264"/>
                    <a:pt x="312" y="261"/>
                  </a:cubicBezTo>
                  <a:cubicBezTo>
                    <a:pt x="310" y="260"/>
                    <a:pt x="312" y="252"/>
                    <a:pt x="308" y="251"/>
                  </a:cubicBezTo>
                  <a:cubicBezTo>
                    <a:pt x="304" y="248"/>
                    <a:pt x="302" y="251"/>
                    <a:pt x="298" y="251"/>
                  </a:cubicBezTo>
                  <a:cubicBezTo>
                    <a:pt x="298" y="251"/>
                    <a:pt x="296" y="250"/>
                    <a:pt x="295" y="250"/>
                  </a:cubicBezTo>
                  <a:cubicBezTo>
                    <a:pt x="294" y="250"/>
                    <a:pt x="293" y="252"/>
                    <a:pt x="292" y="252"/>
                  </a:cubicBezTo>
                  <a:cubicBezTo>
                    <a:pt x="291" y="252"/>
                    <a:pt x="287" y="251"/>
                    <a:pt x="285" y="251"/>
                  </a:cubicBezTo>
                  <a:cubicBezTo>
                    <a:pt x="285" y="252"/>
                    <a:pt x="284" y="258"/>
                    <a:pt x="283" y="259"/>
                  </a:cubicBezTo>
                  <a:cubicBezTo>
                    <a:pt x="283" y="260"/>
                    <a:pt x="281" y="260"/>
                    <a:pt x="281" y="260"/>
                  </a:cubicBezTo>
                  <a:cubicBezTo>
                    <a:pt x="280" y="261"/>
                    <a:pt x="281" y="262"/>
                    <a:pt x="280" y="263"/>
                  </a:cubicBezTo>
                  <a:cubicBezTo>
                    <a:pt x="282" y="262"/>
                    <a:pt x="281" y="263"/>
                    <a:pt x="282" y="263"/>
                  </a:cubicBezTo>
                  <a:cubicBezTo>
                    <a:pt x="283" y="263"/>
                    <a:pt x="283" y="262"/>
                    <a:pt x="284" y="262"/>
                  </a:cubicBezTo>
                  <a:cubicBezTo>
                    <a:pt x="285" y="262"/>
                    <a:pt x="286" y="263"/>
                    <a:pt x="286" y="263"/>
                  </a:cubicBezTo>
                  <a:cubicBezTo>
                    <a:pt x="286" y="263"/>
                    <a:pt x="287" y="262"/>
                    <a:pt x="287" y="261"/>
                  </a:cubicBezTo>
                  <a:cubicBezTo>
                    <a:pt x="286" y="262"/>
                    <a:pt x="286" y="260"/>
                    <a:pt x="286" y="260"/>
                  </a:cubicBezTo>
                  <a:cubicBezTo>
                    <a:pt x="286" y="260"/>
                    <a:pt x="288" y="259"/>
                    <a:pt x="288" y="259"/>
                  </a:cubicBezTo>
                  <a:cubicBezTo>
                    <a:pt x="289" y="260"/>
                    <a:pt x="290" y="260"/>
                    <a:pt x="291" y="261"/>
                  </a:cubicBezTo>
                  <a:cubicBezTo>
                    <a:pt x="295" y="256"/>
                    <a:pt x="294" y="258"/>
                    <a:pt x="301" y="257"/>
                  </a:cubicBezTo>
                  <a:cubicBezTo>
                    <a:pt x="301" y="257"/>
                    <a:pt x="301" y="255"/>
                    <a:pt x="302" y="255"/>
                  </a:cubicBezTo>
                  <a:cubicBezTo>
                    <a:pt x="300" y="255"/>
                    <a:pt x="300" y="252"/>
                    <a:pt x="303" y="253"/>
                  </a:cubicBezTo>
                  <a:cubicBezTo>
                    <a:pt x="303" y="253"/>
                    <a:pt x="305" y="255"/>
                    <a:pt x="305" y="255"/>
                  </a:cubicBezTo>
                  <a:cubicBezTo>
                    <a:pt x="308" y="258"/>
                    <a:pt x="304" y="257"/>
                    <a:pt x="302" y="257"/>
                  </a:cubicBezTo>
                  <a:cubicBezTo>
                    <a:pt x="301" y="258"/>
                    <a:pt x="301" y="259"/>
                    <a:pt x="301" y="259"/>
                  </a:cubicBezTo>
                  <a:cubicBezTo>
                    <a:pt x="300" y="260"/>
                    <a:pt x="299" y="259"/>
                    <a:pt x="298" y="259"/>
                  </a:cubicBezTo>
                  <a:cubicBezTo>
                    <a:pt x="297" y="259"/>
                    <a:pt x="296" y="261"/>
                    <a:pt x="295" y="262"/>
                  </a:cubicBezTo>
                  <a:cubicBezTo>
                    <a:pt x="295" y="263"/>
                    <a:pt x="295" y="263"/>
                    <a:pt x="295" y="263"/>
                  </a:cubicBezTo>
                  <a:cubicBezTo>
                    <a:pt x="294" y="264"/>
                    <a:pt x="292" y="263"/>
                    <a:pt x="291" y="264"/>
                  </a:cubicBezTo>
                  <a:cubicBezTo>
                    <a:pt x="290" y="264"/>
                    <a:pt x="290" y="266"/>
                    <a:pt x="289" y="267"/>
                  </a:cubicBezTo>
                  <a:cubicBezTo>
                    <a:pt x="288" y="267"/>
                    <a:pt x="287" y="266"/>
                    <a:pt x="286" y="267"/>
                  </a:cubicBezTo>
                  <a:cubicBezTo>
                    <a:pt x="286" y="267"/>
                    <a:pt x="286" y="268"/>
                    <a:pt x="286" y="269"/>
                  </a:cubicBezTo>
                  <a:cubicBezTo>
                    <a:pt x="286" y="269"/>
                    <a:pt x="284" y="269"/>
                    <a:pt x="284" y="270"/>
                  </a:cubicBezTo>
                  <a:cubicBezTo>
                    <a:pt x="284" y="272"/>
                    <a:pt x="285" y="274"/>
                    <a:pt x="286" y="275"/>
                  </a:cubicBezTo>
                  <a:cubicBezTo>
                    <a:pt x="286" y="275"/>
                    <a:pt x="286" y="275"/>
                    <a:pt x="286" y="275"/>
                  </a:cubicBezTo>
                  <a:cubicBezTo>
                    <a:pt x="287" y="277"/>
                    <a:pt x="285" y="278"/>
                    <a:pt x="285" y="279"/>
                  </a:cubicBezTo>
                  <a:cubicBezTo>
                    <a:pt x="286" y="280"/>
                    <a:pt x="288" y="280"/>
                    <a:pt x="288" y="281"/>
                  </a:cubicBezTo>
                  <a:cubicBezTo>
                    <a:pt x="289" y="282"/>
                    <a:pt x="288" y="283"/>
                    <a:pt x="288" y="283"/>
                  </a:cubicBezTo>
                  <a:cubicBezTo>
                    <a:pt x="288" y="283"/>
                    <a:pt x="286" y="283"/>
                    <a:pt x="286" y="283"/>
                  </a:cubicBezTo>
                  <a:cubicBezTo>
                    <a:pt x="286" y="284"/>
                    <a:pt x="285" y="286"/>
                    <a:pt x="285" y="287"/>
                  </a:cubicBezTo>
                  <a:cubicBezTo>
                    <a:pt x="280" y="283"/>
                    <a:pt x="280" y="279"/>
                    <a:pt x="279" y="271"/>
                  </a:cubicBezTo>
                  <a:cubicBezTo>
                    <a:pt x="279" y="273"/>
                    <a:pt x="278" y="275"/>
                    <a:pt x="278" y="278"/>
                  </a:cubicBezTo>
                  <a:cubicBezTo>
                    <a:pt x="276" y="279"/>
                    <a:pt x="276" y="279"/>
                    <a:pt x="276" y="279"/>
                  </a:cubicBezTo>
                  <a:cubicBezTo>
                    <a:pt x="276" y="279"/>
                    <a:pt x="275" y="275"/>
                    <a:pt x="275" y="275"/>
                  </a:cubicBezTo>
                  <a:cubicBezTo>
                    <a:pt x="276" y="275"/>
                    <a:pt x="276" y="273"/>
                    <a:pt x="276" y="273"/>
                  </a:cubicBezTo>
                  <a:cubicBezTo>
                    <a:pt x="276" y="273"/>
                    <a:pt x="275" y="271"/>
                    <a:pt x="274" y="269"/>
                  </a:cubicBezTo>
                  <a:cubicBezTo>
                    <a:pt x="274" y="269"/>
                    <a:pt x="272" y="269"/>
                    <a:pt x="272" y="269"/>
                  </a:cubicBezTo>
                  <a:cubicBezTo>
                    <a:pt x="269" y="268"/>
                    <a:pt x="268" y="267"/>
                    <a:pt x="266" y="264"/>
                  </a:cubicBezTo>
                  <a:cubicBezTo>
                    <a:pt x="265" y="265"/>
                    <a:pt x="264" y="264"/>
                    <a:pt x="262" y="265"/>
                  </a:cubicBezTo>
                  <a:cubicBezTo>
                    <a:pt x="262" y="266"/>
                    <a:pt x="261" y="268"/>
                    <a:pt x="260" y="268"/>
                  </a:cubicBezTo>
                  <a:cubicBezTo>
                    <a:pt x="259" y="268"/>
                    <a:pt x="257" y="268"/>
                    <a:pt x="256" y="268"/>
                  </a:cubicBezTo>
                  <a:cubicBezTo>
                    <a:pt x="255" y="268"/>
                    <a:pt x="252" y="270"/>
                    <a:pt x="251" y="270"/>
                  </a:cubicBezTo>
                  <a:cubicBezTo>
                    <a:pt x="250" y="270"/>
                    <a:pt x="250" y="269"/>
                    <a:pt x="249" y="269"/>
                  </a:cubicBezTo>
                  <a:cubicBezTo>
                    <a:pt x="247" y="271"/>
                    <a:pt x="247" y="271"/>
                    <a:pt x="247" y="271"/>
                  </a:cubicBezTo>
                  <a:cubicBezTo>
                    <a:pt x="241" y="272"/>
                    <a:pt x="234" y="272"/>
                    <a:pt x="229" y="270"/>
                  </a:cubicBezTo>
                  <a:cubicBezTo>
                    <a:pt x="229" y="265"/>
                    <a:pt x="228" y="265"/>
                    <a:pt x="231" y="263"/>
                  </a:cubicBezTo>
                  <a:cubicBezTo>
                    <a:pt x="231" y="263"/>
                    <a:pt x="231" y="261"/>
                    <a:pt x="231" y="261"/>
                  </a:cubicBezTo>
                  <a:cubicBezTo>
                    <a:pt x="233" y="261"/>
                    <a:pt x="235" y="261"/>
                    <a:pt x="237" y="261"/>
                  </a:cubicBezTo>
                  <a:cubicBezTo>
                    <a:pt x="238" y="259"/>
                    <a:pt x="238" y="259"/>
                    <a:pt x="238" y="259"/>
                  </a:cubicBezTo>
                  <a:cubicBezTo>
                    <a:pt x="237" y="259"/>
                    <a:pt x="237" y="259"/>
                    <a:pt x="237" y="259"/>
                  </a:cubicBezTo>
                  <a:cubicBezTo>
                    <a:pt x="235" y="258"/>
                    <a:pt x="236" y="257"/>
                    <a:pt x="235" y="255"/>
                  </a:cubicBezTo>
                  <a:cubicBezTo>
                    <a:pt x="231" y="252"/>
                    <a:pt x="231" y="252"/>
                    <a:pt x="231" y="252"/>
                  </a:cubicBezTo>
                  <a:cubicBezTo>
                    <a:pt x="230" y="252"/>
                    <a:pt x="230" y="253"/>
                    <a:pt x="229" y="253"/>
                  </a:cubicBezTo>
                  <a:cubicBezTo>
                    <a:pt x="228" y="252"/>
                    <a:pt x="227" y="250"/>
                    <a:pt x="227" y="250"/>
                  </a:cubicBezTo>
                  <a:cubicBezTo>
                    <a:pt x="225" y="250"/>
                    <a:pt x="224" y="250"/>
                    <a:pt x="224" y="251"/>
                  </a:cubicBezTo>
                  <a:cubicBezTo>
                    <a:pt x="222" y="251"/>
                    <a:pt x="222" y="251"/>
                    <a:pt x="220" y="251"/>
                  </a:cubicBezTo>
                  <a:cubicBezTo>
                    <a:pt x="220" y="251"/>
                    <a:pt x="221" y="253"/>
                    <a:pt x="222" y="253"/>
                  </a:cubicBezTo>
                  <a:cubicBezTo>
                    <a:pt x="222" y="253"/>
                    <a:pt x="224" y="254"/>
                    <a:pt x="221" y="255"/>
                  </a:cubicBezTo>
                  <a:cubicBezTo>
                    <a:pt x="221" y="255"/>
                    <a:pt x="218" y="254"/>
                    <a:pt x="217" y="254"/>
                  </a:cubicBezTo>
                  <a:cubicBezTo>
                    <a:pt x="217" y="253"/>
                    <a:pt x="217" y="253"/>
                    <a:pt x="217" y="253"/>
                  </a:cubicBezTo>
                  <a:cubicBezTo>
                    <a:pt x="215" y="252"/>
                    <a:pt x="213" y="253"/>
                    <a:pt x="211" y="252"/>
                  </a:cubicBezTo>
                  <a:cubicBezTo>
                    <a:pt x="210" y="252"/>
                    <a:pt x="208" y="249"/>
                    <a:pt x="207" y="249"/>
                  </a:cubicBezTo>
                  <a:cubicBezTo>
                    <a:pt x="207" y="248"/>
                    <a:pt x="202" y="249"/>
                    <a:pt x="200" y="248"/>
                  </a:cubicBezTo>
                  <a:cubicBezTo>
                    <a:pt x="199" y="245"/>
                    <a:pt x="199" y="245"/>
                    <a:pt x="199" y="245"/>
                  </a:cubicBezTo>
                  <a:cubicBezTo>
                    <a:pt x="194" y="245"/>
                    <a:pt x="188" y="243"/>
                    <a:pt x="185" y="241"/>
                  </a:cubicBezTo>
                  <a:cubicBezTo>
                    <a:pt x="184" y="240"/>
                    <a:pt x="184" y="238"/>
                    <a:pt x="183" y="238"/>
                  </a:cubicBezTo>
                  <a:cubicBezTo>
                    <a:pt x="182" y="238"/>
                    <a:pt x="181" y="238"/>
                    <a:pt x="180" y="238"/>
                  </a:cubicBezTo>
                  <a:cubicBezTo>
                    <a:pt x="178" y="238"/>
                    <a:pt x="175" y="235"/>
                    <a:pt x="173" y="235"/>
                  </a:cubicBezTo>
                  <a:cubicBezTo>
                    <a:pt x="169" y="234"/>
                    <a:pt x="167" y="235"/>
                    <a:pt x="163" y="235"/>
                  </a:cubicBezTo>
                  <a:cubicBezTo>
                    <a:pt x="163" y="235"/>
                    <a:pt x="163" y="237"/>
                    <a:pt x="163" y="237"/>
                  </a:cubicBezTo>
                  <a:cubicBezTo>
                    <a:pt x="161" y="239"/>
                    <a:pt x="159" y="240"/>
                    <a:pt x="157" y="241"/>
                  </a:cubicBezTo>
                  <a:cubicBezTo>
                    <a:pt x="155" y="237"/>
                    <a:pt x="154" y="236"/>
                    <a:pt x="153" y="231"/>
                  </a:cubicBezTo>
                  <a:cubicBezTo>
                    <a:pt x="155" y="230"/>
                    <a:pt x="154" y="231"/>
                    <a:pt x="155" y="229"/>
                  </a:cubicBezTo>
                  <a:cubicBezTo>
                    <a:pt x="155" y="229"/>
                    <a:pt x="153" y="229"/>
                    <a:pt x="153" y="229"/>
                  </a:cubicBezTo>
                  <a:cubicBezTo>
                    <a:pt x="152" y="231"/>
                    <a:pt x="150" y="232"/>
                    <a:pt x="152" y="234"/>
                  </a:cubicBezTo>
                  <a:cubicBezTo>
                    <a:pt x="149" y="234"/>
                    <a:pt x="151" y="236"/>
                    <a:pt x="151" y="239"/>
                  </a:cubicBezTo>
                  <a:cubicBezTo>
                    <a:pt x="151" y="239"/>
                    <a:pt x="149" y="240"/>
                    <a:pt x="149" y="240"/>
                  </a:cubicBezTo>
                  <a:cubicBezTo>
                    <a:pt x="149" y="241"/>
                    <a:pt x="151" y="241"/>
                    <a:pt x="150" y="243"/>
                  </a:cubicBezTo>
                  <a:cubicBezTo>
                    <a:pt x="150" y="243"/>
                    <a:pt x="148" y="243"/>
                    <a:pt x="147" y="243"/>
                  </a:cubicBezTo>
                  <a:cubicBezTo>
                    <a:pt x="144" y="239"/>
                    <a:pt x="141" y="237"/>
                    <a:pt x="137" y="233"/>
                  </a:cubicBezTo>
                  <a:cubicBezTo>
                    <a:pt x="136" y="233"/>
                    <a:pt x="136" y="231"/>
                    <a:pt x="135" y="231"/>
                  </a:cubicBezTo>
                  <a:cubicBezTo>
                    <a:pt x="135" y="231"/>
                    <a:pt x="134" y="232"/>
                    <a:pt x="134" y="231"/>
                  </a:cubicBezTo>
                  <a:cubicBezTo>
                    <a:pt x="133" y="230"/>
                    <a:pt x="133" y="228"/>
                    <a:pt x="132" y="227"/>
                  </a:cubicBezTo>
                  <a:cubicBezTo>
                    <a:pt x="131" y="227"/>
                    <a:pt x="130" y="227"/>
                    <a:pt x="129" y="227"/>
                  </a:cubicBezTo>
                  <a:cubicBezTo>
                    <a:pt x="122" y="221"/>
                    <a:pt x="122" y="221"/>
                    <a:pt x="122" y="221"/>
                  </a:cubicBezTo>
                  <a:cubicBezTo>
                    <a:pt x="121" y="220"/>
                    <a:pt x="121" y="218"/>
                    <a:pt x="120" y="217"/>
                  </a:cubicBezTo>
                  <a:cubicBezTo>
                    <a:pt x="119" y="215"/>
                    <a:pt x="116" y="214"/>
                    <a:pt x="114" y="213"/>
                  </a:cubicBezTo>
                  <a:cubicBezTo>
                    <a:pt x="112" y="215"/>
                    <a:pt x="111" y="215"/>
                    <a:pt x="112" y="219"/>
                  </a:cubicBezTo>
                  <a:cubicBezTo>
                    <a:pt x="112" y="220"/>
                    <a:pt x="114" y="219"/>
                    <a:pt x="114" y="221"/>
                  </a:cubicBezTo>
                  <a:cubicBezTo>
                    <a:pt x="113" y="223"/>
                    <a:pt x="109" y="229"/>
                    <a:pt x="108" y="231"/>
                  </a:cubicBezTo>
                  <a:cubicBezTo>
                    <a:pt x="106" y="231"/>
                    <a:pt x="98" y="232"/>
                    <a:pt x="96" y="234"/>
                  </a:cubicBezTo>
                  <a:cubicBezTo>
                    <a:pt x="95" y="236"/>
                    <a:pt x="96" y="238"/>
                    <a:pt x="95" y="239"/>
                  </a:cubicBezTo>
                  <a:cubicBezTo>
                    <a:pt x="95" y="240"/>
                    <a:pt x="89" y="242"/>
                    <a:pt x="88" y="242"/>
                  </a:cubicBezTo>
                  <a:cubicBezTo>
                    <a:pt x="88" y="241"/>
                    <a:pt x="88" y="239"/>
                    <a:pt x="88" y="239"/>
                  </a:cubicBezTo>
                  <a:cubicBezTo>
                    <a:pt x="87" y="239"/>
                    <a:pt x="86" y="240"/>
                    <a:pt x="86" y="239"/>
                  </a:cubicBezTo>
                  <a:cubicBezTo>
                    <a:pt x="85" y="241"/>
                    <a:pt x="85" y="239"/>
                    <a:pt x="84" y="240"/>
                  </a:cubicBezTo>
                  <a:cubicBezTo>
                    <a:pt x="84" y="241"/>
                    <a:pt x="84" y="241"/>
                    <a:pt x="84" y="241"/>
                  </a:cubicBezTo>
                  <a:cubicBezTo>
                    <a:pt x="85" y="241"/>
                    <a:pt x="85" y="242"/>
                    <a:pt x="85" y="243"/>
                  </a:cubicBezTo>
                  <a:cubicBezTo>
                    <a:pt x="84" y="243"/>
                    <a:pt x="83" y="243"/>
                    <a:pt x="82" y="243"/>
                  </a:cubicBezTo>
                  <a:cubicBezTo>
                    <a:pt x="82" y="243"/>
                    <a:pt x="82" y="244"/>
                    <a:pt x="82" y="245"/>
                  </a:cubicBezTo>
                  <a:cubicBezTo>
                    <a:pt x="82" y="245"/>
                    <a:pt x="80" y="245"/>
                    <a:pt x="81" y="244"/>
                  </a:cubicBezTo>
                  <a:cubicBezTo>
                    <a:pt x="80" y="244"/>
                    <a:pt x="80" y="244"/>
                    <a:pt x="80" y="244"/>
                  </a:cubicBezTo>
                  <a:cubicBezTo>
                    <a:pt x="79" y="244"/>
                    <a:pt x="79" y="247"/>
                    <a:pt x="79" y="247"/>
                  </a:cubicBezTo>
                  <a:cubicBezTo>
                    <a:pt x="79" y="248"/>
                    <a:pt x="77" y="248"/>
                    <a:pt x="77" y="249"/>
                  </a:cubicBezTo>
                  <a:cubicBezTo>
                    <a:pt x="76" y="250"/>
                    <a:pt x="77" y="251"/>
                    <a:pt x="78" y="252"/>
                  </a:cubicBezTo>
                  <a:cubicBezTo>
                    <a:pt x="75" y="253"/>
                    <a:pt x="74" y="253"/>
                    <a:pt x="72" y="253"/>
                  </a:cubicBezTo>
                  <a:cubicBezTo>
                    <a:pt x="73" y="248"/>
                    <a:pt x="71" y="250"/>
                    <a:pt x="76" y="247"/>
                  </a:cubicBezTo>
                  <a:cubicBezTo>
                    <a:pt x="75" y="246"/>
                    <a:pt x="75" y="244"/>
                    <a:pt x="75" y="243"/>
                  </a:cubicBezTo>
                  <a:cubicBezTo>
                    <a:pt x="76" y="242"/>
                    <a:pt x="78" y="242"/>
                    <a:pt x="79" y="241"/>
                  </a:cubicBezTo>
                  <a:cubicBezTo>
                    <a:pt x="79" y="240"/>
                    <a:pt x="80" y="237"/>
                    <a:pt x="80" y="237"/>
                  </a:cubicBezTo>
                  <a:cubicBezTo>
                    <a:pt x="84" y="236"/>
                    <a:pt x="88" y="234"/>
                    <a:pt x="91" y="234"/>
                  </a:cubicBezTo>
                  <a:cubicBezTo>
                    <a:pt x="93" y="234"/>
                    <a:pt x="93" y="235"/>
                    <a:pt x="95" y="234"/>
                  </a:cubicBezTo>
                  <a:cubicBezTo>
                    <a:pt x="95" y="234"/>
                    <a:pt x="98" y="230"/>
                    <a:pt x="98" y="229"/>
                  </a:cubicBezTo>
                  <a:cubicBezTo>
                    <a:pt x="102" y="227"/>
                    <a:pt x="102" y="227"/>
                    <a:pt x="102" y="227"/>
                  </a:cubicBezTo>
                  <a:cubicBezTo>
                    <a:pt x="102" y="226"/>
                    <a:pt x="101" y="225"/>
                    <a:pt x="102" y="224"/>
                  </a:cubicBezTo>
                  <a:cubicBezTo>
                    <a:pt x="97" y="224"/>
                    <a:pt x="95" y="224"/>
                    <a:pt x="91" y="223"/>
                  </a:cubicBezTo>
                  <a:cubicBezTo>
                    <a:pt x="90" y="226"/>
                    <a:pt x="89" y="228"/>
                    <a:pt x="88" y="231"/>
                  </a:cubicBezTo>
                  <a:cubicBezTo>
                    <a:pt x="85" y="230"/>
                    <a:pt x="84" y="230"/>
                    <a:pt x="82" y="230"/>
                  </a:cubicBezTo>
                  <a:cubicBezTo>
                    <a:pt x="82" y="230"/>
                    <a:pt x="81" y="231"/>
                    <a:pt x="81" y="231"/>
                  </a:cubicBezTo>
                  <a:cubicBezTo>
                    <a:pt x="80" y="232"/>
                    <a:pt x="78" y="231"/>
                    <a:pt x="77" y="231"/>
                  </a:cubicBezTo>
                  <a:cubicBezTo>
                    <a:pt x="76" y="233"/>
                    <a:pt x="76" y="233"/>
                    <a:pt x="76" y="233"/>
                  </a:cubicBezTo>
                  <a:cubicBezTo>
                    <a:pt x="75" y="233"/>
                    <a:pt x="74" y="232"/>
                    <a:pt x="73" y="233"/>
                  </a:cubicBezTo>
                  <a:cubicBezTo>
                    <a:pt x="72" y="234"/>
                    <a:pt x="72" y="237"/>
                    <a:pt x="72" y="238"/>
                  </a:cubicBezTo>
                  <a:cubicBezTo>
                    <a:pt x="70" y="239"/>
                    <a:pt x="68" y="239"/>
                    <a:pt x="66" y="239"/>
                  </a:cubicBezTo>
                  <a:cubicBezTo>
                    <a:pt x="65" y="239"/>
                    <a:pt x="66" y="237"/>
                    <a:pt x="66" y="237"/>
                  </a:cubicBezTo>
                  <a:cubicBezTo>
                    <a:pt x="65" y="236"/>
                    <a:pt x="61" y="235"/>
                    <a:pt x="61" y="235"/>
                  </a:cubicBezTo>
                  <a:cubicBezTo>
                    <a:pt x="60" y="233"/>
                    <a:pt x="61" y="233"/>
                    <a:pt x="60" y="233"/>
                  </a:cubicBezTo>
                  <a:cubicBezTo>
                    <a:pt x="60" y="234"/>
                    <a:pt x="61" y="237"/>
                    <a:pt x="60" y="237"/>
                  </a:cubicBezTo>
                  <a:cubicBezTo>
                    <a:pt x="60" y="238"/>
                    <a:pt x="59" y="238"/>
                    <a:pt x="58" y="239"/>
                  </a:cubicBezTo>
                  <a:cubicBezTo>
                    <a:pt x="58" y="239"/>
                    <a:pt x="59" y="240"/>
                    <a:pt x="58" y="241"/>
                  </a:cubicBezTo>
                  <a:cubicBezTo>
                    <a:pt x="57" y="240"/>
                    <a:pt x="57" y="240"/>
                    <a:pt x="55" y="240"/>
                  </a:cubicBezTo>
                  <a:cubicBezTo>
                    <a:pt x="55" y="241"/>
                    <a:pt x="55" y="244"/>
                    <a:pt x="55" y="244"/>
                  </a:cubicBezTo>
                  <a:cubicBezTo>
                    <a:pt x="54" y="244"/>
                    <a:pt x="54" y="244"/>
                    <a:pt x="53" y="244"/>
                  </a:cubicBezTo>
                  <a:cubicBezTo>
                    <a:pt x="52" y="244"/>
                    <a:pt x="53" y="243"/>
                    <a:pt x="52" y="242"/>
                  </a:cubicBezTo>
                  <a:cubicBezTo>
                    <a:pt x="47" y="242"/>
                    <a:pt x="47" y="242"/>
                    <a:pt x="47" y="242"/>
                  </a:cubicBezTo>
                  <a:cubicBezTo>
                    <a:pt x="47" y="243"/>
                    <a:pt x="47" y="244"/>
                    <a:pt x="47" y="245"/>
                  </a:cubicBezTo>
                  <a:cubicBezTo>
                    <a:pt x="52" y="247"/>
                    <a:pt x="53" y="248"/>
                    <a:pt x="53" y="253"/>
                  </a:cubicBezTo>
                  <a:cubicBezTo>
                    <a:pt x="52" y="253"/>
                    <a:pt x="52" y="253"/>
                    <a:pt x="52" y="253"/>
                  </a:cubicBezTo>
                  <a:cubicBezTo>
                    <a:pt x="50" y="251"/>
                    <a:pt x="50" y="249"/>
                    <a:pt x="48" y="247"/>
                  </a:cubicBezTo>
                  <a:cubicBezTo>
                    <a:pt x="47" y="247"/>
                    <a:pt x="38" y="243"/>
                    <a:pt x="38" y="243"/>
                  </a:cubicBezTo>
                  <a:cubicBezTo>
                    <a:pt x="37" y="242"/>
                    <a:pt x="36" y="243"/>
                    <a:pt x="35" y="243"/>
                  </a:cubicBezTo>
                  <a:cubicBezTo>
                    <a:pt x="34" y="242"/>
                    <a:pt x="33" y="240"/>
                    <a:pt x="32" y="239"/>
                  </a:cubicBezTo>
                  <a:cubicBezTo>
                    <a:pt x="31" y="239"/>
                    <a:pt x="30" y="240"/>
                    <a:pt x="28" y="239"/>
                  </a:cubicBezTo>
                  <a:cubicBezTo>
                    <a:pt x="28" y="239"/>
                    <a:pt x="26" y="236"/>
                    <a:pt x="25" y="236"/>
                  </a:cubicBezTo>
                  <a:cubicBezTo>
                    <a:pt x="24" y="236"/>
                    <a:pt x="23" y="236"/>
                    <a:pt x="22" y="236"/>
                  </a:cubicBezTo>
                  <a:cubicBezTo>
                    <a:pt x="21" y="235"/>
                    <a:pt x="20" y="232"/>
                    <a:pt x="18" y="232"/>
                  </a:cubicBezTo>
                  <a:cubicBezTo>
                    <a:pt x="14" y="231"/>
                    <a:pt x="10" y="234"/>
                    <a:pt x="7" y="233"/>
                  </a:cubicBezTo>
                  <a:cubicBezTo>
                    <a:pt x="7" y="232"/>
                    <a:pt x="7" y="232"/>
                    <a:pt x="7" y="232"/>
                  </a:cubicBezTo>
                  <a:cubicBezTo>
                    <a:pt x="4" y="231"/>
                    <a:pt x="2" y="232"/>
                    <a:pt x="0" y="231"/>
                  </a:cubicBezTo>
                  <a:cubicBezTo>
                    <a:pt x="3" y="370"/>
                    <a:pt x="3" y="370"/>
                    <a:pt x="3" y="370"/>
                  </a:cubicBezTo>
                  <a:cubicBezTo>
                    <a:pt x="3" y="370"/>
                    <a:pt x="9" y="367"/>
                    <a:pt x="11" y="368"/>
                  </a:cubicBezTo>
                  <a:cubicBezTo>
                    <a:pt x="12" y="369"/>
                    <a:pt x="15" y="371"/>
                    <a:pt x="16" y="370"/>
                  </a:cubicBezTo>
                  <a:cubicBezTo>
                    <a:pt x="22" y="364"/>
                    <a:pt x="19" y="370"/>
                    <a:pt x="20" y="373"/>
                  </a:cubicBezTo>
                  <a:cubicBezTo>
                    <a:pt x="21" y="376"/>
                    <a:pt x="21" y="376"/>
                    <a:pt x="23" y="379"/>
                  </a:cubicBezTo>
                  <a:cubicBezTo>
                    <a:pt x="25" y="382"/>
                    <a:pt x="31" y="385"/>
                    <a:pt x="33" y="388"/>
                  </a:cubicBezTo>
                  <a:cubicBezTo>
                    <a:pt x="35" y="391"/>
                    <a:pt x="32" y="395"/>
                    <a:pt x="37" y="390"/>
                  </a:cubicBezTo>
                  <a:cubicBezTo>
                    <a:pt x="40" y="388"/>
                    <a:pt x="43" y="389"/>
                    <a:pt x="44" y="386"/>
                  </a:cubicBezTo>
                  <a:cubicBezTo>
                    <a:pt x="45" y="383"/>
                    <a:pt x="42" y="381"/>
                    <a:pt x="44" y="381"/>
                  </a:cubicBezTo>
                  <a:cubicBezTo>
                    <a:pt x="47" y="381"/>
                    <a:pt x="50" y="378"/>
                    <a:pt x="52" y="381"/>
                  </a:cubicBezTo>
                  <a:cubicBezTo>
                    <a:pt x="53" y="384"/>
                    <a:pt x="58" y="383"/>
                    <a:pt x="58" y="386"/>
                  </a:cubicBezTo>
                  <a:cubicBezTo>
                    <a:pt x="58" y="388"/>
                    <a:pt x="58" y="390"/>
                    <a:pt x="61" y="390"/>
                  </a:cubicBezTo>
                  <a:cubicBezTo>
                    <a:pt x="65" y="391"/>
                    <a:pt x="67" y="395"/>
                    <a:pt x="69" y="397"/>
                  </a:cubicBezTo>
                  <a:cubicBezTo>
                    <a:pt x="70" y="400"/>
                    <a:pt x="77" y="406"/>
                    <a:pt x="79" y="409"/>
                  </a:cubicBezTo>
                  <a:cubicBezTo>
                    <a:pt x="81" y="412"/>
                    <a:pt x="81" y="416"/>
                    <a:pt x="85" y="418"/>
                  </a:cubicBezTo>
                  <a:cubicBezTo>
                    <a:pt x="88" y="420"/>
                    <a:pt x="87" y="423"/>
                    <a:pt x="91" y="425"/>
                  </a:cubicBezTo>
                  <a:cubicBezTo>
                    <a:pt x="94" y="427"/>
                    <a:pt x="97" y="422"/>
                    <a:pt x="97" y="425"/>
                  </a:cubicBezTo>
                  <a:cubicBezTo>
                    <a:pt x="97" y="428"/>
                    <a:pt x="98" y="430"/>
                    <a:pt x="99" y="433"/>
                  </a:cubicBezTo>
                  <a:cubicBezTo>
                    <a:pt x="100" y="436"/>
                    <a:pt x="100" y="434"/>
                    <a:pt x="102" y="435"/>
                  </a:cubicBezTo>
                  <a:cubicBezTo>
                    <a:pt x="104" y="437"/>
                    <a:pt x="103" y="441"/>
                    <a:pt x="105" y="441"/>
                  </a:cubicBezTo>
                  <a:cubicBezTo>
                    <a:pt x="107" y="441"/>
                    <a:pt x="103" y="443"/>
                    <a:pt x="104" y="445"/>
                  </a:cubicBezTo>
                  <a:cubicBezTo>
                    <a:pt x="104" y="447"/>
                    <a:pt x="104" y="448"/>
                    <a:pt x="104" y="449"/>
                  </a:cubicBezTo>
                  <a:cubicBezTo>
                    <a:pt x="103" y="450"/>
                    <a:pt x="101" y="453"/>
                    <a:pt x="101" y="453"/>
                  </a:cubicBezTo>
                  <a:close/>
                  <a:moveTo>
                    <a:pt x="506" y="620"/>
                  </a:moveTo>
                  <a:cubicBezTo>
                    <a:pt x="506" y="620"/>
                    <a:pt x="506" y="620"/>
                    <a:pt x="506" y="619"/>
                  </a:cubicBezTo>
                  <a:cubicBezTo>
                    <a:pt x="505" y="620"/>
                    <a:pt x="505" y="621"/>
                    <a:pt x="505" y="621"/>
                  </a:cubicBezTo>
                  <a:lnTo>
                    <a:pt x="506" y="620"/>
                  </a:lnTo>
                  <a:close/>
                  <a:moveTo>
                    <a:pt x="656" y="29"/>
                  </a:moveTo>
                  <a:cubicBezTo>
                    <a:pt x="657" y="29"/>
                    <a:pt x="657" y="30"/>
                    <a:pt x="657" y="31"/>
                  </a:cubicBezTo>
                  <a:cubicBezTo>
                    <a:pt x="653" y="30"/>
                    <a:pt x="653" y="29"/>
                    <a:pt x="656" y="29"/>
                  </a:cubicBezTo>
                  <a:close/>
                  <a:moveTo>
                    <a:pt x="386" y="265"/>
                  </a:moveTo>
                  <a:cubicBezTo>
                    <a:pt x="386" y="266"/>
                    <a:pt x="386" y="266"/>
                    <a:pt x="386" y="266"/>
                  </a:cubicBezTo>
                  <a:cubicBezTo>
                    <a:pt x="384" y="266"/>
                    <a:pt x="385" y="265"/>
                    <a:pt x="386" y="265"/>
                  </a:cubicBezTo>
                  <a:close/>
                  <a:moveTo>
                    <a:pt x="94" y="241"/>
                  </a:moveTo>
                  <a:cubicBezTo>
                    <a:pt x="95" y="241"/>
                    <a:pt x="94" y="242"/>
                    <a:pt x="94" y="242"/>
                  </a:cubicBezTo>
                  <a:cubicBezTo>
                    <a:pt x="94" y="241"/>
                    <a:pt x="93" y="240"/>
                    <a:pt x="94" y="241"/>
                  </a:cubicBezTo>
                  <a:close/>
                  <a:moveTo>
                    <a:pt x="147" y="518"/>
                  </a:moveTo>
                  <a:cubicBezTo>
                    <a:pt x="147" y="520"/>
                    <a:pt x="147" y="521"/>
                    <a:pt x="147" y="522"/>
                  </a:cubicBezTo>
                  <a:cubicBezTo>
                    <a:pt x="148" y="522"/>
                    <a:pt x="148" y="523"/>
                    <a:pt x="149" y="523"/>
                  </a:cubicBezTo>
                  <a:cubicBezTo>
                    <a:pt x="155" y="525"/>
                    <a:pt x="147" y="518"/>
                    <a:pt x="147" y="518"/>
                  </a:cubicBezTo>
                  <a:close/>
                  <a:moveTo>
                    <a:pt x="113" y="492"/>
                  </a:moveTo>
                  <a:cubicBezTo>
                    <a:pt x="112" y="492"/>
                    <a:pt x="114" y="494"/>
                    <a:pt x="114" y="494"/>
                  </a:cubicBezTo>
                  <a:cubicBezTo>
                    <a:pt x="114" y="494"/>
                    <a:pt x="115" y="491"/>
                    <a:pt x="113" y="492"/>
                  </a:cubicBezTo>
                  <a:close/>
                  <a:moveTo>
                    <a:pt x="111" y="472"/>
                  </a:moveTo>
                  <a:cubicBezTo>
                    <a:pt x="112" y="472"/>
                    <a:pt x="110" y="473"/>
                    <a:pt x="110" y="473"/>
                  </a:cubicBezTo>
                  <a:cubicBezTo>
                    <a:pt x="110" y="473"/>
                    <a:pt x="110" y="471"/>
                    <a:pt x="111" y="472"/>
                  </a:cubicBezTo>
                  <a:close/>
                  <a:moveTo>
                    <a:pt x="453" y="542"/>
                  </a:moveTo>
                  <a:cubicBezTo>
                    <a:pt x="452" y="543"/>
                    <a:pt x="454" y="544"/>
                    <a:pt x="454" y="544"/>
                  </a:cubicBezTo>
                  <a:cubicBezTo>
                    <a:pt x="454" y="544"/>
                    <a:pt x="456" y="542"/>
                    <a:pt x="453" y="542"/>
                  </a:cubicBezTo>
                  <a:close/>
                  <a:moveTo>
                    <a:pt x="464" y="536"/>
                  </a:moveTo>
                  <a:cubicBezTo>
                    <a:pt x="464" y="536"/>
                    <a:pt x="463" y="537"/>
                    <a:pt x="463" y="537"/>
                  </a:cubicBezTo>
                  <a:cubicBezTo>
                    <a:pt x="465" y="537"/>
                    <a:pt x="466" y="536"/>
                    <a:pt x="464" y="536"/>
                  </a:cubicBezTo>
                  <a:close/>
                  <a:moveTo>
                    <a:pt x="638" y="573"/>
                  </a:moveTo>
                  <a:cubicBezTo>
                    <a:pt x="639" y="573"/>
                    <a:pt x="637" y="574"/>
                    <a:pt x="637" y="574"/>
                  </a:cubicBezTo>
                  <a:cubicBezTo>
                    <a:pt x="637" y="574"/>
                    <a:pt x="637" y="572"/>
                    <a:pt x="638" y="573"/>
                  </a:cubicBezTo>
                  <a:close/>
                  <a:moveTo>
                    <a:pt x="693" y="583"/>
                  </a:moveTo>
                  <a:cubicBezTo>
                    <a:pt x="693" y="584"/>
                    <a:pt x="693" y="584"/>
                    <a:pt x="693" y="584"/>
                  </a:cubicBezTo>
                  <a:cubicBezTo>
                    <a:pt x="694" y="584"/>
                    <a:pt x="694" y="584"/>
                    <a:pt x="694" y="584"/>
                  </a:cubicBezTo>
                  <a:cubicBezTo>
                    <a:pt x="694" y="584"/>
                    <a:pt x="695" y="583"/>
                    <a:pt x="693" y="583"/>
                  </a:cubicBezTo>
                  <a:close/>
                  <a:moveTo>
                    <a:pt x="613" y="559"/>
                  </a:moveTo>
                  <a:cubicBezTo>
                    <a:pt x="617" y="558"/>
                    <a:pt x="612" y="562"/>
                    <a:pt x="611" y="562"/>
                  </a:cubicBezTo>
                  <a:cubicBezTo>
                    <a:pt x="607" y="564"/>
                    <a:pt x="612" y="559"/>
                    <a:pt x="613" y="559"/>
                  </a:cubicBezTo>
                  <a:close/>
                  <a:moveTo>
                    <a:pt x="667" y="520"/>
                  </a:moveTo>
                  <a:cubicBezTo>
                    <a:pt x="667" y="521"/>
                    <a:pt x="667" y="523"/>
                    <a:pt x="667" y="524"/>
                  </a:cubicBezTo>
                  <a:cubicBezTo>
                    <a:pt x="668" y="524"/>
                    <a:pt x="669" y="524"/>
                    <a:pt x="671" y="524"/>
                  </a:cubicBezTo>
                  <a:cubicBezTo>
                    <a:pt x="674" y="527"/>
                    <a:pt x="674" y="527"/>
                    <a:pt x="674" y="527"/>
                  </a:cubicBezTo>
                  <a:cubicBezTo>
                    <a:pt x="674" y="528"/>
                    <a:pt x="674" y="529"/>
                    <a:pt x="674" y="529"/>
                  </a:cubicBezTo>
                  <a:cubicBezTo>
                    <a:pt x="675" y="530"/>
                    <a:pt x="677" y="530"/>
                    <a:pt x="679" y="530"/>
                  </a:cubicBezTo>
                  <a:cubicBezTo>
                    <a:pt x="681" y="531"/>
                    <a:pt x="683" y="533"/>
                    <a:pt x="685" y="534"/>
                  </a:cubicBezTo>
                  <a:cubicBezTo>
                    <a:pt x="686" y="534"/>
                    <a:pt x="687" y="534"/>
                    <a:pt x="689" y="534"/>
                  </a:cubicBezTo>
                  <a:cubicBezTo>
                    <a:pt x="689" y="533"/>
                    <a:pt x="690" y="533"/>
                    <a:pt x="690" y="532"/>
                  </a:cubicBezTo>
                  <a:cubicBezTo>
                    <a:pt x="686" y="529"/>
                    <a:pt x="686" y="529"/>
                    <a:pt x="686" y="529"/>
                  </a:cubicBezTo>
                  <a:cubicBezTo>
                    <a:pt x="686" y="529"/>
                    <a:pt x="685" y="529"/>
                    <a:pt x="685" y="529"/>
                  </a:cubicBezTo>
                  <a:cubicBezTo>
                    <a:pt x="683" y="528"/>
                    <a:pt x="682" y="525"/>
                    <a:pt x="681" y="524"/>
                  </a:cubicBezTo>
                  <a:cubicBezTo>
                    <a:pt x="681" y="524"/>
                    <a:pt x="679" y="525"/>
                    <a:pt x="679" y="524"/>
                  </a:cubicBezTo>
                  <a:cubicBezTo>
                    <a:pt x="676" y="524"/>
                    <a:pt x="674" y="522"/>
                    <a:pt x="672" y="521"/>
                  </a:cubicBezTo>
                  <a:cubicBezTo>
                    <a:pt x="670" y="521"/>
                    <a:pt x="669" y="521"/>
                    <a:pt x="667" y="520"/>
                  </a:cubicBezTo>
                  <a:close/>
                  <a:moveTo>
                    <a:pt x="538" y="591"/>
                  </a:moveTo>
                  <a:cubicBezTo>
                    <a:pt x="538" y="592"/>
                    <a:pt x="539" y="593"/>
                    <a:pt x="539" y="593"/>
                  </a:cubicBezTo>
                  <a:cubicBezTo>
                    <a:pt x="538" y="596"/>
                    <a:pt x="538" y="596"/>
                    <a:pt x="538" y="596"/>
                  </a:cubicBezTo>
                  <a:cubicBezTo>
                    <a:pt x="534" y="594"/>
                    <a:pt x="537" y="593"/>
                    <a:pt x="538" y="591"/>
                  </a:cubicBezTo>
                  <a:close/>
                  <a:moveTo>
                    <a:pt x="518" y="583"/>
                  </a:moveTo>
                  <a:cubicBezTo>
                    <a:pt x="518" y="583"/>
                    <a:pt x="519" y="586"/>
                    <a:pt x="519" y="586"/>
                  </a:cubicBezTo>
                  <a:cubicBezTo>
                    <a:pt x="522" y="587"/>
                    <a:pt x="520" y="584"/>
                    <a:pt x="518" y="583"/>
                  </a:cubicBezTo>
                  <a:close/>
                  <a:moveTo>
                    <a:pt x="583" y="578"/>
                  </a:moveTo>
                  <a:cubicBezTo>
                    <a:pt x="584" y="579"/>
                    <a:pt x="586" y="580"/>
                    <a:pt x="587" y="580"/>
                  </a:cubicBezTo>
                  <a:cubicBezTo>
                    <a:pt x="586" y="581"/>
                    <a:pt x="585" y="583"/>
                    <a:pt x="583" y="582"/>
                  </a:cubicBezTo>
                  <a:cubicBezTo>
                    <a:pt x="583" y="582"/>
                    <a:pt x="584" y="581"/>
                    <a:pt x="584" y="580"/>
                  </a:cubicBezTo>
                  <a:cubicBezTo>
                    <a:pt x="583" y="580"/>
                    <a:pt x="580" y="580"/>
                    <a:pt x="582" y="579"/>
                  </a:cubicBezTo>
                  <a:cubicBezTo>
                    <a:pt x="584" y="578"/>
                    <a:pt x="581" y="578"/>
                    <a:pt x="583" y="578"/>
                  </a:cubicBezTo>
                  <a:close/>
                  <a:moveTo>
                    <a:pt x="506" y="575"/>
                  </a:moveTo>
                  <a:cubicBezTo>
                    <a:pt x="507" y="575"/>
                    <a:pt x="506" y="576"/>
                    <a:pt x="506" y="576"/>
                  </a:cubicBezTo>
                  <a:cubicBezTo>
                    <a:pt x="507" y="577"/>
                    <a:pt x="509" y="578"/>
                    <a:pt x="510" y="578"/>
                  </a:cubicBezTo>
                  <a:cubicBezTo>
                    <a:pt x="512" y="579"/>
                    <a:pt x="516" y="579"/>
                    <a:pt x="516" y="579"/>
                  </a:cubicBezTo>
                  <a:cubicBezTo>
                    <a:pt x="518" y="580"/>
                    <a:pt x="515" y="578"/>
                    <a:pt x="515" y="578"/>
                  </a:cubicBezTo>
                  <a:cubicBezTo>
                    <a:pt x="512" y="576"/>
                    <a:pt x="510" y="576"/>
                    <a:pt x="506" y="575"/>
                  </a:cubicBezTo>
                  <a:close/>
                  <a:moveTo>
                    <a:pt x="708" y="568"/>
                  </a:moveTo>
                  <a:cubicBezTo>
                    <a:pt x="707" y="569"/>
                    <a:pt x="707" y="570"/>
                    <a:pt x="707" y="570"/>
                  </a:cubicBezTo>
                  <a:cubicBezTo>
                    <a:pt x="706" y="571"/>
                    <a:pt x="705" y="570"/>
                    <a:pt x="704" y="570"/>
                  </a:cubicBezTo>
                  <a:cubicBezTo>
                    <a:pt x="703" y="571"/>
                    <a:pt x="702" y="572"/>
                    <a:pt x="702" y="573"/>
                  </a:cubicBezTo>
                  <a:cubicBezTo>
                    <a:pt x="703" y="574"/>
                    <a:pt x="703" y="574"/>
                    <a:pt x="702" y="574"/>
                  </a:cubicBezTo>
                  <a:cubicBezTo>
                    <a:pt x="702" y="576"/>
                    <a:pt x="701" y="578"/>
                    <a:pt x="701" y="579"/>
                  </a:cubicBezTo>
                  <a:cubicBezTo>
                    <a:pt x="703" y="578"/>
                    <a:pt x="705" y="579"/>
                    <a:pt x="706" y="578"/>
                  </a:cubicBezTo>
                  <a:cubicBezTo>
                    <a:pt x="707" y="577"/>
                    <a:pt x="706" y="576"/>
                    <a:pt x="706" y="576"/>
                  </a:cubicBezTo>
                  <a:cubicBezTo>
                    <a:pt x="706" y="576"/>
                    <a:pt x="713" y="571"/>
                    <a:pt x="708" y="574"/>
                  </a:cubicBezTo>
                  <a:cubicBezTo>
                    <a:pt x="708" y="573"/>
                    <a:pt x="708" y="572"/>
                    <a:pt x="708" y="572"/>
                  </a:cubicBezTo>
                  <a:cubicBezTo>
                    <a:pt x="711" y="571"/>
                    <a:pt x="709" y="570"/>
                    <a:pt x="708" y="568"/>
                  </a:cubicBezTo>
                  <a:close/>
                  <a:moveTo>
                    <a:pt x="532" y="566"/>
                  </a:moveTo>
                  <a:cubicBezTo>
                    <a:pt x="535" y="567"/>
                    <a:pt x="536" y="570"/>
                    <a:pt x="532" y="570"/>
                  </a:cubicBezTo>
                  <a:cubicBezTo>
                    <a:pt x="532" y="569"/>
                    <a:pt x="532" y="569"/>
                    <a:pt x="532" y="569"/>
                  </a:cubicBezTo>
                  <a:cubicBezTo>
                    <a:pt x="530" y="569"/>
                    <a:pt x="528" y="569"/>
                    <a:pt x="527" y="568"/>
                  </a:cubicBezTo>
                  <a:cubicBezTo>
                    <a:pt x="527" y="567"/>
                    <a:pt x="527" y="567"/>
                    <a:pt x="527" y="567"/>
                  </a:cubicBezTo>
                  <a:cubicBezTo>
                    <a:pt x="528" y="567"/>
                    <a:pt x="531" y="566"/>
                    <a:pt x="532" y="566"/>
                  </a:cubicBezTo>
                  <a:close/>
                  <a:moveTo>
                    <a:pt x="671" y="560"/>
                  </a:moveTo>
                  <a:cubicBezTo>
                    <a:pt x="670" y="560"/>
                    <a:pt x="670" y="561"/>
                    <a:pt x="670" y="562"/>
                  </a:cubicBezTo>
                  <a:cubicBezTo>
                    <a:pt x="670" y="563"/>
                    <a:pt x="668" y="564"/>
                    <a:pt x="668" y="564"/>
                  </a:cubicBezTo>
                  <a:cubicBezTo>
                    <a:pt x="669" y="566"/>
                    <a:pt x="669" y="566"/>
                    <a:pt x="669" y="566"/>
                  </a:cubicBezTo>
                  <a:cubicBezTo>
                    <a:pt x="669" y="566"/>
                    <a:pt x="671" y="566"/>
                    <a:pt x="671" y="566"/>
                  </a:cubicBezTo>
                  <a:cubicBezTo>
                    <a:pt x="672" y="567"/>
                    <a:pt x="671" y="569"/>
                    <a:pt x="672" y="569"/>
                  </a:cubicBezTo>
                  <a:cubicBezTo>
                    <a:pt x="672" y="569"/>
                    <a:pt x="674" y="569"/>
                    <a:pt x="674" y="569"/>
                  </a:cubicBezTo>
                  <a:cubicBezTo>
                    <a:pt x="679" y="570"/>
                    <a:pt x="678" y="570"/>
                    <a:pt x="683" y="568"/>
                  </a:cubicBezTo>
                  <a:cubicBezTo>
                    <a:pt x="683" y="569"/>
                    <a:pt x="683" y="570"/>
                    <a:pt x="682" y="570"/>
                  </a:cubicBezTo>
                  <a:cubicBezTo>
                    <a:pt x="682" y="572"/>
                    <a:pt x="682" y="572"/>
                    <a:pt x="682" y="572"/>
                  </a:cubicBezTo>
                  <a:cubicBezTo>
                    <a:pt x="683" y="572"/>
                    <a:pt x="683" y="573"/>
                    <a:pt x="683" y="573"/>
                  </a:cubicBezTo>
                  <a:cubicBezTo>
                    <a:pt x="684" y="573"/>
                    <a:pt x="685" y="573"/>
                    <a:pt x="686" y="573"/>
                  </a:cubicBezTo>
                  <a:cubicBezTo>
                    <a:pt x="685" y="572"/>
                    <a:pt x="686" y="572"/>
                    <a:pt x="686" y="572"/>
                  </a:cubicBezTo>
                  <a:cubicBezTo>
                    <a:pt x="686" y="572"/>
                    <a:pt x="687" y="571"/>
                    <a:pt x="687" y="571"/>
                  </a:cubicBezTo>
                  <a:cubicBezTo>
                    <a:pt x="686" y="571"/>
                    <a:pt x="685" y="570"/>
                    <a:pt x="685" y="570"/>
                  </a:cubicBezTo>
                  <a:cubicBezTo>
                    <a:pt x="685" y="569"/>
                    <a:pt x="685" y="568"/>
                    <a:pt x="685" y="568"/>
                  </a:cubicBezTo>
                  <a:cubicBezTo>
                    <a:pt x="685" y="568"/>
                    <a:pt x="687" y="567"/>
                    <a:pt x="686" y="567"/>
                  </a:cubicBezTo>
                  <a:cubicBezTo>
                    <a:pt x="684" y="567"/>
                    <a:pt x="680" y="568"/>
                    <a:pt x="677" y="568"/>
                  </a:cubicBezTo>
                  <a:cubicBezTo>
                    <a:pt x="677" y="566"/>
                    <a:pt x="677" y="566"/>
                    <a:pt x="677" y="566"/>
                  </a:cubicBezTo>
                  <a:cubicBezTo>
                    <a:pt x="676" y="566"/>
                    <a:pt x="676" y="567"/>
                    <a:pt x="676" y="567"/>
                  </a:cubicBezTo>
                  <a:cubicBezTo>
                    <a:pt x="674" y="568"/>
                    <a:pt x="672" y="566"/>
                    <a:pt x="671" y="565"/>
                  </a:cubicBezTo>
                  <a:cubicBezTo>
                    <a:pt x="671" y="565"/>
                    <a:pt x="672" y="562"/>
                    <a:pt x="671" y="562"/>
                  </a:cubicBezTo>
                  <a:cubicBezTo>
                    <a:pt x="672" y="562"/>
                    <a:pt x="673" y="559"/>
                    <a:pt x="671" y="560"/>
                  </a:cubicBezTo>
                  <a:close/>
                  <a:moveTo>
                    <a:pt x="707" y="558"/>
                  </a:moveTo>
                  <a:cubicBezTo>
                    <a:pt x="706" y="560"/>
                    <a:pt x="706" y="560"/>
                    <a:pt x="706" y="560"/>
                  </a:cubicBezTo>
                  <a:cubicBezTo>
                    <a:pt x="703" y="561"/>
                    <a:pt x="702" y="559"/>
                    <a:pt x="700" y="559"/>
                  </a:cubicBezTo>
                  <a:cubicBezTo>
                    <a:pt x="699" y="560"/>
                    <a:pt x="698" y="561"/>
                    <a:pt x="697" y="562"/>
                  </a:cubicBezTo>
                  <a:cubicBezTo>
                    <a:pt x="698" y="562"/>
                    <a:pt x="698" y="565"/>
                    <a:pt x="697" y="566"/>
                  </a:cubicBezTo>
                  <a:cubicBezTo>
                    <a:pt x="695" y="566"/>
                    <a:pt x="695" y="566"/>
                    <a:pt x="695" y="566"/>
                  </a:cubicBezTo>
                  <a:cubicBezTo>
                    <a:pt x="695" y="567"/>
                    <a:pt x="694" y="568"/>
                    <a:pt x="694" y="568"/>
                  </a:cubicBezTo>
                  <a:cubicBezTo>
                    <a:pt x="693" y="570"/>
                    <a:pt x="695" y="570"/>
                    <a:pt x="694" y="571"/>
                  </a:cubicBezTo>
                  <a:cubicBezTo>
                    <a:pt x="692" y="572"/>
                    <a:pt x="692" y="572"/>
                    <a:pt x="692" y="572"/>
                  </a:cubicBezTo>
                  <a:cubicBezTo>
                    <a:pt x="693" y="575"/>
                    <a:pt x="692" y="578"/>
                    <a:pt x="694" y="579"/>
                  </a:cubicBezTo>
                  <a:cubicBezTo>
                    <a:pt x="696" y="580"/>
                    <a:pt x="696" y="579"/>
                    <a:pt x="698" y="580"/>
                  </a:cubicBezTo>
                  <a:cubicBezTo>
                    <a:pt x="698" y="579"/>
                    <a:pt x="699" y="579"/>
                    <a:pt x="698" y="578"/>
                  </a:cubicBezTo>
                  <a:cubicBezTo>
                    <a:pt x="694" y="576"/>
                    <a:pt x="700" y="571"/>
                    <a:pt x="701" y="570"/>
                  </a:cubicBezTo>
                  <a:cubicBezTo>
                    <a:pt x="701" y="569"/>
                    <a:pt x="701" y="569"/>
                    <a:pt x="701" y="569"/>
                  </a:cubicBezTo>
                  <a:cubicBezTo>
                    <a:pt x="701" y="569"/>
                    <a:pt x="700" y="569"/>
                    <a:pt x="699" y="569"/>
                  </a:cubicBezTo>
                  <a:cubicBezTo>
                    <a:pt x="700" y="568"/>
                    <a:pt x="702" y="562"/>
                    <a:pt x="703" y="562"/>
                  </a:cubicBezTo>
                  <a:cubicBezTo>
                    <a:pt x="704" y="561"/>
                    <a:pt x="706" y="562"/>
                    <a:pt x="707" y="562"/>
                  </a:cubicBezTo>
                  <a:cubicBezTo>
                    <a:pt x="708" y="559"/>
                    <a:pt x="707" y="561"/>
                    <a:pt x="709" y="559"/>
                  </a:cubicBezTo>
                  <a:cubicBezTo>
                    <a:pt x="709" y="559"/>
                    <a:pt x="708" y="558"/>
                    <a:pt x="707" y="558"/>
                  </a:cubicBezTo>
                  <a:close/>
                  <a:moveTo>
                    <a:pt x="747" y="554"/>
                  </a:moveTo>
                  <a:cubicBezTo>
                    <a:pt x="747" y="555"/>
                    <a:pt x="746" y="560"/>
                    <a:pt x="748" y="558"/>
                  </a:cubicBezTo>
                  <a:cubicBezTo>
                    <a:pt x="750" y="558"/>
                    <a:pt x="749" y="556"/>
                    <a:pt x="749" y="554"/>
                  </a:cubicBezTo>
                  <a:cubicBezTo>
                    <a:pt x="748" y="554"/>
                    <a:pt x="747" y="554"/>
                    <a:pt x="747" y="554"/>
                  </a:cubicBezTo>
                  <a:close/>
                  <a:moveTo>
                    <a:pt x="692" y="549"/>
                  </a:moveTo>
                  <a:cubicBezTo>
                    <a:pt x="692" y="549"/>
                    <a:pt x="686" y="555"/>
                    <a:pt x="690" y="552"/>
                  </a:cubicBezTo>
                  <a:cubicBezTo>
                    <a:pt x="691" y="552"/>
                    <a:pt x="696" y="547"/>
                    <a:pt x="692" y="549"/>
                  </a:cubicBezTo>
                  <a:close/>
                  <a:moveTo>
                    <a:pt x="461" y="517"/>
                  </a:moveTo>
                  <a:cubicBezTo>
                    <a:pt x="464" y="520"/>
                    <a:pt x="464" y="521"/>
                    <a:pt x="465" y="526"/>
                  </a:cubicBezTo>
                  <a:cubicBezTo>
                    <a:pt x="464" y="526"/>
                    <a:pt x="462" y="526"/>
                    <a:pt x="463" y="526"/>
                  </a:cubicBezTo>
                  <a:cubicBezTo>
                    <a:pt x="463" y="526"/>
                    <a:pt x="460" y="526"/>
                    <a:pt x="462" y="526"/>
                  </a:cubicBezTo>
                  <a:cubicBezTo>
                    <a:pt x="461" y="526"/>
                    <a:pt x="459" y="526"/>
                    <a:pt x="459" y="526"/>
                  </a:cubicBezTo>
                  <a:cubicBezTo>
                    <a:pt x="459" y="523"/>
                    <a:pt x="459" y="523"/>
                    <a:pt x="459" y="523"/>
                  </a:cubicBezTo>
                  <a:cubicBezTo>
                    <a:pt x="457" y="522"/>
                    <a:pt x="459" y="525"/>
                    <a:pt x="458" y="525"/>
                  </a:cubicBezTo>
                  <a:cubicBezTo>
                    <a:pt x="457" y="525"/>
                    <a:pt x="457" y="525"/>
                    <a:pt x="457" y="525"/>
                  </a:cubicBezTo>
                  <a:cubicBezTo>
                    <a:pt x="457" y="525"/>
                    <a:pt x="457" y="519"/>
                    <a:pt x="457" y="518"/>
                  </a:cubicBezTo>
                  <a:cubicBezTo>
                    <a:pt x="458" y="517"/>
                    <a:pt x="460" y="517"/>
                    <a:pt x="461" y="517"/>
                  </a:cubicBezTo>
                  <a:close/>
                  <a:moveTo>
                    <a:pt x="603" y="505"/>
                  </a:moveTo>
                  <a:cubicBezTo>
                    <a:pt x="607" y="504"/>
                    <a:pt x="601" y="509"/>
                    <a:pt x="601" y="509"/>
                  </a:cubicBezTo>
                  <a:cubicBezTo>
                    <a:pt x="599" y="509"/>
                    <a:pt x="601" y="506"/>
                    <a:pt x="601" y="506"/>
                  </a:cubicBezTo>
                  <a:cubicBezTo>
                    <a:pt x="602" y="505"/>
                    <a:pt x="602" y="506"/>
                    <a:pt x="603" y="505"/>
                  </a:cubicBezTo>
                  <a:close/>
                  <a:moveTo>
                    <a:pt x="598" y="502"/>
                  </a:moveTo>
                  <a:cubicBezTo>
                    <a:pt x="598" y="502"/>
                    <a:pt x="597" y="502"/>
                    <a:pt x="599" y="503"/>
                  </a:cubicBezTo>
                  <a:cubicBezTo>
                    <a:pt x="600" y="503"/>
                    <a:pt x="599" y="504"/>
                    <a:pt x="599" y="505"/>
                  </a:cubicBezTo>
                  <a:cubicBezTo>
                    <a:pt x="599" y="506"/>
                    <a:pt x="592" y="512"/>
                    <a:pt x="591" y="512"/>
                  </a:cubicBezTo>
                  <a:cubicBezTo>
                    <a:pt x="590" y="512"/>
                    <a:pt x="590" y="511"/>
                    <a:pt x="589" y="511"/>
                  </a:cubicBezTo>
                  <a:cubicBezTo>
                    <a:pt x="589" y="511"/>
                    <a:pt x="588" y="511"/>
                    <a:pt x="587" y="511"/>
                  </a:cubicBezTo>
                  <a:cubicBezTo>
                    <a:pt x="589" y="509"/>
                    <a:pt x="591" y="506"/>
                    <a:pt x="593" y="505"/>
                  </a:cubicBezTo>
                  <a:cubicBezTo>
                    <a:pt x="594" y="504"/>
                    <a:pt x="596" y="505"/>
                    <a:pt x="596" y="504"/>
                  </a:cubicBezTo>
                  <a:cubicBezTo>
                    <a:pt x="597" y="503"/>
                    <a:pt x="597" y="502"/>
                    <a:pt x="598" y="502"/>
                  </a:cubicBezTo>
                  <a:close/>
                  <a:moveTo>
                    <a:pt x="738" y="499"/>
                  </a:moveTo>
                  <a:cubicBezTo>
                    <a:pt x="736" y="499"/>
                    <a:pt x="732" y="502"/>
                    <a:pt x="732" y="503"/>
                  </a:cubicBezTo>
                  <a:cubicBezTo>
                    <a:pt x="731" y="504"/>
                    <a:pt x="732" y="506"/>
                    <a:pt x="732" y="506"/>
                  </a:cubicBezTo>
                  <a:cubicBezTo>
                    <a:pt x="732" y="507"/>
                    <a:pt x="730" y="507"/>
                    <a:pt x="728" y="507"/>
                  </a:cubicBezTo>
                  <a:cubicBezTo>
                    <a:pt x="728" y="509"/>
                    <a:pt x="729" y="511"/>
                    <a:pt x="728" y="513"/>
                  </a:cubicBezTo>
                  <a:cubicBezTo>
                    <a:pt x="727" y="515"/>
                    <a:pt x="727" y="515"/>
                    <a:pt x="727" y="515"/>
                  </a:cubicBezTo>
                  <a:cubicBezTo>
                    <a:pt x="727" y="517"/>
                    <a:pt x="729" y="520"/>
                    <a:pt x="727" y="523"/>
                  </a:cubicBezTo>
                  <a:cubicBezTo>
                    <a:pt x="724" y="525"/>
                    <a:pt x="724" y="525"/>
                    <a:pt x="724" y="525"/>
                  </a:cubicBezTo>
                  <a:cubicBezTo>
                    <a:pt x="726" y="526"/>
                    <a:pt x="725" y="525"/>
                    <a:pt x="725" y="526"/>
                  </a:cubicBezTo>
                  <a:cubicBezTo>
                    <a:pt x="727" y="527"/>
                    <a:pt x="728" y="527"/>
                    <a:pt x="729" y="527"/>
                  </a:cubicBezTo>
                  <a:cubicBezTo>
                    <a:pt x="728" y="528"/>
                    <a:pt x="728" y="528"/>
                    <a:pt x="727" y="529"/>
                  </a:cubicBezTo>
                  <a:cubicBezTo>
                    <a:pt x="728" y="529"/>
                    <a:pt x="726" y="531"/>
                    <a:pt x="726" y="531"/>
                  </a:cubicBezTo>
                  <a:cubicBezTo>
                    <a:pt x="725" y="531"/>
                    <a:pt x="725" y="529"/>
                    <a:pt x="722" y="529"/>
                  </a:cubicBezTo>
                  <a:cubicBezTo>
                    <a:pt x="722" y="530"/>
                    <a:pt x="722" y="530"/>
                    <a:pt x="722" y="530"/>
                  </a:cubicBezTo>
                  <a:cubicBezTo>
                    <a:pt x="722" y="530"/>
                    <a:pt x="721" y="532"/>
                    <a:pt x="721" y="532"/>
                  </a:cubicBezTo>
                  <a:cubicBezTo>
                    <a:pt x="722" y="532"/>
                    <a:pt x="724" y="534"/>
                    <a:pt x="720" y="533"/>
                  </a:cubicBezTo>
                  <a:cubicBezTo>
                    <a:pt x="721" y="533"/>
                    <a:pt x="719" y="533"/>
                    <a:pt x="718" y="533"/>
                  </a:cubicBezTo>
                  <a:cubicBezTo>
                    <a:pt x="718" y="533"/>
                    <a:pt x="717" y="535"/>
                    <a:pt x="717" y="536"/>
                  </a:cubicBezTo>
                  <a:cubicBezTo>
                    <a:pt x="717" y="536"/>
                    <a:pt x="720" y="536"/>
                    <a:pt x="718" y="535"/>
                  </a:cubicBezTo>
                  <a:cubicBezTo>
                    <a:pt x="720" y="536"/>
                    <a:pt x="722" y="536"/>
                    <a:pt x="723" y="536"/>
                  </a:cubicBezTo>
                  <a:cubicBezTo>
                    <a:pt x="723" y="536"/>
                    <a:pt x="723" y="538"/>
                    <a:pt x="722" y="538"/>
                  </a:cubicBezTo>
                  <a:cubicBezTo>
                    <a:pt x="722" y="536"/>
                    <a:pt x="722" y="536"/>
                    <a:pt x="722" y="536"/>
                  </a:cubicBezTo>
                  <a:cubicBezTo>
                    <a:pt x="722" y="537"/>
                    <a:pt x="720" y="537"/>
                    <a:pt x="720" y="537"/>
                  </a:cubicBezTo>
                  <a:cubicBezTo>
                    <a:pt x="719" y="538"/>
                    <a:pt x="720" y="539"/>
                    <a:pt x="720" y="540"/>
                  </a:cubicBezTo>
                  <a:cubicBezTo>
                    <a:pt x="716" y="542"/>
                    <a:pt x="716" y="542"/>
                    <a:pt x="716" y="542"/>
                  </a:cubicBezTo>
                  <a:cubicBezTo>
                    <a:pt x="716" y="543"/>
                    <a:pt x="715" y="543"/>
                    <a:pt x="714" y="544"/>
                  </a:cubicBezTo>
                  <a:cubicBezTo>
                    <a:pt x="717" y="548"/>
                    <a:pt x="715" y="548"/>
                    <a:pt x="720" y="547"/>
                  </a:cubicBezTo>
                  <a:cubicBezTo>
                    <a:pt x="722" y="547"/>
                    <a:pt x="721" y="547"/>
                    <a:pt x="721" y="546"/>
                  </a:cubicBezTo>
                  <a:cubicBezTo>
                    <a:pt x="723" y="546"/>
                    <a:pt x="726" y="546"/>
                    <a:pt x="730" y="546"/>
                  </a:cubicBezTo>
                  <a:cubicBezTo>
                    <a:pt x="732" y="546"/>
                    <a:pt x="733" y="546"/>
                    <a:pt x="736" y="546"/>
                  </a:cubicBezTo>
                  <a:cubicBezTo>
                    <a:pt x="736" y="547"/>
                    <a:pt x="735" y="548"/>
                    <a:pt x="736" y="548"/>
                  </a:cubicBezTo>
                  <a:cubicBezTo>
                    <a:pt x="738" y="548"/>
                    <a:pt x="739" y="545"/>
                    <a:pt x="740" y="545"/>
                  </a:cubicBezTo>
                  <a:cubicBezTo>
                    <a:pt x="741" y="545"/>
                    <a:pt x="741" y="547"/>
                    <a:pt x="741" y="547"/>
                  </a:cubicBezTo>
                  <a:cubicBezTo>
                    <a:pt x="745" y="547"/>
                    <a:pt x="748" y="546"/>
                    <a:pt x="754" y="545"/>
                  </a:cubicBezTo>
                  <a:cubicBezTo>
                    <a:pt x="752" y="550"/>
                    <a:pt x="751" y="548"/>
                    <a:pt x="756" y="549"/>
                  </a:cubicBezTo>
                  <a:cubicBezTo>
                    <a:pt x="756" y="548"/>
                    <a:pt x="757" y="546"/>
                    <a:pt x="758" y="545"/>
                  </a:cubicBezTo>
                  <a:cubicBezTo>
                    <a:pt x="758" y="545"/>
                    <a:pt x="759" y="545"/>
                    <a:pt x="760" y="545"/>
                  </a:cubicBezTo>
                  <a:cubicBezTo>
                    <a:pt x="759" y="546"/>
                    <a:pt x="760" y="547"/>
                    <a:pt x="759" y="548"/>
                  </a:cubicBezTo>
                  <a:cubicBezTo>
                    <a:pt x="758" y="549"/>
                    <a:pt x="756" y="549"/>
                    <a:pt x="756" y="550"/>
                  </a:cubicBezTo>
                  <a:cubicBezTo>
                    <a:pt x="755" y="551"/>
                    <a:pt x="756" y="552"/>
                    <a:pt x="755" y="553"/>
                  </a:cubicBezTo>
                  <a:cubicBezTo>
                    <a:pt x="755" y="553"/>
                    <a:pt x="753" y="554"/>
                    <a:pt x="752" y="554"/>
                  </a:cubicBezTo>
                  <a:cubicBezTo>
                    <a:pt x="752" y="554"/>
                    <a:pt x="752" y="556"/>
                    <a:pt x="752" y="556"/>
                  </a:cubicBezTo>
                  <a:cubicBezTo>
                    <a:pt x="753" y="556"/>
                    <a:pt x="754" y="557"/>
                    <a:pt x="754" y="556"/>
                  </a:cubicBezTo>
                  <a:cubicBezTo>
                    <a:pt x="756" y="556"/>
                    <a:pt x="758" y="553"/>
                    <a:pt x="759" y="551"/>
                  </a:cubicBezTo>
                  <a:cubicBezTo>
                    <a:pt x="758" y="552"/>
                    <a:pt x="759" y="549"/>
                    <a:pt x="760" y="549"/>
                  </a:cubicBezTo>
                  <a:cubicBezTo>
                    <a:pt x="761" y="548"/>
                    <a:pt x="762" y="549"/>
                    <a:pt x="763" y="548"/>
                  </a:cubicBezTo>
                  <a:cubicBezTo>
                    <a:pt x="763" y="548"/>
                    <a:pt x="764" y="545"/>
                    <a:pt x="764" y="545"/>
                  </a:cubicBezTo>
                  <a:cubicBezTo>
                    <a:pt x="766" y="545"/>
                    <a:pt x="766" y="545"/>
                    <a:pt x="766" y="545"/>
                  </a:cubicBezTo>
                  <a:cubicBezTo>
                    <a:pt x="766" y="545"/>
                    <a:pt x="766" y="547"/>
                    <a:pt x="766" y="547"/>
                  </a:cubicBezTo>
                  <a:cubicBezTo>
                    <a:pt x="768" y="548"/>
                    <a:pt x="768" y="548"/>
                    <a:pt x="768" y="548"/>
                  </a:cubicBezTo>
                  <a:cubicBezTo>
                    <a:pt x="769" y="549"/>
                    <a:pt x="768" y="550"/>
                    <a:pt x="768" y="551"/>
                  </a:cubicBezTo>
                  <a:cubicBezTo>
                    <a:pt x="768" y="552"/>
                    <a:pt x="767" y="551"/>
                    <a:pt x="766" y="552"/>
                  </a:cubicBezTo>
                  <a:cubicBezTo>
                    <a:pt x="766" y="554"/>
                    <a:pt x="766" y="556"/>
                    <a:pt x="766" y="557"/>
                  </a:cubicBezTo>
                  <a:cubicBezTo>
                    <a:pt x="767" y="557"/>
                    <a:pt x="768" y="556"/>
                    <a:pt x="768" y="556"/>
                  </a:cubicBezTo>
                  <a:cubicBezTo>
                    <a:pt x="769" y="555"/>
                    <a:pt x="769" y="553"/>
                    <a:pt x="769" y="552"/>
                  </a:cubicBezTo>
                  <a:cubicBezTo>
                    <a:pt x="772" y="555"/>
                    <a:pt x="772" y="553"/>
                    <a:pt x="771" y="558"/>
                  </a:cubicBezTo>
                  <a:cubicBezTo>
                    <a:pt x="773" y="558"/>
                    <a:pt x="773" y="558"/>
                    <a:pt x="776" y="558"/>
                  </a:cubicBezTo>
                  <a:cubicBezTo>
                    <a:pt x="776" y="556"/>
                    <a:pt x="776" y="556"/>
                    <a:pt x="777" y="554"/>
                  </a:cubicBezTo>
                  <a:cubicBezTo>
                    <a:pt x="777" y="553"/>
                    <a:pt x="779" y="550"/>
                    <a:pt x="779" y="549"/>
                  </a:cubicBezTo>
                  <a:cubicBezTo>
                    <a:pt x="780" y="546"/>
                    <a:pt x="780" y="546"/>
                    <a:pt x="780" y="546"/>
                  </a:cubicBezTo>
                  <a:cubicBezTo>
                    <a:pt x="779" y="547"/>
                    <a:pt x="778" y="547"/>
                    <a:pt x="778" y="547"/>
                  </a:cubicBezTo>
                  <a:cubicBezTo>
                    <a:pt x="777" y="548"/>
                    <a:pt x="778" y="549"/>
                    <a:pt x="778" y="550"/>
                  </a:cubicBezTo>
                  <a:cubicBezTo>
                    <a:pt x="777" y="550"/>
                    <a:pt x="773" y="551"/>
                    <a:pt x="774" y="546"/>
                  </a:cubicBezTo>
                  <a:cubicBezTo>
                    <a:pt x="774" y="545"/>
                    <a:pt x="777" y="543"/>
                    <a:pt x="778" y="542"/>
                  </a:cubicBezTo>
                  <a:cubicBezTo>
                    <a:pt x="778" y="542"/>
                    <a:pt x="777" y="541"/>
                    <a:pt x="778" y="540"/>
                  </a:cubicBezTo>
                  <a:cubicBezTo>
                    <a:pt x="777" y="541"/>
                    <a:pt x="776" y="541"/>
                    <a:pt x="776" y="541"/>
                  </a:cubicBezTo>
                  <a:cubicBezTo>
                    <a:pt x="776" y="542"/>
                    <a:pt x="776" y="542"/>
                    <a:pt x="776" y="542"/>
                  </a:cubicBezTo>
                  <a:cubicBezTo>
                    <a:pt x="775" y="543"/>
                    <a:pt x="774" y="543"/>
                    <a:pt x="774" y="544"/>
                  </a:cubicBezTo>
                  <a:cubicBezTo>
                    <a:pt x="773" y="545"/>
                    <a:pt x="773" y="547"/>
                    <a:pt x="773" y="549"/>
                  </a:cubicBezTo>
                  <a:cubicBezTo>
                    <a:pt x="772" y="549"/>
                    <a:pt x="771" y="548"/>
                    <a:pt x="769" y="548"/>
                  </a:cubicBezTo>
                  <a:cubicBezTo>
                    <a:pt x="768" y="546"/>
                    <a:pt x="768" y="546"/>
                    <a:pt x="768" y="546"/>
                  </a:cubicBezTo>
                  <a:cubicBezTo>
                    <a:pt x="769" y="546"/>
                    <a:pt x="770" y="546"/>
                    <a:pt x="771" y="546"/>
                  </a:cubicBezTo>
                  <a:cubicBezTo>
                    <a:pt x="771" y="546"/>
                    <a:pt x="771" y="544"/>
                    <a:pt x="772" y="544"/>
                  </a:cubicBezTo>
                  <a:cubicBezTo>
                    <a:pt x="770" y="543"/>
                    <a:pt x="770" y="543"/>
                    <a:pt x="769" y="542"/>
                  </a:cubicBezTo>
                  <a:cubicBezTo>
                    <a:pt x="769" y="542"/>
                    <a:pt x="769" y="541"/>
                    <a:pt x="769" y="540"/>
                  </a:cubicBezTo>
                  <a:cubicBezTo>
                    <a:pt x="769" y="540"/>
                    <a:pt x="771" y="540"/>
                    <a:pt x="771" y="540"/>
                  </a:cubicBezTo>
                  <a:cubicBezTo>
                    <a:pt x="772" y="538"/>
                    <a:pt x="772" y="537"/>
                    <a:pt x="773" y="535"/>
                  </a:cubicBezTo>
                  <a:cubicBezTo>
                    <a:pt x="771" y="536"/>
                    <a:pt x="771" y="536"/>
                    <a:pt x="770" y="536"/>
                  </a:cubicBezTo>
                  <a:cubicBezTo>
                    <a:pt x="770" y="538"/>
                    <a:pt x="770" y="538"/>
                    <a:pt x="770" y="538"/>
                  </a:cubicBezTo>
                  <a:cubicBezTo>
                    <a:pt x="769" y="538"/>
                    <a:pt x="769" y="537"/>
                    <a:pt x="768" y="537"/>
                  </a:cubicBezTo>
                  <a:cubicBezTo>
                    <a:pt x="767" y="537"/>
                    <a:pt x="765" y="539"/>
                    <a:pt x="765" y="539"/>
                  </a:cubicBezTo>
                  <a:cubicBezTo>
                    <a:pt x="764" y="539"/>
                    <a:pt x="764" y="538"/>
                    <a:pt x="763" y="538"/>
                  </a:cubicBezTo>
                  <a:cubicBezTo>
                    <a:pt x="764" y="537"/>
                    <a:pt x="764" y="535"/>
                    <a:pt x="765" y="534"/>
                  </a:cubicBezTo>
                  <a:cubicBezTo>
                    <a:pt x="764" y="534"/>
                    <a:pt x="764" y="535"/>
                    <a:pt x="764" y="535"/>
                  </a:cubicBezTo>
                  <a:cubicBezTo>
                    <a:pt x="763" y="535"/>
                    <a:pt x="762" y="535"/>
                    <a:pt x="762" y="535"/>
                  </a:cubicBezTo>
                  <a:cubicBezTo>
                    <a:pt x="762" y="535"/>
                    <a:pt x="762" y="534"/>
                    <a:pt x="762" y="533"/>
                  </a:cubicBezTo>
                  <a:cubicBezTo>
                    <a:pt x="761" y="532"/>
                    <a:pt x="761" y="532"/>
                    <a:pt x="760" y="532"/>
                  </a:cubicBezTo>
                  <a:cubicBezTo>
                    <a:pt x="762" y="531"/>
                    <a:pt x="762" y="531"/>
                    <a:pt x="762" y="531"/>
                  </a:cubicBezTo>
                  <a:cubicBezTo>
                    <a:pt x="762" y="531"/>
                    <a:pt x="763" y="527"/>
                    <a:pt x="764" y="526"/>
                  </a:cubicBezTo>
                  <a:cubicBezTo>
                    <a:pt x="762" y="525"/>
                    <a:pt x="762" y="525"/>
                    <a:pt x="761" y="524"/>
                  </a:cubicBezTo>
                  <a:cubicBezTo>
                    <a:pt x="760" y="524"/>
                    <a:pt x="760" y="524"/>
                    <a:pt x="760" y="524"/>
                  </a:cubicBezTo>
                  <a:cubicBezTo>
                    <a:pt x="759" y="526"/>
                    <a:pt x="759" y="526"/>
                    <a:pt x="759" y="526"/>
                  </a:cubicBezTo>
                  <a:cubicBezTo>
                    <a:pt x="754" y="528"/>
                    <a:pt x="756" y="524"/>
                    <a:pt x="755" y="523"/>
                  </a:cubicBezTo>
                  <a:cubicBezTo>
                    <a:pt x="751" y="526"/>
                    <a:pt x="756" y="525"/>
                    <a:pt x="750" y="525"/>
                  </a:cubicBezTo>
                  <a:cubicBezTo>
                    <a:pt x="750" y="525"/>
                    <a:pt x="750" y="528"/>
                    <a:pt x="750" y="528"/>
                  </a:cubicBezTo>
                  <a:cubicBezTo>
                    <a:pt x="749" y="528"/>
                    <a:pt x="749" y="527"/>
                    <a:pt x="748" y="526"/>
                  </a:cubicBezTo>
                  <a:cubicBezTo>
                    <a:pt x="747" y="526"/>
                    <a:pt x="745" y="527"/>
                    <a:pt x="744" y="527"/>
                  </a:cubicBezTo>
                  <a:cubicBezTo>
                    <a:pt x="743" y="527"/>
                    <a:pt x="745" y="526"/>
                    <a:pt x="745" y="526"/>
                  </a:cubicBezTo>
                  <a:cubicBezTo>
                    <a:pt x="745" y="524"/>
                    <a:pt x="745" y="524"/>
                    <a:pt x="745" y="524"/>
                  </a:cubicBezTo>
                  <a:cubicBezTo>
                    <a:pt x="743" y="525"/>
                    <a:pt x="743" y="525"/>
                    <a:pt x="741" y="525"/>
                  </a:cubicBezTo>
                  <a:cubicBezTo>
                    <a:pt x="746" y="521"/>
                    <a:pt x="745" y="521"/>
                    <a:pt x="740" y="518"/>
                  </a:cubicBezTo>
                  <a:cubicBezTo>
                    <a:pt x="739" y="518"/>
                    <a:pt x="740" y="520"/>
                    <a:pt x="740" y="520"/>
                  </a:cubicBezTo>
                  <a:cubicBezTo>
                    <a:pt x="739" y="520"/>
                    <a:pt x="739" y="519"/>
                    <a:pt x="738" y="519"/>
                  </a:cubicBezTo>
                  <a:cubicBezTo>
                    <a:pt x="737" y="522"/>
                    <a:pt x="736" y="523"/>
                    <a:pt x="734" y="525"/>
                  </a:cubicBezTo>
                  <a:cubicBezTo>
                    <a:pt x="734" y="525"/>
                    <a:pt x="735" y="522"/>
                    <a:pt x="735" y="522"/>
                  </a:cubicBezTo>
                  <a:cubicBezTo>
                    <a:pt x="734" y="523"/>
                    <a:pt x="734" y="520"/>
                    <a:pt x="734" y="520"/>
                  </a:cubicBezTo>
                  <a:cubicBezTo>
                    <a:pt x="734" y="520"/>
                    <a:pt x="733" y="519"/>
                    <a:pt x="734" y="518"/>
                  </a:cubicBezTo>
                  <a:cubicBezTo>
                    <a:pt x="734" y="516"/>
                    <a:pt x="737" y="515"/>
                    <a:pt x="737" y="514"/>
                  </a:cubicBezTo>
                  <a:cubicBezTo>
                    <a:pt x="738" y="512"/>
                    <a:pt x="737" y="510"/>
                    <a:pt x="737" y="508"/>
                  </a:cubicBezTo>
                  <a:cubicBezTo>
                    <a:pt x="738" y="508"/>
                    <a:pt x="738" y="508"/>
                    <a:pt x="738" y="508"/>
                  </a:cubicBezTo>
                  <a:cubicBezTo>
                    <a:pt x="738" y="508"/>
                    <a:pt x="740" y="508"/>
                    <a:pt x="740" y="507"/>
                  </a:cubicBezTo>
                  <a:cubicBezTo>
                    <a:pt x="742" y="506"/>
                    <a:pt x="743" y="504"/>
                    <a:pt x="740" y="504"/>
                  </a:cubicBezTo>
                  <a:cubicBezTo>
                    <a:pt x="740" y="503"/>
                    <a:pt x="740" y="503"/>
                    <a:pt x="740" y="503"/>
                  </a:cubicBezTo>
                  <a:cubicBezTo>
                    <a:pt x="740" y="502"/>
                    <a:pt x="741" y="503"/>
                    <a:pt x="742" y="503"/>
                  </a:cubicBezTo>
                  <a:cubicBezTo>
                    <a:pt x="742" y="501"/>
                    <a:pt x="742" y="501"/>
                    <a:pt x="742" y="501"/>
                  </a:cubicBezTo>
                  <a:cubicBezTo>
                    <a:pt x="744" y="501"/>
                    <a:pt x="744" y="501"/>
                    <a:pt x="744" y="501"/>
                  </a:cubicBezTo>
                  <a:cubicBezTo>
                    <a:pt x="744" y="500"/>
                    <a:pt x="743" y="499"/>
                    <a:pt x="744" y="499"/>
                  </a:cubicBezTo>
                  <a:cubicBezTo>
                    <a:pt x="743" y="499"/>
                    <a:pt x="740" y="500"/>
                    <a:pt x="741" y="500"/>
                  </a:cubicBezTo>
                  <a:cubicBezTo>
                    <a:pt x="740" y="500"/>
                    <a:pt x="738" y="499"/>
                    <a:pt x="738" y="499"/>
                  </a:cubicBezTo>
                  <a:close/>
                  <a:moveTo>
                    <a:pt x="363" y="494"/>
                  </a:moveTo>
                  <a:cubicBezTo>
                    <a:pt x="366" y="494"/>
                    <a:pt x="366" y="496"/>
                    <a:pt x="367" y="498"/>
                  </a:cubicBezTo>
                  <a:cubicBezTo>
                    <a:pt x="368" y="498"/>
                    <a:pt x="369" y="497"/>
                    <a:pt x="369" y="497"/>
                  </a:cubicBezTo>
                  <a:cubicBezTo>
                    <a:pt x="370" y="498"/>
                    <a:pt x="369" y="501"/>
                    <a:pt x="369" y="502"/>
                  </a:cubicBezTo>
                  <a:cubicBezTo>
                    <a:pt x="370" y="503"/>
                    <a:pt x="372" y="504"/>
                    <a:pt x="373" y="505"/>
                  </a:cubicBezTo>
                  <a:cubicBezTo>
                    <a:pt x="374" y="506"/>
                    <a:pt x="373" y="507"/>
                    <a:pt x="373" y="509"/>
                  </a:cubicBezTo>
                  <a:cubicBezTo>
                    <a:pt x="374" y="510"/>
                    <a:pt x="375" y="511"/>
                    <a:pt x="376" y="513"/>
                  </a:cubicBezTo>
                  <a:cubicBezTo>
                    <a:pt x="375" y="514"/>
                    <a:pt x="376" y="514"/>
                    <a:pt x="375" y="515"/>
                  </a:cubicBezTo>
                  <a:cubicBezTo>
                    <a:pt x="374" y="515"/>
                    <a:pt x="372" y="515"/>
                    <a:pt x="371" y="515"/>
                  </a:cubicBezTo>
                  <a:cubicBezTo>
                    <a:pt x="371" y="512"/>
                    <a:pt x="371" y="508"/>
                    <a:pt x="369" y="505"/>
                  </a:cubicBezTo>
                  <a:cubicBezTo>
                    <a:pt x="369" y="505"/>
                    <a:pt x="368" y="505"/>
                    <a:pt x="367" y="505"/>
                  </a:cubicBezTo>
                  <a:cubicBezTo>
                    <a:pt x="367" y="504"/>
                    <a:pt x="368" y="503"/>
                    <a:pt x="367" y="503"/>
                  </a:cubicBezTo>
                  <a:cubicBezTo>
                    <a:pt x="367" y="500"/>
                    <a:pt x="362" y="499"/>
                    <a:pt x="362" y="497"/>
                  </a:cubicBezTo>
                  <a:cubicBezTo>
                    <a:pt x="362" y="495"/>
                    <a:pt x="362" y="494"/>
                    <a:pt x="363" y="494"/>
                  </a:cubicBezTo>
                  <a:close/>
                  <a:moveTo>
                    <a:pt x="625" y="481"/>
                  </a:moveTo>
                  <a:cubicBezTo>
                    <a:pt x="626" y="481"/>
                    <a:pt x="626" y="481"/>
                    <a:pt x="627" y="482"/>
                  </a:cubicBezTo>
                  <a:cubicBezTo>
                    <a:pt x="626" y="484"/>
                    <a:pt x="626" y="485"/>
                    <a:pt x="626" y="487"/>
                  </a:cubicBezTo>
                  <a:cubicBezTo>
                    <a:pt x="625" y="488"/>
                    <a:pt x="625" y="487"/>
                    <a:pt x="623" y="487"/>
                  </a:cubicBezTo>
                  <a:cubicBezTo>
                    <a:pt x="623" y="487"/>
                    <a:pt x="622" y="489"/>
                    <a:pt x="621" y="489"/>
                  </a:cubicBezTo>
                  <a:cubicBezTo>
                    <a:pt x="621" y="488"/>
                    <a:pt x="620" y="488"/>
                    <a:pt x="621" y="486"/>
                  </a:cubicBezTo>
                  <a:cubicBezTo>
                    <a:pt x="621" y="484"/>
                    <a:pt x="624" y="482"/>
                    <a:pt x="625" y="481"/>
                  </a:cubicBezTo>
                  <a:close/>
                  <a:moveTo>
                    <a:pt x="519" y="480"/>
                  </a:moveTo>
                  <a:cubicBezTo>
                    <a:pt x="519" y="480"/>
                    <a:pt x="517" y="483"/>
                    <a:pt x="517" y="483"/>
                  </a:cubicBezTo>
                  <a:cubicBezTo>
                    <a:pt x="520" y="484"/>
                    <a:pt x="522" y="485"/>
                    <a:pt x="526" y="486"/>
                  </a:cubicBezTo>
                  <a:cubicBezTo>
                    <a:pt x="526" y="486"/>
                    <a:pt x="526" y="483"/>
                    <a:pt x="526" y="483"/>
                  </a:cubicBezTo>
                  <a:cubicBezTo>
                    <a:pt x="525" y="483"/>
                    <a:pt x="524" y="483"/>
                    <a:pt x="524" y="483"/>
                  </a:cubicBezTo>
                  <a:cubicBezTo>
                    <a:pt x="522" y="481"/>
                    <a:pt x="522" y="481"/>
                    <a:pt x="519" y="480"/>
                  </a:cubicBezTo>
                  <a:close/>
                  <a:moveTo>
                    <a:pt x="357" y="474"/>
                  </a:moveTo>
                  <a:cubicBezTo>
                    <a:pt x="360" y="474"/>
                    <a:pt x="359" y="477"/>
                    <a:pt x="357" y="478"/>
                  </a:cubicBezTo>
                  <a:cubicBezTo>
                    <a:pt x="359" y="479"/>
                    <a:pt x="360" y="479"/>
                    <a:pt x="361" y="480"/>
                  </a:cubicBezTo>
                  <a:cubicBezTo>
                    <a:pt x="361" y="485"/>
                    <a:pt x="361" y="489"/>
                    <a:pt x="361" y="494"/>
                  </a:cubicBezTo>
                  <a:cubicBezTo>
                    <a:pt x="360" y="494"/>
                    <a:pt x="359" y="494"/>
                    <a:pt x="357" y="494"/>
                  </a:cubicBezTo>
                  <a:cubicBezTo>
                    <a:pt x="357" y="493"/>
                    <a:pt x="356" y="492"/>
                    <a:pt x="356" y="492"/>
                  </a:cubicBezTo>
                  <a:cubicBezTo>
                    <a:pt x="356" y="490"/>
                    <a:pt x="357" y="490"/>
                    <a:pt x="357" y="489"/>
                  </a:cubicBezTo>
                  <a:cubicBezTo>
                    <a:pt x="359" y="483"/>
                    <a:pt x="354" y="480"/>
                    <a:pt x="351" y="478"/>
                  </a:cubicBezTo>
                  <a:cubicBezTo>
                    <a:pt x="352" y="478"/>
                    <a:pt x="355" y="477"/>
                    <a:pt x="357" y="477"/>
                  </a:cubicBezTo>
                  <a:cubicBezTo>
                    <a:pt x="356" y="477"/>
                    <a:pt x="355" y="474"/>
                    <a:pt x="357" y="474"/>
                  </a:cubicBezTo>
                  <a:close/>
                  <a:moveTo>
                    <a:pt x="667" y="473"/>
                  </a:moveTo>
                  <a:cubicBezTo>
                    <a:pt x="667" y="473"/>
                    <a:pt x="672" y="476"/>
                    <a:pt x="672" y="476"/>
                  </a:cubicBezTo>
                  <a:cubicBezTo>
                    <a:pt x="672" y="476"/>
                    <a:pt x="672" y="478"/>
                    <a:pt x="672" y="478"/>
                  </a:cubicBezTo>
                  <a:cubicBezTo>
                    <a:pt x="671" y="478"/>
                    <a:pt x="669" y="479"/>
                    <a:pt x="669" y="479"/>
                  </a:cubicBezTo>
                  <a:cubicBezTo>
                    <a:pt x="668" y="479"/>
                    <a:pt x="666" y="473"/>
                    <a:pt x="667" y="473"/>
                  </a:cubicBezTo>
                  <a:close/>
                  <a:moveTo>
                    <a:pt x="634" y="463"/>
                  </a:moveTo>
                  <a:cubicBezTo>
                    <a:pt x="634" y="465"/>
                    <a:pt x="634" y="467"/>
                    <a:pt x="634" y="469"/>
                  </a:cubicBezTo>
                  <a:cubicBezTo>
                    <a:pt x="633" y="469"/>
                    <a:pt x="633" y="469"/>
                    <a:pt x="633" y="469"/>
                  </a:cubicBezTo>
                  <a:cubicBezTo>
                    <a:pt x="633" y="470"/>
                    <a:pt x="634" y="470"/>
                    <a:pt x="633" y="472"/>
                  </a:cubicBezTo>
                  <a:cubicBezTo>
                    <a:pt x="631" y="471"/>
                    <a:pt x="628" y="474"/>
                    <a:pt x="630" y="468"/>
                  </a:cubicBezTo>
                  <a:cubicBezTo>
                    <a:pt x="630" y="467"/>
                    <a:pt x="632" y="467"/>
                    <a:pt x="633" y="467"/>
                  </a:cubicBezTo>
                  <a:cubicBezTo>
                    <a:pt x="633" y="466"/>
                    <a:pt x="633" y="465"/>
                    <a:pt x="633" y="464"/>
                  </a:cubicBezTo>
                  <a:cubicBezTo>
                    <a:pt x="633" y="464"/>
                    <a:pt x="634" y="463"/>
                    <a:pt x="634" y="463"/>
                  </a:cubicBezTo>
                  <a:close/>
                  <a:moveTo>
                    <a:pt x="374" y="461"/>
                  </a:moveTo>
                  <a:cubicBezTo>
                    <a:pt x="374" y="461"/>
                    <a:pt x="374" y="463"/>
                    <a:pt x="374" y="463"/>
                  </a:cubicBezTo>
                  <a:cubicBezTo>
                    <a:pt x="375" y="464"/>
                    <a:pt x="376" y="463"/>
                    <a:pt x="376" y="463"/>
                  </a:cubicBezTo>
                  <a:cubicBezTo>
                    <a:pt x="376" y="467"/>
                    <a:pt x="375" y="470"/>
                    <a:pt x="377" y="474"/>
                  </a:cubicBezTo>
                  <a:cubicBezTo>
                    <a:pt x="377" y="474"/>
                    <a:pt x="379" y="476"/>
                    <a:pt x="379" y="476"/>
                  </a:cubicBezTo>
                  <a:cubicBezTo>
                    <a:pt x="379" y="477"/>
                    <a:pt x="378" y="478"/>
                    <a:pt x="379" y="479"/>
                  </a:cubicBezTo>
                  <a:cubicBezTo>
                    <a:pt x="379" y="479"/>
                    <a:pt x="379" y="479"/>
                    <a:pt x="379" y="479"/>
                  </a:cubicBezTo>
                  <a:cubicBezTo>
                    <a:pt x="380" y="481"/>
                    <a:pt x="381" y="483"/>
                    <a:pt x="383" y="485"/>
                  </a:cubicBezTo>
                  <a:cubicBezTo>
                    <a:pt x="384" y="486"/>
                    <a:pt x="384" y="486"/>
                    <a:pt x="384" y="486"/>
                  </a:cubicBezTo>
                  <a:cubicBezTo>
                    <a:pt x="385" y="488"/>
                    <a:pt x="383" y="488"/>
                    <a:pt x="383" y="489"/>
                  </a:cubicBezTo>
                  <a:cubicBezTo>
                    <a:pt x="384" y="490"/>
                    <a:pt x="387" y="497"/>
                    <a:pt x="389" y="497"/>
                  </a:cubicBezTo>
                  <a:cubicBezTo>
                    <a:pt x="389" y="498"/>
                    <a:pt x="389" y="498"/>
                    <a:pt x="389" y="498"/>
                  </a:cubicBezTo>
                  <a:cubicBezTo>
                    <a:pt x="390" y="499"/>
                    <a:pt x="392" y="498"/>
                    <a:pt x="393" y="499"/>
                  </a:cubicBezTo>
                  <a:cubicBezTo>
                    <a:pt x="391" y="503"/>
                    <a:pt x="392" y="505"/>
                    <a:pt x="393" y="510"/>
                  </a:cubicBezTo>
                  <a:cubicBezTo>
                    <a:pt x="392" y="510"/>
                    <a:pt x="390" y="510"/>
                    <a:pt x="389" y="511"/>
                  </a:cubicBezTo>
                  <a:cubicBezTo>
                    <a:pt x="389" y="511"/>
                    <a:pt x="389" y="512"/>
                    <a:pt x="389" y="513"/>
                  </a:cubicBezTo>
                  <a:cubicBezTo>
                    <a:pt x="389" y="513"/>
                    <a:pt x="387" y="512"/>
                    <a:pt x="387" y="513"/>
                  </a:cubicBezTo>
                  <a:cubicBezTo>
                    <a:pt x="386" y="508"/>
                    <a:pt x="387" y="503"/>
                    <a:pt x="385" y="499"/>
                  </a:cubicBezTo>
                  <a:cubicBezTo>
                    <a:pt x="385" y="498"/>
                    <a:pt x="383" y="499"/>
                    <a:pt x="383" y="499"/>
                  </a:cubicBezTo>
                  <a:cubicBezTo>
                    <a:pt x="383" y="498"/>
                    <a:pt x="383" y="497"/>
                    <a:pt x="383" y="496"/>
                  </a:cubicBezTo>
                  <a:cubicBezTo>
                    <a:pt x="383" y="495"/>
                    <a:pt x="383" y="495"/>
                    <a:pt x="383" y="495"/>
                  </a:cubicBezTo>
                  <a:cubicBezTo>
                    <a:pt x="382" y="495"/>
                    <a:pt x="380" y="495"/>
                    <a:pt x="379" y="495"/>
                  </a:cubicBezTo>
                  <a:cubicBezTo>
                    <a:pt x="379" y="491"/>
                    <a:pt x="378" y="492"/>
                    <a:pt x="380" y="489"/>
                  </a:cubicBezTo>
                  <a:cubicBezTo>
                    <a:pt x="378" y="488"/>
                    <a:pt x="378" y="486"/>
                    <a:pt x="376" y="487"/>
                  </a:cubicBezTo>
                  <a:cubicBezTo>
                    <a:pt x="376" y="488"/>
                    <a:pt x="377" y="488"/>
                    <a:pt x="375" y="488"/>
                  </a:cubicBezTo>
                  <a:cubicBezTo>
                    <a:pt x="374" y="488"/>
                    <a:pt x="374" y="485"/>
                    <a:pt x="373" y="485"/>
                  </a:cubicBezTo>
                  <a:cubicBezTo>
                    <a:pt x="372" y="484"/>
                    <a:pt x="369" y="483"/>
                    <a:pt x="368" y="482"/>
                  </a:cubicBezTo>
                  <a:cubicBezTo>
                    <a:pt x="367" y="481"/>
                    <a:pt x="368" y="480"/>
                    <a:pt x="367" y="478"/>
                  </a:cubicBezTo>
                  <a:cubicBezTo>
                    <a:pt x="368" y="478"/>
                    <a:pt x="369" y="478"/>
                    <a:pt x="369" y="477"/>
                  </a:cubicBezTo>
                  <a:cubicBezTo>
                    <a:pt x="364" y="475"/>
                    <a:pt x="366" y="477"/>
                    <a:pt x="363" y="473"/>
                  </a:cubicBezTo>
                  <a:cubicBezTo>
                    <a:pt x="365" y="471"/>
                    <a:pt x="367" y="468"/>
                    <a:pt x="368" y="465"/>
                  </a:cubicBezTo>
                  <a:cubicBezTo>
                    <a:pt x="369" y="465"/>
                    <a:pt x="371" y="465"/>
                    <a:pt x="373" y="465"/>
                  </a:cubicBezTo>
                  <a:cubicBezTo>
                    <a:pt x="373" y="465"/>
                    <a:pt x="373" y="463"/>
                    <a:pt x="373" y="463"/>
                  </a:cubicBezTo>
                  <a:cubicBezTo>
                    <a:pt x="373" y="463"/>
                    <a:pt x="372" y="463"/>
                    <a:pt x="372" y="462"/>
                  </a:cubicBezTo>
                  <a:lnTo>
                    <a:pt x="374" y="461"/>
                  </a:lnTo>
                  <a:close/>
                  <a:moveTo>
                    <a:pt x="592" y="457"/>
                  </a:moveTo>
                  <a:cubicBezTo>
                    <a:pt x="594" y="457"/>
                    <a:pt x="592" y="459"/>
                    <a:pt x="592" y="459"/>
                  </a:cubicBezTo>
                  <a:cubicBezTo>
                    <a:pt x="590" y="459"/>
                    <a:pt x="591" y="458"/>
                    <a:pt x="592" y="457"/>
                  </a:cubicBezTo>
                  <a:close/>
                  <a:moveTo>
                    <a:pt x="651" y="453"/>
                  </a:moveTo>
                  <a:cubicBezTo>
                    <a:pt x="652" y="453"/>
                    <a:pt x="654" y="456"/>
                    <a:pt x="652" y="455"/>
                  </a:cubicBezTo>
                  <a:cubicBezTo>
                    <a:pt x="652" y="455"/>
                    <a:pt x="650" y="452"/>
                    <a:pt x="651" y="453"/>
                  </a:cubicBezTo>
                  <a:close/>
                  <a:moveTo>
                    <a:pt x="591" y="442"/>
                  </a:moveTo>
                  <a:cubicBezTo>
                    <a:pt x="591" y="442"/>
                    <a:pt x="591" y="442"/>
                    <a:pt x="591" y="442"/>
                  </a:cubicBezTo>
                  <a:cubicBezTo>
                    <a:pt x="590" y="444"/>
                    <a:pt x="592" y="445"/>
                    <a:pt x="589" y="446"/>
                  </a:cubicBezTo>
                  <a:cubicBezTo>
                    <a:pt x="588" y="447"/>
                    <a:pt x="589" y="443"/>
                    <a:pt x="591" y="442"/>
                  </a:cubicBezTo>
                  <a:close/>
                  <a:moveTo>
                    <a:pt x="535" y="439"/>
                  </a:moveTo>
                  <a:cubicBezTo>
                    <a:pt x="534" y="439"/>
                    <a:pt x="534" y="440"/>
                    <a:pt x="536" y="441"/>
                  </a:cubicBezTo>
                  <a:cubicBezTo>
                    <a:pt x="536" y="441"/>
                    <a:pt x="537" y="438"/>
                    <a:pt x="535" y="439"/>
                  </a:cubicBezTo>
                  <a:close/>
                  <a:moveTo>
                    <a:pt x="579" y="435"/>
                  </a:moveTo>
                  <a:cubicBezTo>
                    <a:pt x="581" y="435"/>
                    <a:pt x="582" y="437"/>
                    <a:pt x="583" y="437"/>
                  </a:cubicBezTo>
                  <a:cubicBezTo>
                    <a:pt x="583" y="438"/>
                    <a:pt x="583" y="439"/>
                    <a:pt x="583" y="439"/>
                  </a:cubicBezTo>
                  <a:cubicBezTo>
                    <a:pt x="582" y="439"/>
                    <a:pt x="580" y="439"/>
                    <a:pt x="578" y="439"/>
                  </a:cubicBezTo>
                  <a:cubicBezTo>
                    <a:pt x="578" y="438"/>
                    <a:pt x="576" y="436"/>
                    <a:pt x="579" y="435"/>
                  </a:cubicBezTo>
                  <a:close/>
                  <a:moveTo>
                    <a:pt x="534" y="434"/>
                  </a:moveTo>
                  <a:cubicBezTo>
                    <a:pt x="532" y="434"/>
                    <a:pt x="533" y="436"/>
                    <a:pt x="534" y="436"/>
                  </a:cubicBezTo>
                  <a:cubicBezTo>
                    <a:pt x="534" y="436"/>
                    <a:pt x="536" y="433"/>
                    <a:pt x="534" y="434"/>
                  </a:cubicBezTo>
                  <a:close/>
                  <a:moveTo>
                    <a:pt x="330" y="432"/>
                  </a:moveTo>
                  <a:cubicBezTo>
                    <a:pt x="330" y="433"/>
                    <a:pt x="330" y="433"/>
                    <a:pt x="330" y="433"/>
                  </a:cubicBezTo>
                  <a:cubicBezTo>
                    <a:pt x="334" y="432"/>
                    <a:pt x="331" y="435"/>
                    <a:pt x="331" y="435"/>
                  </a:cubicBezTo>
                  <a:cubicBezTo>
                    <a:pt x="328" y="435"/>
                    <a:pt x="329" y="432"/>
                    <a:pt x="330" y="432"/>
                  </a:cubicBezTo>
                  <a:close/>
                  <a:moveTo>
                    <a:pt x="538" y="430"/>
                  </a:moveTo>
                  <a:cubicBezTo>
                    <a:pt x="538" y="434"/>
                    <a:pt x="537" y="437"/>
                    <a:pt x="537" y="440"/>
                  </a:cubicBezTo>
                  <a:cubicBezTo>
                    <a:pt x="537" y="440"/>
                    <a:pt x="539" y="440"/>
                    <a:pt x="539" y="440"/>
                  </a:cubicBezTo>
                  <a:cubicBezTo>
                    <a:pt x="540" y="437"/>
                    <a:pt x="541" y="434"/>
                    <a:pt x="541" y="431"/>
                  </a:cubicBezTo>
                  <a:cubicBezTo>
                    <a:pt x="540" y="430"/>
                    <a:pt x="539" y="431"/>
                    <a:pt x="538" y="430"/>
                  </a:cubicBezTo>
                  <a:close/>
                  <a:moveTo>
                    <a:pt x="535" y="429"/>
                  </a:moveTo>
                  <a:cubicBezTo>
                    <a:pt x="533" y="430"/>
                    <a:pt x="531" y="433"/>
                    <a:pt x="535" y="432"/>
                  </a:cubicBezTo>
                  <a:cubicBezTo>
                    <a:pt x="535" y="432"/>
                    <a:pt x="538" y="429"/>
                    <a:pt x="535" y="429"/>
                  </a:cubicBezTo>
                  <a:close/>
                  <a:moveTo>
                    <a:pt x="341" y="409"/>
                  </a:moveTo>
                  <a:cubicBezTo>
                    <a:pt x="342" y="410"/>
                    <a:pt x="342" y="411"/>
                    <a:pt x="342" y="411"/>
                  </a:cubicBezTo>
                  <a:cubicBezTo>
                    <a:pt x="343" y="411"/>
                    <a:pt x="344" y="411"/>
                    <a:pt x="345" y="411"/>
                  </a:cubicBezTo>
                  <a:cubicBezTo>
                    <a:pt x="344" y="413"/>
                    <a:pt x="344" y="414"/>
                    <a:pt x="344" y="415"/>
                  </a:cubicBezTo>
                  <a:cubicBezTo>
                    <a:pt x="343" y="416"/>
                    <a:pt x="342" y="416"/>
                    <a:pt x="342" y="417"/>
                  </a:cubicBezTo>
                  <a:cubicBezTo>
                    <a:pt x="341" y="419"/>
                    <a:pt x="343" y="419"/>
                    <a:pt x="343" y="421"/>
                  </a:cubicBezTo>
                  <a:cubicBezTo>
                    <a:pt x="343" y="421"/>
                    <a:pt x="341" y="422"/>
                    <a:pt x="341" y="422"/>
                  </a:cubicBezTo>
                  <a:cubicBezTo>
                    <a:pt x="338" y="428"/>
                    <a:pt x="342" y="429"/>
                    <a:pt x="335" y="431"/>
                  </a:cubicBezTo>
                  <a:cubicBezTo>
                    <a:pt x="335" y="429"/>
                    <a:pt x="335" y="429"/>
                    <a:pt x="335" y="426"/>
                  </a:cubicBezTo>
                  <a:cubicBezTo>
                    <a:pt x="334" y="421"/>
                    <a:pt x="332" y="423"/>
                    <a:pt x="335" y="418"/>
                  </a:cubicBezTo>
                  <a:cubicBezTo>
                    <a:pt x="337" y="415"/>
                    <a:pt x="339" y="412"/>
                    <a:pt x="341" y="409"/>
                  </a:cubicBezTo>
                  <a:close/>
                  <a:moveTo>
                    <a:pt x="334" y="402"/>
                  </a:moveTo>
                  <a:cubicBezTo>
                    <a:pt x="334" y="404"/>
                    <a:pt x="337" y="408"/>
                    <a:pt x="332" y="409"/>
                  </a:cubicBezTo>
                  <a:cubicBezTo>
                    <a:pt x="331" y="409"/>
                    <a:pt x="331" y="407"/>
                    <a:pt x="330" y="405"/>
                  </a:cubicBezTo>
                  <a:cubicBezTo>
                    <a:pt x="331" y="404"/>
                    <a:pt x="332" y="403"/>
                    <a:pt x="334" y="402"/>
                  </a:cubicBezTo>
                  <a:close/>
                  <a:moveTo>
                    <a:pt x="626" y="391"/>
                  </a:moveTo>
                  <a:cubicBezTo>
                    <a:pt x="627" y="392"/>
                    <a:pt x="627" y="392"/>
                    <a:pt x="627" y="392"/>
                  </a:cubicBezTo>
                  <a:cubicBezTo>
                    <a:pt x="626" y="391"/>
                    <a:pt x="627" y="391"/>
                    <a:pt x="626" y="391"/>
                  </a:cubicBezTo>
                  <a:close/>
                  <a:moveTo>
                    <a:pt x="635" y="374"/>
                  </a:moveTo>
                  <a:cubicBezTo>
                    <a:pt x="635" y="376"/>
                    <a:pt x="635" y="376"/>
                    <a:pt x="635" y="376"/>
                  </a:cubicBezTo>
                  <a:cubicBezTo>
                    <a:pt x="638" y="375"/>
                    <a:pt x="638" y="374"/>
                    <a:pt x="635" y="374"/>
                  </a:cubicBezTo>
                  <a:close/>
                  <a:moveTo>
                    <a:pt x="611" y="353"/>
                  </a:moveTo>
                  <a:cubicBezTo>
                    <a:pt x="611" y="353"/>
                    <a:pt x="613" y="355"/>
                    <a:pt x="613" y="356"/>
                  </a:cubicBezTo>
                  <a:cubicBezTo>
                    <a:pt x="620" y="354"/>
                    <a:pt x="613" y="354"/>
                    <a:pt x="611" y="353"/>
                  </a:cubicBezTo>
                  <a:close/>
                  <a:moveTo>
                    <a:pt x="586" y="328"/>
                  </a:moveTo>
                  <a:cubicBezTo>
                    <a:pt x="585" y="328"/>
                    <a:pt x="587" y="330"/>
                    <a:pt x="587" y="330"/>
                  </a:cubicBezTo>
                  <a:cubicBezTo>
                    <a:pt x="587" y="330"/>
                    <a:pt x="589" y="326"/>
                    <a:pt x="586" y="328"/>
                  </a:cubicBezTo>
                  <a:close/>
                  <a:moveTo>
                    <a:pt x="657" y="320"/>
                  </a:moveTo>
                  <a:cubicBezTo>
                    <a:pt x="657" y="321"/>
                    <a:pt x="659" y="324"/>
                    <a:pt x="657" y="322"/>
                  </a:cubicBezTo>
                  <a:cubicBezTo>
                    <a:pt x="657" y="322"/>
                    <a:pt x="655" y="320"/>
                    <a:pt x="657" y="320"/>
                  </a:cubicBezTo>
                  <a:close/>
                  <a:moveTo>
                    <a:pt x="485" y="299"/>
                  </a:moveTo>
                  <a:cubicBezTo>
                    <a:pt x="486" y="300"/>
                    <a:pt x="487" y="303"/>
                    <a:pt x="488" y="303"/>
                  </a:cubicBezTo>
                  <a:cubicBezTo>
                    <a:pt x="490" y="303"/>
                    <a:pt x="490" y="302"/>
                    <a:pt x="489" y="302"/>
                  </a:cubicBezTo>
                  <a:cubicBezTo>
                    <a:pt x="489" y="302"/>
                    <a:pt x="489" y="300"/>
                    <a:pt x="489" y="300"/>
                  </a:cubicBezTo>
                  <a:cubicBezTo>
                    <a:pt x="488" y="300"/>
                    <a:pt x="486" y="300"/>
                    <a:pt x="485" y="299"/>
                  </a:cubicBezTo>
                  <a:close/>
                  <a:moveTo>
                    <a:pt x="494" y="289"/>
                  </a:moveTo>
                  <a:cubicBezTo>
                    <a:pt x="494" y="290"/>
                    <a:pt x="494" y="290"/>
                    <a:pt x="494" y="290"/>
                  </a:cubicBezTo>
                  <a:cubicBezTo>
                    <a:pt x="496" y="290"/>
                    <a:pt x="496" y="289"/>
                    <a:pt x="494" y="289"/>
                  </a:cubicBezTo>
                  <a:close/>
                  <a:moveTo>
                    <a:pt x="530" y="236"/>
                  </a:moveTo>
                  <a:cubicBezTo>
                    <a:pt x="531" y="237"/>
                    <a:pt x="531" y="237"/>
                    <a:pt x="531" y="237"/>
                  </a:cubicBezTo>
                  <a:cubicBezTo>
                    <a:pt x="531" y="236"/>
                    <a:pt x="532" y="236"/>
                    <a:pt x="530" y="236"/>
                  </a:cubicBezTo>
                  <a:close/>
                  <a:moveTo>
                    <a:pt x="434" y="231"/>
                  </a:moveTo>
                  <a:cubicBezTo>
                    <a:pt x="435" y="233"/>
                    <a:pt x="435" y="233"/>
                    <a:pt x="435" y="233"/>
                  </a:cubicBezTo>
                  <a:cubicBezTo>
                    <a:pt x="434" y="232"/>
                    <a:pt x="435" y="231"/>
                    <a:pt x="434" y="231"/>
                  </a:cubicBezTo>
                  <a:close/>
                  <a:moveTo>
                    <a:pt x="476" y="226"/>
                  </a:moveTo>
                  <a:cubicBezTo>
                    <a:pt x="477" y="226"/>
                    <a:pt x="478" y="228"/>
                    <a:pt x="478" y="228"/>
                  </a:cubicBezTo>
                  <a:cubicBezTo>
                    <a:pt x="478" y="228"/>
                    <a:pt x="482" y="227"/>
                    <a:pt x="480" y="227"/>
                  </a:cubicBezTo>
                  <a:cubicBezTo>
                    <a:pt x="479" y="226"/>
                    <a:pt x="478" y="227"/>
                    <a:pt x="476" y="226"/>
                  </a:cubicBezTo>
                  <a:close/>
                  <a:moveTo>
                    <a:pt x="597" y="205"/>
                  </a:moveTo>
                  <a:cubicBezTo>
                    <a:pt x="596" y="207"/>
                    <a:pt x="596" y="207"/>
                    <a:pt x="596" y="207"/>
                  </a:cubicBezTo>
                  <a:cubicBezTo>
                    <a:pt x="597" y="207"/>
                    <a:pt x="597" y="207"/>
                    <a:pt x="597" y="207"/>
                  </a:cubicBezTo>
                  <a:cubicBezTo>
                    <a:pt x="597" y="207"/>
                    <a:pt x="599" y="204"/>
                    <a:pt x="597" y="205"/>
                  </a:cubicBezTo>
                  <a:close/>
                  <a:moveTo>
                    <a:pt x="546" y="198"/>
                  </a:moveTo>
                  <a:cubicBezTo>
                    <a:pt x="547" y="199"/>
                    <a:pt x="545" y="199"/>
                    <a:pt x="545" y="199"/>
                  </a:cubicBezTo>
                  <a:cubicBezTo>
                    <a:pt x="545" y="199"/>
                    <a:pt x="545" y="198"/>
                    <a:pt x="546" y="198"/>
                  </a:cubicBezTo>
                  <a:close/>
                  <a:moveTo>
                    <a:pt x="545" y="195"/>
                  </a:moveTo>
                  <a:cubicBezTo>
                    <a:pt x="546" y="196"/>
                    <a:pt x="544" y="197"/>
                    <a:pt x="544" y="197"/>
                  </a:cubicBezTo>
                  <a:cubicBezTo>
                    <a:pt x="544" y="196"/>
                    <a:pt x="544" y="195"/>
                    <a:pt x="545" y="195"/>
                  </a:cubicBezTo>
                  <a:close/>
                  <a:moveTo>
                    <a:pt x="533" y="149"/>
                  </a:moveTo>
                  <a:cubicBezTo>
                    <a:pt x="534" y="152"/>
                    <a:pt x="534" y="152"/>
                    <a:pt x="534" y="152"/>
                  </a:cubicBezTo>
                  <a:cubicBezTo>
                    <a:pt x="537" y="149"/>
                    <a:pt x="537" y="150"/>
                    <a:pt x="533" y="149"/>
                  </a:cubicBezTo>
                  <a:close/>
                  <a:moveTo>
                    <a:pt x="448" y="132"/>
                  </a:moveTo>
                  <a:cubicBezTo>
                    <a:pt x="449" y="132"/>
                    <a:pt x="447" y="133"/>
                    <a:pt x="447" y="133"/>
                  </a:cubicBezTo>
                  <a:cubicBezTo>
                    <a:pt x="447" y="132"/>
                    <a:pt x="447" y="131"/>
                    <a:pt x="448" y="132"/>
                  </a:cubicBezTo>
                  <a:close/>
                  <a:moveTo>
                    <a:pt x="504" y="114"/>
                  </a:moveTo>
                  <a:cubicBezTo>
                    <a:pt x="506" y="115"/>
                    <a:pt x="511" y="121"/>
                    <a:pt x="506" y="120"/>
                  </a:cubicBezTo>
                  <a:cubicBezTo>
                    <a:pt x="506" y="120"/>
                    <a:pt x="501" y="113"/>
                    <a:pt x="504" y="114"/>
                  </a:cubicBezTo>
                  <a:close/>
                  <a:moveTo>
                    <a:pt x="449" y="92"/>
                  </a:moveTo>
                  <a:cubicBezTo>
                    <a:pt x="449" y="92"/>
                    <a:pt x="449" y="93"/>
                    <a:pt x="448" y="93"/>
                  </a:cubicBezTo>
                  <a:cubicBezTo>
                    <a:pt x="448" y="92"/>
                    <a:pt x="447" y="91"/>
                    <a:pt x="449" y="92"/>
                  </a:cubicBezTo>
                  <a:close/>
                  <a:moveTo>
                    <a:pt x="447" y="88"/>
                  </a:moveTo>
                  <a:cubicBezTo>
                    <a:pt x="447" y="89"/>
                    <a:pt x="446" y="90"/>
                    <a:pt x="446" y="90"/>
                  </a:cubicBezTo>
                  <a:cubicBezTo>
                    <a:pt x="446" y="90"/>
                    <a:pt x="445" y="88"/>
                    <a:pt x="447" y="88"/>
                  </a:cubicBezTo>
                  <a:close/>
                  <a:moveTo>
                    <a:pt x="577" y="72"/>
                  </a:moveTo>
                  <a:cubicBezTo>
                    <a:pt x="577" y="73"/>
                    <a:pt x="577" y="74"/>
                    <a:pt x="576" y="76"/>
                  </a:cubicBezTo>
                  <a:cubicBezTo>
                    <a:pt x="579" y="77"/>
                    <a:pt x="581" y="77"/>
                    <a:pt x="584" y="78"/>
                  </a:cubicBezTo>
                  <a:cubicBezTo>
                    <a:pt x="585" y="79"/>
                    <a:pt x="585" y="79"/>
                    <a:pt x="585" y="79"/>
                  </a:cubicBezTo>
                  <a:cubicBezTo>
                    <a:pt x="587" y="79"/>
                    <a:pt x="585" y="78"/>
                    <a:pt x="587" y="78"/>
                  </a:cubicBezTo>
                  <a:cubicBezTo>
                    <a:pt x="587" y="77"/>
                    <a:pt x="586" y="76"/>
                    <a:pt x="586" y="74"/>
                  </a:cubicBezTo>
                  <a:cubicBezTo>
                    <a:pt x="588" y="74"/>
                    <a:pt x="587" y="73"/>
                    <a:pt x="587" y="72"/>
                  </a:cubicBezTo>
                  <a:cubicBezTo>
                    <a:pt x="584" y="73"/>
                    <a:pt x="582" y="73"/>
                    <a:pt x="577" y="72"/>
                  </a:cubicBezTo>
                  <a:close/>
                  <a:moveTo>
                    <a:pt x="423" y="56"/>
                  </a:moveTo>
                  <a:cubicBezTo>
                    <a:pt x="426" y="55"/>
                    <a:pt x="423" y="58"/>
                    <a:pt x="421" y="58"/>
                  </a:cubicBezTo>
                  <a:cubicBezTo>
                    <a:pt x="420" y="59"/>
                    <a:pt x="422" y="56"/>
                    <a:pt x="423" y="56"/>
                  </a:cubicBezTo>
                  <a:close/>
                  <a:moveTo>
                    <a:pt x="484" y="29"/>
                  </a:moveTo>
                  <a:cubicBezTo>
                    <a:pt x="485" y="29"/>
                    <a:pt x="488" y="36"/>
                    <a:pt x="486" y="33"/>
                  </a:cubicBezTo>
                  <a:cubicBezTo>
                    <a:pt x="486" y="33"/>
                    <a:pt x="482" y="27"/>
                    <a:pt x="484" y="29"/>
                  </a:cubicBezTo>
                  <a:close/>
                  <a:moveTo>
                    <a:pt x="498" y="27"/>
                  </a:moveTo>
                  <a:cubicBezTo>
                    <a:pt x="499" y="27"/>
                    <a:pt x="499" y="28"/>
                    <a:pt x="498" y="29"/>
                  </a:cubicBezTo>
                  <a:cubicBezTo>
                    <a:pt x="498" y="28"/>
                    <a:pt x="497" y="27"/>
                    <a:pt x="498" y="27"/>
                  </a:cubicBezTo>
                  <a:close/>
                  <a:moveTo>
                    <a:pt x="537" y="21"/>
                  </a:moveTo>
                  <a:cubicBezTo>
                    <a:pt x="540" y="21"/>
                    <a:pt x="541" y="22"/>
                    <a:pt x="543" y="23"/>
                  </a:cubicBezTo>
                  <a:cubicBezTo>
                    <a:pt x="541" y="23"/>
                    <a:pt x="541" y="23"/>
                    <a:pt x="539" y="24"/>
                  </a:cubicBezTo>
                  <a:cubicBezTo>
                    <a:pt x="539" y="24"/>
                    <a:pt x="539" y="22"/>
                    <a:pt x="539" y="22"/>
                  </a:cubicBezTo>
                  <a:cubicBezTo>
                    <a:pt x="538" y="22"/>
                    <a:pt x="535" y="20"/>
                    <a:pt x="537" y="21"/>
                  </a:cubicBezTo>
                  <a:close/>
                  <a:moveTo>
                    <a:pt x="660" y="359"/>
                  </a:moveTo>
                  <a:cubicBezTo>
                    <a:pt x="660" y="362"/>
                    <a:pt x="660" y="362"/>
                    <a:pt x="660" y="362"/>
                  </a:cubicBezTo>
                  <a:cubicBezTo>
                    <a:pt x="660" y="361"/>
                    <a:pt x="662" y="362"/>
                    <a:pt x="663" y="362"/>
                  </a:cubicBezTo>
                  <a:cubicBezTo>
                    <a:pt x="663" y="361"/>
                    <a:pt x="664" y="359"/>
                    <a:pt x="664" y="359"/>
                  </a:cubicBezTo>
                  <a:cubicBezTo>
                    <a:pt x="663" y="359"/>
                    <a:pt x="661" y="359"/>
                    <a:pt x="660" y="359"/>
                  </a:cubicBezTo>
                  <a:close/>
                  <a:moveTo>
                    <a:pt x="537" y="349"/>
                  </a:moveTo>
                  <a:cubicBezTo>
                    <a:pt x="535" y="350"/>
                    <a:pt x="533" y="355"/>
                    <a:pt x="532" y="356"/>
                  </a:cubicBezTo>
                  <a:cubicBezTo>
                    <a:pt x="533" y="357"/>
                    <a:pt x="535" y="357"/>
                    <a:pt x="536" y="358"/>
                  </a:cubicBezTo>
                  <a:cubicBezTo>
                    <a:pt x="537" y="358"/>
                    <a:pt x="540" y="348"/>
                    <a:pt x="537" y="349"/>
                  </a:cubicBezTo>
                  <a:close/>
                  <a:moveTo>
                    <a:pt x="585" y="343"/>
                  </a:moveTo>
                  <a:cubicBezTo>
                    <a:pt x="584" y="343"/>
                    <a:pt x="584" y="344"/>
                    <a:pt x="585" y="344"/>
                  </a:cubicBezTo>
                  <a:cubicBezTo>
                    <a:pt x="585" y="344"/>
                    <a:pt x="586" y="343"/>
                    <a:pt x="585" y="343"/>
                  </a:cubicBezTo>
                  <a:close/>
                  <a:moveTo>
                    <a:pt x="552" y="342"/>
                  </a:moveTo>
                  <a:cubicBezTo>
                    <a:pt x="552" y="342"/>
                    <a:pt x="551" y="343"/>
                    <a:pt x="551" y="343"/>
                  </a:cubicBezTo>
                  <a:cubicBezTo>
                    <a:pt x="551" y="343"/>
                    <a:pt x="554" y="344"/>
                    <a:pt x="554" y="344"/>
                  </a:cubicBezTo>
                  <a:cubicBezTo>
                    <a:pt x="554" y="344"/>
                    <a:pt x="554" y="342"/>
                    <a:pt x="554" y="342"/>
                  </a:cubicBezTo>
                  <a:cubicBezTo>
                    <a:pt x="553" y="342"/>
                    <a:pt x="552" y="342"/>
                    <a:pt x="552" y="342"/>
                  </a:cubicBezTo>
                  <a:close/>
                  <a:moveTo>
                    <a:pt x="560" y="341"/>
                  </a:moveTo>
                  <a:cubicBezTo>
                    <a:pt x="561" y="342"/>
                    <a:pt x="559" y="343"/>
                    <a:pt x="562" y="344"/>
                  </a:cubicBezTo>
                  <a:cubicBezTo>
                    <a:pt x="563" y="344"/>
                    <a:pt x="562" y="341"/>
                    <a:pt x="562" y="341"/>
                  </a:cubicBezTo>
                  <a:cubicBezTo>
                    <a:pt x="561" y="341"/>
                    <a:pt x="560" y="341"/>
                    <a:pt x="560" y="341"/>
                  </a:cubicBezTo>
                  <a:close/>
                  <a:moveTo>
                    <a:pt x="508" y="340"/>
                  </a:moveTo>
                  <a:cubicBezTo>
                    <a:pt x="508" y="340"/>
                    <a:pt x="508" y="342"/>
                    <a:pt x="507" y="342"/>
                  </a:cubicBezTo>
                  <a:cubicBezTo>
                    <a:pt x="507" y="343"/>
                    <a:pt x="501" y="345"/>
                    <a:pt x="501" y="346"/>
                  </a:cubicBezTo>
                  <a:cubicBezTo>
                    <a:pt x="500" y="346"/>
                    <a:pt x="497" y="347"/>
                    <a:pt x="496" y="348"/>
                  </a:cubicBezTo>
                  <a:cubicBezTo>
                    <a:pt x="495" y="348"/>
                    <a:pt x="494" y="349"/>
                    <a:pt x="493" y="350"/>
                  </a:cubicBezTo>
                  <a:cubicBezTo>
                    <a:pt x="494" y="350"/>
                    <a:pt x="492" y="352"/>
                    <a:pt x="492" y="352"/>
                  </a:cubicBezTo>
                  <a:cubicBezTo>
                    <a:pt x="500" y="352"/>
                    <a:pt x="496" y="351"/>
                    <a:pt x="500" y="349"/>
                  </a:cubicBezTo>
                  <a:cubicBezTo>
                    <a:pt x="502" y="348"/>
                    <a:pt x="504" y="349"/>
                    <a:pt x="505" y="348"/>
                  </a:cubicBezTo>
                  <a:cubicBezTo>
                    <a:pt x="506" y="348"/>
                    <a:pt x="506" y="345"/>
                    <a:pt x="507" y="344"/>
                  </a:cubicBezTo>
                  <a:cubicBezTo>
                    <a:pt x="508" y="343"/>
                    <a:pt x="515" y="343"/>
                    <a:pt x="508" y="340"/>
                  </a:cubicBezTo>
                  <a:close/>
                  <a:moveTo>
                    <a:pt x="668" y="337"/>
                  </a:moveTo>
                  <a:cubicBezTo>
                    <a:pt x="668" y="338"/>
                    <a:pt x="668" y="338"/>
                    <a:pt x="668" y="338"/>
                  </a:cubicBezTo>
                  <a:cubicBezTo>
                    <a:pt x="665" y="337"/>
                    <a:pt x="666" y="340"/>
                    <a:pt x="668" y="340"/>
                  </a:cubicBezTo>
                  <a:cubicBezTo>
                    <a:pt x="668" y="341"/>
                    <a:pt x="668" y="342"/>
                    <a:pt x="668" y="343"/>
                  </a:cubicBezTo>
                  <a:cubicBezTo>
                    <a:pt x="669" y="343"/>
                    <a:pt x="671" y="343"/>
                    <a:pt x="671" y="343"/>
                  </a:cubicBezTo>
                  <a:cubicBezTo>
                    <a:pt x="672" y="342"/>
                    <a:pt x="673" y="342"/>
                    <a:pt x="674" y="341"/>
                  </a:cubicBezTo>
                  <a:cubicBezTo>
                    <a:pt x="674" y="341"/>
                    <a:pt x="673" y="335"/>
                    <a:pt x="673" y="338"/>
                  </a:cubicBezTo>
                  <a:cubicBezTo>
                    <a:pt x="672" y="338"/>
                    <a:pt x="670" y="338"/>
                    <a:pt x="669" y="338"/>
                  </a:cubicBezTo>
                  <a:cubicBezTo>
                    <a:pt x="669" y="338"/>
                    <a:pt x="669" y="337"/>
                    <a:pt x="668" y="337"/>
                  </a:cubicBezTo>
                  <a:close/>
                  <a:moveTo>
                    <a:pt x="552" y="337"/>
                  </a:moveTo>
                  <a:cubicBezTo>
                    <a:pt x="551" y="339"/>
                    <a:pt x="551" y="339"/>
                    <a:pt x="551" y="339"/>
                  </a:cubicBezTo>
                  <a:cubicBezTo>
                    <a:pt x="552" y="339"/>
                    <a:pt x="554" y="339"/>
                    <a:pt x="554" y="339"/>
                  </a:cubicBezTo>
                  <a:cubicBezTo>
                    <a:pt x="555" y="340"/>
                    <a:pt x="552" y="337"/>
                    <a:pt x="552" y="337"/>
                  </a:cubicBezTo>
                  <a:close/>
                  <a:moveTo>
                    <a:pt x="607" y="308"/>
                  </a:moveTo>
                  <a:cubicBezTo>
                    <a:pt x="609" y="307"/>
                    <a:pt x="609" y="309"/>
                    <a:pt x="610" y="309"/>
                  </a:cubicBezTo>
                  <a:cubicBezTo>
                    <a:pt x="612" y="309"/>
                    <a:pt x="613" y="309"/>
                    <a:pt x="614" y="308"/>
                  </a:cubicBezTo>
                  <a:cubicBezTo>
                    <a:pt x="614" y="310"/>
                    <a:pt x="614" y="309"/>
                    <a:pt x="615" y="309"/>
                  </a:cubicBezTo>
                  <a:cubicBezTo>
                    <a:pt x="616" y="314"/>
                    <a:pt x="617" y="316"/>
                    <a:pt x="617" y="321"/>
                  </a:cubicBezTo>
                  <a:cubicBezTo>
                    <a:pt x="617" y="321"/>
                    <a:pt x="616" y="321"/>
                    <a:pt x="615" y="321"/>
                  </a:cubicBezTo>
                  <a:cubicBezTo>
                    <a:pt x="615" y="321"/>
                    <a:pt x="615" y="319"/>
                    <a:pt x="615" y="319"/>
                  </a:cubicBezTo>
                  <a:cubicBezTo>
                    <a:pt x="613" y="318"/>
                    <a:pt x="613" y="321"/>
                    <a:pt x="612" y="321"/>
                  </a:cubicBezTo>
                  <a:cubicBezTo>
                    <a:pt x="611" y="321"/>
                    <a:pt x="608" y="321"/>
                    <a:pt x="607" y="320"/>
                  </a:cubicBezTo>
                  <a:cubicBezTo>
                    <a:pt x="606" y="318"/>
                    <a:pt x="606" y="318"/>
                    <a:pt x="606" y="318"/>
                  </a:cubicBezTo>
                  <a:cubicBezTo>
                    <a:pt x="607" y="317"/>
                    <a:pt x="608" y="317"/>
                    <a:pt x="609" y="316"/>
                  </a:cubicBezTo>
                  <a:cubicBezTo>
                    <a:pt x="608" y="314"/>
                    <a:pt x="606" y="308"/>
                    <a:pt x="607" y="310"/>
                  </a:cubicBezTo>
                  <a:cubicBezTo>
                    <a:pt x="606" y="309"/>
                    <a:pt x="606" y="308"/>
                    <a:pt x="607" y="308"/>
                  </a:cubicBezTo>
                  <a:close/>
                  <a:moveTo>
                    <a:pt x="484" y="303"/>
                  </a:moveTo>
                  <a:cubicBezTo>
                    <a:pt x="482" y="309"/>
                    <a:pt x="482" y="317"/>
                    <a:pt x="483" y="324"/>
                  </a:cubicBezTo>
                  <a:cubicBezTo>
                    <a:pt x="481" y="325"/>
                    <a:pt x="478" y="328"/>
                    <a:pt x="475" y="329"/>
                  </a:cubicBezTo>
                  <a:cubicBezTo>
                    <a:pt x="475" y="329"/>
                    <a:pt x="474" y="333"/>
                    <a:pt x="475" y="334"/>
                  </a:cubicBezTo>
                  <a:cubicBezTo>
                    <a:pt x="478" y="335"/>
                    <a:pt x="480" y="332"/>
                    <a:pt x="482" y="332"/>
                  </a:cubicBezTo>
                  <a:cubicBezTo>
                    <a:pt x="485" y="332"/>
                    <a:pt x="484" y="334"/>
                    <a:pt x="482" y="334"/>
                  </a:cubicBezTo>
                  <a:cubicBezTo>
                    <a:pt x="483" y="336"/>
                    <a:pt x="483" y="337"/>
                    <a:pt x="483" y="339"/>
                  </a:cubicBezTo>
                  <a:cubicBezTo>
                    <a:pt x="488" y="339"/>
                    <a:pt x="487" y="339"/>
                    <a:pt x="491" y="338"/>
                  </a:cubicBezTo>
                  <a:cubicBezTo>
                    <a:pt x="491" y="337"/>
                    <a:pt x="491" y="336"/>
                    <a:pt x="491" y="336"/>
                  </a:cubicBezTo>
                  <a:cubicBezTo>
                    <a:pt x="491" y="335"/>
                    <a:pt x="493" y="334"/>
                    <a:pt x="493" y="334"/>
                  </a:cubicBezTo>
                  <a:cubicBezTo>
                    <a:pt x="494" y="331"/>
                    <a:pt x="492" y="328"/>
                    <a:pt x="493" y="325"/>
                  </a:cubicBezTo>
                  <a:cubicBezTo>
                    <a:pt x="493" y="325"/>
                    <a:pt x="496" y="322"/>
                    <a:pt x="496" y="322"/>
                  </a:cubicBezTo>
                  <a:cubicBezTo>
                    <a:pt x="497" y="321"/>
                    <a:pt x="498" y="322"/>
                    <a:pt x="499" y="322"/>
                  </a:cubicBezTo>
                  <a:cubicBezTo>
                    <a:pt x="498" y="321"/>
                    <a:pt x="501" y="321"/>
                    <a:pt x="501" y="321"/>
                  </a:cubicBezTo>
                  <a:cubicBezTo>
                    <a:pt x="502" y="324"/>
                    <a:pt x="501" y="323"/>
                    <a:pt x="502" y="324"/>
                  </a:cubicBezTo>
                  <a:cubicBezTo>
                    <a:pt x="502" y="325"/>
                    <a:pt x="503" y="326"/>
                    <a:pt x="502" y="326"/>
                  </a:cubicBezTo>
                  <a:cubicBezTo>
                    <a:pt x="502" y="327"/>
                    <a:pt x="500" y="327"/>
                    <a:pt x="500" y="328"/>
                  </a:cubicBezTo>
                  <a:cubicBezTo>
                    <a:pt x="500" y="328"/>
                    <a:pt x="500" y="329"/>
                    <a:pt x="500" y="330"/>
                  </a:cubicBezTo>
                  <a:cubicBezTo>
                    <a:pt x="501" y="330"/>
                    <a:pt x="502" y="330"/>
                    <a:pt x="502" y="330"/>
                  </a:cubicBezTo>
                  <a:cubicBezTo>
                    <a:pt x="503" y="330"/>
                    <a:pt x="504" y="332"/>
                    <a:pt x="504" y="332"/>
                  </a:cubicBezTo>
                  <a:cubicBezTo>
                    <a:pt x="509" y="333"/>
                    <a:pt x="511" y="332"/>
                    <a:pt x="515" y="334"/>
                  </a:cubicBezTo>
                  <a:cubicBezTo>
                    <a:pt x="515" y="334"/>
                    <a:pt x="517" y="333"/>
                    <a:pt x="517" y="332"/>
                  </a:cubicBezTo>
                  <a:cubicBezTo>
                    <a:pt x="517" y="332"/>
                    <a:pt x="517" y="329"/>
                    <a:pt x="517" y="328"/>
                  </a:cubicBezTo>
                  <a:cubicBezTo>
                    <a:pt x="519" y="330"/>
                    <a:pt x="518" y="327"/>
                    <a:pt x="518" y="326"/>
                  </a:cubicBezTo>
                  <a:cubicBezTo>
                    <a:pt x="517" y="326"/>
                    <a:pt x="514" y="326"/>
                    <a:pt x="514" y="326"/>
                  </a:cubicBezTo>
                  <a:cubicBezTo>
                    <a:pt x="513" y="326"/>
                    <a:pt x="512" y="325"/>
                    <a:pt x="511" y="326"/>
                  </a:cubicBezTo>
                  <a:cubicBezTo>
                    <a:pt x="511" y="326"/>
                    <a:pt x="509" y="328"/>
                    <a:pt x="509" y="328"/>
                  </a:cubicBezTo>
                  <a:cubicBezTo>
                    <a:pt x="508" y="325"/>
                    <a:pt x="509" y="322"/>
                    <a:pt x="507" y="320"/>
                  </a:cubicBezTo>
                  <a:cubicBezTo>
                    <a:pt x="506" y="320"/>
                    <a:pt x="506" y="320"/>
                    <a:pt x="506" y="320"/>
                  </a:cubicBezTo>
                  <a:cubicBezTo>
                    <a:pt x="506" y="318"/>
                    <a:pt x="506" y="318"/>
                    <a:pt x="506" y="318"/>
                  </a:cubicBezTo>
                  <a:cubicBezTo>
                    <a:pt x="500" y="314"/>
                    <a:pt x="500" y="314"/>
                    <a:pt x="500" y="314"/>
                  </a:cubicBezTo>
                  <a:cubicBezTo>
                    <a:pt x="500" y="313"/>
                    <a:pt x="500" y="313"/>
                    <a:pt x="500" y="313"/>
                  </a:cubicBezTo>
                  <a:cubicBezTo>
                    <a:pt x="499" y="313"/>
                    <a:pt x="499" y="313"/>
                    <a:pt x="499" y="313"/>
                  </a:cubicBezTo>
                  <a:cubicBezTo>
                    <a:pt x="499" y="312"/>
                    <a:pt x="499" y="311"/>
                    <a:pt x="498" y="310"/>
                  </a:cubicBezTo>
                  <a:cubicBezTo>
                    <a:pt x="496" y="309"/>
                    <a:pt x="494" y="311"/>
                    <a:pt x="492" y="310"/>
                  </a:cubicBezTo>
                  <a:cubicBezTo>
                    <a:pt x="491" y="308"/>
                    <a:pt x="491" y="308"/>
                    <a:pt x="491" y="308"/>
                  </a:cubicBezTo>
                  <a:cubicBezTo>
                    <a:pt x="489" y="308"/>
                    <a:pt x="490" y="310"/>
                    <a:pt x="488" y="311"/>
                  </a:cubicBezTo>
                  <a:cubicBezTo>
                    <a:pt x="487" y="310"/>
                    <a:pt x="487" y="310"/>
                    <a:pt x="486" y="310"/>
                  </a:cubicBezTo>
                  <a:cubicBezTo>
                    <a:pt x="485" y="308"/>
                    <a:pt x="485" y="308"/>
                    <a:pt x="485" y="308"/>
                  </a:cubicBezTo>
                  <a:cubicBezTo>
                    <a:pt x="487" y="306"/>
                    <a:pt x="490" y="305"/>
                    <a:pt x="486" y="304"/>
                  </a:cubicBezTo>
                  <a:lnTo>
                    <a:pt x="484" y="303"/>
                  </a:lnTo>
                  <a:close/>
                  <a:moveTo>
                    <a:pt x="613" y="275"/>
                  </a:moveTo>
                  <a:cubicBezTo>
                    <a:pt x="613" y="276"/>
                    <a:pt x="617" y="281"/>
                    <a:pt x="617" y="281"/>
                  </a:cubicBezTo>
                  <a:cubicBezTo>
                    <a:pt x="619" y="282"/>
                    <a:pt x="620" y="280"/>
                    <a:pt x="622" y="281"/>
                  </a:cubicBezTo>
                  <a:cubicBezTo>
                    <a:pt x="623" y="282"/>
                    <a:pt x="623" y="282"/>
                    <a:pt x="623" y="282"/>
                  </a:cubicBezTo>
                  <a:cubicBezTo>
                    <a:pt x="624" y="283"/>
                    <a:pt x="627" y="283"/>
                    <a:pt x="629" y="284"/>
                  </a:cubicBezTo>
                  <a:cubicBezTo>
                    <a:pt x="629" y="284"/>
                    <a:pt x="629" y="286"/>
                    <a:pt x="629" y="286"/>
                  </a:cubicBezTo>
                  <a:cubicBezTo>
                    <a:pt x="629" y="286"/>
                    <a:pt x="630" y="286"/>
                    <a:pt x="631" y="286"/>
                  </a:cubicBezTo>
                  <a:cubicBezTo>
                    <a:pt x="631" y="287"/>
                    <a:pt x="631" y="289"/>
                    <a:pt x="632" y="289"/>
                  </a:cubicBezTo>
                  <a:cubicBezTo>
                    <a:pt x="631" y="289"/>
                    <a:pt x="632" y="289"/>
                    <a:pt x="631" y="290"/>
                  </a:cubicBezTo>
                  <a:cubicBezTo>
                    <a:pt x="630" y="290"/>
                    <a:pt x="629" y="291"/>
                    <a:pt x="627" y="290"/>
                  </a:cubicBezTo>
                  <a:cubicBezTo>
                    <a:pt x="627" y="290"/>
                    <a:pt x="627" y="289"/>
                    <a:pt x="626" y="289"/>
                  </a:cubicBezTo>
                  <a:cubicBezTo>
                    <a:pt x="626" y="289"/>
                    <a:pt x="625" y="291"/>
                    <a:pt x="625" y="291"/>
                  </a:cubicBezTo>
                  <a:cubicBezTo>
                    <a:pt x="624" y="292"/>
                    <a:pt x="623" y="291"/>
                    <a:pt x="622" y="292"/>
                  </a:cubicBezTo>
                  <a:cubicBezTo>
                    <a:pt x="623" y="292"/>
                    <a:pt x="619" y="291"/>
                    <a:pt x="620" y="291"/>
                  </a:cubicBezTo>
                  <a:cubicBezTo>
                    <a:pt x="620" y="292"/>
                    <a:pt x="619" y="293"/>
                    <a:pt x="618" y="293"/>
                  </a:cubicBezTo>
                  <a:cubicBezTo>
                    <a:pt x="617" y="294"/>
                    <a:pt x="617" y="295"/>
                    <a:pt x="617" y="296"/>
                  </a:cubicBezTo>
                  <a:cubicBezTo>
                    <a:pt x="615" y="295"/>
                    <a:pt x="615" y="295"/>
                    <a:pt x="614" y="294"/>
                  </a:cubicBezTo>
                  <a:cubicBezTo>
                    <a:pt x="612" y="291"/>
                    <a:pt x="614" y="293"/>
                    <a:pt x="613" y="289"/>
                  </a:cubicBezTo>
                  <a:cubicBezTo>
                    <a:pt x="613" y="288"/>
                    <a:pt x="611" y="287"/>
                    <a:pt x="611" y="286"/>
                  </a:cubicBezTo>
                  <a:cubicBezTo>
                    <a:pt x="610" y="285"/>
                    <a:pt x="610" y="283"/>
                    <a:pt x="610" y="283"/>
                  </a:cubicBezTo>
                  <a:cubicBezTo>
                    <a:pt x="611" y="284"/>
                    <a:pt x="611" y="277"/>
                    <a:pt x="611" y="276"/>
                  </a:cubicBezTo>
                  <a:lnTo>
                    <a:pt x="613" y="275"/>
                  </a:lnTo>
                  <a:close/>
                  <a:moveTo>
                    <a:pt x="474" y="270"/>
                  </a:moveTo>
                  <a:cubicBezTo>
                    <a:pt x="474" y="272"/>
                    <a:pt x="474" y="272"/>
                    <a:pt x="474" y="272"/>
                  </a:cubicBezTo>
                  <a:cubicBezTo>
                    <a:pt x="474" y="272"/>
                    <a:pt x="475" y="272"/>
                    <a:pt x="476" y="273"/>
                  </a:cubicBezTo>
                  <a:cubicBezTo>
                    <a:pt x="475" y="271"/>
                    <a:pt x="477" y="269"/>
                    <a:pt x="474" y="270"/>
                  </a:cubicBezTo>
                  <a:close/>
                  <a:moveTo>
                    <a:pt x="583" y="262"/>
                  </a:moveTo>
                  <a:cubicBezTo>
                    <a:pt x="583" y="262"/>
                    <a:pt x="582" y="265"/>
                    <a:pt x="581" y="266"/>
                  </a:cubicBezTo>
                  <a:cubicBezTo>
                    <a:pt x="582" y="266"/>
                    <a:pt x="584" y="266"/>
                    <a:pt x="585" y="267"/>
                  </a:cubicBezTo>
                  <a:cubicBezTo>
                    <a:pt x="587" y="265"/>
                    <a:pt x="587" y="265"/>
                    <a:pt x="587" y="265"/>
                  </a:cubicBezTo>
                  <a:cubicBezTo>
                    <a:pt x="587" y="264"/>
                    <a:pt x="587" y="263"/>
                    <a:pt x="587" y="263"/>
                  </a:cubicBezTo>
                  <a:cubicBezTo>
                    <a:pt x="586" y="262"/>
                    <a:pt x="584" y="262"/>
                    <a:pt x="583" y="262"/>
                  </a:cubicBezTo>
                  <a:close/>
                  <a:moveTo>
                    <a:pt x="570" y="259"/>
                  </a:moveTo>
                  <a:cubicBezTo>
                    <a:pt x="567" y="260"/>
                    <a:pt x="563" y="263"/>
                    <a:pt x="564" y="267"/>
                  </a:cubicBezTo>
                  <a:cubicBezTo>
                    <a:pt x="566" y="269"/>
                    <a:pt x="566" y="269"/>
                    <a:pt x="566" y="269"/>
                  </a:cubicBezTo>
                  <a:cubicBezTo>
                    <a:pt x="566" y="269"/>
                    <a:pt x="565" y="270"/>
                    <a:pt x="566" y="271"/>
                  </a:cubicBezTo>
                  <a:cubicBezTo>
                    <a:pt x="566" y="271"/>
                    <a:pt x="568" y="272"/>
                    <a:pt x="568" y="273"/>
                  </a:cubicBezTo>
                  <a:cubicBezTo>
                    <a:pt x="570" y="272"/>
                    <a:pt x="572" y="271"/>
                    <a:pt x="574" y="271"/>
                  </a:cubicBezTo>
                  <a:cubicBezTo>
                    <a:pt x="574" y="269"/>
                    <a:pt x="574" y="268"/>
                    <a:pt x="574" y="266"/>
                  </a:cubicBezTo>
                  <a:cubicBezTo>
                    <a:pt x="575" y="265"/>
                    <a:pt x="575" y="265"/>
                    <a:pt x="575" y="265"/>
                  </a:cubicBezTo>
                  <a:cubicBezTo>
                    <a:pt x="575" y="264"/>
                    <a:pt x="575" y="263"/>
                    <a:pt x="575" y="263"/>
                  </a:cubicBezTo>
                  <a:cubicBezTo>
                    <a:pt x="575" y="262"/>
                    <a:pt x="574" y="262"/>
                    <a:pt x="573" y="261"/>
                  </a:cubicBezTo>
                  <a:cubicBezTo>
                    <a:pt x="572" y="261"/>
                    <a:pt x="572" y="259"/>
                    <a:pt x="572" y="259"/>
                  </a:cubicBezTo>
                  <a:cubicBezTo>
                    <a:pt x="571" y="258"/>
                    <a:pt x="570" y="259"/>
                    <a:pt x="570" y="259"/>
                  </a:cubicBezTo>
                  <a:close/>
                  <a:moveTo>
                    <a:pt x="585" y="254"/>
                  </a:moveTo>
                  <a:cubicBezTo>
                    <a:pt x="586" y="255"/>
                    <a:pt x="585" y="256"/>
                    <a:pt x="585" y="257"/>
                  </a:cubicBezTo>
                  <a:cubicBezTo>
                    <a:pt x="586" y="257"/>
                    <a:pt x="585" y="258"/>
                    <a:pt x="585" y="259"/>
                  </a:cubicBezTo>
                  <a:cubicBezTo>
                    <a:pt x="586" y="259"/>
                    <a:pt x="587" y="258"/>
                    <a:pt x="587" y="259"/>
                  </a:cubicBezTo>
                  <a:cubicBezTo>
                    <a:pt x="587" y="258"/>
                    <a:pt x="587" y="256"/>
                    <a:pt x="587" y="256"/>
                  </a:cubicBezTo>
                  <a:cubicBezTo>
                    <a:pt x="587" y="255"/>
                    <a:pt x="586" y="254"/>
                    <a:pt x="585" y="254"/>
                  </a:cubicBezTo>
                  <a:close/>
                  <a:moveTo>
                    <a:pt x="538" y="251"/>
                  </a:moveTo>
                  <a:cubicBezTo>
                    <a:pt x="538" y="251"/>
                    <a:pt x="538" y="254"/>
                    <a:pt x="538" y="254"/>
                  </a:cubicBezTo>
                  <a:cubicBezTo>
                    <a:pt x="538" y="254"/>
                    <a:pt x="540" y="254"/>
                    <a:pt x="540" y="254"/>
                  </a:cubicBezTo>
                  <a:cubicBezTo>
                    <a:pt x="540" y="254"/>
                    <a:pt x="543" y="254"/>
                    <a:pt x="542" y="254"/>
                  </a:cubicBezTo>
                  <a:cubicBezTo>
                    <a:pt x="544" y="255"/>
                    <a:pt x="543" y="252"/>
                    <a:pt x="543" y="252"/>
                  </a:cubicBezTo>
                  <a:cubicBezTo>
                    <a:pt x="541" y="251"/>
                    <a:pt x="540" y="251"/>
                    <a:pt x="538" y="251"/>
                  </a:cubicBezTo>
                  <a:close/>
                  <a:moveTo>
                    <a:pt x="544" y="241"/>
                  </a:moveTo>
                  <a:cubicBezTo>
                    <a:pt x="544" y="241"/>
                    <a:pt x="544" y="243"/>
                    <a:pt x="545" y="243"/>
                  </a:cubicBezTo>
                  <a:cubicBezTo>
                    <a:pt x="546" y="244"/>
                    <a:pt x="545" y="241"/>
                    <a:pt x="545" y="241"/>
                  </a:cubicBezTo>
                  <a:lnTo>
                    <a:pt x="544" y="241"/>
                  </a:lnTo>
                  <a:close/>
                  <a:moveTo>
                    <a:pt x="567" y="239"/>
                  </a:moveTo>
                  <a:cubicBezTo>
                    <a:pt x="567" y="239"/>
                    <a:pt x="566" y="241"/>
                    <a:pt x="566" y="241"/>
                  </a:cubicBezTo>
                  <a:cubicBezTo>
                    <a:pt x="566" y="241"/>
                    <a:pt x="566" y="241"/>
                    <a:pt x="566" y="242"/>
                  </a:cubicBezTo>
                  <a:cubicBezTo>
                    <a:pt x="567" y="242"/>
                    <a:pt x="568" y="242"/>
                    <a:pt x="569" y="242"/>
                  </a:cubicBezTo>
                  <a:cubicBezTo>
                    <a:pt x="570" y="239"/>
                    <a:pt x="570" y="239"/>
                    <a:pt x="570" y="239"/>
                  </a:cubicBezTo>
                  <a:cubicBezTo>
                    <a:pt x="569" y="239"/>
                    <a:pt x="567" y="240"/>
                    <a:pt x="567" y="239"/>
                  </a:cubicBezTo>
                  <a:close/>
                  <a:moveTo>
                    <a:pt x="548" y="237"/>
                  </a:moveTo>
                  <a:cubicBezTo>
                    <a:pt x="548" y="237"/>
                    <a:pt x="548" y="240"/>
                    <a:pt x="548" y="240"/>
                  </a:cubicBezTo>
                  <a:cubicBezTo>
                    <a:pt x="550" y="239"/>
                    <a:pt x="550" y="239"/>
                    <a:pt x="550" y="239"/>
                  </a:cubicBezTo>
                  <a:cubicBezTo>
                    <a:pt x="550" y="238"/>
                    <a:pt x="550" y="237"/>
                    <a:pt x="550" y="237"/>
                  </a:cubicBezTo>
                  <a:cubicBezTo>
                    <a:pt x="550" y="237"/>
                    <a:pt x="548" y="237"/>
                    <a:pt x="548" y="237"/>
                  </a:cubicBezTo>
                  <a:close/>
                  <a:moveTo>
                    <a:pt x="542" y="233"/>
                  </a:moveTo>
                  <a:cubicBezTo>
                    <a:pt x="541" y="233"/>
                    <a:pt x="539" y="235"/>
                    <a:pt x="538" y="235"/>
                  </a:cubicBezTo>
                  <a:cubicBezTo>
                    <a:pt x="536" y="236"/>
                    <a:pt x="534" y="235"/>
                    <a:pt x="532" y="235"/>
                  </a:cubicBezTo>
                  <a:cubicBezTo>
                    <a:pt x="532" y="236"/>
                    <a:pt x="531" y="237"/>
                    <a:pt x="532" y="237"/>
                  </a:cubicBezTo>
                  <a:cubicBezTo>
                    <a:pt x="531" y="237"/>
                    <a:pt x="533" y="238"/>
                    <a:pt x="533" y="238"/>
                  </a:cubicBezTo>
                  <a:cubicBezTo>
                    <a:pt x="532" y="238"/>
                    <a:pt x="534" y="239"/>
                    <a:pt x="534" y="239"/>
                  </a:cubicBezTo>
                  <a:cubicBezTo>
                    <a:pt x="534" y="238"/>
                    <a:pt x="536" y="237"/>
                    <a:pt x="536" y="237"/>
                  </a:cubicBezTo>
                  <a:cubicBezTo>
                    <a:pt x="536" y="238"/>
                    <a:pt x="537" y="240"/>
                    <a:pt x="537" y="240"/>
                  </a:cubicBezTo>
                  <a:cubicBezTo>
                    <a:pt x="538" y="240"/>
                    <a:pt x="538" y="240"/>
                    <a:pt x="538" y="240"/>
                  </a:cubicBezTo>
                  <a:cubicBezTo>
                    <a:pt x="539" y="240"/>
                    <a:pt x="550" y="232"/>
                    <a:pt x="542" y="233"/>
                  </a:cubicBezTo>
                  <a:close/>
                  <a:moveTo>
                    <a:pt x="623" y="232"/>
                  </a:moveTo>
                  <a:cubicBezTo>
                    <a:pt x="629" y="232"/>
                    <a:pt x="627" y="233"/>
                    <a:pt x="629" y="234"/>
                  </a:cubicBezTo>
                  <a:cubicBezTo>
                    <a:pt x="628" y="234"/>
                    <a:pt x="618" y="232"/>
                    <a:pt x="623" y="232"/>
                  </a:cubicBezTo>
                  <a:close/>
                  <a:moveTo>
                    <a:pt x="474" y="229"/>
                  </a:moveTo>
                  <a:cubicBezTo>
                    <a:pt x="475" y="236"/>
                    <a:pt x="474" y="236"/>
                    <a:pt x="481" y="237"/>
                  </a:cubicBezTo>
                  <a:cubicBezTo>
                    <a:pt x="478" y="235"/>
                    <a:pt x="475" y="232"/>
                    <a:pt x="474" y="229"/>
                  </a:cubicBezTo>
                  <a:close/>
                  <a:moveTo>
                    <a:pt x="622" y="227"/>
                  </a:moveTo>
                  <a:cubicBezTo>
                    <a:pt x="622" y="227"/>
                    <a:pt x="622" y="229"/>
                    <a:pt x="622" y="229"/>
                  </a:cubicBezTo>
                  <a:cubicBezTo>
                    <a:pt x="619" y="230"/>
                    <a:pt x="621" y="227"/>
                    <a:pt x="622" y="227"/>
                  </a:cubicBezTo>
                  <a:close/>
                  <a:moveTo>
                    <a:pt x="615" y="220"/>
                  </a:moveTo>
                  <a:cubicBezTo>
                    <a:pt x="618" y="220"/>
                    <a:pt x="616" y="223"/>
                    <a:pt x="616" y="223"/>
                  </a:cubicBezTo>
                  <a:cubicBezTo>
                    <a:pt x="616" y="223"/>
                    <a:pt x="614" y="223"/>
                    <a:pt x="614" y="223"/>
                  </a:cubicBezTo>
                  <a:cubicBezTo>
                    <a:pt x="614" y="222"/>
                    <a:pt x="613" y="220"/>
                    <a:pt x="615" y="220"/>
                  </a:cubicBezTo>
                  <a:close/>
                  <a:moveTo>
                    <a:pt x="604" y="216"/>
                  </a:moveTo>
                  <a:cubicBezTo>
                    <a:pt x="604" y="216"/>
                    <a:pt x="604" y="218"/>
                    <a:pt x="604" y="218"/>
                  </a:cubicBezTo>
                  <a:cubicBezTo>
                    <a:pt x="602" y="219"/>
                    <a:pt x="603" y="216"/>
                    <a:pt x="604" y="216"/>
                  </a:cubicBezTo>
                  <a:close/>
                  <a:moveTo>
                    <a:pt x="387" y="173"/>
                  </a:moveTo>
                  <a:cubicBezTo>
                    <a:pt x="387" y="176"/>
                    <a:pt x="387" y="176"/>
                    <a:pt x="387" y="176"/>
                  </a:cubicBezTo>
                  <a:cubicBezTo>
                    <a:pt x="387" y="176"/>
                    <a:pt x="389" y="176"/>
                    <a:pt x="389" y="176"/>
                  </a:cubicBezTo>
                  <a:cubicBezTo>
                    <a:pt x="389" y="173"/>
                    <a:pt x="389" y="173"/>
                    <a:pt x="389" y="173"/>
                  </a:cubicBezTo>
                  <a:cubicBezTo>
                    <a:pt x="388" y="173"/>
                    <a:pt x="387" y="174"/>
                    <a:pt x="387" y="173"/>
                  </a:cubicBezTo>
                  <a:close/>
                  <a:moveTo>
                    <a:pt x="550" y="163"/>
                  </a:moveTo>
                  <a:cubicBezTo>
                    <a:pt x="547" y="163"/>
                    <a:pt x="544" y="165"/>
                    <a:pt x="542" y="166"/>
                  </a:cubicBezTo>
                  <a:cubicBezTo>
                    <a:pt x="542" y="166"/>
                    <a:pt x="542" y="166"/>
                    <a:pt x="542" y="166"/>
                  </a:cubicBezTo>
                  <a:cubicBezTo>
                    <a:pt x="539" y="166"/>
                    <a:pt x="537" y="164"/>
                    <a:pt x="535" y="164"/>
                  </a:cubicBezTo>
                  <a:cubicBezTo>
                    <a:pt x="532" y="163"/>
                    <a:pt x="532" y="165"/>
                    <a:pt x="530" y="166"/>
                  </a:cubicBezTo>
                  <a:cubicBezTo>
                    <a:pt x="529" y="166"/>
                    <a:pt x="528" y="166"/>
                    <a:pt x="527" y="166"/>
                  </a:cubicBezTo>
                  <a:cubicBezTo>
                    <a:pt x="522" y="169"/>
                    <a:pt x="523" y="175"/>
                    <a:pt x="522" y="179"/>
                  </a:cubicBezTo>
                  <a:cubicBezTo>
                    <a:pt x="521" y="176"/>
                    <a:pt x="521" y="185"/>
                    <a:pt x="525" y="186"/>
                  </a:cubicBezTo>
                  <a:cubicBezTo>
                    <a:pt x="529" y="187"/>
                    <a:pt x="530" y="184"/>
                    <a:pt x="532" y="184"/>
                  </a:cubicBezTo>
                  <a:cubicBezTo>
                    <a:pt x="535" y="184"/>
                    <a:pt x="537" y="186"/>
                    <a:pt x="540" y="185"/>
                  </a:cubicBezTo>
                  <a:cubicBezTo>
                    <a:pt x="544" y="185"/>
                    <a:pt x="545" y="181"/>
                    <a:pt x="548" y="180"/>
                  </a:cubicBezTo>
                  <a:cubicBezTo>
                    <a:pt x="549" y="180"/>
                    <a:pt x="550" y="181"/>
                    <a:pt x="552" y="180"/>
                  </a:cubicBezTo>
                  <a:cubicBezTo>
                    <a:pt x="552" y="180"/>
                    <a:pt x="553" y="178"/>
                    <a:pt x="553" y="178"/>
                  </a:cubicBezTo>
                  <a:cubicBezTo>
                    <a:pt x="554" y="178"/>
                    <a:pt x="555" y="179"/>
                    <a:pt x="558" y="179"/>
                  </a:cubicBezTo>
                  <a:cubicBezTo>
                    <a:pt x="558" y="179"/>
                    <a:pt x="559" y="177"/>
                    <a:pt x="560" y="177"/>
                  </a:cubicBezTo>
                  <a:cubicBezTo>
                    <a:pt x="559" y="176"/>
                    <a:pt x="560" y="176"/>
                    <a:pt x="560" y="175"/>
                  </a:cubicBezTo>
                  <a:cubicBezTo>
                    <a:pt x="558" y="174"/>
                    <a:pt x="558" y="174"/>
                    <a:pt x="558" y="174"/>
                  </a:cubicBezTo>
                  <a:cubicBezTo>
                    <a:pt x="557" y="172"/>
                    <a:pt x="556" y="169"/>
                    <a:pt x="556" y="168"/>
                  </a:cubicBezTo>
                  <a:cubicBezTo>
                    <a:pt x="555" y="166"/>
                    <a:pt x="555" y="166"/>
                    <a:pt x="555" y="164"/>
                  </a:cubicBezTo>
                  <a:cubicBezTo>
                    <a:pt x="554" y="164"/>
                    <a:pt x="552" y="165"/>
                    <a:pt x="552" y="165"/>
                  </a:cubicBezTo>
                  <a:cubicBezTo>
                    <a:pt x="551" y="165"/>
                    <a:pt x="551" y="163"/>
                    <a:pt x="550" y="163"/>
                  </a:cubicBezTo>
                  <a:close/>
                  <a:moveTo>
                    <a:pt x="397" y="156"/>
                  </a:moveTo>
                  <a:cubicBezTo>
                    <a:pt x="397" y="156"/>
                    <a:pt x="397" y="157"/>
                    <a:pt x="397" y="158"/>
                  </a:cubicBezTo>
                  <a:cubicBezTo>
                    <a:pt x="399" y="158"/>
                    <a:pt x="399" y="156"/>
                    <a:pt x="397" y="156"/>
                  </a:cubicBezTo>
                  <a:close/>
                  <a:moveTo>
                    <a:pt x="381" y="153"/>
                  </a:moveTo>
                  <a:cubicBezTo>
                    <a:pt x="380" y="153"/>
                    <a:pt x="378" y="156"/>
                    <a:pt x="381" y="156"/>
                  </a:cubicBezTo>
                  <a:cubicBezTo>
                    <a:pt x="381" y="156"/>
                    <a:pt x="383" y="152"/>
                    <a:pt x="381" y="153"/>
                  </a:cubicBezTo>
                  <a:close/>
                  <a:moveTo>
                    <a:pt x="399" y="135"/>
                  </a:moveTo>
                  <a:cubicBezTo>
                    <a:pt x="399" y="137"/>
                    <a:pt x="398" y="141"/>
                    <a:pt x="396" y="142"/>
                  </a:cubicBezTo>
                  <a:cubicBezTo>
                    <a:pt x="395" y="142"/>
                    <a:pt x="394" y="141"/>
                    <a:pt x="393" y="142"/>
                  </a:cubicBezTo>
                  <a:cubicBezTo>
                    <a:pt x="393" y="143"/>
                    <a:pt x="394" y="144"/>
                    <a:pt x="393" y="145"/>
                  </a:cubicBezTo>
                  <a:cubicBezTo>
                    <a:pt x="393" y="145"/>
                    <a:pt x="391" y="147"/>
                    <a:pt x="391" y="147"/>
                  </a:cubicBezTo>
                  <a:cubicBezTo>
                    <a:pt x="391" y="148"/>
                    <a:pt x="392" y="150"/>
                    <a:pt x="392" y="150"/>
                  </a:cubicBezTo>
                  <a:cubicBezTo>
                    <a:pt x="393" y="150"/>
                    <a:pt x="393" y="149"/>
                    <a:pt x="393" y="149"/>
                  </a:cubicBezTo>
                  <a:cubicBezTo>
                    <a:pt x="394" y="149"/>
                    <a:pt x="395" y="149"/>
                    <a:pt x="396" y="150"/>
                  </a:cubicBezTo>
                  <a:cubicBezTo>
                    <a:pt x="397" y="150"/>
                    <a:pt x="397" y="151"/>
                    <a:pt x="397" y="152"/>
                  </a:cubicBezTo>
                  <a:cubicBezTo>
                    <a:pt x="398" y="152"/>
                    <a:pt x="404" y="154"/>
                    <a:pt x="405" y="154"/>
                  </a:cubicBezTo>
                  <a:cubicBezTo>
                    <a:pt x="405" y="154"/>
                    <a:pt x="405" y="152"/>
                    <a:pt x="407" y="153"/>
                  </a:cubicBezTo>
                  <a:cubicBezTo>
                    <a:pt x="407" y="153"/>
                    <a:pt x="408" y="155"/>
                    <a:pt x="409" y="156"/>
                  </a:cubicBezTo>
                  <a:cubicBezTo>
                    <a:pt x="410" y="155"/>
                    <a:pt x="411" y="155"/>
                    <a:pt x="412" y="155"/>
                  </a:cubicBezTo>
                  <a:cubicBezTo>
                    <a:pt x="413" y="151"/>
                    <a:pt x="415" y="145"/>
                    <a:pt x="413" y="141"/>
                  </a:cubicBezTo>
                  <a:cubicBezTo>
                    <a:pt x="413" y="140"/>
                    <a:pt x="411" y="140"/>
                    <a:pt x="410" y="139"/>
                  </a:cubicBezTo>
                  <a:cubicBezTo>
                    <a:pt x="409" y="138"/>
                    <a:pt x="410" y="137"/>
                    <a:pt x="409" y="136"/>
                  </a:cubicBezTo>
                  <a:cubicBezTo>
                    <a:pt x="408" y="135"/>
                    <a:pt x="401" y="135"/>
                    <a:pt x="399" y="135"/>
                  </a:cubicBezTo>
                  <a:close/>
                  <a:moveTo>
                    <a:pt x="395" y="133"/>
                  </a:moveTo>
                  <a:cubicBezTo>
                    <a:pt x="395" y="133"/>
                    <a:pt x="394" y="135"/>
                    <a:pt x="393" y="136"/>
                  </a:cubicBezTo>
                  <a:cubicBezTo>
                    <a:pt x="392" y="137"/>
                    <a:pt x="390" y="136"/>
                    <a:pt x="388" y="137"/>
                  </a:cubicBezTo>
                  <a:cubicBezTo>
                    <a:pt x="388" y="139"/>
                    <a:pt x="388" y="140"/>
                    <a:pt x="389" y="140"/>
                  </a:cubicBezTo>
                  <a:cubicBezTo>
                    <a:pt x="389" y="139"/>
                    <a:pt x="390" y="140"/>
                    <a:pt x="391" y="140"/>
                  </a:cubicBezTo>
                  <a:cubicBezTo>
                    <a:pt x="391" y="140"/>
                    <a:pt x="392" y="137"/>
                    <a:pt x="392" y="137"/>
                  </a:cubicBezTo>
                  <a:cubicBezTo>
                    <a:pt x="393" y="137"/>
                    <a:pt x="394" y="137"/>
                    <a:pt x="395" y="137"/>
                  </a:cubicBezTo>
                  <a:cubicBezTo>
                    <a:pt x="395" y="137"/>
                    <a:pt x="397" y="132"/>
                    <a:pt x="395" y="133"/>
                  </a:cubicBezTo>
                  <a:close/>
                  <a:moveTo>
                    <a:pt x="389" y="132"/>
                  </a:moveTo>
                  <a:cubicBezTo>
                    <a:pt x="390" y="134"/>
                    <a:pt x="390" y="134"/>
                    <a:pt x="390" y="134"/>
                  </a:cubicBezTo>
                  <a:cubicBezTo>
                    <a:pt x="390" y="133"/>
                    <a:pt x="391" y="132"/>
                    <a:pt x="389" y="132"/>
                  </a:cubicBezTo>
                  <a:close/>
                  <a:moveTo>
                    <a:pt x="386" y="132"/>
                  </a:moveTo>
                  <a:cubicBezTo>
                    <a:pt x="386" y="132"/>
                    <a:pt x="386" y="134"/>
                    <a:pt x="386" y="134"/>
                  </a:cubicBezTo>
                  <a:cubicBezTo>
                    <a:pt x="388" y="135"/>
                    <a:pt x="387" y="133"/>
                    <a:pt x="386" y="132"/>
                  </a:cubicBezTo>
                  <a:close/>
                  <a:moveTo>
                    <a:pt x="404" y="131"/>
                  </a:moveTo>
                  <a:cubicBezTo>
                    <a:pt x="402" y="131"/>
                    <a:pt x="404" y="133"/>
                    <a:pt x="405" y="133"/>
                  </a:cubicBezTo>
                  <a:cubicBezTo>
                    <a:pt x="405" y="133"/>
                    <a:pt x="407" y="130"/>
                    <a:pt x="404" y="131"/>
                  </a:cubicBezTo>
                  <a:close/>
                  <a:moveTo>
                    <a:pt x="538" y="128"/>
                  </a:moveTo>
                  <a:cubicBezTo>
                    <a:pt x="537" y="128"/>
                    <a:pt x="535" y="129"/>
                    <a:pt x="535" y="130"/>
                  </a:cubicBezTo>
                  <a:cubicBezTo>
                    <a:pt x="535" y="130"/>
                    <a:pt x="533" y="130"/>
                    <a:pt x="533" y="130"/>
                  </a:cubicBezTo>
                  <a:cubicBezTo>
                    <a:pt x="534" y="130"/>
                    <a:pt x="532" y="130"/>
                    <a:pt x="532" y="130"/>
                  </a:cubicBezTo>
                  <a:cubicBezTo>
                    <a:pt x="533" y="132"/>
                    <a:pt x="533" y="132"/>
                    <a:pt x="533" y="132"/>
                  </a:cubicBezTo>
                  <a:cubicBezTo>
                    <a:pt x="534" y="132"/>
                    <a:pt x="535" y="131"/>
                    <a:pt x="536" y="132"/>
                  </a:cubicBezTo>
                  <a:cubicBezTo>
                    <a:pt x="536" y="132"/>
                    <a:pt x="537" y="133"/>
                    <a:pt x="538" y="134"/>
                  </a:cubicBezTo>
                  <a:cubicBezTo>
                    <a:pt x="538" y="133"/>
                    <a:pt x="537" y="132"/>
                    <a:pt x="538" y="131"/>
                  </a:cubicBezTo>
                  <a:cubicBezTo>
                    <a:pt x="538" y="130"/>
                    <a:pt x="544" y="127"/>
                    <a:pt x="538" y="128"/>
                  </a:cubicBezTo>
                  <a:close/>
                  <a:moveTo>
                    <a:pt x="443" y="114"/>
                  </a:moveTo>
                  <a:cubicBezTo>
                    <a:pt x="442" y="114"/>
                    <a:pt x="441" y="114"/>
                    <a:pt x="440" y="114"/>
                  </a:cubicBezTo>
                  <a:cubicBezTo>
                    <a:pt x="439" y="116"/>
                    <a:pt x="439" y="116"/>
                    <a:pt x="439" y="116"/>
                  </a:cubicBezTo>
                  <a:cubicBezTo>
                    <a:pt x="441" y="119"/>
                    <a:pt x="441" y="119"/>
                    <a:pt x="446" y="120"/>
                  </a:cubicBezTo>
                  <a:cubicBezTo>
                    <a:pt x="446" y="120"/>
                    <a:pt x="445" y="118"/>
                    <a:pt x="445" y="118"/>
                  </a:cubicBezTo>
                  <a:cubicBezTo>
                    <a:pt x="445" y="118"/>
                    <a:pt x="445" y="115"/>
                    <a:pt x="445" y="114"/>
                  </a:cubicBezTo>
                  <a:cubicBezTo>
                    <a:pt x="444" y="114"/>
                    <a:pt x="443" y="114"/>
                    <a:pt x="443" y="114"/>
                  </a:cubicBezTo>
                  <a:close/>
                  <a:moveTo>
                    <a:pt x="395" y="111"/>
                  </a:moveTo>
                  <a:cubicBezTo>
                    <a:pt x="394" y="112"/>
                    <a:pt x="394" y="114"/>
                    <a:pt x="393" y="115"/>
                  </a:cubicBezTo>
                  <a:cubicBezTo>
                    <a:pt x="392" y="114"/>
                    <a:pt x="392" y="117"/>
                    <a:pt x="391" y="117"/>
                  </a:cubicBezTo>
                  <a:cubicBezTo>
                    <a:pt x="392" y="118"/>
                    <a:pt x="394" y="118"/>
                    <a:pt x="395" y="119"/>
                  </a:cubicBezTo>
                  <a:cubicBezTo>
                    <a:pt x="397" y="120"/>
                    <a:pt x="396" y="123"/>
                    <a:pt x="398" y="124"/>
                  </a:cubicBezTo>
                  <a:cubicBezTo>
                    <a:pt x="400" y="125"/>
                    <a:pt x="402" y="124"/>
                    <a:pt x="405" y="124"/>
                  </a:cubicBezTo>
                  <a:cubicBezTo>
                    <a:pt x="408" y="125"/>
                    <a:pt x="410" y="127"/>
                    <a:pt x="412" y="128"/>
                  </a:cubicBezTo>
                  <a:cubicBezTo>
                    <a:pt x="413" y="128"/>
                    <a:pt x="413" y="127"/>
                    <a:pt x="414" y="128"/>
                  </a:cubicBezTo>
                  <a:cubicBezTo>
                    <a:pt x="416" y="126"/>
                    <a:pt x="414" y="124"/>
                    <a:pt x="418" y="124"/>
                  </a:cubicBezTo>
                  <a:cubicBezTo>
                    <a:pt x="418" y="126"/>
                    <a:pt x="418" y="126"/>
                    <a:pt x="418" y="126"/>
                  </a:cubicBezTo>
                  <a:cubicBezTo>
                    <a:pt x="421" y="127"/>
                    <a:pt x="428" y="128"/>
                    <a:pt x="429" y="130"/>
                  </a:cubicBezTo>
                  <a:cubicBezTo>
                    <a:pt x="429" y="131"/>
                    <a:pt x="428" y="132"/>
                    <a:pt x="429" y="132"/>
                  </a:cubicBezTo>
                  <a:cubicBezTo>
                    <a:pt x="429" y="133"/>
                    <a:pt x="431" y="133"/>
                    <a:pt x="431" y="134"/>
                  </a:cubicBezTo>
                  <a:cubicBezTo>
                    <a:pt x="433" y="138"/>
                    <a:pt x="430" y="139"/>
                    <a:pt x="430" y="142"/>
                  </a:cubicBezTo>
                  <a:cubicBezTo>
                    <a:pt x="430" y="143"/>
                    <a:pt x="431" y="144"/>
                    <a:pt x="431" y="144"/>
                  </a:cubicBezTo>
                  <a:cubicBezTo>
                    <a:pt x="431" y="146"/>
                    <a:pt x="429" y="147"/>
                    <a:pt x="429" y="148"/>
                  </a:cubicBezTo>
                  <a:cubicBezTo>
                    <a:pt x="429" y="149"/>
                    <a:pt x="430" y="151"/>
                    <a:pt x="431" y="152"/>
                  </a:cubicBezTo>
                  <a:cubicBezTo>
                    <a:pt x="431" y="153"/>
                    <a:pt x="431" y="155"/>
                    <a:pt x="431" y="154"/>
                  </a:cubicBezTo>
                  <a:cubicBezTo>
                    <a:pt x="431" y="155"/>
                    <a:pt x="431" y="158"/>
                    <a:pt x="431" y="158"/>
                  </a:cubicBezTo>
                  <a:cubicBezTo>
                    <a:pt x="433" y="158"/>
                    <a:pt x="434" y="158"/>
                    <a:pt x="435" y="158"/>
                  </a:cubicBezTo>
                  <a:cubicBezTo>
                    <a:pt x="436" y="156"/>
                    <a:pt x="436" y="156"/>
                    <a:pt x="436" y="156"/>
                  </a:cubicBezTo>
                  <a:cubicBezTo>
                    <a:pt x="440" y="155"/>
                    <a:pt x="439" y="157"/>
                    <a:pt x="439" y="158"/>
                  </a:cubicBezTo>
                  <a:cubicBezTo>
                    <a:pt x="439" y="158"/>
                    <a:pt x="439" y="158"/>
                    <a:pt x="439" y="158"/>
                  </a:cubicBezTo>
                  <a:cubicBezTo>
                    <a:pt x="439" y="158"/>
                    <a:pt x="451" y="156"/>
                    <a:pt x="451" y="156"/>
                  </a:cubicBezTo>
                  <a:cubicBezTo>
                    <a:pt x="452" y="155"/>
                    <a:pt x="451" y="153"/>
                    <a:pt x="452" y="152"/>
                  </a:cubicBezTo>
                  <a:cubicBezTo>
                    <a:pt x="455" y="150"/>
                    <a:pt x="455" y="150"/>
                    <a:pt x="455" y="150"/>
                  </a:cubicBezTo>
                  <a:cubicBezTo>
                    <a:pt x="456" y="152"/>
                    <a:pt x="457" y="155"/>
                    <a:pt x="457" y="157"/>
                  </a:cubicBezTo>
                  <a:cubicBezTo>
                    <a:pt x="459" y="157"/>
                    <a:pt x="460" y="158"/>
                    <a:pt x="462" y="158"/>
                  </a:cubicBezTo>
                  <a:cubicBezTo>
                    <a:pt x="462" y="157"/>
                    <a:pt x="465" y="155"/>
                    <a:pt x="466" y="156"/>
                  </a:cubicBezTo>
                  <a:cubicBezTo>
                    <a:pt x="466" y="156"/>
                    <a:pt x="468" y="158"/>
                    <a:pt x="470" y="157"/>
                  </a:cubicBezTo>
                  <a:cubicBezTo>
                    <a:pt x="471" y="154"/>
                    <a:pt x="471" y="154"/>
                    <a:pt x="471" y="154"/>
                  </a:cubicBezTo>
                  <a:cubicBezTo>
                    <a:pt x="473" y="154"/>
                    <a:pt x="473" y="154"/>
                    <a:pt x="474" y="154"/>
                  </a:cubicBezTo>
                  <a:cubicBezTo>
                    <a:pt x="475" y="154"/>
                    <a:pt x="475" y="155"/>
                    <a:pt x="475" y="157"/>
                  </a:cubicBezTo>
                  <a:cubicBezTo>
                    <a:pt x="478" y="157"/>
                    <a:pt x="480" y="156"/>
                    <a:pt x="482" y="156"/>
                  </a:cubicBezTo>
                  <a:cubicBezTo>
                    <a:pt x="482" y="154"/>
                    <a:pt x="482" y="154"/>
                    <a:pt x="482" y="154"/>
                  </a:cubicBezTo>
                  <a:cubicBezTo>
                    <a:pt x="484" y="155"/>
                    <a:pt x="483" y="156"/>
                    <a:pt x="484" y="157"/>
                  </a:cubicBezTo>
                  <a:cubicBezTo>
                    <a:pt x="485" y="157"/>
                    <a:pt x="485" y="156"/>
                    <a:pt x="486" y="156"/>
                  </a:cubicBezTo>
                  <a:cubicBezTo>
                    <a:pt x="487" y="155"/>
                    <a:pt x="489" y="156"/>
                    <a:pt x="491" y="156"/>
                  </a:cubicBezTo>
                  <a:cubicBezTo>
                    <a:pt x="495" y="156"/>
                    <a:pt x="498" y="156"/>
                    <a:pt x="502" y="156"/>
                  </a:cubicBezTo>
                  <a:cubicBezTo>
                    <a:pt x="502" y="154"/>
                    <a:pt x="502" y="155"/>
                    <a:pt x="503" y="155"/>
                  </a:cubicBezTo>
                  <a:cubicBezTo>
                    <a:pt x="503" y="153"/>
                    <a:pt x="503" y="151"/>
                    <a:pt x="502" y="151"/>
                  </a:cubicBezTo>
                  <a:cubicBezTo>
                    <a:pt x="503" y="151"/>
                    <a:pt x="504" y="151"/>
                    <a:pt x="504" y="151"/>
                  </a:cubicBezTo>
                  <a:cubicBezTo>
                    <a:pt x="505" y="151"/>
                    <a:pt x="505" y="154"/>
                    <a:pt x="505" y="154"/>
                  </a:cubicBezTo>
                  <a:cubicBezTo>
                    <a:pt x="506" y="154"/>
                    <a:pt x="507" y="155"/>
                    <a:pt x="508" y="156"/>
                  </a:cubicBezTo>
                  <a:cubicBezTo>
                    <a:pt x="509" y="156"/>
                    <a:pt x="509" y="155"/>
                    <a:pt x="510" y="155"/>
                  </a:cubicBezTo>
                  <a:cubicBezTo>
                    <a:pt x="511" y="154"/>
                    <a:pt x="510" y="154"/>
                    <a:pt x="511" y="154"/>
                  </a:cubicBezTo>
                  <a:cubicBezTo>
                    <a:pt x="511" y="154"/>
                    <a:pt x="512" y="155"/>
                    <a:pt x="512" y="156"/>
                  </a:cubicBezTo>
                  <a:cubicBezTo>
                    <a:pt x="514" y="156"/>
                    <a:pt x="526" y="155"/>
                    <a:pt x="529" y="154"/>
                  </a:cubicBezTo>
                  <a:cubicBezTo>
                    <a:pt x="529" y="154"/>
                    <a:pt x="529" y="152"/>
                    <a:pt x="530" y="152"/>
                  </a:cubicBezTo>
                  <a:cubicBezTo>
                    <a:pt x="531" y="156"/>
                    <a:pt x="530" y="150"/>
                    <a:pt x="530" y="148"/>
                  </a:cubicBezTo>
                  <a:cubicBezTo>
                    <a:pt x="531" y="147"/>
                    <a:pt x="530" y="149"/>
                    <a:pt x="530" y="149"/>
                  </a:cubicBezTo>
                  <a:cubicBezTo>
                    <a:pt x="532" y="148"/>
                    <a:pt x="534" y="147"/>
                    <a:pt x="535" y="146"/>
                  </a:cubicBezTo>
                  <a:cubicBezTo>
                    <a:pt x="537" y="143"/>
                    <a:pt x="536" y="142"/>
                    <a:pt x="535" y="139"/>
                  </a:cubicBezTo>
                  <a:cubicBezTo>
                    <a:pt x="535" y="139"/>
                    <a:pt x="533" y="139"/>
                    <a:pt x="533" y="139"/>
                  </a:cubicBezTo>
                  <a:cubicBezTo>
                    <a:pt x="531" y="138"/>
                    <a:pt x="527" y="135"/>
                    <a:pt x="524" y="135"/>
                  </a:cubicBezTo>
                  <a:cubicBezTo>
                    <a:pt x="523" y="135"/>
                    <a:pt x="521" y="137"/>
                    <a:pt x="520" y="136"/>
                  </a:cubicBezTo>
                  <a:cubicBezTo>
                    <a:pt x="517" y="134"/>
                    <a:pt x="517" y="134"/>
                    <a:pt x="517" y="134"/>
                  </a:cubicBezTo>
                  <a:cubicBezTo>
                    <a:pt x="517" y="134"/>
                    <a:pt x="517" y="132"/>
                    <a:pt x="517" y="132"/>
                  </a:cubicBezTo>
                  <a:cubicBezTo>
                    <a:pt x="516" y="132"/>
                    <a:pt x="508" y="131"/>
                    <a:pt x="506" y="132"/>
                  </a:cubicBezTo>
                  <a:cubicBezTo>
                    <a:pt x="506" y="132"/>
                    <a:pt x="505" y="133"/>
                    <a:pt x="503" y="133"/>
                  </a:cubicBezTo>
                  <a:cubicBezTo>
                    <a:pt x="502" y="133"/>
                    <a:pt x="501" y="131"/>
                    <a:pt x="497" y="131"/>
                  </a:cubicBezTo>
                  <a:cubicBezTo>
                    <a:pt x="496" y="132"/>
                    <a:pt x="496" y="132"/>
                    <a:pt x="496" y="132"/>
                  </a:cubicBezTo>
                  <a:cubicBezTo>
                    <a:pt x="494" y="133"/>
                    <a:pt x="493" y="132"/>
                    <a:pt x="492" y="132"/>
                  </a:cubicBezTo>
                  <a:cubicBezTo>
                    <a:pt x="491" y="134"/>
                    <a:pt x="491" y="134"/>
                    <a:pt x="491" y="134"/>
                  </a:cubicBezTo>
                  <a:cubicBezTo>
                    <a:pt x="489" y="135"/>
                    <a:pt x="485" y="133"/>
                    <a:pt x="482" y="134"/>
                  </a:cubicBezTo>
                  <a:cubicBezTo>
                    <a:pt x="482" y="135"/>
                    <a:pt x="480" y="135"/>
                    <a:pt x="479" y="136"/>
                  </a:cubicBezTo>
                  <a:cubicBezTo>
                    <a:pt x="479" y="136"/>
                    <a:pt x="479" y="138"/>
                    <a:pt x="479" y="138"/>
                  </a:cubicBezTo>
                  <a:cubicBezTo>
                    <a:pt x="477" y="138"/>
                    <a:pt x="470" y="136"/>
                    <a:pt x="468" y="135"/>
                  </a:cubicBezTo>
                  <a:cubicBezTo>
                    <a:pt x="468" y="138"/>
                    <a:pt x="468" y="138"/>
                    <a:pt x="468" y="138"/>
                  </a:cubicBezTo>
                  <a:cubicBezTo>
                    <a:pt x="467" y="138"/>
                    <a:pt x="465" y="136"/>
                    <a:pt x="463" y="136"/>
                  </a:cubicBezTo>
                  <a:cubicBezTo>
                    <a:pt x="463" y="136"/>
                    <a:pt x="463" y="138"/>
                    <a:pt x="461" y="138"/>
                  </a:cubicBezTo>
                  <a:cubicBezTo>
                    <a:pt x="461" y="136"/>
                    <a:pt x="461" y="136"/>
                    <a:pt x="461" y="136"/>
                  </a:cubicBezTo>
                  <a:cubicBezTo>
                    <a:pt x="458" y="135"/>
                    <a:pt x="456" y="135"/>
                    <a:pt x="453" y="134"/>
                  </a:cubicBezTo>
                  <a:cubicBezTo>
                    <a:pt x="452" y="134"/>
                    <a:pt x="452" y="135"/>
                    <a:pt x="451" y="136"/>
                  </a:cubicBezTo>
                  <a:cubicBezTo>
                    <a:pt x="451" y="134"/>
                    <a:pt x="451" y="133"/>
                    <a:pt x="451" y="132"/>
                  </a:cubicBezTo>
                  <a:cubicBezTo>
                    <a:pt x="448" y="131"/>
                    <a:pt x="447" y="130"/>
                    <a:pt x="444" y="131"/>
                  </a:cubicBezTo>
                  <a:cubicBezTo>
                    <a:pt x="443" y="131"/>
                    <a:pt x="443" y="133"/>
                    <a:pt x="443" y="133"/>
                  </a:cubicBezTo>
                  <a:cubicBezTo>
                    <a:pt x="439" y="135"/>
                    <a:pt x="442" y="131"/>
                    <a:pt x="443" y="130"/>
                  </a:cubicBezTo>
                  <a:cubicBezTo>
                    <a:pt x="442" y="130"/>
                    <a:pt x="440" y="130"/>
                    <a:pt x="439" y="130"/>
                  </a:cubicBezTo>
                  <a:cubicBezTo>
                    <a:pt x="440" y="128"/>
                    <a:pt x="440" y="128"/>
                    <a:pt x="440" y="128"/>
                  </a:cubicBezTo>
                  <a:cubicBezTo>
                    <a:pt x="444" y="129"/>
                    <a:pt x="445" y="129"/>
                    <a:pt x="449" y="127"/>
                  </a:cubicBezTo>
                  <a:cubicBezTo>
                    <a:pt x="449" y="127"/>
                    <a:pt x="449" y="125"/>
                    <a:pt x="449" y="125"/>
                  </a:cubicBezTo>
                  <a:cubicBezTo>
                    <a:pt x="447" y="124"/>
                    <a:pt x="445" y="124"/>
                    <a:pt x="443" y="123"/>
                  </a:cubicBezTo>
                  <a:cubicBezTo>
                    <a:pt x="442" y="123"/>
                    <a:pt x="441" y="121"/>
                    <a:pt x="441" y="121"/>
                  </a:cubicBezTo>
                  <a:cubicBezTo>
                    <a:pt x="439" y="120"/>
                    <a:pt x="437" y="121"/>
                    <a:pt x="436" y="120"/>
                  </a:cubicBezTo>
                  <a:cubicBezTo>
                    <a:pt x="435" y="120"/>
                    <a:pt x="435" y="118"/>
                    <a:pt x="435" y="117"/>
                  </a:cubicBezTo>
                  <a:cubicBezTo>
                    <a:pt x="431" y="118"/>
                    <a:pt x="420" y="120"/>
                    <a:pt x="419" y="119"/>
                  </a:cubicBezTo>
                  <a:cubicBezTo>
                    <a:pt x="418" y="119"/>
                    <a:pt x="419" y="117"/>
                    <a:pt x="419" y="117"/>
                  </a:cubicBezTo>
                  <a:cubicBezTo>
                    <a:pt x="419" y="117"/>
                    <a:pt x="415" y="114"/>
                    <a:pt x="415" y="114"/>
                  </a:cubicBezTo>
                  <a:cubicBezTo>
                    <a:pt x="413" y="113"/>
                    <a:pt x="412" y="114"/>
                    <a:pt x="409" y="114"/>
                  </a:cubicBezTo>
                  <a:cubicBezTo>
                    <a:pt x="408" y="114"/>
                    <a:pt x="404" y="113"/>
                    <a:pt x="403" y="113"/>
                  </a:cubicBezTo>
                  <a:cubicBezTo>
                    <a:pt x="402" y="113"/>
                    <a:pt x="402" y="112"/>
                    <a:pt x="402" y="112"/>
                  </a:cubicBezTo>
                  <a:cubicBezTo>
                    <a:pt x="401" y="111"/>
                    <a:pt x="399" y="112"/>
                    <a:pt x="399" y="112"/>
                  </a:cubicBezTo>
                  <a:cubicBezTo>
                    <a:pt x="399" y="112"/>
                    <a:pt x="397" y="111"/>
                    <a:pt x="395" y="111"/>
                  </a:cubicBezTo>
                  <a:close/>
                  <a:moveTo>
                    <a:pt x="523" y="102"/>
                  </a:moveTo>
                  <a:cubicBezTo>
                    <a:pt x="524" y="102"/>
                    <a:pt x="524" y="103"/>
                    <a:pt x="524" y="104"/>
                  </a:cubicBezTo>
                  <a:cubicBezTo>
                    <a:pt x="525" y="104"/>
                    <a:pt x="525" y="105"/>
                    <a:pt x="526" y="105"/>
                  </a:cubicBezTo>
                  <a:cubicBezTo>
                    <a:pt x="523" y="105"/>
                    <a:pt x="520" y="105"/>
                    <a:pt x="518" y="105"/>
                  </a:cubicBezTo>
                  <a:cubicBezTo>
                    <a:pt x="519" y="105"/>
                    <a:pt x="518" y="104"/>
                    <a:pt x="518" y="104"/>
                  </a:cubicBezTo>
                  <a:cubicBezTo>
                    <a:pt x="518" y="104"/>
                    <a:pt x="522" y="102"/>
                    <a:pt x="523" y="102"/>
                  </a:cubicBezTo>
                  <a:close/>
                  <a:moveTo>
                    <a:pt x="411" y="99"/>
                  </a:moveTo>
                  <a:cubicBezTo>
                    <a:pt x="411" y="100"/>
                    <a:pt x="411" y="100"/>
                    <a:pt x="411" y="100"/>
                  </a:cubicBezTo>
                  <a:cubicBezTo>
                    <a:pt x="409" y="101"/>
                    <a:pt x="407" y="101"/>
                    <a:pt x="405" y="102"/>
                  </a:cubicBezTo>
                  <a:cubicBezTo>
                    <a:pt x="405" y="102"/>
                    <a:pt x="405" y="102"/>
                    <a:pt x="405" y="102"/>
                  </a:cubicBezTo>
                  <a:cubicBezTo>
                    <a:pt x="402" y="103"/>
                    <a:pt x="399" y="102"/>
                    <a:pt x="397" y="102"/>
                  </a:cubicBezTo>
                  <a:cubicBezTo>
                    <a:pt x="397" y="102"/>
                    <a:pt x="394" y="104"/>
                    <a:pt x="393" y="104"/>
                  </a:cubicBezTo>
                  <a:cubicBezTo>
                    <a:pt x="394" y="105"/>
                    <a:pt x="394" y="105"/>
                    <a:pt x="394" y="106"/>
                  </a:cubicBezTo>
                  <a:cubicBezTo>
                    <a:pt x="404" y="105"/>
                    <a:pt x="414" y="111"/>
                    <a:pt x="421" y="106"/>
                  </a:cubicBezTo>
                  <a:cubicBezTo>
                    <a:pt x="422" y="105"/>
                    <a:pt x="422" y="105"/>
                    <a:pt x="423" y="105"/>
                  </a:cubicBezTo>
                  <a:cubicBezTo>
                    <a:pt x="424" y="102"/>
                    <a:pt x="424" y="102"/>
                    <a:pt x="424" y="102"/>
                  </a:cubicBezTo>
                  <a:cubicBezTo>
                    <a:pt x="429" y="101"/>
                    <a:pt x="420" y="100"/>
                    <a:pt x="420" y="100"/>
                  </a:cubicBezTo>
                  <a:cubicBezTo>
                    <a:pt x="420" y="99"/>
                    <a:pt x="420" y="99"/>
                    <a:pt x="420" y="99"/>
                  </a:cubicBezTo>
                  <a:cubicBezTo>
                    <a:pt x="418" y="99"/>
                    <a:pt x="417" y="101"/>
                    <a:pt x="414" y="100"/>
                  </a:cubicBezTo>
                  <a:cubicBezTo>
                    <a:pt x="413" y="100"/>
                    <a:pt x="413" y="99"/>
                    <a:pt x="411" y="99"/>
                  </a:cubicBezTo>
                  <a:close/>
                  <a:moveTo>
                    <a:pt x="442" y="96"/>
                  </a:moveTo>
                  <a:cubicBezTo>
                    <a:pt x="441" y="97"/>
                    <a:pt x="442" y="98"/>
                    <a:pt x="442" y="98"/>
                  </a:cubicBezTo>
                  <a:cubicBezTo>
                    <a:pt x="442" y="99"/>
                    <a:pt x="440" y="100"/>
                    <a:pt x="439" y="100"/>
                  </a:cubicBezTo>
                  <a:cubicBezTo>
                    <a:pt x="439" y="101"/>
                    <a:pt x="439" y="103"/>
                    <a:pt x="439" y="102"/>
                  </a:cubicBezTo>
                  <a:cubicBezTo>
                    <a:pt x="440" y="105"/>
                    <a:pt x="440" y="106"/>
                    <a:pt x="440" y="108"/>
                  </a:cubicBezTo>
                  <a:cubicBezTo>
                    <a:pt x="441" y="107"/>
                    <a:pt x="441" y="106"/>
                    <a:pt x="441" y="106"/>
                  </a:cubicBezTo>
                  <a:cubicBezTo>
                    <a:pt x="442" y="106"/>
                    <a:pt x="444" y="106"/>
                    <a:pt x="445" y="106"/>
                  </a:cubicBezTo>
                  <a:cubicBezTo>
                    <a:pt x="446" y="104"/>
                    <a:pt x="447" y="102"/>
                    <a:pt x="447" y="99"/>
                  </a:cubicBezTo>
                  <a:cubicBezTo>
                    <a:pt x="445" y="98"/>
                    <a:pt x="444" y="97"/>
                    <a:pt x="442" y="96"/>
                  </a:cubicBezTo>
                  <a:close/>
                  <a:moveTo>
                    <a:pt x="510" y="94"/>
                  </a:moveTo>
                  <a:cubicBezTo>
                    <a:pt x="511" y="93"/>
                    <a:pt x="510" y="96"/>
                    <a:pt x="510" y="96"/>
                  </a:cubicBezTo>
                  <a:cubicBezTo>
                    <a:pt x="508" y="96"/>
                    <a:pt x="509" y="94"/>
                    <a:pt x="510" y="94"/>
                  </a:cubicBezTo>
                  <a:close/>
                  <a:moveTo>
                    <a:pt x="377" y="79"/>
                  </a:moveTo>
                  <a:cubicBezTo>
                    <a:pt x="373" y="88"/>
                    <a:pt x="374" y="92"/>
                    <a:pt x="384" y="92"/>
                  </a:cubicBezTo>
                  <a:cubicBezTo>
                    <a:pt x="384" y="92"/>
                    <a:pt x="385" y="94"/>
                    <a:pt x="385" y="94"/>
                  </a:cubicBezTo>
                  <a:cubicBezTo>
                    <a:pt x="384" y="94"/>
                    <a:pt x="383" y="93"/>
                    <a:pt x="382" y="94"/>
                  </a:cubicBezTo>
                  <a:cubicBezTo>
                    <a:pt x="382" y="94"/>
                    <a:pt x="381" y="96"/>
                    <a:pt x="382" y="96"/>
                  </a:cubicBezTo>
                  <a:cubicBezTo>
                    <a:pt x="383" y="96"/>
                    <a:pt x="383" y="98"/>
                    <a:pt x="384" y="98"/>
                  </a:cubicBezTo>
                  <a:cubicBezTo>
                    <a:pt x="385" y="99"/>
                    <a:pt x="388" y="100"/>
                    <a:pt x="388" y="101"/>
                  </a:cubicBezTo>
                  <a:cubicBezTo>
                    <a:pt x="388" y="102"/>
                    <a:pt x="387" y="102"/>
                    <a:pt x="388" y="103"/>
                  </a:cubicBezTo>
                  <a:cubicBezTo>
                    <a:pt x="389" y="103"/>
                    <a:pt x="390" y="103"/>
                    <a:pt x="391" y="103"/>
                  </a:cubicBezTo>
                  <a:cubicBezTo>
                    <a:pt x="392" y="103"/>
                    <a:pt x="392" y="101"/>
                    <a:pt x="393" y="100"/>
                  </a:cubicBezTo>
                  <a:cubicBezTo>
                    <a:pt x="395" y="99"/>
                    <a:pt x="402" y="99"/>
                    <a:pt x="404" y="99"/>
                  </a:cubicBezTo>
                  <a:cubicBezTo>
                    <a:pt x="404" y="98"/>
                    <a:pt x="404" y="97"/>
                    <a:pt x="404" y="96"/>
                  </a:cubicBezTo>
                  <a:cubicBezTo>
                    <a:pt x="404" y="96"/>
                    <a:pt x="402" y="95"/>
                    <a:pt x="402" y="94"/>
                  </a:cubicBezTo>
                  <a:cubicBezTo>
                    <a:pt x="402" y="93"/>
                    <a:pt x="403" y="93"/>
                    <a:pt x="403" y="93"/>
                  </a:cubicBezTo>
                  <a:cubicBezTo>
                    <a:pt x="403" y="93"/>
                    <a:pt x="401" y="90"/>
                    <a:pt x="401" y="90"/>
                  </a:cubicBezTo>
                  <a:cubicBezTo>
                    <a:pt x="401" y="90"/>
                    <a:pt x="400" y="90"/>
                    <a:pt x="399" y="90"/>
                  </a:cubicBezTo>
                  <a:cubicBezTo>
                    <a:pt x="399" y="90"/>
                    <a:pt x="397" y="88"/>
                    <a:pt x="397" y="88"/>
                  </a:cubicBezTo>
                  <a:cubicBezTo>
                    <a:pt x="396" y="87"/>
                    <a:pt x="395" y="89"/>
                    <a:pt x="394" y="88"/>
                  </a:cubicBezTo>
                  <a:cubicBezTo>
                    <a:pt x="394" y="88"/>
                    <a:pt x="394" y="88"/>
                    <a:pt x="394" y="88"/>
                  </a:cubicBezTo>
                  <a:cubicBezTo>
                    <a:pt x="394" y="87"/>
                    <a:pt x="392" y="86"/>
                    <a:pt x="392" y="86"/>
                  </a:cubicBezTo>
                  <a:cubicBezTo>
                    <a:pt x="389" y="84"/>
                    <a:pt x="386" y="84"/>
                    <a:pt x="383" y="83"/>
                  </a:cubicBezTo>
                  <a:cubicBezTo>
                    <a:pt x="381" y="82"/>
                    <a:pt x="379" y="80"/>
                    <a:pt x="377" y="79"/>
                  </a:cubicBezTo>
                  <a:close/>
                  <a:moveTo>
                    <a:pt x="363" y="57"/>
                  </a:moveTo>
                  <a:cubicBezTo>
                    <a:pt x="364" y="60"/>
                    <a:pt x="364" y="63"/>
                    <a:pt x="365" y="65"/>
                  </a:cubicBezTo>
                  <a:cubicBezTo>
                    <a:pt x="365" y="65"/>
                    <a:pt x="367" y="64"/>
                    <a:pt x="367" y="64"/>
                  </a:cubicBezTo>
                  <a:cubicBezTo>
                    <a:pt x="368" y="65"/>
                    <a:pt x="368" y="67"/>
                    <a:pt x="369" y="68"/>
                  </a:cubicBezTo>
                  <a:cubicBezTo>
                    <a:pt x="369" y="68"/>
                    <a:pt x="370" y="67"/>
                    <a:pt x="371" y="68"/>
                  </a:cubicBezTo>
                  <a:cubicBezTo>
                    <a:pt x="370" y="66"/>
                    <a:pt x="371" y="65"/>
                    <a:pt x="370" y="63"/>
                  </a:cubicBezTo>
                  <a:cubicBezTo>
                    <a:pt x="370" y="62"/>
                    <a:pt x="367" y="61"/>
                    <a:pt x="367" y="60"/>
                  </a:cubicBezTo>
                  <a:cubicBezTo>
                    <a:pt x="366" y="59"/>
                    <a:pt x="367" y="58"/>
                    <a:pt x="367" y="57"/>
                  </a:cubicBezTo>
                  <a:cubicBezTo>
                    <a:pt x="366" y="57"/>
                    <a:pt x="364" y="58"/>
                    <a:pt x="363" y="57"/>
                  </a:cubicBezTo>
                  <a:close/>
                  <a:moveTo>
                    <a:pt x="578" y="40"/>
                  </a:moveTo>
                  <a:cubicBezTo>
                    <a:pt x="581" y="40"/>
                    <a:pt x="580" y="41"/>
                    <a:pt x="579" y="41"/>
                  </a:cubicBezTo>
                  <a:cubicBezTo>
                    <a:pt x="573" y="42"/>
                    <a:pt x="573" y="40"/>
                    <a:pt x="578" y="40"/>
                  </a:cubicBezTo>
                  <a:close/>
                  <a:moveTo>
                    <a:pt x="374" y="160"/>
                  </a:moveTo>
                  <a:cubicBezTo>
                    <a:pt x="374" y="160"/>
                    <a:pt x="372" y="163"/>
                    <a:pt x="371" y="164"/>
                  </a:cubicBezTo>
                  <a:cubicBezTo>
                    <a:pt x="369" y="164"/>
                    <a:pt x="358" y="165"/>
                    <a:pt x="365" y="167"/>
                  </a:cubicBezTo>
                  <a:cubicBezTo>
                    <a:pt x="365" y="167"/>
                    <a:pt x="364" y="169"/>
                    <a:pt x="364" y="169"/>
                  </a:cubicBezTo>
                  <a:cubicBezTo>
                    <a:pt x="362" y="168"/>
                    <a:pt x="360" y="169"/>
                    <a:pt x="357" y="168"/>
                  </a:cubicBezTo>
                  <a:cubicBezTo>
                    <a:pt x="357" y="167"/>
                    <a:pt x="356" y="165"/>
                    <a:pt x="355" y="165"/>
                  </a:cubicBezTo>
                  <a:cubicBezTo>
                    <a:pt x="353" y="166"/>
                    <a:pt x="347" y="171"/>
                    <a:pt x="348" y="174"/>
                  </a:cubicBezTo>
                  <a:cubicBezTo>
                    <a:pt x="348" y="175"/>
                    <a:pt x="349" y="175"/>
                    <a:pt x="349" y="176"/>
                  </a:cubicBezTo>
                  <a:cubicBezTo>
                    <a:pt x="351" y="176"/>
                    <a:pt x="353" y="177"/>
                    <a:pt x="353" y="177"/>
                  </a:cubicBezTo>
                  <a:cubicBezTo>
                    <a:pt x="355" y="177"/>
                    <a:pt x="357" y="177"/>
                    <a:pt x="357" y="178"/>
                  </a:cubicBezTo>
                  <a:cubicBezTo>
                    <a:pt x="358" y="179"/>
                    <a:pt x="358" y="181"/>
                    <a:pt x="357" y="181"/>
                  </a:cubicBezTo>
                  <a:cubicBezTo>
                    <a:pt x="357" y="182"/>
                    <a:pt x="358" y="184"/>
                    <a:pt x="357" y="185"/>
                  </a:cubicBezTo>
                  <a:cubicBezTo>
                    <a:pt x="356" y="187"/>
                    <a:pt x="347" y="186"/>
                    <a:pt x="344" y="186"/>
                  </a:cubicBezTo>
                  <a:cubicBezTo>
                    <a:pt x="342" y="184"/>
                    <a:pt x="341" y="182"/>
                    <a:pt x="340" y="180"/>
                  </a:cubicBezTo>
                  <a:cubicBezTo>
                    <a:pt x="340" y="180"/>
                    <a:pt x="339" y="181"/>
                    <a:pt x="338" y="181"/>
                  </a:cubicBezTo>
                  <a:cubicBezTo>
                    <a:pt x="337" y="182"/>
                    <a:pt x="337" y="181"/>
                    <a:pt x="336" y="181"/>
                  </a:cubicBezTo>
                  <a:cubicBezTo>
                    <a:pt x="336" y="182"/>
                    <a:pt x="335" y="182"/>
                    <a:pt x="335" y="184"/>
                  </a:cubicBezTo>
                  <a:cubicBezTo>
                    <a:pt x="335" y="184"/>
                    <a:pt x="336" y="186"/>
                    <a:pt x="336" y="186"/>
                  </a:cubicBezTo>
                  <a:cubicBezTo>
                    <a:pt x="336" y="187"/>
                    <a:pt x="335" y="188"/>
                    <a:pt x="336" y="188"/>
                  </a:cubicBezTo>
                  <a:cubicBezTo>
                    <a:pt x="336" y="189"/>
                    <a:pt x="338" y="190"/>
                    <a:pt x="338" y="191"/>
                  </a:cubicBezTo>
                  <a:cubicBezTo>
                    <a:pt x="339" y="191"/>
                    <a:pt x="341" y="194"/>
                    <a:pt x="341" y="194"/>
                  </a:cubicBezTo>
                  <a:cubicBezTo>
                    <a:pt x="342" y="194"/>
                    <a:pt x="343" y="194"/>
                    <a:pt x="344" y="194"/>
                  </a:cubicBezTo>
                  <a:cubicBezTo>
                    <a:pt x="344" y="194"/>
                    <a:pt x="346" y="196"/>
                    <a:pt x="346" y="196"/>
                  </a:cubicBezTo>
                  <a:cubicBezTo>
                    <a:pt x="348" y="196"/>
                    <a:pt x="348" y="196"/>
                    <a:pt x="348" y="196"/>
                  </a:cubicBezTo>
                  <a:cubicBezTo>
                    <a:pt x="348" y="196"/>
                    <a:pt x="348" y="194"/>
                    <a:pt x="348" y="193"/>
                  </a:cubicBezTo>
                  <a:cubicBezTo>
                    <a:pt x="349" y="193"/>
                    <a:pt x="350" y="193"/>
                    <a:pt x="352" y="193"/>
                  </a:cubicBezTo>
                  <a:cubicBezTo>
                    <a:pt x="352" y="194"/>
                    <a:pt x="353" y="195"/>
                    <a:pt x="354" y="196"/>
                  </a:cubicBezTo>
                  <a:cubicBezTo>
                    <a:pt x="355" y="197"/>
                    <a:pt x="356" y="199"/>
                    <a:pt x="357" y="199"/>
                  </a:cubicBezTo>
                  <a:cubicBezTo>
                    <a:pt x="357" y="200"/>
                    <a:pt x="359" y="199"/>
                    <a:pt x="359" y="199"/>
                  </a:cubicBezTo>
                  <a:cubicBezTo>
                    <a:pt x="360" y="200"/>
                    <a:pt x="364" y="203"/>
                    <a:pt x="364" y="203"/>
                  </a:cubicBezTo>
                  <a:cubicBezTo>
                    <a:pt x="364" y="204"/>
                    <a:pt x="364" y="205"/>
                    <a:pt x="364" y="206"/>
                  </a:cubicBezTo>
                  <a:cubicBezTo>
                    <a:pt x="364" y="207"/>
                    <a:pt x="366" y="209"/>
                    <a:pt x="367" y="211"/>
                  </a:cubicBezTo>
                  <a:cubicBezTo>
                    <a:pt x="369" y="211"/>
                    <a:pt x="370" y="212"/>
                    <a:pt x="372" y="211"/>
                  </a:cubicBezTo>
                  <a:cubicBezTo>
                    <a:pt x="374" y="210"/>
                    <a:pt x="375" y="206"/>
                    <a:pt x="377" y="205"/>
                  </a:cubicBezTo>
                  <a:cubicBezTo>
                    <a:pt x="378" y="204"/>
                    <a:pt x="380" y="205"/>
                    <a:pt x="381" y="205"/>
                  </a:cubicBezTo>
                  <a:cubicBezTo>
                    <a:pt x="381" y="205"/>
                    <a:pt x="382" y="203"/>
                    <a:pt x="383" y="203"/>
                  </a:cubicBezTo>
                  <a:cubicBezTo>
                    <a:pt x="386" y="201"/>
                    <a:pt x="388" y="202"/>
                    <a:pt x="391" y="201"/>
                  </a:cubicBezTo>
                  <a:cubicBezTo>
                    <a:pt x="391" y="198"/>
                    <a:pt x="391" y="199"/>
                    <a:pt x="391" y="197"/>
                  </a:cubicBezTo>
                  <a:cubicBezTo>
                    <a:pt x="393" y="197"/>
                    <a:pt x="393" y="197"/>
                    <a:pt x="393" y="197"/>
                  </a:cubicBezTo>
                  <a:cubicBezTo>
                    <a:pt x="393" y="196"/>
                    <a:pt x="394" y="192"/>
                    <a:pt x="393" y="191"/>
                  </a:cubicBezTo>
                  <a:cubicBezTo>
                    <a:pt x="392" y="189"/>
                    <a:pt x="392" y="189"/>
                    <a:pt x="392" y="189"/>
                  </a:cubicBezTo>
                  <a:cubicBezTo>
                    <a:pt x="392" y="187"/>
                    <a:pt x="393" y="187"/>
                    <a:pt x="393" y="185"/>
                  </a:cubicBezTo>
                  <a:cubicBezTo>
                    <a:pt x="393" y="185"/>
                    <a:pt x="390" y="183"/>
                    <a:pt x="390" y="183"/>
                  </a:cubicBezTo>
                  <a:cubicBezTo>
                    <a:pt x="387" y="186"/>
                    <a:pt x="388" y="185"/>
                    <a:pt x="385" y="187"/>
                  </a:cubicBezTo>
                  <a:cubicBezTo>
                    <a:pt x="384" y="184"/>
                    <a:pt x="384" y="183"/>
                    <a:pt x="383" y="179"/>
                  </a:cubicBezTo>
                  <a:cubicBezTo>
                    <a:pt x="377" y="182"/>
                    <a:pt x="379" y="182"/>
                    <a:pt x="377" y="177"/>
                  </a:cubicBezTo>
                  <a:cubicBezTo>
                    <a:pt x="375" y="177"/>
                    <a:pt x="375" y="177"/>
                    <a:pt x="375" y="177"/>
                  </a:cubicBezTo>
                  <a:cubicBezTo>
                    <a:pt x="376" y="175"/>
                    <a:pt x="376" y="175"/>
                    <a:pt x="376" y="175"/>
                  </a:cubicBezTo>
                  <a:cubicBezTo>
                    <a:pt x="379" y="174"/>
                    <a:pt x="381" y="175"/>
                    <a:pt x="384" y="174"/>
                  </a:cubicBezTo>
                  <a:cubicBezTo>
                    <a:pt x="384" y="174"/>
                    <a:pt x="385" y="171"/>
                    <a:pt x="383" y="171"/>
                  </a:cubicBezTo>
                  <a:cubicBezTo>
                    <a:pt x="384" y="171"/>
                    <a:pt x="384" y="169"/>
                    <a:pt x="384" y="168"/>
                  </a:cubicBezTo>
                  <a:cubicBezTo>
                    <a:pt x="384" y="168"/>
                    <a:pt x="382" y="168"/>
                    <a:pt x="382" y="168"/>
                  </a:cubicBezTo>
                  <a:cubicBezTo>
                    <a:pt x="382" y="168"/>
                    <a:pt x="381" y="166"/>
                    <a:pt x="381" y="166"/>
                  </a:cubicBezTo>
                  <a:cubicBezTo>
                    <a:pt x="379" y="165"/>
                    <a:pt x="375" y="165"/>
                    <a:pt x="373" y="166"/>
                  </a:cubicBezTo>
                  <a:cubicBezTo>
                    <a:pt x="372" y="168"/>
                    <a:pt x="372" y="168"/>
                    <a:pt x="372" y="168"/>
                  </a:cubicBezTo>
                  <a:cubicBezTo>
                    <a:pt x="371" y="168"/>
                    <a:pt x="369" y="167"/>
                    <a:pt x="368" y="168"/>
                  </a:cubicBezTo>
                  <a:cubicBezTo>
                    <a:pt x="369" y="167"/>
                    <a:pt x="370" y="167"/>
                    <a:pt x="371" y="166"/>
                  </a:cubicBezTo>
                  <a:cubicBezTo>
                    <a:pt x="372" y="166"/>
                    <a:pt x="374" y="164"/>
                    <a:pt x="374" y="164"/>
                  </a:cubicBezTo>
                  <a:cubicBezTo>
                    <a:pt x="375" y="164"/>
                    <a:pt x="376" y="164"/>
                    <a:pt x="377" y="164"/>
                  </a:cubicBezTo>
                  <a:cubicBezTo>
                    <a:pt x="379" y="162"/>
                    <a:pt x="378" y="158"/>
                    <a:pt x="374" y="160"/>
                  </a:cubicBezTo>
                  <a:close/>
                  <a:moveTo>
                    <a:pt x="294" y="131"/>
                  </a:moveTo>
                  <a:cubicBezTo>
                    <a:pt x="294" y="131"/>
                    <a:pt x="294" y="133"/>
                    <a:pt x="294" y="133"/>
                  </a:cubicBezTo>
                  <a:cubicBezTo>
                    <a:pt x="291" y="134"/>
                    <a:pt x="293" y="131"/>
                    <a:pt x="294" y="131"/>
                  </a:cubicBezTo>
                  <a:close/>
                  <a:moveTo>
                    <a:pt x="188" y="120"/>
                  </a:moveTo>
                  <a:cubicBezTo>
                    <a:pt x="189" y="121"/>
                    <a:pt x="187" y="122"/>
                    <a:pt x="187" y="122"/>
                  </a:cubicBezTo>
                  <a:cubicBezTo>
                    <a:pt x="187" y="121"/>
                    <a:pt x="187" y="120"/>
                    <a:pt x="188" y="120"/>
                  </a:cubicBezTo>
                  <a:close/>
                  <a:moveTo>
                    <a:pt x="335" y="119"/>
                  </a:moveTo>
                  <a:cubicBezTo>
                    <a:pt x="333" y="119"/>
                    <a:pt x="327" y="121"/>
                    <a:pt x="326" y="122"/>
                  </a:cubicBezTo>
                  <a:cubicBezTo>
                    <a:pt x="325" y="122"/>
                    <a:pt x="324" y="123"/>
                    <a:pt x="324" y="124"/>
                  </a:cubicBezTo>
                  <a:cubicBezTo>
                    <a:pt x="322" y="122"/>
                    <a:pt x="321" y="125"/>
                    <a:pt x="324" y="127"/>
                  </a:cubicBezTo>
                  <a:cubicBezTo>
                    <a:pt x="324" y="128"/>
                    <a:pt x="324" y="128"/>
                    <a:pt x="324" y="128"/>
                  </a:cubicBezTo>
                  <a:cubicBezTo>
                    <a:pt x="328" y="127"/>
                    <a:pt x="330" y="127"/>
                    <a:pt x="334" y="126"/>
                  </a:cubicBezTo>
                  <a:cubicBezTo>
                    <a:pt x="334" y="126"/>
                    <a:pt x="332" y="128"/>
                    <a:pt x="332" y="128"/>
                  </a:cubicBezTo>
                  <a:cubicBezTo>
                    <a:pt x="329" y="128"/>
                    <a:pt x="328" y="129"/>
                    <a:pt x="326" y="130"/>
                  </a:cubicBezTo>
                  <a:cubicBezTo>
                    <a:pt x="325" y="132"/>
                    <a:pt x="325" y="132"/>
                    <a:pt x="325" y="132"/>
                  </a:cubicBezTo>
                  <a:cubicBezTo>
                    <a:pt x="329" y="131"/>
                    <a:pt x="337" y="131"/>
                    <a:pt x="334" y="132"/>
                  </a:cubicBezTo>
                  <a:cubicBezTo>
                    <a:pt x="333" y="132"/>
                    <a:pt x="331" y="132"/>
                    <a:pt x="331" y="133"/>
                  </a:cubicBezTo>
                  <a:cubicBezTo>
                    <a:pt x="330" y="133"/>
                    <a:pt x="330" y="135"/>
                    <a:pt x="330" y="136"/>
                  </a:cubicBezTo>
                  <a:cubicBezTo>
                    <a:pt x="329" y="136"/>
                    <a:pt x="327" y="136"/>
                    <a:pt x="327" y="136"/>
                  </a:cubicBezTo>
                  <a:cubicBezTo>
                    <a:pt x="327" y="137"/>
                    <a:pt x="327" y="138"/>
                    <a:pt x="327" y="138"/>
                  </a:cubicBezTo>
                  <a:cubicBezTo>
                    <a:pt x="329" y="138"/>
                    <a:pt x="332" y="139"/>
                    <a:pt x="335" y="138"/>
                  </a:cubicBezTo>
                  <a:cubicBezTo>
                    <a:pt x="336" y="137"/>
                    <a:pt x="336" y="135"/>
                    <a:pt x="338" y="134"/>
                  </a:cubicBezTo>
                  <a:cubicBezTo>
                    <a:pt x="339" y="133"/>
                    <a:pt x="341" y="133"/>
                    <a:pt x="342" y="132"/>
                  </a:cubicBezTo>
                  <a:cubicBezTo>
                    <a:pt x="342" y="132"/>
                    <a:pt x="342" y="130"/>
                    <a:pt x="341" y="131"/>
                  </a:cubicBezTo>
                  <a:cubicBezTo>
                    <a:pt x="341" y="130"/>
                    <a:pt x="341" y="130"/>
                    <a:pt x="341" y="130"/>
                  </a:cubicBezTo>
                  <a:cubicBezTo>
                    <a:pt x="342" y="128"/>
                    <a:pt x="342" y="128"/>
                    <a:pt x="342" y="128"/>
                  </a:cubicBezTo>
                  <a:cubicBezTo>
                    <a:pt x="341" y="127"/>
                    <a:pt x="344" y="125"/>
                    <a:pt x="340" y="125"/>
                  </a:cubicBezTo>
                  <a:cubicBezTo>
                    <a:pt x="338" y="125"/>
                    <a:pt x="337" y="125"/>
                    <a:pt x="336" y="126"/>
                  </a:cubicBezTo>
                  <a:cubicBezTo>
                    <a:pt x="337" y="124"/>
                    <a:pt x="341" y="120"/>
                    <a:pt x="335" y="119"/>
                  </a:cubicBezTo>
                  <a:close/>
                  <a:moveTo>
                    <a:pt x="325" y="114"/>
                  </a:moveTo>
                  <a:cubicBezTo>
                    <a:pt x="324" y="116"/>
                    <a:pt x="323" y="118"/>
                    <a:pt x="322" y="120"/>
                  </a:cubicBezTo>
                  <a:cubicBezTo>
                    <a:pt x="330" y="118"/>
                    <a:pt x="337" y="117"/>
                    <a:pt x="325" y="114"/>
                  </a:cubicBezTo>
                  <a:close/>
                  <a:moveTo>
                    <a:pt x="361" y="112"/>
                  </a:moveTo>
                  <a:cubicBezTo>
                    <a:pt x="361" y="114"/>
                    <a:pt x="361" y="114"/>
                    <a:pt x="361" y="114"/>
                  </a:cubicBezTo>
                  <a:cubicBezTo>
                    <a:pt x="359" y="114"/>
                    <a:pt x="358" y="114"/>
                    <a:pt x="357" y="114"/>
                  </a:cubicBezTo>
                  <a:cubicBezTo>
                    <a:pt x="358" y="115"/>
                    <a:pt x="356" y="116"/>
                    <a:pt x="356" y="116"/>
                  </a:cubicBezTo>
                  <a:cubicBezTo>
                    <a:pt x="357" y="118"/>
                    <a:pt x="357" y="118"/>
                    <a:pt x="357" y="118"/>
                  </a:cubicBezTo>
                  <a:cubicBezTo>
                    <a:pt x="359" y="118"/>
                    <a:pt x="361" y="119"/>
                    <a:pt x="363" y="119"/>
                  </a:cubicBezTo>
                  <a:cubicBezTo>
                    <a:pt x="362" y="119"/>
                    <a:pt x="362" y="119"/>
                    <a:pt x="362" y="120"/>
                  </a:cubicBezTo>
                  <a:cubicBezTo>
                    <a:pt x="360" y="120"/>
                    <a:pt x="357" y="121"/>
                    <a:pt x="355" y="121"/>
                  </a:cubicBezTo>
                  <a:cubicBezTo>
                    <a:pt x="356" y="122"/>
                    <a:pt x="355" y="122"/>
                    <a:pt x="355" y="123"/>
                  </a:cubicBezTo>
                  <a:cubicBezTo>
                    <a:pt x="356" y="124"/>
                    <a:pt x="359" y="125"/>
                    <a:pt x="360" y="126"/>
                  </a:cubicBezTo>
                  <a:cubicBezTo>
                    <a:pt x="360" y="127"/>
                    <a:pt x="360" y="129"/>
                    <a:pt x="359" y="131"/>
                  </a:cubicBezTo>
                  <a:cubicBezTo>
                    <a:pt x="363" y="131"/>
                    <a:pt x="361" y="134"/>
                    <a:pt x="360" y="134"/>
                  </a:cubicBezTo>
                  <a:cubicBezTo>
                    <a:pt x="360" y="134"/>
                    <a:pt x="358" y="133"/>
                    <a:pt x="357" y="134"/>
                  </a:cubicBezTo>
                  <a:cubicBezTo>
                    <a:pt x="357" y="133"/>
                    <a:pt x="358" y="131"/>
                    <a:pt x="357" y="130"/>
                  </a:cubicBezTo>
                  <a:cubicBezTo>
                    <a:pt x="357" y="130"/>
                    <a:pt x="352" y="126"/>
                    <a:pt x="351" y="125"/>
                  </a:cubicBezTo>
                  <a:cubicBezTo>
                    <a:pt x="350" y="124"/>
                    <a:pt x="350" y="120"/>
                    <a:pt x="350" y="120"/>
                  </a:cubicBezTo>
                  <a:cubicBezTo>
                    <a:pt x="345" y="116"/>
                    <a:pt x="345" y="121"/>
                    <a:pt x="344" y="121"/>
                  </a:cubicBezTo>
                  <a:cubicBezTo>
                    <a:pt x="344" y="120"/>
                    <a:pt x="344" y="123"/>
                    <a:pt x="344" y="123"/>
                  </a:cubicBezTo>
                  <a:cubicBezTo>
                    <a:pt x="344" y="123"/>
                    <a:pt x="345" y="123"/>
                    <a:pt x="346" y="123"/>
                  </a:cubicBezTo>
                  <a:cubicBezTo>
                    <a:pt x="344" y="127"/>
                    <a:pt x="345" y="127"/>
                    <a:pt x="346" y="130"/>
                  </a:cubicBezTo>
                  <a:cubicBezTo>
                    <a:pt x="346" y="130"/>
                    <a:pt x="348" y="130"/>
                    <a:pt x="348" y="130"/>
                  </a:cubicBezTo>
                  <a:cubicBezTo>
                    <a:pt x="348" y="130"/>
                    <a:pt x="349" y="135"/>
                    <a:pt x="350" y="135"/>
                  </a:cubicBezTo>
                  <a:cubicBezTo>
                    <a:pt x="349" y="135"/>
                    <a:pt x="348" y="136"/>
                    <a:pt x="347" y="136"/>
                  </a:cubicBezTo>
                  <a:cubicBezTo>
                    <a:pt x="347" y="136"/>
                    <a:pt x="346" y="134"/>
                    <a:pt x="346" y="134"/>
                  </a:cubicBezTo>
                  <a:cubicBezTo>
                    <a:pt x="343" y="135"/>
                    <a:pt x="343" y="135"/>
                    <a:pt x="340" y="136"/>
                  </a:cubicBezTo>
                  <a:cubicBezTo>
                    <a:pt x="341" y="136"/>
                    <a:pt x="339" y="136"/>
                    <a:pt x="342" y="137"/>
                  </a:cubicBezTo>
                  <a:cubicBezTo>
                    <a:pt x="341" y="139"/>
                    <a:pt x="341" y="139"/>
                    <a:pt x="341" y="139"/>
                  </a:cubicBezTo>
                  <a:cubicBezTo>
                    <a:pt x="340" y="139"/>
                    <a:pt x="339" y="139"/>
                    <a:pt x="338" y="139"/>
                  </a:cubicBezTo>
                  <a:cubicBezTo>
                    <a:pt x="338" y="139"/>
                    <a:pt x="339" y="142"/>
                    <a:pt x="338" y="142"/>
                  </a:cubicBezTo>
                  <a:cubicBezTo>
                    <a:pt x="340" y="143"/>
                    <a:pt x="339" y="144"/>
                    <a:pt x="342" y="144"/>
                  </a:cubicBezTo>
                  <a:cubicBezTo>
                    <a:pt x="344" y="143"/>
                    <a:pt x="346" y="140"/>
                    <a:pt x="348" y="140"/>
                  </a:cubicBezTo>
                  <a:cubicBezTo>
                    <a:pt x="351" y="138"/>
                    <a:pt x="353" y="140"/>
                    <a:pt x="357" y="140"/>
                  </a:cubicBezTo>
                  <a:cubicBezTo>
                    <a:pt x="358" y="139"/>
                    <a:pt x="360" y="138"/>
                    <a:pt x="361" y="138"/>
                  </a:cubicBezTo>
                  <a:cubicBezTo>
                    <a:pt x="361" y="138"/>
                    <a:pt x="362" y="139"/>
                    <a:pt x="361" y="140"/>
                  </a:cubicBezTo>
                  <a:cubicBezTo>
                    <a:pt x="360" y="140"/>
                    <a:pt x="360" y="140"/>
                    <a:pt x="360" y="140"/>
                  </a:cubicBezTo>
                  <a:cubicBezTo>
                    <a:pt x="360" y="140"/>
                    <a:pt x="359" y="141"/>
                    <a:pt x="359" y="142"/>
                  </a:cubicBezTo>
                  <a:cubicBezTo>
                    <a:pt x="358" y="142"/>
                    <a:pt x="356" y="143"/>
                    <a:pt x="355" y="144"/>
                  </a:cubicBezTo>
                  <a:cubicBezTo>
                    <a:pt x="355" y="151"/>
                    <a:pt x="357" y="149"/>
                    <a:pt x="364" y="149"/>
                  </a:cubicBezTo>
                  <a:cubicBezTo>
                    <a:pt x="365" y="149"/>
                    <a:pt x="368" y="150"/>
                    <a:pt x="368" y="150"/>
                  </a:cubicBezTo>
                  <a:cubicBezTo>
                    <a:pt x="373" y="149"/>
                    <a:pt x="376" y="149"/>
                    <a:pt x="383" y="149"/>
                  </a:cubicBezTo>
                  <a:cubicBezTo>
                    <a:pt x="383" y="148"/>
                    <a:pt x="383" y="148"/>
                    <a:pt x="384" y="148"/>
                  </a:cubicBezTo>
                  <a:cubicBezTo>
                    <a:pt x="384" y="147"/>
                    <a:pt x="383" y="146"/>
                    <a:pt x="383" y="146"/>
                  </a:cubicBezTo>
                  <a:cubicBezTo>
                    <a:pt x="383" y="145"/>
                    <a:pt x="383" y="145"/>
                    <a:pt x="383" y="145"/>
                  </a:cubicBezTo>
                  <a:cubicBezTo>
                    <a:pt x="383" y="145"/>
                    <a:pt x="384" y="145"/>
                    <a:pt x="385" y="145"/>
                  </a:cubicBezTo>
                  <a:cubicBezTo>
                    <a:pt x="384" y="144"/>
                    <a:pt x="386" y="144"/>
                    <a:pt x="385" y="142"/>
                  </a:cubicBezTo>
                  <a:cubicBezTo>
                    <a:pt x="384" y="142"/>
                    <a:pt x="382" y="142"/>
                    <a:pt x="382" y="141"/>
                  </a:cubicBezTo>
                  <a:cubicBezTo>
                    <a:pt x="382" y="140"/>
                    <a:pt x="382" y="139"/>
                    <a:pt x="382" y="138"/>
                  </a:cubicBezTo>
                  <a:cubicBezTo>
                    <a:pt x="384" y="139"/>
                    <a:pt x="383" y="135"/>
                    <a:pt x="383" y="135"/>
                  </a:cubicBezTo>
                  <a:cubicBezTo>
                    <a:pt x="381" y="135"/>
                    <a:pt x="380" y="135"/>
                    <a:pt x="379" y="134"/>
                  </a:cubicBezTo>
                  <a:cubicBezTo>
                    <a:pt x="380" y="133"/>
                    <a:pt x="381" y="131"/>
                    <a:pt x="380" y="129"/>
                  </a:cubicBezTo>
                  <a:cubicBezTo>
                    <a:pt x="379" y="127"/>
                    <a:pt x="379" y="127"/>
                    <a:pt x="379" y="127"/>
                  </a:cubicBezTo>
                  <a:cubicBezTo>
                    <a:pt x="379" y="126"/>
                    <a:pt x="378" y="121"/>
                    <a:pt x="379" y="121"/>
                  </a:cubicBezTo>
                  <a:cubicBezTo>
                    <a:pt x="377" y="120"/>
                    <a:pt x="374" y="119"/>
                    <a:pt x="373" y="118"/>
                  </a:cubicBezTo>
                  <a:cubicBezTo>
                    <a:pt x="373" y="118"/>
                    <a:pt x="375" y="118"/>
                    <a:pt x="374" y="117"/>
                  </a:cubicBezTo>
                  <a:cubicBezTo>
                    <a:pt x="373" y="115"/>
                    <a:pt x="370" y="115"/>
                    <a:pt x="369" y="114"/>
                  </a:cubicBezTo>
                  <a:cubicBezTo>
                    <a:pt x="368" y="115"/>
                    <a:pt x="368" y="117"/>
                    <a:pt x="367" y="118"/>
                  </a:cubicBezTo>
                  <a:cubicBezTo>
                    <a:pt x="369" y="118"/>
                    <a:pt x="368" y="119"/>
                    <a:pt x="369" y="120"/>
                  </a:cubicBezTo>
                  <a:cubicBezTo>
                    <a:pt x="370" y="121"/>
                    <a:pt x="366" y="121"/>
                    <a:pt x="364" y="121"/>
                  </a:cubicBezTo>
                  <a:cubicBezTo>
                    <a:pt x="364" y="120"/>
                    <a:pt x="364" y="119"/>
                    <a:pt x="363" y="119"/>
                  </a:cubicBezTo>
                  <a:cubicBezTo>
                    <a:pt x="364" y="120"/>
                    <a:pt x="365" y="118"/>
                    <a:pt x="365" y="118"/>
                  </a:cubicBezTo>
                  <a:cubicBezTo>
                    <a:pt x="364" y="116"/>
                    <a:pt x="362" y="114"/>
                    <a:pt x="361" y="112"/>
                  </a:cubicBezTo>
                  <a:close/>
                  <a:moveTo>
                    <a:pt x="346" y="97"/>
                  </a:moveTo>
                  <a:cubicBezTo>
                    <a:pt x="345" y="98"/>
                    <a:pt x="344" y="100"/>
                    <a:pt x="344" y="100"/>
                  </a:cubicBezTo>
                  <a:cubicBezTo>
                    <a:pt x="344" y="100"/>
                    <a:pt x="344" y="101"/>
                    <a:pt x="345" y="100"/>
                  </a:cubicBezTo>
                  <a:cubicBezTo>
                    <a:pt x="345" y="100"/>
                    <a:pt x="346" y="103"/>
                    <a:pt x="346" y="103"/>
                  </a:cubicBezTo>
                  <a:cubicBezTo>
                    <a:pt x="349" y="102"/>
                    <a:pt x="354" y="102"/>
                    <a:pt x="350" y="99"/>
                  </a:cubicBezTo>
                  <a:cubicBezTo>
                    <a:pt x="349" y="98"/>
                    <a:pt x="347" y="98"/>
                    <a:pt x="346" y="97"/>
                  </a:cubicBezTo>
                  <a:close/>
                  <a:moveTo>
                    <a:pt x="316" y="97"/>
                  </a:moveTo>
                  <a:cubicBezTo>
                    <a:pt x="316" y="98"/>
                    <a:pt x="316" y="97"/>
                    <a:pt x="315" y="98"/>
                  </a:cubicBezTo>
                  <a:cubicBezTo>
                    <a:pt x="315" y="99"/>
                    <a:pt x="314" y="101"/>
                    <a:pt x="315" y="102"/>
                  </a:cubicBezTo>
                  <a:cubicBezTo>
                    <a:pt x="315" y="103"/>
                    <a:pt x="317" y="103"/>
                    <a:pt x="318" y="104"/>
                  </a:cubicBezTo>
                  <a:cubicBezTo>
                    <a:pt x="318" y="105"/>
                    <a:pt x="318" y="107"/>
                    <a:pt x="319" y="108"/>
                  </a:cubicBezTo>
                  <a:cubicBezTo>
                    <a:pt x="319" y="107"/>
                    <a:pt x="321" y="106"/>
                    <a:pt x="321" y="106"/>
                  </a:cubicBezTo>
                  <a:cubicBezTo>
                    <a:pt x="321" y="104"/>
                    <a:pt x="321" y="104"/>
                    <a:pt x="321" y="102"/>
                  </a:cubicBezTo>
                  <a:cubicBezTo>
                    <a:pt x="321" y="102"/>
                    <a:pt x="319" y="101"/>
                    <a:pt x="319" y="100"/>
                  </a:cubicBezTo>
                  <a:cubicBezTo>
                    <a:pt x="319" y="100"/>
                    <a:pt x="319" y="99"/>
                    <a:pt x="319" y="98"/>
                  </a:cubicBezTo>
                  <a:cubicBezTo>
                    <a:pt x="319" y="98"/>
                    <a:pt x="317" y="97"/>
                    <a:pt x="316" y="97"/>
                  </a:cubicBezTo>
                  <a:close/>
                  <a:moveTo>
                    <a:pt x="273" y="80"/>
                  </a:moveTo>
                  <a:cubicBezTo>
                    <a:pt x="273" y="80"/>
                    <a:pt x="271" y="82"/>
                    <a:pt x="271" y="82"/>
                  </a:cubicBezTo>
                  <a:cubicBezTo>
                    <a:pt x="270" y="82"/>
                    <a:pt x="269" y="81"/>
                    <a:pt x="268" y="82"/>
                  </a:cubicBezTo>
                  <a:cubicBezTo>
                    <a:pt x="267" y="82"/>
                    <a:pt x="267" y="83"/>
                    <a:pt x="266" y="84"/>
                  </a:cubicBezTo>
                  <a:cubicBezTo>
                    <a:pt x="263" y="86"/>
                    <a:pt x="264" y="85"/>
                    <a:pt x="262" y="88"/>
                  </a:cubicBezTo>
                  <a:cubicBezTo>
                    <a:pt x="265" y="89"/>
                    <a:pt x="270" y="91"/>
                    <a:pt x="274" y="91"/>
                  </a:cubicBezTo>
                  <a:cubicBezTo>
                    <a:pt x="275" y="90"/>
                    <a:pt x="275" y="90"/>
                    <a:pt x="275" y="90"/>
                  </a:cubicBezTo>
                  <a:cubicBezTo>
                    <a:pt x="276" y="89"/>
                    <a:pt x="278" y="90"/>
                    <a:pt x="280" y="90"/>
                  </a:cubicBezTo>
                  <a:cubicBezTo>
                    <a:pt x="280" y="88"/>
                    <a:pt x="282" y="86"/>
                    <a:pt x="281" y="83"/>
                  </a:cubicBezTo>
                  <a:cubicBezTo>
                    <a:pt x="281" y="83"/>
                    <a:pt x="280" y="82"/>
                    <a:pt x="280" y="82"/>
                  </a:cubicBezTo>
                  <a:cubicBezTo>
                    <a:pt x="279" y="82"/>
                    <a:pt x="278" y="82"/>
                    <a:pt x="277" y="82"/>
                  </a:cubicBezTo>
                  <a:cubicBezTo>
                    <a:pt x="276" y="81"/>
                    <a:pt x="276" y="80"/>
                    <a:pt x="273" y="80"/>
                  </a:cubicBezTo>
                  <a:close/>
                  <a:moveTo>
                    <a:pt x="310" y="73"/>
                  </a:moveTo>
                  <a:cubicBezTo>
                    <a:pt x="306" y="77"/>
                    <a:pt x="307" y="76"/>
                    <a:pt x="308" y="81"/>
                  </a:cubicBezTo>
                  <a:cubicBezTo>
                    <a:pt x="309" y="81"/>
                    <a:pt x="311" y="80"/>
                    <a:pt x="312" y="80"/>
                  </a:cubicBezTo>
                  <a:cubicBezTo>
                    <a:pt x="312" y="80"/>
                    <a:pt x="311" y="83"/>
                    <a:pt x="312" y="84"/>
                  </a:cubicBezTo>
                  <a:cubicBezTo>
                    <a:pt x="314" y="83"/>
                    <a:pt x="313" y="81"/>
                    <a:pt x="316" y="82"/>
                  </a:cubicBezTo>
                  <a:cubicBezTo>
                    <a:pt x="316" y="83"/>
                    <a:pt x="315" y="86"/>
                    <a:pt x="315" y="86"/>
                  </a:cubicBezTo>
                  <a:cubicBezTo>
                    <a:pt x="316" y="86"/>
                    <a:pt x="317" y="86"/>
                    <a:pt x="318" y="86"/>
                  </a:cubicBezTo>
                  <a:cubicBezTo>
                    <a:pt x="318" y="85"/>
                    <a:pt x="318" y="85"/>
                    <a:pt x="318" y="85"/>
                  </a:cubicBezTo>
                  <a:cubicBezTo>
                    <a:pt x="318" y="85"/>
                    <a:pt x="320" y="86"/>
                    <a:pt x="320" y="86"/>
                  </a:cubicBezTo>
                  <a:cubicBezTo>
                    <a:pt x="320" y="86"/>
                    <a:pt x="321" y="87"/>
                    <a:pt x="320" y="87"/>
                  </a:cubicBezTo>
                  <a:cubicBezTo>
                    <a:pt x="317" y="88"/>
                    <a:pt x="320" y="89"/>
                    <a:pt x="321" y="90"/>
                  </a:cubicBezTo>
                  <a:cubicBezTo>
                    <a:pt x="320" y="90"/>
                    <a:pt x="318" y="90"/>
                    <a:pt x="316" y="90"/>
                  </a:cubicBezTo>
                  <a:cubicBezTo>
                    <a:pt x="316" y="90"/>
                    <a:pt x="316" y="92"/>
                    <a:pt x="316" y="92"/>
                  </a:cubicBezTo>
                  <a:cubicBezTo>
                    <a:pt x="317" y="93"/>
                    <a:pt x="317" y="92"/>
                    <a:pt x="318" y="93"/>
                  </a:cubicBezTo>
                  <a:cubicBezTo>
                    <a:pt x="318" y="93"/>
                    <a:pt x="320" y="93"/>
                    <a:pt x="321" y="92"/>
                  </a:cubicBezTo>
                  <a:cubicBezTo>
                    <a:pt x="322" y="92"/>
                    <a:pt x="323" y="90"/>
                    <a:pt x="324" y="90"/>
                  </a:cubicBezTo>
                  <a:cubicBezTo>
                    <a:pt x="325" y="89"/>
                    <a:pt x="326" y="90"/>
                    <a:pt x="328" y="90"/>
                  </a:cubicBezTo>
                  <a:cubicBezTo>
                    <a:pt x="329" y="88"/>
                    <a:pt x="329" y="88"/>
                    <a:pt x="329" y="88"/>
                  </a:cubicBezTo>
                  <a:cubicBezTo>
                    <a:pt x="332" y="88"/>
                    <a:pt x="330" y="91"/>
                    <a:pt x="334" y="90"/>
                  </a:cubicBezTo>
                  <a:cubicBezTo>
                    <a:pt x="334" y="90"/>
                    <a:pt x="334" y="88"/>
                    <a:pt x="334" y="88"/>
                  </a:cubicBezTo>
                  <a:cubicBezTo>
                    <a:pt x="335" y="88"/>
                    <a:pt x="336" y="89"/>
                    <a:pt x="336" y="89"/>
                  </a:cubicBezTo>
                  <a:cubicBezTo>
                    <a:pt x="338" y="90"/>
                    <a:pt x="340" y="89"/>
                    <a:pt x="342" y="89"/>
                  </a:cubicBezTo>
                  <a:cubicBezTo>
                    <a:pt x="342" y="89"/>
                    <a:pt x="344" y="91"/>
                    <a:pt x="344" y="92"/>
                  </a:cubicBezTo>
                  <a:cubicBezTo>
                    <a:pt x="345" y="92"/>
                    <a:pt x="346" y="92"/>
                    <a:pt x="348" y="92"/>
                  </a:cubicBezTo>
                  <a:cubicBezTo>
                    <a:pt x="349" y="93"/>
                    <a:pt x="351" y="96"/>
                    <a:pt x="353" y="97"/>
                  </a:cubicBezTo>
                  <a:cubicBezTo>
                    <a:pt x="354" y="98"/>
                    <a:pt x="355" y="97"/>
                    <a:pt x="357" y="98"/>
                  </a:cubicBezTo>
                  <a:cubicBezTo>
                    <a:pt x="359" y="100"/>
                    <a:pt x="360" y="104"/>
                    <a:pt x="363" y="104"/>
                  </a:cubicBezTo>
                  <a:cubicBezTo>
                    <a:pt x="371" y="104"/>
                    <a:pt x="368" y="94"/>
                    <a:pt x="365" y="91"/>
                  </a:cubicBezTo>
                  <a:cubicBezTo>
                    <a:pt x="363" y="88"/>
                    <a:pt x="360" y="86"/>
                    <a:pt x="355" y="86"/>
                  </a:cubicBezTo>
                  <a:cubicBezTo>
                    <a:pt x="355" y="86"/>
                    <a:pt x="354" y="88"/>
                    <a:pt x="353" y="87"/>
                  </a:cubicBezTo>
                  <a:cubicBezTo>
                    <a:pt x="353" y="87"/>
                    <a:pt x="351" y="83"/>
                    <a:pt x="351" y="83"/>
                  </a:cubicBezTo>
                  <a:cubicBezTo>
                    <a:pt x="348" y="81"/>
                    <a:pt x="346" y="82"/>
                    <a:pt x="344" y="82"/>
                  </a:cubicBezTo>
                  <a:cubicBezTo>
                    <a:pt x="344" y="82"/>
                    <a:pt x="343" y="79"/>
                    <a:pt x="343" y="79"/>
                  </a:cubicBezTo>
                  <a:cubicBezTo>
                    <a:pt x="339" y="77"/>
                    <a:pt x="338" y="80"/>
                    <a:pt x="336" y="81"/>
                  </a:cubicBezTo>
                  <a:cubicBezTo>
                    <a:pt x="335" y="81"/>
                    <a:pt x="335" y="81"/>
                    <a:pt x="334" y="81"/>
                  </a:cubicBezTo>
                  <a:cubicBezTo>
                    <a:pt x="334" y="80"/>
                    <a:pt x="334" y="79"/>
                    <a:pt x="334" y="78"/>
                  </a:cubicBezTo>
                  <a:cubicBezTo>
                    <a:pt x="332" y="77"/>
                    <a:pt x="329" y="76"/>
                    <a:pt x="327" y="75"/>
                  </a:cubicBezTo>
                  <a:cubicBezTo>
                    <a:pt x="327" y="76"/>
                    <a:pt x="326" y="76"/>
                    <a:pt x="326" y="76"/>
                  </a:cubicBezTo>
                  <a:cubicBezTo>
                    <a:pt x="325" y="78"/>
                    <a:pt x="326" y="79"/>
                    <a:pt x="326" y="80"/>
                  </a:cubicBezTo>
                  <a:cubicBezTo>
                    <a:pt x="323" y="81"/>
                    <a:pt x="323" y="81"/>
                    <a:pt x="323" y="81"/>
                  </a:cubicBezTo>
                  <a:cubicBezTo>
                    <a:pt x="322" y="80"/>
                    <a:pt x="320" y="75"/>
                    <a:pt x="320" y="75"/>
                  </a:cubicBezTo>
                  <a:cubicBezTo>
                    <a:pt x="318" y="74"/>
                    <a:pt x="316" y="75"/>
                    <a:pt x="315" y="75"/>
                  </a:cubicBezTo>
                  <a:cubicBezTo>
                    <a:pt x="314" y="75"/>
                    <a:pt x="312" y="74"/>
                    <a:pt x="310" y="73"/>
                  </a:cubicBezTo>
                  <a:close/>
                  <a:moveTo>
                    <a:pt x="83" y="478"/>
                  </a:moveTo>
                  <a:cubicBezTo>
                    <a:pt x="82" y="478"/>
                    <a:pt x="80" y="479"/>
                    <a:pt x="79" y="480"/>
                  </a:cubicBezTo>
                  <a:cubicBezTo>
                    <a:pt x="80" y="482"/>
                    <a:pt x="78" y="481"/>
                    <a:pt x="80" y="482"/>
                  </a:cubicBezTo>
                  <a:cubicBezTo>
                    <a:pt x="80" y="483"/>
                    <a:pt x="80" y="483"/>
                    <a:pt x="80" y="483"/>
                  </a:cubicBezTo>
                  <a:cubicBezTo>
                    <a:pt x="80" y="481"/>
                    <a:pt x="79" y="485"/>
                    <a:pt x="80" y="487"/>
                  </a:cubicBezTo>
                  <a:cubicBezTo>
                    <a:pt x="81" y="489"/>
                    <a:pt x="87" y="491"/>
                    <a:pt x="88" y="493"/>
                  </a:cubicBezTo>
                  <a:cubicBezTo>
                    <a:pt x="88" y="492"/>
                    <a:pt x="88" y="491"/>
                    <a:pt x="88" y="491"/>
                  </a:cubicBezTo>
                  <a:cubicBezTo>
                    <a:pt x="87" y="488"/>
                    <a:pt x="86" y="489"/>
                    <a:pt x="86" y="489"/>
                  </a:cubicBezTo>
                  <a:cubicBezTo>
                    <a:pt x="86" y="489"/>
                    <a:pt x="87" y="488"/>
                    <a:pt x="89" y="487"/>
                  </a:cubicBezTo>
                  <a:cubicBezTo>
                    <a:pt x="88" y="486"/>
                    <a:pt x="88" y="486"/>
                    <a:pt x="86" y="485"/>
                  </a:cubicBezTo>
                  <a:cubicBezTo>
                    <a:pt x="86" y="485"/>
                    <a:pt x="88" y="483"/>
                    <a:pt x="87" y="482"/>
                  </a:cubicBezTo>
                  <a:cubicBezTo>
                    <a:pt x="86" y="481"/>
                    <a:pt x="85" y="482"/>
                    <a:pt x="85" y="481"/>
                  </a:cubicBezTo>
                  <a:cubicBezTo>
                    <a:pt x="85" y="481"/>
                    <a:pt x="86" y="480"/>
                    <a:pt x="86" y="479"/>
                  </a:cubicBezTo>
                  <a:cubicBezTo>
                    <a:pt x="85" y="478"/>
                    <a:pt x="84" y="479"/>
                    <a:pt x="83" y="478"/>
                  </a:cubicBezTo>
                  <a:close/>
                  <a:moveTo>
                    <a:pt x="96" y="469"/>
                  </a:moveTo>
                  <a:cubicBezTo>
                    <a:pt x="96" y="470"/>
                    <a:pt x="96" y="470"/>
                    <a:pt x="96" y="470"/>
                  </a:cubicBezTo>
                  <a:cubicBezTo>
                    <a:pt x="94" y="470"/>
                    <a:pt x="96" y="470"/>
                    <a:pt x="97" y="471"/>
                  </a:cubicBezTo>
                  <a:cubicBezTo>
                    <a:pt x="97" y="471"/>
                    <a:pt x="98" y="468"/>
                    <a:pt x="96" y="469"/>
                  </a:cubicBezTo>
                  <a:close/>
                  <a:moveTo>
                    <a:pt x="74" y="467"/>
                  </a:moveTo>
                  <a:cubicBezTo>
                    <a:pt x="74" y="469"/>
                    <a:pt x="75" y="474"/>
                    <a:pt x="75" y="475"/>
                  </a:cubicBezTo>
                  <a:cubicBezTo>
                    <a:pt x="75" y="475"/>
                    <a:pt x="74" y="475"/>
                    <a:pt x="74" y="477"/>
                  </a:cubicBezTo>
                  <a:cubicBezTo>
                    <a:pt x="76" y="477"/>
                    <a:pt x="76" y="477"/>
                    <a:pt x="76" y="477"/>
                  </a:cubicBezTo>
                  <a:cubicBezTo>
                    <a:pt x="76" y="477"/>
                    <a:pt x="76" y="479"/>
                    <a:pt x="76" y="478"/>
                  </a:cubicBezTo>
                  <a:cubicBezTo>
                    <a:pt x="76" y="478"/>
                    <a:pt x="76" y="480"/>
                    <a:pt x="76" y="480"/>
                  </a:cubicBezTo>
                  <a:cubicBezTo>
                    <a:pt x="77" y="481"/>
                    <a:pt x="79" y="479"/>
                    <a:pt x="79" y="479"/>
                  </a:cubicBezTo>
                  <a:cubicBezTo>
                    <a:pt x="80" y="478"/>
                    <a:pt x="82" y="478"/>
                    <a:pt x="82" y="477"/>
                  </a:cubicBezTo>
                  <a:cubicBezTo>
                    <a:pt x="83" y="476"/>
                    <a:pt x="82" y="474"/>
                    <a:pt x="82" y="473"/>
                  </a:cubicBezTo>
                  <a:cubicBezTo>
                    <a:pt x="83" y="471"/>
                    <a:pt x="84" y="469"/>
                    <a:pt x="84" y="467"/>
                  </a:cubicBezTo>
                  <a:cubicBezTo>
                    <a:pt x="79" y="468"/>
                    <a:pt x="78" y="470"/>
                    <a:pt x="74" y="467"/>
                  </a:cubicBezTo>
                  <a:close/>
                  <a:moveTo>
                    <a:pt x="278" y="385"/>
                  </a:moveTo>
                  <a:cubicBezTo>
                    <a:pt x="279" y="385"/>
                    <a:pt x="280" y="385"/>
                    <a:pt x="281" y="385"/>
                  </a:cubicBezTo>
                  <a:cubicBezTo>
                    <a:pt x="282" y="385"/>
                    <a:pt x="282" y="387"/>
                    <a:pt x="283" y="388"/>
                  </a:cubicBezTo>
                  <a:cubicBezTo>
                    <a:pt x="283" y="388"/>
                    <a:pt x="287" y="387"/>
                    <a:pt x="288" y="387"/>
                  </a:cubicBezTo>
                  <a:cubicBezTo>
                    <a:pt x="288" y="386"/>
                    <a:pt x="288" y="386"/>
                    <a:pt x="288" y="386"/>
                  </a:cubicBezTo>
                  <a:cubicBezTo>
                    <a:pt x="290" y="385"/>
                    <a:pt x="295" y="385"/>
                    <a:pt x="296" y="386"/>
                  </a:cubicBezTo>
                  <a:cubicBezTo>
                    <a:pt x="297" y="386"/>
                    <a:pt x="304" y="389"/>
                    <a:pt x="299" y="388"/>
                  </a:cubicBezTo>
                  <a:cubicBezTo>
                    <a:pt x="299" y="388"/>
                    <a:pt x="297" y="388"/>
                    <a:pt x="296" y="388"/>
                  </a:cubicBezTo>
                  <a:cubicBezTo>
                    <a:pt x="296" y="388"/>
                    <a:pt x="293" y="387"/>
                    <a:pt x="291" y="388"/>
                  </a:cubicBezTo>
                  <a:cubicBezTo>
                    <a:pt x="291" y="388"/>
                    <a:pt x="291" y="389"/>
                    <a:pt x="290" y="390"/>
                  </a:cubicBezTo>
                  <a:cubicBezTo>
                    <a:pt x="289" y="391"/>
                    <a:pt x="288" y="390"/>
                    <a:pt x="286" y="390"/>
                  </a:cubicBezTo>
                  <a:cubicBezTo>
                    <a:pt x="284" y="391"/>
                    <a:pt x="283" y="393"/>
                    <a:pt x="282" y="394"/>
                  </a:cubicBezTo>
                  <a:cubicBezTo>
                    <a:pt x="278" y="395"/>
                    <a:pt x="276" y="396"/>
                    <a:pt x="273" y="399"/>
                  </a:cubicBezTo>
                  <a:cubicBezTo>
                    <a:pt x="272" y="400"/>
                    <a:pt x="269" y="402"/>
                    <a:pt x="269" y="403"/>
                  </a:cubicBezTo>
                  <a:cubicBezTo>
                    <a:pt x="269" y="404"/>
                    <a:pt x="269" y="405"/>
                    <a:pt x="269" y="405"/>
                  </a:cubicBezTo>
                  <a:cubicBezTo>
                    <a:pt x="267" y="405"/>
                    <a:pt x="265" y="406"/>
                    <a:pt x="264" y="405"/>
                  </a:cubicBezTo>
                  <a:cubicBezTo>
                    <a:pt x="264" y="405"/>
                    <a:pt x="263" y="404"/>
                    <a:pt x="263" y="404"/>
                  </a:cubicBezTo>
                  <a:cubicBezTo>
                    <a:pt x="261" y="405"/>
                    <a:pt x="262" y="402"/>
                    <a:pt x="262" y="402"/>
                  </a:cubicBezTo>
                  <a:cubicBezTo>
                    <a:pt x="263" y="401"/>
                    <a:pt x="263" y="402"/>
                    <a:pt x="264" y="401"/>
                  </a:cubicBezTo>
                  <a:cubicBezTo>
                    <a:pt x="266" y="400"/>
                    <a:pt x="267" y="397"/>
                    <a:pt x="268" y="396"/>
                  </a:cubicBezTo>
                  <a:cubicBezTo>
                    <a:pt x="270" y="394"/>
                    <a:pt x="274" y="393"/>
                    <a:pt x="275" y="391"/>
                  </a:cubicBezTo>
                  <a:cubicBezTo>
                    <a:pt x="275" y="390"/>
                    <a:pt x="275" y="389"/>
                    <a:pt x="275" y="388"/>
                  </a:cubicBezTo>
                  <a:cubicBezTo>
                    <a:pt x="275" y="387"/>
                    <a:pt x="278" y="386"/>
                    <a:pt x="278" y="385"/>
                  </a:cubicBezTo>
                  <a:close/>
                  <a:moveTo>
                    <a:pt x="274" y="332"/>
                  </a:moveTo>
                  <a:cubicBezTo>
                    <a:pt x="277" y="332"/>
                    <a:pt x="278" y="333"/>
                    <a:pt x="280" y="334"/>
                  </a:cubicBezTo>
                  <a:cubicBezTo>
                    <a:pt x="280" y="335"/>
                    <a:pt x="280" y="335"/>
                    <a:pt x="280" y="335"/>
                  </a:cubicBezTo>
                  <a:cubicBezTo>
                    <a:pt x="278" y="335"/>
                    <a:pt x="277" y="334"/>
                    <a:pt x="275" y="334"/>
                  </a:cubicBezTo>
                  <a:cubicBezTo>
                    <a:pt x="276" y="335"/>
                    <a:pt x="275" y="336"/>
                    <a:pt x="276" y="336"/>
                  </a:cubicBezTo>
                  <a:cubicBezTo>
                    <a:pt x="276" y="336"/>
                    <a:pt x="277" y="337"/>
                    <a:pt x="277" y="338"/>
                  </a:cubicBezTo>
                  <a:cubicBezTo>
                    <a:pt x="276" y="338"/>
                    <a:pt x="274" y="337"/>
                    <a:pt x="273" y="338"/>
                  </a:cubicBezTo>
                  <a:cubicBezTo>
                    <a:pt x="272" y="338"/>
                    <a:pt x="273" y="340"/>
                    <a:pt x="272" y="341"/>
                  </a:cubicBezTo>
                  <a:cubicBezTo>
                    <a:pt x="272" y="341"/>
                    <a:pt x="270" y="341"/>
                    <a:pt x="270" y="341"/>
                  </a:cubicBezTo>
                  <a:cubicBezTo>
                    <a:pt x="269" y="343"/>
                    <a:pt x="268" y="346"/>
                    <a:pt x="266" y="347"/>
                  </a:cubicBezTo>
                  <a:cubicBezTo>
                    <a:pt x="264" y="348"/>
                    <a:pt x="264" y="346"/>
                    <a:pt x="262" y="347"/>
                  </a:cubicBezTo>
                  <a:cubicBezTo>
                    <a:pt x="262" y="347"/>
                    <a:pt x="254" y="355"/>
                    <a:pt x="254" y="355"/>
                  </a:cubicBezTo>
                  <a:cubicBezTo>
                    <a:pt x="253" y="356"/>
                    <a:pt x="254" y="357"/>
                    <a:pt x="253" y="358"/>
                  </a:cubicBezTo>
                  <a:cubicBezTo>
                    <a:pt x="252" y="359"/>
                    <a:pt x="250" y="359"/>
                    <a:pt x="248" y="360"/>
                  </a:cubicBezTo>
                  <a:cubicBezTo>
                    <a:pt x="248" y="359"/>
                    <a:pt x="247" y="358"/>
                    <a:pt x="246" y="358"/>
                  </a:cubicBezTo>
                  <a:cubicBezTo>
                    <a:pt x="245" y="357"/>
                    <a:pt x="244" y="358"/>
                    <a:pt x="243" y="358"/>
                  </a:cubicBezTo>
                  <a:cubicBezTo>
                    <a:pt x="242" y="360"/>
                    <a:pt x="239" y="365"/>
                    <a:pt x="237" y="366"/>
                  </a:cubicBezTo>
                  <a:cubicBezTo>
                    <a:pt x="237" y="366"/>
                    <a:pt x="234" y="365"/>
                    <a:pt x="233" y="365"/>
                  </a:cubicBezTo>
                  <a:cubicBezTo>
                    <a:pt x="229" y="365"/>
                    <a:pt x="226" y="366"/>
                    <a:pt x="223" y="368"/>
                  </a:cubicBezTo>
                  <a:cubicBezTo>
                    <a:pt x="222" y="367"/>
                    <a:pt x="221" y="367"/>
                    <a:pt x="220" y="366"/>
                  </a:cubicBezTo>
                  <a:cubicBezTo>
                    <a:pt x="219" y="365"/>
                    <a:pt x="219" y="362"/>
                    <a:pt x="218" y="362"/>
                  </a:cubicBezTo>
                  <a:cubicBezTo>
                    <a:pt x="216" y="361"/>
                    <a:pt x="214" y="362"/>
                    <a:pt x="212" y="361"/>
                  </a:cubicBezTo>
                  <a:cubicBezTo>
                    <a:pt x="212" y="361"/>
                    <a:pt x="210" y="359"/>
                    <a:pt x="209" y="359"/>
                  </a:cubicBezTo>
                  <a:cubicBezTo>
                    <a:pt x="205" y="354"/>
                    <a:pt x="214" y="359"/>
                    <a:pt x="218" y="358"/>
                  </a:cubicBezTo>
                  <a:cubicBezTo>
                    <a:pt x="218" y="358"/>
                    <a:pt x="220" y="356"/>
                    <a:pt x="220" y="356"/>
                  </a:cubicBezTo>
                  <a:cubicBezTo>
                    <a:pt x="222" y="355"/>
                    <a:pt x="224" y="354"/>
                    <a:pt x="227" y="352"/>
                  </a:cubicBezTo>
                  <a:cubicBezTo>
                    <a:pt x="227" y="352"/>
                    <a:pt x="228" y="350"/>
                    <a:pt x="229" y="350"/>
                  </a:cubicBezTo>
                  <a:cubicBezTo>
                    <a:pt x="231" y="349"/>
                    <a:pt x="232" y="350"/>
                    <a:pt x="234" y="350"/>
                  </a:cubicBezTo>
                  <a:cubicBezTo>
                    <a:pt x="233" y="349"/>
                    <a:pt x="234" y="349"/>
                    <a:pt x="235" y="348"/>
                  </a:cubicBezTo>
                  <a:cubicBezTo>
                    <a:pt x="231" y="345"/>
                    <a:pt x="229" y="344"/>
                    <a:pt x="228" y="340"/>
                  </a:cubicBezTo>
                  <a:cubicBezTo>
                    <a:pt x="228" y="339"/>
                    <a:pt x="228" y="338"/>
                    <a:pt x="228" y="337"/>
                  </a:cubicBezTo>
                  <a:cubicBezTo>
                    <a:pt x="228" y="336"/>
                    <a:pt x="226" y="335"/>
                    <a:pt x="225" y="335"/>
                  </a:cubicBezTo>
                  <a:cubicBezTo>
                    <a:pt x="225" y="333"/>
                    <a:pt x="225" y="333"/>
                    <a:pt x="225" y="333"/>
                  </a:cubicBezTo>
                  <a:cubicBezTo>
                    <a:pt x="227" y="334"/>
                    <a:pt x="229" y="333"/>
                    <a:pt x="231" y="334"/>
                  </a:cubicBezTo>
                  <a:cubicBezTo>
                    <a:pt x="231" y="334"/>
                    <a:pt x="233" y="337"/>
                    <a:pt x="233" y="337"/>
                  </a:cubicBezTo>
                  <a:cubicBezTo>
                    <a:pt x="234" y="338"/>
                    <a:pt x="234" y="336"/>
                    <a:pt x="236" y="336"/>
                  </a:cubicBezTo>
                  <a:cubicBezTo>
                    <a:pt x="236" y="340"/>
                    <a:pt x="237" y="342"/>
                    <a:pt x="238" y="346"/>
                  </a:cubicBezTo>
                  <a:cubicBezTo>
                    <a:pt x="242" y="346"/>
                    <a:pt x="250" y="347"/>
                    <a:pt x="253" y="346"/>
                  </a:cubicBezTo>
                  <a:cubicBezTo>
                    <a:pt x="256" y="346"/>
                    <a:pt x="258" y="341"/>
                    <a:pt x="260" y="340"/>
                  </a:cubicBezTo>
                  <a:cubicBezTo>
                    <a:pt x="261" y="339"/>
                    <a:pt x="262" y="339"/>
                    <a:pt x="264" y="338"/>
                  </a:cubicBezTo>
                  <a:cubicBezTo>
                    <a:pt x="265" y="337"/>
                    <a:pt x="266" y="334"/>
                    <a:pt x="268" y="334"/>
                  </a:cubicBezTo>
                  <a:cubicBezTo>
                    <a:pt x="270" y="333"/>
                    <a:pt x="271" y="334"/>
                    <a:pt x="272" y="334"/>
                  </a:cubicBezTo>
                  <a:cubicBezTo>
                    <a:pt x="273" y="334"/>
                    <a:pt x="274" y="332"/>
                    <a:pt x="274" y="332"/>
                  </a:cubicBezTo>
                  <a:close/>
                  <a:moveTo>
                    <a:pt x="189" y="328"/>
                  </a:moveTo>
                  <a:cubicBezTo>
                    <a:pt x="190" y="328"/>
                    <a:pt x="194" y="329"/>
                    <a:pt x="197" y="330"/>
                  </a:cubicBezTo>
                  <a:cubicBezTo>
                    <a:pt x="197" y="330"/>
                    <a:pt x="197" y="332"/>
                    <a:pt x="197" y="332"/>
                  </a:cubicBezTo>
                  <a:cubicBezTo>
                    <a:pt x="199" y="332"/>
                    <a:pt x="202" y="332"/>
                    <a:pt x="206" y="332"/>
                  </a:cubicBezTo>
                  <a:cubicBezTo>
                    <a:pt x="205" y="334"/>
                    <a:pt x="205" y="334"/>
                    <a:pt x="205" y="334"/>
                  </a:cubicBezTo>
                  <a:cubicBezTo>
                    <a:pt x="202" y="334"/>
                    <a:pt x="199" y="335"/>
                    <a:pt x="197" y="336"/>
                  </a:cubicBezTo>
                  <a:cubicBezTo>
                    <a:pt x="193" y="336"/>
                    <a:pt x="191" y="334"/>
                    <a:pt x="188" y="334"/>
                  </a:cubicBezTo>
                  <a:cubicBezTo>
                    <a:pt x="186" y="334"/>
                    <a:pt x="186" y="335"/>
                    <a:pt x="184" y="334"/>
                  </a:cubicBezTo>
                  <a:cubicBezTo>
                    <a:pt x="183" y="334"/>
                    <a:pt x="182" y="333"/>
                    <a:pt x="181" y="332"/>
                  </a:cubicBezTo>
                  <a:cubicBezTo>
                    <a:pt x="183" y="332"/>
                    <a:pt x="184" y="332"/>
                    <a:pt x="185" y="331"/>
                  </a:cubicBezTo>
                  <a:cubicBezTo>
                    <a:pt x="185" y="331"/>
                    <a:pt x="187" y="331"/>
                    <a:pt x="188" y="330"/>
                  </a:cubicBezTo>
                  <a:cubicBezTo>
                    <a:pt x="189" y="330"/>
                    <a:pt x="188" y="329"/>
                    <a:pt x="189" y="328"/>
                  </a:cubicBezTo>
                  <a:close/>
                  <a:moveTo>
                    <a:pt x="185" y="279"/>
                  </a:moveTo>
                  <a:cubicBezTo>
                    <a:pt x="188" y="278"/>
                    <a:pt x="190" y="280"/>
                    <a:pt x="193" y="281"/>
                  </a:cubicBezTo>
                  <a:cubicBezTo>
                    <a:pt x="194" y="281"/>
                    <a:pt x="196" y="281"/>
                    <a:pt x="197" y="282"/>
                  </a:cubicBezTo>
                  <a:cubicBezTo>
                    <a:pt x="197" y="282"/>
                    <a:pt x="198" y="282"/>
                    <a:pt x="199" y="282"/>
                  </a:cubicBezTo>
                  <a:cubicBezTo>
                    <a:pt x="198" y="283"/>
                    <a:pt x="198" y="283"/>
                    <a:pt x="198" y="283"/>
                  </a:cubicBezTo>
                  <a:cubicBezTo>
                    <a:pt x="193" y="283"/>
                    <a:pt x="182" y="285"/>
                    <a:pt x="189" y="287"/>
                  </a:cubicBezTo>
                  <a:cubicBezTo>
                    <a:pt x="190" y="288"/>
                    <a:pt x="191" y="287"/>
                    <a:pt x="192" y="287"/>
                  </a:cubicBezTo>
                  <a:cubicBezTo>
                    <a:pt x="194" y="287"/>
                    <a:pt x="197" y="290"/>
                    <a:pt x="198" y="290"/>
                  </a:cubicBezTo>
                  <a:cubicBezTo>
                    <a:pt x="202" y="291"/>
                    <a:pt x="205" y="289"/>
                    <a:pt x="208" y="288"/>
                  </a:cubicBezTo>
                  <a:cubicBezTo>
                    <a:pt x="208" y="290"/>
                    <a:pt x="209" y="290"/>
                    <a:pt x="209" y="292"/>
                  </a:cubicBezTo>
                  <a:cubicBezTo>
                    <a:pt x="209" y="294"/>
                    <a:pt x="206" y="297"/>
                    <a:pt x="205" y="298"/>
                  </a:cubicBezTo>
                  <a:cubicBezTo>
                    <a:pt x="206" y="299"/>
                    <a:pt x="206" y="299"/>
                    <a:pt x="207" y="299"/>
                  </a:cubicBezTo>
                  <a:cubicBezTo>
                    <a:pt x="207" y="299"/>
                    <a:pt x="207" y="301"/>
                    <a:pt x="207" y="301"/>
                  </a:cubicBezTo>
                  <a:cubicBezTo>
                    <a:pt x="205" y="302"/>
                    <a:pt x="202" y="303"/>
                    <a:pt x="198" y="302"/>
                  </a:cubicBezTo>
                  <a:cubicBezTo>
                    <a:pt x="198" y="302"/>
                    <a:pt x="196" y="300"/>
                    <a:pt x="196" y="300"/>
                  </a:cubicBezTo>
                  <a:cubicBezTo>
                    <a:pt x="194" y="300"/>
                    <a:pt x="194" y="301"/>
                    <a:pt x="192" y="301"/>
                  </a:cubicBezTo>
                  <a:cubicBezTo>
                    <a:pt x="192" y="301"/>
                    <a:pt x="191" y="303"/>
                    <a:pt x="191" y="304"/>
                  </a:cubicBezTo>
                  <a:cubicBezTo>
                    <a:pt x="192" y="305"/>
                    <a:pt x="203" y="310"/>
                    <a:pt x="199" y="309"/>
                  </a:cubicBezTo>
                  <a:cubicBezTo>
                    <a:pt x="198" y="309"/>
                    <a:pt x="196" y="308"/>
                    <a:pt x="195" y="308"/>
                  </a:cubicBezTo>
                  <a:cubicBezTo>
                    <a:pt x="194" y="308"/>
                    <a:pt x="191" y="308"/>
                    <a:pt x="191" y="308"/>
                  </a:cubicBezTo>
                  <a:cubicBezTo>
                    <a:pt x="188" y="309"/>
                    <a:pt x="185" y="309"/>
                    <a:pt x="182" y="311"/>
                  </a:cubicBezTo>
                  <a:cubicBezTo>
                    <a:pt x="181" y="312"/>
                    <a:pt x="179" y="315"/>
                    <a:pt x="177" y="316"/>
                  </a:cubicBezTo>
                  <a:cubicBezTo>
                    <a:pt x="176" y="316"/>
                    <a:pt x="177" y="313"/>
                    <a:pt x="177" y="312"/>
                  </a:cubicBezTo>
                  <a:cubicBezTo>
                    <a:pt x="178" y="311"/>
                    <a:pt x="178" y="313"/>
                    <a:pt x="180" y="312"/>
                  </a:cubicBezTo>
                  <a:cubicBezTo>
                    <a:pt x="181" y="311"/>
                    <a:pt x="180" y="310"/>
                    <a:pt x="181" y="310"/>
                  </a:cubicBezTo>
                  <a:cubicBezTo>
                    <a:pt x="182" y="307"/>
                    <a:pt x="185" y="307"/>
                    <a:pt x="189" y="306"/>
                  </a:cubicBezTo>
                  <a:cubicBezTo>
                    <a:pt x="189" y="305"/>
                    <a:pt x="189" y="305"/>
                    <a:pt x="189" y="305"/>
                  </a:cubicBezTo>
                  <a:cubicBezTo>
                    <a:pt x="183" y="303"/>
                    <a:pt x="183" y="303"/>
                    <a:pt x="179" y="306"/>
                  </a:cubicBezTo>
                  <a:cubicBezTo>
                    <a:pt x="178" y="307"/>
                    <a:pt x="176" y="308"/>
                    <a:pt x="175" y="309"/>
                  </a:cubicBezTo>
                  <a:cubicBezTo>
                    <a:pt x="175" y="310"/>
                    <a:pt x="176" y="311"/>
                    <a:pt x="175" y="312"/>
                  </a:cubicBezTo>
                  <a:cubicBezTo>
                    <a:pt x="175" y="313"/>
                    <a:pt x="174" y="314"/>
                    <a:pt x="173" y="314"/>
                  </a:cubicBezTo>
                  <a:cubicBezTo>
                    <a:pt x="168" y="313"/>
                    <a:pt x="165" y="313"/>
                    <a:pt x="161" y="310"/>
                  </a:cubicBezTo>
                  <a:cubicBezTo>
                    <a:pt x="161" y="308"/>
                    <a:pt x="161" y="308"/>
                    <a:pt x="161" y="308"/>
                  </a:cubicBezTo>
                  <a:cubicBezTo>
                    <a:pt x="165" y="307"/>
                    <a:pt x="163" y="307"/>
                    <a:pt x="163" y="304"/>
                  </a:cubicBezTo>
                  <a:cubicBezTo>
                    <a:pt x="165" y="303"/>
                    <a:pt x="166" y="301"/>
                    <a:pt x="168" y="300"/>
                  </a:cubicBezTo>
                  <a:cubicBezTo>
                    <a:pt x="168" y="299"/>
                    <a:pt x="168" y="299"/>
                    <a:pt x="168" y="298"/>
                  </a:cubicBezTo>
                  <a:cubicBezTo>
                    <a:pt x="168" y="297"/>
                    <a:pt x="165" y="295"/>
                    <a:pt x="165" y="294"/>
                  </a:cubicBezTo>
                  <a:cubicBezTo>
                    <a:pt x="161" y="292"/>
                    <a:pt x="168" y="294"/>
                    <a:pt x="169" y="294"/>
                  </a:cubicBezTo>
                  <a:cubicBezTo>
                    <a:pt x="171" y="295"/>
                    <a:pt x="173" y="295"/>
                    <a:pt x="175" y="295"/>
                  </a:cubicBezTo>
                  <a:cubicBezTo>
                    <a:pt x="174" y="294"/>
                    <a:pt x="177" y="292"/>
                    <a:pt x="173" y="292"/>
                  </a:cubicBezTo>
                  <a:cubicBezTo>
                    <a:pt x="173" y="292"/>
                    <a:pt x="173" y="291"/>
                    <a:pt x="173" y="290"/>
                  </a:cubicBezTo>
                  <a:cubicBezTo>
                    <a:pt x="169" y="287"/>
                    <a:pt x="157" y="287"/>
                    <a:pt x="153" y="288"/>
                  </a:cubicBezTo>
                  <a:cubicBezTo>
                    <a:pt x="153" y="287"/>
                    <a:pt x="152" y="284"/>
                    <a:pt x="154" y="284"/>
                  </a:cubicBezTo>
                  <a:cubicBezTo>
                    <a:pt x="154" y="284"/>
                    <a:pt x="156" y="285"/>
                    <a:pt x="157" y="285"/>
                  </a:cubicBezTo>
                  <a:cubicBezTo>
                    <a:pt x="159" y="284"/>
                    <a:pt x="159" y="284"/>
                    <a:pt x="159" y="284"/>
                  </a:cubicBezTo>
                  <a:cubicBezTo>
                    <a:pt x="161" y="283"/>
                    <a:pt x="160" y="284"/>
                    <a:pt x="160" y="283"/>
                  </a:cubicBezTo>
                  <a:cubicBezTo>
                    <a:pt x="163" y="283"/>
                    <a:pt x="164" y="284"/>
                    <a:pt x="167" y="284"/>
                  </a:cubicBezTo>
                  <a:cubicBezTo>
                    <a:pt x="169" y="283"/>
                    <a:pt x="169" y="283"/>
                    <a:pt x="169" y="283"/>
                  </a:cubicBezTo>
                  <a:cubicBezTo>
                    <a:pt x="170" y="282"/>
                    <a:pt x="172" y="283"/>
                    <a:pt x="174" y="283"/>
                  </a:cubicBezTo>
                  <a:cubicBezTo>
                    <a:pt x="175" y="281"/>
                    <a:pt x="175" y="281"/>
                    <a:pt x="175" y="281"/>
                  </a:cubicBezTo>
                  <a:cubicBezTo>
                    <a:pt x="177" y="280"/>
                    <a:pt x="179" y="281"/>
                    <a:pt x="181" y="281"/>
                  </a:cubicBezTo>
                  <a:cubicBezTo>
                    <a:pt x="182" y="280"/>
                    <a:pt x="184" y="279"/>
                    <a:pt x="185" y="279"/>
                  </a:cubicBezTo>
                  <a:close/>
                  <a:moveTo>
                    <a:pt x="365" y="263"/>
                  </a:moveTo>
                  <a:cubicBezTo>
                    <a:pt x="365" y="263"/>
                    <a:pt x="366" y="264"/>
                    <a:pt x="366" y="265"/>
                  </a:cubicBezTo>
                  <a:cubicBezTo>
                    <a:pt x="367" y="265"/>
                    <a:pt x="366" y="264"/>
                    <a:pt x="367" y="264"/>
                  </a:cubicBezTo>
                  <a:cubicBezTo>
                    <a:pt x="366" y="264"/>
                    <a:pt x="366" y="263"/>
                    <a:pt x="365" y="263"/>
                  </a:cubicBezTo>
                  <a:close/>
                  <a:moveTo>
                    <a:pt x="361" y="259"/>
                  </a:moveTo>
                  <a:cubicBezTo>
                    <a:pt x="363" y="262"/>
                    <a:pt x="363" y="265"/>
                    <a:pt x="362" y="259"/>
                  </a:cubicBezTo>
                  <a:lnTo>
                    <a:pt x="361" y="259"/>
                  </a:lnTo>
                  <a:close/>
                  <a:moveTo>
                    <a:pt x="318" y="253"/>
                  </a:moveTo>
                  <a:cubicBezTo>
                    <a:pt x="318" y="254"/>
                    <a:pt x="318" y="254"/>
                    <a:pt x="318" y="254"/>
                  </a:cubicBezTo>
                  <a:cubicBezTo>
                    <a:pt x="316" y="255"/>
                    <a:pt x="313" y="253"/>
                    <a:pt x="316" y="255"/>
                  </a:cubicBezTo>
                  <a:cubicBezTo>
                    <a:pt x="316" y="255"/>
                    <a:pt x="317" y="256"/>
                    <a:pt x="318" y="257"/>
                  </a:cubicBezTo>
                  <a:cubicBezTo>
                    <a:pt x="319" y="256"/>
                    <a:pt x="322" y="256"/>
                    <a:pt x="320" y="254"/>
                  </a:cubicBezTo>
                  <a:cubicBezTo>
                    <a:pt x="319" y="253"/>
                    <a:pt x="320" y="253"/>
                    <a:pt x="318" y="253"/>
                  </a:cubicBezTo>
                  <a:close/>
                  <a:moveTo>
                    <a:pt x="346" y="249"/>
                  </a:moveTo>
                  <a:cubicBezTo>
                    <a:pt x="343" y="249"/>
                    <a:pt x="341" y="253"/>
                    <a:pt x="344" y="253"/>
                  </a:cubicBezTo>
                  <a:cubicBezTo>
                    <a:pt x="345" y="252"/>
                    <a:pt x="349" y="248"/>
                    <a:pt x="346" y="249"/>
                  </a:cubicBezTo>
                  <a:close/>
                  <a:moveTo>
                    <a:pt x="357" y="245"/>
                  </a:moveTo>
                  <a:cubicBezTo>
                    <a:pt x="357" y="247"/>
                    <a:pt x="357" y="247"/>
                    <a:pt x="357" y="247"/>
                  </a:cubicBezTo>
                  <a:cubicBezTo>
                    <a:pt x="356" y="247"/>
                    <a:pt x="355" y="246"/>
                    <a:pt x="353" y="246"/>
                  </a:cubicBezTo>
                  <a:cubicBezTo>
                    <a:pt x="353" y="248"/>
                    <a:pt x="353" y="248"/>
                    <a:pt x="353" y="248"/>
                  </a:cubicBezTo>
                  <a:cubicBezTo>
                    <a:pt x="354" y="248"/>
                    <a:pt x="356" y="249"/>
                    <a:pt x="358" y="249"/>
                  </a:cubicBezTo>
                  <a:cubicBezTo>
                    <a:pt x="360" y="248"/>
                    <a:pt x="358" y="244"/>
                    <a:pt x="357" y="245"/>
                  </a:cubicBezTo>
                  <a:close/>
                  <a:moveTo>
                    <a:pt x="352" y="241"/>
                  </a:moveTo>
                  <a:cubicBezTo>
                    <a:pt x="352" y="241"/>
                    <a:pt x="353" y="243"/>
                    <a:pt x="353" y="243"/>
                  </a:cubicBezTo>
                  <a:cubicBezTo>
                    <a:pt x="355" y="243"/>
                    <a:pt x="354" y="241"/>
                    <a:pt x="352" y="241"/>
                  </a:cubicBezTo>
                  <a:close/>
                  <a:moveTo>
                    <a:pt x="377" y="233"/>
                  </a:moveTo>
                  <a:cubicBezTo>
                    <a:pt x="377" y="233"/>
                    <a:pt x="376" y="234"/>
                    <a:pt x="376" y="234"/>
                  </a:cubicBezTo>
                  <a:cubicBezTo>
                    <a:pt x="376" y="235"/>
                    <a:pt x="376" y="236"/>
                    <a:pt x="376" y="237"/>
                  </a:cubicBezTo>
                  <a:cubicBezTo>
                    <a:pt x="375" y="237"/>
                    <a:pt x="375" y="236"/>
                    <a:pt x="375" y="236"/>
                  </a:cubicBezTo>
                  <a:cubicBezTo>
                    <a:pt x="373" y="235"/>
                    <a:pt x="373" y="237"/>
                    <a:pt x="372" y="237"/>
                  </a:cubicBezTo>
                  <a:cubicBezTo>
                    <a:pt x="372" y="240"/>
                    <a:pt x="371" y="244"/>
                    <a:pt x="368" y="245"/>
                  </a:cubicBezTo>
                  <a:cubicBezTo>
                    <a:pt x="368" y="245"/>
                    <a:pt x="367" y="245"/>
                    <a:pt x="366" y="245"/>
                  </a:cubicBezTo>
                  <a:cubicBezTo>
                    <a:pt x="366" y="246"/>
                    <a:pt x="366" y="247"/>
                    <a:pt x="365" y="247"/>
                  </a:cubicBezTo>
                  <a:cubicBezTo>
                    <a:pt x="367" y="248"/>
                    <a:pt x="366" y="248"/>
                    <a:pt x="367" y="249"/>
                  </a:cubicBezTo>
                  <a:cubicBezTo>
                    <a:pt x="368" y="249"/>
                    <a:pt x="368" y="248"/>
                    <a:pt x="369" y="248"/>
                  </a:cubicBezTo>
                  <a:cubicBezTo>
                    <a:pt x="369" y="250"/>
                    <a:pt x="369" y="250"/>
                    <a:pt x="369" y="250"/>
                  </a:cubicBezTo>
                  <a:cubicBezTo>
                    <a:pt x="370" y="250"/>
                    <a:pt x="371" y="250"/>
                    <a:pt x="371" y="251"/>
                  </a:cubicBezTo>
                  <a:cubicBezTo>
                    <a:pt x="372" y="250"/>
                    <a:pt x="373" y="247"/>
                    <a:pt x="375" y="248"/>
                  </a:cubicBezTo>
                  <a:cubicBezTo>
                    <a:pt x="376" y="248"/>
                    <a:pt x="375" y="251"/>
                    <a:pt x="375" y="251"/>
                  </a:cubicBezTo>
                  <a:cubicBezTo>
                    <a:pt x="375" y="252"/>
                    <a:pt x="375" y="252"/>
                    <a:pt x="375" y="252"/>
                  </a:cubicBezTo>
                  <a:cubicBezTo>
                    <a:pt x="379" y="254"/>
                    <a:pt x="377" y="253"/>
                    <a:pt x="379" y="257"/>
                  </a:cubicBezTo>
                  <a:cubicBezTo>
                    <a:pt x="380" y="257"/>
                    <a:pt x="382" y="257"/>
                    <a:pt x="381" y="256"/>
                  </a:cubicBezTo>
                  <a:cubicBezTo>
                    <a:pt x="382" y="256"/>
                    <a:pt x="383" y="257"/>
                    <a:pt x="384" y="257"/>
                  </a:cubicBezTo>
                  <a:cubicBezTo>
                    <a:pt x="385" y="256"/>
                    <a:pt x="387" y="254"/>
                    <a:pt x="385" y="255"/>
                  </a:cubicBezTo>
                  <a:cubicBezTo>
                    <a:pt x="385" y="254"/>
                    <a:pt x="385" y="253"/>
                    <a:pt x="385" y="253"/>
                  </a:cubicBezTo>
                  <a:cubicBezTo>
                    <a:pt x="390" y="254"/>
                    <a:pt x="389" y="254"/>
                    <a:pt x="393" y="253"/>
                  </a:cubicBezTo>
                  <a:cubicBezTo>
                    <a:pt x="393" y="252"/>
                    <a:pt x="396" y="252"/>
                    <a:pt x="397" y="252"/>
                  </a:cubicBezTo>
                  <a:cubicBezTo>
                    <a:pt x="397" y="252"/>
                    <a:pt x="399" y="250"/>
                    <a:pt x="399" y="250"/>
                  </a:cubicBezTo>
                  <a:cubicBezTo>
                    <a:pt x="397" y="250"/>
                    <a:pt x="396" y="250"/>
                    <a:pt x="395" y="249"/>
                  </a:cubicBezTo>
                  <a:cubicBezTo>
                    <a:pt x="395" y="247"/>
                    <a:pt x="396" y="243"/>
                    <a:pt x="395" y="241"/>
                  </a:cubicBezTo>
                  <a:cubicBezTo>
                    <a:pt x="388" y="235"/>
                    <a:pt x="388" y="235"/>
                    <a:pt x="388" y="235"/>
                  </a:cubicBezTo>
                  <a:cubicBezTo>
                    <a:pt x="387" y="235"/>
                    <a:pt x="385" y="236"/>
                    <a:pt x="384" y="235"/>
                  </a:cubicBezTo>
                  <a:cubicBezTo>
                    <a:pt x="383" y="234"/>
                    <a:pt x="383" y="234"/>
                    <a:pt x="383" y="234"/>
                  </a:cubicBezTo>
                  <a:cubicBezTo>
                    <a:pt x="381" y="234"/>
                    <a:pt x="381" y="235"/>
                    <a:pt x="380" y="235"/>
                  </a:cubicBezTo>
                  <a:cubicBezTo>
                    <a:pt x="380" y="235"/>
                    <a:pt x="380" y="233"/>
                    <a:pt x="380" y="233"/>
                  </a:cubicBezTo>
                  <a:cubicBezTo>
                    <a:pt x="379" y="232"/>
                    <a:pt x="378" y="233"/>
                    <a:pt x="377" y="233"/>
                  </a:cubicBezTo>
                  <a:close/>
                  <a:moveTo>
                    <a:pt x="355" y="218"/>
                  </a:moveTo>
                  <a:cubicBezTo>
                    <a:pt x="355" y="219"/>
                    <a:pt x="355" y="219"/>
                    <a:pt x="355" y="219"/>
                  </a:cubicBezTo>
                  <a:cubicBezTo>
                    <a:pt x="351" y="222"/>
                    <a:pt x="353" y="221"/>
                    <a:pt x="353" y="224"/>
                  </a:cubicBezTo>
                  <a:cubicBezTo>
                    <a:pt x="353" y="224"/>
                    <a:pt x="354" y="223"/>
                    <a:pt x="355" y="223"/>
                  </a:cubicBezTo>
                  <a:cubicBezTo>
                    <a:pt x="355" y="222"/>
                    <a:pt x="357" y="217"/>
                    <a:pt x="355" y="218"/>
                  </a:cubicBezTo>
                  <a:close/>
                  <a:moveTo>
                    <a:pt x="295" y="171"/>
                  </a:moveTo>
                  <a:cubicBezTo>
                    <a:pt x="294" y="178"/>
                    <a:pt x="294" y="182"/>
                    <a:pt x="296" y="188"/>
                  </a:cubicBezTo>
                  <a:cubicBezTo>
                    <a:pt x="297" y="188"/>
                    <a:pt x="301" y="188"/>
                    <a:pt x="303" y="189"/>
                  </a:cubicBezTo>
                  <a:cubicBezTo>
                    <a:pt x="304" y="189"/>
                    <a:pt x="305" y="191"/>
                    <a:pt x="305" y="191"/>
                  </a:cubicBezTo>
                  <a:cubicBezTo>
                    <a:pt x="307" y="192"/>
                    <a:pt x="308" y="191"/>
                    <a:pt x="310" y="191"/>
                  </a:cubicBezTo>
                  <a:cubicBezTo>
                    <a:pt x="310" y="191"/>
                    <a:pt x="310" y="190"/>
                    <a:pt x="310" y="190"/>
                  </a:cubicBezTo>
                  <a:cubicBezTo>
                    <a:pt x="310" y="188"/>
                    <a:pt x="310" y="187"/>
                    <a:pt x="310" y="185"/>
                  </a:cubicBezTo>
                  <a:cubicBezTo>
                    <a:pt x="309" y="184"/>
                    <a:pt x="306" y="183"/>
                    <a:pt x="306" y="182"/>
                  </a:cubicBezTo>
                  <a:cubicBezTo>
                    <a:pt x="304" y="181"/>
                    <a:pt x="305" y="179"/>
                    <a:pt x="304" y="177"/>
                  </a:cubicBezTo>
                  <a:cubicBezTo>
                    <a:pt x="298" y="171"/>
                    <a:pt x="298" y="171"/>
                    <a:pt x="298" y="171"/>
                  </a:cubicBezTo>
                  <a:cubicBezTo>
                    <a:pt x="297" y="171"/>
                    <a:pt x="296" y="172"/>
                    <a:pt x="295" y="171"/>
                  </a:cubicBezTo>
                  <a:close/>
                  <a:moveTo>
                    <a:pt x="177" y="153"/>
                  </a:moveTo>
                  <a:cubicBezTo>
                    <a:pt x="176" y="153"/>
                    <a:pt x="173" y="155"/>
                    <a:pt x="172" y="156"/>
                  </a:cubicBezTo>
                  <a:cubicBezTo>
                    <a:pt x="169" y="157"/>
                    <a:pt x="166" y="156"/>
                    <a:pt x="163" y="157"/>
                  </a:cubicBezTo>
                  <a:cubicBezTo>
                    <a:pt x="161" y="158"/>
                    <a:pt x="161" y="158"/>
                    <a:pt x="161" y="158"/>
                  </a:cubicBezTo>
                  <a:cubicBezTo>
                    <a:pt x="160" y="159"/>
                    <a:pt x="159" y="158"/>
                    <a:pt x="157" y="159"/>
                  </a:cubicBezTo>
                  <a:cubicBezTo>
                    <a:pt x="155" y="160"/>
                    <a:pt x="152" y="161"/>
                    <a:pt x="150" y="162"/>
                  </a:cubicBezTo>
                  <a:cubicBezTo>
                    <a:pt x="151" y="164"/>
                    <a:pt x="153" y="168"/>
                    <a:pt x="153" y="169"/>
                  </a:cubicBezTo>
                  <a:cubicBezTo>
                    <a:pt x="151" y="172"/>
                    <a:pt x="151" y="172"/>
                    <a:pt x="151" y="172"/>
                  </a:cubicBezTo>
                  <a:cubicBezTo>
                    <a:pt x="151" y="176"/>
                    <a:pt x="152" y="177"/>
                    <a:pt x="151" y="179"/>
                  </a:cubicBezTo>
                  <a:cubicBezTo>
                    <a:pt x="153" y="179"/>
                    <a:pt x="153" y="179"/>
                    <a:pt x="153" y="179"/>
                  </a:cubicBezTo>
                  <a:cubicBezTo>
                    <a:pt x="153" y="180"/>
                    <a:pt x="152" y="181"/>
                    <a:pt x="153" y="181"/>
                  </a:cubicBezTo>
                  <a:cubicBezTo>
                    <a:pt x="152" y="181"/>
                    <a:pt x="150" y="181"/>
                    <a:pt x="149" y="181"/>
                  </a:cubicBezTo>
                  <a:cubicBezTo>
                    <a:pt x="150" y="184"/>
                    <a:pt x="152" y="188"/>
                    <a:pt x="151" y="191"/>
                  </a:cubicBezTo>
                  <a:cubicBezTo>
                    <a:pt x="150" y="192"/>
                    <a:pt x="148" y="193"/>
                    <a:pt x="148" y="193"/>
                  </a:cubicBezTo>
                  <a:cubicBezTo>
                    <a:pt x="147" y="196"/>
                    <a:pt x="148" y="197"/>
                    <a:pt x="147" y="199"/>
                  </a:cubicBezTo>
                  <a:cubicBezTo>
                    <a:pt x="147" y="200"/>
                    <a:pt x="149" y="200"/>
                    <a:pt x="149" y="200"/>
                  </a:cubicBezTo>
                  <a:cubicBezTo>
                    <a:pt x="151" y="201"/>
                    <a:pt x="151" y="203"/>
                    <a:pt x="153" y="203"/>
                  </a:cubicBezTo>
                  <a:cubicBezTo>
                    <a:pt x="153" y="204"/>
                    <a:pt x="153" y="204"/>
                    <a:pt x="153" y="204"/>
                  </a:cubicBezTo>
                  <a:cubicBezTo>
                    <a:pt x="154" y="204"/>
                    <a:pt x="154" y="204"/>
                    <a:pt x="154" y="204"/>
                  </a:cubicBezTo>
                  <a:cubicBezTo>
                    <a:pt x="156" y="206"/>
                    <a:pt x="156" y="211"/>
                    <a:pt x="159" y="212"/>
                  </a:cubicBezTo>
                  <a:cubicBezTo>
                    <a:pt x="166" y="215"/>
                    <a:pt x="170" y="206"/>
                    <a:pt x="172" y="203"/>
                  </a:cubicBezTo>
                  <a:cubicBezTo>
                    <a:pt x="173" y="204"/>
                    <a:pt x="173" y="203"/>
                    <a:pt x="174" y="203"/>
                  </a:cubicBezTo>
                  <a:cubicBezTo>
                    <a:pt x="175" y="205"/>
                    <a:pt x="175" y="205"/>
                    <a:pt x="175" y="205"/>
                  </a:cubicBezTo>
                  <a:cubicBezTo>
                    <a:pt x="179" y="206"/>
                    <a:pt x="181" y="205"/>
                    <a:pt x="185" y="204"/>
                  </a:cubicBezTo>
                  <a:cubicBezTo>
                    <a:pt x="186" y="204"/>
                    <a:pt x="187" y="204"/>
                    <a:pt x="187" y="203"/>
                  </a:cubicBezTo>
                  <a:cubicBezTo>
                    <a:pt x="188" y="203"/>
                    <a:pt x="187" y="201"/>
                    <a:pt x="188" y="200"/>
                  </a:cubicBezTo>
                  <a:cubicBezTo>
                    <a:pt x="188" y="200"/>
                    <a:pt x="190" y="199"/>
                    <a:pt x="190" y="199"/>
                  </a:cubicBezTo>
                  <a:cubicBezTo>
                    <a:pt x="191" y="197"/>
                    <a:pt x="190" y="195"/>
                    <a:pt x="190" y="195"/>
                  </a:cubicBezTo>
                  <a:cubicBezTo>
                    <a:pt x="190" y="195"/>
                    <a:pt x="190" y="193"/>
                    <a:pt x="190" y="193"/>
                  </a:cubicBezTo>
                  <a:cubicBezTo>
                    <a:pt x="191" y="192"/>
                    <a:pt x="192" y="193"/>
                    <a:pt x="193" y="192"/>
                  </a:cubicBezTo>
                  <a:cubicBezTo>
                    <a:pt x="194" y="191"/>
                    <a:pt x="194" y="189"/>
                    <a:pt x="195" y="188"/>
                  </a:cubicBezTo>
                  <a:cubicBezTo>
                    <a:pt x="196" y="187"/>
                    <a:pt x="198" y="187"/>
                    <a:pt x="199" y="186"/>
                  </a:cubicBezTo>
                  <a:cubicBezTo>
                    <a:pt x="199" y="185"/>
                    <a:pt x="199" y="185"/>
                    <a:pt x="199" y="185"/>
                  </a:cubicBezTo>
                  <a:cubicBezTo>
                    <a:pt x="204" y="180"/>
                    <a:pt x="204" y="180"/>
                    <a:pt x="204" y="180"/>
                  </a:cubicBezTo>
                  <a:cubicBezTo>
                    <a:pt x="206" y="179"/>
                    <a:pt x="207" y="180"/>
                    <a:pt x="209" y="179"/>
                  </a:cubicBezTo>
                  <a:cubicBezTo>
                    <a:pt x="211" y="178"/>
                    <a:pt x="213" y="175"/>
                    <a:pt x="215" y="175"/>
                  </a:cubicBezTo>
                  <a:cubicBezTo>
                    <a:pt x="217" y="174"/>
                    <a:pt x="218" y="176"/>
                    <a:pt x="219" y="175"/>
                  </a:cubicBezTo>
                  <a:cubicBezTo>
                    <a:pt x="221" y="174"/>
                    <a:pt x="221" y="174"/>
                    <a:pt x="221" y="174"/>
                  </a:cubicBezTo>
                  <a:cubicBezTo>
                    <a:pt x="222" y="174"/>
                    <a:pt x="224" y="175"/>
                    <a:pt x="226" y="174"/>
                  </a:cubicBezTo>
                  <a:cubicBezTo>
                    <a:pt x="226" y="174"/>
                    <a:pt x="228" y="172"/>
                    <a:pt x="229" y="172"/>
                  </a:cubicBezTo>
                  <a:cubicBezTo>
                    <a:pt x="228" y="172"/>
                    <a:pt x="229" y="170"/>
                    <a:pt x="229" y="169"/>
                  </a:cubicBezTo>
                  <a:cubicBezTo>
                    <a:pt x="227" y="169"/>
                    <a:pt x="225" y="169"/>
                    <a:pt x="223" y="168"/>
                  </a:cubicBezTo>
                  <a:cubicBezTo>
                    <a:pt x="222" y="167"/>
                    <a:pt x="222" y="164"/>
                    <a:pt x="221" y="164"/>
                  </a:cubicBezTo>
                  <a:cubicBezTo>
                    <a:pt x="219" y="162"/>
                    <a:pt x="207" y="160"/>
                    <a:pt x="203" y="160"/>
                  </a:cubicBezTo>
                  <a:cubicBezTo>
                    <a:pt x="203" y="160"/>
                    <a:pt x="202" y="162"/>
                    <a:pt x="202" y="162"/>
                  </a:cubicBezTo>
                  <a:cubicBezTo>
                    <a:pt x="196" y="161"/>
                    <a:pt x="189" y="160"/>
                    <a:pt x="183" y="157"/>
                  </a:cubicBezTo>
                  <a:cubicBezTo>
                    <a:pt x="181" y="156"/>
                    <a:pt x="178" y="153"/>
                    <a:pt x="177" y="153"/>
                  </a:cubicBezTo>
                  <a:close/>
                  <a:moveTo>
                    <a:pt x="277" y="149"/>
                  </a:moveTo>
                  <a:cubicBezTo>
                    <a:pt x="276" y="149"/>
                    <a:pt x="275" y="152"/>
                    <a:pt x="278" y="151"/>
                  </a:cubicBezTo>
                  <a:cubicBezTo>
                    <a:pt x="279" y="151"/>
                    <a:pt x="280" y="148"/>
                    <a:pt x="277" y="149"/>
                  </a:cubicBezTo>
                  <a:close/>
                  <a:moveTo>
                    <a:pt x="325" y="141"/>
                  </a:moveTo>
                  <a:cubicBezTo>
                    <a:pt x="325" y="142"/>
                    <a:pt x="324" y="145"/>
                    <a:pt x="324" y="146"/>
                  </a:cubicBezTo>
                  <a:cubicBezTo>
                    <a:pt x="326" y="146"/>
                    <a:pt x="326" y="146"/>
                    <a:pt x="326" y="146"/>
                  </a:cubicBezTo>
                  <a:cubicBezTo>
                    <a:pt x="324" y="148"/>
                    <a:pt x="328" y="146"/>
                    <a:pt x="327" y="146"/>
                  </a:cubicBezTo>
                  <a:cubicBezTo>
                    <a:pt x="327" y="146"/>
                    <a:pt x="328" y="144"/>
                    <a:pt x="327" y="142"/>
                  </a:cubicBezTo>
                  <a:cubicBezTo>
                    <a:pt x="327" y="142"/>
                    <a:pt x="325" y="141"/>
                    <a:pt x="325" y="141"/>
                  </a:cubicBezTo>
                  <a:close/>
                  <a:moveTo>
                    <a:pt x="206" y="126"/>
                  </a:moveTo>
                  <a:cubicBezTo>
                    <a:pt x="206" y="127"/>
                    <a:pt x="204" y="128"/>
                    <a:pt x="204" y="128"/>
                  </a:cubicBezTo>
                  <a:cubicBezTo>
                    <a:pt x="204" y="129"/>
                    <a:pt x="204" y="130"/>
                    <a:pt x="204" y="131"/>
                  </a:cubicBezTo>
                  <a:cubicBezTo>
                    <a:pt x="203" y="132"/>
                    <a:pt x="200" y="133"/>
                    <a:pt x="199" y="134"/>
                  </a:cubicBezTo>
                  <a:cubicBezTo>
                    <a:pt x="198" y="134"/>
                    <a:pt x="198" y="136"/>
                    <a:pt x="197" y="137"/>
                  </a:cubicBezTo>
                  <a:cubicBezTo>
                    <a:pt x="196" y="136"/>
                    <a:pt x="197" y="140"/>
                    <a:pt x="197" y="140"/>
                  </a:cubicBezTo>
                  <a:cubicBezTo>
                    <a:pt x="200" y="141"/>
                    <a:pt x="201" y="140"/>
                    <a:pt x="204" y="141"/>
                  </a:cubicBezTo>
                  <a:cubicBezTo>
                    <a:pt x="205" y="138"/>
                    <a:pt x="204" y="136"/>
                    <a:pt x="205" y="134"/>
                  </a:cubicBezTo>
                  <a:cubicBezTo>
                    <a:pt x="206" y="133"/>
                    <a:pt x="207" y="133"/>
                    <a:pt x="207" y="133"/>
                  </a:cubicBezTo>
                  <a:cubicBezTo>
                    <a:pt x="208" y="132"/>
                    <a:pt x="208" y="129"/>
                    <a:pt x="209" y="127"/>
                  </a:cubicBezTo>
                  <a:cubicBezTo>
                    <a:pt x="208" y="127"/>
                    <a:pt x="206" y="126"/>
                    <a:pt x="206" y="126"/>
                  </a:cubicBezTo>
                  <a:close/>
                  <a:moveTo>
                    <a:pt x="223" y="120"/>
                  </a:moveTo>
                  <a:cubicBezTo>
                    <a:pt x="220" y="123"/>
                    <a:pt x="223" y="123"/>
                    <a:pt x="225" y="124"/>
                  </a:cubicBezTo>
                  <a:cubicBezTo>
                    <a:pt x="225" y="121"/>
                    <a:pt x="225" y="121"/>
                    <a:pt x="225" y="121"/>
                  </a:cubicBezTo>
                  <a:lnTo>
                    <a:pt x="223" y="120"/>
                  </a:lnTo>
                  <a:close/>
                  <a:moveTo>
                    <a:pt x="230" y="112"/>
                  </a:moveTo>
                  <a:cubicBezTo>
                    <a:pt x="230" y="112"/>
                    <a:pt x="230" y="114"/>
                    <a:pt x="230" y="114"/>
                  </a:cubicBezTo>
                  <a:cubicBezTo>
                    <a:pt x="229" y="114"/>
                    <a:pt x="229" y="116"/>
                    <a:pt x="229" y="117"/>
                  </a:cubicBezTo>
                  <a:cubicBezTo>
                    <a:pt x="231" y="117"/>
                    <a:pt x="231" y="116"/>
                    <a:pt x="233" y="116"/>
                  </a:cubicBezTo>
                  <a:cubicBezTo>
                    <a:pt x="233" y="115"/>
                    <a:pt x="235" y="111"/>
                    <a:pt x="230" y="112"/>
                  </a:cubicBezTo>
                  <a:close/>
                  <a:moveTo>
                    <a:pt x="276" y="110"/>
                  </a:moveTo>
                  <a:cubicBezTo>
                    <a:pt x="276" y="112"/>
                    <a:pt x="276" y="112"/>
                    <a:pt x="276" y="112"/>
                  </a:cubicBezTo>
                  <a:cubicBezTo>
                    <a:pt x="274" y="112"/>
                    <a:pt x="274" y="112"/>
                    <a:pt x="274" y="112"/>
                  </a:cubicBezTo>
                  <a:cubicBezTo>
                    <a:pt x="275" y="112"/>
                    <a:pt x="272" y="112"/>
                    <a:pt x="272" y="112"/>
                  </a:cubicBezTo>
                  <a:cubicBezTo>
                    <a:pt x="274" y="114"/>
                    <a:pt x="273" y="115"/>
                    <a:pt x="274" y="118"/>
                  </a:cubicBezTo>
                  <a:cubicBezTo>
                    <a:pt x="272" y="118"/>
                    <a:pt x="273" y="117"/>
                    <a:pt x="272" y="119"/>
                  </a:cubicBezTo>
                  <a:cubicBezTo>
                    <a:pt x="274" y="119"/>
                    <a:pt x="273" y="124"/>
                    <a:pt x="272" y="126"/>
                  </a:cubicBezTo>
                  <a:cubicBezTo>
                    <a:pt x="274" y="126"/>
                    <a:pt x="277" y="127"/>
                    <a:pt x="278" y="128"/>
                  </a:cubicBezTo>
                  <a:cubicBezTo>
                    <a:pt x="277" y="130"/>
                    <a:pt x="277" y="131"/>
                    <a:pt x="276" y="133"/>
                  </a:cubicBezTo>
                  <a:cubicBezTo>
                    <a:pt x="277" y="133"/>
                    <a:pt x="278" y="133"/>
                    <a:pt x="279" y="133"/>
                  </a:cubicBezTo>
                  <a:cubicBezTo>
                    <a:pt x="279" y="133"/>
                    <a:pt x="280" y="134"/>
                    <a:pt x="280" y="134"/>
                  </a:cubicBezTo>
                  <a:cubicBezTo>
                    <a:pt x="280" y="134"/>
                    <a:pt x="280" y="137"/>
                    <a:pt x="280" y="137"/>
                  </a:cubicBezTo>
                  <a:cubicBezTo>
                    <a:pt x="276" y="136"/>
                    <a:pt x="270" y="136"/>
                    <a:pt x="268" y="136"/>
                  </a:cubicBezTo>
                  <a:cubicBezTo>
                    <a:pt x="266" y="135"/>
                    <a:pt x="262" y="136"/>
                    <a:pt x="260" y="136"/>
                  </a:cubicBezTo>
                  <a:cubicBezTo>
                    <a:pt x="260" y="136"/>
                    <a:pt x="260" y="133"/>
                    <a:pt x="260" y="133"/>
                  </a:cubicBezTo>
                  <a:cubicBezTo>
                    <a:pt x="259" y="132"/>
                    <a:pt x="257" y="133"/>
                    <a:pt x="256" y="133"/>
                  </a:cubicBezTo>
                  <a:cubicBezTo>
                    <a:pt x="256" y="133"/>
                    <a:pt x="255" y="131"/>
                    <a:pt x="254" y="131"/>
                  </a:cubicBezTo>
                  <a:cubicBezTo>
                    <a:pt x="254" y="130"/>
                    <a:pt x="254" y="130"/>
                    <a:pt x="254" y="130"/>
                  </a:cubicBezTo>
                  <a:cubicBezTo>
                    <a:pt x="252" y="129"/>
                    <a:pt x="250" y="130"/>
                    <a:pt x="247" y="130"/>
                  </a:cubicBezTo>
                  <a:cubicBezTo>
                    <a:pt x="246" y="129"/>
                    <a:pt x="244" y="127"/>
                    <a:pt x="243" y="126"/>
                  </a:cubicBezTo>
                  <a:cubicBezTo>
                    <a:pt x="240" y="125"/>
                    <a:pt x="236" y="127"/>
                    <a:pt x="234" y="126"/>
                  </a:cubicBezTo>
                  <a:cubicBezTo>
                    <a:pt x="234" y="126"/>
                    <a:pt x="233" y="124"/>
                    <a:pt x="233" y="124"/>
                  </a:cubicBezTo>
                  <a:cubicBezTo>
                    <a:pt x="231" y="124"/>
                    <a:pt x="229" y="124"/>
                    <a:pt x="227" y="124"/>
                  </a:cubicBezTo>
                  <a:cubicBezTo>
                    <a:pt x="227" y="126"/>
                    <a:pt x="227" y="126"/>
                    <a:pt x="227" y="126"/>
                  </a:cubicBezTo>
                  <a:cubicBezTo>
                    <a:pt x="225" y="127"/>
                    <a:pt x="223" y="126"/>
                    <a:pt x="221" y="126"/>
                  </a:cubicBezTo>
                  <a:cubicBezTo>
                    <a:pt x="220" y="131"/>
                    <a:pt x="218" y="132"/>
                    <a:pt x="225" y="133"/>
                  </a:cubicBezTo>
                  <a:cubicBezTo>
                    <a:pt x="223" y="133"/>
                    <a:pt x="221" y="135"/>
                    <a:pt x="220" y="135"/>
                  </a:cubicBezTo>
                  <a:cubicBezTo>
                    <a:pt x="218" y="135"/>
                    <a:pt x="217" y="134"/>
                    <a:pt x="217" y="134"/>
                  </a:cubicBezTo>
                  <a:cubicBezTo>
                    <a:pt x="216" y="134"/>
                    <a:pt x="216" y="136"/>
                    <a:pt x="215" y="136"/>
                  </a:cubicBezTo>
                  <a:cubicBezTo>
                    <a:pt x="216" y="138"/>
                    <a:pt x="216" y="138"/>
                    <a:pt x="216" y="138"/>
                  </a:cubicBezTo>
                  <a:cubicBezTo>
                    <a:pt x="219" y="138"/>
                    <a:pt x="226" y="137"/>
                    <a:pt x="221" y="139"/>
                  </a:cubicBezTo>
                  <a:cubicBezTo>
                    <a:pt x="220" y="140"/>
                    <a:pt x="220" y="140"/>
                    <a:pt x="220" y="140"/>
                  </a:cubicBezTo>
                  <a:cubicBezTo>
                    <a:pt x="218" y="141"/>
                    <a:pt x="216" y="140"/>
                    <a:pt x="215" y="141"/>
                  </a:cubicBezTo>
                  <a:cubicBezTo>
                    <a:pt x="214" y="142"/>
                    <a:pt x="214" y="142"/>
                    <a:pt x="213" y="142"/>
                  </a:cubicBezTo>
                  <a:cubicBezTo>
                    <a:pt x="214" y="142"/>
                    <a:pt x="214" y="144"/>
                    <a:pt x="214" y="144"/>
                  </a:cubicBezTo>
                  <a:cubicBezTo>
                    <a:pt x="217" y="146"/>
                    <a:pt x="221" y="145"/>
                    <a:pt x="224" y="144"/>
                  </a:cubicBezTo>
                  <a:cubicBezTo>
                    <a:pt x="224" y="145"/>
                    <a:pt x="224" y="144"/>
                    <a:pt x="225" y="144"/>
                  </a:cubicBezTo>
                  <a:cubicBezTo>
                    <a:pt x="225" y="145"/>
                    <a:pt x="225" y="147"/>
                    <a:pt x="225" y="147"/>
                  </a:cubicBezTo>
                  <a:cubicBezTo>
                    <a:pt x="226" y="147"/>
                    <a:pt x="227" y="147"/>
                    <a:pt x="227" y="147"/>
                  </a:cubicBezTo>
                  <a:cubicBezTo>
                    <a:pt x="227" y="146"/>
                    <a:pt x="227" y="143"/>
                    <a:pt x="227" y="143"/>
                  </a:cubicBezTo>
                  <a:cubicBezTo>
                    <a:pt x="228" y="143"/>
                    <a:pt x="229" y="143"/>
                    <a:pt x="230" y="143"/>
                  </a:cubicBezTo>
                  <a:cubicBezTo>
                    <a:pt x="229" y="143"/>
                    <a:pt x="230" y="148"/>
                    <a:pt x="230" y="148"/>
                  </a:cubicBezTo>
                  <a:cubicBezTo>
                    <a:pt x="230" y="148"/>
                    <a:pt x="232" y="147"/>
                    <a:pt x="232" y="148"/>
                  </a:cubicBezTo>
                  <a:cubicBezTo>
                    <a:pt x="232" y="147"/>
                    <a:pt x="233" y="145"/>
                    <a:pt x="233" y="145"/>
                  </a:cubicBezTo>
                  <a:cubicBezTo>
                    <a:pt x="235" y="145"/>
                    <a:pt x="235" y="145"/>
                    <a:pt x="235" y="145"/>
                  </a:cubicBezTo>
                  <a:cubicBezTo>
                    <a:pt x="235" y="143"/>
                    <a:pt x="232" y="140"/>
                    <a:pt x="235" y="140"/>
                  </a:cubicBezTo>
                  <a:cubicBezTo>
                    <a:pt x="235" y="140"/>
                    <a:pt x="235" y="136"/>
                    <a:pt x="235" y="138"/>
                  </a:cubicBezTo>
                  <a:cubicBezTo>
                    <a:pt x="235" y="138"/>
                    <a:pt x="235" y="135"/>
                    <a:pt x="235" y="135"/>
                  </a:cubicBezTo>
                  <a:cubicBezTo>
                    <a:pt x="235" y="135"/>
                    <a:pt x="237" y="135"/>
                    <a:pt x="237" y="135"/>
                  </a:cubicBezTo>
                  <a:cubicBezTo>
                    <a:pt x="237" y="137"/>
                    <a:pt x="237" y="141"/>
                    <a:pt x="237" y="144"/>
                  </a:cubicBezTo>
                  <a:cubicBezTo>
                    <a:pt x="242" y="143"/>
                    <a:pt x="245" y="145"/>
                    <a:pt x="250" y="142"/>
                  </a:cubicBezTo>
                  <a:cubicBezTo>
                    <a:pt x="250" y="142"/>
                    <a:pt x="251" y="140"/>
                    <a:pt x="251" y="140"/>
                  </a:cubicBezTo>
                  <a:cubicBezTo>
                    <a:pt x="252" y="140"/>
                    <a:pt x="253" y="140"/>
                    <a:pt x="254" y="140"/>
                  </a:cubicBezTo>
                  <a:cubicBezTo>
                    <a:pt x="255" y="140"/>
                    <a:pt x="256" y="142"/>
                    <a:pt x="256" y="142"/>
                  </a:cubicBezTo>
                  <a:cubicBezTo>
                    <a:pt x="256" y="142"/>
                    <a:pt x="259" y="142"/>
                    <a:pt x="258" y="142"/>
                  </a:cubicBezTo>
                  <a:cubicBezTo>
                    <a:pt x="262" y="143"/>
                    <a:pt x="262" y="142"/>
                    <a:pt x="265" y="141"/>
                  </a:cubicBezTo>
                  <a:cubicBezTo>
                    <a:pt x="265" y="141"/>
                    <a:pt x="265" y="139"/>
                    <a:pt x="265" y="139"/>
                  </a:cubicBezTo>
                  <a:cubicBezTo>
                    <a:pt x="265" y="138"/>
                    <a:pt x="267" y="139"/>
                    <a:pt x="267" y="138"/>
                  </a:cubicBezTo>
                  <a:cubicBezTo>
                    <a:pt x="267" y="139"/>
                    <a:pt x="267" y="140"/>
                    <a:pt x="267" y="141"/>
                  </a:cubicBezTo>
                  <a:cubicBezTo>
                    <a:pt x="267" y="142"/>
                    <a:pt x="263" y="146"/>
                    <a:pt x="261" y="147"/>
                  </a:cubicBezTo>
                  <a:cubicBezTo>
                    <a:pt x="257" y="148"/>
                    <a:pt x="255" y="146"/>
                    <a:pt x="250" y="148"/>
                  </a:cubicBezTo>
                  <a:cubicBezTo>
                    <a:pt x="250" y="148"/>
                    <a:pt x="247" y="148"/>
                    <a:pt x="246" y="149"/>
                  </a:cubicBezTo>
                  <a:cubicBezTo>
                    <a:pt x="246" y="149"/>
                    <a:pt x="246" y="151"/>
                    <a:pt x="245" y="151"/>
                  </a:cubicBezTo>
                  <a:cubicBezTo>
                    <a:pt x="244" y="151"/>
                    <a:pt x="243" y="151"/>
                    <a:pt x="242" y="151"/>
                  </a:cubicBezTo>
                  <a:cubicBezTo>
                    <a:pt x="239" y="152"/>
                    <a:pt x="237" y="155"/>
                    <a:pt x="240" y="158"/>
                  </a:cubicBezTo>
                  <a:cubicBezTo>
                    <a:pt x="240" y="158"/>
                    <a:pt x="242" y="159"/>
                    <a:pt x="242" y="160"/>
                  </a:cubicBezTo>
                  <a:cubicBezTo>
                    <a:pt x="245" y="160"/>
                    <a:pt x="251" y="159"/>
                    <a:pt x="253" y="158"/>
                  </a:cubicBezTo>
                  <a:cubicBezTo>
                    <a:pt x="254" y="158"/>
                    <a:pt x="254" y="156"/>
                    <a:pt x="255" y="156"/>
                  </a:cubicBezTo>
                  <a:cubicBezTo>
                    <a:pt x="257" y="154"/>
                    <a:pt x="258" y="155"/>
                    <a:pt x="260" y="154"/>
                  </a:cubicBezTo>
                  <a:cubicBezTo>
                    <a:pt x="261" y="153"/>
                    <a:pt x="262" y="149"/>
                    <a:pt x="264" y="149"/>
                  </a:cubicBezTo>
                  <a:cubicBezTo>
                    <a:pt x="266" y="148"/>
                    <a:pt x="267" y="150"/>
                    <a:pt x="269" y="150"/>
                  </a:cubicBezTo>
                  <a:cubicBezTo>
                    <a:pt x="269" y="149"/>
                    <a:pt x="271" y="148"/>
                    <a:pt x="272" y="148"/>
                  </a:cubicBezTo>
                  <a:cubicBezTo>
                    <a:pt x="275" y="147"/>
                    <a:pt x="277" y="148"/>
                    <a:pt x="279" y="147"/>
                  </a:cubicBezTo>
                  <a:cubicBezTo>
                    <a:pt x="279" y="147"/>
                    <a:pt x="280" y="145"/>
                    <a:pt x="280" y="145"/>
                  </a:cubicBezTo>
                  <a:cubicBezTo>
                    <a:pt x="281" y="145"/>
                    <a:pt x="282" y="145"/>
                    <a:pt x="283" y="145"/>
                  </a:cubicBezTo>
                  <a:cubicBezTo>
                    <a:pt x="285" y="147"/>
                    <a:pt x="282" y="149"/>
                    <a:pt x="288" y="148"/>
                  </a:cubicBezTo>
                  <a:cubicBezTo>
                    <a:pt x="291" y="148"/>
                    <a:pt x="292" y="144"/>
                    <a:pt x="292" y="144"/>
                  </a:cubicBezTo>
                  <a:cubicBezTo>
                    <a:pt x="293" y="144"/>
                    <a:pt x="295" y="145"/>
                    <a:pt x="296" y="146"/>
                  </a:cubicBezTo>
                  <a:cubicBezTo>
                    <a:pt x="300" y="146"/>
                    <a:pt x="303" y="144"/>
                    <a:pt x="305" y="146"/>
                  </a:cubicBezTo>
                  <a:cubicBezTo>
                    <a:pt x="306" y="146"/>
                    <a:pt x="306" y="146"/>
                    <a:pt x="306" y="146"/>
                  </a:cubicBezTo>
                  <a:cubicBezTo>
                    <a:pt x="306" y="145"/>
                    <a:pt x="307" y="143"/>
                    <a:pt x="308" y="143"/>
                  </a:cubicBezTo>
                  <a:cubicBezTo>
                    <a:pt x="308" y="142"/>
                    <a:pt x="309" y="143"/>
                    <a:pt x="310" y="142"/>
                  </a:cubicBezTo>
                  <a:cubicBezTo>
                    <a:pt x="309" y="137"/>
                    <a:pt x="309" y="130"/>
                    <a:pt x="306" y="126"/>
                  </a:cubicBezTo>
                  <a:cubicBezTo>
                    <a:pt x="306" y="125"/>
                    <a:pt x="304" y="125"/>
                    <a:pt x="303" y="124"/>
                  </a:cubicBezTo>
                  <a:cubicBezTo>
                    <a:pt x="304" y="123"/>
                    <a:pt x="301" y="124"/>
                    <a:pt x="301" y="124"/>
                  </a:cubicBezTo>
                  <a:cubicBezTo>
                    <a:pt x="301" y="126"/>
                    <a:pt x="301" y="127"/>
                    <a:pt x="301" y="128"/>
                  </a:cubicBezTo>
                  <a:cubicBezTo>
                    <a:pt x="302" y="129"/>
                    <a:pt x="302" y="129"/>
                    <a:pt x="302" y="129"/>
                  </a:cubicBezTo>
                  <a:cubicBezTo>
                    <a:pt x="302" y="131"/>
                    <a:pt x="301" y="130"/>
                    <a:pt x="300" y="132"/>
                  </a:cubicBezTo>
                  <a:cubicBezTo>
                    <a:pt x="300" y="132"/>
                    <a:pt x="300" y="134"/>
                    <a:pt x="300" y="134"/>
                  </a:cubicBezTo>
                  <a:cubicBezTo>
                    <a:pt x="300" y="134"/>
                    <a:pt x="299" y="136"/>
                    <a:pt x="299" y="136"/>
                  </a:cubicBezTo>
                  <a:cubicBezTo>
                    <a:pt x="298" y="133"/>
                    <a:pt x="298" y="132"/>
                    <a:pt x="298" y="130"/>
                  </a:cubicBezTo>
                  <a:cubicBezTo>
                    <a:pt x="296" y="130"/>
                    <a:pt x="295" y="131"/>
                    <a:pt x="294" y="131"/>
                  </a:cubicBezTo>
                  <a:cubicBezTo>
                    <a:pt x="294" y="129"/>
                    <a:pt x="295" y="126"/>
                    <a:pt x="294" y="124"/>
                  </a:cubicBezTo>
                  <a:cubicBezTo>
                    <a:pt x="294" y="123"/>
                    <a:pt x="294" y="123"/>
                    <a:pt x="294" y="123"/>
                  </a:cubicBezTo>
                  <a:cubicBezTo>
                    <a:pt x="293" y="123"/>
                    <a:pt x="292" y="123"/>
                    <a:pt x="291" y="123"/>
                  </a:cubicBezTo>
                  <a:cubicBezTo>
                    <a:pt x="291" y="123"/>
                    <a:pt x="291" y="125"/>
                    <a:pt x="290" y="125"/>
                  </a:cubicBezTo>
                  <a:cubicBezTo>
                    <a:pt x="289" y="126"/>
                    <a:pt x="289" y="125"/>
                    <a:pt x="288" y="126"/>
                  </a:cubicBezTo>
                  <a:cubicBezTo>
                    <a:pt x="286" y="124"/>
                    <a:pt x="285" y="122"/>
                    <a:pt x="284" y="121"/>
                  </a:cubicBezTo>
                  <a:cubicBezTo>
                    <a:pt x="282" y="120"/>
                    <a:pt x="281" y="120"/>
                    <a:pt x="280" y="119"/>
                  </a:cubicBezTo>
                  <a:cubicBezTo>
                    <a:pt x="278" y="117"/>
                    <a:pt x="280" y="111"/>
                    <a:pt x="276" y="110"/>
                  </a:cubicBezTo>
                  <a:close/>
                  <a:moveTo>
                    <a:pt x="213" y="94"/>
                  </a:moveTo>
                  <a:cubicBezTo>
                    <a:pt x="213" y="94"/>
                    <a:pt x="212" y="96"/>
                    <a:pt x="212" y="96"/>
                  </a:cubicBezTo>
                  <a:cubicBezTo>
                    <a:pt x="211" y="97"/>
                    <a:pt x="210" y="96"/>
                    <a:pt x="208" y="97"/>
                  </a:cubicBezTo>
                  <a:cubicBezTo>
                    <a:pt x="211" y="99"/>
                    <a:pt x="209" y="100"/>
                    <a:pt x="207" y="102"/>
                  </a:cubicBezTo>
                  <a:cubicBezTo>
                    <a:pt x="202" y="100"/>
                    <a:pt x="195" y="99"/>
                    <a:pt x="189" y="101"/>
                  </a:cubicBezTo>
                  <a:cubicBezTo>
                    <a:pt x="185" y="102"/>
                    <a:pt x="182" y="107"/>
                    <a:pt x="179" y="109"/>
                  </a:cubicBezTo>
                  <a:cubicBezTo>
                    <a:pt x="175" y="111"/>
                    <a:pt x="174" y="111"/>
                    <a:pt x="171" y="111"/>
                  </a:cubicBezTo>
                  <a:cubicBezTo>
                    <a:pt x="170" y="112"/>
                    <a:pt x="171" y="114"/>
                    <a:pt x="169" y="114"/>
                  </a:cubicBezTo>
                  <a:cubicBezTo>
                    <a:pt x="169" y="115"/>
                    <a:pt x="167" y="114"/>
                    <a:pt x="167" y="114"/>
                  </a:cubicBezTo>
                  <a:cubicBezTo>
                    <a:pt x="165" y="116"/>
                    <a:pt x="165" y="118"/>
                    <a:pt x="165" y="120"/>
                  </a:cubicBezTo>
                  <a:cubicBezTo>
                    <a:pt x="162" y="120"/>
                    <a:pt x="161" y="119"/>
                    <a:pt x="159" y="120"/>
                  </a:cubicBezTo>
                  <a:cubicBezTo>
                    <a:pt x="158" y="121"/>
                    <a:pt x="157" y="122"/>
                    <a:pt x="157" y="122"/>
                  </a:cubicBezTo>
                  <a:cubicBezTo>
                    <a:pt x="155" y="123"/>
                    <a:pt x="154" y="122"/>
                    <a:pt x="153" y="123"/>
                  </a:cubicBezTo>
                  <a:cubicBezTo>
                    <a:pt x="152" y="123"/>
                    <a:pt x="152" y="125"/>
                    <a:pt x="152" y="125"/>
                  </a:cubicBezTo>
                  <a:cubicBezTo>
                    <a:pt x="153" y="125"/>
                    <a:pt x="155" y="125"/>
                    <a:pt x="156" y="126"/>
                  </a:cubicBezTo>
                  <a:cubicBezTo>
                    <a:pt x="157" y="126"/>
                    <a:pt x="160" y="133"/>
                    <a:pt x="161" y="134"/>
                  </a:cubicBezTo>
                  <a:cubicBezTo>
                    <a:pt x="161" y="133"/>
                    <a:pt x="163" y="134"/>
                    <a:pt x="163" y="134"/>
                  </a:cubicBezTo>
                  <a:cubicBezTo>
                    <a:pt x="164" y="133"/>
                    <a:pt x="165" y="131"/>
                    <a:pt x="165" y="131"/>
                  </a:cubicBezTo>
                  <a:cubicBezTo>
                    <a:pt x="170" y="130"/>
                    <a:pt x="169" y="132"/>
                    <a:pt x="170" y="133"/>
                  </a:cubicBezTo>
                  <a:cubicBezTo>
                    <a:pt x="170" y="133"/>
                    <a:pt x="173" y="133"/>
                    <a:pt x="172" y="132"/>
                  </a:cubicBezTo>
                  <a:cubicBezTo>
                    <a:pt x="172" y="132"/>
                    <a:pt x="174" y="132"/>
                    <a:pt x="174" y="132"/>
                  </a:cubicBezTo>
                  <a:cubicBezTo>
                    <a:pt x="175" y="130"/>
                    <a:pt x="174" y="131"/>
                    <a:pt x="176" y="130"/>
                  </a:cubicBezTo>
                  <a:cubicBezTo>
                    <a:pt x="177" y="131"/>
                    <a:pt x="176" y="131"/>
                    <a:pt x="177" y="132"/>
                  </a:cubicBezTo>
                  <a:cubicBezTo>
                    <a:pt x="177" y="128"/>
                    <a:pt x="177" y="128"/>
                    <a:pt x="177" y="128"/>
                  </a:cubicBezTo>
                  <a:cubicBezTo>
                    <a:pt x="176" y="128"/>
                    <a:pt x="176" y="124"/>
                    <a:pt x="178" y="126"/>
                  </a:cubicBezTo>
                  <a:cubicBezTo>
                    <a:pt x="179" y="126"/>
                    <a:pt x="180" y="132"/>
                    <a:pt x="181" y="133"/>
                  </a:cubicBezTo>
                  <a:cubicBezTo>
                    <a:pt x="182" y="134"/>
                    <a:pt x="182" y="134"/>
                    <a:pt x="182" y="134"/>
                  </a:cubicBezTo>
                  <a:cubicBezTo>
                    <a:pt x="187" y="131"/>
                    <a:pt x="188" y="128"/>
                    <a:pt x="188" y="122"/>
                  </a:cubicBezTo>
                  <a:cubicBezTo>
                    <a:pt x="188" y="123"/>
                    <a:pt x="190" y="125"/>
                    <a:pt x="190" y="126"/>
                  </a:cubicBezTo>
                  <a:cubicBezTo>
                    <a:pt x="189" y="127"/>
                    <a:pt x="192" y="126"/>
                    <a:pt x="192" y="126"/>
                  </a:cubicBezTo>
                  <a:cubicBezTo>
                    <a:pt x="192" y="125"/>
                    <a:pt x="192" y="124"/>
                    <a:pt x="192" y="124"/>
                  </a:cubicBezTo>
                  <a:cubicBezTo>
                    <a:pt x="193" y="123"/>
                    <a:pt x="194" y="123"/>
                    <a:pt x="195" y="123"/>
                  </a:cubicBezTo>
                  <a:cubicBezTo>
                    <a:pt x="194" y="120"/>
                    <a:pt x="195" y="120"/>
                    <a:pt x="194" y="117"/>
                  </a:cubicBezTo>
                  <a:cubicBezTo>
                    <a:pt x="194" y="117"/>
                    <a:pt x="195" y="116"/>
                    <a:pt x="195" y="116"/>
                  </a:cubicBezTo>
                  <a:cubicBezTo>
                    <a:pt x="195" y="115"/>
                    <a:pt x="195" y="115"/>
                    <a:pt x="195" y="115"/>
                  </a:cubicBezTo>
                  <a:cubicBezTo>
                    <a:pt x="197" y="115"/>
                    <a:pt x="196" y="116"/>
                    <a:pt x="197" y="117"/>
                  </a:cubicBezTo>
                  <a:cubicBezTo>
                    <a:pt x="197" y="117"/>
                    <a:pt x="199" y="116"/>
                    <a:pt x="199" y="116"/>
                  </a:cubicBezTo>
                  <a:cubicBezTo>
                    <a:pt x="199" y="116"/>
                    <a:pt x="199" y="114"/>
                    <a:pt x="199" y="113"/>
                  </a:cubicBezTo>
                  <a:cubicBezTo>
                    <a:pt x="200" y="112"/>
                    <a:pt x="201" y="113"/>
                    <a:pt x="201" y="112"/>
                  </a:cubicBezTo>
                  <a:cubicBezTo>
                    <a:pt x="202" y="112"/>
                    <a:pt x="203" y="112"/>
                    <a:pt x="203" y="112"/>
                  </a:cubicBezTo>
                  <a:cubicBezTo>
                    <a:pt x="202" y="115"/>
                    <a:pt x="201" y="117"/>
                    <a:pt x="200" y="120"/>
                  </a:cubicBezTo>
                  <a:cubicBezTo>
                    <a:pt x="201" y="121"/>
                    <a:pt x="203" y="122"/>
                    <a:pt x="205" y="123"/>
                  </a:cubicBezTo>
                  <a:cubicBezTo>
                    <a:pt x="208" y="117"/>
                    <a:pt x="206" y="121"/>
                    <a:pt x="211" y="119"/>
                  </a:cubicBezTo>
                  <a:cubicBezTo>
                    <a:pt x="215" y="117"/>
                    <a:pt x="212" y="109"/>
                    <a:pt x="215" y="109"/>
                  </a:cubicBezTo>
                  <a:cubicBezTo>
                    <a:pt x="221" y="112"/>
                    <a:pt x="221" y="112"/>
                    <a:pt x="221" y="112"/>
                  </a:cubicBezTo>
                  <a:cubicBezTo>
                    <a:pt x="221" y="110"/>
                    <a:pt x="220" y="110"/>
                    <a:pt x="220" y="110"/>
                  </a:cubicBezTo>
                  <a:cubicBezTo>
                    <a:pt x="220" y="109"/>
                    <a:pt x="220" y="108"/>
                    <a:pt x="220" y="108"/>
                  </a:cubicBezTo>
                  <a:cubicBezTo>
                    <a:pt x="220" y="107"/>
                    <a:pt x="221" y="107"/>
                    <a:pt x="222" y="107"/>
                  </a:cubicBezTo>
                  <a:cubicBezTo>
                    <a:pt x="223" y="106"/>
                    <a:pt x="223" y="103"/>
                    <a:pt x="224" y="102"/>
                  </a:cubicBezTo>
                  <a:cubicBezTo>
                    <a:pt x="222" y="99"/>
                    <a:pt x="218" y="93"/>
                    <a:pt x="213" y="94"/>
                  </a:cubicBezTo>
                  <a:close/>
                  <a:moveTo>
                    <a:pt x="269" y="92"/>
                  </a:moveTo>
                  <a:cubicBezTo>
                    <a:pt x="268" y="92"/>
                    <a:pt x="267" y="94"/>
                    <a:pt x="266" y="94"/>
                  </a:cubicBezTo>
                  <a:cubicBezTo>
                    <a:pt x="264" y="95"/>
                    <a:pt x="264" y="93"/>
                    <a:pt x="262" y="94"/>
                  </a:cubicBezTo>
                  <a:cubicBezTo>
                    <a:pt x="260" y="95"/>
                    <a:pt x="260" y="95"/>
                    <a:pt x="260" y="95"/>
                  </a:cubicBezTo>
                  <a:cubicBezTo>
                    <a:pt x="259" y="96"/>
                    <a:pt x="258" y="95"/>
                    <a:pt x="256" y="96"/>
                  </a:cubicBezTo>
                  <a:cubicBezTo>
                    <a:pt x="256" y="96"/>
                    <a:pt x="256" y="97"/>
                    <a:pt x="256" y="97"/>
                  </a:cubicBezTo>
                  <a:cubicBezTo>
                    <a:pt x="253" y="99"/>
                    <a:pt x="250" y="99"/>
                    <a:pt x="245" y="100"/>
                  </a:cubicBezTo>
                  <a:cubicBezTo>
                    <a:pt x="245" y="103"/>
                    <a:pt x="245" y="107"/>
                    <a:pt x="245" y="110"/>
                  </a:cubicBezTo>
                  <a:cubicBezTo>
                    <a:pt x="246" y="110"/>
                    <a:pt x="247" y="110"/>
                    <a:pt x="248" y="110"/>
                  </a:cubicBezTo>
                  <a:cubicBezTo>
                    <a:pt x="249" y="111"/>
                    <a:pt x="253" y="114"/>
                    <a:pt x="255" y="114"/>
                  </a:cubicBezTo>
                  <a:cubicBezTo>
                    <a:pt x="258" y="114"/>
                    <a:pt x="261" y="111"/>
                    <a:pt x="263" y="110"/>
                  </a:cubicBezTo>
                  <a:cubicBezTo>
                    <a:pt x="265" y="110"/>
                    <a:pt x="266" y="111"/>
                    <a:pt x="268" y="110"/>
                  </a:cubicBezTo>
                  <a:cubicBezTo>
                    <a:pt x="268" y="110"/>
                    <a:pt x="270" y="108"/>
                    <a:pt x="271" y="107"/>
                  </a:cubicBezTo>
                  <a:cubicBezTo>
                    <a:pt x="271" y="106"/>
                    <a:pt x="271" y="105"/>
                    <a:pt x="271" y="104"/>
                  </a:cubicBezTo>
                  <a:cubicBezTo>
                    <a:pt x="271" y="103"/>
                    <a:pt x="266" y="101"/>
                    <a:pt x="268" y="100"/>
                  </a:cubicBezTo>
                  <a:cubicBezTo>
                    <a:pt x="269" y="100"/>
                    <a:pt x="273" y="100"/>
                    <a:pt x="274" y="100"/>
                  </a:cubicBezTo>
                  <a:cubicBezTo>
                    <a:pt x="275" y="99"/>
                    <a:pt x="276" y="96"/>
                    <a:pt x="276" y="94"/>
                  </a:cubicBezTo>
                  <a:cubicBezTo>
                    <a:pt x="275" y="93"/>
                    <a:pt x="274" y="94"/>
                    <a:pt x="272" y="94"/>
                  </a:cubicBezTo>
                  <a:cubicBezTo>
                    <a:pt x="272" y="93"/>
                    <a:pt x="271" y="92"/>
                    <a:pt x="269" y="92"/>
                  </a:cubicBezTo>
                  <a:close/>
                  <a:moveTo>
                    <a:pt x="231" y="90"/>
                  </a:moveTo>
                  <a:cubicBezTo>
                    <a:pt x="226" y="90"/>
                    <a:pt x="224" y="97"/>
                    <a:pt x="229" y="100"/>
                  </a:cubicBezTo>
                  <a:cubicBezTo>
                    <a:pt x="230" y="101"/>
                    <a:pt x="232" y="100"/>
                    <a:pt x="235" y="100"/>
                  </a:cubicBezTo>
                  <a:cubicBezTo>
                    <a:pt x="235" y="100"/>
                    <a:pt x="237" y="97"/>
                    <a:pt x="237" y="97"/>
                  </a:cubicBezTo>
                  <a:cubicBezTo>
                    <a:pt x="238" y="94"/>
                    <a:pt x="234" y="90"/>
                    <a:pt x="231" y="90"/>
                  </a:cubicBezTo>
                  <a:close/>
                  <a:moveTo>
                    <a:pt x="250" y="84"/>
                  </a:moveTo>
                  <a:cubicBezTo>
                    <a:pt x="250" y="85"/>
                    <a:pt x="250" y="85"/>
                    <a:pt x="250" y="85"/>
                  </a:cubicBezTo>
                  <a:cubicBezTo>
                    <a:pt x="245" y="85"/>
                    <a:pt x="245" y="85"/>
                    <a:pt x="242" y="87"/>
                  </a:cubicBezTo>
                  <a:cubicBezTo>
                    <a:pt x="242" y="88"/>
                    <a:pt x="242" y="88"/>
                    <a:pt x="241" y="89"/>
                  </a:cubicBezTo>
                  <a:cubicBezTo>
                    <a:pt x="242" y="89"/>
                    <a:pt x="242" y="90"/>
                    <a:pt x="244" y="90"/>
                  </a:cubicBezTo>
                  <a:cubicBezTo>
                    <a:pt x="246" y="89"/>
                    <a:pt x="246" y="89"/>
                    <a:pt x="246" y="89"/>
                  </a:cubicBezTo>
                  <a:cubicBezTo>
                    <a:pt x="246" y="89"/>
                    <a:pt x="252" y="89"/>
                    <a:pt x="253" y="89"/>
                  </a:cubicBezTo>
                  <a:cubicBezTo>
                    <a:pt x="254" y="89"/>
                    <a:pt x="254" y="91"/>
                    <a:pt x="254" y="92"/>
                  </a:cubicBezTo>
                  <a:cubicBezTo>
                    <a:pt x="256" y="92"/>
                    <a:pt x="257" y="92"/>
                    <a:pt x="258" y="92"/>
                  </a:cubicBezTo>
                  <a:cubicBezTo>
                    <a:pt x="258" y="92"/>
                    <a:pt x="258" y="91"/>
                    <a:pt x="258" y="90"/>
                  </a:cubicBezTo>
                  <a:cubicBezTo>
                    <a:pt x="258" y="89"/>
                    <a:pt x="260" y="89"/>
                    <a:pt x="261" y="88"/>
                  </a:cubicBezTo>
                  <a:cubicBezTo>
                    <a:pt x="261" y="88"/>
                    <a:pt x="262" y="87"/>
                    <a:pt x="260" y="88"/>
                  </a:cubicBezTo>
                  <a:cubicBezTo>
                    <a:pt x="260" y="86"/>
                    <a:pt x="260" y="87"/>
                    <a:pt x="260" y="85"/>
                  </a:cubicBezTo>
                  <a:cubicBezTo>
                    <a:pt x="259" y="85"/>
                    <a:pt x="257" y="85"/>
                    <a:pt x="256" y="85"/>
                  </a:cubicBezTo>
                  <a:cubicBezTo>
                    <a:pt x="254" y="85"/>
                    <a:pt x="253" y="83"/>
                    <a:pt x="250" y="8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59" name="Freeform 295">
              <a:extLst>
                <a:ext uri="{FF2B5EF4-FFF2-40B4-BE49-F238E27FC236}">
                  <a16:creationId xmlns:a16="http://schemas.microsoft.com/office/drawing/2014/main" id="{E583F0BE-D66C-FC70-8A2B-7AF8F25697A3}"/>
                </a:ext>
              </a:extLst>
            </p:cNvPr>
            <p:cNvSpPr>
              <a:spLocks noEditPoints="1"/>
            </p:cNvSpPr>
            <p:nvPr/>
          </p:nvSpPr>
          <p:spPr bwMode="auto">
            <a:xfrm>
              <a:off x="1666276" y="376913"/>
              <a:ext cx="2748506" cy="2191645"/>
            </a:xfrm>
            <a:custGeom>
              <a:avLst/>
              <a:gdLst>
                <a:gd name="T0" fmla="*/ 256 w 780"/>
                <a:gd name="T1" fmla="*/ 253 h 622"/>
                <a:gd name="T2" fmla="*/ 316 w 780"/>
                <a:gd name="T3" fmla="*/ 199 h 622"/>
                <a:gd name="T4" fmla="*/ 534 w 780"/>
                <a:gd name="T5" fmla="*/ 193 h 622"/>
                <a:gd name="T6" fmla="*/ 457 w 780"/>
                <a:gd name="T7" fmla="*/ 181 h 622"/>
                <a:gd name="T8" fmla="*/ 548 w 780"/>
                <a:gd name="T9" fmla="*/ 219 h 622"/>
                <a:gd name="T10" fmla="*/ 582 w 780"/>
                <a:gd name="T11" fmla="*/ 313 h 622"/>
                <a:gd name="T12" fmla="*/ 622 w 780"/>
                <a:gd name="T13" fmla="*/ 348 h 622"/>
                <a:gd name="T14" fmla="*/ 639 w 780"/>
                <a:gd name="T15" fmla="*/ 286 h 622"/>
                <a:gd name="T16" fmla="*/ 690 w 780"/>
                <a:gd name="T17" fmla="*/ 273 h 622"/>
                <a:gd name="T18" fmla="*/ 644 w 780"/>
                <a:gd name="T19" fmla="*/ 243 h 622"/>
                <a:gd name="T20" fmla="*/ 586 w 780"/>
                <a:gd name="T21" fmla="*/ 191 h 622"/>
                <a:gd name="T22" fmla="*/ 565 w 780"/>
                <a:gd name="T23" fmla="*/ 41 h 622"/>
                <a:gd name="T24" fmla="*/ 400 w 780"/>
                <a:gd name="T25" fmla="*/ 45 h 622"/>
                <a:gd name="T26" fmla="*/ 478 w 780"/>
                <a:gd name="T27" fmla="*/ 82 h 622"/>
                <a:gd name="T28" fmla="*/ 455 w 780"/>
                <a:gd name="T29" fmla="*/ 123 h 622"/>
                <a:gd name="T30" fmla="*/ 576 w 780"/>
                <a:gd name="T31" fmla="*/ 82 h 622"/>
                <a:gd name="T32" fmla="*/ 655 w 780"/>
                <a:gd name="T33" fmla="*/ 33 h 622"/>
                <a:gd name="T34" fmla="*/ 566 w 780"/>
                <a:gd name="T35" fmla="*/ 20 h 622"/>
                <a:gd name="T36" fmla="*/ 96 w 780"/>
                <a:gd name="T37" fmla="*/ 464 h 622"/>
                <a:gd name="T38" fmla="*/ 128 w 780"/>
                <a:gd name="T39" fmla="*/ 514 h 622"/>
                <a:gd name="T40" fmla="*/ 525 w 780"/>
                <a:gd name="T41" fmla="*/ 574 h 622"/>
                <a:gd name="T42" fmla="*/ 643 w 780"/>
                <a:gd name="T43" fmla="*/ 584 h 622"/>
                <a:gd name="T44" fmla="*/ 683 w 780"/>
                <a:gd name="T45" fmla="*/ 580 h 622"/>
                <a:gd name="T46" fmla="*/ 615 w 780"/>
                <a:gd name="T47" fmla="*/ 558 h 622"/>
                <a:gd name="T48" fmla="*/ 731 w 780"/>
                <a:gd name="T49" fmla="*/ 471 h 622"/>
                <a:gd name="T50" fmla="*/ 678 w 780"/>
                <a:gd name="T51" fmla="*/ 399 h 622"/>
                <a:gd name="T52" fmla="*/ 564 w 780"/>
                <a:gd name="T53" fmla="*/ 349 h 622"/>
                <a:gd name="T54" fmla="*/ 524 w 780"/>
                <a:gd name="T55" fmla="*/ 498 h 622"/>
                <a:gd name="T56" fmla="*/ 443 w 780"/>
                <a:gd name="T57" fmla="*/ 341 h 622"/>
                <a:gd name="T58" fmla="*/ 516 w 780"/>
                <a:gd name="T59" fmla="*/ 264 h 622"/>
                <a:gd name="T60" fmla="*/ 425 w 780"/>
                <a:gd name="T61" fmla="*/ 235 h 622"/>
                <a:gd name="T62" fmla="*/ 399 w 780"/>
                <a:gd name="T63" fmla="*/ 201 h 622"/>
                <a:gd name="T64" fmla="*/ 387 w 780"/>
                <a:gd name="T65" fmla="*/ 265 h 622"/>
                <a:gd name="T66" fmla="*/ 286 w 780"/>
                <a:gd name="T67" fmla="*/ 275 h 622"/>
                <a:gd name="T68" fmla="*/ 120 w 780"/>
                <a:gd name="T69" fmla="*/ 217 h 622"/>
                <a:gd name="T70" fmla="*/ 7 w 780"/>
                <a:gd name="T71" fmla="*/ 232 h 622"/>
                <a:gd name="T72" fmla="*/ 611 w 780"/>
                <a:gd name="T73" fmla="*/ 562 h 622"/>
                <a:gd name="T74" fmla="*/ 682 w 780"/>
                <a:gd name="T75" fmla="*/ 572 h 622"/>
                <a:gd name="T76" fmla="*/ 598 w 780"/>
                <a:gd name="T77" fmla="*/ 502 h 622"/>
                <a:gd name="T78" fmla="*/ 778 w 780"/>
                <a:gd name="T79" fmla="*/ 550 h 622"/>
                <a:gd name="T80" fmla="*/ 373 w 780"/>
                <a:gd name="T81" fmla="*/ 505 h 622"/>
                <a:gd name="T82" fmla="*/ 387 w 780"/>
                <a:gd name="T83" fmla="*/ 513 h 622"/>
                <a:gd name="T84" fmla="*/ 341 w 780"/>
                <a:gd name="T85" fmla="*/ 409 h 622"/>
                <a:gd name="T86" fmla="*/ 447 w 780"/>
                <a:gd name="T87" fmla="*/ 88 h 622"/>
                <a:gd name="T88" fmla="*/ 668 w 780"/>
                <a:gd name="T89" fmla="*/ 337 h 622"/>
                <a:gd name="T90" fmla="*/ 623 w 780"/>
                <a:gd name="T91" fmla="*/ 282 h 622"/>
                <a:gd name="T92" fmla="*/ 567 w 780"/>
                <a:gd name="T93" fmla="*/ 239 h 622"/>
                <a:gd name="T94" fmla="*/ 381 w 780"/>
                <a:gd name="T95" fmla="*/ 156 h 622"/>
                <a:gd name="T96" fmla="*/ 429 w 780"/>
                <a:gd name="T97" fmla="*/ 130 h 622"/>
                <a:gd name="T98" fmla="*/ 453 w 780"/>
                <a:gd name="T99" fmla="*/ 134 h 622"/>
                <a:gd name="T100" fmla="*/ 391 w 780"/>
                <a:gd name="T101" fmla="*/ 103 h 622"/>
                <a:gd name="T102" fmla="*/ 391 w 780"/>
                <a:gd name="T103" fmla="*/ 201 h 622"/>
                <a:gd name="T104" fmla="*/ 362 w 780"/>
                <a:gd name="T105" fmla="*/ 120 h 622"/>
                <a:gd name="T106" fmla="*/ 315 w 780"/>
                <a:gd name="T107" fmla="*/ 98 h 622"/>
                <a:gd name="T108" fmla="*/ 315 w 780"/>
                <a:gd name="T109" fmla="*/ 75 h 622"/>
                <a:gd name="T110" fmla="*/ 270 w 780"/>
                <a:gd name="T111" fmla="*/ 341 h 622"/>
                <a:gd name="T112" fmla="*/ 192 w 780"/>
                <a:gd name="T113" fmla="*/ 301 h 622"/>
                <a:gd name="T114" fmla="*/ 377 w 780"/>
                <a:gd name="T115" fmla="*/ 233 h 622"/>
                <a:gd name="T116" fmla="*/ 149 w 780"/>
                <a:gd name="T117" fmla="*/ 200 h 622"/>
                <a:gd name="T118" fmla="*/ 276 w 780"/>
                <a:gd name="T119" fmla="*/ 112 h 622"/>
                <a:gd name="T120" fmla="*/ 242 w 780"/>
                <a:gd name="T121" fmla="*/ 151 h 622"/>
                <a:gd name="T122" fmla="*/ 181 w 780"/>
                <a:gd name="T123" fmla="*/ 133 h 622"/>
                <a:gd name="T124" fmla="*/ 256 w 780"/>
                <a:gd name="T125" fmla="*/ 8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0" h="622">
                  <a:moveTo>
                    <a:pt x="204" y="193"/>
                  </a:moveTo>
                  <a:cubicBezTo>
                    <a:pt x="204" y="194"/>
                    <a:pt x="201" y="194"/>
                    <a:pt x="200" y="194"/>
                  </a:cubicBezTo>
                  <a:cubicBezTo>
                    <a:pt x="199" y="195"/>
                    <a:pt x="200" y="196"/>
                    <a:pt x="199" y="197"/>
                  </a:cubicBezTo>
                  <a:cubicBezTo>
                    <a:pt x="198" y="199"/>
                    <a:pt x="196" y="199"/>
                    <a:pt x="195" y="201"/>
                  </a:cubicBezTo>
                  <a:cubicBezTo>
                    <a:pt x="195" y="202"/>
                    <a:pt x="194" y="202"/>
                    <a:pt x="193" y="202"/>
                  </a:cubicBezTo>
                  <a:cubicBezTo>
                    <a:pt x="195" y="203"/>
                    <a:pt x="192" y="206"/>
                    <a:pt x="199" y="206"/>
                  </a:cubicBezTo>
                  <a:cubicBezTo>
                    <a:pt x="204" y="206"/>
                    <a:pt x="201" y="204"/>
                    <a:pt x="203" y="203"/>
                  </a:cubicBezTo>
                  <a:cubicBezTo>
                    <a:pt x="206" y="202"/>
                    <a:pt x="207" y="205"/>
                    <a:pt x="205" y="205"/>
                  </a:cubicBezTo>
                  <a:cubicBezTo>
                    <a:pt x="205" y="205"/>
                    <a:pt x="205" y="206"/>
                    <a:pt x="205" y="206"/>
                  </a:cubicBezTo>
                  <a:cubicBezTo>
                    <a:pt x="208" y="206"/>
                    <a:pt x="207" y="207"/>
                    <a:pt x="207" y="207"/>
                  </a:cubicBezTo>
                  <a:cubicBezTo>
                    <a:pt x="206" y="207"/>
                    <a:pt x="204" y="207"/>
                    <a:pt x="203" y="207"/>
                  </a:cubicBezTo>
                  <a:cubicBezTo>
                    <a:pt x="203" y="210"/>
                    <a:pt x="203" y="210"/>
                    <a:pt x="203" y="210"/>
                  </a:cubicBezTo>
                  <a:cubicBezTo>
                    <a:pt x="210" y="210"/>
                    <a:pt x="210" y="210"/>
                    <a:pt x="210" y="210"/>
                  </a:cubicBezTo>
                  <a:cubicBezTo>
                    <a:pt x="210" y="209"/>
                    <a:pt x="211" y="207"/>
                    <a:pt x="211" y="206"/>
                  </a:cubicBezTo>
                  <a:cubicBezTo>
                    <a:pt x="212" y="206"/>
                    <a:pt x="217" y="208"/>
                    <a:pt x="219" y="208"/>
                  </a:cubicBezTo>
                  <a:cubicBezTo>
                    <a:pt x="220" y="208"/>
                    <a:pt x="221" y="206"/>
                    <a:pt x="222" y="205"/>
                  </a:cubicBezTo>
                  <a:cubicBezTo>
                    <a:pt x="225" y="204"/>
                    <a:pt x="230" y="205"/>
                    <a:pt x="233" y="205"/>
                  </a:cubicBezTo>
                  <a:cubicBezTo>
                    <a:pt x="233" y="205"/>
                    <a:pt x="233" y="207"/>
                    <a:pt x="233" y="207"/>
                  </a:cubicBezTo>
                  <a:cubicBezTo>
                    <a:pt x="227" y="207"/>
                    <a:pt x="226" y="207"/>
                    <a:pt x="222" y="209"/>
                  </a:cubicBezTo>
                  <a:cubicBezTo>
                    <a:pt x="222" y="209"/>
                    <a:pt x="222" y="211"/>
                    <a:pt x="222" y="211"/>
                  </a:cubicBezTo>
                  <a:cubicBezTo>
                    <a:pt x="221" y="211"/>
                    <a:pt x="219" y="210"/>
                    <a:pt x="219" y="210"/>
                  </a:cubicBezTo>
                  <a:cubicBezTo>
                    <a:pt x="217" y="210"/>
                    <a:pt x="217" y="211"/>
                    <a:pt x="215" y="211"/>
                  </a:cubicBezTo>
                  <a:cubicBezTo>
                    <a:pt x="211" y="212"/>
                    <a:pt x="201" y="213"/>
                    <a:pt x="207" y="217"/>
                  </a:cubicBezTo>
                  <a:cubicBezTo>
                    <a:pt x="208" y="219"/>
                    <a:pt x="210" y="219"/>
                    <a:pt x="213" y="219"/>
                  </a:cubicBezTo>
                  <a:cubicBezTo>
                    <a:pt x="213" y="219"/>
                    <a:pt x="213" y="217"/>
                    <a:pt x="214" y="217"/>
                  </a:cubicBezTo>
                  <a:cubicBezTo>
                    <a:pt x="214" y="217"/>
                    <a:pt x="217" y="220"/>
                    <a:pt x="218" y="220"/>
                  </a:cubicBezTo>
                  <a:cubicBezTo>
                    <a:pt x="219" y="220"/>
                    <a:pt x="221" y="218"/>
                    <a:pt x="223" y="218"/>
                  </a:cubicBezTo>
                  <a:cubicBezTo>
                    <a:pt x="223" y="218"/>
                    <a:pt x="230" y="218"/>
                    <a:pt x="231" y="218"/>
                  </a:cubicBezTo>
                  <a:cubicBezTo>
                    <a:pt x="231" y="218"/>
                    <a:pt x="232" y="219"/>
                    <a:pt x="234" y="219"/>
                  </a:cubicBezTo>
                  <a:cubicBezTo>
                    <a:pt x="235" y="219"/>
                    <a:pt x="239" y="217"/>
                    <a:pt x="241" y="217"/>
                  </a:cubicBezTo>
                  <a:cubicBezTo>
                    <a:pt x="242" y="218"/>
                    <a:pt x="242" y="220"/>
                    <a:pt x="244" y="219"/>
                  </a:cubicBezTo>
                  <a:cubicBezTo>
                    <a:pt x="244" y="219"/>
                    <a:pt x="248" y="218"/>
                    <a:pt x="248" y="218"/>
                  </a:cubicBezTo>
                  <a:cubicBezTo>
                    <a:pt x="248" y="216"/>
                    <a:pt x="248" y="216"/>
                    <a:pt x="248" y="216"/>
                  </a:cubicBezTo>
                  <a:cubicBezTo>
                    <a:pt x="250" y="216"/>
                    <a:pt x="252" y="217"/>
                    <a:pt x="253" y="218"/>
                  </a:cubicBezTo>
                  <a:cubicBezTo>
                    <a:pt x="253" y="218"/>
                    <a:pt x="253" y="220"/>
                    <a:pt x="253" y="220"/>
                  </a:cubicBezTo>
                  <a:cubicBezTo>
                    <a:pt x="254" y="220"/>
                    <a:pt x="255" y="220"/>
                    <a:pt x="256" y="220"/>
                  </a:cubicBezTo>
                  <a:cubicBezTo>
                    <a:pt x="257" y="220"/>
                    <a:pt x="258" y="217"/>
                    <a:pt x="260" y="217"/>
                  </a:cubicBezTo>
                  <a:cubicBezTo>
                    <a:pt x="261" y="217"/>
                    <a:pt x="261" y="218"/>
                    <a:pt x="262" y="218"/>
                  </a:cubicBezTo>
                  <a:cubicBezTo>
                    <a:pt x="262" y="218"/>
                    <a:pt x="262" y="220"/>
                    <a:pt x="262" y="220"/>
                  </a:cubicBezTo>
                  <a:cubicBezTo>
                    <a:pt x="261" y="220"/>
                    <a:pt x="260" y="220"/>
                    <a:pt x="259" y="220"/>
                  </a:cubicBezTo>
                  <a:cubicBezTo>
                    <a:pt x="258" y="225"/>
                    <a:pt x="260" y="222"/>
                    <a:pt x="256" y="224"/>
                  </a:cubicBezTo>
                  <a:cubicBezTo>
                    <a:pt x="256" y="224"/>
                    <a:pt x="255" y="226"/>
                    <a:pt x="255" y="226"/>
                  </a:cubicBezTo>
                  <a:cubicBezTo>
                    <a:pt x="253" y="227"/>
                    <a:pt x="246" y="227"/>
                    <a:pt x="244" y="226"/>
                  </a:cubicBezTo>
                  <a:cubicBezTo>
                    <a:pt x="243" y="226"/>
                    <a:pt x="242" y="224"/>
                    <a:pt x="241" y="224"/>
                  </a:cubicBezTo>
                  <a:cubicBezTo>
                    <a:pt x="240" y="224"/>
                    <a:pt x="232" y="225"/>
                    <a:pt x="231" y="226"/>
                  </a:cubicBezTo>
                  <a:cubicBezTo>
                    <a:pt x="230" y="226"/>
                    <a:pt x="230" y="228"/>
                    <a:pt x="230" y="228"/>
                  </a:cubicBezTo>
                  <a:cubicBezTo>
                    <a:pt x="226" y="229"/>
                    <a:pt x="218" y="228"/>
                    <a:pt x="214" y="228"/>
                  </a:cubicBezTo>
                  <a:cubicBezTo>
                    <a:pt x="216" y="229"/>
                    <a:pt x="213" y="233"/>
                    <a:pt x="213" y="233"/>
                  </a:cubicBezTo>
                  <a:cubicBezTo>
                    <a:pt x="213" y="237"/>
                    <a:pt x="214" y="234"/>
                    <a:pt x="215" y="235"/>
                  </a:cubicBezTo>
                  <a:cubicBezTo>
                    <a:pt x="215" y="236"/>
                    <a:pt x="215" y="237"/>
                    <a:pt x="215" y="237"/>
                  </a:cubicBezTo>
                  <a:cubicBezTo>
                    <a:pt x="216" y="238"/>
                    <a:pt x="218" y="238"/>
                    <a:pt x="219" y="239"/>
                  </a:cubicBezTo>
                  <a:cubicBezTo>
                    <a:pt x="219" y="239"/>
                    <a:pt x="219" y="241"/>
                    <a:pt x="219" y="241"/>
                  </a:cubicBezTo>
                  <a:cubicBezTo>
                    <a:pt x="221" y="242"/>
                    <a:pt x="225" y="244"/>
                    <a:pt x="228" y="245"/>
                  </a:cubicBezTo>
                  <a:cubicBezTo>
                    <a:pt x="229" y="245"/>
                    <a:pt x="231" y="244"/>
                    <a:pt x="231" y="244"/>
                  </a:cubicBezTo>
                  <a:cubicBezTo>
                    <a:pt x="233" y="244"/>
                    <a:pt x="237" y="245"/>
                    <a:pt x="239" y="246"/>
                  </a:cubicBezTo>
                  <a:cubicBezTo>
                    <a:pt x="240" y="247"/>
                    <a:pt x="240" y="252"/>
                    <a:pt x="241" y="254"/>
                  </a:cubicBezTo>
                  <a:cubicBezTo>
                    <a:pt x="242" y="254"/>
                    <a:pt x="243" y="253"/>
                    <a:pt x="245" y="253"/>
                  </a:cubicBezTo>
                  <a:cubicBezTo>
                    <a:pt x="246" y="255"/>
                    <a:pt x="246" y="255"/>
                    <a:pt x="246" y="255"/>
                  </a:cubicBezTo>
                  <a:cubicBezTo>
                    <a:pt x="246" y="255"/>
                    <a:pt x="247" y="255"/>
                    <a:pt x="248" y="255"/>
                  </a:cubicBezTo>
                  <a:cubicBezTo>
                    <a:pt x="248" y="256"/>
                    <a:pt x="248" y="256"/>
                    <a:pt x="248" y="256"/>
                  </a:cubicBezTo>
                  <a:cubicBezTo>
                    <a:pt x="250" y="256"/>
                    <a:pt x="254" y="256"/>
                    <a:pt x="256" y="255"/>
                  </a:cubicBezTo>
                  <a:cubicBezTo>
                    <a:pt x="256" y="255"/>
                    <a:pt x="256" y="253"/>
                    <a:pt x="256" y="253"/>
                  </a:cubicBezTo>
                  <a:cubicBezTo>
                    <a:pt x="257" y="253"/>
                    <a:pt x="258" y="253"/>
                    <a:pt x="258" y="253"/>
                  </a:cubicBezTo>
                  <a:cubicBezTo>
                    <a:pt x="260" y="252"/>
                    <a:pt x="260" y="253"/>
                    <a:pt x="262" y="253"/>
                  </a:cubicBezTo>
                  <a:cubicBezTo>
                    <a:pt x="263" y="253"/>
                    <a:pt x="268" y="254"/>
                    <a:pt x="270" y="253"/>
                  </a:cubicBezTo>
                  <a:cubicBezTo>
                    <a:pt x="270" y="253"/>
                    <a:pt x="270" y="253"/>
                    <a:pt x="270" y="253"/>
                  </a:cubicBezTo>
                  <a:cubicBezTo>
                    <a:pt x="272" y="252"/>
                    <a:pt x="275" y="251"/>
                    <a:pt x="276" y="251"/>
                  </a:cubicBezTo>
                  <a:cubicBezTo>
                    <a:pt x="277" y="250"/>
                    <a:pt x="279" y="251"/>
                    <a:pt x="280" y="251"/>
                  </a:cubicBezTo>
                  <a:cubicBezTo>
                    <a:pt x="280" y="248"/>
                    <a:pt x="280" y="248"/>
                    <a:pt x="280" y="248"/>
                  </a:cubicBezTo>
                  <a:cubicBezTo>
                    <a:pt x="281" y="248"/>
                    <a:pt x="282" y="249"/>
                    <a:pt x="283" y="249"/>
                  </a:cubicBezTo>
                  <a:cubicBezTo>
                    <a:pt x="285" y="248"/>
                    <a:pt x="289" y="245"/>
                    <a:pt x="291" y="245"/>
                  </a:cubicBezTo>
                  <a:cubicBezTo>
                    <a:pt x="294" y="244"/>
                    <a:pt x="295" y="245"/>
                    <a:pt x="298" y="243"/>
                  </a:cubicBezTo>
                  <a:cubicBezTo>
                    <a:pt x="298" y="243"/>
                    <a:pt x="300" y="240"/>
                    <a:pt x="300" y="239"/>
                  </a:cubicBezTo>
                  <a:cubicBezTo>
                    <a:pt x="301" y="239"/>
                    <a:pt x="303" y="239"/>
                    <a:pt x="304" y="239"/>
                  </a:cubicBezTo>
                  <a:cubicBezTo>
                    <a:pt x="305" y="238"/>
                    <a:pt x="307" y="236"/>
                    <a:pt x="308" y="235"/>
                  </a:cubicBezTo>
                  <a:cubicBezTo>
                    <a:pt x="308" y="235"/>
                    <a:pt x="308" y="235"/>
                    <a:pt x="308" y="235"/>
                  </a:cubicBezTo>
                  <a:cubicBezTo>
                    <a:pt x="310" y="234"/>
                    <a:pt x="311" y="235"/>
                    <a:pt x="312" y="235"/>
                  </a:cubicBezTo>
                  <a:cubicBezTo>
                    <a:pt x="311" y="237"/>
                    <a:pt x="310" y="239"/>
                    <a:pt x="309" y="241"/>
                  </a:cubicBezTo>
                  <a:cubicBezTo>
                    <a:pt x="310" y="241"/>
                    <a:pt x="310" y="243"/>
                    <a:pt x="310" y="243"/>
                  </a:cubicBezTo>
                  <a:cubicBezTo>
                    <a:pt x="313" y="244"/>
                    <a:pt x="315" y="243"/>
                    <a:pt x="318" y="244"/>
                  </a:cubicBezTo>
                  <a:cubicBezTo>
                    <a:pt x="318" y="244"/>
                    <a:pt x="317" y="247"/>
                    <a:pt x="318" y="247"/>
                  </a:cubicBezTo>
                  <a:cubicBezTo>
                    <a:pt x="318" y="247"/>
                    <a:pt x="320" y="248"/>
                    <a:pt x="320" y="247"/>
                  </a:cubicBezTo>
                  <a:cubicBezTo>
                    <a:pt x="321" y="247"/>
                    <a:pt x="321" y="246"/>
                    <a:pt x="322" y="245"/>
                  </a:cubicBezTo>
                  <a:cubicBezTo>
                    <a:pt x="323" y="246"/>
                    <a:pt x="325" y="249"/>
                    <a:pt x="327" y="249"/>
                  </a:cubicBezTo>
                  <a:cubicBezTo>
                    <a:pt x="328" y="249"/>
                    <a:pt x="329" y="247"/>
                    <a:pt x="330" y="247"/>
                  </a:cubicBezTo>
                  <a:cubicBezTo>
                    <a:pt x="331" y="248"/>
                    <a:pt x="331" y="250"/>
                    <a:pt x="334" y="250"/>
                  </a:cubicBezTo>
                  <a:cubicBezTo>
                    <a:pt x="335" y="250"/>
                    <a:pt x="335" y="248"/>
                    <a:pt x="335" y="247"/>
                  </a:cubicBezTo>
                  <a:cubicBezTo>
                    <a:pt x="337" y="248"/>
                    <a:pt x="339" y="248"/>
                    <a:pt x="341" y="248"/>
                  </a:cubicBezTo>
                  <a:cubicBezTo>
                    <a:pt x="342" y="246"/>
                    <a:pt x="342" y="246"/>
                    <a:pt x="342" y="246"/>
                  </a:cubicBezTo>
                  <a:cubicBezTo>
                    <a:pt x="344" y="245"/>
                    <a:pt x="344" y="246"/>
                    <a:pt x="346" y="245"/>
                  </a:cubicBezTo>
                  <a:cubicBezTo>
                    <a:pt x="347" y="244"/>
                    <a:pt x="346" y="243"/>
                    <a:pt x="347" y="242"/>
                  </a:cubicBezTo>
                  <a:cubicBezTo>
                    <a:pt x="346" y="242"/>
                    <a:pt x="345" y="242"/>
                    <a:pt x="345" y="242"/>
                  </a:cubicBezTo>
                  <a:cubicBezTo>
                    <a:pt x="345" y="241"/>
                    <a:pt x="345" y="240"/>
                    <a:pt x="345" y="239"/>
                  </a:cubicBezTo>
                  <a:cubicBezTo>
                    <a:pt x="343" y="240"/>
                    <a:pt x="342" y="239"/>
                    <a:pt x="340" y="239"/>
                  </a:cubicBezTo>
                  <a:cubicBezTo>
                    <a:pt x="338" y="240"/>
                    <a:pt x="341" y="243"/>
                    <a:pt x="336" y="241"/>
                  </a:cubicBezTo>
                  <a:cubicBezTo>
                    <a:pt x="334" y="241"/>
                    <a:pt x="335" y="239"/>
                    <a:pt x="334" y="238"/>
                  </a:cubicBezTo>
                  <a:cubicBezTo>
                    <a:pt x="333" y="238"/>
                    <a:pt x="331" y="237"/>
                    <a:pt x="331" y="237"/>
                  </a:cubicBezTo>
                  <a:cubicBezTo>
                    <a:pt x="332" y="234"/>
                    <a:pt x="332" y="234"/>
                    <a:pt x="332" y="234"/>
                  </a:cubicBezTo>
                  <a:cubicBezTo>
                    <a:pt x="333" y="235"/>
                    <a:pt x="334" y="234"/>
                    <a:pt x="336" y="235"/>
                  </a:cubicBezTo>
                  <a:cubicBezTo>
                    <a:pt x="336" y="235"/>
                    <a:pt x="337" y="237"/>
                    <a:pt x="338" y="237"/>
                  </a:cubicBezTo>
                  <a:cubicBezTo>
                    <a:pt x="340" y="238"/>
                    <a:pt x="343" y="238"/>
                    <a:pt x="346" y="238"/>
                  </a:cubicBezTo>
                  <a:cubicBezTo>
                    <a:pt x="346" y="238"/>
                    <a:pt x="346" y="236"/>
                    <a:pt x="346" y="236"/>
                  </a:cubicBezTo>
                  <a:cubicBezTo>
                    <a:pt x="344" y="236"/>
                    <a:pt x="344" y="236"/>
                    <a:pt x="343" y="235"/>
                  </a:cubicBezTo>
                  <a:cubicBezTo>
                    <a:pt x="340" y="234"/>
                    <a:pt x="344" y="234"/>
                    <a:pt x="345" y="233"/>
                  </a:cubicBezTo>
                  <a:cubicBezTo>
                    <a:pt x="344" y="233"/>
                    <a:pt x="346" y="232"/>
                    <a:pt x="346" y="232"/>
                  </a:cubicBezTo>
                  <a:cubicBezTo>
                    <a:pt x="348" y="233"/>
                    <a:pt x="349" y="234"/>
                    <a:pt x="352" y="235"/>
                  </a:cubicBezTo>
                  <a:cubicBezTo>
                    <a:pt x="352" y="236"/>
                    <a:pt x="351" y="238"/>
                    <a:pt x="352" y="238"/>
                  </a:cubicBezTo>
                  <a:cubicBezTo>
                    <a:pt x="352" y="239"/>
                    <a:pt x="354" y="238"/>
                    <a:pt x="355" y="239"/>
                  </a:cubicBezTo>
                  <a:cubicBezTo>
                    <a:pt x="356" y="238"/>
                    <a:pt x="355" y="237"/>
                    <a:pt x="356" y="237"/>
                  </a:cubicBezTo>
                  <a:cubicBezTo>
                    <a:pt x="356" y="237"/>
                    <a:pt x="356" y="236"/>
                    <a:pt x="356" y="235"/>
                  </a:cubicBezTo>
                  <a:cubicBezTo>
                    <a:pt x="356" y="235"/>
                    <a:pt x="354" y="234"/>
                    <a:pt x="354" y="234"/>
                  </a:cubicBezTo>
                  <a:cubicBezTo>
                    <a:pt x="355" y="231"/>
                    <a:pt x="355" y="231"/>
                    <a:pt x="355" y="227"/>
                  </a:cubicBezTo>
                  <a:cubicBezTo>
                    <a:pt x="354" y="227"/>
                    <a:pt x="353" y="226"/>
                    <a:pt x="353" y="226"/>
                  </a:cubicBezTo>
                  <a:cubicBezTo>
                    <a:pt x="351" y="226"/>
                    <a:pt x="350" y="227"/>
                    <a:pt x="349" y="227"/>
                  </a:cubicBezTo>
                  <a:cubicBezTo>
                    <a:pt x="341" y="228"/>
                    <a:pt x="337" y="223"/>
                    <a:pt x="335" y="217"/>
                  </a:cubicBezTo>
                  <a:cubicBezTo>
                    <a:pt x="334" y="217"/>
                    <a:pt x="334" y="217"/>
                    <a:pt x="334" y="217"/>
                  </a:cubicBezTo>
                  <a:cubicBezTo>
                    <a:pt x="333" y="219"/>
                    <a:pt x="334" y="221"/>
                    <a:pt x="334" y="223"/>
                  </a:cubicBezTo>
                  <a:cubicBezTo>
                    <a:pt x="333" y="223"/>
                    <a:pt x="332" y="221"/>
                    <a:pt x="332" y="221"/>
                  </a:cubicBezTo>
                  <a:cubicBezTo>
                    <a:pt x="330" y="221"/>
                    <a:pt x="328" y="221"/>
                    <a:pt x="327" y="221"/>
                  </a:cubicBezTo>
                  <a:cubicBezTo>
                    <a:pt x="327" y="220"/>
                    <a:pt x="326" y="218"/>
                    <a:pt x="326" y="218"/>
                  </a:cubicBezTo>
                  <a:cubicBezTo>
                    <a:pt x="325" y="216"/>
                    <a:pt x="323" y="215"/>
                    <a:pt x="322" y="213"/>
                  </a:cubicBezTo>
                  <a:cubicBezTo>
                    <a:pt x="321" y="211"/>
                    <a:pt x="321" y="208"/>
                    <a:pt x="320" y="206"/>
                  </a:cubicBezTo>
                  <a:cubicBezTo>
                    <a:pt x="320" y="205"/>
                    <a:pt x="317" y="205"/>
                    <a:pt x="316" y="204"/>
                  </a:cubicBezTo>
                  <a:cubicBezTo>
                    <a:pt x="315" y="202"/>
                    <a:pt x="317" y="200"/>
                    <a:pt x="316" y="199"/>
                  </a:cubicBezTo>
                  <a:cubicBezTo>
                    <a:pt x="316" y="198"/>
                    <a:pt x="314" y="196"/>
                    <a:pt x="314" y="195"/>
                  </a:cubicBezTo>
                  <a:cubicBezTo>
                    <a:pt x="313" y="195"/>
                    <a:pt x="314" y="194"/>
                    <a:pt x="313" y="193"/>
                  </a:cubicBezTo>
                  <a:cubicBezTo>
                    <a:pt x="312" y="193"/>
                    <a:pt x="309" y="194"/>
                    <a:pt x="308" y="193"/>
                  </a:cubicBezTo>
                  <a:cubicBezTo>
                    <a:pt x="307" y="193"/>
                    <a:pt x="304" y="192"/>
                    <a:pt x="302" y="192"/>
                  </a:cubicBezTo>
                  <a:cubicBezTo>
                    <a:pt x="302" y="193"/>
                    <a:pt x="302" y="193"/>
                    <a:pt x="302" y="193"/>
                  </a:cubicBezTo>
                  <a:cubicBezTo>
                    <a:pt x="300" y="193"/>
                    <a:pt x="300" y="195"/>
                    <a:pt x="298" y="194"/>
                  </a:cubicBezTo>
                  <a:cubicBezTo>
                    <a:pt x="297" y="191"/>
                    <a:pt x="297" y="191"/>
                    <a:pt x="297" y="191"/>
                  </a:cubicBezTo>
                  <a:cubicBezTo>
                    <a:pt x="296" y="191"/>
                    <a:pt x="296" y="191"/>
                    <a:pt x="296" y="191"/>
                  </a:cubicBezTo>
                  <a:cubicBezTo>
                    <a:pt x="295" y="192"/>
                    <a:pt x="292" y="197"/>
                    <a:pt x="292" y="197"/>
                  </a:cubicBezTo>
                  <a:cubicBezTo>
                    <a:pt x="292" y="198"/>
                    <a:pt x="293" y="199"/>
                    <a:pt x="292" y="200"/>
                  </a:cubicBezTo>
                  <a:cubicBezTo>
                    <a:pt x="292" y="201"/>
                    <a:pt x="288" y="202"/>
                    <a:pt x="287" y="203"/>
                  </a:cubicBezTo>
                  <a:cubicBezTo>
                    <a:pt x="285" y="197"/>
                    <a:pt x="288" y="194"/>
                    <a:pt x="290" y="188"/>
                  </a:cubicBezTo>
                  <a:cubicBezTo>
                    <a:pt x="290" y="188"/>
                    <a:pt x="289" y="188"/>
                    <a:pt x="288" y="188"/>
                  </a:cubicBezTo>
                  <a:cubicBezTo>
                    <a:pt x="284" y="183"/>
                    <a:pt x="284" y="183"/>
                    <a:pt x="284" y="183"/>
                  </a:cubicBezTo>
                  <a:cubicBezTo>
                    <a:pt x="284" y="182"/>
                    <a:pt x="285" y="181"/>
                    <a:pt x="284" y="181"/>
                  </a:cubicBezTo>
                  <a:cubicBezTo>
                    <a:pt x="284" y="180"/>
                    <a:pt x="282" y="180"/>
                    <a:pt x="282" y="181"/>
                  </a:cubicBezTo>
                  <a:cubicBezTo>
                    <a:pt x="281" y="180"/>
                    <a:pt x="280" y="179"/>
                    <a:pt x="279" y="178"/>
                  </a:cubicBezTo>
                  <a:cubicBezTo>
                    <a:pt x="279" y="178"/>
                    <a:pt x="277" y="178"/>
                    <a:pt x="276" y="178"/>
                  </a:cubicBezTo>
                  <a:cubicBezTo>
                    <a:pt x="276" y="179"/>
                    <a:pt x="277" y="181"/>
                    <a:pt x="276" y="181"/>
                  </a:cubicBezTo>
                  <a:cubicBezTo>
                    <a:pt x="276" y="182"/>
                    <a:pt x="273" y="183"/>
                    <a:pt x="272" y="184"/>
                  </a:cubicBezTo>
                  <a:cubicBezTo>
                    <a:pt x="272" y="185"/>
                    <a:pt x="273" y="187"/>
                    <a:pt x="272" y="187"/>
                  </a:cubicBezTo>
                  <a:cubicBezTo>
                    <a:pt x="272" y="187"/>
                    <a:pt x="270" y="187"/>
                    <a:pt x="270" y="187"/>
                  </a:cubicBezTo>
                  <a:cubicBezTo>
                    <a:pt x="269" y="186"/>
                    <a:pt x="269" y="187"/>
                    <a:pt x="268" y="187"/>
                  </a:cubicBezTo>
                  <a:cubicBezTo>
                    <a:pt x="267" y="186"/>
                    <a:pt x="268" y="184"/>
                    <a:pt x="268" y="183"/>
                  </a:cubicBezTo>
                  <a:cubicBezTo>
                    <a:pt x="267" y="182"/>
                    <a:pt x="263" y="180"/>
                    <a:pt x="261" y="179"/>
                  </a:cubicBezTo>
                  <a:cubicBezTo>
                    <a:pt x="259" y="178"/>
                    <a:pt x="258" y="178"/>
                    <a:pt x="255" y="177"/>
                  </a:cubicBezTo>
                  <a:cubicBezTo>
                    <a:pt x="255" y="179"/>
                    <a:pt x="254" y="183"/>
                    <a:pt x="254" y="185"/>
                  </a:cubicBezTo>
                  <a:cubicBezTo>
                    <a:pt x="254" y="187"/>
                    <a:pt x="255" y="187"/>
                    <a:pt x="255" y="188"/>
                  </a:cubicBezTo>
                  <a:cubicBezTo>
                    <a:pt x="255" y="190"/>
                    <a:pt x="255" y="191"/>
                    <a:pt x="255" y="193"/>
                  </a:cubicBezTo>
                  <a:cubicBezTo>
                    <a:pt x="255" y="194"/>
                    <a:pt x="252" y="195"/>
                    <a:pt x="252" y="195"/>
                  </a:cubicBezTo>
                  <a:cubicBezTo>
                    <a:pt x="252" y="194"/>
                    <a:pt x="252" y="193"/>
                    <a:pt x="251" y="193"/>
                  </a:cubicBezTo>
                  <a:cubicBezTo>
                    <a:pt x="250" y="192"/>
                    <a:pt x="249" y="193"/>
                    <a:pt x="248" y="192"/>
                  </a:cubicBezTo>
                  <a:cubicBezTo>
                    <a:pt x="247" y="192"/>
                    <a:pt x="241" y="187"/>
                    <a:pt x="241" y="187"/>
                  </a:cubicBezTo>
                  <a:cubicBezTo>
                    <a:pt x="240" y="184"/>
                    <a:pt x="242" y="183"/>
                    <a:pt x="242" y="181"/>
                  </a:cubicBezTo>
                  <a:cubicBezTo>
                    <a:pt x="242" y="177"/>
                    <a:pt x="241" y="174"/>
                    <a:pt x="241" y="171"/>
                  </a:cubicBezTo>
                  <a:cubicBezTo>
                    <a:pt x="238" y="171"/>
                    <a:pt x="237" y="171"/>
                    <a:pt x="235" y="171"/>
                  </a:cubicBezTo>
                  <a:cubicBezTo>
                    <a:pt x="232" y="175"/>
                    <a:pt x="229" y="176"/>
                    <a:pt x="225" y="178"/>
                  </a:cubicBezTo>
                  <a:cubicBezTo>
                    <a:pt x="225" y="179"/>
                    <a:pt x="225" y="179"/>
                    <a:pt x="225" y="179"/>
                  </a:cubicBezTo>
                  <a:cubicBezTo>
                    <a:pt x="221" y="180"/>
                    <a:pt x="218" y="179"/>
                    <a:pt x="216" y="179"/>
                  </a:cubicBezTo>
                  <a:cubicBezTo>
                    <a:pt x="214" y="180"/>
                    <a:pt x="212" y="182"/>
                    <a:pt x="211" y="183"/>
                  </a:cubicBezTo>
                  <a:cubicBezTo>
                    <a:pt x="209" y="183"/>
                    <a:pt x="208" y="183"/>
                    <a:pt x="207" y="183"/>
                  </a:cubicBezTo>
                  <a:cubicBezTo>
                    <a:pt x="203" y="186"/>
                    <a:pt x="204" y="190"/>
                    <a:pt x="204" y="193"/>
                  </a:cubicBezTo>
                  <a:close/>
                  <a:moveTo>
                    <a:pt x="566" y="186"/>
                  </a:moveTo>
                  <a:cubicBezTo>
                    <a:pt x="563" y="185"/>
                    <a:pt x="561" y="186"/>
                    <a:pt x="559" y="185"/>
                  </a:cubicBezTo>
                  <a:cubicBezTo>
                    <a:pt x="558" y="185"/>
                    <a:pt x="558" y="183"/>
                    <a:pt x="558" y="183"/>
                  </a:cubicBezTo>
                  <a:cubicBezTo>
                    <a:pt x="556" y="182"/>
                    <a:pt x="552" y="182"/>
                    <a:pt x="549" y="182"/>
                  </a:cubicBezTo>
                  <a:cubicBezTo>
                    <a:pt x="543" y="183"/>
                    <a:pt x="544" y="187"/>
                    <a:pt x="548" y="189"/>
                  </a:cubicBezTo>
                  <a:cubicBezTo>
                    <a:pt x="548" y="189"/>
                    <a:pt x="559" y="193"/>
                    <a:pt x="555" y="193"/>
                  </a:cubicBezTo>
                  <a:cubicBezTo>
                    <a:pt x="554" y="194"/>
                    <a:pt x="555" y="193"/>
                    <a:pt x="554" y="193"/>
                  </a:cubicBezTo>
                  <a:cubicBezTo>
                    <a:pt x="554" y="193"/>
                    <a:pt x="551" y="193"/>
                    <a:pt x="551" y="193"/>
                  </a:cubicBezTo>
                  <a:cubicBezTo>
                    <a:pt x="548" y="192"/>
                    <a:pt x="548" y="191"/>
                    <a:pt x="546" y="190"/>
                  </a:cubicBezTo>
                  <a:cubicBezTo>
                    <a:pt x="545" y="190"/>
                    <a:pt x="544" y="190"/>
                    <a:pt x="544" y="190"/>
                  </a:cubicBezTo>
                  <a:cubicBezTo>
                    <a:pt x="543" y="193"/>
                    <a:pt x="543" y="193"/>
                    <a:pt x="543" y="193"/>
                  </a:cubicBezTo>
                  <a:cubicBezTo>
                    <a:pt x="545" y="193"/>
                    <a:pt x="544" y="194"/>
                    <a:pt x="544" y="195"/>
                  </a:cubicBezTo>
                  <a:cubicBezTo>
                    <a:pt x="544" y="195"/>
                    <a:pt x="543" y="195"/>
                    <a:pt x="542" y="195"/>
                  </a:cubicBezTo>
                  <a:cubicBezTo>
                    <a:pt x="542" y="195"/>
                    <a:pt x="541" y="197"/>
                    <a:pt x="541" y="197"/>
                  </a:cubicBezTo>
                  <a:cubicBezTo>
                    <a:pt x="540" y="196"/>
                    <a:pt x="540" y="199"/>
                    <a:pt x="540" y="199"/>
                  </a:cubicBezTo>
                  <a:cubicBezTo>
                    <a:pt x="542" y="200"/>
                    <a:pt x="542" y="199"/>
                    <a:pt x="542" y="201"/>
                  </a:cubicBezTo>
                  <a:cubicBezTo>
                    <a:pt x="542" y="201"/>
                    <a:pt x="540" y="201"/>
                    <a:pt x="540" y="201"/>
                  </a:cubicBezTo>
                  <a:cubicBezTo>
                    <a:pt x="540" y="201"/>
                    <a:pt x="538" y="200"/>
                    <a:pt x="540" y="200"/>
                  </a:cubicBezTo>
                  <a:cubicBezTo>
                    <a:pt x="538" y="200"/>
                    <a:pt x="540" y="197"/>
                    <a:pt x="540" y="197"/>
                  </a:cubicBezTo>
                  <a:cubicBezTo>
                    <a:pt x="541" y="188"/>
                    <a:pt x="539" y="191"/>
                    <a:pt x="534" y="193"/>
                  </a:cubicBezTo>
                  <a:cubicBezTo>
                    <a:pt x="533" y="191"/>
                    <a:pt x="533" y="191"/>
                    <a:pt x="533" y="191"/>
                  </a:cubicBezTo>
                  <a:cubicBezTo>
                    <a:pt x="535" y="193"/>
                    <a:pt x="534" y="189"/>
                    <a:pt x="531" y="189"/>
                  </a:cubicBezTo>
                  <a:cubicBezTo>
                    <a:pt x="530" y="191"/>
                    <a:pt x="530" y="191"/>
                    <a:pt x="530" y="191"/>
                  </a:cubicBezTo>
                  <a:cubicBezTo>
                    <a:pt x="527" y="192"/>
                    <a:pt x="527" y="193"/>
                    <a:pt x="524" y="195"/>
                  </a:cubicBezTo>
                  <a:cubicBezTo>
                    <a:pt x="525" y="196"/>
                    <a:pt x="526" y="197"/>
                    <a:pt x="527" y="197"/>
                  </a:cubicBezTo>
                  <a:cubicBezTo>
                    <a:pt x="527" y="198"/>
                    <a:pt x="526" y="199"/>
                    <a:pt x="526" y="200"/>
                  </a:cubicBezTo>
                  <a:cubicBezTo>
                    <a:pt x="522" y="200"/>
                    <a:pt x="522" y="200"/>
                    <a:pt x="519" y="199"/>
                  </a:cubicBezTo>
                  <a:cubicBezTo>
                    <a:pt x="519" y="198"/>
                    <a:pt x="519" y="198"/>
                    <a:pt x="519" y="198"/>
                  </a:cubicBezTo>
                  <a:cubicBezTo>
                    <a:pt x="520" y="198"/>
                    <a:pt x="521" y="198"/>
                    <a:pt x="522" y="198"/>
                  </a:cubicBezTo>
                  <a:cubicBezTo>
                    <a:pt x="523" y="196"/>
                    <a:pt x="521" y="195"/>
                    <a:pt x="523" y="193"/>
                  </a:cubicBezTo>
                  <a:cubicBezTo>
                    <a:pt x="525" y="192"/>
                    <a:pt x="523" y="192"/>
                    <a:pt x="522" y="191"/>
                  </a:cubicBezTo>
                  <a:cubicBezTo>
                    <a:pt x="522" y="190"/>
                    <a:pt x="522" y="190"/>
                    <a:pt x="522" y="190"/>
                  </a:cubicBezTo>
                  <a:cubicBezTo>
                    <a:pt x="522" y="190"/>
                    <a:pt x="523" y="188"/>
                    <a:pt x="522" y="187"/>
                  </a:cubicBezTo>
                  <a:cubicBezTo>
                    <a:pt x="522" y="187"/>
                    <a:pt x="522" y="187"/>
                    <a:pt x="522" y="187"/>
                  </a:cubicBezTo>
                  <a:cubicBezTo>
                    <a:pt x="521" y="186"/>
                    <a:pt x="521" y="184"/>
                    <a:pt x="520" y="183"/>
                  </a:cubicBezTo>
                  <a:cubicBezTo>
                    <a:pt x="518" y="183"/>
                    <a:pt x="518" y="183"/>
                    <a:pt x="518" y="183"/>
                  </a:cubicBezTo>
                  <a:cubicBezTo>
                    <a:pt x="517" y="178"/>
                    <a:pt x="521" y="178"/>
                    <a:pt x="521" y="177"/>
                  </a:cubicBezTo>
                  <a:cubicBezTo>
                    <a:pt x="521" y="177"/>
                    <a:pt x="521" y="176"/>
                    <a:pt x="521" y="175"/>
                  </a:cubicBezTo>
                  <a:cubicBezTo>
                    <a:pt x="521" y="176"/>
                    <a:pt x="520" y="175"/>
                    <a:pt x="520" y="175"/>
                  </a:cubicBezTo>
                  <a:cubicBezTo>
                    <a:pt x="521" y="170"/>
                    <a:pt x="525" y="169"/>
                    <a:pt x="518" y="167"/>
                  </a:cubicBezTo>
                  <a:cubicBezTo>
                    <a:pt x="517" y="166"/>
                    <a:pt x="513" y="165"/>
                    <a:pt x="510" y="166"/>
                  </a:cubicBezTo>
                  <a:cubicBezTo>
                    <a:pt x="510" y="166"/>
                    <a:pt x="510" y="166"/>
                    <a:pt x="510" y="166"/>
                  </a:cubicBezTo>
                  <a:cubicBezTo>
                    <a:pt x="510" y="166"/>
                    <a:pt x="508" y="168"/>
                    <a:pt x="508" y="168"/>
                  </a:cubicBezTo>
                  <a:cubicBezTo>
                    <a:pt x="507" y="168"/>
                    <a:pt x="505" y="168"/>
                    <a:pt x="504" y="168"/>
                  </a:cubicBezTo>
                  <a:cubicBezTo>
                    <a:pt x="504" y="169"/>
                    <a:pt x="504" y="170"/>
                    <a:pt x="504" y="171"/>
                  </a:cubicBezTo>
                  <a:cubicBezTo>
                    <a:pt x="498" y="171"/>
                    <a:pt x="498" y="171"/>
                    <a:pt x="498" y="171"/>
                  </a:cubicBezTo>
                  <a:cubicBezTo>
                    <a:pt x="498" y="172"/>
                    <a:pt x="498" y="173"/>
                    <a:pt x="498" y="173"/>
                  </a:cubicBezTo>
                  <a:cubicBezTo>
                    <a:pt x="497" y="174"/>
                    <a:pt x="495" y="173"/>
                    <a:pt x="493" y="174"/>
                  </a:cubicBezTo>
                  <a:cubicBezTo>
                    <a:pt x="492" y="175"/>
                    <a:pt x="494" y="175"/>
                    <a:pt x="494" y="175"/>
                  </a:cubicBezTo>
                  <a:cubicBezTo>
                    <a:pt x="493" y="175"/>
                    <a:pt x="494" y="176"/>
                    <a:pt x="494" y="176"/>
                  </a:cubicBezTo>
                  <a:cubicBezTo>
                    <a:pt x="494" y="177"/>
                    <a:pt x="493" y="177"/>
                    <a:pt x="492" y="179"/>
                  </a:cubicBezTo>
                  <a:cubicBezTo>
                    <a:pt x="492" y="179"/>
                    <a:pt x="495" y="179"/>
                    <a:pt x="494" y="179"/>
                  </a:cubicBezTo>
                  <a:cubicBezTo>
                    <a:pt x="492" y="180"/>
                    <a:pt x="492" y="179"/>
                    <a:pt x="490" y="179"/>
                  </a:cubicBezTo>
                  <a:cubicBezTo>
                    <a:pt x="488" y="179"/>
                    <a:pt x="487" y="181"/>
                    <a:pt x="487" y="181"/>
                  </a:cubicBezTo>
                  <a:cubicBezTo>
                    <a:pt x="487" y="181"/>
                    <a:pt x="487" y="186"/>
                    <a:pt x="487" y="188"/>
                  </a:cubicBezTo>
                  <a:cubicBezTo>
                    <a:pt x="488" y="188"/>
                    <a:pt x="489" y="189"/>
                    <a:pt x="489" y="189"/>
                  </a:cubicBezTo>
                  <a:cubicBezTo>
                    <a:pt x="490" y="190"/>
                    <a:pt x="494" y="188"/>
                    <a:pt x="496" y="189"/>
                  </a:cubicBezTo>
                  <a:cubicBezTo>
                    <a:pt x="496" y="189"/>
                    <a:pt x="495" y="194"/>
                    <a:pt x="496" y="195"/>
                  </a:cubicBezTo>
                  <a:cubicBezTo>
                    <a:pt x="493" y="193"/>
                    <a:pt x="492" y="192"/>
                    <a:pt x="486" y="192"/>
                  </a:cubicBezTo>
                  <a:cubicBezTo>
                    <a:pt x="486" y="194"/>
                    <a:pt x="486" y="195"/>
                    <a:pt x="486" y="196"/>
                  </a:cubicBezTo>
                  <a:cubicBezTo>
                    <a:pt x="491" y="200"/>
                    <a:pt x="495" y="197"/>
                    <a:pt x="490" y="203"/>
                  </a:cubicBezTo>
                  <a:cubicBezTo>
                    <a:pt x="490" y="201"/>
                    <a:pt x="491" y="208"/>
                    <a:pt x="492" y="210"/>
                  </a:cubicBezTo>
                  <a:cubicBezTo>
                    <a:pt x="486" y="207"/>
                    <a:pt x="485" y="208"/>
                    <a:pt x="478" y="209"/>
                  </a:cubicBezTo>
                  <a:cubicBezTo>
                    <a:pt x="480" y="208"/>
                    <a:pt x="482" y="206"/>
                    <a:pt x="484" y="205"/>
                  </a:cubicBezTo>
                  <a:cubicBezTo>
                    <a:pt x="484" y="205"/>
                    <a:pt x="485" y="206"/>
                    <a:pt x="486" y="205"/>
                  </a:cubicBezTo>
                  <a:cubicBezTo>
                    <a:pt x="485" y="204"/>
                    <a:pt x="486" y="203"/>
                    <a:pt x="485" y="202"/>
                  </a:cubicBezTo>
                  <a:cubicBezTo>
                    <a:pt x="484" y="201"/>
                    <a:pt x="481" y="201"/>
                    <a:pt x="480" y="199"/>
                  </a:cubicBezTo>
                  <a:cubicBezTo>
                    <a:pt x="478" y="196"/>
                    <a:pt x="479" y="183"/>
                    <a:pt x="480" y="179"/>
                  </a:cubicBezTo>
                  <a:cubicBezTo>
                    <a:pt x="482" y="172"/>
                    <a:pt x="491" y="170"/>
                    <a:pt x="500" y="169"/>
                  </a:cubicBezTo>
                  <a:cubicBezTo>
                    <a:pt x="499" y="169"/>
                    <a:pt x="501" y="169"/>
                    <a:pt x="501" y="169"/>
                  </a:cubicBezTo>
                  <a:cubicBezTo>
                    <a:pt x="501" y="169"/>
                    <a:pt x="501" y="167"/>
                    <a:pt x="501" y="167"/>
                  </a:cubicBezTo>
                  <a:cubicBezTo>
                    <a:pt x="500" y="167"/>
                    <a:pt x="497" y="166"/>
                    <a:pt x="496" y="166"/>
                  </a:cubicBezTo>
                  <a:cubicBezTo>
                    <a:pt x="493" y="165"/>
                    <a:pt x="486" y="165"/>
                    <a:pt x="482" y="166"/>
                  </a:cubicBezTo>
                  <a:cubicBezTo>
                    <a:pt x="480" y="168"/>
                    <a:pt x="480" y="168"/>
                    <a:pt x="480" y="168"/>
                  </a:cubicBezTo>
                  <a:cubicBezTo>
                    <a:pt x="478" y="168"/>
                    <a:pt x="477" y="166"/>
                    <a:pt x="474" y="166"/>
                  </a:cubicBezTo>
                  <a:cubicBezTo>
                    <a:pt x="473" y="166"/>
                    <a:pt x="471" y="168"/>
                    <a:pt x="470" y="168"/>
                  </a:cubicBezTo>
                  <a:cubicBezTo>
                    <a:pt x="467" y="168"/>
                    <a:pt x="467" y="167"/>
                    <a:pt x="464" y="168"/>
                  </a:cubicBezTo>
                  <a:cubicBezTo>
                    <a:pt x="464" y="168"/>
                    <a:pt x="464" y="168"/>
                    <a:pt x="464" y="168"/>
                  </a:cubicBezTo>
                  <a:cubicBezTo>
                    <a:pt x="463" y="169"/>
                    <a:pt x="461" y="171"/>
                    <a:pt x="460" y="172"/>
                  </a:cubicBezTo>
                  <a:cubicBezTo>
                    <a:pt x="460" y="173"/>
                    <a:pt x="461" y="175"/>
                    <a:pt x="461" y="175"/>
                  </a:cubicBezTo>
                  <a:cubicBezTo>
                    <a:pt x="461" y="175"/>
                    <a:pt x="456" y="178"/>
                    <a:pt x="456" y="178"/>
                  </a:cubicBezTo>
                  <a:cubicBezTo>
                    <a:pt x="457" y="181"/>
                    <a:pt x="457" y="181"/>
                    <a:pt x="457" y="181"/>
                  </a:cubicBezTo>
                  <a:cubicBezTo>
                    <a:pt x="456" y="183"/>
                    <a:pt x="449" y="189"/>
                    <a:pt x="449" y="190"/>
                  </a:cubicBezTo>
                  <a:cubicBezTo>
                    <a:pt x="448" y="191"/>
                    <a:pt x="450" y="192"/>
                    <a:pt x="450" y="194"/>
                  </a:cubicBezTo>
                  <a:cubicBezTo>
                    <a:pt x="450" y="195"/>
                    <a:pt x="447" y="197"/>
                    <a:pt x="447" y="197"/>
                  </a:cubicBezTo>
                  <a:cubicBezTo>
                    <a:pt x="446" y="199"/>
                    <a:pt x="446" y="199"/>
                    <a:pt x="446" y="201"/>
                  </a:cubicBezTo>
                  <a:cubicBezTo>
                    <a:pt x="448" y="202"/>
                    <a:pt x="450" y="203"/>
                    <a:pt x="453" y="204"/>
                  </a:cubicBezTo>
                  <a:cubicBezTo>
                    <a:pt x="453" y="205"/>
                    <a:pt x="453" y="205"/>
                    <a:pt x="453" y="205"/>
                  </a:cubicBezTo>
                  <a:cubicBezTo>
                    <a:pt x="452" y="205"/>
                    <a:pt x="452" y="205"/>
                    <a:pt x="452" y="205"/>
                  </a:cubicBezTo>
                  <a:cubicBezTo>
                    <a:pt x="450" y="205"/>
                    <a:pt x="454" y="209"/>
                    <a:pt x="455" y="209"/>
                  </a:cubicBezTo>
                  <a:cubicBezTo>
                    <a:pt x="455" y="210"/>
                    <a:pt x="455" y="210"/>
                    <a:pt x="455" y="210"/>
                  </a:cubicBezTo>
                  <a:cubicBezTo>
                    <a:pt x="458" y="211"/>
                    <a:pt x="463" y="210"/>
                    <a:pt x="466" y="210"/>
                  </a:cubicBezTo>
                  <a:cubicBezTo>
                    <a:pt x="467" y="213"/>
                    <a:pt x="467" y="213"/>
                    <a:pt x="467" y="213"/>
                  </a:cubicBezTo>
                  <a:cubicBezTo>
                    <a:pt x="465" y="212"/>
                    <a:pt x="463" y="213"/>
                    <a:pt x="461" y="213"/>
                  </a:cubicBezTo>
                  <a:cubicBezTo>
                    <a:pt x="461" y="213"/>
                    <a:pt x="461" y="215"/>
                    <a:pt x="461" y="215"/>
                  </a:cubicBezTo>
                  <a:cubicBezTo>
                    <a:pt x="461" y="215"/>
                    <a:pt x="464" y="218"/>
                    <a:pt x="464" y="218"/>
                  </a:cubicBezTo>
                  <a:cubicBezTo>
                    <a:pt x="464" y="219"/>
                    <a:pt x="464" y="219"/>
                    <a:pt x="464" y="219"/>
                  </a:cubicBezTo>
                  <a:cubicBezTo>
                    <a:pt x="464" y="219"/>
                    <a:pt x="464" y="218"/>
                    <a:pt x="466" y="218"/>
                  </a:cubicBezTo>
                  <a:cubicBezTo>
                    <a:pt x="466" y="218"/>
                    <a:pt x="469" y="220"/>
                    <a:pt x="470" y="221"/>
                  </a:cubicBezTo>
                  <a:cubicBezTo>
                    <a:pt x="469" y="221"/>
                    <a:pt x="468" y="221"/>
                    <a:pt x="468" y="221"/>
                  </a:cubicBezTo>
                  <a:cubicBezTo>
                    <a:pt x="468" y="223"/>
                    <a:pt x="468" y="223"/>
                    <a:pt x="468" y="223"/>
                  </a:cubicBezTo>
                  <a:cubicBezTo>
                    <a:pt x="469" y="223"/>
                    <a:pt x="471" y="223"/>
                    <a:pt x="472" y="223"/>
                  </a:cubicBezTo>
                  <a:cubicBezTo>
                    <a:pt x="474" y="221"/>
                    <a:pt x="475" y="219"/>
                    <a:pt x="478" y="221"/>
                  </a:cubicBezTo>
                  <a:cubicBezTo>
                    <a:pt x="479" y="221"/>
                    <a:pt x="478" y="222"/>
                    <a:pt x="478" y="223"/>
                  </a:cubicBezTo>
                  <a:cubicBezTo>
                    <a:pt x="479" y="223"/>
                    <a:pt x="483" y="226"/>
                    <a:pt x="484" y="227"/>
                  </a:cubicBezTo>
                  <a:cubicBezTo>
                    <a:pt x="484" y="227"/>
                    <a:pt x="483" y="227"/>
                    <a:pt x="483" y="229"/>
                  </a:cubicBezTo>
                  <a:cubicBezTo>
                    <a:pt x="483" y="229"/>
                    <a:pt x="484" y="229"/>
                    <a:pt x="484" y="229"/>
                  </a:cubicBezTo>
                  <a:cubicBezTo>
                    <a:pt x="487" y="229"/>
                    <a:pt x="488" y="229"/>
                    <a:pt x="490" y="229"/>
                  </a:cubicBezTo>
                  <a:cubicBezTo>
                    <a:pt x="490" y="229"/>
                    <a:pt x="488" y="226"/>
                    <a:pt x="489" y="226"/>
                  </a:cubicBezTo>
                  <a:cubicBezTo>
                    <a:pt x="490" y="226"/>
                    <a:pt x="490" y="226"/>
                    <a:pt x="490" y="226"/>
                  </a:cubicBezTo>
                  <a:cubicBezTo>
                    <a:pt x="491" y="226"/>
                    <a:pt x="493" y="229"/>
                    <a:pt x="493" y="229"/>
                  </a:cubicBezTo>
                  <a:cubicBezTo>
                    <a:pt x="495" y="230"/>
                    <a:pt x="497" y="229"/>
                    <a:pt x="499" y="229"/>
                  </a:cubicBezTo>
                  <a:cubicBezTo>
                    <a:pt x="500" y="231"/>
                    <a:pt x="500" y="231"/>
                    <a:pt x="500" y="231"/>
                  </a:cubicBezTo>
                  <a:cubicBezTo>
                    <a:pt x="501" y="231"/>
                    <a:pt x="502" y="231"/>
                    <a:pt x="504" y="231"/>
                  </a:cubicBezTo>
                  <a:cubicBezTo>
                    <a:pt x="505" y="231"/>
                    <a:pt x="509" y="229"/>
                    <a:pt x="510" y="229"/>
                  </a:cubicBezTo>
                  <a:cubicBezTo>
                    <a:pt x="511" y="229"/>
                    <a:pt x="511" y="231"/>
                    <a:pt x="512" y="231"/>
                  </a:cubicBezTo>
                  <a:cubicBezTo>
                    <a:pt x="513" y="232"/>
                    <a:pt x="517" y="233"/>
                    <a:pt x="518" y="233"/>
                  </a:cubicBezTo>
                  <a:cubicBezTo>
                    <a:pt x="524" y="233"/>
                    <a:pt x="520" y="231"/>
                    <a:pt x="518" y="229"/>
                  </a:cubicBezTo>
                  <a:cubicBezTo>
                    <a:pt x="518" y="229"/>
                    <a:pt x="518" y="228"/>
                    <a:pt x="518" y="227"/>
                  </a:cubicBezTo>
                  <a:cubicBezTo>
                    <a:pt x="516" y="226"/>
                    <a:pt x="515" y="225"/>
                    <a:pt x="514" y="224"/>
                  </a:cubicBezTo>
                  <a:cubicBezTo>
                    <a:pt x="512" y="223"/>
                    <a:pt x="513" y="222"/>
                    <a:pt x="516" y="223"/>
                  </a:cubicBezTo>
                  <a:cubicBezTo>
                    <a:pt x="517" y="223"/>
                    <a:pt x="520" y="228"/>
                    <a:pt x="521" y="229"/>
                  </a:cubicBezTo>
                  <a:cubicBezTo>
                    <a:pt x="521" y="230"/>
                    <a:pt x="522" y="229"/>
                    <a:pt x="523" y="229"/>
                  </a:cubicBezTo>
                  <a:cubicBezTo>
                    <a:pt x="525" y="230"/>
                    <a:pt x="526" y="233"/>
                    <a:pt x="528" y="235"/>
                  </a:cubicBezTo>
                  <a:cubicBezTo>
                    <a:pt x="528" y="235"/>
                    <a:pt x="529" y="235"/>
                    <a:pt x="530" y="235"/>
                  </a:cubicBezTo>
                  <a:cubicBezTo>
                    <a:pt x="529" y="234"/>
                    <a:pt x="531" y="233"/>
                    <a:pt x="530" y="231"/>
                  </a:cubicBezTo>
                  <a:cubicBezTo>
                    <a:pt x="530" y="231"/>
                    <a:pt x="527" y="230"/>
                    <a:pt x="527" y="229"/>
                  </a:cubicBezTo>
                  <a:cubicBezTo>
                    <a:pt x="527" y="229"/>
                    <a:pt x="527" y="228"/>
                    <a:pt x="527" y="227"/>
                  </a:cubicBezTo>
                  <a:cubicBezTo>
                    <a:pt x="527" y="227"/>
                    <a:pt x="525" y="226"/>
                    <a:pt x="525" y="226"/>
                  </a:cubicBezTo>
                  <a:cubicBezTo>
                    <a:pt x="525" y="224"/>
                    <a:pt x="526" y="225"/>
                    <a:pt x="526" y="224"/>
                  </a:cubicBezTo>
                  <a:cubicBezTo>
                    <a:pt x="527" y="224"/>
                    <a:pt x="529" y="224"/>
                    <a:pt x="531" y="224"/>
                  </a:cubicBezTo>
                  <a:cubicBezTo>
                    <a:pt x="531" y="223"/>
                    <a:pt x="531" y="223"/>
                    <a:pt x="531" y="223"/>
                  </a:cubicBezTo>
                  <a:cubicBezTo>
                    <a:pt x="531" y="223"/>
                    <a:pt x="534" y="223"/>
                    <a:pt x="534" y="223"/>
                  </a:cubicBezTo>
                  <a:cubicBezTo>
                    <a:pt x="534" y="224"/>
                    <a:pt x="535" y="223"/>
                    <a:pt x="536" y="223"/>
                  </a:cubicBezTo>
                  <a:cubicBezTo>
                    <a:pt x="537" y="224"/>
                    <a:pt x="537" y="226"/>
                    <a:pt x="538" y="227"/>
                  </a:cubicBezTo>
                  <a:cubicBezTo>
                    <a:pt x="542" y="230"/>
                    <a:pt x="542" y="228"/>
                    <a:pt x="545" y="227"/>
                  </a:cubicBezTo>
                  <a:cubicBezTo>
                    <a:pt x="546" y="227"/>
                    <a:pt x="546" y="228"/>
                    <a:pt x="548" y="228"/>
                  </a:cubicBezTo>
                  <a:cubicBezTo>
                    <a:pt x="548" y="228"/>
                    <a:pt x="548" y="227"/>
                    <a:pt x="549" y="227"/>
                  </a:cubicBezTo>
                  <a:cubicBezTo>
                    <a:pt x="548" y="224"/>
                    <a:pt x="548" y="223"/>
                    <a:pt x="548" y="221"/>
                  </a:cubicBezTo>
                  <a:cubicBezTo>
                    <a:pt x="546" y="221"/>
                    <a:pt x="546" y="221"/>
                    <a:pt x="546" y="221"/>
                  </a:cubicBezTo>
                  <a:cubicBezTo>
                    <a:pt x="546" y="222"/>
                    <a:pt x="545" y="223"/>
                    <a:pt x="545" y="223"/>
                  </a:cubicBezTo>
                  <a:cubicBezTo>
                    <a:pt x="544" y="224"/>
                    <a:pt x="544" y="223"/>
                    <a:pt x="543" y="223"/>
                  </a:cubicBezTo>
                  <a:cubicBezTo>
                    <a:pt x="543" y="223"/>
                    <a:pt x="543" y="221"/>
                    <a:pt x="543" y="221"/>
                  </a:cubicBezTo>
                  <a:cubicBezTo>
                    <a:pt x="545" y="220"/>
                    <a:pt x="546" y="220"/>
                    <a:pt x="548" y="219"/>
                  </a:cubicBezTo>
                  <a:cubicBezTo>
                    <a:pt x="549" y="220"/>
                    <a:pt x="550" y="222"/>
                    <a:pt x="550" y="224"/>
                  </a:cubicBezTo>
                  <a:cubicBezTo>
                    <a:pt x="551" y="224"/>
                    <a:pt x="552" y="224"/>
                    <a:pt x="553" y="225"/>
                  </a:cubicBezTo>
                  <a:cubicBezTo>
                    <a:pt x="553" y="223"/>
                    <a:pt x="553" y="223"/>
                    <a:pt x="553" y="223"/>
                  </a:cubicBezTo>
                  <a:cubicBezTo>
                    <a:pt x="553" y="223"/>
                    <a:pt x="555" y="223"/>
                    <a:pt x="556" y="223"/>
                  </a:cubicBezTo>
                  <a:cubicBezTo>
                    <a:pt x="557" y="226"/>
                    <a:pt x="557" y="230"/>
                    <a:pt x="558" y="233"/>
                  </a:cubicBezTo>
                  <a:cubicBezTo>
                    <a:pt x="560" y="233"/>
                    <a:pt x="560" y="233"/>
                    <a:pt x="560" y="233"/>
                  </a:cubicBezTo>
                  <a:cubicBezTo>
                    <a:pt x="560" y="232"/>
                    <a:pt x="560" y="230"/>
                    <a:pt x="560" y="229"/>
                  </a:cubicBezTo>
                  <a:cubicBezTo>
                    <a:pt x="561" y="229"/>
                    <a:pt x="560" y="229"/>
                    <a:pt x="562" y="229"/>
                  </a:cubicBezTo>
                  <a:cubicBezTo>
                    <a:pt x="562" y="229"/>
                    <a:pt x="563" y="228"/>
                    <a:pt x="563" y="228"/>
                  </a:cubicBezTo>
                  <a:cubicBezTo>
                    <a:pt x="564" y="228"/>
                    <a:pt x="564" y="229"/>
                    <a:pt x="566" y="229"/>
                  </a:cubicBezTo>
                  <a:cubicBezTo>
                    <a:pt x="566" y="230"/>
                    <a:pt x="565" y="231"/>
                    <a:pt x="566" y="231"/>
                  </a:cubicBezTo>
                  <a:cubicBezTo>
                    <a:pt x="567" y="232"/>
                    <a:pt x="568" y="231"/>
                    <a:pt x="568" y="231"/>
                  </a:cubicBezTo>
                  <a:cubicBezTo>
                    <a:pt x="568" y="233"/>
                    <a:pt x="567" y="233"/>
                    <a:pt x="567" y="235"/>
                  </a:cubicBezTo>
                  <a:cubicBezTo>
                    <a:pt x="568" y="235"/>
                    <a:pt x="569" y="235"/>
                    <a:pt x="570" y="235"/>
                  </a:cubicBezTo>
                  <a:cubicBezTo>
                    <a:pt x="572" y="231"/>
                    <a:pt x="571" y="232"/>
                    <a:pt x="575" y="232"/>
                  </a:cubicBezTo>
                  <a:cubicBezTo>
                    <a:pt x="576" y="235"/>
                    <a:pt x="576" y="235"/>
                    <a:pt x="576" y="235"/>
                  </a:cubicBezTo>
                  <a:cubicBezTo>
                    <a:pt x="575" y="235"/>
                    <a:pt x="574" y="234"/>
                    <a:pt x="573" y="234"/>
                  </a:cubicBezTo>
                  <a:cubicBezTo>
                    <a:pt x="573" y="235"/>
                    <a:pt x="573" y="235"/>
                    <a:pt x="572" y="235"/>
                  </a:cubicBezTo>
                  <a:cubicBezTo>
                    <a:pt x="572" y="236"/>
                    <a:pt x="572" y="238"/>
                    <a:pt x="572" y="239"/>
                  </a:cubicBezTo>
                  <a:cubicBezTo>
                    <a:pt x="573" y="239"/>
                    <a:pt x="573" y="240"/>
                    <a:pt x="574" y="241"/>
                  </a:cubicBezTo>
                  <a:cubicBezTo>
                    <a:pt x="575" y="241"/>
                    <a:pt x="577" y="241"/>
                    <a:pt x="578" y="241"/>
                  </a:cubicBezTo>
                  <a:cubicBezTo>
                    <a:pt x="579" y="242"/>
                    <a:pt x="579" y="245"/>
                    <a:pt x="578" y="244"/>
                  </a:cubicBezTo>
                  <a:cubicBezTo>
                    <a:pt x="578" y="244"/>
                    <a:pt x="578" y="243"/>
                    <a:pt x="577" y="243"/>
                  </a:cubicBezTo>
                  <a:cubicBezTo>
                    <a:pt x="577" y="243"/>
                    <a:pt x="576" y="243"/>
                    <a:pt x="575" y="243"/>
                  </a:cubicBezTo>
                  <a:cubicBezTo>
                    <a:pt x="575" y="243"/>
                    <a:pt x="575" y="244"/>
                    <a:pt x="575" y="245"/>
                  </a:cubicBezTo>
                  <a:cubicBezTo>
                    <a:pt x="574" y="246"/>
                    <a:pt x="575" y="246"/>
                    <a:pt x="574" y="247"/>
                  </a:cubicBezTo>
                  <a:cubicBezTo>
                    <a:pt x="572" y="246"/>
                    <a:pt x="574" y="251"/>
                    <a:pt x="574" y="251"/>
                  </a:cubicBezTo>
                  <a:cubicBezTo>
                    <a:pt x="574" y="251"/>
                    <a:pt x="576" y="250"/>
                    <a:pt x="576" y="251"/>
                  </a:cubicBezTo>
                  <a:cubicBezTo>
                    <a:pt x="577" y="251"/>
                    <a:pt x="575" y="254"/>
                    <a:pt x="576" y="255"/>
                  </a:cubicBezTo>
                  <a:cubicBezTo>
                    <a:pt x="577" y="254"/>
                    <a:pt x="577" y="255"/>
                    <a:pt x="578" y="255"/>
                  </a:cubicBezTo>
                  <a:cubicBezTo>
                    <a:pt x="580" y="254"/>
                    <a:pt x="584" y="249"/>
                    <a:pt x="585" y="247"/>
                  </a:cubicBezTo>
                  <a:cubicBezTo>
                    <a:pt x="586" y="248"/>
                    <a:pt x="587" y="248"/>
                    <a:pt x="588" y="248"/>
                  </a:cubicBezTo>
                  <a:cubicBezTo>
                    <a:pt x="589" y="248"/>
                    <a:pt x="589" y="245"/>
                    <a:pt x="590" y="245"/>
                  </a:cubicBezTo>
                  <a:cubicBezTo>
                    <a:pt x="591" y="245"/>
                    <a:pt x="591" y="249"/>
                    <a:pt x="591" y="250"/>
                  </a:cubicBezTo>
                  <a:cubicBezTo>
                    <a:pt x="591" y="250"/>
                    <a:pt x="589" y="251"/>
                    <a:pt x="588" y="251"/>
                  </a:cubicBezTo>
                  <a:cubicBezTo>
                    <a:pt x="588" y="252"/>
                    <a:pt x="588" y="253"/>
                    <a:pt x="589" y="253"/>
                  </a:cubicBezTo>
                  <a:cubicBezTo>
                    <a:pt x="589" y="254"/>
                    <a:pt x="589" y="254"/>
                    <a:pt x="589" y="255"/>
                  </a:cubicBezTo>
                  <a:cubicBezTo>
                    <a:pt x="589" y="256"/>
                    <a:pt x="589" y="256"/>
                    <a:pt x="589" y="256"/>
                  </a:cubicBezTo>
                  <a:cubicBezTo>
                    <a:pt x="591" y="256"/>
                    <a:pt x="592" y="256"/>
                    <a:pt x="593" y="256"/>
                  </a:cubicBezTo>
                  <a:cubicBezTo>
                    <a:pt x="593" y="256"/>
                    <a:pt x="595" y="258"/>
                    <a:pt x="593" y="257"/>
                  </a:cubicBezTo>
                  <a:cubicBezTo>
                    <a:pt x="594" y="257"/>
                    <a:pt x="594" y="259"/>
                    <a:pt x="594" y="259"/>
                  </a:cubicBezTo>
                  <a:cubicBezTo>
                    <a:pt x="595" y="260"/>
                    <a:pt x="596" y="259"/>
                    <a:pt x="597" y="260"/>
                  </a:cubicBezTo>
                  <a:cubicBezTo>
                    <a:pt x="597" y="263"/>
                    <a:pt x="596" y="263"/>
                    <a:pt x="597" y="267"/>
                  </a:cubicBezTo>
                  <a:cubicBezTo>
                    <a:pt x="599" y="267"/>
                    <a:pt x="599" y="267"/>
                    <a:pt x="599" y="267"/>
                  </a:cubicBezTo>
                  <a:cubicBezTo>
                    <a:pt x="599" y="268"/>
                    <a:pt x="598" y="269"/>
                    <a:pt x="598" y="271"/>
                  </a:cubicBezTo>
                  <a:cubicBezTo>
                    <a:pt x="598" y="271"/>
                    <a:pt x="600" y="271"/>
                    <a:pt x="601" y="271"/>
                  </a:cubicBezTo>
                  <a:cubicBezTo>
                    <a:pt x="601" y="271"/>
                    <a:pt x="600" y="273"/>
                    <a:pt x="601" y="273"/>
                  </a:cubicBezTo>
                  <a:cubicBezTo>
                    <a:pt x="600" y="273"/>
                    <a:pt x="600" y="273"/>
                    <a:pt x="600" y="275"/>
                  </a:cubicBezTo>
                  <a:cubicBezTo>
                    <a:pt x="598" y="275"/>
                    <a:pt x="599" y="274"/>
                    <a:pt x="597" y="274"/>
                  </a:cubicBezTo>
                  <a:cubicBezTo>
                    <a:pt x="597" y="275"/>
                    <a:pt x="596" y="274"/>
                    <a:pt x="595" y="275"/>
                  </a:cubicBezTo>
                  <a:cubicBezTo>
                    <a:pt x="593" y="280"/>
                    <a:pt x="596" y="282"/>
                    <a:pt x="599" y="283"/>
                  </a:cubicBezTo>
                  <a:cubicBezTo>
                    <a:pt x="595" y="283"/>
                    <a:pt x="593" y="285"/>
                    <a:pt x="591" y="288"/>
                  </a:cubicBezTo>
                  <a:cubicBezTo>
                    <a:pt x="590" y="289"/>
                    <a:pt x="590" y="291"/>
                    <a:pt x="589" y="292"/>
                  </a:cubicBezTo>
                  <a:cubicBezTo>
                    <a:pt x="587" y="293"/>
                    <a:pt x="586" y="293"/>
                    <a:pt x="584" y="294"/>
                  </a:cubicBezTo>
                  <a:cubicBezTo>
                    <a:pt x="584" y="294"/>
                    <a:pt x="584" y="296"/>
                    <a:pt x="584" y="296"/>
                  </a:cubicBezTo>
                  <a:cubicBezTo>
                    <a:pt x="585" y="297"/>
                    <a:pt x="587" y="300"/>
                    <a:pt x="587" y="300"/>
                  </a:cubicBezTo>
                  <a:cubicBezTo>
                    <a:pt x="588" y="300"/>
                    <a:pt x="589" y="299"/>
                    <a:pt x="589" y="300"/>
                  </a:cubicBezTo>
                  <a:cubicBezTo>
                    <a:pt x="590" y="301"/>
                    <a:pt x="590" y="302"/>
                    <a:pt x="590" y="303"/>
                  </a:cubicBezTo>
                  <a:cubicBezTo>
                    <a:pt x="591" y="304"/>
                    <a:pt x="593" y="305"/>
                    <a:pt x="594" y="306"/>
                  </a:cubicBezTo>
                  <a:cubicBezTo>
                    <a:pt x="595" y="308"/>
                    <a:pt x="595" y="309"/>
                    <a:pt x="595" y="310"/>
                  </a:cubicBezTo>
                  <a:cubicBezTo>
                    <a:pt x="593" y="310"/>
                    <a:pt x="589" y="310"/>
                    <a:pt x="585" y="311"/>
                  </a:cubicBezTo>
                  <a:cubicBezTo>
                    <a:pt x="584" y="311"/>
                    <a:pt x="582" y="313"/>
                    <a:pt x="582" y="313"/>
                  </a:cubicBezTo>
                  <a:cubicBezTo>
                    <a:pt x="580" y="313"/>
                    <a:pt x="580" y="312"/>
                    <a:pt x="577" y="312"/>
                  </a:cubicBezTo>
                  <a:cubicBezTo>
                    <a:pt x="577" y="312"/>
                    <a:pt x="576" y="312"/>
                    <a:pt x="575" y="312"/>
                  </a:cubicBezTo>
                  <a:cubicBezTo>
                    <a:pt x="575" y="314"/>
                    <a:pt x="575" y="314"/>
                    <a:pt x="575" y="314"/>
                  </a:cubicBezTo>
                  <a:cubicBezTo>
                    <a:pt x="574" y="314"/>
                    <a:pt x="573" y="312"/>
                    <a:pt x="572" y="312"/>
                  </a:cubicBezTo>
                  <a:cubicBezTo>
                    <a:pt x="572" y="313"/>
                    <a:pt x="572" y="313"/>
                    <a:pt x="572" y="313"/>
                  </a:cubicBezTo>
                  <a:cubicBezTo>
                    <a:pt x="571" y="313"/>
                    <a:pt x="571" y="314"/>
                    <a:pt x="571" y="314"/>
                  </a:cubicBezTo>
                  <a:cubicBezTo>
                    <a:pt x="570" y="315"/>
                    <a:pt x="569" y="314"/>
                    <a:pt x="568" y="314"/>
                  </a:cubicBezTo>
                  <a:cubicBezTo>
                    <a:pt x="567" y="316"/>
                    <a:pt x="567" y="316"/>
                    <a:pt x="567" y="316"/>
                  </a:cubicBezTo>
                  <a:cubicBezTo>
                    <a:pt x="565" y="316"/>
                    <a:pt x="564" y="315"/>
                    <a:pt x="563" y="314"/>
                  </a:cubicBezTo>
                  <a:cubicBezTo>
                    <a:pt x="561" y="314"/>
                    <a:pt x="557" y="314"/>
                    <a:pt x="555" y="314"/>
                  </a:cubicBezTo>
                  <a:cubicBezTo>
                    <a:pt x="554" y="316"/>
                    <a:pt x="552" y="320"/>
                    <a:pt x="552" y="321"/>
                  </a:cubicBezTo>
                  <a:cubicBezTo>
                    <a:pt x="552" y="323"/>
                    <a:pt x="553" y="322"/>
                    <a:pt x="554" y="323"/>
                  </a:cubicBezTo>
                  <a:cubicBezTo>
                    <a:pt x="552" y="325"/>
                    <a:pt x="552" y="327"/>
                    <a:pt x="550" y="328"/>
                  </a:cubicBezTo>
                  <a:cubicBezTo>
                    <a:pt x="550" y="328"/>
                    <a:pt x="551" y="331"/>
                    <a:pt x="552" y="332"/>
                  </a:cubicBezTo>
                  <a:cubicBezTo>
                    <a:pt x="553" y="333"/>
                    <a:pt x="554" y="332"/>
                    <a:pt x="556" y="333"/>
                  </a:cubicBezTo>
                  <a:cubicBezTo>
                    <a:pt x="556" y="334"/>
                    <a:pt x="556" y="334"/>
                    <a:pt x="556" y="334"/>
                  </a:cubicBezTo>
                  <a:cubicBezTo>
                    <a:pt x="558" y="335"/>
                    <a:pt x="557" y="333"/>
                    <a:pt x="559" y="334"/>
                  </a:cubicBezTo>
                  <a:cubicBezTo>
                    <a:pt x="560" y="335"/>
                    <a:pt x="560" y="335"/>
                    <a:pt x="560" y="335"/>
                  </a:cubicBezTo>
                  <a:cubicBezTo>
                    <a:pt x="562" y="335"/>
                    <a:pt x="563" y="335"/>
                    <a:pt x="566" y="334"/>
                  </a:cubicBezTo>
                  <a:cubicBezTo>
                    <a:pt x="566" y="332"/>
                    <a:pt x="566" y="332"/>
                    <a:pt x="566" y="332"/>
                  </a:cubicBezTo>
                  <a:cubicBezTo>
                    <a:pt x="567" y="332"/>
                    <a:pt x="568" y="333"/>
                    <a:pt x="570" y="332"/>
                  </a:cubicBezTo>
                  <a:cubicBezTo>
                    <a:pt x="570" y="331"/>
                    <a:pt x="569" y="330"/>
                    <a:pt x="570" y="330"/>
                  </a:cubicBezTo>
                  <a:cubicBezTo>
                    <a:pt x="570" y="330"/>
                    <a:pt x="571" y="329"/>
                    <a:pt x="572" y="329"/>
                  </a:cubicBezTo>
                  <a:cubicBezTo>
                    <a:pt x="572" y="328"/>
                    <a:pt x="572" y="327"/>
                    <a:pt x="573" y="326"/>
                  </a:cubicBezTo>
                  <a:cubicBezTo>
                    <a:pt x="574" y="329"/>
                    <a:pt x="574" y="329"/>
                    <a:pt x="574" y="329"/>
                  </a:cubicBezTo>
                  <a:cubicBezTo>
                    <a:pt x="575" y="329"/>
                    <a:pt x="578" y="331"/>
                    <a:pt x="579" y="330"/>
                  </a:cubicBezTo>
                  <a:cubicBezTo>
                    <a:pt x="579" y="330"/>
                    <a:pt x="579" y="329"/>
                    <a:pt x="580" y="329"/>
                  </a:cubicBezTo>
                  <a:cubicBezTo>
                    <a:pt x="580" y="329"/>
                    <a:pt x="580" y="327"/>
                    <a:pt x="580" y="327"/>
                  </a:cubicBezTo>
                  <a:cubicBezTo>
                    <a:pt x="579" y="326"/>
                    <a:pt x="577" y="325"/>
                    <a:pt x="576" y="324"/>
                  </a:cubicBezTo>
                  <a:cubicBezTo>
                    <a:pt x="576" y="323"/>
                    <a:pt x="576" y="323"/>
                    <a:pt x="576" y="323"/>
                  </a:cubicBezTo>
                  <a:cubicBezTo>
                    <a:pt x="578" y="322"/>
                    <a:pt x="577" y="322"/>
                    <a:pt x="578" y="321"/>
                  </a:cubicBezTo>
                  <a:cubicBezTo>
                    <a:pt x="579" y="321"/>
                    <a:pt x="579" y="321"/>
                    <a:pt x="579" y="321"/>
                  </a:cubicBezTo>
                  <a:cubicBezTo>
                    <a:pt x="580" y="322"/>
                    <a:pt x="579" y="323"/>
                    <a:pt x="579" y="324"/>
                  </a:cubicBezTo>
                  <a:cubicBezTo>
                    <a:pt x="580" y="324"/>
                    <a:pt x="581" y="326"/>
                    <a:pt x="581" y="326"/>
                  </a:cubicBezTo>
                  <a:cubicBezTo>
                    <a:pt x="583" y="326"/>
                    <a:pt x="583" y="326"/>
                    <a:pt x="584" y="326"/>
                  </a:cubicBezTo>
                  <a:cubicBezTo>
                    <a:pt x="585" y="326"/>
                    <a:pt x="585" y="323"/>
                    <a:pt x="584" y="323"/>
                  </a:cubicBezTo>
                  <a:cubicBezTo>
                    <a:pt x="585" y="323"/>
                    <a:pt x="586" y="324"/>
                    <a:pt x="586" y="324"/>
                  </a:cubicBezTo>
                  <a:cubicBezTo>
                    <a:pt x="586" y="324"/>
                    <a:pt x="586" y="326"/>
                    <a:pt x="586" y="326"/>
                  </a:cubicBezTo>
                  <a:cubicBezTo>
                    <a:pt x="587" y="326"/>
                    <a:pt x="588" y="326"/>
                    <a:pt x="589" y="327"/>
                  </a:cubicBezTo>
                  <a:cubicBezTo>
                    <a:pt x="589" y="327"/>
                    <a:pt x="589" y="329"/>
                    <a:pt x="589" y="330"/>
                  </a:cubicBezTo>
                  <a:cubicBezTo>
                    <a:pt x="589" y="329"/>
                    <a:pt x="590" y="327"/>
                    <a:pt x="591" y="327"/>
                  </a:cubicBezTo>
                  <a:cubicBezTo>
                    <a:pt x="591" y="327"/>
                    <a:pt x="593" y="327"/>
                    <a:pt x="593" y="327"/>
                  </a:cubicBezTo>
                  <a:cubicBezTo>
                    <a:pt x="594" y="328"/>
                    <a:pt x="595" y="334"/>
                    <a:pt x="596" y="335"/>
                  </a:cubicBezTo>
                  <a:cubicBezTo>
                    <a:pt x="596" y="335"/>
                    <a:pt x="598" y="335"/>
                    <a:pt x="599" y="335"/>
                  </a:cubicBezTo>
                  <a:cubicBezTo>
                    <a:pt x="599" y="337"/>
                    <a:pt x="600" y="340"/>
                    <a:pt x="600" y="342"/>
                  </a:cubicBezTo>
                  <a:cubicBezTo>
                    <a:pt x="602" y="342"/>
                    <a:pt x="602" y="342"/>
                    <a:pt x="603" y="341"/>
                  </a:cubicBezTo>
                  <a:cubicBezTo>
                    <a:pt x="603" y="343"/>
                    <a:pt x="603" y="343"/>
                    <a:pt x="603" y="343"/>
                  </a:cubicBezTo>
                  <a:cubicBezTo>
                    <a:pt x="605" y="344"/>
                    <a:pt x="605" y="344"/>
                    <a:pt x="605" y="344"/>
                  </a:cubicBezTo>
                  <a:cubicBezTo>
                    <a:pt x="605" y="343"/>
                    <a:pt x="605" y="344"/>
                    <a:pt x="606" y="344"/>
                  </a:cubicBezTo>
                  <a:cubicBezTo>
                    <a:pt x="606" y="343"/>
                    <a:pt x="606" y="341"/>
                    <a:pt x="606" y="341"/>
                  </a:cubicBezTo>
                  <a:cubicBezTo>
                    <a:pt x="607" y="341"/>
                    <a:pt x="608" y="342"/>
                    <a:pt x="608" y="342"/>
                  </a:cubicBezTo>
                  <a:cubicBezTo>
                    <a:pt x="608" y="342"/>
                    <a:pt x="610" y="342"/>
                    <a:pt x="610" y="342"/>
                  </a:cubicBezTo>
                  <a:cubicBezTo>
                    <a:pt x="610" y="343"/>
                    <a:pt x="611" y="343"/>
                    <a:pt x="611" y="344"/>
                  </a:cubicBezTo>
                  <a:cubicBezTo>
                    <a:pt x="610" y="344"/>
                    <a:pt x="610" y="344"/>
                    <a:pt x="610" y="346"/>
                  </a:cubicBezTo>
                  <a:cubicBezTo>
                    <a:pt x="608" y="346"/>
                    <a:pt x="606" y="347"/>
                    <a:pt x="604" y="347"/>
                  </a:cubicBezTo>
                  <a:cubicBezTo>
                    <a:pt x="604" y="348"/>
                    <a:pt x="604" y="348"/>
                    <a:pt x="604" y="348"/>
                  </a:cubicBezTo>
                  <a:cubicBezTo>
                    <a:pt x="605" y="349"/>
                    <a:pt x="606" y="348"/>
                    <a:pt x="607" y="348"/>
                  </a:cubicBezTo>
                  <a:cubicBezTo>
                    <a:pt x="608" y="349"/>
                    <a:pt x="610" y="351"/>
                    <a:pt x="610" y="351"/>
                  </a:cubicBezTo>
                  <a:cubicBezTo>
                    <a:pt x="612" y="351"/>
                    <a:pt x="612" y="349"/>
                    <a:pt x="613" y="349"/>
                  </a:cubicBezTo>
                  <a:cubicBezTo>
                    <a:pt x="614" y="349"/>
                    <a:pt x="614" y="350"/>
                    <a:pt x="615" y="351"/>
                  </a:cubicBezTo>
                  <a:cubicBezTo>
                    <a:pt x="617" y="351"/>
                    <a:pt x="619" y="351"/>
                    <a:pt x="621" y="351"/>
                  </a:cubicBezTo>
                  <a:cubicBezTo>
                    <a:pt x="621" y="350"/>
                    <a:pt x="622" y="348"/>
                    <a:pt x="622" y="348"/>
                  </a:cubicBezTo>
                  <a:cubicBezTo>
                    <a:pt x="623" y="348"/>
                    <a:pt x="623" y="349"/>
                    <a:pt x="624" y="350"/>
                  </a:cubicBezTo>
                  <a:cubicBezTo>
                    <a:pt x="625" y="350"/>
                    <a:pt x="625" y="349"/>
                    <a:pt x="626" y="349"/>
                  </a:cubicBezTo>
                  <a:cubicBezTo>
                    <a:pt x="628" y="349"/>
                    <a:pt x="631" y="350"/>
                    <a:pt x="633" y="351"/>
                  </a:cubicBezTo>
                  <a:cubicBezTo>
                    <a:pt x="634" y="350"/>
                    <a:pt x="634" y="349"/>
                    <a:pt x="635" y="349"/>
                  </a:cubicBezTo>
                  <a:cubicBezTo>
                    <a:pt x="635" y="349"/>
                    <a:pt x="637" y="351"/>
                    <a:pt x="637" y="351"/>
                  </a:cubicBezTo>
                  <a:cubicBezTo>
                    <a:pt x="640" y="352"/>
                    <a:pt x="642" y="350"/>
                    <a:pt x="644" y="350"/>
                  </a:cubicBezTo>
                  <a:cubicBezTo>
                    <a:pt x="645" y="350"/>
                    <a:pt x="647" y="353"/>
                    <a:pt x="649" y="353"/>
                  </a:cubicBezTo>
                  <a:cubicBezTo>
                    <a:pt x="650" y="353"/>
                    <a:pt x="649" y="352"/>
                    <a:pt x="651" y="352"/>
                  </a:cubicBezTo>
                  <a:cubicBezTo>
                    <a:pt x="651" y="352"/>
                    <a:pt x="654" y="354"/>
                    <a:pt x="655" y="354"/>
                  </a:cubicBezTo>
                  <a:cubicBezTo>
                    <a:pt x="657" y="353"/>
                    <a:pt x="656" y="352"/>
                    <a:pt x="657" y="350"/>
                  </a:cubicBezTo>
                  <a:cubicBezTo>
                    <a:pt x="657" y="348"/>
                    <a:pt x="657" y="348"/>
                    <a:pt x="657" y="348"/>
                  </a:cubicBezTo>
                  <a:cubicBezTo>
                    <a:pt x="658" y="349"/>
                    <a:pt x="657" y="347"/>
                    <a:pt x="657" y="347"/>
                  </a:cubicBezTo>
                  <a:cubicBezTo>
                    <a:pt x="654" y="346"/>
                    <a:pt x="652" y="347"/>
                    <a:pt x="649" y="346"/>
                  </a:cubicBezTo>
                  <a:cubicBezTo>
                    <a:pt x="648" y="345"/>
                    <a:pt x="649" y="344"/>
                    <a:pt x="649" y="343"/>
                  </a:cubicBezTo>
                  <a:cubicBezTo>
                    <a:pt x="647" y="343"/>
                    <a:pt x="647" y="343"/>
                    <a:pt x="647" y="343"/>
                  </a:cubicBezTo>
                  <a:cubicBezTo>
                    <a:pt x="647" y="343"/>
                    <a:pt x="645" y="341"/>
                    <a:pt x="645" y="340"/>
                  </a:cubicBezTo>
                  <a:cubicBezTo>
                    <a:pt x="643" y="340"/>
                    <a:pt x="640" y="341"/>
                    <a:pt x="639" y="340"/>
                  </a:cubicBezTo>
                  <a:cubicBezTo>
                    <a:pt x="639" y="340"/>
                    <a:pt x="639" y="338"/>
                    <a:pt x="639" y="338"/>
                  </a:cubicBezTo>
                  <a:cubicBezTo>
                    <a:pt x="638" y="338"/>
                    <a:pt x="638" y="338"/>
                    <a:pt x="638" y="338"/>
                  </a:cubicBezTo>
                  <a:cubicBezTo>
                    <a:pt x="634" y="336"/>
                    <a:pt x="631" y="333"/>
                    <a:pt x="627" y="330"/>
                  </a:cubicBezTo>
                  <a:cubicBezTo>
                    <a:pt x="627" y="330"/>
                    <a:pt x="627" y="328"/>
                    <a:pt x="627" y="329"/>
                  </a:cubicBezTo>
                  <a:cubicBezTo>
                    <a:pt x="627" y="329"/>
                    <a:pt x="629" y="327"/>
                    <a:pt x="629" y="327"/>
                  </a:cubicBezTo>
                  <a:cubicBezTo>
                    <a:pt x="632" y="326"/>
                    <a:pt x="637" y="331"/>
                    <a:pt x="639" y="331"/>
                  </a:cubicBezTo>
                  <a:cubicBezTo>
                    <a:pt x="639" y="331"/>
                    <a:pt x="639" y="329"/>
                    <a:pt x="639" y="328"/>
                  </a:cubicBezTo>
                  <a:cubicBezTo>
                    <a:pt x="641" y="328"/>
                    <a:pt x="641" y="328"/>
                    <a:pt x="641" y="328"/>
                  </a:cubicBezTo>
                  <a:cubicBezTo>
                    <a:pt x="643" y="329"/>
                    <a:pt x="644" y="332"/>
                    <a:pt x="646" y="332"/>
                  </a:cubicBezTo>
                  <a:cubicBezTo>
                    <a:pt x="647" y="332"/>
                    <a:pt x="647" y="330"/>
                    <a:pt x="647" y="330"/>
                  </a:cubicBezTo>
                  <a:cubicBezTo>
                    <a:pt x="650" y="330"/>
                    <a:pt x="652" y="330"/>
                    <a:pt x="654" y="330"/>
                  </a:cubicBezTo>
                  <a:cubicBezTo>
                    <a:pt x="655" y="331"/>
                    <a:pt x="655" y="332"/>
                    <a:pt x="655" y="333"/>
                  </a:cubicBezTo>
                  <a:cubicBezTo>
                    <a:pt x="656" y="333"/>
                    <a:pt x="656" y="332"/>
                    <a:pt x="657" y="332"/>
                  </a:cubicBezTo>
                  <a:cubicBezTo>
                    <a:pt x="659" y="333"/>
                    <a:pt x="660" y="334"/>
                    <a:pt x="661" y="337"/>
                  </a:cubicBezTo>
                  <a:cubicBezTo>
                    <a:pt x="662" y="337"/>
                    <a:pt x="664" y="336"/>
                    <a:pt x="665" y="336"/>
                  </a:cubicBezTo>
                  <a:cubicBezTo>
                    <a:pt x="664" y="335"/>
                    <a:pt x="664" y="335"/>
                    <a:pt x="664" y="335"/>
                  </a:cubicBezTo>
                  <a:cubicBezTo>
                    <a:pt x="664" y="335"/>
                    <a:pt x="663" y="335"/>
                    <a:pt x="662" y="336"/>
                  </a:cubicBezTo>
                  <a:cubicBezTo>
                    <a:pt x="661" y="334"/>
                    <a:pt x="660" y="332"/>
                    <a:pt x="660" y="330"/>
                  </a:cubicBezTo>
                  <a:cubicBezTo>
                    <a:pt x="659" y="330"/>
                    <a:pt x="658" y="331"/>
                    <a:pt x="657" y="330"/>
                  </a:cubicBezTo>
                  <a:cubicBezTo>
                    <a:pt x="657" y="330"/>
                    <a:pt x="657" y="328"/>
                    <a:pt x="657" y="328"/>
                  </a:cubicBezTo>
                  <a:cubicBezTo>
                    <a:pt x="663" y="328"/>
                    <a:pt x="662" y="330"/>
                    <a:pt x="661" y="324"/>
                  </a:cubicBezTo>
                  <a:cubicBezTo>
                    <a:pt x="660" y="324"/>
                    <a:pt x="659" y="323"/>
                    <a:pt x="661" y="323"/>
                  </a:cubicBezTo>
                  <a:cubicBezTo>
                    <a:pt x="661" y="323"/>
                    <a:pt x="662" y="324"/>
                    <a:pt x="663" y="324"/>
                  </a:cubicBezTo>
                  <a:cubicBezTo>
                    <a:pt x="664" y="324"/>
                    <a:pt x="664" y="323"/>
                    <a:pt x="665" y="322"/>
                  </a:cubicBezTo>
                  <a:cubicBezTo>
                    <a:pt x="663" y="320"/>
                    <a:pt x="663" y="318"/>
                    <a:pt x="661" y="315"/>
                  </a:cubicBezTo>
                  <a:cubicBezTo>
                    <a:pt x="659" y="316"/>
                    <a:pt x="660" y="314"/>
                    <a:pt x="659" y="314"/>
                  </a:cubicBezTo>
                  <a:cubicBezTo>
                    <a:pt x="659" y="314"/>
                    <a:pt x="657" y="316"/>
                    <a:pt x="659" y="316"/>
                  </a:cubicBezTo>
                  <a:cubicBezTo>
                    <a:pt x="659" y="317"/>
                    <a:pt x="659" y="318"/>
                    <a:pt x="660" y="318"/>
                  </a:cubicBezTo>
                  <a:cubicBezTo>
                    <a:pt x="660" y="318"/>
                    <a:pt x="660" y="319"/>
                    <a:pt x="659" y="318"/>
                  </a:cubicBezTo>
                  <a:cubicBezTo>
                    <a:pt x="657" y="318"/>
                    <a:pt x="658" y="317"/>
                    <a:pt x="657" y="315"/>
                  </a:cubicBezTo>
                  <a:cubicBezTo>
                    <a:pt x="656" y="315"/>
                    <a:pt x="656" y="316"/>
                    <a:pt x="655" y="316"/>
                  </a:cubicBezTo>
                  <a:cubicBezTo>
                    <a:pt x="654" y="316"/>
                    <a:pt x="655" y="314"/>
                    <a:pt x="655" y="314"/>
                  </a:cubicBezTo>
                  <a:cubicBezTo>
                    <a:pt x="654" y="313"/>
                    <a:pt x="652" y="312"/>
                    <a:pt x="652" y="312"/>
                  </a:cubicBezTo>
                  <a:cubicBezTo>
                    <a:pt x="651" y="311"/>
                    <a:pt x="649" y="312"/>
                    <a:pt x="649" y="312"/>
                  </a:cubicBezTo>
                  <a:cubicBezTo>
                    <a:pt x="648" y="311"/>
                    <a:pt x="648" y="310"/>
                    <a:pt x="648" y="309"/>
                  </a:cubicBezTo>
                  <a:cubicBezTo>
                    <a:pt x="648" y="308"/>
                    <a:pt x="646" y="308"/>
                    <a:pt x="645" y="308"/>
                  </a:cubicBezTo>
                  <a:cubicBezTo>
                    <a:pt x="644" y="306"/>
                    <a:pt x="644" y="304"/>
                    <a:pt x="643" y="301"/>
                  </a:cubicBezTo>
                  <a:cubicBezTo>
                    <a:pt x="638" y="302"/>
                    <a:pt x="638" y="300"/>
                    <a:pt x="636" y="294"/>
                  </a:cubicBezTo>
                  <a:cubicBezTo>
                    <a:pt x="637" y="295"/>
                    <a:pt x="637" y="294"/>
                    <a:pt x="639" y="294"/>
                  </a:cubicBezTo>
                  <a:cubicBezTo>
                    <a:pt x="639" y="296"/>
                    <a:pt x="639" y="296"/>
                    <a:pt x="639" y="296"/>
                  </a:cubicBezTo>
                  <a:cubicBezTo>
                    <a:pt x="640" y="296"/>
                    <a:pt x="642" y="296"/>
                    <a:pt x="643" y="296"/>
                  </a:cubicBezTo>
                  <a:cubicBezTo>
                    <a:pt x="643" y="296"/>
                    <a:pt x="643" y="294"/>
                    <a:pt x="643" y="294"/>
                  </a:cubicBezTo>
                  <a:cubicBezTo>
                    <a:pt x="643" y="294"/>
                    <a:pt x="641" y="294"/>
                    <a:pt x="642" y="293"/>
                  </a:cubicBezTo>
                  <a:cubicBezTo>
                    <a:pt x="641" y="293"/>
                    <a:pt x="641" y="293"/>
                    <a:pt x="641" y="293"/>
                  </a:cubicBezTo>
                  <a:cubicBezTo>
                    <a:pt x="640" y="291"/>
                    <a:pt x="639" y="290"/>
                    <a:pt x="639" y="286"/>
                  </a:cubicBezTo>
                  <a:cubicBezTo>
                    <a:pt x="639" y="287"/>
                    <a:pt x="640" y="287"/>
                    <a:pt x="641" y="287"/>
                  </a:cubicBezTo>
                  <a:cubicBezTo>
                    <a:pt x="641" y="289"/>
                    <a:pt x="641" y="290"/>
                    <a:pt x="642" y="291"/>
                  </a:cubicBezTo>
                  <a:cubicBezTo>
                    <a:pt x="644" y="290"/>
                    <a:pt x="644" y="290"/>
                    <a:pt x="644" y="290"/>
                  </a:cubicBezTo>
                  <a:cubicBezTo>
                    <a:pt x="644" y="289"/>
                    <a:pt x="644" y="289"/>
                    <a:pt x="644" y="289"/>
                  </a:cubicBezTo>
                  <a:cubicBezTo>
                    <a:pt x="644" y="289"/>
                    <a:pt x="644" y="288"/>
                    <a:pt x="644" y="286"/>
                  </a:cubicBezTo>
                  <a:cubicBezTo>
                    <a:pt x="643" y="285"/>
                    <a:pt x="641" y="284"/>
                    <a:pt x="643" y="284"/>
                  </a:cubicBezTo>
                  <a:cubicBezTo>
                    <a:pt x="645" y="286"/>
                    <a:pt x="645" y="286"/>
                    <a:pt x="645" y="286"/>
                  </a:cubicBezTo>
                  <a:cubicBezTo>
                    <a:pt x="645" y="286"/>
                    <a:pt x="646" y="284"/>
                    <a:pt x="647" y="285"/>
                  </a:cubicBezTo>
                  <a:cubicBezTo>
                    <a:pt x="648" y="286"/>
                    <a:pt x="646" y="287"/>
                    <a:pt x="647" y="288"/>
                  </a:cubicBezTo>
                  <a:cubicBezTo>
                    <a:pt x="647" y="289"/>
                    <a:pt x="648" y="289"/>
                    <a:pt x="649" y="289"/>
                  </a:cubicBezTo>
                  <a:cubicBezTo>
                    <a:pt x="650" y="290"/>
                    <a:pt x="649" y="293"/>
                    <a:pt x="650" y="294"/>
                  </a:cubicBezTo>
                  <a:cubicBezTo>
                    <a:pt x="651" y="295"/>
                    <a:pt x="651" y="294"/>
                    <a:pt x="653" y="294"/>
                  </a:cubicBezTo>
                  <a:cubicBezTo>
                    <a:pt x="653" y="295"/>
                    <a:pt x="655" y="296"/>
                    <a:pt x="655" y="296"/>
                  </a:cubicBezTo>
                  <a:cubicBezTo>
                    <a:pt x="658" y="297"/>
                    <a:pt x="661" y="295"/>
                    <a:pt x="663" y="294"/>
                  </a:cubicBezTo>
                  <a:cubicBezTo>
                    <a:pt x="662" y="295"/>
                    <a:pt x="662" y="297"/>
                    <a:pt x="661" y="297"/>
                  </a:cubicBezTo>
                  <a:cubicBezTo>
                    <a:pt x="660" y="298"/>
                    <a:pt x="660" y="297"/>
                    <a:pt x="659" y="298"/>
                  </a:cubicBezTo>
                  <a:cubicBezTo>
                    <a:pt x="659" y="299"/>
                    <a:pt x="659" y="299"/>
                    <a:pt x="659" y="299"/>
                  </a:cubicBezTo>
                  <a:cubicBezTo>
                    <a:pt x="660" y="299"/>
                    <a:pt x="663" y="298"/>
                    <a:pt x="663" y="298"/>
                  </a:cubicBezTo>
                  <a:cubicBezTo>
                    <a:pt x="663" y="301"/>
                    <a:pt x="663" y="301"/>
                    <a:pt x="663" y="301"/>
                  </a:cubicBezTo>
                  <a:cubicBezTo>
                    <a:pt x="663" y="301"/>
                    <a:pt x="664" y="301"/>
                    <a:pt x="665" y="301"/>
                  </a:cubicBezTo>
                  <a:cubicBezTo>
                    <a:pt x="664" y="301"/>
                    <a:pt x="667" y="300"/>
                    <a:pt x="667" y="300"/>
                  </a:cubicBezTo>
                  <a:cubicBezTo>
                    <a:pt x="666" y="301"/>
                    <a:pt x="666" y="303"/>
                    <a:pt x="665" y="303"/>
                  </a:cubicBezTo>
                  <a:cubicBezTo>
                    <a:pt x="664" y="303"/>
                    <a:pt x="665" y="304"/>
                    <a:pt x="665" y="304"/>
                  </a:cubicBezTo>
                  <a:cubicBezTo>
                    <a:pt x="666" y="304"/>
                    <a:pt x="675" y="302"/>
                    <a:pt x="669" y="306"/>
                  </a:cubicBezTo>
                  <a:cubicBezTo>
                    <a:pt x="667" y="307"/>
                    <a:pt x="668" y="307"/>
                    <a:pt x="670" y="308"/>
                  </a:cubicBezTo>
                  <a:cubicBezTo>
                    <a:pt x="671" y="308"/>
                    <a:pt x="671" y="307"/>
                    <a:pt x="672" y="306"/>
                  </a:cubicBezTo>
                  <a:cubicBezTo>
                    <a:pt x="672" y="307"/>
                    <a:pt x="672" y="308"/>
                    <a:pt x="672" y="308"/>
                  </a:cubicBezTo>
                  <a:cubicBezTo>
                    <a:pt x="673" y="309"/>
                    <a:pt x="673" y="310"/>
                    <a:pt x="674" y="310"/>
                  </a:cubicBezTo>
                  <a:cubicBezTo>
                    <a:pt x="675" y="311"/>
                    <a:pt x="675" y="309"/>
                    <a:pt x="677" y="310"/>
                  </a:cubicBezTo>
                  <a:cubicBezTo>
                    <a:pt x="677" y="311"/>
                    <a:pt x="677" y="311"/>
                    <a:pt x="677" y="311"/>
                  </a:cubicBezTo>
                  <a:cubicBezTo>
                    <a:pt x="681" y="311"/>
                    <a:pt x="678" y="311"/>
                    <a:pt x="679" y="310"/>
                  </a:cubicBezTo>
                  <a:cubicBezTo>
                    <a:pt x="683" y="307"/>
                    <a:pt x="680" y="308"/>
                    <a:pt x="679" y="305"/>
                  </a:cubicBezTo>
                  <a:cubicBezTo>
                    <a:pt x="679" y="304"/>
                    <a:pt x="679" y="303"/>
                    <a:pt x="679" y="302"/>
                  </a:cubicBezTo>
                  <a:cubicBezTo>
                    <a:pt x="679" y="302"/>
                    <a:pt x="677" y="302"/>
                    <a:pt x="677" y="302"/>
                  </a:cubicBezTo>
                  <a:cubicBezTo>
                    <a:pt x="677" y="301"/>
                    <a:pt x="679" y="298"/>
                    <a:pt x="679" y="299"/>
                  </a:cubicBezTo>
                  <a:cubicBezTo>
                    <a:pt x="679" y="299"/>
                    <a:pt x="679" y="300"/>
                    <a:pt x="680" y="301"/>
                  </a:cubicBezTo>
                  <a:cubicBezTo>
                    <a:pt x="680" y="301"/>
                    <a:pt x="684" y="300"/>
                    <a:pt x="683" y="300"/>
                  </a:cubicBezTo>
                  <a:cubicBezTo>
                    <a:pt x="684" y="300"/>
                    <a:pt x="684" y="300"/>
                    <a:pt x="686" y="300"/>
                  </a:cubicBezTo>
                  <a:cubicBezTo>
                    <a:pt x="685" y="300"/>
                    <a:pt x="686" y="299"/>
                    <a:pt x="686" y="298"/>
                  </a:cubicBezTo>
                  <a:cubicBezTo>
                    <a:pt x="686" y="298"/>
                    <a:pt x="685" y="298"/>
                    <a:pt x="684" y="298"/>
                  </a:cubicBezTo>
                  <a:cubicBezTo>
                    <a:pt x="684" y="296"/>
                    <a:pt x="684" y="296"/>
                    <a:pt x="684" y="296"/>
                  </a:cubicBezTo>
                  <a:cubicBezTo>
                    <a:pt x="682" y="295"/>
                    <a:pt x="684" y="296"/>
                    <a:pt x="686" y="296"/>
                  </a:cubicBezTo>
                  <a:cubicBezTo>
                    <a:pt x="686" y="294"/>
                    <a:pt x="686" y="294"/>
                    <a:pt x="686" y="294"/>
                  </a:cubicBezTo>
                  <a:cubicBezTo>
                    <a:pt x="685" y="294"/>
                    <a:pt x="685" y="294"/>
                    <a:pt x="685" y="294"/>
                  </a:cubicBezTo>
                  <a:cubicBezTo>
                    <a:pt x="685" y="294"/>
                    <a:pt x="685" y="291"/>
                    <a:pt x="685" y="291"/>
                  </a:cubicBezTo>
                  <a:cubicBezTo>
                    <a:pt x="686" y="291"/>
                    <a:pt x="687" y="291"/>
                    <a:pt x="688" y="290"/>
                  </a:cubicBezTo>
                  <a:cubicBezTo>
                    <a:pt x="688" y="290"/>
                    <a:pt x="690" y="286"/>
                    <a:pt x="688" y="288"/>
                  </a:cubicBezTo>
                  <a:cubicBezTo>
                    <a:pt x="688" y="287"/>
                    <a:pt x="689" y="286"/>
                    <a:pt x="688" y="286"/>
                  </a:cubicBezTo>
                  <a:cubicBezTo>
                    <a:pt x="689" y="286"/>
                    <a:pt x="691" y="286"/>
                    <a:pt x="691" y="286"/>
                  </a:cubicBezTo>
                  <a:cubicBezTo>
                    <a:pt x="692" y="288"/>
                    <a:pt x="692" y="288"/>
                    <a:pt x="692" y="288"/>
                  </a:cubicBezTo>
                  <a:cubicBezTo>
                    <a:pt x="693" y="289"/>
                    <a:pt x="695" y="289"/>
                    <a:pt x="695" y="288"/>
                  </a:cubicBezTo>
                  <a:cubicBezTo>
                    <a:pt x="695" y="290"/>
                    <a:pt x="696" y="288"/>
                    <a:pt x="696" y="288"/>
                  </a:cubicBezTo>
                  <a:cubicBezTo>
                    <a:pt x="693" y="287"/>
                    <a:pt x="696" y="286"/>
                    <a:pt x="695" y="284"/>
                  </a:cubicBezTo>
                  <a:cubicBezTo>
                    <a:pt x="695" y="283"/>
                    <a:pt x="694" y="283"/>
                    <a:pt x="694" y="283"/>
                  </a:cubicBezTo>
                  <a:cubicBezTo>
                    <a:pt x="695" y="283"/>
                    <a:pt x="695" y="283"/>
                    <a:pt x="696" y="283"/>
                  </a:cubicBezTo>
                  <a:cubicBezTo>
                    <a:pt x="695" y="284"/>
                    <a:pt x="698" y="284"/>
                    <a:pt x="698" y="284"/>
                  </a:cubicBezTo>
                  <a:cubicBezTo>
                    <a:pt x="698" y="283"/>
                    <a:pt x="697" y="282"/>
                    <a:pt x="698" y="282"/>
                  </a:cubicBezTo>
                  <a:cubicBezTo>
                    <a:pt x="698" y="281"/>
                    <a:pt x="698" y="281"/>
                    <a:pt x="698" y="281"/>
                  </a:cubicBezTo>
                  <a:cubicBezTo>
                    <a:pt x="696" y="280"/>
                    <a:pt x="696" y="280"/>
                    <a:pt x="696" y="280"/>
                  </a:cubicBezTo>
                  <a:cubicBezTo>
                    <a:pt x="696" y="279"/>
                    <a:pt x="696" y="276"/>
                    <a:pt x="695" y="276"/>
                  </a:cubicBezTo>
                  <a:cubicBezTo>
                    <a:pt x="694" y="275"/>
                    <a:pt x="692" y="275"/>
                    <a:pt x="691" y="275"/>
                  </a:cubicBezTo>
                  <a:cubicBezTo>
                    <a:pt x="691" y="274"/>
                    <a:pt x="691" y="273"/>
                    <a:pt x="690" y="273"/>
                  </a:cubicBezTo>
                  <a:cubicBezTo>
                    <a:pt x="689" y="272"/>
                    <a:pt x="690" y="277"/>
                    <a:pt x="690" y="278"/>
                  </a:cubicBezTo>
                  <a:cubicBezTo>
                    <a:pt x="689" y="278"/>
                    <a:pt x="690" y="277"/>
                    <a:pt x="689" y="277"/>
                  </a:cubicBezTo>
                  <a:cubicBezTo>
                    <a:pt x="688" y="277"/>
                    <a:pt x="687" y="278"/>
                    <a:pt x="686" y="279"/>
                  </a:cubicBezTo>
                  <a:cubicBezTo>
                    <a:pt x="686" y="277"/>
                    <a:pt x="686" y="277"/>
                    <a:pt x="686" y="277"/>
                  </a:cubicBezTo>
                  <a:cubicBezTo>
                    <a:pt x="685" y="277"/>
                    <a:pt x="685" y="277"/>
                    <a:pt x="685" y="277"/>
                  </a:cubicBezTo>
                  <a:cubicBezTo>
                    <a:pt x="687" y="276"/>
                    <a:pt x="682" y="278"/>
                    <a:pt x="684" y="278"/>
                  </a:cubicBezTo>
                  <a:cubicBezTo>
                    <a:pt x="684" y="278"/>
                    <a:pt x="683" y="281"/>
                    <a:pt x="683" y="281"/>
                  </a:cubicBezTo>
                  <a:cubicBezTo>
                    <a:pt x="683" y="281"/>
                    <a:pt x="681" y="281"/>
                    <a:pt x="681" y="281"/>
                  </a:cubicBezTo>
                  <a:cubicBezTo>
                    <a:pt x="681" y="280"/>
                    <a:pt x="681" y="278"/>
                    <a:pt x="681" y="277"/>
                  </a:cubicBezTo>
                  <a:cubicBezTo>
                    <a:pt x="681" y="277"/>
                    <a:pt x="683" y="275"/>
                    <a:pt x="683" y="275"/>
                  </a:cubicBezTo>
                  <a:cubicBezTo>
                    <a:pt x="683" y="274"/>
                    <a:pt x="684" y="273"/>
                    <a:pt x="683" y="274"/>
                  </a:cubicBezTo>
                  <a:cubicBezTo>
                    <a:pt x="683" y="275"/>
                    <a:pt x="683" y="275"/>
                    <a:pt x="683" y="275"/>
                  </a:cubicBezTo>
                  <a:cubicBezTo>
                    <a:pt x="682" y="275"/>
                    <a:pt x="680" y="274"/>
                    <a:pt x="680" y="273"/>
                  </a:cubicBezTo>
                  <a:cubicBezTo>
                    <a:pt x="680" y="275"/>
                    <a:pt x="680" y="275"/>
                    <a:pt x="680" y="275"/>
                  </a:cubicBezTo>
                  <a:cubicBezTo>
                    <a:pt x="679" y="275"/>
                    <a:pt x="679" y="275"/>
                    <a:pt x="679" y="275"/>
                  </a:cubicBezTo>
                  <a:cubicBezTo>
                    <a:pt x="679" y="276"/>
                    <a:pt x="679" y="277"/>
                    <a:pt x="679" y="279"/>
                  </a:cubicBezTo>
                  <a:cubicBezTo>
                    <a:pt x="674" y="275"/>
                    <a:pt x="678" y="277"/>
                    <a:pt x="672" y="277"/>
                  </a:cubicBezTo>
                  <a:cubicBezTo>
                    <a:pt x="672" y="275"/>
                    <a:pt x="672" y="275"/>
                    <a:pt x="672" y="275"/>
                  </a:cubicBezTo>
                  <a:cubicBezTo>
                    <a:pt x="671" y="275"/>
                    <a:pt x="670" y="275"/>
                    <a:pt x="669" y="276"/>
                  </a:cubicBezTo>
                  <a:cubicBezTo>
                    <a:pt x="669" y="275"/>
                    <a:pt x="669" y="275"/>
                    <a:pt x="669" y="275"/>
                  </a:cubicBezTo>
                  <a:cubicBezTo>
                    <a:pt x="669" y="274"/>
                    <a:pt x="671" y="274"/>
                    <a:pt x="672" y="273"/>
                  </a:cubicBezTo>
                  <a:cubicBezTo>
                    <a:pt x="672" y="273"/>
                    <a:pt x="671" y="272"/>
                    <a:pt x="671" y="272"/>
                  </a:cubicBezTo>
                  <a:cubicBezTo>
                    <a:pt x="671" y="272"/>
                    <a:pt x="671" y="270"/>
                    <a:pt x="671" y="269"/>
                  </a:cubicBezTo>
                  <a:cubicBezTo>
                    <a:pt x="669" y="269"/>
                    <a:pt x="668" y="268"/>
                    <a:pt x="666" y="267"/>
                  </a:cubicBezTo>
                  <a:cubicBezTo>
                    <a:pt x="666" y="267"/>
                    <a:pt x="666" y="269"/>
                    <a:pt x="666" y="270"/>
                  </a:cubicBezTo>
                  <a:cubicBezTo>
                    <a:pt x="666" y="270"/>
                    <a:pt x="663" y="270"/>
                    <a:pt x="663" y="271"/>
                  </a:cubicBezTo>
                  <a:cubicBezTo>
                    <a:pt x="663" y="271"/>
                    <a:pt x="664" y="265"/>
                    <a:pt x="665" y="263"/>
                  </a:cubicBezTo>
                  <a:cubicBezTo>
                    <a:pt x="663" y="264"/>
                    <a:pt x="664" y="262"/>
                    <a:pt x="663" y="263"/>
                  </a:cubicBezTo>
                  <a:cubicBezTo>
                    <a:pt x="662" y="263"/>
                    <a:pt x="660" y="266"/>
                    <a:pt x="661" y="265"/>
                  </a:cubicBezTo>
                  <a:cubicBezTo>
                    <a:pt x="660" y="266"/>
                    <a:pt x="660" y="267"/>
                    <a:pt x="660" y="268"/>
                  </a:cubicBezTo>
                  <a:cubicBezTo>
                    <a:pt x="660" y="268"/>
                    <a:pt x="659" y="268"/>
                    <a:pt x="659" y="269"/>
                  </a:cubicBezTo>
                  <a:cubicBezTo>
                    <a:pt x="658" y="268"/>
                    <a:pt x="659" y="266"/>
                    <a:pt x="659" y="265"/>
                  </a:cubicBezTo>
                  <a:cubicBezTo>
                    <a:pt x="658" y="265"/>
                    <a:pt x="658" y="265"/>
                    <a:pt x="657" y="265"/>
                  </a:cubicBezTo>
                  <a:cubicBezTo>
                    <a:pt x="657" y="265"/>
                    <a:pt x="657" y="266"/>
                    <a:pt x="656" y="267"/>
                  </a:cubicBezTo>
                  <a:cubicBezTo>
                    <a:pt x="657" y="267"/>
                    <a:pt x="655" y="269"/>
                    <a:pt x="655" y="269"/>
                  </a:cubicBezTo>
                  <a:cubicBezTo>
                    <a:pt x="655" y="269"/>
                    <a:pt x="655" y="267"/>
                    <a:pt x="655" y="267"/>
                  </a:cubicBezTo>
                  <a:cubicBezTo>
                    <a:pt x="653" y="267"/>
                    <a:pt x="653" y="267"/>
                    <a:pt x="653" y="267"/>
                  </a:cubicBezTo>
                  <a:cubicBezTo>
                    <a:pt x="652" y="268"/>
                    <a:pt x="653" y="268"/>
                    <a:pt x="652" y="270"/>
                  </a:cubicBezTo>
                  <a:cubicBezTo>
                    <a:pt x="651" y="270"/>
                    <a:pt x="650" y="270"/>
                    <a:pt x="650" y="270"/>
                  </a:cubicBezTo>
                  <a:cubicBezTo>
                    <a:pt x="651" y="268"/>
                    <a:pt x="651" y="266"/>
                    <a:pt x="651" y="265"/>
                  </a:cubicBezTo>
                  <a:cubicBezTo>
                    <a:pt x="653" y="264"/>
                    <a:pt x="650" y="263"/>
                    <a:pt x="650" y="263"/>
                  </a:cubicBezTo>
                  <a:cubicBezTo>
                    <a:pt x="650" y="264"/>
                    <a:pt x="651" y="265"/>
                    <a:pt x="649" y="265"/>
                  </a:cubicBezTo>
                  <a:cubicBezTo>
                    <a:pt x="649" y="265"/>
                    <a:pt x="649" y="263"/>
                    <a:pt x="649" y="263"/>
                  </a:cubicBezTo>
                  <a:cubicBezTo>
                    <a:pt x="649" y="263"/>
                    <a:pt x="648" y="264"/>
                    <a:pt x="647" y="263"/>
                  </a:cubicBezTo>
                  <a:cubicBezTo>
                    <a:pt x="647" y="263"/>
                    <a:pt x="647" y="261"/>
                    <a:pt x="647" y="261"/>
                  </a:cubicBezTo>
                  <a:cubicBezTo>
                    <a:pt x="646" y="262"/>
                    <a:pt x="644" y="262"/>
                    <a:pt x="643" y="262"/>
                  </a:cubicBezTo>
                  <a:cubicBezTo>
                    <a:pt x="647" y="258"/>
                    <a:pt x="646" y="260"/>
                    <a:pt x="643" y="257"/>
                  </a:cubicBezTo>
                  <a:cubicBezTo>
                    <a:pt x="642" y="258"/>
                    <a:pt x="642" y="259"/>
                    <a:pt x="641" y="259"/>
                  </a:cubicBezTo>
                  <a:cubicBezTo>
                    <a:pt x="641" y="258"/>
                    <a:pt x="641" y="257"/>
                    <a:pt x="641" y="256"/>
                  </a:cubicBezTo>
                  <a:cubicBezTo>
                    <a:pt x="640" y="256"/>
                    <a:pt x="636" y="256"/>
                    <a:pt x="634" y="255"/>
                  </a:cubicBezTo>
                  <a:cubicBezTo>
                    <a:pt x="633" y="255"/>
                    <a:pt x="634" y="253"/>
                    <a:pt x="634" y="253"/>
                  </a:cubicBezTo>
                  <a:cubicBezTo>
                    <a:pt x="633" y="252"/>
                    <a:pt x="632" y="253"/>
                    <a:pt x="631" y="253"/>
                  </a:cubicBezTo>
                  <a:cubicBezTo>
                    <a:pt x="631" y="251"/>
                    <a:pt x="631" y="251"/>
                    <a:pt x="631" y="251"/>
                  </a:cubicBezTo>
                  <a:cubicBezTo>
                    <a:pt x="633" y="251"/>
                    <a:pt x="636" y="251"/>
                    <a:pt x="637" y="251"/>
                  </a:cubicBezTo>
                  <a:cubicBezTo>
                    <a:pt x="637" y="250"/>
                    <a:pt x="637" y="249"/>
                    <a:pt x="637" y="249"/>
                  </a:cubicBezTo>
                  <a:cubicBezTo>
                    <a:pt x="638" y="248"/>
                    <a:pt x="639" y="248"/>
                    <a:pt x="639" y="248"/>
                  </a:cubicBezTo>
                  <a:cubicBezTo>
                    <a:pt x="639" y="247"/>
                    <a:pt x="639" y="247"/>
                    <a:pt x="639" y="247"/>
                  </a:cubicBezTo>
                  <a:cubicBezTo>
                    <a:pt x="639" y="246"/>
                    <a:pt x="636" y="244"/>
                    <a:pt x="635" y="244"/>
                  </a:cubicBezTo>
                  <a:cubicBezTo>
                    <a:pt x="635" y="242"/>
                    <a:pt x="635" y="242"/>
                    <a:pt x="635" y="242"/>
                  </a:cubicBezTo>
                  <a:cubicBezTo>
                    <a:pt x="634" y="242"/>
                    <a:pt x="635" y="241"/>
                    <a:pt x="636" y="241"/>
                  </a:cubicBezTo>
                  <a:cubicBezTo>
                    <a:pt x="637" y="243"/>
                    <a:pt x="637" y="243"/>
                    <a:pt x="637" y="243"/>
                  </a:cubicBezTo>
                  <a:cubicBezTo>
                    <a:pt x="639" y="243"/>
                    <a:pt x="642" y="243"/>
                    <a:pt x="644" y="243"/>
                  </a:cubicBezTo>
                  <a:cubicBezTo>
                    <a:pt x="648" y="242"/>
                    <a:pt x="640" y="238"/>
                    <a:pt x="638" y="237"/>
                  </a:cubicBezTo>
                  <a:cubicBezTo>
                    <a:pt x="637" y="237"/>
                    <a:pt x="634" y="238"/>
                    <a:pt x="634" y="238"/>
                  </a:cubicBezTo>
                  <a:cubicBezTo>
                    <a:pt x="634" y="237"/>
                    <a:pt x="634" y="237"/>
                    <a:pt x="634" y="237"/>
                  </a:cubicBezTo>
                  <a:cubicBezTo>
                    <a:pt x="634" y="236"/>
                    <a:pt x="631" y="234"/>
                    <a:pt x="631" y="234"/>
                  </a:cubicBezTo>
                  <a:cubicBezTo>
                    <a:pt x="632" y="234"/>
                    <a:pt x="634" y="234"/>
                    <a:pt x="636" y="234"/>
                  </a:cubicBezTo>
                  <a:cubicBezTo>
                    <a:pt x="636" y="234"/>
                    <a:pt x="637" y="232"/>
                    <a:pt x="637" y="232"/>
                  </a:cubicBezTo>
                  <a:cubicBezTo>
                    <a:pt x="638" y="232"/>
                    <a:pt x="640" y="232"/>
                    <a:pt x="641" y="232"/>
                  </a:cubicBezTo>
                  <a:cubicBezTo>
                    <a:pt x="641" y="230"/>
                    <a:pt x="642" y="229"/>
                    <a:pt x="641" y="227"/>
                  </a:cubicBezTo>
                  <a:cubicBezTo>
                    <a:pt x="641" y="226"/>
                    <a:pt x="639" y="225"/>
                    <a:pt x="639" y="225"/>
                  </a:cubicBezTo>
                  <a:cubicBezTo>
                    <a:pt x="638" y="224"/>
                    <a:pt x="638" y="223"/>
                    <a:pt x="637" y="223"/>
                  </a:cubicBezTo>
                  <a:cubicBezTo>
                    <a:pt x="637" y="223"/>
                    <a:pt x="635" y="223"/>
                    <a:pt x="636" y="223"/>
                  </a:cubicBezTo>
                  <a:cubicBezTo>
                    <a:pt x="636" y="224"/>
                    <a:pt x="633" y="228"/>
                    <a:pt x="632" y="228"/>
                  </a:cubicBezTo>
                  <a:cubicBezTo>
                    <a:pt x="629" y="229"/>
                    <a:pt x="632" y="227"/>
                    <a:pt x="630" y="225"/>
                  </a:cubicBezTo>
                  <a:cubicBezTo>
                    <a:pt x="629" y="225"/>
                    <a:pt x="627" y="225"/>
                    <a:pt x="626" y="225"/>
                  </a:cubicBezTo>
                  <a:cubicBezTo>
                    <a:pt x="626" y="225"/>
                    <a:pt x="627" y="224"/>
                    <a:pt x="627" y="224"/>
                  </a:cubicBezTo>
                  <a:cubicBezTo>
                    <a:pt x="628" y="224"/>
                    <a:pt x="628" y="224"/>
                    <a:pt x="629" y="223"/>
                  </a:cubicBezTo>
                  <a:cubicBezTo>
                    <a:pt x="630" y="223"/>
                    <a:pt x="630" y="222"/>
                    <a:pt x="630" y="221"/>
                  </a:cubicBezTo>
                  <a:cubicBezTo>
                    <a:pt x="631" y="221"/>
                    <a:pt x="632" y="222"/>
                    <a:pt x="633" y="222"/>
                  </a:cubicBezTo>
                  <a:cubicBezTo>
                    <a:pt x="633" y="222"/>
                    <a:pt x="633" y="220"/>
                    <a:pt x="633" y="220"/>
                  </a:cubicBezTo>
                  <a:cubicBezTo>
                    <a:pt x="631" y="219"/>
                    <a:pt x="630" y="220"/>
                    <a:pt x="629" y="219"/>
                  </a:cubicBezTo>
                  <a:cubicBezTo>
                    <a:pt x="628" y="219"/>
                    <a:pt x="627" y="216"/>
                    <a:pt x="627" y="216"/>
                  </a:cubicBezTo>
                  <a:cubicBezTo>
                    <a:pt x="626" y="216"/>
                    <a:pt x="624" y="216"/>
                    <a:pt x="623" y="216"/>
                  </a:cubicBezTo>
                  <a:cubicBezTo>
                    <a:pt x="622" y="217"/>
                    <a:pt x="621" y="218"/>
                    <a:pt x="621" y="219"/>
                  </a:cubicBezTo>
                  <a:cubicBezTo>
                    <a:pt x="620" y="219"/>
                    <a:pt x="619" y="218"/>
                    <a:pt x="620" y="218"/>
                  </a:cubicBezTo>
                  <a:cubicBezTo>
                    <a:pt x="620" y="218"/>
                    <a:pt x="621" y="216"/>
                    <a:pt x="621" y="216"/>
                  </a:cubicBezTo>
                  <a:cubicBezTo>
                    <a:pt x="619" y="216"/>
                    <a:pt x="616" y="215"/>
                    <a:pt x="615" y="218"/>
                  </a:cubicBezTo>
                  <a:cubicBezTo>
                    <a:pt x="615" y="219"/>
                    <a:pt x="615" y="219"/>
                    <a:pt x="615" y="219"/>
                  </a:cubicBezTo>
                  <a:cubicBezTo>
                    <a:pt x="613" y="219"/>
                    <a:pt x="613" y="219"/>
                    <a:pt x="613" y="219"/>
                  </a:cubicBezTo>
                  <a:cubicBezTo>
                    <a:pt x="614" y="219"/>
                    <a:pt x="613" y="216"/>
                    <a:pt x="613" y="216"/>
                  </a:cubicBezTo>
                  <a:cubicBezTo>
                    <a:pt x="614" y="216"/>
                    <a:pt x="615" y="216"/>
                    <a:pt x="615" y="216"/>
                  </a:cubicBezTo>
                  <a:cubicBezTo>
                    <a:pt x="616" y="216"/>
                    <a:pt x="617" y="214"/>
                    <a:pt x="617" y="214"/>
                  </a:cubicBezTo>
                  <a:cubicBezTo>
                    <a:pt x="617" y="211"/>
                    <a:pt x="617" y="211"/>
                    <a:pt x="617" y="211"/>
                  </a:cubicBezTo>
                  <a:cubicBezTo>
                    <a:pt x="617" y="211"/>
                    <a:pt x="614" y="213"/>
                    <a:pt x="615" y="213"/>
                  </a:cubicBezTo>
                  <a:cubicBezTo>
                    <a:pt x="614" y="212"/>
                    <a:pt x="613" y="213"/>
                    <a:pt x="613" y="213"/>
                  </a:cubicBezTo>
                  <a:cubicBezTo>
                    <a:pt x="613" y="213"/>
                    <a:pt x="613" y="211"/>
                    <a:pt x="613" y="211"/>
                  </a:cubicBezTo>
                  <a:cubicBezTo>
                    <a:pt x="613" y="211"/>
                    <a:pt x="611" y="211"/>
                    <a:pt x="612" y="211"/>
                  </a:cubicBezTo>
                  <a:cubicBezTo>
                    <a:pt x="611" y="211"/>
                    <a:pt x="611" y="211"/>
                    <a:pt x="611" y="211"/>
                  </a:cubicBezTo>
                  <a:cubicBezTo>
                    <a:pt x="612" y="212"/>
                    <a:pt x="612" y="213"/>
                    <a:pt x="612" y="213"/>
                  </a:cubicBezTo>
                  <a:cubicBezTo>
                    <a:pt x="612" y="214"/>
                    <a:pt x="610" y="214"/>
                    <a:pt x="610" y="215"/>
                  </a:cubicBezTo>
                  <a:cubicBezTo>
                    <a:pt x="606" y="214"/>
                    <a:pt x="605" y="215"/>
                    <a:pt x="608" y="212"/>
                  </a:cubicBezTo>
                  <a:cubicBezTo>
                    <a:pt x="609" y="211"/>
                    <a:pt x="610" y="211"/>
                    <a:pt x="611" y="211"/>
                  </a:cubicBezTo>
                  <a:cubicBezTo>
                    <a:pt x="611" y="210"/>
                    <a:pt x="611" y="209"/>
                    <a:pt x="610" y="209"/>
                  </a:cubicBezTo>
                  <a:cubicBezTo>
                    <a:pt x="610" y="209"/>
                    <a:pt x="606" y="209"/>
                    <a:pt x="606" y="209"/>
                  </a:cubicBezTo>
                  <a:cubicBezTo>
                    <a:pt x="605" y="208"/>
                    <a:pt x="605" y="206"/>
                    <a:pt x="604" y="205"/>
                  </a:cubicBezTo>
                  <a:cubicBezTo>
                    <a:pt x="603" y="205"/>
                    <a:pt x="603" y="204"/>
                    <a:pt x="602" y="204"/>
                  </a:cubicBezTo>
                  <a:cubicBezTo>
                    <a:pt x="598" y="204"/>
                    <a:pt x="599" y="208"/>
                    <a:pt x="599" y="211"/>
                  </a:cubicBezTo>
                  <a:cubicBezTo>
                    <a:pt x="599" y="211"/>
                    <a:pt x="599" y="211"/>
                    <a:pt x="598" y="211"/>
                  </a:cubicBezTo>
                  <a:cubicBezTo>
                    <a:pt x="598" y="211"/>
                    <a:pt x="598" y="209"/>
                    <a:pt x="598" y="209"/>
                  </a:cubicBezTo>
                  <a:cubicBezTo>
                    <a:pt x="596" y="210"/>
                    <a:pt x="597" y="209"/>
                    <a:pt x="596" y="209"/>
                  </a:cubicBezTo>
                  <a:cubicBezTo>
                    <a:pt x="596" y="209"/>
                    <a:pt x="595" y="211"/>
                    <a:pt x="594" y="211"/>
                  </a:cubicBezTo>
                  <a:cubicBezTo>
                    <a:pt x="593" y="208"/>
                    <a:pt x="593" y="199"/>
                    <a:pt x="590" y="206"/>
                  </a:cubicBezTo>
                  <a:cubicBezTo>
                    <a:pt x="590" y="207"/>
                    <a:pt x="590" y="208"/>
                    <a:pt x="589" y="209"/>
                  </a:cubicBezTo>
                  <a:cubicBezTo>
                    <a:pt x="589" y="210"/>
                    <a:pt x="588" y="210"/>
                    <a:pt x="587" y="210"/>
                  </a:cubicBezTo>
                  <a:cubicBezTo>
                    <a:pt x="588" y="210"/>
                    <a:pt x="586" y="209"/>
                    <a:pt x="586" y="209"/>
                  </a:cubicBezTo>
                  <a:cubicBezTo>
                    <a:pt x="587" y="209"/>
                    <a:pt x="587" y="207"/>
                    <a:pt x="587" y="207"/>
                  </a:cubicBezTo>
                  <a:cubicBezTo>
                    <a:pt x="588" y="207"/>
                    <a:pt x="587" y="205"/>
                    <a:pt x="587" y="205"/>
                  </a:cubicBezTo>
                  <a:cubicBezTo>
                    <a:pt x="586" y="205"/>
                    <a:pt x="586" y="206"/>
                    <a:pt x="585" y="205"/>
                  </a:cubicBezTo>
                  <a:cubicBezTo>
                    <a:pt x="585" y="205"/>
                    <a:pt x="584" y="203"/>
                    <a:pt x="584" y="203"/>
                  </a:cubicBezTo>
                  <a:cubicBezTo>
                    <a:pt x="586" y="203"/>
                    <a:pt x="588" y="203"/>
                    <a:pt x="589" y="202"/>
                  </a:cubicBezTo>
                  <a:cubicBezTo>
                    <a:pt x="589" y="196"/>
                    <a:pt x="589" y="194"/>
                    <a:pt x="583" y="194"/>
                  </a:cubicBezTo>
                  <a:cubicBezTo>
                    <a:pt x="584" y="194"/>
                    <a:pt x="585" y="194"/>
                    <a:pt x="586" y="193"/>
                  </a:cubicBezTo>
                  <a:cubicBezTo>
                    <a:pt x="586" y="193"/>
                    <a:pt x="586" y="191"/>
                    <a:pt x="586" y="191"/>
                  </a:cubicBezTo>
                  <a:cubicBezTo>
                    <a:pt x="585" y="191"/>
                    <a:pt x="585" y="191"/>
                    <a:pt x="585" y="191"/>
                  </a:cubicBezTo>
                  <a:cubicBezTo>
                    <a:pt x="585" y="191"/>
                    <a:pt x="583" y="187"/>
                    <a:pt x="583" y="186"/>
                  </a:cubicBezTo>
                  <a:cubicBezTo>
                    <a:pt x="582" y="187"/>
                    <a:pt x="579" y="187"/>
                    <a:pt x="578" y="187"/>
                  </a:cubicBezTo>
                  <a:cubicBezTo>
                    <a:pt x="576" y="187"/>
                    <a:pt x="576" y="186"/>
                    <a:pt x="575" y="187"/>
                  </a:cubicBezTo>
                  <a:cubicBezTo>
                    <a:pt x="574" y="187"/>
                    <a:pt x="573" y="189"/>
                    <a:pt x="570" y="189"/>
                  </a:cubicBezTo>
                  <a:cubicBezTo>
                    <a:pt x="569" y="189"/>
                    <a:pt x="567" y="187"/>
                    <a:pt x="566" y="186"/>
                  </a:cubicBezTo>
                  <a:close/>
                  <a:moveTo>
                    <a:pt x="474" y="30"/>
                  </a:moveTo>
                  <a:cubicBezTo>
                    <a:pt x="471" y="29"/>
                    <a:pt x="467" y="22"/>
                    <a:pt x="464" y="22"/>
                  </a:cubicBezTo>
                  <a:cubicBezTo>
                    <a:pt x="463" y="23"/>
                    <a:pt x="463" y="23"/>
                    <a:pt x="463" y="23"/>
                  </a:cubicBezTo>
                  <a:cubicBezTo>
                    <a:pt x="462" y="23"/>
                    <a:pt x="460" y="23"/>
                    <a:pt x="459" y="24"/>
                  </a:cubicBezTo>
                  <a:cubicBezTo>
                    <a:pt x="456" y="25"/>
                    <a:pt x="453" y="29"/>
                    <a:pt x="451" y="31"/>
                  </a:cubicBezTo>
                  <a:cubicBezTo>
                    <a:pt x="449" y="30"/>
                    <a:pt x="443" y="27"/>
                    <a:pt x="439" y="28"/>
                  </a:cubicBezTo>
                  <a:cubicBezTo>
                    <a:pt x="439" y="28"/>
                    <a:pt x="437" y="30"/>
                    <a:pt x="437" y="30"/>
                  </a:cubicBezTo>
                  <a:cubicBezTo>
                    <a:pt x="436" y="30"/>
                    <a:pt x="434" y="29"/>
                    <a:pt x="433" y="30"/>
                  </a:cubicBezTo>
                  <a:cubicBezTo>
                    <a:pt x="433" y="30"/>
                    <a:pt x="433" y="32"/>
                    <a:pt x="433" y="33"/>
                  </a:cubicBezTo>
                  <a:cubicBezTo>
                    <a:pt x="436" y="32"/>
                    <a:pt x="439" y="31"/>
                    <a:pt x="444" y="31"/>
                  </a:cubicBezTo>
                  <a:cubicBezTo>
                    <a:pt x="443" y="32"/>
                    <a:pt x="440" y="33"/>
                    <a:pt x="438" y="33"/>
                  </a:cubicBezTo>
                  <a:cubicBezTo>
                    <a:pt x="438" y="33"/>
                    <a:pt x="437" y="36"/>
                    <a:pt x="439" y="36"/>
                  </a:cubicBezTo>
                  <a:cubicBezTo>
                    <a:pt x="441" y="36"/>
                    <a:pt x="446" y="34"/>
                    <a:pt x="449" y="34"/>
                  </a:cubicBezTo>
                  <a:cubicBezTo>
                    <a:pt x="452" y="34"/>
                    <a:pt x="455" y="35"/>
                    <a:pt x="457" y="35"/>
                  </a:cubicBezTo>
                  <a:cubicBezTo>
                    <a:pt x="451" y="36"/>
                    <a:pt x="446" y="37"/>
                    <a:pt x="439" y="39"/>
                  </a:cubicBezTo>
                  <a:cubicBezTo>
                    <a:pt x="439" y="39"/>
                    <a:pt x="439" y="41"/>
                    <a:pt x="439" y="43"/>
                  </a:cubicBezTo>
                  <a:cubicBezTo>
                    <a:pt x="440" y="42"/>
                    <a:pt x="441" y="43"/>
                    <a:pt x="441" y="42"/>
                  </a:cubicBezTo>
                  <a:cubicBezTo>
                    <a:pt x="442" y="41"/>
                    <a:pt x="442" y="41"/>
                    <a:pt x="444" y="41"/>
                  </a:cubicBezTo>
                  <a:cubicBezTo>
                    <a:pt x="450" y="38"/>
                    <a:pt x="457" y="38"/>
                    <a:pt x="463" y="36"/>
                  </a:cubicBezTo>
                  <a:cubicBezTo>
                    <a:pt x="463" y="37"/>
                    <a:pt x="463" y="37"/>
                    <a:pt x="463" y="37"/>
                  </a:cubicBezTo>
                  <a:cubicBezTo>
                    <a:pt x="462" y="38"/>
                    <a:pt x="461" y="38"/>
                    <a:pt x="461" y="39"/>
                  </a:cubicBezTo>
                  <a:cubicBezTo>
                    <a:pt x="458" y="40"/>
                    <a:pt x="457" y="38"/>
                    <a:pt x="454" y="39"/>
                  </a:cubicBezTo>
                  <a:cubicBezTo>
                    <a:pt x="452" y="39"/>
                    <a:pt x="451" y="41"/>
                    <a:pt x="450" y="41"/>
                  </a:cubicBezTo>
                  <a:cubicBezTo>
                    <a:pt x="449" y="42"/>
                    <a:pt x="447" y="41"/>
                    <a:pt x="446" y="41"/>
                  </a:cubicBezTo>
                  <a:cubicBezTo>
                    <a:pt x="445" y="41"/>
                    <a:pt x="443" y="44"/>
                    <a:pt x="442" y="45"/>
                  </a:cubicBezTo>
                  <a:cubicBezTo>
                    <a:pt x="443" y="45"/>
                    <a:pt x="444" y="47"/>
                    <a:pt x="445" y="47"/>
                  </a:cubicBezTo>
                  <a:cubicBezTo>
                    <a:pt x="447" y="47"/>
                    <a:pt x="448" y="45"/>
                    <a:pt x="449" y="45"/>
                  </a:cubicBezTo>
                  <a:cubicBezTo>
                    <a:pt x="452" y="45"/>
                    <a:pt x="458" y="47"/>
                    <a:pt x="461" y="47"/>
                  </a:cubicBezTo>
                  <a:cubicBezTo>
                    <a:pt x="463" y="45"/>
                    <a:pt x="463" y="45"/>
                    <a:pt x="463" y="45"/>
                  </a:cubicBezTo>
                  <a:cubicBezTo>
                    <a:pt x="464" y="45"/>
                    <a:pt x="465" y="46"/>
                    <a:pt x="466" y="46"/>
                  </a:cubicBezTo>
                  <a:cubicBezTo>
                    <a:pt x="467" y="46"/>
                    <a:pt x="466" y="44"/>
                    <a:pt x="468" y="45"/>
                  </a:cubicBezTo>
                  <a:cubicBezTo>
                    <a:pt x="469" y="45"/>
                    <a:pt x="469" y="46"/>
                    <a:pt x="469" y="47"/>
                  </a:cubicBezTo>
                  <a:cubicBezTo>
                    <a:pt x="471" y="47"/>
                    <a:pt x="472" y="47"/>
                    <a:pt x="474" y="47"/>
                  </a:cubicBezTo>
                  <a:cubicBezTo>
                    <a:pt x="475" y="47"/>
                    <a:pt x="478" y="44"/>
                    <a:pt x="480" y="43"/>
                  </a:cubicBezTo>
                  <a:cubicBezTo>
                    <a:pt x="480" y="43"/>
                    <a:pt x="479" y="47"/>
                    <a:pt x="479" y="48"/>
                  </a:cubicBezTo>
                  <a:cubicBezTo>
                    <a:pt x="481" y="48"/>
                    <a:pt x="483" y="49"/>
                    <a:pt x="485" y="49"/>
                  </a:cubicBezTo>
                  <a:cubicBezTo>
                    <a:pt x="486" y="49"/>
                    <a:pt x="489" y="48"/>
                    <a:pt x="490" y="49"/>
                  </a:cubicBezTo>
                  <a:cubicBezTo>
                    <a:pt x="491" y="49"/>
                    <a:pt x="492" y="50"/>
                    <a:pt x="492" y="50"/>
                  </a:cubicBezTo>
                  <a:cubicBezTo>
                    <a:pt x="494" y="47"/>
                    <a:pt x="494" y="47"/>
                    <a:pt x="497" y="45"/>
                  </a:cubicBezTo>
                  <a:cubicBezTo>
                    <a:pt x="497" y="44"/>
                    <a:pt x="496" y="42"/>
                    <a:pt x="496" y="42"/>
                  </a:cubicBezTo>
                  <a:cubicBezTo>
                    <a:pt x="497" y="42"/>
                    <a:pt x="498" y="42"/>
                    <a:pt x="498" y="41"/>
                  </a:cubicBezTo>
                  <a:cubicBezTo>
                    <a:pt x="498" y="41"/>
                    <a:pt x="499" y="41"/>
                    <a:pt x="500" y="41"/>
                  </a:cubicBezTo>
                  <a:cubicBezTo>
                    <a:pt x="500" y="43"/>
                    <a:pt x="500" y="43"/>
                    <a:pt x="500" y="43"/>
                  </a:cubicBezTo>
                  <a:cubicBezTo>
                    <a:pt x="500" y="42"/>
                    <a:pt x="499" y="45"/>
                    <a:pt x="499" y="46"/>
                  </a:cubicBezTo>
                  <a:cubicBezTo>
                    <a:pt x="500" y="46"/>
                    <a:pt x="500" y="45"/>
                    <a:pt x="500" y="47"/>
                  </a:cubicBezTo>
                  <a:cubicBezTo>
                    <a:pt x="507" y="45"/>
                    <a:pt x="515" y="43"/>
                    <a:pt x="522" y="43"/>
                  </a:cubicBezTo>
                  <a:cubicBezTo>
                    <a:pt x="529" y="42"/>
                    <a:pt x="532" y="43"/>
                    <a:pt x="538" y="43"/>
                  </a:cubicBezTo>
                  <a:cubicBezTo>
                    <a:pt x="544" y="42"/>
                    <a:pt x="550" y="40"/>
                    <a:pt x="555" y="38"/>
                  </a:cubicBezTo>
                  <a:cubicBezTo>
                    <a:pt x="556" y="37"/>
                    <a:pt x="556" y="37"/>
                    <a:pt x="556" y="37"/>
                  </a:cubicBezTo>
                  <a:cubicBezTo>
                    <a:pt x="556" y="36"/>
                    <a:pt x="559" y="37"/>
                    <a:pt x="560" y="37"/>
                  </a:cubicBezTo>
                  <a:cubicBezTo>
                    <a:pt x="563" y="37"/>
                    <a:pt x="566" y="36"/>
                    <a:pt x="569" y="35"/>
                  </a:cubicBezTo>
                  <a:cubicBezTo>
                    <a:pt x="568" y="35"/>
                    <a:pt x="566" y="37"/>
                    <a:pt x="565" y="37"/>
                  </a:cubicBezTo>
                  <a:cubicBezTo>
                    <a:pt x="562" y="38"/>
                    <a:pt x="561" y="37"/>
                    <a:pt x="558" y="38"/>
                  </a:cubicBezTo>
                  <a:cubicBezTo>
                    <a:pt x="558" y="38"/>
                    <a:pt x="556" y="40"/>
                    <a:pt x="556" y="40"/>
                  </a:cubicBezTo>
                  <a:cubicBezTo>
                    <a:pt x="556" y="40"/>
                    <a:pt x="556" y="40"/>
                    <a:pt x="557" y="41"/>
                  </a:cubicBezTo>
                  <a:cubicBezTo>
                    <a:pt x="559" y="41"/>
                    <a:pt x="562" y="41"/>
                    <a:pt x="565" y="41"/>
                  </a:cubicBezTo>
                  <a:cubicBezTo>
                    <a:pt x="565" y="43"/>
                    <a:pt x="565" y="43"/>
                    <a:pt x="565" y="43"/>
                  </a:cubicBezTo>
                  <a:cubicBezTo>
                    <a:pt x="561" y="43"/>
                    <a:pt x="557" y="42"/>
                    <a:pt x="556" y="43"/>
                  </a:cubicBezTo>
                  <a:cubicBezTo>
                    <a:pt x="555" y="43"/>
                    <a:pt x="553" y="44"/>
                    <a:pt x="553" y="45"/>
                  </a:cubicBezTo>
                  <a:cubicBezTo>
                    <a:pt x="550" y="45"/>
                    <a:pt x="548" y="44"/>
                    <a:pt x="546" y="45"/>
                  </a:cubicBezTo>
                  <a:cubicBezTo>
                    <a:pt x="536" y="48"/>
                    <a:pt x="557" y="48"/>
                    <a:pt x="559" y="48"/>
                  </a:cubicBezTo>
                  <a:cubicBezTo>
                    <a:pt x="555" y="49"/>
                    <a:pt x="549" y="51"/>
                    <a:pt x="544" y="51"/>
                  </a:cubicBezTo>
                  <a:cubicBezTo>
                    <a:pt x="543" y="51"/>
                    <a:pt x="541" y="50"/>
                    <a:pt x="540" y="50"/>
                  </a:cubicBezTo>
                  <a:cubicBezTo>
                    <a:pt x="539" y="50"/>
                    <a:pt x="539" y="51"/>
                    <a:pt x="539" y="52"/>
                  </a:cubicBezTo>
                  <a:cubicBezTo>
                    <a:pt x="531" y="51"/>
                    <a:pt x="525" y="52"/>
                    <a:pt x="516" y="53"/>
                  </a:cubicBezTo>
                  <a:cubicBezTo>
                    <a:pt x="517" y="54"/>
                    <a:pt x="516" y="55"/>
                    <a:pt x="516" y="55"/>
                  </a:cubicBezTo>
                  <a:cubicBezTo>
                    <a:pt x="517" y="56"/>
                    <a:pt x="519" y="56"/>
                    <a:pt x="518" y="59"/>
                  </a:cubicBezTo>
                  <a:cubicBezTo>
                    <a:pt x="518" y="59"/>
                    <a:pt x="517" y="60"/>
                    <a:pt x="518" y="61"/>
                  </a:cubicBezTo>
                  <a:cubicBezTo>
                    <a:pt x="518" y="62"/>
                    <a:pt x="519" y="62"/>
                    <a:pt x="519" y="62"/>
                  </a:cubicBezTo>
                  <a:cubicBezTo>
                    <a:pt x="522" y="63"/>
                    <a:pt x="532" y="63"/>
                    <a:pt x="528" y="63"/>
                  </a:cubicBezTo>
                  <a:cubicBezTo>
                    <a:pt x="530" y="64"/>
                    <a:pt x="531" y="63"/>
                    <a:pt x="532" y="64"/>
                  </a:cubicBezTo>
                  <a:cubicBezTo>
                    <a:pt x="532" y="65"/>
                    <a:pt x="532" y="65"/>
                    <a:pt x="532" y="65"/>
                  </a:cubicBezTo>
                  <a:cubicBezTo>
                    <a:pt x="531" y="65"/>
                    <a:pt x="530" y="64"/>
                    <a:pt x="530" y="64"/>
                  </a:cubicBezTo>
                  <a:cubicBezTo>
                    <a:pt x="529" y="66"/>
                    <a:pt x="530" y="65"/>
                    <a:pt x="528" y="65"/>
                  </a:cubicBezTo>
                  <a:cubicBezTo>
                    <a:pt x="528" y="67"/>
                    <a:pt x="528" y="67"/>
                    <a:pt x="528" y="67"/>
                  </a:cubicBezTo>
                  <a:cubicBezTo>
                    <a:pt x="527" y="67"/>
                    <a:pt x="526" y="66"/>
                    <a:pt x="525" y="66"/>
                  </a:cubicBezTo>
                  <a:cubicBezTo>
                    <a:pt x="523" y="66"/>
                    <a:pt x="522" y="67"/>
                    <a:pt x="521" y="66"/>
                  </a:cubicBezTo>
                  <a:cubicBezTo>
                    <a:pt x="520" y="65"/>
                    <a:pt x="520" y="65"/>
                    <a:pt x="520" y="65"/>
                  </a:cubicBezTo>
                  <a:cubicBezTo>
                    <a:pt x="520" y="65"/>
                    <a:pt x="518" y="65"/>
                    <a:pt x="518" y="65"/>
                  </a:cubicBezTo>
                  <a:cubicBezTo>
                    <a:pt x="514" y="64"/>
                    <a:pt x="516" y="60"/>
                    <a:pt x="515" y="57"/>
                  </a:cubicBezTo>
                  <a:cubicBezTo>
                    <a:pt x="510" y="53"/>
                    <a:pt x="510" y="53"/>
                    <a:pt x="510" y="53"/>
                  </a:cubicBezTo>
                  <a:cubicBezTo>
                    <a:pt x="510" y="52"/>
                    <a:pt x="510" y="52"/>
                    <a:pt x="510" y="52"/>
                  </a:cubicBezTo>
                  <a:cubicBezTo>
                    <a:pt x="506" y="50"/>
                    <a:pt x="489" y="52"/>
                    <a:pt x="483" y="52"/>
                  </a:cubicBezTo>
                  <a:cubicBezTo>
                    <a:pt x="482" y="56"/>
                    <a:pt x="482" y="56"/>
                    <a:pt x="482" y="56"/>
                  </a:cubicBezTo>
                  <a:cubicBezTo>
                    <a:pt x="483" y="55"/>
                    <a:pt x="483" y="57"/>
                    <a:pt x="483" y="57"/>
                  </a:cubicBezTo>
                  <a:cubicBezTo>
                    <a:pt x="483" y="56"/>
                    <a:pt x="482" y="60"/>
                    <a:pt x="482" y="60"/>
                  </a:cubicBezTo>
                  <a:cubicBezTo>
                    <a:pt x="481" y="61"/>
                    <a:pt x="480" y="60"/>
                    <a:pt x="478" y="61"/>
                  </a:cubicBezTo>
                  <a:cubicBezTo>
                    <a:pt x="478" y="61"/>
                    <a:pt x="477" y="64"/>
                    <a:pt x="476" y="64"/>
                  </a:cubicBezTo>
                  <a:cubicBezTo>
                    <a:pt x="476" y="64"/>
                    <a:pt x="475" y="63"/>
                    <a:pt x="475" y="62"/>
                  </a:cubicBezTo>
                  <a:cubicBezTo>
                    <a:pt x="476" y="61"/>
                    <a:pt x="477" y="60"/>
                    <a:pt x="477" y="58"/>
                  </a:cubicBezTo>
                  <a:cubicBezTo>
                    <a:pt x="477" y="58"/>
                    <a:pt x="475" y="56"/>
                    <a:pt x="475" y="55"/>
                  </a:cubicBezTo>
                  <a:cubicBezTo>
                    <a:pt x="475" y="55"/>
                    <a:pt x="473" y="55"/>
                    <a:pt x="473" y="55"/>
                  </a:cubicBezTo>
                  <a:cubicBezTo>
                    <a:pt x="473" y="54"/>
                    <a:pt x="473" y="53"/>
                    <a:pt x="473" y="51"/>
                  </a:cubicBezTo>
                  <a:cubicBezTo>
                    <a:pt x="472" y="51"/>
                    <a:pt x="472" y="51"/>
                    <a:pt x="472" y="51"/>
                  </a:cubicBezTo>
                  <a:cubicBezTo>
                    <a:pt x="471" y="51"/>
                    <a:pt x="471" y="53"/>
                    <a:pt x="471" y="54"/>
                  </a:cubicBezTo>
                  <a:cubicBezTo>
                    <a:pt x="470" y="53"/>
                    <a:pt x="468" y="54"/>
                    <a:pt x="467" y="54"/>
                  </a:cubicBezTo>
                  <a:cubicBezTo>
                    <a:pt x="467" y="52"/>
                    <a:pt x="467" y="51"/>
                    <a:pt x="466" y="51"/>
                  </a:cubicBezTo>
                  <a:cubicBezTo>
                    <a:pt x="466" y="51"/>
                    <a:pt x="465" y="52"/>
                    <a:pt x="464" y="52"/>
                  </a:cubicBezTo>
                  <a:cubicBezTo>
                    <a:pt x="464" y="53"/>
                    <a:pt x="464" y="53"/>
                    <a:pt x="464" y="53"/>
                  </a:cubicBezTo>
                  <a:cubicBezTo>
                    <a:pt x="464" y="53"/>
                    <a:pt x="444" y="53"/>
                    <a:pt x="443" y="53"/>
                  </a:cubicBezTo>
                  <a:cubicBezTo>
                    <a:pt x="442" y="53"/>
                    <a:pt x="438" y="51"/>
                    <a:pt x="436" y="50"/>
                  </a:cubicBezTo>
                  <a:cubicBezTo>
                    <a:pt x="436" y="48"/>
                    <a:pt x="437" y="47"/>
                    <a:pt x="437" y="45"/>
                  </a:cubicBezTo>
                  <a:cubicBezTo>
                    <a:pt x="431" y="38"/>
                    <a:pt x="431" y="38"/>
                    <a:pt x="431" y="38"/>
                  </a:cubicBezTo>
                  <a:cubicBezTo>
                    <a:pt x="428" y="35"/>
                    <a:pt x="422" y="37"/>
                    <a:pt x="417" y="36"/>
                  </a:cubicBezTo>
                  <a:cubicBezTo>
                    <a:pt x="416" y="36"/>
                    <a:pt x="414" y="34"/>
                    <a:pt x="414" y="34"/>
                  </a:cubicBezTo>
                  <a:cubicBezTo>
                    <a:pt x="409" y="32"/>
                    <a:pt x="401" y="33"/>
                    <a:pt x="397" y="33"/>
                  </a:cubicBezTo>
                  <a:cubicBezTo>
                    <a:pt x="397" y="33"/>
                    <a:pt x="397" y="36"/>
                    <a:pt x="397" y="36"/>
                  </a:cubicBezTo>
                  <a:cubicBezTo>
                    <a:pt x="401" y="35"/>
                    <a:pt x="402" y="35"/>
                    <a:pt x="406" y="36"/>
                  </a:cubicBezTo>
                  <a:cubicBezTo>
                    <a:pt x="406" y="36"/>
                    <a:pt x="408" y="35"/>
                    <a:pt x="409" y="36"/>
                  </a:cubicBezTo>
                  <a:cubicBezTo>
                    <a:pt x="409" y="36"/>
                    <a:pt x="410" y="37"/>
                    <a:pt x="410" y="37"/>
                  </a:cubicBezTo>
                  <a:cubicBezTo>
                    <a:pt x="411" y="36"/>
                    <a:pt x="411" y="39"/>
                    <a:pt x="411" y="39"/>
                  </a:cubicBezTo>
                  <a:cubicBezTo>
                    <a:pt x="410" y="39"/>
                    <a:pt x="410" y="39"/>
                    <a:pt x="410" y="39"/>
                  </a:cubicBezTo>
                  <a:cubicBezTo>
                    <a:pt x="411" y="41"/>
                    <a:pt x="411" y="41"/>
                    <a:pt x="411" y="43"/>
                  </a:cubicBezTo>
                  <a:cubicBezTo>
                    <a:pt x="407" y="42"/>
                    <a:pt x="405" y="42"/>
                    <a:pt x="401" y="41"/>
                  </a:cubicBezTo>
                  <a:cubicBezTo>
                    <a:pt x="399" y="40"/>
                    <a:pt x="399" y="40"/>
                    <a:pt x="399" y="40"/>
                  </a:cubicBezTo>
                  <a:cubicBezTo>
                    <a:pt x="397" y="40"/>
                    <a:pt x="397" y="41"/>
                    <a:pt x="396" y="41"/>
                  </a:cubicBezTo>
                  <a:cubicBezTo>
                    <a:pt x="396" y="42"/>
                    <a:pt x="397" y="44"/>
                    <a:pt x="397" y="45"/>
                  </a:cubicBezTo>
                  <a:cubicBezTo>
                    <a:pt x="398" y="45"/>
                    <a:pt x="399" y="45"/>
                    <a:pt x="400" y="45"/>
                  </a:cubicBezTo>
                  <a:cubicBezTo>
                    <a:pt x="400" y="45"/>
                    <a:pt x="400" y="46"/>
                    <a:pt x="400" y="47"/>
                  </a:cubicBezTo>
                  <a:cubicBezTo>
                    <a:pt x="404" y="47"/>
                    <a:pt x="404" y="45"/>
                    <a:pt x="405" y="44"/>
                  </a:cubicBezTo>
                  <a:cubicBezTo>
                    <a:pt x="409" y="46"/>
                    <a:pt x="409" y="47"/>
                    <a:pt x="415" y="47"/>
                  </a:cubicBezTo>
                  <a:cubicBezTo>
                    <a:pt x="415" y="45"/>
                    <a:pt x="415" y="45"/>
                    <a:pt x="416" y="44"/>
                  </a:cubicBezTo>
                  <a:cubicBezTo>
                    <a:pt x="416" y="45"/>
                    <a:pt x="416" y="46"/>
                    <a:pt x="417" y="47"/>
                  </a:cubicBezTo>
                  <a:cubicBezTo>
                    <a:pt x="417" y="48"/>
                    <a:pt x="418" y="48"/>
                    <a:pt x="419" y="49"/>
                  </a:cubicBezTo>
                  <a:cubicBezTo>
                    <a:pt x="419" y="49"/>
                    <a:pt x="418" y="50"/>
                    <a:pt x="419" y="51"/>
                  </a:cubicBezTo>
                  <a:cubicBezTo>
                    <a:pt x="413" y="51"/>
                    <a:pt x="408" y="51"/>
                    <a:pt x="404" y="52"/>
                  </a:cubicBezTo>
                  <a:cubicBezTo>
                    <a:pt x="404" y="53"/>
                    <a:pt x="406" y="55"/>
                    <a:pt x="406" y="55"/>
                  </a:cubicBezTo>
                  <a:cubicBezTo>
                    <a:pt x="405" y="56"/>
                    <a:pt x="405" y="56"/>
                    <a:pt x="405" y="56"/>
                  </a:cubicBezTo>
                  <a:cubicBezTo>
                    <a:pt x="404" y="57"/>
                    <a:pt x="405" y="56"/>
                    <a:pt x="403" y="56"/>
                  </a:cubicBezTo>
                  <a:cubicBezTo>
                    <a:pt x="402" y="57"/>
                    <a:pt x="402" y="57"/>
                    <a:pt x="402" y="57"/>
                  </a:cubicBezTo>
                  <a:cubicBezTo>
                    <a:pt x="398" y="58"/>
                    <a:pt x="410" y="60"/>
                    <a:pt x="412" y="60"/>
                  </a:cubicBezTo>
                  <a:cubicBezTo>
                    <a:pt x="412" y="60"/>
                    <a:pt x="413" y="58"/>
                    <a:pt x="414" y="57"/>
                  </a:cubicBezTo>
                  <a:cubicBezTo>
                    <a:pt x="414" y="58"/>
                    <a:pt x="414" y="60"/>
                    <a:pt x="414" y="60"/>
                  </a:cubicBezTo>
                  <a:cubicBezTo>
                    <a:pt x="416" y="60"/>
                    <a:pt x="415" y="61"/>
                    <a:pt x="417" y="61"/>
                  </a:cubicBezTo>
                  <a:cubicBezTo>
                    <a:pt x="419" y="60"/>
                    <a:pt x="419" y="60"/>
                    <a:pt x="419" y="60"/>
                  </a:cubicBezTo>
                  <a:cubicBezTo>
                    <a:pt x="419" y="60"/>
                    <a:pt x="421" y="61"/>
                    <a:pt x="420" y="61"/>
                  </a:cubicBezTo>
                  <a:cubicBezTo>
                    <a:pt x="421" y="61"/>
                    <a:pt x="421" y="63"/>
                    <a:pt x="421" y="63"/>
                  </a:cubicBezTo>
                  <a:cubicBezTo>
                    <a:pt x="418" y="63"/>
                    <a:pt x="415" y="63"/>
                    <a:pt x="412" y="62"/>
                  </a:cubicBezTo>
                  <a:cubicBezTo>
                    <a:pt x="411" y="62"/>
                    <a:pt x="409" y="61"/>
                    <a:pt x="409" y="60"/>
                  </a:cubicBezTo>
                  <a:cubicBezTo>
                    <a:pt x="402" y="60"/>
                    <a:pt x="404" y="65"/>
                    <a:pt x="405" y="64"/>
                  </a:cubicBezTo>
                  <a:cubicBezTo>
                    <a:pt x="405" y="64"/>
                    <a:pt x="405" y="68"/>
                    <a:pt x="405" y="67"/>
                  </a:cubicBezTo>
                  <a:cubicBezTo>
                    <a:pt x="406" y="67"/>
                    <a:pt x="406" y="68"/>
                    <a:pt x="407" y="68"/>
                  </a:cubicBezTo>
                  <a:cubicBezTo>
                    <a:pt x="411" y="72"/>
                    <a:pt x="416" y="74"/>
                    <a:pt x="423" y="72"/>
                  </a:cubicBezTo>
                  <a:cubicBezTo>
                    <a:pt x="423" y="74"/>
                    <a:pt x="423" y="74"/>
                    <a:pt x="423" y="74"/>
                  </a:cubicBezTo>
                  <a:cubicBezTo>
                    <a:pt x="422" y="74"/>
                    <a:pt x="421" y="74"/>
                    <a:pt x="421" y="74"/>
                  </a:cubicBezTo>
                  <a:cubicBezTo>
                    <a:pt x="419" y="75"/>
                    <a:pt x="415" y="73"/>
                    <a:pt x="413" y="74"/>
                  </a:cubicBezTo>
                  <a:cubicBezTo>
                    <a:pt x="412" y="75"/>
                    <a:pt x="412" y="78"/>
                    <a:pt x="413" y="77"/>
                  </a:cubicBezTo>
                  <a:cubicBezTo>
                    <a:pt x="413" y="78"/>
                    <a:pt x="413" y="78"/>
                    <a:pt x="413" y="78"/>
                  </a:cubicBezTo>
                  <a:cubicBezTo>
                    <a:pt x="414" y="79"/>
                    <a:pt x="424" y="78"/>
                    <a:pt x="425" y="78"/>
                  </a:cubicBezTo>
                  <a:cubicBezTo>
                    <a:pt x="426" y="77"/>
                    <a:pt x="427" y="75"/>
                    <a:pt x="427" y="75"/>
                  </a:cubicBezTo>
                  <a:cubicBezTo>
                    <a:pt x="430" y="74"/>
                    <a:pt x="433" y="75"/>
                    <a:pt x="436" y="76"/>
                  </a:cubicBezTo>
                  <a:cubicBezTo>
                    <a:pt x="436" y="76"/>
                    <a:pt x="436" y="78"/>
                    <a:pt x="436" y="78"/>
                  </a:cubicBezTo>
                  <a:cubicBezTo>
                    <a:pt x="430" y="78"/>
                    <a:pt x="428" y="79"/>
                    <a:pt x="423" y="80"/>
                  </a:cubicBezTo>
                  <a:cubicBezTo>
                    <a:pt x="423" y="81"/>
                    <a:pt x="423" y="82"/>
                    <a:pt x="423" y="82"/>
                  </a:cubicBezTo>
                  <a:cubicBezTo>
                    <a:pt x="423" y="83"/>
                    <a:pt x="424" y="84"/>
                    <a:pt x="425" y="86"/>
                  </a:cubicBezTo>
                  <a:cubicBezTo>
                    <a:pt x="425" y="86"/>
                    <a:pt x="427" y="86"/>
                    <a:pt x="427" y="86"/>
                  </a:cubicBezTo>
                  <a:cubicBezTo>
                    <a:pt x="427" y="86"/>
                    <a:pt x="427" y="90"/>
                    <a:pt x="427" y="90"/>
                  </a:cubicBezTo>
                  <a:cubicBezTo>
                    <a:pt x="428" y="90"/>
                    <a:pt x="429" y="90"/>
                    <a:pt x="430" y="90"/>
                  </a:cubicBezTo>
                  <a:cubicBezTo>
                    <a:pt x="430" y="92"/>
                    <a:pt x="430" y="92"/>
                    <a:pt x="430" y="92"/>
                  </a:cubicBezTo>
                  <a:cubicBezTo>
                    <a:pt x="428" y="92"/>
                    <a:pt x="428" y="92"/>
                    <a:pt x="427" y="92"/>
                  </a:cubicBezTo>
                  <a:cubicBezTo>
                    <a:pt x="427" y="93"/>
                    <a:pt x="428" y="95"/>
                    <a:pt x="427" y="95"/>
                  </a:cubicBezTo>
                  <a:cubicBezTo>
                    <a:pt x="434" y="95"/>
                    <a:pt x="436" y="96"/>
                    <a:pt x="441" y="94"/>
                  </a:cubicBezTo>
                  <a:cubicBezTo>
                    <a:pt x="441" y="93"/>
                    <a:pt x="440" y="92"/>
                    <a:pt x="441" y="91"/>
                  </a:cubicBezTo>
                  <a:cubicBezTo>
                    <a:pt x="441" y="91"/>
                    <a:pt x="442" y="91"/>
                    <a:pt x="443" y="91"/>
                  </a:cubicBezTo>
                  <a:cubicBezTo>
                    <a:pt x="443" y="91"/>
                    <a:pt x="443" y="93"/>
                    <a:pt x="444" y="94"/>
                  </a:cubicBezTo>
                  <a:cubicBezTo>
                    <a:pt x="445" y="94"/>
                    <a:pt x="446" y="94"/>
                    <a:pt x="447" y="94"/>
                  </a:cubicBezTo>
                  <a:cubicBezTo>
                    <a:pt x="446" y="95"/>
                    <a:pt x="449" y="95"/>
                    <a:pt x="449" y="95"/>
                  </a:cubicBezTo>
                  <a:cubicBezTo>
                    <a:pt x="449" y="95"/>
                    <a:pt x="449" y="93"/>
                    <a:pt x="449" y="93"/>
                  </a:cubicBezTo>
                  <a:cubicBezTo>
                    <a:pt x="450" y="93"/>
                    <a:pt x="451" y="95"/>
                    <a:pt x="452" y="94"/>
                  </a:cubicBezTo>
                  <a:cubicBezTo>
                    <a:pt x="454" y="88"/>
                    <a:pt x="454" y="88"/>
                    <a:pt x="454" y="88"/>
                  </a:cubicBezTo>
                  <a:cubicBezTo>
                    <a:pt x="454" y="88"/>
                    <a:pt x="457" y="89"/>
                    <a:pt x="458" y="88"/>
                  </a:cubicBezTo>
                  <a:cubicBezTo>
                    <a:pt x="459" y="88"/>
                    <a:pt x="461" y="87"/>
                    <a:pt x="463" y="86"/>
                  </a:cubicBezTo>
                  <a:cubicBezTo>
                    <a:pt x="461" y="85"/>
                    <a:pt x="462" y="80"/>
                    <a:pt x="464" y="79"/>
                  </a:cubicBezTo>
                  <a:cubicBezTo>
                    <a:pt x="464" y="79"/>
                    <a:pt x="464" y="82"/>
                    <a:pt x="464" y="84"/>
                  </a:cubicBezTo>
                  <a:cubicBezTo>
                    <a:pt x="465" y="83"/>
                    <a:pt x="466" y="84"/>
                    <a:pt x="467" y="84"/>
                  </a:cubicBezTo>
                  <a:cubicBezTo>
                    <a:pt x="467" y="83"/>
                    <a:pt x="467" y="83"/>
                    <a:pt x="467" y="83"/>
                  </a:cubicBezTo>
                  <a:cubicBezTo>
                    <a:pt x="468" y="83"/>
                    <a:pt x="472" y="78"/>
                    <a:pt x="472" y="78"/>
                  </a:cubicBezTo>
                  <a:cubicBezTo>
                    <a:pt x="474" y="78"/>
                    <a:pt x="474" y="80"/>
                    <a:pt x="474" y="80"/>
                  </a:cubicBezTo>
                  <a:cubicBezTo>
                    <a:pt x="475" y="80"/>
                    <a:pt x="478" y="79"/>
                    <a:pt x="479" y="79"/>
                  </a:cubicBezTo>
                  <a:cubicBezTo>
                    <a:pt x="479" y="79"/>
                    <a:pt x="477" y="82"/>
                    <a:pt x="478" y="82"/>
                  </a:cubicBezTo>
                  <a:cubicBezTo>
                    <a:pt x="481" y="82"/>
                    <a:pt x="482" y="79"/>
                    <a:pt x="479" y="78"/>
                  </a:cubicBezTo>
                  <a:cubicBezTo>
                    <a:pt x="480" y="79"/>
                    <a:pt x="483" y="80"/>
                    <a:pt x="483" y="80"/>
                  </a:cubicBezTo>
                  <a:cubicBezTo>
                    <a:pt x="483" y="78"/>
                    <a:pt x="483" y="78"/>
                    <a:pt x="483" y="78"/>
                  </a:cubicBezTo>
                  <a:cubicBezTo>
                    <a:pt x="486" y="78"/>
                    <a:pt x="491" y="77"/>
                    <a:pt x="492" y="75"/>
                  </a:cubicBezTo>
                  <a:cubicBezTo>
                    <a:pt x="493" y="75"/>
                    <a:pt x="493" y="72"/>
                    <a:pt x="493" y="72"/>
                  </a:cubicBezTo>
                  <a:cubicBezTo>
                    <a:pt x="493" y="72"/>
                    <a:pt x="489" y="66"/>
                    <a:pt x="489" y="65"/>
                  </a:cubicBezTo>
                  <a:cubicBezTo>
                    <a:pt x="489" y="65"/>
                    <a:pt x="491" y="65"/>
                    <a:pt x="491" y="65"/>
                  </a:cubicBezTo>
                  <a:cubicBezTo>
                    <a:pt x="492" y="68"/>
                    <a:pt x="494" y="70"/>
                    <a:pt x="495" y="73"/>
                  </a:cubicBezTo>
                  <a:cubicBezTo>
                    <a:pt x="497" y="72"/>
                    <a:pt x="496" y="74"/>
                    <a:pt x="497" y="74"/>
                  </a:cubicBezTo>
                  <a:cubicBezTo>
                    <a:pt x="497" y="74"/>
                    <a:pt x="499" y="72"/>
                    <a:pt x="500" y="72"/>
                  </a:cubicBezTo>
                  <a:cubicBezTo>
                    <a:pt x="500" y="73"/>
                    <a:pt x="500" y="73"/>
                    <a:pt x="500" y="73"/>
                  </a:cubicBezTo>
                  <a:cubicBezTo>
                    <a:pt x="500" y="73"/>
                    <a:pt x="500" y="73"/>
                    <a:pt x="500" y="73"/>
                  </a:cubicBezTo>
                  <a:cubicBezTo>
                    <a:pt x="501" y="74"/>
                    <a:pt x="502" y="75"/>
                    <a:pt x="502" y="76"/>
                  </a:cubicBezTo>
                  <a:cubicBezTo>
                    <a:pt x="501" y="76"/>
                    <a:pt x="491" y="77"/>
                    <a:pt x="495" y="78"/>
                  </a:cubicBezTo>
                  <a:cubicBezTo>
                    <a:pt x="501" y="79"/>
                    <a:pt x="508" y="79"/>
                    <a:pt x="513" y="80"/>
                  </a:cubicBezTo>
                  <a:cubicBezTo>
                    <a:pt x="512" y="81"/>
                    <a:pt x="514" y="83"/>
                    <a:pt x="512" y="83"/>
                  </a:cubicBezTo>
                  <a:cubicBezTo>
                    <a:pt x="510" y="82"/>
                    <a:pt x="510" y="82"/>
                    <a:pt x="510" y="82"/>
                  </a:cubicBezTo>
                  <a:cubicBezTo>
                    <a:pt x="505" y="81"/>
                    <a:pt x="500" y="81"/>
                    <a:pt x="495" y="81"/>
                  </a:cubicBezTo>
                  <a:cubicBezTo>
                    <a:pt x="494" y="81"/>
                    <a:pt x="491" y="82"/>
                    <a:pt x="488" y="82"/>
                  </a:cubicBezTo>
                  <a:cubicBezTo>
                    <a:pt x="488" y="82"/>
                    <a:pt x="487" y="80"/>
                    <a:pt x="486" y="80"/>
                  </a:cubicBezTo>
                  <a:cubicBezTo>
                    <a:pt x="485" y="80"/>
                    <a:pt x="475" y="84"/>
                    <a:pt x="474" y="84"/>
                  </a:cubicBezTo>
                  <a:cubicBezTo>
                    <a:pt x="474" y="84"/>
                    <a:pt x="473" y="86"/>
                    <a:pt x="473" y="86"/>
                  </a:cubicBezTo>
                  <a:cubicBezTo>
                    <a:pt x="472" y="86"/>
                    <a:pt x="471" y="85"/>
                    <a:pt x="470" y="86"/>
                  </a:cubicBezTo>
                  <a:cubicBezTo>
                    <a:pt x="472" y="85"/>
                    <a:pt x="468" y="85"/>
                    <a:pt x="468" y="85"/>
                  </a:cubicBezTo>
                  <a:cubicBezTo>
                    <a:pt x="467" y="89"/>
                    <a:pt x="466" y="91"/>
                    <a:pt x="466" y="95"/>
                  </a:cubicBezTo>
                  <a:cubicBezTo>
                    <a:pt x="468" y="95"/>
                    <a:pt x="467" y="95"/>
                    <a:pt x="468" y="96"/>
                  </a:cubicBezTo>
                  <a:cubicBezTo>
                    <a:pt x="469" y="95"/>
                    <a:pt x="470" y="96"/>
                    <a:pt x="470" y="96"/>
                  </a:cubicBezTo>
                  <a:cubicBezTo>
                    <a:pt x="473" y="95"/>
                    <a:pt x="476" y="92"/>
                    <a:pt x="478" y="92"/>
                  </a:cubicBezTo>
                  <a:cubicBezTo>
                    <a:pt x="481" y="92"/>
                    <a:pt x="478" y="93"/>
                    <a:pt x="480" y="94"/>
                  </a:cubicBezTo>
                  <a:cubicBezTo>
                    <a:pt x="484" y="95"/>
                    <a:pt x="487" y="93"/>
                    <a:pt x="489" y="92"/>
                  </a:cubicBezTo>
                  <a:cubicBezTo>
                    <a:pt x="491" y="90"/>
                    <a:pt x="493" y="89"/>
                    <a:pt x="494" y="87"/>
                  </a:cubicBezTo>
                  <a:cubicBezTo>
                    <a:pt x="494" y="92"/>
                    <a:pt x="494" y="92"/>
                    <a:pt x="491" y="96"/>
                  </a:cubicBezTo>
                  <a:cubicBezTo>
                    <a:pt x="492" y="96"/>
                    <a:pt x="492" y="96"/>
                    <a:pt x="494" y="96"/>
                  </a:cubicBezTo>
                  <a:cubicBezTo>
                    <a:pt x="494" y="98"/>
                    <a:pt x="495" y="99"/>
                    <a:pt x="495" y="100"/>
                  </a:cubicBezTo>
                  <a:cubicBezTo>
                    <a:pt x="494" y="101"/>
                    <a:pt x="496" y="102"/>
                    <a:pt x="496" y="102"/>
                  </a:cubicBezTo>
                  <a:cubicBezTo>
                    <a:pt x="497" y="101"/>
                    <a:pt x="497" y="100"/>
                    <a:pt x="498" y="99"/>
                  </a:cubicBezTo>
                  <a:cubicBezTo>
                    <a:pt x="499" y="99"/>
                    <a:pt x="499" y="99"/>
                    <a:pt x="499" y="99"/>
                  </a:cubicBezTo>
                  <a:cubicBezTo>
                    <a:pt x="500" y="102"/>
                    <a:pt x="500" y="102"/>
                    <a:pt x="500" y="102"/>
                  </a:cubicBezTo>
                  <a:cubicBezTo>
                    <a:pt x="503" y="103"/>
                    <a:pt x="509" y="100"/>
                    <a:pt x="508" y="101"/>
                  </a:cubicBezTo>
                  <a:cubicBezTo>
                    <a:pt x="507" y="101"/>
                    <a:pt x="506" y="103"/>
                    <a:pt x="506" y="103"/>
                  </a:cubicBezTo>
                  <a:cubicBezTo>
                    <a:pt x="506" y="104"/>
                    <a:pt x="507" y="105"/>
                    <a:pt x="506" y="106"/>
                  </a:cubicBezTo>
                  <a:cubicBezTo>
                    <a:pt x="506" y="106"/>
                    <a:pt x="504" y="106"/>
                    <a:pt x="504" y="106"/>
                  </a:cubicBezTo>
                  <a:cubicBezTo>
                    <a:pt x="503" y="108"/>
                    <a:pt x="503" y="108"/>
                    <a:pt x="503" y="108"/>
                  </a:cubicBezTo>
                  <a:cubicBezTo>
                    <a:pt x="501" y="109"/>
                    <a:pt x="501" y="107"/>
                    <a:pt x="500" y="106"/>
                  </a:cubicBezTo>
                  <a:cubicBezTo>
                    <a:pt x="497" y="106"/>
                    <a:pt x="492" y="108"/>
                    <a:pt x="491" y="107"/>
                  </a:cubicBezTo>
                  <a:cubicBezTo>
                    <a:pt x="491" y="107"/>
                    <a:pt x="489" y="102"/>
                    <a:pt x="488" y="102"/>
                  </a:cubicBezTo>
                  <a:cubicBezTo>
                    <a:pt x="488" y="101"/>
                    <a:pt x="485" y="102"/>
                    <a:pt x="484" y="102"/>
                  </a:cubicBezTo>
                  <a:cubicBezTo>
                    <a:pt x="483" y="101"/>
                    <a:pt x="482" y="98"/>
                    <a:pt x="480" y="98"/>
                  </a:cubicBezTo>
                  <a:cubicBezTo>
                    <a:pt x="476" y="97"/>
                    <a:pt x="468" y="98"/>
                    <a:pt x="464" y="99"/>
                  </a:cubicBezTo>
                  <a:cubicBezTo>
                    <a:pt x="464" y="99"/>
                    <a:pt x="465" y="103"/>
                    <a:pt x="464" y="103"/>
                  </a:cubicBezTo>
                  <a:cubicBezTo>
                    <a:pt x="465" y="103"/>
                    <a:pt x="466" y="105"/>
                    <a:pt x="466" y="105"/>
                  </a:cubicBezTo>
                  <a:cubicBezTo>
                    <a:pt x="467" y="105"/>
                    <a:pt x="469" y="105"/>
                    <a:pt x="470" y="105"/>
                  </a:cubicBezTo>
                  <a:cubicBezTo>
                    <a:pt x="470" y="105"/>
                    <a:pt x="470" y="106"/>
                    <a:pt x="470" y="106"/>
                  </a:cubicBezTo>
                  <a:cubicBezTo>
                    <a:pt x="471" y="107"/>
                    <a:pt x="471" y="109"/>
                    <a:pt x="471" y="110"/>
                  </a:cubicBezTo>
                  <a:cubicBezTo>
                    <a:pt x="461" y="112"/>
                    <a:pt x="457" y="111"/>
                    <a:pt x="451" y="117"/>
                  </a:cubicBezTo>
                  <a:cubicBezTo>
                    <a:pt x="450" y="117"/>
                    <a:pt x="449" y="118"/>
                    <a:pt x="449" y="118"/>
                  </a:cubicBezTo>
                  <a:cubicBezTo>
                    <a:pt x="450" y="121"/>
                    <a:pt x="451" y="123"/>
                    <a:pt x="452" y="126"/>
                  </a:cubicBezTo>
                  <a:cubicBezTo>
                    <a:pt x="452" y="125"/>
                    <a:pt x="454" y="126"/>
                    <a:pt x="454" y="126"/>
                  </a:cubicBezTo>
                  <a:cubicBezTo>
                    <a:pt x="454" y="126"/>
                    <a:pt x="454" y="124"/>
                    <a:pt x="454" y="124"/>
                  </a:cubicBezTo>
                  <a:cubicBezTo>
                    <a:pt x="455" y="124"/>
                    <a:pt x="455" y="124"/>
                    <a:pt x="455" y="124"/>
                  </a:cubicBezTo>
                  <a:cubicBezTo>
                    <a:pt x="455" y="122"/>
                    <a:pt x="455" y="122"/>
                    <a:pt x="455" y="122"/>
                  </a:cubicBezTo>
                  <a:cubicBezTo>
                    <a:pt x="455" y="122"/>
                    <a:pt x="457" y="122"/>
                    <a:pt x="455" y="123"/>
                  </a:cubicBezTo>
                  <a:cubicBezTo>
                    <a:pt x="456" y="123"/>
                    <a:pt x="457" y="123"/>
                    <a:pt x="457" y="123"/>
                  </a:cubicBezTo>
                  <a:cubicBezTo>
                    <a:pt x="458" y="126"/>
                    <a:pt x="458" y="126"/>
                    <a:pt x="458" y="126"/>
                  </a:cubicBezTo>
                  <a:cubicBezTo>
                    <a:pt x="461" y="127"/>
                    <a:pt x="464" y="125"/>
                    <a:pt x="466" y="125"/>
                  </a:cubicBezTo>
                  <a:cubicBezTo>
                    <a:pt x="466" y="125"/>
                    <a:pt x="467" y="122"/>
                    <a:pt x="465" y="124"/>
                  </a:cubicBezTo>
                  <a:cubicBezTo>
                    <a:pt x="465" y="122"/>
                    <a:pt x="465" y="122"/>
                    <a:pt x="465" y="122"/>
                  </a:cubicBezTo>
                  <a:cubicBezTo>
                    <a:pt x="466" y="122"/>
                    <a:pt x="467" y="121"/>
                    <a:pt x="467" y="120"/>
                  </a:cubicBezTo>
                  <a:cubicBezTo>
                    <a:pt x="468" y="121"/>
                    <a:pt x="469" y="122"/>
                    <a:pt x="470" y="122"/>
                  </a:cubicBezTo>
                  <a:cubicBezTo>
                    <a:pt x="470" y="123"/>
                    <a:pt x="470" y="124"/>
                    <a:pt x="470" y="124"/>
                  </a:cubicBezTo>
                  <a:cubicBezTo>
                    <a:pt x="472" y="124"/>
                    <a:pt x="472" y="126"/>
                    <a:pt x="472" y="126"/>
                  </a:cubicBezTo>
                  <a:cubicBezTo>
                    <a:pt x="472" y="126"/>
                    <a:pt x="472" y="125"/>
                    <a:pt x="473" y="122"/>
                  </a:cubicBezTo>
                  <a:cubicBezTo>
                    <a:pt x="474" y="121"/>
                    <a:pt x="474" y="121"/>
                    <a:pt x="474" y="121"/>
                  </a:cubicBezTo>
                  <a:cubicBezTo>
                    <a:pt x="475" y="121"/>
                    <a:pt x="474" y="123"/>
                    <a:pt x="474" y="124"/>
                  </a:cubicBezTo>
                  <a:cubicBezTo>
                    <a:pt x="476" y="124"/>
                    <a:pt x="478" y="125"/>
                    <a:pt x="480" y="126"/>
                  </a:cubicBezTo>
                  <a:cubicBezTo>
                    <a:pt x="483" y="126"/>
                    <a:pt x="484" y="125"/>
                    <a:pt x="487" y="126"/>
                  </a:cubicBezTo>
                  <a:cubicBezTo>
                    <a:pt x="488" y="127"/>
                    <a:pt x="488" y="128"/>
                    <a:pt x="488" y="128"/>
                  </a:cubicBezTo>
                  <a:cubicBezTo>
                    <a:pt x="489" y="128"/>
                    <a:pt x="488" y="126"/>
                    <a:pt x="488" y="126"/>
                  </a:cubicBezTo>
                  <a:cubicBezTo>
                    <a:pt x="494" y="123"/>
                    <a:pt x="494" y="124"/>
                    <a:pt x="490" y="119"/>
                  </a:cubicBezTo>
                  <a:cubicBezTo>
                    <a:pt x="496" y="121"/>
                    <a:pt x="494" y="121"/>
                    <a:pt x="497" y="118"/>
                  </a:cubicBezTo>
                  <a:cubicBezTo>
                    <a:pt x="497" y="117"/>
                    <a:pt x="498" y="117"/>
                    <a:pt x="498" y="117"/>
                  </a:cubicBezTo>
                  <a:cubicBezTo>
                    <a:pt x="498" y="116"/>
                    <a:pt x="498" y="116"/>
                    <a:pt x="498" y="116"/>
                  </a:cubicBezTo>
                  <a:cubicBezTo>
                    <a:pt x="500" y="115"/>
                    <a:pt x="499" y="121"/>
                    <a:pt x="499" y="120"/>
                  </a:cubicBezTo>
                  <a:cubicBezTo>
                    <a:pt x="499" y="121"/>
                    <a:pt x="499" y="122"/>
                    <a:pt x="499" y="122"/>
                  </a:cubicBezTo>
                  <a:cubicBezTo>
                    <a:pt x="502" y="122"/>
                    <a:pt x="506" y="121"/>
                    <a:pt x="507" y="121"/>
                  </a:cubicBezTo>
                  <a:cubicBezTo>
                    <a:pt x="507" y="121"/>
                    <a:pt x="510" y="122"/>
                    <a:pt x="510" y="122"/>
                  </a:cubicBezTo>
                  <a:cubicBezTo>
                    <a:pt x="512" y="122"/>
                    <a:pt x="513" y="121"/>
                    <a:pt x="514" y="121"/>
                  </a:cubicBezTo>
                  <a:cubicBezTo>
                    <a:pt x="514" y="121"/>
                    <a:pt x="515" y="121"/>
                    <a:pt x="515" y="122"/>
                  </a:cubicBezTo>
                  <a:cubicBezTo>
                    <a:pt x="515" y="121"/>
                    <a:pt x="516" y="121"/>
                    <a:pt x="516" y="120"/>
                  </a:cubicBezTo>
                  <a:cubicBezTo>
                    <a:pt x="516" y="117"/>
                    <a:pt x="516" y="116"/>
                    <a:pt x="515" y="114"/>
                  </a:cubicBezTo>
                  <a:cubicBezTo>
                    <a:pt x="516" y="115"/>
                    <a:pt x="517" y="115"/>
                    <a:pt x="518" y="116"/>
                  </a:cubicBezTo>
                  <a:cubicBezTo>
                    <a:pt x="518" y="117"/>
                    <a:pt x="517" y="118"/>
                    <a:pt x="518" y="119"/>
                  </a:cubicBezTo>
                  <a:cubicBezTo>
                    <a:pt x="520" y="122"/>
                    <a:pt x="521" y="120"/>
                    <a:pt x="523" y="120"/>
                  </a:cubicBezTo>
                  <a:cubicBezTo>
                    <a:pt x="522" y="119"/>
                    <a:pt x="524" y="119"/>
                    <a:pt x="524" y="119"/>
                  </a:cubicBezTo>
                  <a:cubicBezTo>
                    <a:pt x="525" y="119"/>
                    <a:pt x="525" y="121"/>
                    <a:pt x="526" y="121"/>
                  </a:cubicBezTo>
                  <a:cubicBezTo>
                    <a:pt x="526" y="124"/>
                    <a:pt x="526" y="125"/>
                    <a:pt x="526" y="129"/>
                  </a:cubicBezTo>
                  <a:cubicBezTo>
                    <a:pt x="526" y="129"/>
                    <a:pt x="529" y="129"/>
                    <a:pt x="528" y="128"/>
                  </a:cubicBezTo>
                  <a:cubicBezTo>
                    <a:pt x="529" y="128"/>
                    <a:pt x="531" y="129"/>
                    <a:pt x="531" y="129"/>
                  </a:cubicBezTo>
                  <a:cubicBezTo>
                    <a:pt x="532" y="129"/>
                    <a:pt x="532" y="126"/>
                    <a:pt x="533" y="126"/>
                  </a:cubicBezTo>
                  <a:cubicBezTo>
                    <a:pt x="534" y="124"/>
                    <a:pt x="537" y="124"/>
                    <a:pt x="538" y="122"/>
                  </a:cubicBezTo>
                  <a:cubicBezTo>
                    <a:pt x="539" y="122"/>
                    <a:pt x="539" y="122"/>
                    <a:pt x="539" y="122"/>
                  </a:cubicBezTo>
                  <a:cubicBezTo>
                    <a:pt x="539" y="120"/>
                    <a:pt x="539" y="120"/>
                    <a:pt x="539" y="120"/>
                  </a:cubicBezTo>
                  <a:cubicBezTo>
                    <a:pt x="540" y="121"/>
                    <a:pt x="540" y="122"/>
                    <a:pt x="541" y="123"/>
                  </a:cubicBezTo>
                  <a:cubicBezTo>
                    <a:pt x="542" y="123"/>
                    <a:pt x="543" y="123"/>
                    <a:pt x="544" y="123"/>
                  </a:cubicBezTo>
                  <a:cubicBezTo>
                    <a:pt x="544" y="123"/>
                    <a:pt x="545" y="121"/>
                    <a:pt x="545" y="121"/>
                  </a:cubicBezTo>
                  <a:cubicBezTo>
                    <a:pt x="547" y="119"/>
                    <a:pt x="550" y="118"/>
                    <a:pt x="552" y="116"/>
                  </a:cubicBezTo>
                  <a:cubicBezTo>
                    <a:pt x="551" y="116"/>
                    <a:pt x="551" y="114"/>
                    <a:pt x="550" y="114"/>
                  </a:cubicBezTo>
                  <a:cubicBezTo>
                    <a:pt x="549" y="114"/>
                    <a:pt x="547" y="115"/>
                    <a:pt x="546" y="114"/>
                  </a:cubicBezTo>
                  <a:cubicBezTo>
                    <a:pt x="545" y="114"/>
                    <a:pt x="543" y="110"/>
                    <a:pt x="542" y="109"/>
                  </a:cubicBezTo>
                  <a:cubicBezTo>
                    <a:pt x="539" y="108"/>
                    <a:pt x="536" y="108"/>
                    <a:pt x="532" y="108"/>
                  </a:cubicBezTo>
                  <a:cubicBezTo>
                    <a:pt x="539" y="106"/>
                    <a:pt x="545" y="106"/>
                    <a:pt x="552" y="104"/>
                  </a:cubicBezTo>
                  <a:cubicBezTo>
                    <a:pt x="551" y="101"/>
                    <a:pt x="551" y="99"/>
                    <a:pt x="551" y="97"/>
                  </a:cubicBezTo>
                  <a:cubicBezTo>
                    <a:pt x="554" y="97"/>
                    <a:pt x="559" y="100"/>
                    <a:pt x="564" y="98"/>
                  </a:cubicBezTo>
                  <a:cubicBezTo>
                    <a:pt x="565" y="97"/>
                    <a:pt x="565" y="97"/>
                    <a:pt x="565" y="97"/>
                  </a:cubicBezTo>
                  <a:cubicBezTo>
                    <a:pt x="566" y="97"/>
                    <a:pt x="568" y="98"/>
                    <a:pt x="569" y="97"/>
                  </a:cubicBezTo>
                  <a:cubicBezTo>
                    <a:pt x="569" y="97"/>
                    <a:pt x="569" y="96"/>
                    <a:pt x="570" y="96"/>
                  </a:cubicBezTo>
                  <a:cubicBezTo>
                    <a:pt x="571" y="96"/>
                    <a:pt x="570" y="94"/>
                    <a:pt x="571" y="94"/>
                  </a:cubicBezTo>
                  <a:cubicBezTo>
                    <a:pt x="568" y="93"/>
                    <a:pt x="563" y="92"/>
                    <a:pt x="569" y="92"/>
                  </a:cubicBezTo>
                  <a:cubicBezTo>
                    <a:pt x="572" y="91"/>
                    <a:pt x="580" y="93"/>
                    <a:pt x="574" y="89"/>
                  </a:cubicBezTo>
                  <a:cubicBezTo>
                    <a:pt x="574" y="88"/>
                    <a:pt x="574" y="88"/>
                    <a:pt x="574" y="88"/>
                  </a:cubicBezTo>
                  <a:cubicBezTo>
                    <a:pt x="580" y="88"/>
                    <a:pt x="580" y="87"/>
                    <a:pt x="584" y="85"/>
                  </a:cubicBezTo>
                  <a:cubicBezTo>
                    <a:pt x="584" y="84"/>
                    <a:pt x="584" y="84"/>
                    <a:pt x="584" y="84"/>
                  </a:cubicBezTo>
                  <a:cubicBezTo>
                    <a:pt x="583" y="83"/>
                    <a:pt x="584" y="83"/>
                    <a:pt x="583" y="81"/>
                  </a:cubicBezTo>
                  <a:cubicBezTo>
                    <a:pt x="580" y="81"/>
                    <a:pt x="579" y="82"/>
                    <a:pt x="576" y="82"/>
                  </a:cubicBezTo>
                  <a:cubicBezTo>
                    <a:pt x="576" y="82"/>
                    <a:pt x="576" y="80"/>
                    <a:pt x="576" y="80"/>
                  </a:cubicBezTo>
                  <a:cubicBezTo>
                    <a:pt x="574" y="80"/>
                    <a:pt x="570" y="78"/>
                    <a:pt x="570" y="78"/>
                  </a:cubicBezTo>
                  <a:cubicBezTo>
                    <a:pt x="569" y="78"/>
                    <a:pt x="568" y="80"/>
                    <a:pt x="568" y="80"/>
                  </a:cubicBezTo>
                  <a:cubicBezTo>
                    <a:pt x="566" y="80"/>
                    <a:pt x="565" y="79"/>
                    <a:pt x="564" y="80"/>
                  </a:cubicBezTo>
                  <a:cubicBezTo>
                    <a:pt x="562" y="81"/>
                    <a:pt x="562" y="81"/>
                    <a:pt x="562" y="81"/>
                  </a:cubicBezTo>
                  <a:cubicBezTo>
                    <a:pt x="558" y="82"/>
                    <a:pt x="556" y="83"/>
                    <a:pt x="552" y="84"/>
                  </a:cubicBezTo>
                  <a:cubicBezTo>
                    <a:pt x="553" y="83"/>
                    <a:pt x="552" y="82"/>
                    <a:pt x="553" y="81"/>
                  </a:cubicBezTo>
                  <a:cubicBezTo>
                    <a:pt x="554" y="80"/>
                    <a:pt x="556" y="79"/>
                    <a:pt x="557" y="79"/>
                  </a:cubicBezTo>
                  <a:cubicBezTo>
                    <a:pt x="558" y="80"/>
                    <a:pt x="556" y="77"/>
                    <a:pt x="556" y="77"/>
                  </a:cubicBezTo>
                  <a:cubicBezTo>
                    <a:pt x="553" y="76"/>
                    <a:pt x="551" y="76"/>
                    <a:pt x="548" y="76"/>
                  </a:cubicBezTo>
                  <a:cubicBezTo>
                    <a:pt x="548" y="76"/>
                    <a:pt x="549" y="74"/>
                    <a:pt x="550" y="74"/>
                  </a:cubicBezTo>
                  <a:cubicBezTo>
                    <a:pt x="550" y="74"/>
                    <a:pt x="558" y="76"/>
                    <a:pt x="559" y="76"/>
                  </a:cubicBezTo>
                  <a:cubicBezTo>
                    <a:pt x="559" y="76"/>
                    <a:pt x="561" y="78"/>
                    <a:pt x="561" y="78"/>
                  </a:cubicBezTo>
                  <a:cubicBezTo>
                    <a:pt x="562" y="78"/>
                    <a:pt x="564" y="77"/>
                    <a:pt x="566" y="77"/>
                  </a:cubicBezTo>
                  <a:cubicBezTo>
                    <a:pt x="567" y="77"/>
                    <a:pt x="574" y="76"/>
                    <a:pt x="569" y="74"/>
                  </a:cubicBezTo>
                  <a:cubicBezTo>
                    <a:pt x="566" y="73"/>
                    <a:pt x="565" y="73"/>
                    <a:pt x="562" y="72"/>
                  </a:cubicBezTo>
                  <a:cubicBezTo>
                    <a:pt x="563" y="72"/>
                    <a:pt x="560" y="71"/>
                    <a:pt x="560" y="71"/>
                  </a:cubicBezTo>
                  <a:cubicBezTo>
                    <a:pt x="564" y="72"/>
                    <a:pt x="567" y="71"/>
                    <a:pt x="571" y="72"/>
                  </a:cubicBezTo>
                  <a:cubicBezTo>
                    <a:pt x="571" y="73"/>
                    <a:pt x="573" y="74"/>
                    <a:pt x="574" y="74"/>
                  </a:cubicBezTo>
                  <a:cubicBezTo>
                    <a:pt x="574" y="74"/>
                    <a:pt x="576" y="73"/>
                    <a:pt x="576" y="72"/>
                  </a:cubicBezTo>
                  <a:cubicBezTo>
                    <a:pt x="575" y="70"/>
                    <a:pt x="575" y="70"/>
                    <a:pt x="575" y="70"/>
                  </a:cubicBezTo>
                  <a:cubicBezTo>
                    <a:pt x="570" y="69"/>
                    <a:pt x="565" y="69"/>
                    <a:pt x="560" y="69"/>
                  </a:cubicBezTo>
                  <a:cubicBezTo>
                    <a:pt x="560" y="69"/>
                    <a:pt x="560" y="67"/>
                    <a:pt x="560" y="66"/>
                  </a:cubicBezTo>
                  <a:cubicBezTo>
                    <a:pt x="562" y="67"/>
                    <a:pt x="564" y="67"/>
                    <a:pt x="566" y="68"/>
                  </a:cubicBezTo>
                  <a:cubicBezTo>
                    <a:pt x="566" y="67"/>
                    <a:pt x="567" y="65"/>
                    <a:pt x="568" y="65"/>
                  </a:cubicBezTo>
                  <a:cubicBezTo>
                    <a:pt x="568" y="65"/>
                    <a:pt x="569" y="66"/>
                    <a:pt x="570" y="65"/>
                  </a:cubicBezTo>
                  <a:cubicBezTo>
                    <a:pt x="570" y="65"/>
                    <a:pt x="570" y="67"/>
                    <a:pt x="570" y="67"/>
                  </a:cubicBezTo>
                  <a:cubicBezTo>
                    <a:pt x="572" y="69"/>
                    <a:pt x="576" y="70"/>
                    <a:pt x="577" y="69"/>
                  </a:cubicBezTo>
                  <a:cubicBezTo>
                    <a:pt x="577" y="69"/>
                    <a:pt x="575" y="66"/>
                    <a:pt x="579" y="67"/>
                  </a:cubicBezTo>
                  <a:cubicBezTo>
                    <a:pt x="579" y="67"/>
                    <a:pt x="582" y="69"/>
                    <a:pt x="583" y="70"/>
                  </a:cubicBezTo>
                  <a:cubicBezTo>
                    <a:pt x="584" y="69"/>
                    <a:pt x="586" y="67"/>
                    <a:pt x="586" y="66"/>
                  </a:cubicBezTo>
                  <a:cubicBezTo>
                    <a:pt x="587" y="67"/>
                    <a:pt x="588" y="68"/>
                    <a:pt x="588" y="68"/>
                  </a:cubicBezTo>
                  <a:cubicBezTo>
                    <a:pt x="593" y="70"/>
                    <a:pt x="596" y="68"/>
                    <a:pt x="600" y="68"/>
                  </a:cubicBezTo>
                  <a:cubicBezTo>
                    <a:pt x="600" y="68"/>
                    <a:pt x="601" y="66"/>
                    <a:pt x="601" y="65"/>
                  </a:cubicBezTo>
                  <a:cubicBezTo>
                    <a:pt x="600" y="65"/>
                    <a:pt x="600" y="65"/>
                    <a:pt x="599" y="64"/>
                  </a:cubicBezTo>
                  <a:cubicBezTo>
                    <a:pt x="596" y="63"/>
                    <a:pt x="603" y="64"/>
                    <a:pt x="603" y="64"/>
                  </a:cubicBezTo>
                  <a:cubicBezTo>
                    <a:pt x="604" y="64"/>
                    <a:pt x="605" y="61"/>
                    <a:pt x="605" y="61"/>
                  </a:cubicBezTo>
                  <a:cubicBezTo>
                    <a:pt x="605" y="61"/>
                    <a:pt x="615" y="60"/>
                    <a:pt x="611" y="59"/>
                  </a:cubicBezTo>
                  <a:cubicBezTo>
                    <a:pt x="610" y="59"/>
                    <a:pt x="608" y="58"/>
                    <a:pt x="607" y="58"/>
                  </a:cubicBezTo>
                  <a:cubicBezTo>
                    <a:pt x="607" y="58"/>
                    <a:pt x="608" y="57"/>
                    <a:pt x="607" y="56"/>
                  </a:cubicBezTo>
                  <a:cubicBezTo>
                    <a:pt x="609" y="55"/>
                    <a:pt x="609" y="55"/>
                    <a:pt x="609" y="55"/>
                  </a:cubicBezTo>
                  <a:cubicBezTo>
                    <a:pt x="610" y="55"/>
                    <a:pt x="611" y="57"/>
                    <a:pt x="612" y="57"/>
                  </a:cubicBezTo>
                  <a:cubicBezTo>
                    <a:pt x="616" y="59"/>
                    <a:pt x="616" y="57"/>
                    <a:pt x="619" y="56"/>
                  </a:cubicBezTo>
                  <a:cubicBezTo>
                    <a:pt x="619" y="54"/>
                    <a:pt x="619" y="54"/>
                    <a:pt x="619" y="54"/>
                  </a:cubicBezTo>
                  <a:cubicBezTo>
                    <a:pt x="620" y="54"/>
                    <a:pt x="621" y="55"/>
                    <a:pt x="622" y="54"/>
                  </a:cubicBezTo>
                  <a:cubicBezTo>
                    <a:pt x="623" y="53"/>
                    <a:pt x="621" y="52"/>
                    <a:pt x="621" y="51"/>
                  </a:cubicBezTo>
                  <a:cubicBezTo>
                    <a:pt x="622" y="50"/>
                    <a:pt x="623" y="50"/>
                    <a:pt x="623" y="49"/>
                  </a:cubicBezTo>
                  <a:cubicBezTo>
                    <a:pt x="627" y="55"/>
                    <a:pt x="628" y="51"/>
                    <a:pt x="627" y="51"/>
                  </a:cubicBezTo>
                  <a:cubicBezTo>
                    <a:pt x="628" y="51"/>
                    <a:pt x="628" y="52"/>
                    <a:pt x="629" y="52"/>
                  </a:cubicBezTo>
                  <a:cubicBezTo>
                    <a:pt x="630" y="52"/>
                    <a:pt x="630" y="49"/>
                    <a:pt x="631" y="49"/>
                  </a:cubicBezTo>
                  <a:cubicBezTo>
                    <a:pt x="633" y="48"/>
                    <a:pt x="635" y="48"/>
                    <a:pt x="637" y="47"/>
                  </a:cubicBezTo>
                  <a:cubicBezTo>
                    <a:pt x="638" y="47"/>
                    <a:pt x="639" y="45"/>
                    <a:pt x="639" y="45"/>
                  </a:cubicBezTo>
                  <a:cubicBezTo>
                    <a:pt x="640" y="44"/>
                    <a:pt x="642" y="44"/>
                    <a:pt x="643" y="43"/>
                  </a:cubicBezTo>
                  <a:cubicBezTo>
                    <a:pt x="644" y="43"/>
                    <a:pt x="643" y="41"/>
                    <a:pt x="644" y="41"/>
                  </a:cubicBezTo>
                  <a:cubicBezTo>
                    <a:pt x="646" y="41"/>
                    <a:pt x="647" y="42"/>
                    <a:pt x="650" y="42"/>
                  </a:cubicBezTo>
                  <a:cubicBezTo>
                    <a:pt x="651" y="42"/>
                    <a:pt x="655" y="40"/>
                    <a:pt x="656" y="40"/>
                  </a:cubicBezTo>
                  <a:cubicBezTo>
                    <a:pt x="663" y="38"/>
                    <a:pt x="667" y="38"/>
                    <a:pt x="673" y="35"/>
                  </a:cubicBezTo>
                  <a:cubicBezTo>
                    <a:pt x="674" y="34"/>
                    <a:pt x="674" y="32"/>
                    <a:pt x="675" y="31"/>
                  </a:cubicBezTo>
                  <a:cubicBezTo>
                    <a:pt x="673" y="31"/>
                    <a:pt x="672" y="31"/>
                    <a:pt x="670" y="31"/>
                  </a:cubicBezTo>
                  <a:cubicBezTo>
                    <a:pt x="668" y="32"/>
                    <a:pt x="664" y="34"/>
                    <a:pt x="662" y="35"/>
                  </a:cubicBezTo>
                  <a:cubicBezTo>
                    <a:pt x="659" y="35"/>
                    <a:pt x="652" y="35"/>
                    <a:pt x="653" y="35"/>
                  </a:cubicBezTo>
                  <a:cubicBezTo>
                    <a:pt x="655" y="33"/>
                    <a:pt x="655" y="33"/>
                    <a:pt x="655" y="33"/>
                  </a:cubicBezTo>
                  <a:cubicBezTo>
                    <a:pt x="658" y="32"/>
                    <a:pt x="661" y="33"/>
                    <a:pt x="665" y="32"/>
                  </a:cubicBezTo>
                  <a:cubicBezTo>
                    <a:pt x="664" y="31"/>
                    <a:pt x="665" y="31"/>
                    <a:pt x="665" y="31"/>
                  </a:cubicBezTo>
                  <a:cubicBezTo>
                    <a:pt x="665" y="31"/>
                    <a:pt x="663" y="29"/>
                    <a:pt x="664" y="29"/>
                  </a:cubicBezTo>
                  <a:cubicBezTo>
                    <a:pt x="665" y="29"/>
                    <a:pt x="667" y="30"/>
                    <a:pt x="667" y="31"/>
                  </a:cubicBezTo>
                  <a:cubicBezTo>
                    <a:pt x="668" y="31"/>
                    <a:pt x="674" y="30"/>
                    <a:pt x="675" y="29"/>
                  </a:cubicBezTo>
                  <a:cubicBezTo>
                    <a:pt x="676" y="29"/>
                    <a:pt x="677" y="26"/>
                    <a:pt x="678" y="25"/>
                  </a:cubicBezTo>
                  <a:cubicBezTo>
                    <a:pt x="679" y="25"/>
                    <a:pt x="682" y="26"/>
                    <a:pt x="683" y="25"/>
                  </a:cubicBezTo>
                  <a:cubicBezTo>
                    <a:pt x="683" y="24"/>
                    <a:pt x="683" y="24"/>
                    <a:pt x="683" y="24"/>
                  </a:cubicBezTo>
                  <a:cubicBezTo>
                    <a:pt x="684" y="24"/>
                    <a:pt x="686" y="24"/>
                    <a:pt x="687" y="23"/>
                  </a:cubicBezTo>
                  <a:cubicBezTo>
                    <a:pt x="688" y="23"/>
                    <a:pt x="689" y="21"/>
                    <a:pt x="689" y="21"/>
                  </a:cubicBezTo>
                  <a:cubicBezTo>
                    <a:pt x="690" y="20"/>
                    <a:pt x="692" y="21"/>
                    <a:pt x="693" y="21"/>
                  </a:cubicBezTo>
                  <a:cubicBezTo>
                    <a:pt x="694" y="19"/>
                    <a:pt x="694" y="19"/>
                    <a:pt x="694" y="19"/>
                  </a:cubicBezTo>
                  <a:cubicBezTo>
                    <a:pt x="695" y="19"/>
                    <a:pt x="696" y="20"/>
                    <a:pt x="696" y="19"/>
                  </a:cubicBezTo>
                  <a:cubicBezTo>
                    <a:pt x="696" y="19"/>
                    <a:pt x="696" y="19"/>
                    <a:pt x="696" y="19"/>
                  </a:cubicBezTo>
                  <a:cubicBezTo>
                    <a:pt x="696" y="18"/>
                    <a:pt x="698" y="17"/>
                    <a:pt x="698" y="17"/>
                  </a:cubicBezTo>
                  <a:cubicBezTo>
                    <a:pt x="698" y="14"/>
                    <a:pt x="698" y="14"/>
                    <a:pt x="698" y="14"/>
                  </a:cubicBezTo>
                  <a:cubicBezTo>
                    <a:pt x="695" y="14"/>
                    <a:pt x="693" y="14"/>
                    <a:pt x="690" y="13"/>
                  </a:cubicBezTo>
                  <a:cubicBezTo>
                    <a:pt x="690" y="12"/>
                    <a:pt x="690" y="12"/>
                    <a:pt x="690" y="12"/>
                  </a:cubicBezTo>
                  <a:cubicBezTo>
                    <a:pt x="690" y="12"/>
                    <a:pt x="686" y="11"/>
                    <a:pt x="686" y="11"/>
                  </a:cubicBezTo>
                  <a:cubicBezTo>
                    <a:pt x="685" y="11"/>
                    <a:pt x="684" y="13"/>
                    <a:pt x="683" y="12"/>
                  </a:cubicBezTo>
                  <a:cubicBezTo>
                    <a:pt x="683" y="11"/>
                    <a:pt x="683" y="11"/>
                    <a:pt x="683" y="11"/>
                  </a:cubicBezTo>
                  <a:cubicBezTo>
                    <a:pt x="681" y="11"/>
                    <a:pt x="682" y="10"/>
                    <a:pt x="681" y="9"/>
                  </a:cubicBezTo>
                  <a:cubicBezTo>
                    <a:pt x="680" y="9"/>
                    <a:pt x="679" y="9"/>
                    <a:pt x="678" y="9"/>
                  </a:cubicBezTo>
                  <a:cubicBezTo>
                    <a:pt x="678" y="7"/>
                    <a:pt x="678" y="7"/>
                    <a:pt x="678" y="7"/>
                  </a:cubicBezTo>
                  <a:cubicBezTo>
                    <a:pt x="675" y="6"/>
                    <a:pt x="673" y="7"/>
                    <a:pt x="669" y="6"/>
                  </a:cubicBezTo>
                  <a:cubicBezTo>
                    <a:pt x="669" y="6"/>
                    <a:pt x="667" y="4"/>
                    <a:pt x="666" y="4"/>
                  </a:cubicBezTo>
                  <a:cubicBezTo>
                    <a:pt x="662" y="3"/>
                    <a:pt x="654" y="3"/>
                    <a:pt x="653" y="3"/>
                  </a:cubicBezTo>
                  <a:cubicBezTo>
                    <a:pt x="651" y="4"/>
                    <a:pt x="650" y="8"/>
                    <a:pt x="648" y="9"/>
                  </a:cubicBezTo>
                  <a:cubicBezTo>
                    <a:pt x="646" y="10"/>
                    <a:pt x="644" y="10"/>
                    <a:pt x="643" y="11"/>
                  </a:cubicBezTo>
                  <a:cubicBezTo>
                    <a:pt x="642" y="11"/>
                    <a:pt x="641" y="13"/>
                    <a:pt x="640" y="13"/>
                  </a:cubicBezTo>
                  <a:cubicBezTo>
                    <a:pt x="638" y="14"/>
                    <a:pt x="638" y="12"/>
                    <a:pt x="637" y="13"/>
                  </a:cubicBezTo>
                  <a:cubicBezTo>
                    <a:pt x="637" y="13"/>
                    <a:pt x="635" y="14"/>
                    <a:pt x="635" y="15"/>
                  </a:cubicBezTo>
                  <a:cubicBezTo>
                    <a:pt x="631" y="16"/>
                    <a:pt x="630" y="15"/>
                    <a:pt x="627" y="17"/>
                  </a:cubicBezTo>
                  <a:cubicBezTo>
                    <a:pt x="628" y="16"/>
                    <a:pt x="627" y="15"/>
                    <a:pt x="627" y="15"/>
                  </a:cubicBezTo>
                  <a:cubicBezTo>
                    <a:pt x="628" y="14"/>
                    <a:pt x="631" y="12"/>
                    <a:pt x="633" y="11"/>
                  </a:cubicBezTo>
                  <a:cubicBezTo>
                    <a:pt x="634" y="11"/>
                    <a:pt x="636" y="12"/>
                    <a:pt x="638" y="11"/>
                  </a:cubicBezTo>
                  <a:cubicBezTo>
                    <a:pt x="639" y="11"/>
                    <a:pt x="647" y="7"/>
                    <a:pt x="647" y="6"/>
                  </a:cubicBezTo>
                  <a:cubicBezTo>
                    <a:pt x="648" y="5"/>
                    <a:pt x="647" y="4"/>
                    <a:pt x="648" y="3"/>
                  </a:cubicBezTo>
                  <a:cubicBezTo>
                    <a:pt x="647" y="3"/>
                    <a:pt x="645" y="2"/>
                    <a:pt x="644" y="2"/>
                  </a:cubicBezTo>
                  <a:cubicBezTo>
                    <a:pt x="639" y="0"/>
                    <a:pt x="637" y="2"/>
                    <a:pt x="632" y="3"/>
                  </a:cubicBezTo>
                  <a:cubicBezTo>
                    <a:pt x="631" y="3"/>
                    <a:pt x="628" y="2"/>
                    <a:pt x="629" y="2"/>
                  </a:cubicBezTo>
                  <a:cubicBezTo>
                    <a:pt x="628" y="3"/>
                    <a:pt x="628" y="3"/>
                    <a:pt x="628" y="3"/>
                  </a:cubicBezTo>
                  <a:cubicBezTo>
                    <a:pt x="627" y="3"/>
                    <a:pt x="623" y="3"/>
                    <a:pt x="622" y="2"/>
                  </a:cubicBezTo>
                  <a:cubicBezTo>
                    <a:pt x="621" y="1"/>
                    <a:pt x="621" y="1"/>
                    <a:pt x="621" y="1"/>
                  </a:cubicBezTo>
                  <a:cubicBezTo>
                    <a:pt x="621" y="0"/>
                    <a:pt x="620" y="1"/>
                    <a:pt x="618" y="1"/>
                  </a:cubicBezTo>
                  <a:cubicBezTo>
                    <a:pt x="616" y="1"/>
                    <a:pt x="613" y="0"/>
                    <a:pt x="611" y="0"/>
                  </a:cubicBezTo>
                  <a:cubicBezTo>
                    <a:pt x="610" y="0"/>
                    <a:pt x="606" y="3"/>
                    <a:pt x="606" y="3"/>
                  </a:cubicBezTo>
                  <a:cubicBezTo>
                    <a:pt x="606" y="4"/>
                    <a:pt x="606" y="6"/>
                    <a:pt x="606" y="7"/>
                  </a:cubicBezTo>
                  <a:cubicBezTo>
                    <a:pt x="605" y="6"/>
                    <a:pt x="605" y="5"/>
                    <a:pt x="605" y="5"/>
                  </a:cubicBezTo>
                  <a:cubicBezTo>
                    <a:pt x="602" y="4"/>
                    <a:pt x="589" y="7"/>
                    <a:pt x="594" y="12"/>
                  </a:cubicBezTo>
                  <a:cubicBezTo>
                    <a:pt x="592" y="11"/>
                    <a:pt x="590" y="11"/>
                    <a:pt x="588" y="9"/>
                  </a:cubicBezTo>
                  <a:cubicBezTo>
                    <a:pt x="587" y="9"/>
                    <a:pt x="587" y="7"/>
                    <a:pt x="585" y="7"/>
                  </a:cubicBezTo>
                  <a:cubicBezTo>
                    <a:pt x="584" y="6"/>
                    <a:pt x="582" y="7"/>
                    <a:pt x="582" y="7"/>
                  </a:cubicBezTo>
                  <a:cubicBezTo>
                    <a:pt x="575" y="8"/>
                    <a:pt x="566" y="6"/>
                    <a:pt x="561" y="7"/>
                  </a:cubicBezTo>
                  <a:cubicBezTo>
                    <a:pt x="559" y="7"/>
                    <a:pt x="557" y="9"/>
                    <a:pt x="556" y="9"/>
                  </a:cubicBezTo>
                  <a:cubicBezTo>
                    <a:pt x="556" y="11"/>
                    <a:pt x="556" y="11"/>
                    <a:pt x="556" y="11"/>
                  </a:cubicBezTo>
                  <a:cubicBezTo>
                    <a:pt x="556" y="11"/>
                    <a:pt x="557" y="11"/>
                    <a:pt x="558" y="11"/>
                  </a:cubicBezTo>
                  <a:cubicBezTo>
                    <a:pt x="558" y="12"/>
                    <a:pt x="557" y="13"/>
                    <a:pt x="558" y="13"/>
                  </a:cubicBezTo>
                  <a:cubicBezTo>
                    <a:pt x="559" y="14"/>
                    <a:pt x="561" y="13"/>
                    <a:pt x="562" y="13"/>
                  </a:cubicBezTo>
                  <a:cubicBezTo>
                    <a:pt x="562" y="13"/>
                    <a:pt x="563" y="15"/>
                    <a:pt x="563" y="15"/>
                  </a:cubicBezTo>
                  <a:cubicBezTo>
                    <a:pt x="564" y="15"/>
                    <a:pt x="566" y="16"/>
                    <a:pt x="567" y="17"/>
                  </a:cubicBezTo>
                  <a:cubicBezTo>
                    <a:pt x="567" y="18"/>
                    <a:pt x="566" y="20"/>
                    <a:pt x="566" y="20"/>
                  </a:cubicBezTo>
                  <a:cubicBezTo>
                    <a:pt x="564" y="17"/>
                    <a:pt x="563" y="15"/>
                    <a:pt x="560" y="15"/>
                  </a:cubicBezTo>
                  <a:cubicBezTo>
                    <a:pt x="559" y="14"/>
                    <a:pt x="557" y="15"/>
                    <a:pt x="557" y="15"/>
                  </a:cubicBezTo>
                  <a:cubicBezTo>
                    <a:pt x="556" y="14"/>
                    <a:pt x="555" y="12"/>
                    <a:pt x="554" y="11"/>
                  </a:cubicBezTo>
                  <a:cubicBezTo>
                    <a:pt x="554" y="12"/>
                    <a:pt x="553" y="11"/>
                    <a:pt x="552" y="11"/>
                  </a:cubicBezTo>
                  <a:cubicBezTo>
                    <a:pt x="552" y="11"/>
                    <a:pt x="551" y="13"/>
                    <a:pt x="551" y="13"/>
                  </a:cubicBezTo>
                  <a:cubicBezTo>
                    <a:pt x="549" y="14"/>
                    <a:pt x="547" y="13"/>
                    <a:pt x="545" y="13"/>
                  </a:cubicBezTo>
                  <a:cubicBezTo>
                    <a:pt x="544" y="12"/>
                    <a:pt x="544" y="11"/>
                    <a:pt x="543" y="11"/>
                  </a:cubicBezTo>
                  <a:cubicBezTo>
                    <a:pt x="543" y="11"/>
                    <a:pt x="543" y="13"/>
                    <a:pt x="543" y="13"/>
                  </a:cubicBezTo>
                  <a:cubicBezTo>
                    <a:pt x="543" y="14"/>
                    <a:pt x="540" y="17"/>
                    <a:pt x="539" y="17"/>
                  </a:cubicBezTo>
                  <a:cubicBezTo>
                    <a:pt x="538" y="17"/>
                    <a:pt x="537" y="18"/>
                    <a:pt x="536" y="17"/>
                  </a:cubicBezTo>
                  <a:cubicBezTo>
                    <a:pt x="535" y="17"/>
                    <a:pt x="535" y="15"/>
                    <a:pt x="535" y="15"/>
                  </a:cubicBezTo>
                  <a:cubicBezTo>
                    <a:pt x="534" y="15"/>
                    <a:pt x="533" y="15"/>
                    <a:pt x="532" y="15"/>
                  </a:cubicBezTo>
                  <a:cubicBezTo>
                    <a:pt x="532" y="15"/>
                    <a:pt x="531" y="16"/>
                    <a:pt x="531" y="17"/>
                  </a:cubicBezTo>
                  <a:cubicBezTo>
                    <a:pt x="532" y="18"/>
                    <a:pt x="533" y="19"/>
                    <a:pt x="533" y="19"/>
                  </a:cubicBezTo>
                  <a:cubicBezTo>
                    <a:pt x="534" y="20"/>
                    <a:pt x="535" y="19"/>
                    <a:pt x="536" y="19"/>
                  </a:cubicBezTo>
                  <a:cubicBezTo>
                    <a:pt x="536" y="21"/>
                    <a:pt x="536" y="21"/>
                    <a:pt x="536" y="21"/>
                  </a:cubicBezTo>
                  <a:cubicBezTo>
                    <a:pt x="532" y="19"/>
                    <a:pt x="529" y="17"/>
                    <a:pt x="526" y="17"/>
                  </a:cubicBezTo>
                  <a:cubicBezTo>
                    <a:pt x="526" y="16"/>
                    <a:pt x="524" y="17"/>
                    <a:pt x="524" y="17"/>
                  </a:cubicBezTo>
                  <a:cubicBezTo>
                    <a:pt x="523" y="16"/>
                    <a:pt x="522" y="14"/>
                    <a:pt x="521" y="14"/>
                  </a:cubicBezTo>
                  <a:cubicBezTo>
                    <a:pt x="520" y="14"/>
                    <a:pt x="518" y="14"/>
                    <a:pt x="517" y="14"/>
                  </a:cubicBezTo>
                  <a:cubicBezTo>
                    <a:pt x="517" y="16"/>
                    <a:pt x="517" y="21"/>
                    <a:pt x="518" y="23"/>
                  </a:cubicBezTo>
                  <a:cubicBezTo>
                    <a:pt x="519" y="24"/>
                    <a:pt x="521" y="24"/>
                    <a:pt x="521" y="25"/>
                  </a:cubicBezTo>
                  <a:cubicBezTo>
                    <a:pt x="521" y="25"/>
                    <a:pt x="521" y="26"/>
                    <a:pt x="521" y="27"/>
                  </a:cubicBezTo>
                  <a:cubicBezTo>
                    <a:pt x="520" y="26"/>
                    <a:pt x="519" y="24"/>
                    <a:pt x="518" y="23"/>
                  </a:cubicBezTo>
                  <a:cubicBezTo>
                    <a:pt x="517" y="23"/>
                    <a:pt x="517" y="22"/>
                    <a:pt x="516" y="22"/>
                  </a:cubicBezTo>
                  <a:cubicBezTo>
                    <a:pt x="516" y="23"/>
                    <a:pt x="515" y="21"/>
                    <a:pt x="514" y="21"/>
                  </a:cubicBezTo>
                  <a:cubicBezTo>
                    <a:pt x="514" y="22"/>
                    <a:pt x="515" y="25"/>
                    <a:pt x="514" y="25"/>
                  </a:cubicBezTo>
                  <a:cubicBezTo>
                    <a:pt x="513" y="25"/>
                    <a:pt x="513" y="25"/>
                    <a:pt x="513" y="25"/>
                  </a:cubicBezTo>
                  <a:cubicBezTo>
                    <a:pt x="510" y="21"/>
                    <a:pt x="510" y="19"/>
                    <a:pt x="504" y="18"/>
                  </a:cubicBezTo>
                  <a:cubicBezTo>
                    <a:pt x="503" y="17"/>
                    <a:pt x="503" y="17"/>
                    <a:pt x="503" y="17"/>
                  </a:cubicBezTo>
                  <a:cubicBezTo>
                    <a:pt x="500" y="16"/>
                    <a:pt x="498" y="17"/>
                    <a:pt x="495" y="16"/>
                  </a:cubicBezTo>
                  <a:cubicBezTo>
                    <a:pt x="491" y="15"/>
                    <a:pt x="491" y="15"/>
                    <a:pt x="491" y="15"/>
                  </a:cubicBezTo>
                  <a:cubicBezTo>
                    <a:pt x="491" y="14"/>
                    <a:pt x="490" y="13"/>
                    <a:pt x="490" y="13"/>
                  </a:cubicBezTo>
                  <a:cubicBezTo>
                    <a:pt x="490" y="12"/>
                    <a:pt x="490" y="12"/>
                    <a:pt x="490" y="12"/>
                  </a:cubicBezTo>
                  <a:cubicBezTo>
                    <a:pt x="488" y="11"/>
                    <a:pt x="484" y="12"/>
                    <a:pt x="482" y="12"/>
                  </a:cubicBezTo>
                  <a:cubicBezTo>
                    <a:pt x="483" y="13"/>
                    <a:pt x="482" y="13"/>
                    <a:pt x="482" y="14"/>
                  </a:cubicBezTo>
                  <a:cubicBezTo>
                    <a:pt x="482" y="14"/>
                    <a:pt x="485" y="18"/>
                    <a:pt x="486" y="19"/>
                  </a:cubicBezTo>
                  <a:cubicBezTo>
                    <a:pt x="480" y="17"/>
                    <a:pt x="476" y="19"/>
                    <a:pt x="470" y="18"/>
                  </a:cubicBezTo>
                  <a:cubicBezTo>
                    <a:pt x="471" y="20"/>
                    <a:pt x="471" y="21"/>
                    <a:pt x="472" y="23"/>
                  </a:cubicBezTo>
                  <a:cubicBezTo>
                    <a:pt x="474" y="23"/>
                    <a:pt x="474" y="22"/>
                    <a:pt x="476" y="23"/>
                  </a:cubicBezTo>
                  <a:cubicBezTo>
                    <a:pt x="477" y="23"/>
                    <a:pt x="478" y="25"/>
                    <a:pt x="478" y="25"/>
                  </a:cubicBezTo>
                  <a:cubicBezTo>
                    <a:pt x="481" y="25"/>
                    <a:pt x="482" y="23"/>
                    <a:pt x="484" y="23"/>
                  </a:cubicBezTo>
                  <a:cubicBezTo>
                    <a:pt x="485" y="23"/>
                    <a:pt x="487" y="24"/>
                    <a:pt x="489" y="24"/>
                  </a:cubicBezTo>
                  <a:cubicBezTo>
                    <a:pt x="490" y="24"/>
                    <a:pt x="491" y="22"/>
                    <a:pt x="493" y="23"/>
                  </a:cubicBezTo>
                  <a:cubicBezTo>
                    <a:pt x="493" y="23"/>
                    <a:pt x="494" y="24"/>
                    <a:pt x="494" y="24"/>
                  </a:cubicBezTo>
                  <a:cubicBezTo>
                    <a:pt x="494" y="25"/>
                    <a:pt x="494" y="25"/>
                    <a:pt x="494" y="25"/>
                  </a:cubicBezTo>
                  <a:cubicBezTo>
                    <a:pt x="494" y="26"/>
                    <a:pt x="492" y="25"/>
                    <a:pt x="492" y="25"/>
                  </a:cubicBezTo>
                  <a:cubicBezTo>
                    <a:pt x="492" y="25"/>
                    <a:pt x="492" y="31"/>
                    <a:pt x="492" y="31"/>
                  </a:cubicBezTo>
                  <a:cubicBezTo>
                    <a:pt x="491" y="31"/>
                    <a:pt x="491" y="31"/>
                    <a:pt x="490" y="31"/>
                  </a:cubicBezTo>
                  <a:cubicBezTo>
                    <a:pt x="490" y="29"/>
                    <a:pt x="490" y="28"/>
                    <a:pt x="489" y="26"/>
                  </a:cubicBezTo>
                  <a:cubicBezTo>
                    <a:pt x="487" y="26"/>
                    <a:pt x="486" y="26"/>
                    <a:pt x="484" y="27"/>
                  </a:cubicBezTo>
                  <a:cubicBezTo>
                    <a:pt x="483" y="29"/>
                    <a:pt x="483" y="29"/>
                    <a:pt x="483" y="29"/>
                  </a:cubicBezTo>
                  <a:cubicBezTo>
                    <a:pt x="483" y="29"/>
                    <a:pt x="476" y="26"/>
                    <a:pt x="474" y="25"/>
                  </a:cubicBezTo>
                  <a:cubicBezTo>
                    <a:pt x="475" y="25"/>
                    <a:pt x="473" y="27"/>
                    <a:pt x="473" y="27"/>
                  </a:cubicBezTo>
                  <a:cubicBezTo>
                    <a:pt x="474" y="27"/>
                    <a:pt x="475" y="30"/>
                    <a:pt x="474" y="30"/>
                  </a:cubicBezTo>
                  <a:close/>
                  <a:moveTo>
                    <a:pt x="101" y="453"/>
                  </a:moveTo>
                  <a:cubicBezTo>
                    <a:pt x="102" y="453"/>
                    <a:pt x="102" y="453"/>
                    <a:pt x="102" y="453"/>
                  </a:cubicBezTo>
                  <a:cubicBezTo>
                    <a:pt x="102" y="452"/>
                    <a:pt x="102" y="452"/>
                    <a:pt x="102" y="452"/>
                  </a:cubicBezTo>
                  <a:cubicBezTo>
                    <a:pt x="102" y="452"/>
                    <a:pt x="103" y="453"/>
                    <a:pt x="104" y="453"/>
                  </a:cubicBezTo>
                  <a:cubicBezTo>
                    <a:pt x="103" y="453"/>
                    <a:pt x="104" y="455"/>
                    <a:pt x="104" y="455"/>
                  </a:cubicBezTo>
                  <a:cubicBezTo>
                    <a:pt x="103" y="456"/>
                    <a:pt x="102" y="455"/>
                    <a:pt x="102" y="455"/>
                  </a:cubicBezTo>
                  <a:cubicBezTo>
                    <a:pt x="100" y="456"/>
                    <a:pt x="97" y="462"/>
                    <a:pt x="96" y="464"/>
                  </a:cubicBezTo>
                  <a:cubicBezTo>
                    <a:pt x="97" y="465"/>
                    <a:pt x="99" y="465"/>
                    <a:pt x="100" y="466"/>
                  </a:cubicBezTo>
                  <a:cubicBezTo>
                    <a:pt x="100" y="467"/>
                    <a:pt x="99" y="467"/>
                    <a:pt x="99" y="467"/>
                  </a:cubicBezTo>
                  <a:cubicBezTo>
                    <a:pt x="99" y="467"/>
                    <a:pt x="99" y="469"/>
                    <a:pt x="99" y="469"/>
                  </a:cubicBezTo>
                  <a:cubicBezTo>
                    <a:pt x="99" y="469"/>
                    <a:pt x="101" y="470"/>
                    <a:pt x="101" y="470"/>
                  </a:cubicBezTo>
                  <a:cubicBezTo>
                    <a:pt x="101" y="471"/>
                    <a:pt x="101" y="471"/>
                    <a:pt x="101" y="471"/>
                  </a:cubicBezTo>
                  <a:cubicBezTo>
                    <a:pt x="98" y="470"/>
                    <a:pt x="100" y="476"/>
                    <a:pt x="101" y="477"/>
                  </a:cubicBezTo>
                  <a:cubicBezTo>
                    <a:pt x="104" y="480"/>
                    <a:pt x="104" y="480"/>
                    <a:pt x="104" y="480"/>
                  </a:cubicBezTo>
                  <a:cubicBezTo>
                    <a:pt x="104" y="479"/>
                    <a:pt x="106" y="480"/>
                    <a:pt x="106" y="479"/>
                  </a:cubicBezTo>
                  <a:cubicBezTo>
                    <a:pt x="107" y="479"/>
                    <a:pt x="106" y="478"/>
                    <a:pt x="106" y="478"/>
                  </a:cubicBezTo>
                  <a:cubicBezTo>
                    <a:pt x="108" y="475"/>
                    <a:pt x="108" y="475"/>
                    <a:pt x="108" y="475"/>
                  </a:cubicBezTo>
                  <a:cubicBezTo>
                    <a:pt x="109" y="474"/>
                    <a:pt x="110" y="476"/>
                    <a:pt x="111" y="475"/>
                  </a:cubicBezTo>
                  <a:cubicBezTo>
                    <a:pt x="110" y="477"/>
                    <a:pt x="110" y="476"/>
                    <a:pt x="109" y="477"/>
                  </a:cubicBezTo>
                  <a:cubicBezTo>
                    <a:pt x="109" y="478"/>
                    <a:pt x="110" y="481"/>
                    <a:pt x="110" y="481"/>
                  </a:cubicBezTo>
                  <a:cubicBezTo>
                    <a:pt x="110" y="481"/>
                    <a:pt x="108" y="481"/>
                    <a:pt x="108" y="481"/>
                  </a:cubicBezTo>
                  <a:cubicBezTo>
                    <a:pt x="108" y="481"/>
                    <a:pt x="107" y="483"/>
                    <a:pt x="107" y="484"/>
                  </a:cubicBezTo>
                  <a:cubicBezTo>
                    <a:pt x="108" y="484"/>
                    <a:pt x="109" y="485"/>
                    <a:pt x="110" y="486"/>
                  </a:cubicBezTo>
                  <a:cubicBezTo>
                    <a:pt x="110" y="489"/>
                    <a:pt x="110" y="489"/>
                    <a:pt x="110" y="489"/>
                  </a:cubicBezTo>
                  <a:cubicBezTo>
                    <a:pt x="110" y="489"/>
                    <a:pt x="112" y="487"/>
                    <a:pt x="110" y="487"/>
                  </a:cubicBezTo>
                  <a:cubicBezTo>
                    <a:pt x="111" y="487"/>
                    <a:pt x="112" y="487"/>
                    <a:pt x="113" y="487"/>
                  </a:cubicBezTo>
                  <a:cubicBezTo>
                    <a:pt x="114" y="487"/>
                    <a:pt x="112" y="486"/>
                    <a:pt x="114" y="485"/>
                  </a:cubicBezTo>
                  <a:cubicBezTo>
                    <a:pt x="114" y="487"/>
                    <a:pt x="114" y="490"/>
                    <a:pt x="116" y="491"/>
                  </a:cubicBezTo>
                  <a:cubicBezTo>
                    <a:pt x="116" y="492"/>
                    <a:pt x="118" y="491"/>
                    <a:pt x="120" y="493"/>
                  </a:cubicBezTo>
                  <a:cubicBezTo>
                    <a:pt x="119" y="495"/>
                    <a:pt x="119" y="495"/>
                    <a:pt x="119" y="495"/>
                  </a:cubicBezTo>
                  <a:cubicBezTo>
                    <a:pt x="118" y="494"/>
                    <a:pt x="119" y="495"/>
                    <a:pt x="121" y="495"/>
                  </a:cubicBezTo>
                  <a:cubicBezTo>
                    <a:pt x="120" y="497"/>
                    <a:pt x="121" y="496"/>
                    <a:pt x="120" y="497"/>
                  </a:cubicBezTo>
                  <a:cubicBezTo>
                    <a:pt x="120" y="498"/>
                    <a:pt x="120" y="499"/>
                    <a:pt x="120" y="500"/>
                  </a:cubicBezTo>
                  <a:cubicBezTo>
                    <a:pt x="120" y="500"/>
                    <a:pt x="122" y="501"/>
                    <a:pt x="122" y="501"/>
                  </a:cubicBezTo>
                  <a:cubicBezTo>
                    <a:pt x="122" y="501"/>
                    <a:pt x="121" y="502"/>
                    <a:pt x="120" y="502"/>
                  </a:cubicBezTo>
                  <a:cubicBezTo>
                    <a:pt x="118" y="502"/>
                    <a:pt x="122" y="502"/>
                    <a:pt x="121" y="503"/>
                  </a:cubicBezTo>
                  <a:cubicBezTo>
                    <a:pt x="120" y="504"/>
                    <a:pt x="119" y="503"/>
                    <a:pt x="118" y="504"/>
                  </a:cubicBezTo>
                  <a:cubicBezTo>
                    <a:pt x="117" y="505"/>
                    <a:pt x="119" y="509"/>
                    <a:pt x="119" y="510"/>
                  </a:cubicBezTo>
                  <a:cubicBezTo>
                    <a:pt x="117" y="510"/>
                    <a:pt x="116" y="510"/>
                    <a:pt x="114" y="509"/>
                  </a:cubicBezTo>
                  <a:cubicBezTo>
                    <a:pt x="114" y="509"/>
                    <a:pt x="114" y="512"/>
                    <a:pt x="114" y="513"/>
                  </a:cubicBezTo>
                  <a:cubicBezTo>
                    <a:pt x="116" y="514"/>
                    <a:pt x="116" y="514"/>
                    <a:pt x="116" y="514"/>
                  </a:cubicBezTo>
                  <a:cubicBezTo>
                    <a:pt x="116" y="515"/>
                    <a:pt x="116" y="517"/>
                    <a:pt x="116" y="520"/>
                  </a:cubicBezTo>
                  <a:cubicBezTo>
                    <a:pt x="117" y="520"/>
                    <a:pt x="117" y="521"/>
                    <a:pt x="118" y="520"/>
                  </a:cubicBezTo>
                  <a:cubicBezTo>
                    <a:pt x="119" y="520"/>
                    <a:pt x="120" y="518"/>
                    <a:pt x="121" y="518"/>
                  </a:cubicBezTo>
                  <a:cubicBezTo>
                    <a:pt x="122" y="520"/>
                    <a:pt x="122" y="520"/>
                    <a:pt x="122" y="520"/>
                  </a:cubicBezTo>
                  <a:cubicBezTo>
                    <a:pt x="124" y="520"/>
                    <a:pt x="127" y="520"/>
                    <a:pt x="130" y="520"/>
                  </a:cubicBezTo>
                  <a:cubicBezTo>
                    <a:pt x="129" y="523"/>
                    <a:pt x="129" y="525"/>
                    <a:pt x="129" y="526"/>
                  </a:cubicBezTo>
                  <a:cubicBezTo>
                    <a:pt x="131" y="525"/>
                    <a:pt x="132" y="525"/>
                    <a:pt x="135" y="525"/>
                  </a:cubicBezTo>
                  <a:cubicBezTo>
                    <a:pt x="135" y="525"/>
                    <a:pt x="135" y="526"/>
                    <a:pt x="135" y="526"/>
                  </a:cubicBezTo>
                  <a:cubicBezTo>
                    <a:pt x="136" y="527"/>
                    <a:pt x="137" y="526"/>
                    <a:pt x="137" y="526"/>
                  </a:cubicBezTo>
                  <a:cubicBezTo>
                    <a:pt x="137" y="526"/>
                    <a:pt x="137" y="529"/>
                    <a:pt x="137" y="529"/>
                  </a:cubicBezTo>
                  <a:cubicBezTo>
                    <a:pt x="139" y="530"/>
                    <a:pt x="141" y="530"/>
                    <a:pt x="143" y="530"/>
                  </a:cubicBezTo>
                  <a:cubicBezTo>
                    <a:pt x="143" y="534"/>
                    <a:pt x="142" y="535"/>
                    <a:pt x="146" y="537"/>
                  </a:cubicBezTo>
                  <a:cubicBezTo>
                    <a:pt x="147" y="537"/>
                    <a:pt x="148" y="537"/>
                    <a:pt x="149" y="537"/>
                  </a:cubicBezTo>
                  <a:cubicBezTo>
                    <a:pt x="149" y="537"/>
                    <a:pt x="149" y="538"/>
                    <a:pt x="149" y="538"/>
                  </a:cubicBezTo>
                  <a:cubicBezTo>
                    <a:pt x="156" y="538"/>
                    <a:pt x="158" y="539"/>
                    <a:pt x="162" y="540"/>
                  </a:cubicBezTo>
                  <a:cubicBezTo>
                    <a:pt x="162" y="539"/>
                    <a:pt x="162" y="537"/>
                    <a:pt x="162" y="536"/>
                  </a:cubicBezTo>
                  <a:cubicBezTo>
                    <a:pt x="162" y="536"/>
                    <a:pt x="160" y="536"/>
                    <a:pt x="159" y="535"/>
                  </a:cubicBezTo>
                  <a:cubicBezTo>
                    <a:pt x="159" y="535"/>
                    <a:pt x="157" y="532"/>
                    <a:pt x="157" y="532"/>
                  </a:cubicBezTo>
                  <a:cubicBezTo>
                    <a:pt x="157" y="531"/>
                    <a:pt x="158" y="531"/>
                    <a:pt x="157" y="530"/>
                  </a:cubicBezTo>
                  <a:cubicBezTo>
                    <a:pt x="156" y="529"/>
                    <a:pt x="151" y="526"/>
                    <a:pt x="149" y="525"/>
                  </a:cubicBezTo>
                  <a:cubicBezTo>
                    <a:pt x="147" y="524"/>
                    <a:pt x="144" y="525"/>
                    <a:pt x="143" y="523"/>
                  </a:cubicBezTo>
                  <a:cubicBezTo>
                    <a:pt x="142" y="523"/>
                    <a:pt x="143" y="520"/>
                    <a:pt x="143" y="520"/>
                  </a:cubicBezTo>
                  <a:cubicBezTo>
                    <a:pt x="143" y="519"/>
                    <a:pt x="141" y="519"/>
                    <a:pt x="140" y="519"/>
                  </a:cubicBezTo>
                  <a:cubicBezTo>
                    <a:pt x="139" y="519"/>
                    <a:pt x="139" y="515"/>
                    <a:pt x="139" y="517"/>
                  </a:cubicBezTo>
                  <a:cubicBezTo>
                    <a:pt x="140" y="515"/>
                    <a:pt x="140" y="515"/>
                    <a:pt x="140" y="515"/>
                  </a:cubicBezTo>
                  <a:cubicBezTo>
                    <a:pt x="139" y="515"/>
                    <a:pt x="139" y="516"/>
                    <a:pt x="138" y="516"/>
                  </a:cubicBezTo>
                  <a:cubicBezTo>
                    <a:pt x="138" y="516"/>
                    <a:pt x="136" y="514"/>
                    <a:pt x="135" y="514"/>
                  </a:cubicBezTo>
                  <a:cubicBezTo>
                    <a:pt x="133" y="513"/>
                    <a:pt x="130" y="514"/>
                    <a:pt x="128" y="514"/>
                  </a:cubicBezTo>
                  <a:cubicBezTo>
                    <a:pt x="125" y="513"/>
                    <a:pt x="121" y="511"/>
                    <a:pt x="119" y="511"/>
                  </a:cubicBezTo>
                  <a:cubicBezTo>
                    <a:pt x="121" y="510"/>
                    <a:pt x="123" y="508"/>
                    <a:pt x="127" y="508"/>
                  </a:cubicBezTo>
                  <a:cubicBezTo>
                    <a:pt x="131" y="508"/>
                    <a:pt x="130" y="510"/>
                    <a:pt x="128" y="512"/>
                  </a:cubicBezTo>
                  <a:cubicBezTo>
                    <a:pt x="129" y="512"/>
                    <a:pt x="129" y="513"/>
                    <a:pt x="130" y="513"/>
                  </a:cubicBezTo>
                  <a:cubicBezTo>
                    <a:pt x="132" y="514"/>
                    <a:pt x="137" y="512"/>
                    <a:pt x="139" y="511"/>
                  </a:cubicBezTo>
                  <a:cubicBezTo>
                    <a:pt x="140" y="511"/>
                    <a:pt x="141" y="510"/>
                    <a:pt x="142" y="510"/>
                  </a:cubicBezTo>
                  <a:cubicBezTo>
                    <a:pt x="143" y="510"/>
                    <a:pt x="142" y="512"/>
                    <a:pt x="142" y="513"/>
                  </a:cubicBezTo>
                  <a:cubicBezTo>
                    <a:pt x="142" y="513"/>
                    <a:pt x="144" y="513"/>
                    <a:pt x="145" y="514"/>
                  </a:cubicBezTo>
                  <a:cubicBezTo>
                    <a:pt x="145" y="515"/>
                    <a:pt x="144" y="515"/>
                    <a:pt x="144" y="516"/>
                  </a:cubicBezTo>
                  <a:cubicBezTo>
                    <a:pt x="147" y="517"/>
                    <a:pt x="148" y="517"/>
                    <a:pt x="151" y="517"/>
                  </a:cubicBezTo>
                  <a:cubicBezTo>
                    <a:pt x="151" y="518"/>
                    <a:pt x="151" y="518"/>
                    <a:pt x="151" y="518"/>
                  </a:cubicBezTo>
                  <a:cubicBezTo>
                    <a:pt x="155" y="520"/>
                    <a:pt x="149" y="524"/>
                    <a:pt x="153" y="523"/>
                  </a:cubicBezTo>
                  <a:cubicBezTo>
                    <a:pt x="154" y="523"/>
                    <a:pt x="155" y="521"/>
                    <a:pt x="155" y="520"/>
                  </a:cubicBezTo>
                  <a:cubicBezTo>
                    <a:pt x="156" y="520"/>
                    <a:pt x="157" y="521"/>
                    <a:pt x="157" y="520"/>
                  </a:cubicBezTo>
                  <a:cubicBezTo>
                    <a:pt x="157" y="521"/>
                    <a:pt x="158" y="522"/>
                    <a:pt x="158" y="522"/>
                  </a:cubicBezTo>
                  <a:cubicBezTo>
                    <a:pt x="157" y="522"/>
                    <a:pt x="157" y="524"/>
                    <a:pt x="157" y="524"/>
                  </a:cubicBezTo>
                  <a:cubicBezTo>
                    <a:pt x="158" y="525"/>
                    <a:pt x="159" y="525"/>
                    <a:pt x="160" y="526"/>
                  </a:cubicBezTo>
                  <a:cubicBezTo>
                    <a:pt x="160" y="527"/>
                    <a:pt x="160" y="527"/>
                    <a:pt x="160" y="527"/>
                  </a:cubicBezTo>
                  <a:cubicBezTo>
                    <a:pt x="161" y="527"/>
                    <a:pt x="161" y="527"/>
                    <a:pt x="162" y="527"/>
                  </a:cubicBezTo>
                  <a:cubicBezTo>
                    <a:pt x="162" y="528"/>
                    <a:pt x="162" y="529"/>
                    <a:pt x="162" y="530"/>
                  </a:cubicBezTo>
                  <a:cubicBezTo>
                    <a:pt x="163" y="531"/>
                    <a:pt x="165" y="531"/>
                    <a:pt x="165" y="532"/>
                  </a:cubicBezTo>
                  <a:cubicBezTo>
                    <a:pt x="403" y="536"/>
                    <a:pt x="403" y="536"/>
                    <a:pt x="403" y="536"/>
                  </a:cubicBezTo>
                  <a:cubicBezTo>
                    <a:pt x="403" y="536"/>
                    <a:pt x="403" y="531"/>
                    <a:pt x="405" y="531"/>
                  </a:cubicBezTo>
                  <a:cubicBezTo>
                    <a:pt x="407" y="531"/>
                    <a:pt x="409" y="539"/>
                    <a:pt x="409" y="539"/>
                  </a:cubicBezTo>
                  <a:cubicBezTo>
                    <a:pt x="409" y="539"/>
                    <a:pt x="410" y="540"/>
                    <a:pt x="413" y="540"/>
                  </a:cubicBezTo>
                  <a:cubicBezTo>
                    <a:pt x="416" y="540"/>
                    <a:pt x="418" y="544"/>
                    <a:pt x="419" y="542"/>
                  </a:cubicBezTo>
                  <a:cubicBezTo>
                    <a:pt x="419" y="540"/>
                    <a:pt x="422" y="539"/>
                    <a:pt x="423" y="540"/>
                  </a:cubicBezTo>
                  <a:cubicBezTo>
                    <a:pt x="425" y="541"/>
                    <a:pt x="427" y="543"/>
                    <a:pt x="430" y="543"/>
                  </a:cubicBezTo>
                  <a:cubicBezTo>
                    <a:pt x="432" y="543"/>
                    <a:pt x="433" y="544"/>
                    <a:pt x="435" y="544"/>
                  </a:cubicBezTo>
                  <a:cubicBezTo>
                    <a:pt x="437" y="543"/>
                    <a:pt x="438" y="544"/>
                    <a:pt x="440" y="544"/>
                  </a:cubicBezTo>
                  <a:cubicBezTo>
                    <a:pt x="442" y="545"/>
                    <a:pt x="443" y="543"/>
                    <a:pt x="445" y="545"/>
                  </a:cubicBezTo>
                  <a:cubicBezTo>
                    <a:pt x="446" y="546"/>
                    <a:pt x="448" y="546"/>
                    <a:pt x="449" y="547"/>
                  </a:cubicBezTo>
                  <a:cubicBezTo>
                    <a:pt x="451" y="546"/>
                    <a:pt x="451" y="545"/>
                    <a:pt x="453" y="540"/>
                  </a:cubicBezTo>
                  <a:cubicBezTo>
                    <a:pt x="454" y="540"/>
                    <a:pt x="454" y="541"/>
                    <a:pt x="456" y="541"/>
                  </a:cubicBezTo>
                  <a:cubicBezTo>
                    <a:pt x="456" y="541"/>
                    <a:pt x="457" y="539"/>
                    <a:pt x="457" y="539"/>
                  </a:cubicBezTo>
                  <a:cubicBezTo>
                    <a:pt x="459" y="539"/>
                    <a:pt x="459" y="539"/>
                    <a:pt x="459" y="539"/>
                  </a:cubicBezTo>
                  <a:cubicBezTo>
                    <a:pt x="459" y="538"/>
                    <a:pt x="458" y="537"/>
                    <a:pt x="459" y="536"/>
                  </a:cubicBezTo>
                  <a:cubicBezTo>
                    <a:pt x="461" y="536"/>
                    <a:pt x="461" y="536"/>
                    <a:pt x="461" y="536"/>
                  </a:cubicBezTo>
                  <a:cubicBezTo>
                    <a:pt x="459" y="537"/>
                    <a:pt x="460" y="539"/>
                    <a:pt x="461" y="539"/>
                  </a:cubicBezTo>
                  <a:cubicBezTo>
                    <a:pt x="461" y="539"/>
                    <a:pt x="462" y="539"/>
                    <a:pt x="462" y="538"/>
                  </a:cubicBezTo>
                  <a:cubicBezTo>
                    <a:pt x="462" y="537"/>
                    <a:pt x="462" y="537"/>
                    <a:pt x="462" y="537"/>
                  </a:cubicBezTo>
                  <a:cubicBezTo>
                    <a:pt x="462" y="538"/>
                    <a:pt x="461" y="536"/>
                    <a:pt x="461" y="535"/>
                  </a:cubicBezTo>
                  <a:cubicBezTo>
                    <a:pt x="463" y="534"/>
                    <a:pt x="463" y="534"/>
                    <a:pt x="463" y="534"/>
                  </a:cubicBezTo>
                  <a:cubicBezTo>
                    <a:pt x="464" y="534"/>
                    <a:pt x="465" y="535"/>
                    <a:pt x="466" y="535"/>
                  </a:cubicBezTo>
                  <a:cubicBezTo>
                    <a:pt x="467" y="535"/>
                    <a:pt x="469" y="534"/>
                    <a:pt x="470" y="534"/>
                  </a:cubicBezTo>
                  <a:cubicBezTo>
                    <a:pt x="471" y="534"/>
                    <a:pt x="470" y="536"/>
                    <a:pt x="472" y="536"/>
                  </a:cubicBezTo>
                  <a:cubicBezTo>
                    <a:pt x="473" y="536"/>
                    <a:pt x="473" y="535"/>
                    <a:pt x="474" y="534"/>
                  </a:cubicBezTo>
                  <a:cubicBezTo>
                    <a:pt x="476" y="538"/>
                    <a:pt x="479" y="547"/>
                    <a:pt x="483" y="548"/>
                  </a:cubicBezTo>
                  <a:cubicBezTo>
                    <a:pt x="485" y="548"/>
                    <a:pt x="486" y="546"/>
                    <a:pt x="488" y="547"/>
                  </a:cubicBezTo>
                  <a:cubicBezTo>
                    <a:pt x="488" y="547"/>
                    <a:pt x="488" y="548"/>
                    <a:pt x="489" y="548"/>
                  </a:cubicBezTo>
                  <a:cubicBezTo>
                    <a:pt x="490" y="554"/>
                    <a:pt x="488" y="552"/>
                    <a:pt x="492" y="555"/>
                  </a:cubicBezTo>
                  <a:cubicBezTo>
                    <a:pt x="492" y="556"/>
                    <a:pt x="492" y="556"/>
                    <a:pt x="491" y="556"/>
                  </a:cubicBezTo>
                  <a:cubicBezTo>
                    <a:pt x="492" y="560"/>
                    <a:pt x="492" y="562"/>
                    <a:pt x="493" y="566"/>
                  </a:cubicBezTo>
                  <a:cubicBezTo>
                    <a:pt x="494" y="566"/>
                    <a:pt x="496" y="566"/>
                    <a:pt x="497" y="566"/>
                  </a:cubicBezTo>
                  <a:cubicBezTo>
                    <a:pt x="498" y="567"/>
                    <a:pt x="500" y="570"/>
                    <a:pt x="502" y="570"/>
                  </a:cubicBezTo>
                  <a:cubicBezTo>
                    <a:pt x="503" y="571"/>
                    <a:pt x="502" y="570"/>
                    <a:pt x="503" y="570"/>
                  </a:cubicBezTo>
                  <a:cubicBezTo>
                    <a:pt x="503" y="570"/>
                    <a:pt x="508" y="570"/>
                    <a:pt x="509" y="570"/>
                  </a:cubicBezTo>
                  <a:cubicBezTo>
                    <a:pt x="510" y="572"/>
                    <a:pt x="510" y="572"/>
                    <a:pt x="510" y="572"/>
                  </a:cubicBezTo>
                  <a:cubicBezTo>
                    <a:pt x="512" y="572"/>
                    <a:pt x="514" y="571"/>
                    <a:pt x="516" y="572"/>
                  </a:cubicBezTo>
                  <a:cubicBezTo>
                    <a:pt x="516" y="572"/>
                    <a:pt x="517" y="574"/>
                    <a:pt x="517" y="574"/>
                  </a:cubicBezTo>
                  <a:cubicBezTo>
                    <a:pt x="521" y="574"/>
                    <a:pt x="522" y="572"/>
                    <a:pt x="525" y="572"/>
                  </a:cubicBezTo>
                  <a:cubicBezTo>
                    <a:pt x="525" y="574"/>
                    <a:pt x="525" y="574"/>
                    <a:pt x="525" y="574"/>
                  </a:cubicBezTo>
                  <a:cubicBezTo>
                    <a:pt x="525" y="575"/>
                    <a:pt x="529" y="575"/>
                    <a:pt x="529" y="576"/>
                  </a:cubicBezTo>
                  <a:cubicBezTo>
                    <a:pt x="529" y="578"/>
                    <a:pt x="529" y="578"/>
                    <a:pt x="529" y="578"/>
                  </a:cubicBezTo>
                  <a:cubicBezTo>
                    <a:pt x="530" y="578"/>
                    <a:pt x="531" y="577"/>
                    <a:pt x="532" y="578"/>
                  </a:cubicBezTo>
                  <a:cubicBezTo>
                    <a:pt x="532" y="584"/>
                    <a:pt x="532" y="583"/>
                    <a:pt x="536" y="586"/>
                  </a:cubicBezTo>
                  <a:cubicBezTo>
                    <a:pt x="536" y="587"/>
                    <a:pt x="536" y="588"/>
                    <a:pt x="536" y="588"/>
                  </a:cubicBezTo>
                  <a:cubicBezTo>
                    <a:pt x="536" y="588"/>
                    <a:pt x="535" y="590"/>
                    <a:pt x="535" y="590"/>
                  </a:cubicBezTo>
                  <a:cubicBezTo>
                    <a:pt x="535" y="590"/>
                    <a:pt x="532" y="590"/>
                    <a:pt x="532" y="590"/>
                  </a:cubicBezTo>
                  <a:cubicBezTo>
                    <a:pt x="533" y="590"/>
                    <a:pt x="532" y="590"/>
                    <a:pt x="532" y="590"/>
                  </a:cubicBezTo>
                  <a:cubicBezTo>
                    <a:pt x="532" y="591"/>
                    <a:pt x="532" y="592"/>
                    <a:pt x="533" y="592"/>
                  </a:cubicBezTo>
                  <a:cubicBezTo>
                    <a:pt x="533" y="592"/>
                    <a:pt x="532" y="592"/>
                    <a:pt x="532" y="594"/>
                  </a:cubicBezTo>
                  <a:cubicBezTo>
                    <a:pt x="532" y="593"/>
                    <a:pt x="530" y="594"/>
                    <a:pt x="530" y="594"/>
                  </a:cubicBezTo>
                  <a:cubicBezTo>
                    <a:pt x="529" y="593"/>
                    <a:pt x="529" y="592"/>
                    <a:pt x="529" y="592"/>
                  </a:cubicBezTo>
                  <a:cubicBezTo>
                    <a:pt x="528" y="591"/>
                    <a:pt x="524" y="591"/>
                    <a:pt x="524" y="591"/>
                  </a:cubicBezTo>
                  <a:cubicBezTo>
                    <a:pt x="524" y="591"/>
                    <a:pt x="524" y="589"/>
                    <a:pt x="524" y="589"/>
                  </a:cubicBezTo>
                  <a:cubicBezTo>
                    <a:pt x="523" y="589"/>
                    <a:pt x="522" y="588"/>
                    <a:pt x="522" y="588"/>
                  </a:cubicBezTo>
                  <a:cubicBezTo>
                    <a:pt x="520" y="590"/>
                    <a:pt x="517" y="593"/>
                    <a:pt x="516" y="594"/>
                  </a:cubicBezTo>
                  <a:cubicBezTo>
                    <a:pt x="514" y="598"/>
                    <a:pt x="517" y="601"/>
                    <a:pt x="516" y="605"/>
                  </a:cubicBezTo>
                  <a:cubicBezTo>
                    <a:pt x="516" y="605"/>
                    <a:pt x="515" y="607"/>
                    <a:pt x="515" y="608"/>
                  </a:cubicBezTo>
                  <a:cubicBezTo>
                    <a:pt x="513" y="608"/>
                    <a:pt x="512" y="608"/>
                    <a:pt x="511" y="609"/>
                  </a:cubicBezTo>
                  <a:cubicBezTo>
                    <a:pt x="511" y="609"/>
                    <a:pt x="510" y="612"/>
                    <a:pt x="510" y="615"/>
                  </a:cubicBezTo>
                  <a:cubicBezTo>
                    <a:pt x="510" y="617"/>
                    <a:pt x="508" y="618"/>
                    <a:pt x="506" y="619"/>
                  </a:cubicBezTo>
                  <a:cubicBezTo>
                    <a:pt x="506" y="619"/>
                    <a:pt x="506" y="620"/>
                    <a:pt x="506" y="622"/>
                  </a:cubicBezTo>
                  <a:cubicBezTo>
                    <a:pt x="511" y="621"/>
                    <a:pt x="511" y="621"/>
                    <a:pt x="514" y="620"/>
                  </a:cubicBezTo>
                  <a:cubicBezTo>
                    <a:pt x="515" y="619"/>
                    <a:pt x="515" y="617"/>
                    <a:pt x="516" y="617"/>
                  </a:cubicBezTo>
                  <a:cubicBezTo>
                    <a:pt x="517" y="616"/>
                    <a:pt x="518" y="617"/>
                    <a:pt x="519" y="616"/>
                  </a:cubicBezTo>
                  <a:cubicBezTo>
                    <a:pt x="519" y="616"/>
                    <a:pt x="520" y="614"/>
                    <a:pt x="521" y="614"/>
                  </a:cubicBezTo>
                  <a:cubicBezTo>
                    <a:pt x="523" y="613"/>
                    <a:pt x="525" y="614"/>
                    <a:pt x="528" y="613"/>
                  </a:cubicBezTo>
                  <a:cubicBezTo>
                    <a:pt x="528" y="613"/>
                    <a:pt x="528" y="611"/>
                    <a:pt x="528" y="611"/>
                  </a:cubicBezTo>
                  <a:cubicBezTo>
                    <a:pt x="531" y="609"/>
                    <a:pt x="534" y="610"/>
                    <a:pt x="537" y="610"/>
                  </a:cubicBezTo>
                  <a:cubicBezTo>
                    <a:pt x="537" y="610"/>
                    <a:pt x="539" y="607"/>
                    <a:pt x="537" y="606"/>
                  </a:cubicBezTo>
                  <a:cubicBezTo>
                    <a:pt x="536" y="606"/>
                    <a:pt x="535" y="607"/>
                    <a:pt x="534" y="606"/>
                  </a:cubicBezTo>
                  <a:cubicBezTo>
                    <a:pt x="534" y="605"/>
                    <a:pt x="534" y="605"/>
                    <a:pt x="534" y="605"/>
                  </a:cubicBezTo>
                  <a:cubicBezTo>
                    <a:pt x="537" y="603"/>
                    <a:pt x="545" y="598"/>
                    <a:pt x="552" y="600"/>
                  </a:cubicBezTo>
                  <a:cubicBezTo>
                    <a:pt x="553" y="600"/>
                    <a:pt x="553" y="602"/>
                    <a:pt x="554" y="602"/>
                  </a:cubicBezTo>
                  <a:cubicBezTo>
                    <a:pt x="554" y="603"/>
                    <a:pt x="556" y="602"/>
                    <a:pt x="556" y="602"/>
                  </a:cubicBezTo>
                  <a:cubicBezTo>
                    <a:pt x="557" y="601"/>
                    <a:pt x="557" y="600"/>
                    <a:pt x="559" y="600"/>
                  </a:cubicBezTo>
                  <a:cubicBezTo>
                    <a:pt x="560" y="599"/>
                    <a:pt x="557" y="599"/>
                    <a:pt x="557" y="599"/>
                  </a:cubicBezTo>
                  <a:cubicBezTo>
                    <a:pt x="556" y="600"/>
                    <a:pt x="556" y="599"/>
                    <a:pt x="555" y="600"/>
                  </a:cubicBezTo>
                  <a:cubicBezTo>
                    <a:pt x="554" y="600"/>
                    <a:pt x="555" y="598"/>
                    <a:pt x="554" y="598"/>
                  </a:cubicBezTo>
                  <a:cubicBezTo>
                    <a:pt x="553" y="597"/>
                    <a:pt x="552" y="598"/>
                    <a:pt x="551" y="597"/>
                  </a:cubicBezTo>
                  <a:cubicBezTo>
                    <a:pt x="551" y="597"/>
                    <a:pt x="550" y="596"/>
                    <a:pt x="550" y="596"/>
                  </a:cubicBezTo>
                  <a:cubicBezTo>
                    <a:pt x="553" y="595"/>
                    <a:pt x="554" y="595"/>
                    <a:pt x="556" y="595"/>
                  </a:cubicBezTo>
                  <a:cubicBezTo>
                    <a:pt x="557" y="595"/>
                    <a:pt x="560" y="597"/>
                    <a:pt x="563" y="596"/>
                  </a:cubicBezTo>
                  <a:cubicBezTo>
                    <a:pt x="564" y="596"/>
                    <a:pt x="565" y="595"/>
                    <a:pt x="566" y="594"/>
                  </a:cubicBezTo>
                  <a:cubicBezTo>
                    <a:pt x="566" y="594"/>
                    <a:pt x="566" y="593"/>
                    <a:pt x="566" y="593"/>
                  </a:cubicBezTo>
                  <a:cubicBezTo>
                    <a:pt x="566" y="593"/>
                    <a:pt x="567" y="591"/>
                    <a:pt x="574" y="587"/>
                  </a:cubicBezTo>
                  <a:cubicBezTo>
                    <a:pt x="578" y="585"/>
                    <a:pt x="579" y="584"/>
                    <a:pt x="581" y="584"/>
                  </a:cubicBezTo>
                  <a:cubicBezTo>
                    <a:pt x="581" y="583"/>
                    <a:pt x="582" y="582"/>
                    <a:pt x="583" y="582"/>
                  </a:cubicBezTo>
                  <a:cubicBezTo>
                    <a:pt x="584" y="582"/>
                    <a:pt x="582" y="583"/>
                    <a:pt x="582" y="584"/>
                  </a:cubicBezTo>
                  <a:cubicBezTo>
                    <a:pt x="582" y="584"/>
                    <a:pt x="583" y="584"/>
                    <a:pt x="583" y="585"/>
                  </a:cubicBezTo>
                  <a:cubicBezTo>
                    <a:pt x="586" y="585"/>
                    <a:pt x="608" y="582"/>
                    <a:pt x="608" y="582"/>
                  </a:cubicBezTo>
                  <a:cubicBezTo>
                    <a:pt x="608" y="582"/>
                    <a:pt x="609" y="579"/>
                    <a:pt x="611" y="578"/>
                  </a:cubicBezTo>
                  <a:cubicBezTo>
                    <a:pt x="613" y="578"/>
                    <a:pt x="619" y="572"/>
                    <a:pt x="619" y="571"/>
                  </a:cubicBezTo>
                  <a:cubicBezTo>
                    <a:pt x="618" y="569"/>
                    <a:pt x="621" y="564"/>
                    <a:pt x="621" y="564"/>
                  </a:cubicBezTo>
                  <a:cubicBezTo>
                    <a:pt x="624" y="559"/>
                    <a:pt x="624" y="559"/>
                    <a:pt x="624" y="559"/>
                  </a:cubicBezTo>
                  <a:cubicBezTo>
                    <a:pt x="624" y="559"/>
                    <a:pt x="626" y="556"/>
                    <a:pt x="627" y="560"/>
                  </a:cubicBezTo>
                  <a:cubicBezTo>
                    <a:pt x="627" y="564"/>
                    <a:pt x="628" y="557"/>
                    <a:pt x="631" y="558"/>
                  </a:cubicBezTo>
                  <a:cubicBezTo>
                    <a:pt x="635" y="559"/>
                    <a:pt x="638" y="560"/>
                    <a:pt x="637" y="565"/>
                  </a:cubicBezTo>
                  <a:cubicBezTo>
                    <a:pt x="637" y="570"/>
                    <a:pt x="637" y="577"/>
                    <a:pt x="637" y="577"/>
                  </a:cubicBezTo>
                  <a:cubicBezTo>
                    <a:pt x="637" y="577"/>
                    <a:pt x="641" y="576"/>
                    <a:pt x="641" y="578"/>
                  </a:cubicBezTo>
                  <a:cubicBezTo>
                    <a:pt x="641" y="581"/>
                    <a:pt x="640" y="583"/>
                    <a:pt x="641" y="583"/>
                  </a:cubicBezTo>
                  <a:cubicBezTo>
                    <a:pt x="642" y="583"/>
                    <a:pt x="643" y="584"/>
                    <a:pt x="643" y="584"/>
                  </a:cubicBezTo>
                  <a:cubicBezTo>
                    <a:pt x="643" y="584"/>
                    <a:pt x="644" y="584"/>
                    <a:pt x="645" y="584"/>
                  </a:cubicBezTo>
                  <a:cubicBezTo>
                    <a:pt x="646" y="584"/>
                    <a:pt x="647" y="586"/>
                    <a:pt x="649" y="586"/>
                  </a:cubicBezTo>
                  <a:cubicBezTo>
                    <a:pt x="649" y="586"/>
                    <a:pt x="651" y="586"/>
                    <a:pt x="650" y="586"/>
                  </a:cubicBezTo>
                  <a:cubicBezTo>
                    <a:pt x="651" y="585"/>
                    <a:pt x="655" y="585"/>
                    <a:pt x="653" y="584"/>
                  </a:cubicBezTo>
                  <a:cubicBezTo>
                    <a:pt x="652" y="583"/>
                    <a:pt x="652" y="583"/>
                    <a:pt x="651" y="583"/>
                  </a:cubicBezTo>
                  <a:cubicBezTo>
                    <a:pt x="651" y="582"/>
                    <a:pt x="651" y="582"/>
                    <a:pt x="651" y="582"/>
                  </a:cubicBezTo>
                  <a:cubicBezTo>
                    <a:pt x="651" y="581"/>
                    <a:pt x="652" y="581"/>
                    <a:pt x="653" y="581"/>
                  </a:cubicBezTo>
                  <a:cubicBezTo>
                    <a:pt x="653" y="580"/>
                    <a:pt x="653" y="579"/>
                    <a:pt x="653" y="578"/>
                  </a:cubicBezTo>
                  <a:cubicBezTo>
                    <a:pt x="653" y="578"/>
                    <a:pt x="654" y="579"/>
                    <a:pt x="655" y="579"/>
                  </a:cubicBezTo>
                  <a:cubicBezTo>
                    <a:pt x="655" y="580"/>
                    <a:pt x="655" y="580"/>
                    <a:pt x="655" y="580"/>
                  </a:cubicBezTo>
                  <a:cubicBezTo>
                    <a:pt x="655" y="580"/>
                    <a:pt x="653" y="581"/>
                    <a:pt x="654" y="581"/>
                  </a:cubicBezTo>
                  <a:cubicBezTo>
                    <a:pt x="653" y="580"/>
                    <a:pt x="654" y="583"/>
                    <a:pt x="655" y="584"/>
                  </a:cubicBezTo>
                  <a:cubicBezTo>
                    <a:pt x="656" y="584"/>
                    <a:pt x="656" y="584"/>
                    <a:pt x="656" y="584"/>
                  </a:cubicBezTo>
                  <a:cubicBezTo>
                    <a:pt x="657" y="583"/>
                    <a:pt x="657" y="580"/>
                    <a:pt x="661" y="579"/>
                  </a:cubicBezTo>
                  <a:cubicBezTo>
                    <a:pt x="661" y="578"/>
                    <a:pt x="661" y="578"/>
                    <a:pt x="661" y="578"/>
                  </a:cubicBezTo>
                  <a:cubicBezTo>
                    <a:pt x="661" y="578"/>
                    <a:pt x="661" y="576"/>
                    <a:pt x="661" y="576"/>
                  </a:cubicBezTo>
                  <a:cubicBezTo>
                    <a:pt x="662" y="576"/>
                    <a:pt x="662" y="576"/>
                    <a:pt x="662" y="576"/>
                  </a:cubicBezTo>
                  <a:cubicBezTo>
                    <a:pt x="662" y="574"/>
                    <a:pt x="662" y="574"/>
                    <a:pt x="662" y="572"/>
                  </a:cubicBezTo>
                  <a:cubicBezTo>
                    <a:pt x="663" y="572"/>
                    <a:pt x="663" y="574"/>
                    <a:pt x="663" y="574"/>
                  </a:cubicBezTo>
                  <a:cubicBezTo>
                    <a:pt x="664" y="574"/>
                    <a:pt x="665" y="573"/>
                    <a:pt x="666" y="573"/>
                  </a:cubicBezTo>
                  <a:cubicBezTo>
                    <a:pt x="666" y="573"/>
                    <a:pt x="666" y="575"/>
                    <a:pt x="666" y="575"/>
                  </a:cubicBezTo>
                  <a:cubicBezTo>
                    <a:pt x="666" y="575"/>
                    <a:pt x="664" y="576"/>
                    <a:pt x="664" y="576"/>
                  </a:cubicBezTo>
                  <a:cubicBezTo>
                    <a:pt x="664" y="577"/>
                    <a:pt x="665" y="577"/>
                    <a:pt x="665" y="578"/>
                  </a:cubicBezTo>
                  <a:cubicBezTo>
                    <a:pt x="664" y="578"/>
                    <a:pt x="663" y="579"/>
                    <a:pt x="663" y="580"/>
                  </a:cubicBezTo>
                  <a:cubicBezTo>
                    <a:pt x="662" y="581"/>
                    <a:pt x="663" y="582"/>
                    <a:pt x="663" y="582"/>
                  </a:cubicBezTo>
                  <a:cubicBezTo>
                    <a:pt x="663" y="582"/>
                    <a:pt x="663" y="581"/>
                    <a:pt x="663" y="581"/>
                  </a:cubicBezTo>
                  <a:cubicBezTo>
                    <a:pt x="667" y="580"/>
                    <a:pt x="673" y="581"/>
                    <a:pt x="676" y="581"/>
                  </a:cubicBezTo>
                  <a:cubicBezTo>
                    <a:pt x="675" y="581"/>
                    <a:pt x="674" y="581"/>
                    <a:pt x="673" y="582"/>
                  </a:cubicBezTo>
                  <a:cubicBezTo>
                    <a:pt x="672" y="583"/>
                    <a:pt x="671" y="585"/>
                    <a:pt x="670" y="586"/>
                  </a:cubicBezTo>
                  <a:cubicBezTo>
                    <a:pt x="669" y="586"/>
                    <a:pt x="668" y="586"/>
                    <a:pt x="667" y="586"/>
                  </a:cubicBezTo>
                  <a:cubicBezTo>
                    <a:pt x="667" y="586"/>
                    <a:pt x="667" y="584"/>
                    <a:pt x="667" y="584"/>
                  </a:cubicBezTo>
                  <a:cubicBezTo>
                    <a:pt x="665" y="583"/>
                    <a:pt x="659" y="586"/>
                    <a:pt x="659" y="587"/>
                  </a:cubicBezTo>
                  <a:cubicBezTo>
                    <a:pt x="658" y="588"/>
                    <a:pt x="659" y="589"/>
                    <a:pt x="658" y="590"/>
                  </a:cubicBezTo>
                  <a:cubicBezTo>
                    <a:pt x="657" y="591"/>
                    <a:pt x="655" y="590"/>
                    <a:pt x="654" y="591"/>
                  </a:cubicBezTo>
                  <a:cubicBezTo>
                    <a:pt x="654" y="591"/>
                    <a:pt x="653" y="593"/>
                    <a:pt x="653" y="594"/>
                  </a:cubicBezTo>
                  <a:cubicBezTo>
                    <a:pt x="649" y="597"/>
                    <a:pt x="650" y="597"/>
                    <a:pt x="651" y="602"/>
                  </a:cubicBezTo>
                  <a:cubicBezTo>
                    <a:pt x="652" y="602"/>
                    <a:pt x="654" y="601"/>
                    <a:pt x="655" y="602"/>
                  </a:cubicBezTo>
                  <a:cubicBezTo>
                    <a:pt x="655" y="602"/>
                    <a:pt x="655" y="603"/>
                    <a:pt x="656" y="604"/>
                  </a:cubicBezTo>
                  <a:cubicBezTo>
                    <a:pt x="657" y="604"/>
                    <a:pt x="657" y="604"/>
                    <a:pt x="657" y="605"/>
                  </a:cubicBezTo>
                  <a:cubicBezTo>
                    <a:pt x="658" y="605"/>
                    <a:pt x="658" y="605"/>
                    <a:pt x="659" y="606"/>
                  </a:cubicBezTo>
                  <a:cubicBezTo>
                    <a:pt x="659" y="605"/>
                    <a:pt x="659" y="603"/>
                    <a:pt x="660" y="603"/>
                  </a:cubicBezTo>
                  <a:cubicBezTo>
                    <a:pt x="661" y="603"/>
                    <a:pt x="661" y="603"/>
                    <a:pt x="661" y="603"/>
                  </a:cubicBezTo>
                  <a:cubicBezTo>
                    <a:pt x="661" y="605"/>
                    <a:pt x="661" y="605"/>
                    <a:pt x="661" y="605"/>
                  </a:cubicBezTo>
                  <a:cubicBezTo>
                    <a:pt x="661" y="605"/>
                    <a:pt x="662" y="605"/>
                    <a:pt x="662" y="606"/>
                  </a:cubicBezTo>
                  <a:cubicBezTo>
                    <a:pt x="663" y="605"/>
                    <a:pt x="663" y="604"/>
                    <a:pt x="665" y="603"/>
                  </a:cubicBezTo>
                  <a:cubicBezTo>
                    <a:pt x="665" y="603"/>
                    <a:pt x="665" y="601"/>
                    <a:pt x="666" y="601"/>
                  </a:cubicBezTo>
                  <a:cubicBezTo>
                    <a:pt x="666" y="601"/>
                    <a:pt x="668" y="601"/>
                    <a:pt x="667" y="602"/>
                  </a:cubicBezTo>
                  <a:cubicBezTo>
                    <a:pt x="669" y="602"/>
                    <a:pt x="669" y="602"/>
                    <a:pt x="669" y="602"/>
                  </a:cubicBezTo>
                  <a:cubicBezTo>
                    <a:pt x="669" y="601"/>
                    <a:pt x="668" y="600"/>
                    <a:pt x="668" y="600"/>
                  </a:cubicBezTo>
                  <a:cubicBezTo>
                    <a:pt x="667" y="598"/>
                    <a:pt x="668" y="596"/>
                    <a:pt x="669" y="594"/>
                  </a:cubicBezTo>
                  <a:cubicBezTo>
                    <a:pt x="669" y="594"/>
                    <a:pt x="670" y="596"/>
                    <a:pt x="671" y="595"/>
                  </a:cubicBezTo>
                  <a:cubicBezTo>
                    <a:pt x="671" y="595"/>
                    <a:pt x="671" y="593"/>
                    <a:pt x="671" y="592"/>
                  </a:cubicBezTo>
                  <a:cubicBezTo>
                    <a:pt x="672" y="593"/>
                    <a:pt x="674" y="595"/>
                    <a:pt x="675" y="596"/>
                  </a:cubicBezTo>
                  <a:cubicBezTo>
                    <a:pt x="675" y="596"/>
                    <a:pt x="676" y="594"/>
                    <a:pt x="675" y="593"/>
                  </a:cubicBezTo>
                  <a:cubicBezTo>
                    <a:pt x="675" y="593"/>
                    <a:pt x="676" y="592"/>
                    <a:pt x="676" y="592"/>
                  </a:cubicBezTo>
                  <a:cubicBezTo>
                    <a:pt x="685" y="591"/>
                    <a:pt x="688" y="588"/>
                    <a:pt x="691" y="582"/>
                  </a:cubicBezTo>
                  <a:cubicBezTo>
                    <a:pt x="692" y="582"/>
                    <a:pt x="693" y="582"/>
                    <a:pt x="693" y="582"/>
                  </a:cubicBezTo>
                  <a:cubicBezTo>
                    <a:pt x="693" y="581"/>
                    <a:pt x="693" y="580"/>
                    <a:pt x="692" y="580"/>
                  </a:cubicBezTo>
                  <a:cubicBezTo>
                    <a:pt x="692" y="579"/>
                    <a:pt x="690" y="580"/>
                    <a:pt x="690" y="580"/>
                  </a:cubicBezTo>
                  <a:cubicBezTo>
                    <a:pt x="690" y="577"/>
                    <a:pt x="690" y="577"/>
                    <a:pt x="690" y="574"/>
                  </a:cubicBezTo>
                  <a:cubicBezTo>
                    <a:pt x="690" y="575"/>
                    <a:pt x="689" y="574"/>
                    <a:pt x="688" y="574"/>
                  </a:cubicBezTo>
                  <a:cubicBezTo>
                    <a:pt x="687" y="575"/>
                    <a:pt x="685" y="579"/>
                    <a:pt x="683" y="580"/>
                  </a:cubicBezTo>
                  <a:cubicBezTo>
                    <a:pt x="683" y="580"/>
                    <a:pt x="681" y="580"/>
                    <a:pt x="681" y="580"/>
                  </a:cubicBezTo>
                  <a:cubicBezTo>
                    <a:pt x="681" y="579"/>
                    <a:pt x="681" y="578"/>
                    <a:pt x="681" y="578"/>
                  </a:cubicBezTo>
                  <a:cubicBezTo>
                    <a:pt x="681" y="577"/>
                    <a:pt x="679" y="578"/>
                    <a:pt x="679" y="578"/>
                  </a:cubicBezTo>
                  <a:cubicBezTo>
                    <a:pt x="678" y="577"/>
                    <a:pt x="676" y="575"/>
                    <a:pt x="675" y="575"/>
                  </a:cubicBezTo>
                  <a:cubicBezTo>
                    <a:pt x="674" y="575"/>
                    <a:pt x="674" y="575"/>
                    <a:pt x="674" y="575"/>
                  </a:cubicBezTo>
                  <a:cubicBezTo>
                    <a:pt x="673" y="575"/>
                    <a:pt x="673" y="576"/>
                    <a:pt x="672" y="576"/>
                  </a:cubicBezTo>
                  <a:cubicBezTo>
                    <a:pt x="671" y="574"/>
                    <a:pt x="671" y="574"/>
                    <a:pt x="671" y="574"/>
                  </a:cubicBezTo>
                  <a:cubicBezTo>
                    <a:pt x="672" y="574"/>
                    <a:pt x="673" y="574"/>
                    <a:pt x="674" y="574"/>
                  </a:cubicBezTo>
                  <a:cubicBezTo>
                    <a:pt x="674" y="573"/>
                    <a:pt x="674" y="572"/>
                    <a:pt x="675" y="572"/>
                  </a:cubicBezTo>
                  <a:cubicBezTo>
                    <a:pt x="672" y="572"/>
                    <a:pt x="670" y="571"/>
                    <a:pt x="667" y="570"/>
                  </a:cubicBezTo>
                  <a:cubicBezTo>
                    <a:pt x="667" y="570"/>
                    <a:pt x="667" y="568"/>
                    <a:pt x="667" y="568"/>
                  </a:cubicBezTo>
                  <a:cubicBezTo>
                    <a:pt x="666" y="568"/>
                    <a:pt x="666" y="569"/>
                    <a:pt x="665" y="568"/>
                  </a:cubicBezTo>
                  <a:cubicBezTo>
                    <a:pt x="666" y="568"/>
                    <a:pt x="666" y="563"/>
                    <a:pt x="665" y="562"/>
                  </a:cubicBezTo>
                  <a:cubicBezTo>
                    <a:pt x="667" y="562"/>
                    <a:pt x="667" y="562"/>
                    <a:pt x="667" y="562"/>
                  </a:cubicBezTo>
                  <a:cubicBezTo>
                    <a:pt x="668" y="561"/>
                    <a:pt x="667" y="560"/>
                    <a:pt x="667" y="559"/>
                  </a:cubicBezTo>
                  <a:cubicBezTo>
                    <a:pt x="666" y="559"/>
                    <a:pt x="663" y="560"/>
                    <a:pt x="663" y="560"/>
                  </a:cubicBezTo>
                  <a:cubicBezTo>
                    <a:pt x="663" y="560"/>
                    <a:pt x="660" y="559"/>
                    <a:pt x="662" y="559"/>
                  </a:cubicBezTo>
                  <a:cubicBezTo>
                    <a:pt x="663" y="557"/>
                    <a:pt x="663" y="557"/>
                    <a:pt x="663" y="557"/>
                  </a:cubicBezTo>
                  <a:cubicBezTo>
                    <a:pt x="663" y="557"/>
                    <a:pt x="664" y="557"/>
                    <a:pt x="665" y="557"/>
                  </a:cubicBezTo>
                  <a:cubicBezTo>
                    <a:pt x="665" y="556"/>
                    <a:pt x="665" y="556"/>
                    <a:pt x="665" y="556"/>
                  </a:cubicBezTo>
                  <a:cubicBezTo>
                    <a:pt x="664" y="556"/>
                    <a:pt x="664" y="553"/>
                    <a:pt x="664" y="552"/>
                  </a:cubicBezTo>
                  <a:cubicBezTo>
                    <a:pt x="666" y="552"/>
                    <a:pt x="666" y="552"/>
                    <a:pt x="666" y="552"/>
                  </a:cubicBezTo>
                  <a:cubicBezTo>
                    <a:pt x="666" y="550"/>
                    <a:pt x="665" y="551"/>
                    <a:pt x="665" y="549"/>
                  </a:cubicBezTo>
                  <a:cubicBezTo>
                    <a:pt x="664" y="549"/>
                    <a:pt x="662" y="548"/>
                    <a:pt x="660" y="549"/>
                  </a:cubicBezTo>
                  <a:cubicBezTo>
                    <a:pt x="659" y="549"/>
                    <a:pt x="659" y="551"/>
                    <a:pt x="658" y="551"/>
                  </a:cubicBezTo>
                  <a:cubicBezTo>
                    <a:pt x="652" y="553"/>
                    <a:pt x="653" y="549"/>
                    <a:pt x="655" y="549"/>
                  </a:cubicBezTo>
                  <a:cubicBezTo>
                    <a:pt x="655" y="548"/>
                    <a:pt x="655" y="548"/>
                    <a:pt x="655" y="548"/>
                  </a:cubicBezTo>
                  <a:cubicBezTo>
                    <a:pt x="654" y="547"/>
                    <a:pt x="654" y="547"/>
                    <a:pt x="653" y="546"/>
                  </a:cubicBezTo>
                  <a:cubicBezTo>
                    <a:pt x="653" y="545"/>
                    <a:pt x="653" y="545"/>
                    <a:pt x="653" y="545"/>
                  </a:cubicBezTo>
                  <a:cubicBezTo>
                    <a:pt x="654" y="545"/>
                    <a:pt x="654" y="543"/>
                    <a:pt x="655" y="543"/>
                  </a:cubicBezTo>
                  <a:cubicBezTo>
                    <a:pt x="655" y="543"/>
                    <a:pt x="656" y="544"/>
                    <a:pt x="656" y="544"/>
                  </a:cubicBezTo>
                  <a:cubicBezTo>
                    <a:pt x="656" y="545"/>
                    <a:pt x="656" y="546"/>
                    <a:pt x="657" y="547"/>
                  </a:cubicBezTo>
                  <a:cubicBezTo>
                    <a:pt x="657" y="547"/>
                    <a:pt x="659" y="548"/>
                    <a:pt x="659" y="548"/>
                  </a:cubicBezTo>
                  <a:cubicBezTo>
                    <a:pt x="659" y="546"/>
                    <a:pt x="659" y="546"/>
                    <a:pt x="659" y="546"/>
                  </a:cubicBezTo>
                  <a:cubicBezTo>
                    <a:pt x="660" y="546"/>
                    <a:pt x="662" y="546"/>
                    <a:pt x="663" y="546"/>
                  </a:cubicBezTo>
                  <a:cubicBezTo>
                    <a:pt x="663" y="544"/>
                    <a:pt x="663" y="543"/>
                    <a:pt x="663" y="540"/>
                  </a:cubicBezTo>
                  <a:cubicBezTo>
                    <a:pt x="664" y="540"/>
                    <a:pt x="666" y="541"/>
                    <a:pt x="667" y="541"/>
                  </a:cubicBezTo>
                  <a:cubicBezTo>
                    <a:pt x="668" y="538"/>
                    <a:pt x="668" y="537"/>
                    <a:pt x="667" y="533"/>
                  </a:cubicBezTo>
                  <a:cubicBezTo>
                    <a:pt x="668" y="533"/>
                    <a:pt x="669" y="534"/>
                    <a:pt x="670" y="534"/>
                  </a:cubicBezTo>
                  <a:cubicBezTo>
                    <a:pt x="670" y="534"/>
                    <a:pt x="670" y="532"/>
                    <a:pt x="670" y="532"/>
                  </a:cubicBezTo>
                  <a:cubicBezTo>
                    <a:pt x="669" y="531"/>
                    <a:pt x="669" y="531"/>
                    <a:pt x="669" y="530"/>
                  </a:cubicBezTo>
                  <a:cubicBezTo>
                    <a:pt x="667" y="530"/>
                    <a:pt x="667" y="530"/>
                    <a:pt x="667" y="530"/>
                  </a:cubicBezTo>
                  <a:cubicBezTo>
                    <a:pt x="667" y="528"/>
                    <a:pt x="667" y="528"/>
                    <a:pt x="667" y="528"/>
                  </a:cubicBezTo>
                  <a:cubicBezTo>
                    <a:pt x="666" y="528"/>
                    <a:pt x="666" y="528"/>
                    <a:pt x="666" y="528"/>
                  </a:cubicBezTo>
                  <a:cubicBezTo>
                    <a:pt x="666" y="528"/>
                    <a:pt x="666" y="528"/>
                    <a:pt x="666" y="528"/>
                  </a:cubicBezTo>
                  <a:cubicBezTo>
                    <a:pt x="663" y="527"/>
                    <a:pt x="660" y="529"/>
                    <a:pt x="658" y="528"/>
                  </a:cubicBezTo>
                  <a:cubicBezTo>
                    <a:pt x="657" y="528"/>
                    <a:pt x="658" y="526"/>
                    <a:pt x="656" y="526"/>
                  </a:cubicBezTo>
                  <a:cubicBezTo>
                    <a:pt x="655" y="528"/>
                    <a:pt x="655" y="528"/>
                    <a:pt x="655" y="528"/>
                  </a:cubicBezTo>
                  <a:cubicBezTo>
                    <a:pt x="651" y="529"/>
                    <a:pt x="648" y="529"/>
                    <a:pt x="645" y="531"/>
                  </a:cubicBezTo>
                  <a:cubicBezTo>
                    <a:pt x="644" y="531"/>
                    <a:pt x="644" y="533"/>
                    <a:pt x="643" y="533"/>
                  </a:cubicBezTo>
                  <a:cubicBezTo>
                    <a:pt x="642" y="534"/>
                    <a:pt x="641" y="533"/>
                    <a:pt x="640" y="534"/>
                  </a:cubicBezTo>
                  <a:cubicBezTo>
                    <a:pt x="640" y="534"/>
                    <a:pt x="639" y="536"/>
                    <a:pt x="639" y="536"/>
                  </a:cubicBezTo>
                  <a:cubicBezTo>
                    <a:pt x="638" y="536"/>
                    <a:pt x="637" y="535"/>
                    <a:pt x="637" y="536"/>
                  </a:cubicBezTo>
                  <a:cubicBezTo>
                    <a:pt x="635" y="537"/>
                    <a:pt x="635" y="539"/>
                    <a:pt x="634" y="540"/>
                  </a:cubicBezTo>
                  <a:cubicBezTo>
                    <a:pt x="633" y="541"/>
                    <a:pt x="629" y="541"/>
                    <a:pt x="628" y="542"/>
                  </a:cubicBezTo>
                  <a:cubicBezTo>
                    <a:pt x="627" y="543"/>
                    <a:pt x="628" y="546"/>
                    <a:pt x="628" y="546"/>
                  </a:cubicBezTo>
                  <a:cubicBezTo>
                    <a:pt x="627" y="547"/>
                    <a:pt x="623" y="547"/>
                    <a:pt x="623" y="547"/>
                  </a:cubicBezTo>
                  <a:cubicBezTo>
                    <a:pt x="622" y="548"/>
                    <a:pt x="622" y="551"/>
                    <a:pt x="622" y="552"/>
                  </a:cubicBezTo>
                  <a:cubicBezTo>
                    <a:pt x="622" y="552"/>
                    <a:pt x="618" y="557"/>
                    <a:pt x="617" y="557"/>
                  </a:cubicBezTo>
                  <a:cubicBezTo>
                    <a:pt x="617" y="557"/>
                    <a:pt x="617" y="557"/>
                    <a:pt x="617" y="557"/>
                  </a:cubicBezTo>
                  <a:cubicBezTo>
                    <a:pt x="617" y="558"/>
                    <a:pt x="617" y="558"/>
                    <a:pt x="617" y="558"/>
                  </a:cubicBezTo>
                  <a:cubicBezTo>
                    <a:pt x="616" y="558"/>
                    <a:pt x="616" y="557"/>
                    <a:pt x="615" y="558"/>
                  </a:cubicBezTo>
                  <a:cubicBezTo>
                    <a:pt x="618" y="553"/>
                    <a:pt x="620" y="551"/>
                    <a:pt x="622" y="544"/>
                  </a:cubicBezTo>
                  <a:cubicBezTo>
                    <a:pt x="621" y="544"/>
                    <a:pt x="620" y="543"/>
                    <a:pt x="619" y="542"/>
                  </a:cubicBezTo>
                  <a:cubicBezTo>
                    <a:pt x="621" y="542"/>
                    <a:pt x="622" y="543"/>
                    <a:pt x="623" y="542"/>
                  </a:cubicBezTo>
                  <a:cubicBezTo>
                    <a:pt x="625" y="542"/>
                    <a:pt x="625" y="538"/>
                    <a:pt x="627" y="537"/>
                  </a:cubicBezTo>
                  <a:cubicBezTo>
                    <a:pt x="627" y="537"/>
                    <a:pt x="628" y="537"/>
                    <a:pt x="629" y="536"/>
                  </a:cubicBezTo>
                  <a:cubicBezTo>
                    <a:pt x="629" y="536"/>
                    <a:pt x="629" y="535"/>
                    <a:pt x="629" y="534"/>
                  </a:cubicBezTo>
                  <a:cubicBezTo>
                    <a:pt x="631" y="534"/>
                    <a:pt x="632" y="535"/>
                    <a:pt x="633" y="534"/>
                  </a:cubicBezTo>
                  <a:cubicBezTo>
                    <a:pt x="633" y="534"/>
                    <a:pt x="633" y="532"/>
                    <a:pt x="634" y="531"/>
                  </a:cubicBezTo>
                  <a:cubicBezTo>
                    <a:pt x="634" y="530"/>
                    <a:pt x="634" y="530"/>
                    <a:pt x="634" y="530"/>
                  </a:cubicBezTo>
                  <a:cubicBezTo>
                    <a:pt x="635" y="530"/>
                    <a:pt x="637" y="531"/>
                    <a:pt x="637" y="530"/>
                  </a:cubicBezTo>
                  <a:cubicBezTo>
                    <a:pt x="638" y="529"/>
                    <a:pt x="637" y="528"/>
                    <a:pt x="638" y="527"/>
                  </a:cubicBezTo>
                  <a:cubicBezTo>
                    <a:pt x="639" y="526"/>
                    <a:pt x="641" y="527"/>
                    <a:pt x="642" y="526"/>
                  </a:cubicBezTo>
                  <a:cubicBezTo>
                    <a:pt x="643" y="525"/>
                    <a:pt x="643" y="520"/>
                    <a:pt x="643" y="520"/>
                  </a:cubicBezTo>
                  <a:cubicBezTo>
                    <a:pt x="645" y="520"/>
                    <a:pt x="645" y="520"/>
                    <a:pt x="645" y="520"/>
                  </a:cubicBezTo>
                  <a:cubicBezTo>
                    <a:pt x="645" y="518"/>
                    <a:pt x="645" y="518"/>
                    <a:pt x="645" y="518"/>
                  </a:cubicBezTo>
                  <a:cubicBezTo>
                    <a:pt x="645" y="518"/>
                    <a:pt x="646" y="519"/>
                    <a:pt x="646" y="519"/>
                  </a:cubicBezTo>
                  <a:cubicBezTo>
                    <a:pt x="647" y="518"/>
                    <a:pt x="647" y="518"/>
                    <a:pt x="649" y="517"/>
                  </a:cubicBezTo>
                  <a:cubicBezTo>
                    <a:pt x="649" y="516"/>
                    <a:pt x="649" y="516"/>
                    <a:pt x="649" y="516"/>
                  </a:cubicBezTo>
                  <a:cubicBezTo>
                    <a:pt x="650" y="515"/>
                    <a:pt x="655" y="517"/>
                    <a:pt x="658" y="517"/>
                  </a:cubicBezTo>
                  <a:cubicBezTo>
                    <a:pt x="658" y="517"/>
                    <a:pt x="658" y="517"/>
                    <a:pt x="658" y="517"/>
                  </a:cubicBezTo>
                  <a:cubicBezTo>
                    <a:pt x="661" y="517"/>
                    <a:pt x="662" y="517"/>
                    <a:pt x="665" y="517"/>
                  </a:cubicBezTo>
                  <a:cubicBezTo>
                    <a:pt x="665" y="516"/>
                    <a:pt x="665" y="515"/>
                    <a:pt x="665" y="515"/>
                  </a:cubicBezTo>
                  <a:cubicBezTo>
                    <a:pt x="667" y="515"/>
                    <a:pt x="668" y="517"/>
                    <a:pt x="669" y="517"/>
                  </a:cubicBezTo>
                  <a:cubicBezTo>
                    <a:pt x="670" y="517"/>
                    <a:pt x="671" y="516"/>
                    <a:pt x="673" y="516"/>
                  </a:cubicBezTo>
                  <a:cubicBezTo>
                    <a:pt x="675" y="516"/>
                    <a:pt x="676" y="517"/>
                    <a:pt x="677" y="517"/>
                  </a:cubicBezTo>
                  <a:cubicBezTo>
                    <a:pt x="677" y="517"/>
                    <a:pt x="678" y="515"/>
                    <a:pt x="679" y="515"/>
                  </a:cubicBezTo>
                  <a:cubicBezTo>
                    <a:pt x="685" y="514"/>
                    <a:pt x="683" y="518"/>
                    <a:pt x="690" y="515"/>
                  </a:cubicBezTo>
                  <a:cubicBezTo>
                    <a:pt x="691" y="515"/>
                    <a:pt x="691" y="517"/>
                    <a:pt x="691" y="518"/>
                  </a:cubicBezTo>
                  <a:cubicBezTo>
                    <a:pt x="693" y="518"/>
                    <a:pt x="694" y="517"/>
                    <a:pt x="694" y="517"/>
                  </a:cubicBezTo>
                  <a:cubicBezTo>
                    <a:pt x="694" y="519"/>
                    <a:pt x="696" y="517"/>
                    <a:pt x="696" y="517"/>
                  </a:cubicBezTo>
                  <a:cubicBezTo>
                    <a:pt x="696" y="517"/>
                    <a:pt x="696" y="515"/>
                    <a:pt x="696" y="515"/>
                  </a:cubicBezTo>
                  <a:cubicBezTo>
                    <a:pt x="696" y="515"/>
                    <a:pt x="697" y="516"/>
                    <a:pt x="698" y="515"/>
                  </a:cubicBezTo>
                  <a:cubicBezTo>
                    <a:pt x="699" y="516"/>
                    <a:pt x="699" y="518"/>
                    <a:pt x="702" y="517"/>
                  </a:cubicBezTo>
                  <a:cubicBezTo>
                    <a:pt x="702" y="517"/>
                    <a:pt x="703" y="515"/>
                    <a:pt x="703" y="515"/>
                  </a:cubicBezTo>
                  <a:cubicBezTo>
                    <a:pt x="706" y="514"/>
                    <a:pt x="706" y="514"/>
                    <a:pt x="708" y="515"/>
                  </a:cubicBezTo>
                  <a:cubicBezTo>
                    <a:pt x="708" y="514"/>
                    <a:pt x="709" y="513"/>
                    <a:pt x="709" y="513"/>
                  </a:cubicBezTo>
                  <a:cubicBezTo>
                    <a:pt x="709" y="513"/>
                    <a:pt x="709" y="510"/>
                    <a:pt x="709" y="510"/>
                  </a:cubicBezTo>
                  <a:cubicBezTo>
                    <a:pt x="709" y="510"/>
                    <a:pt x="714" y="510"/>
                    <a:pt x="715" y="508"/>
                  </a:cubicBezTo>
                  <a:cubicBezTo>
                    <a:pt x="716" y="506"/>
                    <a:pt x="714" y="506"/>
                    <a:pt x="714" y="505"/>
                  </a:cubicBezTo>
                  <a:cubicBezTo>
                    <a:pt x="715" y="504"/>
                    <a:pt x="717" y="503"/>
                    <a:pt x="717" y="503"/>
                  </a:cubicBezTo>
                  <a:cubicBezTo>
                    <a:pt x="717" y="502"/>
                    <a:pt x="717" y="500"/>
                    <a:pt x="717" y="500"/>
                  </a:cubicBezTo>
                  <a:cubicBezTo>
                    <a:pt x="718" y="499"/>
                    <a:pt x="719" y="500"/>
                    <a:pt x="720" y="499"/>
                  </a:cubicBezTo>
                  <a:cubicBezTo>
                    <a:pt x="721" y="499"/>
                    <a:pt x="720" y="497"/>
                    <a:pt x="720" y="497"/>
                  </a:cubicBezTo>
                  <a:cubicBezTo>
                    <a:pt x="722" y="497"/>
                    <a:pt x="720" y="498"/>
                    <a:pt x="721" y="498"/>
                  </a:cubicBezTo>
                  <a:cubicBezTo>
                    <a:pt x="725" y="499"/>
                    <a:pt x="725" y="495"/>
                    <a:pt x="729" y="496"/>
                  </a:cubicBezTo>
                  <a:cubicBezTo>
                    <a:pt x="729" y="496"/>
                    <a:pt x="730" y="497"/>
                    <a:pt x="732" y="497"/>
                  </a:cubicBezTo>
                  <a:cubicBezTo>
                    <a:pt x="734" y="494"/>
                    <a:pt x="734" y="494"/>
                    <a:pt x="734" y="494"/>
                  </a:cubicBezTo>
                  <a:cubicBezTo>
                    <a:pt x="735" y="493"/>
                    <a:pt x="736" y="494"/>
                    <a:pt x="737" y="493"/>
                  </a:cubicBezTo>
                  <a:cubicBezTo>
                    <a:pt x="738" y="493"/>
                    <a:pt x="737" y="491"/>
                    <a:pt x="738" y="491"/>
                  </a:cubicBezTo>
                  <a:cubicBezTo>
                    <a:pt x="738" y="491"/>
                    <a:pt x="739" y="492"/>
                    <a:pt x="740" y="491"/>
                  </a:cubicBezTo>
                  <a:cubicBezTo>
                    <a:pt x="740" y="490"/>
                    <a:pt x="740" y="490"/>
                    <a:pt x="740" y="490"/>
                  </a:cubicBezTo>
                  <a:cubicBezTo>
                    <a:pt x="741" y="489"/>
                    <a:pt x="741" y="489"/>
                    <a:pt x="741" y="489"/>
                  </a:cubicBezTo>
                  <a:cubicBezTo>
                    <a:pt x="743" y="486"/>
                    <a:pt x="742" y="486"/>
                    <a:pt x="740" y="483"/>
                  </a:cubicBezTo>
                  <a:cubicBezTo>
                    <a:pt x="741" y="483"/>
                    <a:pt x="741" y="483"/>
                    <a:pt x="740" y="483"/>
                  </a:cubicBezTo>
                  <a:cubicBezTo>
                    <a:pt x="740" y="481"/>
                    <a:pt x="740" y="481"/>
                    <a:pt x="740" y="481"/>
                  </a:cubicBezTo>
                  <a:cubicBezTo>
                    <a:pt x="742" y="481"/>
                    <a:pt x="742" y="478"/>
                    <a:pt x="742" y="476"/>
                  </a:cubicBezTo>
                  <a:cubicBezTo>
                    <a:pt x="741" y="476"/>
                    <a:pt x="741" y="475"/>
                    <a:pt x="740" y="475"/>
                  </a:cubicBezTo>
                  <a:cubicBezTo>
                    <a:pt x="740" y="475"/>
                    <a:pt x="738" y="475"/>
                    <a:pt x="738" y="475"/>
                  </a:cubicBezTo>
                  <a:cubicBezTo>
                    <a:pt x="738" y="475"/>
                    <a:pt x="738" y="477"/>
                    <a:pt x="738" y="477"/>
                  </a:cubicBezTo>
                  <a:cubicBezTo>
                    <a:pt x="736" y="477"/>
                    <a:pt x="736" y="477"/>
                    <a:pt x="736" y="477"/>
                  </a:cubicBezTo>
                  <a:cubicBezTo>
                    <a:pt x="736" y="476"/>
                    <a:pt x="736" y="475"/>
                    <a:pt x="736" y="474"/>
                  </a:cubicBezTo>
                  <a:cubicBezTo>
                    <a:pt x="735" y="473"/>
                    <a:pt x="732" y="472"/>
                    <a:pt x="731" y="471"/>
                  </a:cubicBezTo>
                  <a:cubicBezTo>
                    <a:pt x="731" y="471"/>
                    <a:pt x="730" y="469"/>
                    <a:pt x="730" y="469"/>
                  </a:cubicBezTo>
                  <a:cubicBezTo>
                    <a:pt x="727" y="468"/>
                    <a:pt x="725" y="469"/>
                    <a:pt x="723" y="469"/>
                  </a:cubicBezTo>
                  <a:cubicBezTo>
                    <a:pt x="724" y="471"/>
                    <a:pt x="724" y="471"/>
                    <a:pt x="724" y="471"/>
                  </a:cubicBezTo>
                  <a:cubicBezTo>
                    <a:pt x="722" y="472"/>
                    <a:pt x="720" y="471"/>
                    <a:pt x="718" y="471"/>
                  </a:cubicBezTo>
                  <a:cubicBezTo>
                    <a:pt x="716" y="472"/>
                    <a:pt x="713" y="476"/>
                    <a:pt x="710" y="477"/>
                  </a:cubicBezTo>
                  <a:cubicBezTo>
                    <a:pt x="709" y="478"/>
                    <a:pt x="708" y="477"/>
                    <a:pt x="706" y="478"/>
                  </a:cubicBezTo>
                  <a:cubicBezTo>
                    <a:pt x="706" y="478"/>
                    <a:pt x="706" y="481"/>
                    <a:pt x="705" y="481"/>
                  </a:cubicBezTo>
                  <a:cubicBezTo>
                    <a:pt x="704" y="482"/>
                    <a:pt x="703" y="481"/>
                    <a:pt x="702" y="481"/>
                  </a:cubicBezTo>
                  <a:cubicBezTo>
                    <a:pt x="702" y="480"/>
                    <a:pt x="702" y="478"/>
                    <a:pt x="701" y="476"/>
                  </a:cubicBezTo>
                  <a:cubicBezTo>
                    <a:pt x="702" y="476"/>
                    <a:pt x="706" y="476"/>
                    <a:pt x="708" y="476"/>
                  </a:cubicBezTo>
                  <a:cubicBezTo>
                    <a:pt x="709" y="476"/>
                    <a:pt x="713" y="472"/>
                    <a:pt x="714" y="471"/>
                  </a:cubicBezTo>
                  <a:cubicBezTo>
                    <a:pt x="714" y="471"/>
                    <a:pt x="715" y="472"/>
                    <a:pt x="716" y="471"/>
                  </a:cubicBezTo>
                  <a:cubicBezTo>
                    <a:pt x="716" y="471"/>
                    <a:pt x="717" y="470"/>
                    <a:pt x="717" y="469"/>
                  </a:cubicBezTo>
                  <a:cubicBezTo>
                    <a:pt x="719" y="468"/>
                    <a:pt x="719" y="470"/>
                    <a:pt x="721" y="469"/>
                  </a:cubicBezTo>
                  <a:cubicBezTo>
                    <a:pt x="722" y="468"/>
                    <a:pt x="722" y="468"/>
                    <a:pt x="722" y="468"/>
                  </a:cubicBezTo>
                  <a:cubicBezTo>
                    <a:pt x="723" y="467"/>
                    <a:pt x="724" y="468"/>
                    <a:pt x="725" y="467"/>
                  </a:cubicBezTo>
                  <a:cubicBezTo>
                    <a:pt x="726" y="467"/>
                    <a:pt x="727" y="464"/>
                    <a:pt x="728" y="463"/>
                  </a:cubicBezTo>
                  <a:cubicBezTo>
                    <a:pt x="728" y="463"/>
                    <a:pt x="727" y="463"/>
                    <a:pt x="726" y="463"/>
                  </a:cubicBezTo>
                  <a:cubicBezTo>
                    <a:pt x="726" y="463"/>
                    <a:pt x="725" y="462"/>
                    <a:pt x="724" y="462"/>
                  </a:cubicBezTo>
                  <a:cubicBezTo>
                    <a:pt x="724" y="461"/>
                    <a:pt x="724" y="459"/>
                    <a:pt x="724" y="458"/>
                  </a:cubicBezTo>
                  <a:cubicBezTo>
                    <a:pt x="723" y="458"/>
                    <a:pt x="722" y="459"/>
                    <a:pt x="722" y="459"/>
                  </a:cubicBezTo>
                  <a:cubicBezTo>
                    <a:pt x="721" y="460"/>
                    <a:pt x="722" y="461"/>
                    <a:pt x="721" y="462"/>
                  </a:cubicBezTo>
                  <a:cubicBezTo>
                    <a:pt x="718" y="461"/>
                    <a:pt x="718" y="462"/>
                    <a:pt x="716" y="459"/>
                  </a:cubicBezTo>
                  <a:cubicBezTo>
                    <a:pt x="715" y="458"/>
                    <a:pt x="715" y="458"/>
                    <a:pt x="715" y="458"/>
                  </a:cubicBezTo>
                  <a:cubicBezTo>
                    <a:pt x="715" y="457"/>
                    <a:pt x="715" y="456"/>
                    <a:pt x="715" y="455"/>
                  </a:cubicBezTo>
                  <a:cubicBezTo>
                    <a:pt x="714" y="455"/>
                    <a:pt x="713" y="456"/>
                    <a:pt x="713" y="456"/>
                  </a:cubicBezTo>
                  <a:cubicBezTo>
                    <a:pt x="712" y="456"/>
                    <a:pt x="713" y="456"/>
                    <a:pt x="712" y="455"/>
                  </a:cubicBezTo>
                  <a:cubicBezTo>
                    <a:pt x="711" y="456"/>
                    <a:pt x="710" y="456"/>
                    <a:pt x="709" y="457"/>
                  </a:cubicBezTo>
                  <a:cubicBezTo>
                    <a:pt x="709" y="457"/>
                    <a:pt x="709" y="455"/>
                    <a:pt x="709" y="455"/>
                  </a:cubicBezTo>
                  <a:cubicBezTo>
                    <a:pt x="706" y="455"/>
                    <a:pt x="706" y="455"/>
                    <a:pt x="702" y="455"/>
                  </a:cubicBezTo>
                  <a:cubicBezTo>
                    <a:pt x="703" y="454"/>
                    <a:pt x="702" y="451"/>
                    <a:pt x="702" y="451"/>
                  </a:cubicBezTo>
                  <a:cubicBezTo>
                    <a:pt x="701" y="450"/>
                    <a:pt x="702" y="448"/>
                    <a:pt x="702" y="447"/>
                  </a:cubicBezTo>
                  <a:cubicBezTo>
                    <a:pt x="701" y="447"/>
                    <a:pt x="700" y="448"/>
                    <a:pt x="700" y="447"/>
                  </a:cubicBezTo>
                  <a:cubicBezTo>
                    <a:pt x="699" y="447"/>
                    <a:pt x="699" y="445"/>
                    <a:pt x="698" y="445"/>
                  </a:cubicBezTo>
                  <a:cubicBezTo>
                    <a:pt x="696" y="444"/>
                    <a:pt x="694" y="444"/>
                    <a:pt x="692" y="444"/>
                  </a:cubicBezTo>
                  <a:cubicBezTo>
                    <a:pt x="692" y="443"/>
                    <a:pt x="692" y="441"/>
                    <a:pt x="692" y="439"/>
                  </a:cubicBezTo>
                  <a:cubicBezTo>
                    <a:pt x="692" y="439"/>
                    <a:pt x="689" y="440"/>
                    <a:pt x="689" y="439"/>
                  </a:cubicBezTo>
                  <a:cubicBezTo>
                    <a:pt x="688" y="438"/>
                    <a:pt x="690" y="439"/>
                    <a:pt x="690" y="439"/>
                  </a:cubicBezTo>
                  <a:cubicBezTo>
                    <a:pt x="691" y="435"/>
                    <a:pt x="687" y="438"/>
                    <a:pt x="686" y="438"/>
                  </a:cubicBezTo>
                  <a:cubicBezTo>
                    <a:pt x="688" y="434"/>
                    <a:pt x="689" y="434"/>
                    <a:pt x="685" y="433"/>
                  </a:cubicBezTo>
                  <a:cubicBezTo>
                    <a:pt x="685" y="431"/>
                    <a:pt x="685" y="431"/>
                    <a:pt x="685" y="431"/>
                  </a:cubicBezTo>
                  <a:cubicBezTo>
                    <a:pt x="687" y="432"/>
                    <a:pt x="689" y="433"/>
                    <a:pt x="691" y="432"/>
                  </a:cubicBezTo>
                  <a:cubicBezTo>
                    <a:pt x="692" y="432"/>
                    <a:pt x="692" y="431"/>
                    <a:pt x="692" y="431"/>
                  </a:cubicBezTo>
                  <a:cubicBezTo>
                    <a:pt x="693" y="431"/>
                    <a:pt x="693" y="432"/>
                    <a:pt x="694" y="432"/>
                  </a:cubicBezTo>
                  <a:cubicBezTo>
                    <a:pt x="694" y="431"/>
                    <a:pt x="693" y="430"/>
                    <a:pt x="694" y="430"/>
                  </a:cubicBezTo>
                  <a:cubicBezTo>
                    <a:pt x="694" y="429"/>
                    <a:pt x="694" y="427"/>
                    <a:pt x="693" y="427"/>
                  </a:cubicBezTo>
                  <a:cubicBezTo>
                    <a:pt x="693" y="426"/>
                    <a:pt x="691" y="427"/>
                    <a:pt x="690" y="427"/>
                  </a:cubicBezTo>
                  <a:cubicBezTo>
                    <a:pt x="689" y="426"/>
                    <a:pt x="689" y="424"/>
                    <a:pt x="688" y="424"/>
                  </a:cubicBezTo>
                  <a:cubicBezTo>
                    <a:pt x="687" y="424"/>
                    <a:pt x="686" y="425"/>
                    <a:pt x="685" y="424"/>
                  </a:cubicBezTo>
                  <a:cubicBezTo>
                    <a:pt x="687" y="421"/>
                    <a:pt x="687" y="422"/>
                    <a:pt x="688" y="417"/>
                  </a:cubicBezTo>
                  <a:cubicBezTo>
                    <a:pt x="687" y="417"/>
                    <a:pt x="687" y="417"/>
                    <a:pt x="686" y="417"/>
                  </a:cubicBezTo>
                  <a:cubicBezTo>
                    <a:pt x="686" y="417"/>
                    <a:pt x="686" y="415"/>
                    <a:pt x="685" y="415"/>
                  </a:cubicBezTo>
                  <a:cubicBezTo>
                    <a:pt x="684" y="415"/>
                    <a:pt x="683" y="415"/>
                    <a:pt x="683" y="415"/>
                  </a:cubicBezTo>
                  <a:cubicBezTo>
                    <a:pt x="683" y="415"/>
                    <a:pt x="683" y="412"/>
                    <a:pt x="683" y="412"/>
                  </a:cubicBezTo>
                  <a:cubicBezTo>
                    <a:pt x="682" y="412"/>
                    <a:pt x="681" y="412"/>
                    <a:pt x="681" y="412"/>
                  </a:cubicBezTo>
                  <a:cubicBezTo>
                    <a:pt x="681" y="411"/>
                    <a:pt x="682" y="410"/>
                    <a:pt x="683" y="409"/>
                  </a:cubicBezTo>
                  <a:cubicBezTo>
                    <a:pt x="683" y="408"/>
                    <a:pt x="682" y="408"/>
                    <a:pt x="683" y="407"/>
                  </a:cubicBezTo>
                  <a:cubicBezTo>
                    <a:pt x="679" y="408"/>
                    <a:pt x="677" y="407"/>
                    <a:pt x="675" y="407"/>
                  </a:cubicBezTo>
                  <a:cubicBezTo>
                    <a:pt x="675" y="407"/>
                    <a:pt x="675" y="406"/>
                    <a:pt x="675" y="405"/>
                  </a:cubicBezTo>
                  <a:cubicBezTo>
                    <a:pt x="676" y="405"/>
                    <a:pt x="678" y="405"/>
                    <a:pt x="679" y="404"/>
                  </a:cubicBezTo>
                  <a:cubicBezTo>
                    <a:pt x="682" y="401"/>
                    <a:pt x="677" y="402"/>
                    <a:pt x="677" y="400"/>
                  </a:cubicBezTo>
                  <a:cubicBezTo>
                    <a:pt x="676" y="399"/>
                    <a:pt x="678" y="399"/>
                    <a:pt x="678" y="399"/>
                  </a:cubicBezTo>
                  <a:cubicBezTo>
                    <a:pt x="678" y="398"/>
                    <a:pt x="678" y="398"/>
                    <a:pt x="678" y="398"/>
                  </a:cubicBezTo>
                  <a:cubicBezTo>
                    <a:pt x="677" y="397"/>
                    <a:pt x="677" y="398"/>
                    <a:pt x="676" y="398"/>
                  </a:cubicBezTo>
                  <a:cubicBezTo>
                    <a:pt x="676" y="397"/>
                    <a:pt x="676" y="396"/>
                    <a:pt x="676" y="396"/>
                  </a:cubicBezTo>
                  <a:cubicBezTo>
                    <a:pt x="674" y="396"/>
                    <a:pt x="675" y="395"/>
                    <a:pt x="674" y="395"/>
                  </a:cubicBezTo>
                  <a:cubicBezTo>
                    <a:pt x="674" y="395"/>
                    <a:pt x="672" y="396"/>
                    <a:pt x="671" y="396"/>
                  </a:cubicBezTo>
                  <a:cubicBezTo>
                    <a:pt x="671" y="395"/>
                    <a:pt x="671" y="394"/>
                    <a:pt x="671" y="394"/>
                  </a:cubicBezTo>
                  <a:cubicBezTo>
                    <a:pt x="670" y="394"/>
                    <a:pt x="670" y="394"/>
                    <a:pt x="670" y="394"/>
                  </a:cubicBezTo>
                  <a:cubicBezTo>
                    <a:pt x="669" y="391"/>
                    <a:pt x="668" y="389"/>
                    <a:pt x="669" y="386"/>
                  </a:cubicBezTo>
                  <a:cubicBezTo>
                    <a:pt x="669" y="386"/>
                    <a:pt x="670" y="385"/>
                    <a:pt x="670" y="383"/>
                  </a:cubicBezTo>
                  <a:cubicBezTo>
                    <a:pt x="670" y="382"/>
                    <a:pt x="669" y="382"/>
                    <a:pt x="668" y="382"/>
                  </a:cubicBezTo>
                  <a:cubicBezTo>
                    <a:pt x="668" y="379"/>
                    <a:pt x="668" y="379"/>
                    <a:pt x="668" y="376"/>
                  </a:cubicBezTo>
                  <a:cubicBezTo>
                    <a:pt x="666" y="376"/>
                    <a:pt x="666" y="376"/>
                    <a:pt x="664" y="376"/>
                  </a:cubicBezTo>
                  <a:cubicBezTo>
                    <a:pt x="663" y="378"/>
                    <a:pt x="664" y="379"/>
                    <a:pt x="663" y="381"/>
                  </a:cubicBezTo>
                  <a:cubicBezTo>
                    <a:pt x="662" y="381"/>
                    <a:pt x="662" y="381"/>
                    <a:pt x="661" y="382"/>
                  </a:cubicBezTo>
                  <a:cubicBezTo>
                    <a:pt x="661" y="383"/>
                    <a:pt x="662" y="384"/>
                    <a:pt x="661" y="385"/>
                  </a:cubicBezTo>
                  <a:cubicBezTo>
                    <a:pt x="661" y="385"/>
                    <a:pt x="659" y="386"/>
                    <a:pt x="659" y="386"/>
                  </a:cubicBezTo>
                  <a:cubicBezTo>
                    <a:pt x="658" y="389"/>
                    <a:pt x="660" y="389"/>
                    <a:pt x="660" y="390"/>
                  </a:cubicBezTo>
                  <a:cubicBezTo>
                    <a:pt x="659" y="391"/>
                    <a:pt x="659" y="391"/>
                    <a:pt x="659" y="391"/>
                  </a:cubicBezTo>
                  <a:cubicBezTo>
                    <a:pt x="657" y="394"/>
                    <a:pt x="656" y="394"/>
                    <a:pt x="654" y="396"/>
                  </a:cubicBezTo>
                  <a:cubicBezTo>
                    <a:pt x="654" y="397"/>
                    <a:pt x="655" y="400"/>
                    <a:pt x="655" y="400"/>
                  </a:cubicBezTo>
                  <a:cubicBezTo>
                    <a:pt x="654" y="401"/>
                    <a:pt x="652" y="399"/>
                    <a:pt x="651" y="399"/>
                  </a:cubicBezTo>
                  <a:cubicBezTo>
                    <a:pt x="651" y="401"/>
                    <a:pt x="649" y="405"/>
                    <a:pt x="647" y="405"/>
                  </a:cubicBezTo>
                  <a:cubicBezTo>
                    <a:pt x="647" y="406"/>
                    <a:pt x="646" y="405"/>
                    <a:pt x="645" y="405"/>
                  </a:cubicBezTo>
                  <a:cubicBezTo>
                    <a:pt x="645" y="406"/>
                    <a:pt x="644" y="407"/>
                    <a:pt x="644" y="407"/>
                  </a:cubicBezTo>
                  <a:cubicBezTo>
                    <a:pt x="643" y="406"/>
                    <a:pt x="642" y="404"/>
                    <a:pt x="641" y="403"/>
                  </a:cubicBezTo>
                  <a:cubicBezTo>
                    <a:pt x="640" y="403"/>
                    <a:pt x="640" y="403"/>
                    <a:pt x="640" y="403"/>
                  </a:cubicBezTo>
                  <a:cubicBezTo>
                    <a:pt x="640" y="402"/>
                    <a:pt x="640" y="401"/>
                    <a:pt x="640" y="401"/>
                  </a:cubicBezTo>
                  <a:cubicBezTo>
                    <a:pt x="640" y="401"/>
                    <a:pt x="638" y="400"/>
                    <a:pt x="638" y="400"/>
                  </a:cubicBezTo>
                  <a:cubicBezTo>
                    <a:pt x="638" y="401"/>
                    <a:pt x="638" y="401"/>
                    <a:pt x="638" y="401"/>
                  </a:cubicBezTo>
                  <a:cubicBezTo>
                    <a:pt x="637" y="402"/>
                    <a:pt x="636" y="403"/>
                    <a:pt x="636" y="403"/>
                  </a:cubicBezTo>
                  <a:cubicBezTo>
                    <a:pt x="635" y="402"/>
                    <a:pt x="634" y="399"/>
                    <a:pt x="634" y="397"/>
                  </a:cubicBezTo>
                  <a:cubicBezTo>
                    <a:pt x="633" y="397"/>
                    <a:pt x="630" y="396"/>
                    <a:pt x="629" y="396"/>
                  </a:cubicBezTo>
                  <a:cubicBezTo>
                    <a:pt x="629" y="395"/>
                    <a:pt x="629" y="395"/>
                    <a:pt x="629" y="395"/>
                  </a:cubicBezTo>
                  <a:cubicBezTo>
                    <a:pt x="627" y="394"/>
                    <a:pt x="627" y="396"/>
                    <a:pt x="626" y="396"/>
                  </a:cubicBezTo>
                  <a:cubicBezTo>
                    <a:pt x="625" y="395"/>
                    <a:pt x="623" y="393"/>
                    <a:pt x="622" y="393"/>
                  </a:cubicBezTo>
                  <a:cubicBezTo>
                    <a:pt x="622" y="391"/>
                    <a:pt x="621" y="392"/>
                    <a:pt x="621" y="390"/>
                  </a:cubicBezTo>
                  <a:cubicBezTo>
                    <a:pt x="621" y="390"/>
                    <a:pt x="623" y="390"/>
                    <a:pt x="623" y="390"/>
                  </a:cubicBezTo>
                  <a:cubicBezTo>
                    <a:pt x="623" y="388"/>
                    <a:pt x="623" y="385"/>
                    <a:pt x="623" y="384"/>
                  </a:cubicBezTo>
                  <a:cubicBezTo>
                    <a:pt x="623" y="383"/>
                    <a:pt x="621" y="383"/>
                    <a:pt x="621" y="382"/>
                  </a:cubicBezTo>
                  <a:cubicBezTo>
                    <a:pt x="621" y="382"/>
                    <a:pt x="620" y="379"/>
                    <a:pt x="621" y="378"/>
                  </a:cubicBezTo>
                  <a:cubicBezTo>
                    <a:pt x="621" y="378"/>
                    <a:pt x="624" y="378"/>
                    <a:pt x="624" y="378"/>
                  </a:cubicBezTo>
                  <a:cubicBezTo>
                    <a:pt x="624" y="377"/>
                    <a:pt x="624" y="376"/>
                    <a:pt x="624" y="376"/>
                  </a:cubicBezTo>
                  <a:cubicBezTo>
                    <a:pt x="619" y="378"/>
                    <a:pt x="626" y="368"/>
                    <a:pt x="627" y="368"/>
                  </a:cubicBezTo>
                  <a:cubicBezTo>
                    <a:pt x="626" y="368"/>
                    <a:pt x="625" y="367"/>
                    <a:pt x="625" y="368"/>
                  </a:cubicBezTo>
                  <a:cubicBezTo>
                    <a:pt x="624" y="368"/>
                    <a:pt x="623" y="370"/>
                    <a:pt x="623" y="370"/>
                  </a:cubicBezTo>
                  <a:cubicBezTo>
                    <a:pt x="623" y="370"/>
                    <a:pt x="622" y="368"/>
                    <a:pt x="621" y="368"/>
                  </a:cubicBezTo>
                  <a:cubicBezTo>
                    <a:pt x="617" y="367"/>
                    <a:pt x="613" y="369"/>
                    <a:pt x="619" y="365"/>
                  </a:cubicBezTo>
                  <a:cubicBezTo>
                    <a:pt x="619" y="364"/>
                    <a:pt x="619" y="364"/>
                    <a:pt x="619" y="364"/>
                  </a:cubicBezTo>
                  <a:cubicBezTo>
                    <a:pt x="615" y="363"/>
                    <a:pt x="611" y="364"/>
                    <a:pt x="606" y="363"/>
                  </a:cubicBezTo>
                  <a:cubicBezTo>
                    <a:pt x="606" y="363"/>
                    <a:pt x="606" y="360"/>
                    <a:pt x="605" y="359"/>
                  </a:cubicBezTo>
                  <a:cubicBezTo>
                    <a:pt x="605" y="359"/>
                    <a:pt x="604" y="359"/>
                    <a:pt x="603" y="360"/>
                  </a:cubicBezTo>
                  <a:cubicBezTo>
                    <a:pt x="603" y="359"/>
                    <a:pt x="603" y="357"/>
                    <a:pt x="603" y="356"/>
                  </a:cubicBezTo>
                  <a:cubicBezTo>
                    <a:pt x="602" y="355"/>
                    <a:pt x="599" y="355"/>
                    <a:pt x="599" y="354"/>
                  </a:cubicBezTo>
                  <a:cubicBezTo>
                    <a:pt x="598" y="354"/>
                    <a:pt x="599" y="352"/>
                    <a:pt x="599" y="352"/>
                  </a:cubicBezTo>
                  <a:cubicBezTo>
                    <a:pt x="598" y="351"/>
                    <a:pt x="597" y="351"/>
                    <a:pt x="597" y="351"/>
                  </a:cubicBezTo>
                  <a:cubicBezTo>
                    <a:pt x="596" y="351"/>
                    <a:pt x="595" y="349"/>
                    <a:pt x="595" y="348"/>
                  </a:cubicBezTo>
                  <a:cubicBezTo>
                    <a:pt x="593" y="347"/>
                    <a:pt x="591" y="348"/>
                    <a:pt x="589" y="347"/>
                  </a:cubicBezTo>
                  <a:cubicBezTo>
                    <a:pt x="589" y="346"/>
                    <a:pt x="589" y="346"/>
                    <a:pt x="589" y="346"/>
                  </a:cubicBezTo>
                  <a:cubicBezTo>
                    <a:pt x="587" y="346"/>
                    <a:pt x="581" y="352"/>
                    <a:pt x="581" y="352"/>
                  </a:cubicBezTo>
                  <a:cubicBezTo>
                    <a:pt x="578" y="352"/>
                    <a:pt x="576" y="350"/>
                    <a:pt x="574" y="350"/>
                  </a:cubicBezTo>
                  <a:cubicBezTo>
                    <a:pt x="571" y="350"/>
                    <a:pt x="569" y="351"/>
                    <a:pt x="566" y="351"/>
                  </a:cubicBezTo>
                  <a:cubicBezTo>
                    <a:pt x="566" y="351"/>
                    <a:pt x="564" y="349"/>
                    <a:pt x="564" y="349"/>
                  </a:cubicBezTo>
                  <a:cubicBezTo>
                    <a:pt x="563" y="349"/>
                    <a:pt x="562" y="350"/>
                    <a:pt x="561" y="350"/>
                  </a:cubicBezTo>
                  <a:cubicBezTo>
                    <a:pt x="558" y="348"/>
                    <a:pt x="558" y="348"/>
                    <a:pt x="558" y="348"/>
                  </a:cubicBezTo>
                  <a:cubicBezTo>
                    <a:pt x="555" y="348"/>
                    <a:pt x="555" y="350"/>
                    <a:pt x="554" y="350"/>
                  </a:cubicBezTo>
                  <a:cubicBezTo>
                    <a:pt x="553" y="351"/>
                    <a:pt x="552" y="350"/>
                    <a:pt x="551" y="350"/>
                  </a:cubicBezTo>
                  <a:cubicBezTo>
                    <a:pt x="551" y="351"/>
                    <a:pt x="550" y="352"/>
                    <a:pt x="550" y="353"/>
                  </a:cubicBezTo>
                  <a:cubicBezTo>
                    <a:pt x="550" y="354"/>
                    <a:pt x="552" y="355"/>
                    <a:pt x="552" y="356"/>
                  </a:cubicBezTo>
                  <a:cubicBezTo>
                    <a:pt x="553" y="355"/>
                    <a:pt x="555" y="355"/>
                    <a:pt x="555" y="355"/>
                  </a:cubicBezTo>
                  <a:cubicBezTo>
                    <a:pt x="555" y="355"/>
                    <a:pt x="555" y="358"/>
                    <a:pt x="555" y="358"/>
                  </a:cubicBezTo>
                  <a:cubicBezTo>
                    <a:pt x="553" y="358"/>
                    <a:pt x="553" y="358"/>
                    <a:pt x="553" y="358"/>
                  </a:cubicBezTo>
                  <a:cubicBezTo>
                    <a:pt x="553" y="358"/>
                    <a:pt x="554" y="360"/>
                    <a:pt x="554" y="361"/>
                  </a:cubicBezTo>
                  <a:cubicBezTo>
                    <a:pt x="553" y="362"/>
                    <a:pt x="550" y="366"/>
                    <a:pt x="549" y="368"/>
                  </a:cubicBezTo>
                  <a:cubicBezTo>
                    <a:pt x="549" y="368"/>
                    <a:pt x="550" y="369"/>
                    <a:pt x="550" y="370"/>
                  </a:cubicBezTo>
                  <a:cubicBezTo>
                    <a:pt x="551" y="370"/>
                    <a:pt x="553" y="369"/>
                    <a:pt x="554" y="370"/>
                  </a:cubicBezTo>
                  <a:cubicBezTo>
                    <a:pt x="553" y="370"/>
                    <a:pt x="552" y="371"/>
                    <a:pt x="551" y="372"/>
                  </a:cubicBezTo>
                  <a:cubicBezTo>
                    <a:pt x="551" y="373"/>
                    <a:pt x="552" y="378"/>
                    <a:pt x="553" y="378"/>
                  </a:cubicBezTo>
                  <a:cubicBezTo>
                    <a:pt x="553" y="378"/>
                    <a:pt x="552" y="379"/>
                    <a:pt x="552" y="380"/>
                  </a:cubicBezTo>
                  <a:cubicBezTo>
                    <a:pt x="552" y="380"/>
                    <a:pt x="555" y="381"/>
                    <a:pt x="555" y="381"/>
                  </a:cubicBezTo>
                  <a:cubicBezTo>
                    <a:pt x="555" y="381"/>
                    <a:pt x="554" y="383"/>
                    <a:pt x="555" y="384"/>
                  </a:cubicBezTo>
                  <a:cubicBezTo>
                    <a:pt x="554" y="384"/>
                    <a:pt x="554" y="384"/>
                    <a:pt x="554" y="384"/>
                  </a:cubicBezTo>
                  <a:cubicBezTo>
                    <a:pt x="553" y="385"/>
                    <a:pt x="554" y="386"/>
                    <a:pt x="553" y="386"/>
                  </a:cubicBezTo>
                  <a:cubicBezTo>
                    <a:pt x="550" y="386"/>
                    <a:pt x="550" y="386"/>
                    <a:pt x="550" y="386"/>
                  </a:cubicBezTo>
                  <a:cubicBezTo>
                    <a:pt x="550" y="386"/>
                    <a:pt x="550" y="388"/>
                    <a:pt x="551" y="388"/>
                  </a:cubicBezTo>
                  <a:cubicBezTo>
                    <a:pt x="551" y="389"/>
                    <a:pt x="551" y="390"/>
                    <a:pt x="551" y="391"/>
                  </a:cubicBezTo>
                  <a:cubicBezTo>
                    <a:pt x="544" y="392"/>
                    <a:pt x="544" y="393"/>
                    <a:pt x="542" y="399"/>
                  </a:cubicBezTo>
                  <a:cubicBezTo>
                    <a:pt x="543" y="399"/>
                    <a:pt x="542" y="400"/>
                    <a:pt x="543" y="400"/>
                  </a:cubicBezTo>
                  <a:cubicBezTo>
                    <a:pt x="545" y="401"/>
                    <a:pt x="546" y="400"/>
                    <a:pt x="547" y="401"/>
                  </a:cubicBezTo>
                  <a:cubicBezTo>
                    <a:pt x="548" y="402"/>
                    <a:pt x="548" y="404"/>
                    <a:pt x="549" y="405"/>
                  </a:cubicBezTo>
                  <a:cubicBezTo>
                    <a:pt x="550" y="405"/>
                    <a:pt x="551" y="405"/>
                    <a:pt x="552" y="405"/>
                  </a:cubicBezTo>
                  <a:cubicBezTo>
                    <a:pt x="553" y="406"/>
                    <a:pt x="553" y="408"/>
                    <a:pt x="553" y="409"/>
                  </a:cubicBezTo>
                  <a:cubicBezTo>
                    <a:pt x="553" y="409"/>
                    <a:pt x="554" y="409"/>
                    <a:pt x="554" y="409"/>
                  </a:cubicBezTo>
                  <a:cubicBezTo>
                    <a:pt x="555" y="411"/>
                    <a:pt x="554" y="412"/>
                    <a:pt x="555" y="413"/>
                  </a:cubicBezTo>
                  <a:cubicBezTo>
                    <a:pt x="555" y="414"/>
                    <a:pt x="557" y="414"/>
                    <a:pt x="557" y="415"/>
                  </a:cubicBezTo>
                  <a:cubicBezTo>
                    <a:pt x="558" y="417"/>
                    <a:pt x="557" y="420"/>
                    <a:pt x="559" y="422"/>
                  </a:cubicBezTo>
                  <a:cubicBezTo>
                    <a:pt x="560" y="423"/>
                    <a:pt x="562" y="424"/>
                    <a:pt x="563" y="425"/>
                  </a:cubicBezTo>
                  <a:cubicBezTo>
                    <a:pt x="561" y="429"/>
                    <a:pt x="560" y="431"/>
                    <a:pt x="560" y="437"/>
                  </a:cubicBezTo>
                  <a:cubicBezTo>
                    <a:pt x="562" y="437"/>
                    <a:pt x="562" y="437"/>
                    <a:pt x="562" y="437"/>
                  </a:cubicBezTo>
                  <a:cubicBezTo>
                    <a:pt x="562" y="430"/>
                    <a:pt x="563" y="434"/>
                    <a:pt x="564" y="438"/>
                  </a:cubicBezTo>
                  <a:cubicBezTo>
                    <a:pt x="563" y="438"/>
                    <a:pt x="562" y="438"/>
                    <a:pt x="560" y="439"/>
                  </a:cubicBezTo>
                  <a:cubicBezTo>
                    <a:pt x="559" y="440"/>
                    <a:pt x="559" y="441"/>
                    <a:pt x="559" y="442"/>
                  </a:cubicBezTo>
                  <a:cubicBezTo>
                    <a:pt x="558" y="443"/>
                    <a:pt x="556" y="444"/>
                    <a:pt x="555" y="445"/>
                  </a:cubicBezTo>
                  <a:cubicBezTo>
                    <a:pt x="554" y="447"/>
                    <a:pt x="554" y="448"/>
                    <a:pt x="554" y="449"/>
                  </a:cubicBezTo>
                  <a:cubicBezTo>
                    <a:pt x="553" y="450"/>
                    <a:pt x="550" y="451"/>
                    <a:pt x="549" y="452"/>
                  </a:cubicBezTo>
                  <a:cubicBezTo>
                    <a:pt x="549" y="452"/>
                    <a:pt x="548" y="454"/>
                    <a:pt x="548" y="454"/>
                  </a:cubicBezTo>
                  <a:cubicBezTo>
                    <a:pt x="547" y="455"/>
                    <a:pt x="546" y="454"/>
                    <a:pt x="545" y="455"/>
                  </a:cubicBezTo>
                  <a:cubicBezTo>
                    <a:pt x="544" y="455"/>
                    <a:pt x="544" y="456"/>
                    <a:pt x="544" y="457"/>
                  </a:cubicBezTo>
                  <a:cubicBezTo>
                    <a:pt x="542" y="458"/>
                    <a:pt x="540" y="457"/>
                    <a:pt x="538" y="459"/>
                  </a:cubicBezTo>
                  <a:cubicBezTo>
                    <a:pt x="538" y="459"/>
                    <a:pt x="538" y="459"/>
                    <a:pt x="538" y="459"/>
                  </a:cubicBezTo>
                  <a:cubicBezTo>
                    <a:pt x="537" y="461"/>
                    <a:pt x="537" y="467"/>
                    <a:pt x="538" y="468"/>
                  </a:cubicBezTo>
                  <a:cubicBezTo>
                    <a:pt x="542" y="471"/>
                    <a:pt x="542" y="471"/>
                    <a:pt x="542" y="471"/>
                  </a:cubicBezTo>
                  <a:cubicBezTo>
                    <a:pt x="543" y="475"/>
                    <a:pt x="541" y="480"/>
                    <a:pt x="542" y="484"/>
                  </a:cubicBezTo>
                  <a:cubicBezTo>
                    <a:pt x="542" y="484"/>
                    <a:pt x="543" y="485"/>
                    <a:pt x="543" y="485"/>
                  </a:cubicBezTo>
                  <a:cubicBezTo>
                    <a:pt x="544" y="487"/>
                    <a:pt x="541" y="487"/>
                    <a:pt x="544" y="489"/>
                  </a:cubicBezTo>
                  <a:cubicBezTo>
                    <a:pt x="544" y="489"/>
                    <a:pt x="546" y="490"/>
                    <a:pt x="544" y="490"/>
                  </a:cubicBezTo>
                  <a:cubicBezTo>
                    <a:pt x="541" y="496"/>
                    <a:pt x="541" y="496"/>
                    <a:pt x="541" y="496"/>
                  </a:cubicBezTo>
                  <a:cubicBezTo>
                    <a:pt x="541" y="497"/>
                    <a:pt x="541" y="499"/>
                    <a:pt x="542" y="499"/>
                  </a:cubicBezTo>
                  <a:cubicBezTo>
                    <a:pt x="542" y="500"/>
                    <a:pt x="542" y="500"/>
                    <a:pt x="542" y="500"/>
                  </a:cubicBezTo>
                  <a:cubicBezTo>
                    <a:pt x="540" y="501"/>
                    <a:pt x="539" y="499"/>
                    <a:pt x="538" y="500"/>
                  </a:cubicBezTo>
                  <a:cubicBezTo>
                    <a:pt x="537" y="500"/>
                    <a:pt x="537" y="502"/>
                    <a:pt x="536" y="502"/>
                  </a:cubicBezTo>
                  <a:cubicBezTo>
                    <a:pt x="535" y="503"/>
                    <a:pt x="536" y="502"/>
                    <a:pt x="536" y="504"/>
                  </a:cubicBezTo>
                  <a:cubicBezTo>
                    <a:pt x="532" y="503"/>
                    <a:pt x="530" y="504"/>
                    <a:pt x="527" y="503"/>
                  </a:cubicBezTo>
                  <a:cubicBezTo>
                    <a:pt x="527" y="502"/>
                    <a:pt x="527" y="502"/>
                    <a:pt x="528" y="502"/>
                  </a:cubicBezTo>
                  <a:cubicBezTo>
                    <a:pt x="528" y="501"/>
                    <a:pt x="525" y="498"/>
                    <a:pt x="524" y="498"/>
                  </a:cubicBezTo>
                  <a:cubicBezTo>
                    <a:pt x="524" y="498"/>
                    <a:pt x="518" y="493"/>
                    <a:pt x="518" y="493"/>
                  </a:cubicBezTo>
                  <a:cubicBezTo>
                    <a:pt x="518" y="492"/>
                    <a:pt x="520" y="492"/>
                    <a:pt x="520" y="491"/>
                  </a:cubicBezTo>
                  <a:cubicBezTo>
                    <a:pt x="520" y="490"/>
                    <a:pt x="517" y="484"/>
                    <a:pt x="516" y="484"/>
                  </a:cubicBezTo>
                  <a:cubicBezTo>
                    <a:pt x="515" y="484"/>
                    <a:pt x="514" y="484"/>
                    <a:pt x="514" y="484"/>
                  </a:cubicBezTo>
                  <a:cubicBezTo>
                    <a:pt x="514" y="482"/>
                    <a:pt x="515" y="471"/>
                    <a:pt x="514" y="469"/>
                  </a:cubicBezTo>
                  <a:cubicBezTo>
                    <a:pt x="514" y="468"/>
                    <a:pt x="512" y="467"/>
                    <a:pt x="512" y="467"/>
                  </a:cubicBezTo>
                  <a:cubicBezTo>
                    <a:pt x="512" y="465"/>
                    <a:pt x="514" y="462"/>
                    <a:pt x="514" y="461"/>
                  </a:cubicBezTo>
                  <a:cubicBezTo>
                    <a:pt x="515" y="459"/>
                    <a:pt x="514" y="457"/>
                    <a:pt x="514" y="455"/>
                  </a:cubicBezTo>
                  <a:cubicBezTo>
                    <a:pt x="513" y="454"/>
                    <a:pt x="508" y="452"/>
                    <a:pt x="508" y="452"/>
                  </a:cubicBezTo>
                  <a:cubicBezTo>
                    <a:pt x="506" y="452"/>
                    <a:pt x="506" y="453"/>
                    <a:pt x="504" y="453"/>
                  </a:cubicBezTo>
                  <a:cubicBezTo>
                    <a:pt x="504" y="453"/>
                    <a:pt x="502" y="451"/>
                    <a:pt x="502" y="451"/>
                  </a:cubicBezTo>
                  <a:cubicBezTo>
                    <a:pt x="498" y="450"/>
                    <a:pt x="495" y="452"/>
                    <a:pt x="491" y="451"/>
                  </a:cubicBezTo>
                  <a:cubicBezTo>
                    <a:pt x="491" y="451"/>
                    <a:pt x="489" y="450"/>
                    <a:pt x="488" y="449"/>
                  </a:cubicBezTo>
                  <a:cubicBezTo>
                    <a:pt x="488" y="448"/>
                    <a:pt x="488" y="448"/>
                    <a:pt x="488" y="448"/>
                  </a:cubicBezTo>
                  <a:cubicBezTo>
                    <a:pt x="486" y="447"/>
                    <a:pt x="485" y="448"/>
                    <a:pt x="483" y="447"/>
                  </a:cubicBezTo>
                  <a:cubicBezTo>
                    <a:pt x="483" y="447"/>
                    <a:pt x="482" y="445"/>
                    <a:pt x="482" y="445"/>
                  </a:cubicBezTo>
                  <a:cubicBezTo>
                    <a:pt x="480" y="444"/>
                    <a:pt x="479" y="446"/>
                    <a:pt x="476" y="445"/>
                  </a:cubicBezTo>
                  <a:cubicBezTo>
                    <a:pt x="474" y="444"/>
                    <a:pt x="473" y="441"/>
                    <a:pt x="472" y="441"/>
                  </a:cubicBezTo>
                  <a:cubicBezTo>
                    <a:pt x="470" y="440"/>
                    <a:pt x="469" y="441"/>
                    <a:pt x="466" y="441"/>
                  </a:cubicBezTo>
                  <a:cubicBezTo>
                    <a:pt x="466" y="439"/>
                    <a:pt x="467" y="438"/>
                    <a:pt x="466" y="437"/>
                  </a:cubicBezTo>
                  <a:cubicBezTo>
                    <a:pt x="466" y="436"/>
                    <a:pt x="464" y="435"/>
                    <a:pt x="464" y="433"/>
                  </a:cubicBezTo>
                  <a:cubicBezTo>
                    <a:pt x="464" y="433"/>
                    <a:pt x="464" y="432"/>
                    <a:pt x="464" y="431"/>
                  </a:cubicBezTo>
                  <a:cubicBezTo>
                    <a:pt x="463" y="430"/>
                    <a:pt x="460" y="431"/>
                    <a:pt x="459" y="431"/>
                  </a:cubicBezTo>
                  <a:cubicBezTo>
                    <a:pt x="458" y="430"/>
                    <a:pt x="457" y="428"/>
                    <a:pt x="456" y="427"/>
                  </a:cubicBezTo>
                  <a:cubicBezTo>
                    <a:pt x="455" y="427"/>
                    <a:pt x="454" y="428"/>
                    <a:pt x="453" y="427"/>
                  </a:cubicBezTo>
                  <a:cubicBezTo>
                    <a:pt x="451" y="427"/>
                    <a:pt x="449" y="425"/>
                    <a:pt x="448" y="424"/>
                  </a:cubicBezTo>
                  <a:cubicBezTo>
                    <a:pt x="447" y="424"/>
                    <a:pt x="445" y="424"/>
                    <a:pt x="445" y="424"/>
                  </a:cubicBezTo>
                  <a:cubicBezTo>
                    <a:pt x="443" y="424"/>
                    <a:pt x="441" y="420"/>
                    <a:pt x="440" y="420"/>
                  </a:cubicBezTo>
                  <a:cubicBezTo>
                    <a:pt x="436" y="419"/>
                    <a:pt x="430" y="423"/>
                    <a:pt x="427" y="423"/>
                  </a:cubicBezTo>
                  <a:cubicBezTo>
                    <a:pt x="427" y="421"/>
                    <a:pt x="427" y="418"/>
                    <a:pt x="426" y="415"/>
                  </a:cubicBezTo>
                  <a:cubicBezTo>
                    <a:pt x="426" y="415"/>
                    <a:pt x="424" y="413"/>
                    <a:pt x="423" y="412"/>
                  </a:cubicBezTo>
                  <a:cubicBezTo>
                    <a:pt x="423" y="411"/>
                    <a:pt x="424" y="409"/>
                    <a:pt x="423" y="408"/>
                  </a:cubicBezTo>
                  <a:cubicBezTo>
                    <a:pt x="423" y="408"/>
                    <a:pt x="421" y="407"/>
                    <a:pt x="421" y="407"/>
                  </a:cubicBezTo>
                  <a:cubicBezTo>
                    <a:pt x="421" y="406"/>
                    <a:pt x="421" y="405"/>
                    <a:pt x="421" y="405"/>
                  </a:cubicBezTo>
                  <a:cubicBezTo>
                    <a:pt x="421" y="403"/>
                    <a:pt x="419" y="401"/>
                    <a:pt x="418" y="399"/>
                  </a:cubicBezTo>
                  <a:cubicBezTo>
                    <a:pt x="413" y="400"/>
                    <a:pt x="406" y="401"/>
                    <a:pt x="405" y="398"/>
                  </a:cubicBezTo>
                  <a:cubicBezTo>
                    <a:pt x="404" y="396"/>
                    <a:pt x="405" y="393"/>
                    <a:pt x="404" y="391"/>
                  </a:cubicBezTo>
                  <a:cubicBezTo>
                    <a:pt x="404" y="391"/>
                    <a:pt x="401" y="388"/>
                    <a:pt x="401" y="388"/>
                  </a:cubicBezTo>
                  <a:cubicBezTo>
                    <a:pt x="402" y="388"/>
                    <a:pt x="403" y="387"/>
                    <a:pt x="403" y="387"/>
                  </a:cubicBezTo>
                  <a:cubicBezTo>
                    <a:pt x="404" y="385"/>
                    <a:pt x="403" y="383"/>
                    <a:pt x="403" y="381"/>
                  </a:cubicBezTo>
                  <a:cubicBezTo>
                    <a:pt x="404" y="380"/>
                    <a:pt x="407" y="377"/>
                    <a:pt x="407" y="377"/>
                  </a:cubicBezTo>
                  <a:cubicBezTo>
                    <a:pt x="408" y="376"/>
                    <a:pt x="407" y="375"/>
                    <a:pt x="407" y="374"/>
                  </a:cubicBezTo>
                  <a:cubicBezTo>
                    <a:pt x="406" y="374"/>
                    <a:pt x="406" y="374"/>
                    <a:pt x="405" y="374"/>
                  </a:cubicBezTo>
                  <a:cubicBezTo>
                    <a:pt x="406" y="373"/>
                    <a:pt x="406" y="372"/>
                    <a:pt x="406" y="372"/>
                  </a:cubicBezTo>
                  <a:cubicBezTo>
                    <a:pt x="408" y="372"/>
                    <a:pt x="410" y="372"/>
                    <a:pt x="412" y="372"/>
                  </a:cubicBezTo>
                  <a:cubicBezTo>
                    <a:pt x="412" y="370"/>
                    <a:pt x="410" y="369"/>
                    <a:pt x="411" y="367"/>
                  </a:cubicBezTo>
                  <a:cubicBezTo>
                    <a:pt x="411" y="366"/>
                    <a:pt x="417" y="362"/>
                    <a:pt x="417" y="362"/>
                  </a:cubicBezTo>
                  <a:cubicBezTo>
                    <a:pt x="417" y="362"/>
                    <a:pt x="416" y="360"/>
                    <a:pt x="417" y="360"/>
                  </a:cubicBezTo>
                  <a:cubicBezTo>
                    <a:pt x="417" y="359"/>
                    <a:pt x="421" y="359"/>
                    <a:pt x="421" y="359"/>
                  </a:cubicBezTo>
                  <a:cubicBezTo>
                    <a:pt x="421" y="357"/>
                    <a:pt x="422" y="356"/>
                    <a:pt x="422" y="353"/>
                  </a:cubicBezTo>
                  <a:cubicBezTo>
                    <a:pt x="422" y="353"/>
                    <a:pt x="424" y="353"/>
                    <a:pt x="425" y="353"/>
                  </a:cubicBezTo>
                  <a:cubicBezTo>
                    <a:pt x="425" y="353"/>
                    <a:pt x="425" y="351"/>
                    <a:pt x="425" y="350"/>
                  </a:cubicBezTo>
                  <a:cubicBezTo>
                    <a:pt x="425" y="350"/>
                    <a:pt x="427" y="350"/>
                    <a:pt x="426" y="351"/>
                  </a:cubicBezTo>
                  <a:cubicBezTo>
                    <a:pt x="427" y="351"/>
                    <a:pt x="429" y="351"/>
                    <a:pt x="430" y="351"/>
                  </a:cubicBezTo>
                  <a:cubicBezTo>
                    <a:pt x="429" y="351"/>
                    <a:pt x="430" y="349"/>
                    <a:pt x="428" y="350"/>
                  </a:cubicBezTo>
                  <a:cubicBezTo>
                    <a:pt x="428" y="349"/>
                    <a:pt x="427" y="348"/>
                    <a:pt x="427" y="348"/>
                  </a:cubicBezTo>
                  <a:cubicBezTo>
                    <a:pt x="428" y="348"/>
                    <a:pt x="430" y="348"/>
                    <a:pt x="431" y="348"/>
                  </a:cubicBezTo>
                  <a:cubicBezTo>
                    <a:pt x="431" y="348"/>
                    <a:pt x="433" y="345"/>
                    <a:pt x="430" y="346"/>
                  </a:cubicBezTo>
                  <a:cubicBezTo>
                    <a:pt x="430" y="344"/>
                    <a:pt x="430" y="344"/>
                    <a:pt x="430" y="344"/>
                  </a:cubicBezTo>
                  <a:cubicBezTo>
                    <a:pt x="435" y="346"/>
                    <a:pt x="436" y="346"/>
                    <a:pt x="441" y="344"/>
                  </a:cubicBezTo>
                  <a:cubicBezTo>
                    <a:pt x="441" y="343"/>
                    <a:pt x="442" y="344"/>
                    <a:pt x="443" y="343"/>
                  </a:cubicBezTo>
                  <a:cubicBezTo>
                    <a:pt x="443" y="343"/>
                    <a:pt x="443" y="341"/>
                    <a:pt x="443" y="341"/>
                  </a:cubicBezTo>
                  <a:cubicBezTo>
                    <a:pt x="443" y="341"/>
                    <a:pt x="443" y="339"/>
                    <a:pt x="443" y="338"/>
                  </a:cubicBezTo>
                  <a:cubicBezTo>
                    <a:pt x="442" y="338"/>
                    <a:pt x="440" y="338"/>
                    <a:pt x="440" y="338"/>
                  </a:cubicBezTo>
                  <a:cubicBezTo>
                    <a:pt x="439" y="337"/>
                    <a:pt x="440" y="335"/>
                    <a:pt x="440" y="334"/>
                  </a:cubicBezTo>
                  <a:cubicBezTo>
                    <a:pt x="438" y="333"/>
                    <a:pt x="443" y="334"/>
                    <a:pt x="444" y="334"/>
                  </a:cubicBezTo>
                  <a:cubicBezTo>
                    <a:pt x="445" y="332"/>
                    <a:pt x="445" y="332"/>
                    <a:pt x="445" y="332"/>
                  </a:cubicBezTo>
                  <a:cubicBezTo>
                    <a:pt x="446" y="332"/>
                    <a:pt x="446" y="332"/>
                    <a:pt x="446" y="332"/>
                  </a:cubicBezTo>
                  <a:cubicBezTo>
                    <a:pt x="446" y="331"/>
                    <a:pt x="446" y="330"/>
                    <a:pt x="447" y="329"/>
                  </a:cubicBezTo>
                  <a:cubicBezTo>
                    <a:pt x="444" y="328"/>
                    <a:pt x="445" y="327"/>
                    <a:pt x="446" y="324"/>
                  </a:cubicBezTo>
                  <a:cubicBezTo>
                    <a:pt x="447" y="324"/>
                    <a:pt x="448" y="324"/>
                    <a:pt x="451" y="324"/>
                  </a:cubicBezTo>
                  <a:cubicBezTo>
                    <a:pt x="451" y="323"/>
                    <a:pt x="450" y="321"/>
                    <a:pt x="451" y="321"/>
                  </a:cubicBezTo>
                  <a:cubicBezTo>
                    <a:pt x="452" y="321"/>
                    <a:pt x="459" y="323"/>
                    <a:pt x="459" y="323"/>
                  </a:cubicBezTo>
                  <a:cubicBezTo>
                    <a:pt x="460" y="323"/>
                    <a:pt x="459" y="325"/>
                    <a:pt x="461" y="325"/>
                  </a:cubicBezTo>
                  <a:cubicBezTo>
                    <a:pt x="461" y="323"/>
                    <a:pt x="461" y="323"/>
                    <a:pt x="461" y="323"/>
                  </a:cubicBezTo>
                  <a:cubicBezTo>
                    <a:pt x="462" y="322"/>
                    <a:pt x="464" y="323"/>
                    <a:pt x="465" y="322"/>
                  </a:cubicBezTo>
                  <a:cubicBezTo>
                    <a:pt x="466" y="322"/>
                    <a:pt x="468" y="320"/>
                    <a:pt x="469" y="320"/>
                  </a:cubicBezTo>
                  <a:cubicBezTo>
                    <a:pt x="468" y="314"/>
                    <a:pt x="469" y="312"/>
                    <a:pt x="472" y="310"/>
                  </a:cubicBezTo>
                  <a:cubicBezTo>
                    <a:pt x="468" y="309"/>
                    <a:pt x="465" y="307"/>
                    <a:pt x="461" y="307"/>
                  </a:cubicBezTo>
                  <a:cubicBezTo>
                    <a:pt x="455" y="307"/>
                    <a:pt x="447" y="308"/>
                    <a:pt x="443" y="308"/>
                  </a:cubicBezTo>
                  <a:cubicBezTo>
                    <a:pt x="443" y="308"/>
                    <a:pt x="443" y="306"/>
                    <a:pt x="443" y="306"/>
                  </a:cubicBezTo>
                  <a:cubicBezTo>
                    <a:pt x="445" y="306"/>
                    <a:pt x="446" y="307"/>
                    <a:pt x="447" y="306"/>
                  </a:cubicBezTo>
                  <a:cubicBezTo>
                    <a:pt x="448" y="306"/>
                    <a:pt x="451" y="305"/>
                    <a:pt x="452" y="305"/>
                  </a:cubicBezTo>
                  <a:cubicBezTo>
                    <a:pt x="452" y="304"/>
                    <a:pt x="452" y="304"/>
                    <a:pt x="452" y="304"/>
                  </a:cubicBezTo>
                  <a:cubicBezTo>
                    <a:pt x="451" y="304"/>
                    <a:pt x="449" y="303"/>
                    <a:pt x="451" y="303"/>
                  </a:cubicBezTo>
                  <a:cubicBezTo>
                    <a:pt x="451" y="302"/>
                    <a:pt x="451" y="301"/>
                    <a:pt x="451" y="300"/>
                  </a:cubicBezTo>
                  <a:cubicBezTo>
                    <a:pt x="453" y="301"/>
                    <a:pt x="455" y="303"/>
                    <a:pt x="458" y="302"/>
                  </a:cubicBezTo>
                  <a:cubicBezTo>
                    <a:pt x="459" y="302"/>
                    <a:pt x="458" y="301"/>
                    <a:pt x="461" y="301"/>
                  </a:cubicBezTo>
                  <a:cubicBezTo>
                    <a:pt x="461" y="301"/>
                    <a:pt x="463" y="303"/>
                    <a:pt x="464" y="303"/>
                  </a:cubicBezTo>
                  <a:cubicBezTo>
                    <a:pt x="465" y="303"/>
                    <a:pt x="466" y="302"/>
                    <a:pt x="467" y="302"/>
                  </a:cubicBezTo>
                  <a:cubicBezTo>
                    <a:pt x="468" y="303"/>
                    <a:pt x="472" y="307"/>
                    <a:pt x="474" y="308"/>
                  </a:cubicBezTo>
                  <a:cubicBezTo>
                    <a:pt x="474" y="308"/>
                    <a:pt x="475" y="307"/>
                    <a:pt x="476" y="307"/>
                  </a:cubicBezTo>
                  <a:cubicBezTo>
                    <a:pt x="476" y="306"/>
                    <a:pt x="475" y="306"/>
                    <a:pt x="476" y="304"/>
                  </a:cubicBezTo>
                  <a:cubicBezTo>
                    <a:pt x="477" y="302"/>
                    <a:pt x="480" y="302"/>
                    <a:pt x="479" y="297"/>
                  </a:cubicBezTo>
                  <a:cubicBezTo>
                    <a:pt x="479" y="296"/>
                    <a:pt x="476" y="294"/>
                    <a:pt x="476" y="294"/>
                  </a:cubicBezTo>
                  <a:cubicBezTo>
                    <a:pt x="477" y="294"/>
                    <a:pt x="484" y="292"/>
                    <a:pt x="484" y="292"/>
                  </a:cubicBezTo>
                  <a:cubicBezTo>
                    <a:pt x="484" y="292"/>
                    <a:pt x="490" y="297"/>
                    <a:pt x="490" y="298"/>
                  </a:cubicBezTo>
                  <a:cubicBezTo>
                    <a:pt x="490" y="298"/>
                    <a:pt x="493" y="298"/>
                    <a:pt x="494" y="298"/>
                  </a:cubicBezTo>
                  <a:cubicBezTo>
                    <a:pt x="494" y="297"/>
                    <a:pt x="494" y="297"/>
                    <a:pt x="494" y="297"/>
                  </a:cubicBezTo>
                  <a:cubicBezTo>
                    <a:pt x="496" y="297"/>
                    <a:pt x="497" y="296"/>
                    <a:pt x="499" y="296"/>
                  </a:cubicBezTo>
                  <a:cubicBezTo>
                    <a:pt x="499" y="296"/>
                    <a:pt x="498" y="295"/>
                    <a:pt x="498" y="294"/>
                  </a:cubicBezTo>
                  <a:cubicBezTo>
                    <a:pt x="498" y="294"/>
                    <a:pt x="497" y="295"/>
                    <a:pt x="496" y="294"/>
                  </a:cubicBezTo>
                  <a:cubicBezTo>
                    <a:pt x="496" y="293"/>
                    <a:pt x="496" y="293"/>
                    <a:pt x="496" y="293"/>
                  </a:cubicBezTo>
                  <a:cubicBezTo>
                    <a:pt x="496" y="292"/>
                    <a:pt x="495" y="293"/>
                    <a:pt x="494" y="292"/>
                  </a:cubicBezTo>
                  <a:cubicBezTo>
                    <a:pt x="494" y="292"/>
                    <a:pt x="493" y="291"/>
                    <a:pt x="493" y="290"/>
                  </a:cubicBezTo>
                  <a:cubicBezTo>
                    <a:pt x="492" y="289"/>
                    <a:pt x="492" y="290"/>
                    <a:pt x="492" y="288"/>
                  </a:cubicBezTo>
                  <a:cubicBezTo>
                    <a:pt x="491" y="288"/>
                    <a:pt x="490" y="289"/>
                    <a:pt x="489" y="288"/>
                  </a:cubicBezTo>
                  <a:cubicBezTo>
                    <a:pt x="490" y="288"/>
                    <a:pt x="488" y="289"/>
                    <a:pt x="491" y="286"/>
                  </a:cubicBezTo>
                  <a:cubicBezTo>
                    <a:pt x="490" y="286"/>
                    <a:pt x="492" y="286"/>
                    <a:pt x="492" y="286"/>
                  </a:cubicBezTo>
                  <a:cubicBezTo>
                    <a:pt x="493" y="286"/>
                    <a:pt x="493" y="288"/>
                    <a:pt x="494" y="288"/>
                  </a:cubicBezTo>
                  <a:cubicBezTo>
                    <a:pt x="495" y="288"/>
                    <a:pt x="495" y="287"/>
                    <a:pt x="496" y="287"/>
                  </a:cubicBezTo>
                  <a:cubicBezTo>
                    <a:pt x="497" y="288"/>
                    <a:pt x="496" y="290"/>
                    <a:pt x="497" y="291"/>
                  </a:cubicBezTo>
                  <a:cubicBezTo>
                    <a:pt x="498" y="292"/>
                    <a:pt x="499" y="291"/>
                    <a:pt x="500" y="292"/>
                  </a:cubicBezTo>
                  <a:cubicBezTo>
                    <a:pt x="501" y="292"/>
                    <a:pt x="501" y="294"/>
                    <a:pt x="502" y="294"/>
                  </a:cubicBezTo>
                  <a:cubicBezTo>
                    <a:pt x="503" y="294"/>
                    <a:pt x="503" y="294"/>
                    <a:pt x="503" y="294"/>
                  </a:cubicBezTo>
                  <a:cubicBezTo>
                    <a:pt x="503" y="294"/>
                    <a:pt x="507" y="289"/>
                    <a:pt x="508" y="288"/>
                  </a:cubicBezTo>
                  <a:cubicBezTo>
                    <a:pt x="508" y="288"/>
                    <a:pt x="508" y="288"/>
                    <a:pt x="508" y="288"/>
                  </a:cubicBezTo>
                  <a:cubicBezTo>
                    <a:pt x="509" y="287"/>
                    <a:pt x="511" y="288"/>
                    <a:pt x="512" y="287"/>
                  </a:cubicBezTo>
                  <a:cubicBezTo>
                    <a:pt x="513" y="287"/>
                    <a:pt x="516" y="284"/>
                    <a:pt x="518" y="283"/>
                  </a:cubicBezTo>
                  <a:cubicBezTo>
                    <a:pt x="520" y="282"/>
                    <a:pt x="520" y="284"/>
                    <a:pt x="522" y="283"/>
                  </a:cubicBezTo>
                  <a:cubicBezTo>
                    <a:pt x="524" y="282"/>
                    <a:pt x="527" y="278"/>
                    <a:pt x="526" y="275"/>
                  </a:cubicBezTo>
                  <a:cubicBezTo>
                    <a:pt x="525" y="273"/>
                    <a:pt x="525" y="273"/>
                    <a:pt x="525" y="273"/>
                  </a:cubicBezTo>
                  <a:cubicBezTo>
                    <a:pt x="523" y="269"/>
                    <a:pt x="523" y="272"/>
                    <a:pt x="520" y="271"/>
                  </a:cubicBezTo>
                  <a:cubicBezTo>
                    <a:pt x="519" y="270"/>
                    <a:pt x="516" y="265"/>
                    <a:pt x="516" y="264"/>
                  </a:cubicBezTo>
                  <a:cubicBezTo>
                    <a:pt x="517" y="263"/>
                    <a:pt x="514" y="260"/>
                    <a:pt x="516" y="258"/>
                  </a:cubicBezTo>
                  <a:cubicBezTo>
                    <a:pt x="517" y="257"/>
                    <a:pt x="519" y="257"/>
                    <a:pt x="520" y="257"/>
                  </a:cubicBezTo>
                  <a:cubicBezTo>
                    <a:pt x="521" y="254"/>
                    <a:pt x="521" y="254"/>
                    <a:pt x="521" y="254"/>
                  </a:cubicBezTo>
                  <a:cubicBezTo>
                    <a:pt x="520" y="254"/>
                    <a:pt x="518" y="254"/>
                    <a:pt x="518" y="254"/>
                  </a:cubicBezTo>
                  <a:cubicBezTo>
                    <a:pt x="518" y="253"/>
                    <a:pt x="517" y="254"/>
                    <a:pt x="517" y="252"/>
                  </a:cubicBezTo>
                  <a:cubicBezTo>
                    <a:pt x="517" y="252"/>
                    <a:pt x="526" y="244"/>
                    <a:pt x="521" y="243"/>
                  </a:cubicBezTo>
                  <a:cubicBezTo>
                    <a:pt x="520" y="242"/>
                    <a:pt x="516" y="244"/>
                    <a:pt x="514" y="244"/>
                  </a:cubicBezTo>
                  <a:cubicBezTo>
                    <a:pt x="513" y="242"/>
                    <a:pt x="511" y="239"/>
                    <a:pt x="514" y="239"/>
                  </a:cubicBezTo>
                  <a:cubicBezTo>
                    <a:pt x="512" y="238"/>
                    <a:pt x="511" y="238"/>
                    <a:pt x="510" y="237"/>
                  </a:cubicBezTo>
                  <a:cubicBezTo>
                    <a:pt x="510" y="236"/>
                    <a:pt x="511" y="236"/>
                    <a:pt x="510" y="235"/>
                  </a:cubicBezTo>
                  <a:cubicBezTo>
                    <a:pt x="508" y="234"/>
                    <a:pt x="506" y="234"/>
                    <a:pt x="504" y="234"/>
                  </a:cubicBezTo>
                  <a:cubicBezTo>
                    <a:pt x="503" y="235"/>
                    <a:pt x="503" y="236"/>
                    <a:pt x="502" y="236"/>
                  </a:cubicBezTo>
                  <a:cubicBezTo>
                    <a:pt x="502" y="236"/>
                    <a:pt x="500" y="234"/>
                    <a:pt x="500" y="234"/>
                  </a:cubicBezTo>
                  <a:cubicBezTo>
                    <a:pt x="496" y="232"/>
                    <a:pt x="493" y="233"/>
                    <a:pt x="488" y="233"/>
                  </a:cubicBezTo>
                  <a:cubicBezTo>
                    <a:pt x="488" y="234"/>
                    <a:pt x="490" y="234"/>
                    <a:pt x="490" y="235"/>
                  </a:cubicBezTo>
                  <a:cubicBezTo>
                    <a:pt x="490" y="235"/>
                    <a:pt x="489" y="241"/>
                    <a:pt x="490" y="244"/>
                  </a:cubicBezTo>
                  <a:cubicBezTo>
                    <a:pt x="492" y="245"/>
                    <a:pt x="492" y="245"/>
                    <a:pt x="492" y="245"/>
                  </a:cubicBezTo>
                  <a:cubicBezTo>
                    <a:pt x="493" y="246"/>
                    <a:pt x="494" y="247"/>
                    <a:pt x="494" y="247"/>
                  </a:cubicBezTo>
                  <a:cubicBezTo>
                    <a:pt x="493" y="247"/>
                    <a:pt x="493" y="249"/>
                    <a:pt x="493" y="249"/>
                  </a:cubicBezTo>
                  <a:cubicBezTo>
                    <a:pt x="493" y="250"/>
                    <a:pt x="494" y="250"/>
                    <a:pt x="494" y="251"/>
                  </a:cubicBezTo>
                  <a:cubicBezTo>
                    <a:pt x="494" y="251"/>
                    <a:pt x="493" y="250"/>
                    <a:pt x="492" y="251"/>
                  </a:cubicBezTo>
                  <a:cubicBezTo>
                    <a:pt x="492" y="252"/>
                    <a:pt x="492" y="252"/>
                    <a:pt x="492" y="252"/>
                  </a:cubicBezTo>
                  <a:cubicBezTo>
                    <a:pt x="494" y="252"/>
                    <a:pt x="492" y="253"/>
                    <a:pt x="492" y="253"/>
                  </a:cubicBezTo>
                  <a:cubicBezTo>
                    <a:pt x="492" y="253"/>
                    <a:pt x="489" y="253"/>
                    <a:pt x="488" y="253"/>
                  </a:cubicBezTo>
                  <a:cubicBezTo>
                    <a:pt x="487" y="255"/>
                    <a:pt x="487" y="258"/>
                    <a:pt x="486" y="260"/>
                  </a:cubicBezTo>
                  <a:cubicBezTo>
                    <a:pt x="486" y="260"/>
                    <a:pt x="485" y="261"/>
                    <a:pt x="485" y="261"/>
                  </a:cubicBezTo>
                  <a:cubicBezTo>
                    <a:pt x="485" y="262"/>
                    <a:pt x="486" y="262"/>
                    <a:pt x="486" y="263"/>
                  </a:cubicBezTo>
                  <a:cubicBezTo>
                    <a:pt x="486" y="263"/>
                    <a:pt x="484" y="264"/>
                    <a:pt x="484" y="264"/>
                  </a:cubicBezTo>
                  <a:cubicBezTo>
                    <a:pt x="483" y="264"/>
                    <a:pt x="483" y="266"/>
                    <a:pt x="483" y="267"/>
                  </a:cubicBezTo>
                  <a:cubicBezTo>
                    <a:pt x="482" y="268"/>
                    <a:pt x="478" y="270"/>
                    <a:pt x="479" y="274"/>
                  </a:cubicBezTo>
                  <a:cubicBezTo>
                    <a:pt x="479" y="274"/>
                    <a:pt x="480" y="275"/>
                    <a:pt x="480" y="276"/>
                  </a:cubicBezTo>
                  <a:cubicBezTo>
                    <a:pt x="478" y="277"/>
                    <a:pt x="477" y="277"/>
                    <a:pt x="474" y="278"/>
                  </a:cubicBezTo>
                  <a:cubicBezTo>
                    <a:pt x="475" y="278"/>
                    <a:pt x="475" y="280"/>
                    <a:pt x="475" y="281"/>
                  </a:cubicBezTo>
                  <a:cubicBezTo>
                    <a:pt x="473" y="281"/>
                    <a:pt x="473" y="279"/>
                    <a:pt x="472" y="279"/>
                  </a:cubicBezTo>
                  <a:cubicBezTo>
                    <a:pt x="471" y="279"/>
                    <a:pt x="471" y="279"/>
                    <a:pt x="469" y="280"/>
                  </a:cubicBezTo>
                  <a:cubicBezTo>
                    <a:pt x="468" y="278"/>
                    <a:pt x="467" y="274"/>
                    <a:pt x="466" y="273"/>
                  </a:cubicBezTo>
                  <a:cubicBezTo>
                    <a:pt x="465" y="272"/>
                    <a:pt x="463" y="272"/>
                    <a:pt x="463" y="272"/>
                  </a:cubicBezTo>
                  <a:cubicBezTo>
                    <a:pt x="462" y="271"/>
                    <a:pt x="459" y="265"/>
                    <a:pt x="459" y="264"/>
                  </a:cubicBezTo>
                  <a:cubicBezTo>
                    <a:pt x="460" y="263"/>
                    <a:pt x="460" y="261"/>
                    <a:pt x="462" y="261"/>
                  </a:cubicBezTo>
                  <a:cubicBezTo>
                    <a:pt x="463" y="261"/>
                    <a:pt x="463" y="261"/>
                    <a:pt x="463" y="261"/>
                  </a:cubicBezTo>
                  <a:cubicBezTo>
                    <a:pt x="463" y="259"/>
                    <a:pt x="462" y="257"/>
                    <a:pt x="463" y="255"/>
                  </a:cubicBezTo>
                  <a:cubicBezTo>
                    <a:pt x="463" y="255"/>
                    <a:pt x="464" y="254"/>
                    <a:pt x="464" y="253"/>
                  </a:cubicBezTo>
                  <a:cubicBezTo>
                    <a:pt x="466" y="251"/>
                    <a:pt x="466" y="251"/>
                    <a:pt x="466" y="251"/>
                  </a:cubicBezTo>
                  <a:cubicBezTo>
                    <a:pt x="466" y="250"/>
                    <a:pt x="465" y="248"/>
                    <a:pt x="465" y="248"/>
                  </a:cubicBezTo>
                  <a:cubicBezTo>
                    <a:pt x="464" y="246"/>
                    <a:pt x="463" y="243"/>
                    <a:pt x="462" y="241"/>
                  </a:cubicBezTo>
                  <a:cubicBezTo>
                    <a:pt x="460" y="242"/>
                    <a:pt x="455" y="243"/>
                    <a:pt x="454" y="245"/>
                  </a:cubicBezTo>
                  <a:cubicBezTo>
                    <a:pt x="453" y="246"/>
                    <a:pt x="453" y="250"/>
                    <a:pt x="453" y="251"/>
                  </a:cubicBezTo>
                  <a:cubicBezTo>
                    <a:pt x="454" y="251"/>
                    <a:pt x="453" y="255"/>
                    <a:pt x="453" y="257"/>
                  </a:cubicBezTo>
                  <a:cubicBezTo>
                    <a:pt x="452" y="257"/>
                    <a:pt x="452" y="256"/>
                    <a:pt x="451" y="257"/>
                  </a:cubicBezTo>
                  <a:cubicBezTo>
                    <a:pt x="449" y="258"/>
                    <a:pt x="449" y="258"/>
                    <a:pt x="449" y="258"/>
                  </a:cubicBezTo>
                  <a:cubicBezTo>
                    <a:pt x="448" y="264"/>
                    <a:pt x="451" y="262"/>
                    <a:pt x="445" y="262"/>
                  </a:cubicBezTo>
                  <a:cubicBezTo>
                    <a:pt x="445" y="261"/>
                    <a:pt x="445" y="261"/>
                    <a:pt x="445" y="261"/>
                  </a:cubicBezTo>
                  <a:cubicBezTo>
                    <a:pt x="445" y="261"/>
                    <a:pt x="446" y="259"/>
                    <a:pt x="446" y="258"/>
                  </a:cubicBezTo>
                  <a:cubicBezTo>
                    <a:pt x="446" y="257"/>
                    <a:pt x="444" y="254"/>
                    <a:pt x="444" y="253"/>
                  </a:cubicBezTo>
                  <a:cubicBezTo>
                    <a:pt x="443" y="252"/>
                    <a:pt x="443" y="252"/>
                    <a:pt x="442" y="251"/>
                  </a:cubicBezTo>
                  <a:cubicBezTo>
                    <a:pt x="445" y="251"/>
                    <a:pt x="441" y="246"/>
                    <a:pt x="441" y="246"/>
                  </a:cubicBezTo>
                  <a:cubicBezTo>
                    <a:pt x="440" y="246"/>
                    <a:pt x="440" y="244"/>
                    <a:pt x="440" y="242"/>
                  </a:cubicBezTo>
                  <a:cubicBezTo>
                    <a:pt x="437" y="242"/>
                    <a:pt x="434" y="242"/>
                    <a:pt x="431" y="241"/>
                  </a:cubicBezTo>
                  <a:cubicBezTo>
                    <a:pt x="431" y="240"/>
                    <a:pt x="430" y="238"/>
                    <a:pt x="429" y="238"/>
                  </a:cubicBezTo>
                  <a:cubicBezTo>
                    <a:pt x="429" y="238"/>
                    <a:pt x="427" y="238"/>
                    <a:pt x="427" y="237"/>
                  </a:cubicBezTo>
                  <a:cubicBezTo>
                    <a:pt x="426" y="237"/>
                    <a:pt x="426" y="236"/>
                    <a:pt x="426" y="235"/>
                  </a:cubicBezTo>
                  <a:cubicBezTo>
                    <a:pt x="425" y="235"/>
                    <a:pt x="425" y="235"/>
                    <a:pt x="425" y="235"/>
                  </a:cubicBezTo>
                  <a:cubicBezTo>
                    <a:pt x="426" y="235"/>
                    <a:pt x="427" y="233"/>
                    <a:pt x="427" y="233"/>
                  </a:cubicBezTo>
                  <a:cubicBezTo>
                    <a:pt x="428" y="232"/>
                    <a:pt x="429" y="233"/>
                    <a:pt x="429" y="233"/>
                  </a:cubicBezTo>
                  <a:cubicBezTo>
                    <a:pt x="429" y="233"/>
                    <a:pt x="432" y="230"/>
                    <a:pt x="433" y="230"/>
                  </a:cubicBezTo>
                  <a:cubicBezTo>
                    <a:pt x="433" y="230"/>
                    <a:pt x="433" y="227"/>
                    <a:pt x="433" y="227"/>
                  </a:cubicBezTo>
                  <a:cubicBezTo>
                    <a:pt x="433" y="227"/>
                    <a:pt x="430" y="227"/>
                    <a:pt x="431" y="227"/>
                  </a:cubicBezTo>
                  <a:cubicBezTo>
                    <a:pt x="430" y="228"/>
                    <a:pt x="429" y="228"/>
                    <a:pt x="428" y="229"/>
                  </a:cubicBezTo>
                  <a:cubicBezTo>
                    <a:pt x="429" y="227"/>
                    <a:pt x="429" y="225"/>
                    <a:pt x="430" y="223"/>
                  </a:cubicBezTo>
                  <a:cubicBezTo>
                    <a:pt x="430" y="223"/>
                    <a:pt x="431" y="223"/>
                    <a:pt x="431" y="223"/>
                  </a:cubicBezTo>
                  <a:cubicBezTo>
                    <a:pt x="433" y="225"/>
                    <a:pt x="433" y="225"/>
                    <a:pt x="433" y="225"/>
                  </a:cubicBezTo>
                  <a:cubicBezTo>
                    <a:pt x="434" y="225"/>
                    <a:pt x="436" y="225"/>
                    <a:pt x="437" y="225"/>
                  </a:cubicBezTo>
                  <a:cubicBezTo>
                    <a:pt x="437" y="220"/>
                    <a:pt x="437" y="220"/>
                    <a:pt x="437" y="220"/>
                  </a:cubicBezTo>
                  <a:cubicBezTo>
                    <a:pt x="436" y="220"/>
                    <a:pt x="435" y="220"/>
                    <a:pt x="435" y="221"/>
                  </a:cubicBezTo>
                  <a:cubicBezTo>
                    <a:pt x="433" y="217"/>
                    <a:pt x="433" y="217"/>
                    <a:pt x="433" y="217"/>
                  </a:cubicBezTo>
                  <a:cubicBezTo>
                    <a:pt x="431" y="216"/>
                    <a:pt x="430" y="217"/>
                    <a:pt x="429" y="217"/>
                  </a:cubicBezTo>
                  <a:cubicBezTo>
                    <a:pt x="428" y="216"/>
                    <a:pt x="426" y="213"/>
                    <a:pt x="425" y="212"/>
                  </a:cubicBezTo>
                  <a:cubicBezTo>
                    <a:pt x="423" y="212"/>
                    <a:pt x="422" y="212"/>
                    <a:pt x="421" y="212"/>
                  </a:cubicBezTo>
                  <a:cubicBezTo>
                    <a:pt x="421" y="211"/>
                    <a:pt x="421" y="211"/>
                    <a:pt x="421" y="211"/>
                  </a:cubicBezTo>
                  <a:cubicBezTo>
                    <a:pt x="419" y="211"/>
                    <a:pt x="418" y="209"/>
                    <a:pt x="417" y="209"/>
                  </a:cubicBezTo>
                  <a:cubicBezTo>
                    <a:pt x="417" y="209"/>
                    <a:pt x="416" y="209"/>
                    <a:pt x="415" y="209"/>
                  </a:cubicBezTo>
                  <a:cubicBezTo>
                    <a:pt x="415" y="207"/>
                    <a:pt x="415" y="207"/>
                    <a:pt x="415" y="207"/>
                  </a:cubicBezTo>
                  <a:cubicBezTo>
                    <a:pt x="411" y="203"/>
                    <a:pt x="411" y="203"/>
                    <a:pt x="411" y="203"/>
                  </a:cubicBezTo>
                  <a:cubicBezTo>
                    <a:pt x="410" y="204"/>
                    <a:pt x="410" y="204"/>
                    <a:pt x="409" y="204"/>
                  </a:cubicBezTo>
                  <a:cubicBezTo>
                    <a:pt x="409" y="204"/>
                    <a:pt x="409" y="202"/>
                    <a:pt x="409" y="201"/>
                  </a:cubicBezTo>
                  <a:cubicBezTo>
                    <a:pt x="407" y="201"/>
                    <a:pt x="408" y="203"/>
                    <a:pt x="406" y="202"/>
                  </a:cubicBezTo>
                  <a:cubicBezTo>
                    <a:pt x="406" y="202"/>
                    <a:pt x="406" y="200"/>
                    <a:pt x="406" y="199"/>
                  </a:cubicBezTo>
                  <a:cubicBezTo>
                    <a:pt x="407" y="199"/>
                    <a:pt x="408" y="199"/>
                    <a:pt x="409" y="199"/>
                  </a:cubicBezTo>
                  <a:cubicBezTo>
                    <a:pt x="408" y="199"/>
                    <a:pt x="409" y="198"/>
                    <a:pt x="409" y="198"/>
                  </a:cubicBezTo>
                  <a:cubicBezTo>
                    <a:pt x="410" y="198"/>
                    <a:pt x="408" y="197"/>
                    <a:pt x="408" y="197"/>
                  </a:cubicBezTo>
                  <a:cubicBezTo>
                    <a:pt x="408" y="197"/>
                    <a:pt x="409" y="195"/>
                    <a:pt x="409" y="195"/>
                  </a:cubicBezTo>
                  <a:cubicBezTo>
                    <a:pt x="410" y="194"/>
                    <a:pt x="411" y="194"/>
                    <a:pt x="413" y="193"/>
                  </a:cubicBezTo>
                  <a:cubicBezTo>
                    <a:pt x="413" y="193"/>
                    <a:pt x="413" y="193"/>
                    <a:pt x="413" y="193"/>
                  </a:cubicBezTo>
                  <a:cubicBezTo>
                    <a:pt x="414" y="192"/>
                    <a:pt x="410" y="190"/>
                    <a:pt x="409" y="189"/>
                  </a:cubicBezTo>
                  <a:cubicBezTo>
                    <a:pt x="410" y="189"/>
                    <a:pt x="409" y="187"/>
                    <a:pt x="409" y="187"/>
                  </a:cubicBezTo>
                  <a:cubicBezTo>
                    <a:pt x="409" y="187"/>
                    <a:pt x="411" y="187"/>
                    <a:pt x="410" y="186"/>
                  </a:cubicBezTo>
                  <a:cubicBezTo>
                    <a:pt x="411" y="186"/>
                    <a:pt x="411" y="185"/>
                    <a:pt x="411" y="185"/>
                  </a:cubicBezTo>
                  <a:cubicBezTo>
                    <a:pt x="414" y="184"/>
                    <a:pt x="417" y="185"/>
                    <a:pt x="420" y="185"/>
                  </a:cubicBezTo>
                  <a:cubicBezTo>
                    <a:pt x="423" y="185"/>
                    <a:pt x="431" y="183"/>
                    <a:pt x="434" y="182"/>
                  </a:cubicBezTo>
                  <a:cubicBezTo>
                    <a:pt x="436" y="181"/>
                    <a:pt x="436" y="178"/>
                    <a:pt x="438" y="177"/>
                  </a:cubicBezTo>
                  <a:cubicBezTo>
                    <a:pt x="439" y="176"/>
                    <a:pt x="440" y="176"/>
                    <a:pt x="441" y="175"/>
                  </a:cubicBezTo>
                  <a:cubicBezTo>
                    <a:pt x="441" y="174"/>
                    <a:pt x="440" y="173"/>
                    <a:pt x="441" y="172"/>
                  </a:cubicBezTo>
                  <a:cubicBezTo>
                    <a:pt x="441" y="172"/>
                    <a:pt x="442" y="172"/>
                    <a:pt x="442" y="171"/>
                  </a:cubicBezTo>
                  <a:cubicBezTo>
                    <a:pt x="443" y="170"/>
                    <a:pt x="443" y="168"/>
                    <a:pt x="444" y="166"/>
                  </a:cubicBezTo>
                  <a:cubicBezTo>
                    <a:pt x="438" y="165"/>
                    <a:pt x="436" y="164"/>
                    <a:pt x="430" y="164"/>
                  </a:cubicBezTo>
                  <a:cubicBezTo>
                    <a:pt x="429" y="165"/>
                    <a:pt x="430" y="165"/>
                    <a:pt x="429" y="166"/>
                  </a:cubicBezTo>
                  <a:cubicBezTo>
                    <a:pt x="428" y="165"/>
                    <a:pt x="428" y="163"/>
                    <a:pt x="427" y="163"/>
                  </a:cubicBezTo>
                  <a:cubicBezTo>
                    <a:pt x="425" y="161"/>
                    <a:pt x="416" y="160"/>
                    <a:pt x="412" y="160"/>
                  </a:cubicBezTo>
                  <a:cubicBezTo>
                    <a:pt x="411" y="161"/>
                    <a:pt x="410" y="163"/>
                    <a:pt x="409" y="165"/>
                  </a:cubicBezTo>
                  <a:cubicBezTo>
                    <a:pt x="408" y="164"/>
                    <a:pt x="408" y="164"/>
                    <a:pt x="407" y="163"/>
                  </a:cubicBezTo>
                  <a:cubicBezTo>
                    <a:pt x="404" y="163"/>
                    <a:pt x="402" y="163"/>
                    <a:pt x="399" y="164"/>
                  </a:cubicBezTo>
                  <a:cubicBezTo>
                    <a:pt x="401" y="170"/>
                    <a:pt x="401" y="168"/>
                    <a:pt x="397" y="168"/>
                  </a:cubicBezTo>
                  <a:cubicBezTo>
                    <a:pt x="397" y="168"/>
                    <a:pt x="397" y="171"/>
                    <a:pt x="397" y="171"/>
                  </a:cubicBezTo>
                  <a:cubicBezTo>
                    <a:pt x="398" y="172"/>
                    <a:pt x="398" y="172"/>
                    <a:pt x="398" y="172"/>
                  </a:cubicBezTo>
                  <a:cubicBezTo>
                    <a:pt x="398" y="172"/>
                    <a:pt x="397" y="173"/>
                    <a:pt x="397" y="174"/>
                  </a:cubicBezTo>
                  <a:cubicBezTo>
                    <a:pt x="397" y="175"/>
                    <a:pt x="399" y="177"/>
                    <a:pt x="399" y="177"/>
                  </a:cubicBezTo>
                  <a:cubicBezTo>
                    <a:pt x="400" y="179"/>
                    <a:pt x="399" y="180"/>
                    <a:pt x="400" y="183"/>
                  </a:cubicBezTo>
                  <a:cubicBezTo>
                    <a:pt x="401" y="183"/>
                    <a:pt x="401" y="183"/>
                    <a:pt x="401" y="183"/>
                  </a:cubicBezTo>
                  <a:cubicBezTo>
                    <a:pt x="402" y="184"/>
                    <a:pt x="401" y="185"/>
                    <a:pt x="401" y="186"/>
                  </a:cubicBezTo>
                  <a:cubicBezTo>
                    <a:pt x="400" y="187"/>
                    <a:pt x="400" y="187"/>
                    <a:pt x="399" y="188"/>
                  </a:cubicBezTo>
                  <a:cubicBezTo>
                    <a:pt x="400" y="189"/>
                    <a:pt x="402" y="190"/>
                    <a:pt x="403" y="191"/>
                  </a:cubicBezTo>
                  <a:cubicBezTo>
                    <a:pt x="403" y="192"/>
                    <a:pt x="401" y="199"/>
                    <a:pt x="403" y="199"/>
                  </a:cubicBezTo>
                  <a:cubicBezTo>
                    <a:pt x="403" y="199"/>
                    <a:pt x="401" y="200"/>
                    <a:pt x="402" y="201"/>
                  </a:cubicBezTo>
                  <a:cubicBezTo>
                    <a:pt x="401" y="201"/>
                    <a:pt x="400" y="201"/>
                    <a:pt x="399" y="201"/>
                  </a:cubicBezTo>
                  <a:cubicBezTo>
                    <a:pt x="398" y="202"/>
                    <a:pt x="397" y="204"/>
                    <a:pt x="397" y="205"/>
                  </a:cubicBezTo>
                  <a:cubicBezTo>
                    <a:pt x="399" y="206"/>
                    <a:pt x="400" y="207"/>
                    <a:pt x="401" y="209"/>
                  </a:cubicBezTo>
                  <a:cubicBezTo>
                    <a:pt x="401" y="209"/>
                    <a:pt x="400" y="210"/>
                    <a:pt x="399" y="209"/>
                  </a:cubicBezTo>
                  <a:cubicBezTo>
                    <a:pt x="399" y="209"/>
                    <a:pt x="397" y="208"/>
                    <a:pt x="397" y="207"/>
                  </a:cubicBezTo>
                  <a:cubicBezTo>
                    <a:pt x="397" y="207"/>
                    <a:pt x="395" y="207"/>
                    <a:pt x="395" y="207"/>
                  </a:cubicBezTo>
                  <a:cubicBezTo>
                    <a:pt x="394" y="208"/>
                    <a:pt x="395" y="209"/>
                    <a:pt x="395" y="210"/>
                  </a:cubicBezTo>
                  <a:cubicBezTo>
                    <a:pt x="395" y="210"/>
                    <a:pt x="393" y="211"/>
                    <a:pt x="393" y="211"/>
                  </a:cubicBezTo>
                  <a:cubicBezTo>
                    <a:pt x="392" y="211"/>
                    <a:pt x="393" y="213"/>
                    <a:pt x="392" y="213"/>
                  </a:cubicBezTo>
                  <a:cubicBezTo>
                    <a:pt x="392" y="212"/>
                    <a:pt x="393" y="215"/>
                    <a:pt x="393" y="215"/>
                  </a:cubicBezTo>
                  <a:cubicBezTo>
                    <a:pt x="392" y="215"/>
                    <a:pt x="392" y="215"/>
                    <a:pt x="392" y="215"/>
                  </a:cubicBezTo>
                  <a:cubicBezTo>
                    <a:pt x="393" y="220"/>
                    <a:pt x="392" y="219"/>
                    <a:pt x="395" y="222"/>
                  </a:cubicBezTo>
                  <a:cubicBezTo>
                    <a:pt x="393" y="222"/>
                    <a:pt x="392" y="222"/>
                    <a:pt x="389" y="223"/>
                  </a:cubicBezTo>
                  <a:cubicBezTo>
                    <a:pt x="390" y="224"/>
                    <a:pt x="389" y="226"/>
                    <a:pt x="391" y="225"/>
                  </a:cubicBezTo>
                  <a:cubicBezTo>
                    <a:pt x="390" y="227"/>
                    <a:pt x="390" y="227"/>
                    <a:pt x="390" y="227"/>
                  </a:cubicBezTo>
                  <a:cubicBezTo>
                    <a:pt x="393" y="230"/>
                    <a:pt x="393" y="230"/>
                    <a:pt x="393" y="230"/>
                  </a:cubicBezTo>
                  <a:cubicBezTo>
                    <a:pt x="394" y="230"/>
                    <a:pt x="395" y="230"/>
                    <a:pt x="396" y="230"/>
                  </a:cubicBezTo>
                  <a:cubicBezTo>
                    <a:pt x="397" y="230"/>
                    <a:pt x="396" y="232"/>
                    <a:pt x="396" y="232"/>
                  </a:cubicBezTo>
                  <a:cubicBezTo>
                    <a:pt x="396" y="232"/>
                    <a:pt x="394" y="233"/>
                    <a:pt x="394" y="233"/>
                  </a:cubicBezTo>
                  <a:cubicBezTo>
                    <a:pt x="394" y="235"/>
                    <a:pt x="393" y="238"/>
                    <a:pt x="395" y="237"/>
                  </a:cubicBezTo>
                  <a:cubicBezTo>
                    <a:pt x="395" y="237"/>
                    <a:pt x="397" y="235"/>
                    <a:pt x="396" y="235"/>
                  </a:cubicBezTo>
                  <a:cubicBezTo>
                    <a:pt x="398" y="236"/>
                    <a:pt x="396" y="236"/>
                    <a:pt x="397" y="237"/>
                  </a:cubicBezTo>
                  <a:cubicBezTo>
                    <a:pt x="397" y="237"/>
                    <a:pt x="400" y="236"/>
                    <a:pt x="399" y="235"/>
                  </a:cubicBezTo>
                  <a:cubicBezTo>
                    <a:pt x="399" y="234"/>
                    <a:pt x="398" y="233"/>
                    <a:pt x="399" y="232"/>
                  </a:cubicBezTo>
                  <a:cubicBezTo>
                    <a:pt x="400" y="231"/>
                    <a:pt x="400" y="231"/>
                    <a:pt x="400" y="231"/>
                  </a:cubicBezTo>
                  <a:cubicBezTo>
                    <a:pt x="405" y="233"/>
                    <a:pt x="407" y="236"/>
                    <a:pt x="409" y="240"/>
                  </a:cubicBezTo>
                  <a:cubicBezTo>
                    <a:pt x="411" y="239"/>
                    <a:pt x="412" y="240"/>
                    <a:pt x="414" y="239"/>
                  </a:cubicBezTo>
                  <a:cubicBezTo>
                    <a:pt x="416" y="238"/>
                    <a:pt x="418" y="235"/>
                    <a:pt x="421" y="235"/>
                  </a:cubicBezTo>
                  <a:cubicBezTo>
                    <a:pt x="422" y="234"/>
                    <a:pt x="422" y="235"/>
                    <a:pt x="423" y="235"/>
                  </a:cubicBezTo>
                  <a:cubicBezTo>
                    <a:pt x="423" y="235"/>
                    <a:pt x="423" y="237"/>
                    <a:pt x="423" y="237"/>
                  </a:cubicBezTo>
                  <a:cubicBezTo>
                    <a:pt x="422" y="237"/>
                    <a:pt x="420" y="237"/>
                    <a:pt x="419" y="237"/>
                  </a:cubicBezTo>
                  <a:cubicBezTo>
                    <a:pt x="418" y="237"/>
                    <a:pt x="417" y="238"/>
                    <a:pt x="417" y="239"/>
                  </a:cubicBezTo>
                  <a:cubicBezTo>
                    <a:pt x="416" y="241"/>
                    <a:pt x="417" y="243"/>
                    <a:pt x="417" y="245"/>
                  </a:cubicBezTo>
                  <a:cubicBezTo>
                    <a:pt x="415" y="245"/>
                    <a:pt x="411" y="243"/>
                    <a:pt x="410" y="243"/>
                  </a:cubicBezTo>
                  <a:cubicBezTo>
                    <a:pt x="409" y="243"/>
                    <a:pt x="408" y="245"/>
                    <a:pt x="407" y="245"/>
                  </a:cubicBezTo>
                  <a:cubicBezTo>
                    <a:pt x="407" y="246"/>
                    <a:pt x="408" y="247"/>
                    <a:pt x="407" y="247"/>
                  </a:cubicBezTo>
                  <a:cubicBezTo>
                    <a:pt x="407" y="247"/>
                    <a:pt x="409" y="250"/>
                    <a:pt x="409" y="250"/>
                  </a:cubicBezTo>
                  <a:cubicBezTo>
                    <a:pt x="407" y="251"/>
                    <a:pt x="406" y="256"/>
                    <a:pt x="411" y="255"/>
                  </a:cubicBezTo>
                  <a:cubicBezTo>
                    <a:pt x="412" y="255"/>
                    <a:pt x="414" y="252"/>
                    <a:pt x="415" y="252"/>
                  </a:cubicBezTo>
                  <a:cubicBezTo>
                    <a:pt x="414" y="254"/>
                    <a:pt x="414" y="254"/>
                    <a:pt x="415" y="255"/>
                  </a:cubicBezTo>
                  <a:cubicBezTo>
                    <a:pt x="415" y="256"/>
                    <a:pt x="415" y="255"/>
                    <a:pt x="415" y="257"/>
                  </a:cubicBezTo>
                  <a:cubicBezTo>
                    <a:pt x="414" y="257"/>
                    <a:pt x="411" y="259"/>
                    <a:pt x="409" y="259"/>
                  </a:cubicBezTo>
                  <a:cubicBezTo>
                    <a:pt x="409" y="259"/>
                    <a:pt x="407" y="259"/>
                    <a:pt x="407" y="259"/>
                  </a:cubicBezTo>
                  <a:cubicBezTo>
                    <a:pt x="404" y="260"/>
                    <a:pt x="404" y="265"/>
                    <a:pt x="401" y="267"/>
                  </a:cubicBezTo>
                  <a:cubicBezTo>
                    <a:pt x="401" y="267"/>
                    <a:pt x="398" y="266"/>
                    <a:pt x="397" y="266"/>
                  </a:cubicBezTo>
                  <a:cubicBezTo>
                    <a:pt x="397" y="267"/>
                    <a:pt x="397" y="267"/>
                    <a:pt x="397" y="267"/>
                  </a:cubicBezTo>
                  <a:cubicBezTo>
                    <a:pt x="398" y="267"/>
                    <a:pt x="398" y="267"/>
                    <a:pt x="398" y="268"/>
                  </a:cubicBezTo>
                  <a:cubicBezTo>
                    <a:pt x="398" y="268"/>
                    <a:pt x="396" y="269"/>
                    <a:pt x="396" y="269"/>
                  </a:cubicBezTo>
                  <a:cubicBezTo>
                    <a:pt x="396" y="270"/>
                    <a:pt x="396" y="271"/>
                    <a:pt x="396" y="272"/>
                  </a:cubicBezTo>
                  <a:cubicBezTo>
                    <a:pt x="396" y="272"/>
                    <a:pt x="393" y="273"/>
                    <a:pt x="393" y="273"/>
                  </a:cubicBezTo>
                  <a:cubicBezTo>
                    <a:pt x="393" y="275"/>
                    <a:pt x="393" y="275"/>
                    <a:pt x="393" y="275"/>
                  </a:cubicBezTo>
                  <a:cubicBezTo>
                    <a:pt x="394" y="275"/>
                    <a:pt x="396" y="275"/>
                    <a:pt x="397" y="276"/>
                  </a:cubicBezTo>
                  <a:cubicBezTo>
                    <a:pt x="397" y="277"/>
                    <a:pt x="396" y="278"/>
                    <a:pt x="396" y="279"/>
                  </a:cubicBezTo>
                  <a:cubicBezTo>
                    <a:pt x="397" y="280"/>
                    <a:pt x="398" y="280"/>
                    <a:pt x="400" y="281"/>
                  </a:cubicBezTo>
                  <a:cubicBezTo>
                    <a:pt x="400" y="282"/>
                    <a:pt x="400" y="282"/>
                    <a:pt x="400" y="282"/>
                  </a:cubicBezTo>
                  <a:cubicBezTo>
                    <a:pt x="399" y="282"/>
                    <a:pt x="399" y="282"/>
                    <a:pt x="399" y="282"/>
                  </a:cubicBezTo>
                  <a:cubicBezTo>
                    <a:pt x="398" y="283"/>
                    <a:pt x="398" y="283"/>
                    <a:pt x="398" y="283"/>
                  </a:cubicBezTo>
                  <a:cubicBezTo>
                    <a:pt x="397" y="283"/>
                    <a:pt x="393" y="280"/>
                    <a:pt x="391" y="280"/>
                  </a:cubicBezTo>
                  <a:cubicBezTo>
                    <a:pt x="392" y="280"/>
                    <a:pt x="392" y="278"/>
                    <a:pt x="391" y="278"/>
                  </a:cubicBezTo>
                  <a:cubicBezTo>
                    <a:pt x="391" y="278"/>
                    <a:pt x="390" y="278"/>
                    <a:pt x="389" y="278"/>
                  </a:cubicBezTo>
                  <a:cubicBezTo>
                    <a:pt x="388" y="277"/>
                    <a:pt x="386" y="275"/>
                    <a:pt x="385" y="274"/>
                  </a:cubicBezTo>
                  <a:cubicBezTo>
                    <a:pt x="387" y="271"/>
                    <a:pt x="387" y="268"/>
                    <a:pt x="388" y="263"/>
                  </a:cubicBezTo>
                  <a:cubicBezTo>
                    <a:pt x="388" y="263"/>
                    <a:pt x="386" y="264"/>
                    <a:pt x="387" y="265"/>
                  </a:cubicBezTo>
                  <a:cubicBezTo>
                    <a:pt x="386" y="265"/>
                    <a:pt x="386" y="263"/>
                    <a:pt x="387" y="263"/>
                  </a:cubicBezTo>
                  <a:cubicBezTo>
                    <a:pt x="386" y="260"/>
                    <a:pt x="386" y="260"/>
                    <a:pt x="386" y="260"/>
                  </a:cubicBezTo>
                  <a:cubicBezTo>
                    <a:pt x="386" y="261"/>
                    <a:pt x="384" y="261"/>
                    <a:pt x="384" y="262"/>
                  </a:cubicBezTo>
                  <a:cubicBezTo>
                    <a:pt x="384" y="263"/>
                    <a:pt x="384" y="263"/>
                    <a:pt x="384" y="263"/>
                  </a:cubicBezTo>
                  <a:cubicBezTo>
                    <a:pt x="384" y="263"/>
                    <a:pt x="379" y="262"/>
                    <a:pt x="381" y="262"/>
                  </a:cubicBezTo>
                  <a:cubicBezTo>
                    <a:pt x="381" y="262"/>
                    <a:pt x="380" y="261"/>
                    <a:pt x="379" y="261"/>
                  </a:cubicBezTo>
                  <a:cubicBezTo>
                    <a:pt x="379" y="259"/>
                    <a:pt x="379" y="259"/>
                    <a:pt x="379" y="259"/>
                  </a:cubicBezTo>
                  <a:cubicBezTo>
                    <a:pt x="379" y="259"/>
                    <a:pt x="378" y="259"/>
                    <a:pt x="377" y="259"/>
                  </a:cubicBezTo>
                  <a:cubicBezTo>
                    <a:pt x="376" y="259"/>
                    <a:pt x="374" y="257"/>
                    <a:pt x="373" y="256"/>
                  </a:cubicBezTo>
                  <a:cubicBezTo>
                    <a:pt x="372" y="256"/>
                    <a:pt x="372" y="259"/>
                    <a:pt x="373" y="259"/>
                  </a:cubicBezTo>
                  <a:cubicBezTo>
                    <a:pt x="373" y="259"/>
                    <a:pt x="371" y="259"/>
                    <a:pt x="371" y="259"/>
                  </a:cubicBezTo>
                  <a:cubicBezTo>
                    <a:pt x="371" y="261"/>
                    <a:pt x="371" y="266"/>
                    <a:pt x="373" y="267"/>
                  </a:cubicBezTo>
                  <a:cubicBezTo>
                    <a:pt x="373" y="268"/>
                    <a:pt x="372" y="268"/>
                    <a:pt x="372" y="269"/>
                  </a:cubicBezTo>
                  <a:cubicBezTo>
                    <a:pt x="371" y="269"/>
                    <a:pt x="371" y="268"/>
                    <a:pt x="369" y="268"/>
                  </a:cubicBezTo>
                  <a:cubicBezTo>
                    <a:pt x="368" y="268"/>
                    <a:pt x="368" y="270"/>
                    <a:pt x="367" y="271"/>
                  </a:cubicBezTo>
                  <a:cubicBezTo>
                    <a:pt x="366" y="271"/>
                    <a:pt x="364" y="269"/>
                    <a:pt x="363" y="269"/>
                  </a:cubicBezTo>
                  <a:cubicBezTo>
                    <a:pt x="353" y="268"/>
                    <a:pt x="351" y="266"/>
                    <a:pt x="344" y="272"/>
                  </a:cubicBezTo>
                  <a:cubicBezTo>
                    <a:pt x="344" y="271"/>
                    <a:pt x="344" y="271"/>
                    <a:pt x="344" y="271"/>
                  </a:cubicBezTo>
                  <a:cubicBezTo>
                    <a:pt x="343" y="271"/>
                    <a:pt x="342" y="269"/>
                    <a:pt x="342" y="269"/>
                  </a:cubicBezTo>
                  <a:cubicBezTo>
                    <a:pt x="341" y="268"/>
                    <a:pt x="341" y="269"/>
                    <a:pt x="340" y="270"/>
                  </a:cubicBezTo>
                  <a:cubicBezTo>
                    <a:pt x="340" y="270"/>
                    <a:pt x="339" y="270"/>
                    <a:pt x="338" y="270"/>
                  </a:cubicBezTo>
                  <a:cubicBezTo>
                    <a:pt x="338" y="268"/>
                    <a:pt x="338" y="268"/>
                    <a:pt x="338" y="268"/>
                  </a:cubicBezTo>
                  <a:cubicBezTo>
                    <a:pt x="336" y="267"/>
                    <a:pt x="334" y="268"/>
                    <a:pt x="333" y="268"/>
                  </a:cubicBezTo>
                  <a:cubicBezTo>
                    <a:pt x="332" y="268"/>
                    <a:pt x="333" y="266"/>
                    <a:pt x="332" y="266"/>
                  </a:cubicBezTo>
                  <a:cubicBezTo>
                    <a:pt x="332" y="265"/>
                    <a:pt x="331" y="266"/>
                    <a:pt x="330" y="266"/>
                  </a:cubicBezTo>
                  <a:cubicBezTo>
                    <a:pt x="329" y="266"/>
                    <a:pt x="330" y="264"/>
                    <a:pt x="330" y="263"/>
                  </a:cubicBezTo>
                  <a:cubicBezTo>
                    <a:pt x="328" y="263"/>
                    <a:pt x="329" y="264"/>
                    <a:pt x="328" y="264"/>
                  </a:cubicBezTo>
                  <a:cubicBezTo>
                    <a:pt x="327" y="263"/>
                    <a:pt x="327" y="263"/>
                    <a:pt x="327" y="263"/>
                  </a:cubicBezTo>
                  <a:cubicBezTo>
                    <a:pt x="325" y="263"/>
                    <a:pt x="326" y="264"/>
                    <a:pt x="326" y="265"/>
                  </a:cubicBezTo>
                  <a:cubicBezTo>
                    <a:pt x="324" y="265"/>
                    <a:pt x="321" y="265"/>
                    <a:pt x="319" y="265"/>
                  </a:cubicBezTo>
                  <a:cubicBezTo>
                    <a:pt x="321" y="261"/>
                    <a:pt x="321" y="263"/>
                    <a:pt x="319" y="259"/>
                  </a:cubicBezTo>
                  <a:cubicBezTo>
                    <a:pt x="317" y="261"/>
                    <a:pt x="314" y="264"/>
                    <a:pt x="312" y="261"/>
                  </a:cubicBezTo>
                  <a:cubicBezTo>
                    <a:pt x="310" y="260"/>
                    <a:pt x="312" y="252"/>
                    <a:pt x="308" y="251"/>
                  </a:cubicBezTo>
                  <a:cubicBezTo>
                    <a:pt x="304" y="248"/>
                    <a:pt x="302" y="251"/>
                    <a:pt x="298" y="251"/>
                  </a:cubicBezTo>
                  <a:cubicBezTo>
                    <a:pt x="298" y="251"/>
                    <a:pt x="296" y="250"/>
                    <a:pt x="295" y="250"/>
                  </a:cubicBezTo>
                  <a:cubicBezTo>
                    <a:pt x="294" y="250"/>
                    <a:pt x="293" y="252"/>
                    <a:pt x="292" y="252"/>
                  </a:cubicBezTo>
                  <a:cubicBezTo>
                    <a:pt x="291" y="252"/>
                    <a:pt x="287" y="251"/>
                    <a:pt x="285" y="251"/>
                  </a:cubicBezTo>
                  <a:cubicBezTo>
                    <a:pt x="285" y="252"/>
                    <a:pt x="284" y="258"/>
                    <a:pt x="283" y="259"/>
                  </a:cubicBezTo>
                  <a:cubicBezTo>
                    <a:pt x="283" y="260"/>
                    <a:pt x="281" y="260"/>
                    <a:pt x="281" y="260"/>
                  </a:cubicBezTo>
                  <a:cubicBezTo>
                    <a:pt x="280" y="261"/>
                    <a:pt x="281" y="262"/>
                    <a:pt x="280" y="263"/>
                  </a:cubicBezTo>
                  <a:cubicBezTo>
                    <a:pt x="282" y="262"/>
                    <a:pt x="281" y="263"/>
                    <a:pt x="282" y="263"/>
                  </a:cubicBezTo>
                  <a:cubicBezTo>
                    <a:pt x="283" y="263"/>
                    <a:pt x="283" y="262"/>
                    <a:pt x="284" y="262"/>
                  </a:cubicBezTo>
                  <a:cubicBezTo>
                    <a:pt x="285" y="262"/>
                    <a:pt x="286" y="263"/>
                    <a:pt x="286" y="263"/>
                  </a:cubicBezTo>
                  <a:cubicBezTo>
                    <a:pt x="286" y="263"/>
                    <a:pt x="287" y="262"/>
                    <a:pt x="287" y="261"/>
                  </a:cubicBezTo>
                  <a:cubicBezTo>
                    <a:pt x="286" y="262"/>
                    <a:pt x="286" y="260"/>
                    <a:pt x="286" y="260"/>
                  </a:cubicBezTo>
                  <a:cubicBezTo>
                    <a:pt x="286" y="260"/>
                    <a:pt x="288" y="259"/>
                    <a:pt x="288" y="259"/>
                  </a:cubicBezTo>
                  <a:cubicBezTo>
                    <a:pt x="289" y="260"/>
                    <a:pt x="290" y="260"/>
                    <a:pt x="291" y="261"/>
                  </a:cubicBezTo>
                  <a:cubicBezTo>
                    <a:pt x="295" y="256"/>
                    <a:pt x="294" y="258"/>
                    <a:pt x="301" y="257"/>
                  </a:cubicBezTo>
                  <a:cubicBezTo>
                    <a:pt x="301" y="257"/>
                    <a:pt x="301" y="255"/>
                    <a:pt x="302" y="255"/>
                  </a:cubicBezTo>
                  <a:cubicBezTo>
                    <a:pt x="300" y="255"/>
                    <a:pt x="300" y="252"/>
                    <a:pt x="303" y="253"/>
                  </a:cubicBezTo>
                  <a:cubicBezTo>
                    <a:pt x="303" y="253"/>
                    <a:pt x="305" y="255"/>
                    <a:pt x="305" y="255"/>
                  </a:cubicBezTo>
                  <a:cubicBezTo>
                    <a:pt x="308" y="258"/>
                    <a:pt x="304" y="257"/>
                    <a:pt x="302" y="257"/>
                  </a:cubicBezTo>
                  <a:cubicBezTo>
                    <a:pt x="301" y="258"/>
                    <a:pt x="301" y="259"/>
                    <a:pt x="301" y="259"/>
                  </a:cubicBezTo>
                  <a:cubicBezTo>
                    <a:pt x="300" y="260"/>
                    <a:pt x="299" y="259"/>
                    <a:pt x="298" y="259"/>
                  </a:cubicBezTo>
                  <a:cubicBezTo>
                    <a:pt x="297" y="259"/>
                    <a:pt x="296" y="261"/>
                    <a:pt x="295" y="262"/>
                  </a:cubicBezTo>
                  <a:cubicBezTo>
                    <a:pt x="295" y="263"/>
                    <a:pt x="295" y="263"/>
                    <a:pt x="295" y="263"/>
                  </a:cubicBezTo>
                  <a:cubicBezTo>
                    <a:pt x="294" y="264"/>
                    <a:pt x="292" y="263"/>
                    <a:pt x="291" y="264"/>
                  </a:cubicBezTo>
                  <a:cubicBezTo>
                    <a:pt x="290" y="264"/>
                    <a:pt x="290" y="266"/>
                    <a:pt x="289" y="267"/>
                  </a:cubicBezTo>
                  <a:cubicBezTo>
                    <a:pt x="288" y="267"/>
                    <a:pt x="287" y="266"/>
                    <a:pt x="286" y="267"/>
                  </a:cubicBezTo>
                  <a:cubicBezTo>
                    <a:pt x="286" y="267"/>
                    <a:pt x="286" y="268"/>
                    <a:pt x="286" y="269"/>
                  </a:cubicBezTo>
                  <a:cubicBezTo>
                    <a:pt x="286" y="269"/>
                    <a:pt x="284" y="269"/>
                    <a:pt x="284" y="270"/>
                  </a:cubicBezTo>
                  <a:cubicBezTo>
                    <a:pt x="284" y="272"/>
                    <a:pt x="285" y="274"/>
                    <a:pt x="286" y="275"/>
                  </a:cubicBezTo>
                  <a:cubicBezTo>
                    <a:pt x="286" y="275"/>
                    <a:pt x="286" y="275"/>
                    <a:pt x="286" y="275"/>
                  </a:cubicBezTo>
                  <a:cubicBezTo>
                    <a:pt x="287" y="277"/>
                    <a:pt x="285" y="278"/>
                    <a:pt x="285" y="279"/>
                  </a:cubicBezTo>
                  <a:cubicBezTo>
                    <a:pt x="286" y="280"/>
                    <a:pt x="288" y="280"/>
                    <a:pt x="288" y="281"/>
                  </a:cubicBezTo>
                  <a:cubicBezTo>
                    <a:pt x="289" y="282"/>
                    <a:pt x="288" y="283"/>
                    <a:pt x="288" y="283"/>
                  </a:cubicBezTo>
                  <a:cubicBezTo>
                    <a:pt x="288" y="283"/>
                    <a:pt x="286" y="283"/>
                    <a:pt x="286" y="283"/>
                  </a:cubicBezTo>
                  <a:cubicBezTo>
                    <a:pt x="286" y="284"/>
                    <a:pt x="285" y="286"/>
                    <a:pt x="285" y="287"/>
                  </a:cubicBezTo>
                  <a:cubicBezTo>
                    <a:pt x="280" y="283"/>
                    <a:pt x="280" y="279"/>
                    <a:pt x="279" y="271"/>
                  </a:cubicBezTo>
                  <a:cubicBezTo>
                    <a:pt x="279" y="273"/>
                    <a:pt x="278" y="275"/>
                    <a:pt x="278" y="278"/>
                  </a:cubicBezTo>
                  <a:cubicBezTo>
                    <a:pt x="276" y="279"/>
                    <a:pt x="276" y="279"/>
                    <a:pt x="276" y="279"/>
                  </a:cubicBezTo>
                  <a:cubicBezTo>
                    <a:pt x="276" y="279"/>
                    <a:pt x="275" y="275"/>
                    <a:pt x="275" y="275"/>
                  </a:cubicBezTo>
                  <a:cubicBezTo>
                    <a:pt x="276" y="275"/>
                    <a:pt x="276" y="273"/>
                    <a:pt x="276" y="273"/>
                  </a:cubicBezTo>
                  <a:cubicBezTo>
                    <a:pt x="276" y="273"/>
                    <a:pt x="275" y="271"/>
                    <a:pt x="274" y="269"/>
                  </a:cubicBezTo>
                  <a:cubicBezTo>
                    <a:pt x="274" y="269"/>
                    <a:pt x="272" y="269"/>
                    <a:pt x="272" y="269"/>
                  </a:cubicBezTo>
                  <a:cubicBezTo>
                    <a:pt x="269" y="268"/>
                    <a:pt x="268" y="267"/>
                    <a:pt x="266" y="264"/>
                  </a:cubicBezTo>
                  <a:cubicBezTo>
                    <a:pt x="265" y="265"/>
                    <a:pt x="264" y="264"/>
                    <a:pt x="262" y="265"/>
                  </a:cubicBezTo>
                  <a:cubicBezTo>
                    <a:pt x="262" y="266"/>
                    <a:pt x="261" y="268"/>
                    <a:pt x="260" y="268"/>
                  </a:cubicBezTo>
                  <a:cubicBezTo>
                    <a:pt x="259" y="268"/>
                    <a:pt x="257" y="268"/>
                    <a:pt x="256" y="268"/>
                  </a:cubicBezTo>
                  <a:cubicBezTo>
                    <a:pt x="255" y="268"/>
                    <a:pt x="252" y="270"/>
                    <a:pt x="251" y="270"/>
                  </a:cubicBezTo>
                  <a:cubicBezTo>
                    <a:pt x="250" y="270"/>
                    <a:pt x="250" y="269"/>
                    <a:pt x="249" y="269"/>
                  </a:cubicBezTo>
                  <a:cubicBezTo>
                    <a:pt x="247" y="271"/>
                    <a:pt x="247" y="271"/>
                    <a:pt x="247" y="271"/>
                  </a:cubicBezTo>
                  <a:cubicBezTo>
                    <a:pt x="241" y="272"/>
                    <a:pt x="234" y="272"/>
                    <a:pt x="229" y="270"/>
                  </a:cubicBezTo>
                  <a:cubicBezTo>
                    <a:pt x="229" y="265"/>
                    <a:pt x="228" y="265"/>
                    <a:pt x="231" y="263"/>
                  </a:cubicBezTo>
                  <a:cubicBezTo>
                    <a:pt x="231" y="263"/>
                    <a:pt x="231" y="261"/>
                    <a:pt x="231" y="261"/>
                  </a:cubicBezTo>
                  <a:cubicBezTo>
                    <a:pt x="233" y="261"/>
                    <a:pt x="235" y="261"/>
                    <a:pt x="237" y="261"/>
                  </a:cubicBezTo>
                  <a:cubicBezTo>
                    <a:pt x="238" y="259"/>
                    <a:pt x="238" y="259"/>
                    <a:pt x="238" y="259"/>
                  </a:cubicBezTo>
                  <a:cubicBezTo>
                    <a:pt x="237" y="259"/>
                    <a:pt x="237" y="259"/>
                    <a:pt x="237" y="259"/>
                  </a:cubicBezTo>
                  <a:cubicBezTo>
                    <a:pt x="235" y="258"/>
                    <a:pt x="236" y="257"/>
                    <a:pt x="235" y="255"/>
                  </a:cubicBezTo>
                  <a:cubicBezTo>
                    <a:pt x="231" y="252"/>
                    <a:pt x="231" y="252"/>
                    <a:pt x="231" y="252"/>
                  </a:cubicBezTo>
                  <a:cubicBezTo>
                    <a:pt x="230" y="252"/>
                    <a:pt x="230" y="253"/>
                    <a:pt x="229" y="253"/>
                  </a:cubicBezTo>
                  <a:cubicBezTo>
                    <a:pt x="228" y="252"/>
                    <a:pt x="227" y="250"/>
                    <a:pt x="227" y="250"/>
                  </a:cubicBezTo>
                  <a:cubicBezTo>
                    <a:pt x="225" y="250"/>
                    <a:pt x="224" y="250"/>
                    <a:pt x="224" y="251"/>
                  </a:cubicBezTo>
                  <a:cubicBezTo>
                    <a:pt x="222" y="251"/>
                    <a:pt x="222" y="251"/>
                    <a:pt x="220" y="251"/>
                  </a:cubicBezTo>
                  <a:cubicBezTo>
                    <a:pt x="220" y="251"/>
                    <a:pt x="221" y="253"/>
                    <a:pt x="222" y="253"/>
                  </a:cubicBezTo>
                  <a:cubicBezTo>
                    <a:pt x="222" y="253"/>
                    <a:pt x="224" y="254"/>
                    <a:pt x="221" y="255"/>
                  </a:cubicBezTo>
                  <a:cubicBezTo>
                    <a:pt x="221" y="255"/>
                    <a:pt x="218" y="254"/>
                    <a:pt x="217" y="254"/>
                  </a:cubicBezTo>
                  <a:cubicBezTo>
                    <a:pt x="217" y="253"/>
                    <a:pt x="217" y="253"/>
                    <a:pt x="217" y="253"/>
                  </a:cubicBezTo>
                  <a:cubicBezTo>
                    <a:pt x="215" y="252"/>
                    <a:pt x="213" y="253"/>
                    <a:pt x="211" y="252"/>
                  </a:cubicBezTo>
                  <a:cubicBezTo>
                    <a:pt x="210" y="252"/>
                    <a:pt x="208" y="249"/>
                    <a:pt x="207" y="249"/>
                  </a:cubicBezTo>
                  <a:cubicBezTo>
                    <a:pt x="207" y="248"/>
                    <a:pt x="202" y="249"/>
                    <a:pt x="200" y="248"/>
                  </a:cubicBezTo>
                  <a:cubicBezTo>
                    <a:pt x="199" y="245"/>
                    <a:pt x="199" y="245"/>
                    <a:pt x="199" y="245"/>
                  </a:cubicBezTo>
                  <a:cubicBezTo>
                    <a:pt x="194" y="245"/>
                    <a:pt x="188" y="243"/>
                    <a:pt x="185" y="241"/>
                  </a:cubicBezTo>
                  <a:cubicBezTo>
                    <a:pt x="184" y="240"/>
                    <a:pt x="184" y="238"/>
                    <a:pt x="183" y="238"/>
                  </a:cubicBezTo>
                  <a:cubicBezTo>
                    <a:pt x="182" y="238"/>
                    <a:pt x="181" y="238"/>
                    <a:pt x="180" y="238"/>
                  </a:cubicBezTo>
                  <a:cubicBezTo>
                    <a:pt x="178" y="238"/>
                    <a:pt x="175" y="235"/>
                    <a:pt x="173" y="235"/>
                  </a:cubicBezTo>
                  <a:cubicBezTo>
                    <a:pt x="169" y="234"/>
                    <a:pt x="167" y="235"/>
                    <a:pt x="163" y="235"/>
                  </a:cubicBezTo>
                  <a:cubicBezTo>
                    <a:pt x="163" y="235"/>
                    <a:pt x="163" y="237"/>
                    <a:pt x="163" y="237"/>
                  </a:cubicBezTo>
                  <a:cubicBezTo>
                    <a:pt x="161" y="239"/>
                    <a:pt x="159" y="240"/>
                    <a:pt x="157" y="241"/>
                  </a:cubicBezTo>
                  <a:cubicBezTo>
                    <a:pt x="155" y="237"/>
                    <a:pt x="154" y="236"/>
                    <a:pt x="153" y="231"/>
                  </a:cubicBezTo>
                  <a:cubicBezTo>
                    <a:pt x="155" y="230"/>
                    <a:pt x="154" y="231"/>
                    <a:pt x="155" y="229"/>
                  </a:cubicBezTo>
                  <a:cubicBezTo>
                    <a:pt x="155" y="229"/>
                    <a:pt x="153" y="229"/>
                    <a:pt x="153" y="229"/>
                  </a:cubicBezTo>
                  <a:cubicBezTo>
                    <a:pt x="152" y="231"/>
                    <a:pt x="150" y="232"/>
                    <a:pt x="152" y="234"/>
                  </a:cubicBezTo>
                  <a:cubicBezTo>
                    <a:pt x="149" y="234"/>
                    <a:pt x="151" y="236"/>
                    <a:pt x="151" y="239"/>
                  </a:cubicBezTo>
                  <a:cubicBezTo>
                    <a:pt x="151" y="239"/>
                    <a:pt x="149" y="240"/>
                    <a:pt x="149" y="240"/>
                  </a:cubicBezTo>
                  <a:cubicBezTo>
                    <a:pt x="149" y="241"/>
                    <a:pt x="151" y="241"/>
                    <a:pt x="150" y="243"/>
                  </a:cubicBezTo>
                  <a:cubicBezTo>
                    <a:pt x="150" y="243"/>
                    <a:pt x="148" y="243"/>
                    <a:pt x="147" y="243"/>
                  </a:cubicBezTo>
                  <a:cubicBezTo>
                    <a:pt x="144" y="239"/>
                    <a:pt x="141" y="237"/>
                    <a:pt x="137" y="233"/>
                  </a:cubicBezTo>
                  <a:cubicBezTo>
                    <a:pt x="136" y="233"/>
                    <a:pt x="136" y="231"/>
                    <a:pt x="135" y="231"/>
                  </a:cubicBezTo>
                  <a:cubicBezTo>
                    <a:pt x="135" y="231"/>
                    <a:pt x="134" y="232"/>
                    <a:pt x="134" y="231"/>
                  </a:cubicBezTo>
                  <a:cubicBezTo>
                    <a:pt x="133" y="230"/>
                    <a:pt x="133" y="228"/>
                    <a:pt x="132" y="227"/>
                  </a:cubicBezTo>
                  <a:cubicBezTo>
                    <a:pt x="131" y="227"/>
                    <a:pt x="130" y="227"/>
                    <a:pt x="129" y="227"/>
                  </a:cubicBezTo>
                  <a:cubicBezTo>
                    <a:pt x="122" y="221"/>
                    <a:pt x="122" y="221"/>
                    <a:pt x="122" y="221"/>
                  </a:cubicBezTo>
                  <a:cubicBezTo>
                    <a:pt x="121" y="220"/>
                    <a:pt x="121" y="218"/>
                    <a:pt x="120" y="217"/>
                  </a:cubicBezTo>
                  <a:cubicBezTo>
                    <a:pt x="119" y="215"/>
                    <a:pt x="116" y="214"/>
                    <a:pt x="114" y="213"/>
                  </a:cubicBezTo>
                  <a:cubicBezTo>
                    <a:pt x="112" y="215"/>
                    <a:pt x="111" y="215"/>
                    <a:pt x="112" y="219"/>
                  </a:cubicBezTo>
                  <a:cubicBezTo>
                    <a:pt x="112" y="220"/>
                    <a:pt x="114" y="219"/>
                    <a:pt x="114" y="221"/>
                  </a:cubicBezTo>
                  <a:cubicBezTo>
                    <a:pt x="113" y="223"/>
                    <a:pt x="109" y="229"/>
                    <a:pt x="108" y="231"/>
                  </a:cubicBezTo>
                  <a:cubicBezTo>
                    <a:pt x="106" y="231"/>
                    <a:pt x="98" y="232"/>
                    <a:pt x="96" y="234"/>
                  </a:cubicBezTo>
                  <a:cubicBezTo>
                    <a:pt x="95" y="236"/>
                    <a:pt x="96" y="238"/>
                    <a:pt x="95" y="239"/>
                  </a:cubicBezTo>
                  <a:cubicBezTo>
                    <a:pt x="95" y="240"/>
                    <a:pt x="89" y="242"/>
                    <a:pt x="88" y="242"/>
                  </a:cubicBezTo>
                  <a:cubicBezTo>
                    <a:pt x="88" y="241"/>
                    <a:pt x="88" y="239"/>
                    <a:pt x="88" y="239"/>
                  </a:cubicBezTo>
                  <a:cubicBezTo>
                    <a:pt x="87" y="239"/>
                    <a:pt x="86" y="240"/>
                    <a:pt x="86" y="239"/>
                  </a:cubicBezTo>
                  <a:cubicBezTo>
                    <a:pt x="85" y="241"/>
                    <a:pt x="85" y="239"/>
                    <a:pt x="84" y="240"/>
                  </a:cubicBezTo>
                  <a:cubicBezTo>
                    <a:pt x="84" y="241"/>
                    <a:pt x="84" y="241"/>
                    <a:pt x="84" y="241"/>
                  </a:cubicBezTo>
                  <a:cubicBezTo>
                    <a:pt x="85" y="241"/>
                    <a:pt x="85" y="242"/>
                    <a:pt x="85" y="243"/>
                  </a:cubicBezTo>
                  <a:cubicBezTo>
                    <a:pt x="84" y="243"/>
                    <a:pt x="83" y="243"/>
                    <a:pt x="82" y="243"/>
                  </a:cubicBezTo>
                  <a:cubicBezTo>
                    <a:pt x="82" y="243"/>
                    <a:pt x="82" y="244"/>
                    <a:pt x="82" y="245"/>
                  </a:cubicBezTo>
                  <a:cubicBezTo>
                    <a:pt x="82" y="245"/>
                    <a:pt x="80" y="245"/>
                    <a:pt x="81" y="244"/>
                  </a:cubicBezTo>
                  <a:cubicBezTo>
                    <a:pt x="80" y="244"/>
                    <a:pt x="80" y="244"/>
                    <a:pt x="80" y="244"/>
                  </a:cubicBezTo>
                  <a:cubicBezTo>
                    <a:pt x="79" y="244"/>
                    <a:pt x="79" y="247"/>
                    <a:pt x="79" y="247"/>
                  </a:cubicBezTo>
                  <a:cubicBezTo>
                    <a:pt x="79" y="248"/>
                    <a:pt x="77" y="248"/>
                    <a:pt x="77" y="249"/>
                  </a:cubicBezTo>
                  <a:cubicBezTo>
                    <a:pt x="76" y="250"/>
                    <a:pt x="77" y="251"/>
                    <a:pt x="78" y="252"/>
                  </a:cubicBezTo>
                  <a:cubicBezTo>
                    <a:pt x="75" y="253"/>
                    <a:pt x="74" y="253"/>
                    <a:pt x="72" y="253"/>
                  </a:cubicBezTo>
                  <a:cubicBezTo>
                    <a:pt x="73" y="248"/>
                    <a:pt x="71" y="250"/>
                    <a:pt x="76" y="247"/>
                  </a:cubicBezTo>
                  <a:cubicBezTo>
                    <a:pt x="75" y="246"/>
                    <a:pt x="75" y="244"/>
                    <a:pt x="75" y="243"/>
                  </a:cubicBezTo>
                  <a:cubicBezTo>
                    <a:pt x="76" y="242"/>
                    <a:pt x="78" y="242"/>
                    <a:pt x="79" y="241"/>
                  </a:cubicBezTo>
                  <a:cubicBezTo>
                    <a:pt x="79" y="240"/>
                    <a:pt x="80" y="237"/>
                    <a:pt x="80" y="237"/>
                  </a:cubicBezTo>
                  <a:cubicBezTo>
                    <a:pt x="84" y="236"/>
                    <a:pt x="88" y="234"/>
                    <a:pt x="91" y="234"/>
                  </a:cubicBezTo>
                  <a:cubicBezTo>
                    <a:pt x="93" y="234"/>
                    <a:pt x="93" y="235"/>
                    <a:pt x="95" y="234"/>
                  </a:cubicBezTo>
                  <a:cubicBezTo>
                    <a:pt x="95" y="234"/>
                    <a:pt x="98" y="230"/>
                    <a:pt x="98" y="229"/>
                  </a:cubicBezTo>
                  <a:cubicBezTo>
                    <a:pt x="102" y="227"/>
                    <a:pt x="102" y="227"/>
                    <a:pt x="102" y="227"/>
                  </a:cubicBezTo>
                  <a:cubicBezTo>
                    <a:pt x="102" y="226"/>
                    <a:pt x="101" y="225"/>
                    <a:pt x="102" y="224"/>
                  </a:cubicBezTo>
                  <a:cubicBezTo>
                    <a:pt x="97" y="224"/>
                    <a:pt x="95" y="224"/>
                    <a:pt x="91" y="223"/>
                  </a:cubicBezTo>
                  <a:cubicBezTo>
                    <a:pt x="90" y="226"/>
                    <a:pt x="89" y="228"/>
                    <a:pt x="88" y="231"/>
                  </a:cubicBezTo>
                  <a:cubicBezTo>
                    <a:pt x="85" y="230"/>
                    <a:pt x="84" y="230"/>
                    <a:pt x="82" y="230"/>
                  </a:cubicBezTo>
                  <a:cubicBezTo>
                    <a:pt x="82" y="230"/>
                    <a:pt x="81" y="231"/>
                    <a:pt x="81" y="231"/>
                  </a:cubicBezTo>
                  <a:cubicBezTo>
                    <a:pt x="80" y="232"/>
                    <a:pt x="78" y="231"/>
                    <a:pt x="77" y="231"/>
                  </a:cubicBezTo>
                  <a:cubicBezTo>
                    <a:pt x="76" y="233"/>
                    <a:pt x="76" y="233"/>
                    <a:pt x="76" y="233"/>
                  </a:cubicBezTo>
                  <a:cubicBezTo>
                    <a:pt x="75" y="233"/>
                    <a:pt x="74" y="232"/>
                    <a:pt x="73" y="233"/>
                  </a:cubicBezTo>
                  <a:cubicBezTo>
                    <a:pt x="72" y="234"/>
                    <a:pt x="72" y="237"/>
                    <a:pt x="72" y="238"/>
                  </a:cubicBezTo>
                  <a:cubicBezTo>
                    <a:pt x="70" y="239"/>
                    <a:pt x="68" y="239"/>
                    <a:pt x="66" y="239"/>
                  </a:cubicBezTo>
                  <a:cubicBezTo>
                    <a:pt x="65" y="239"/>
                    <a:pt x="66" y="237"/>
                    <a:pt x="66" y="237"/>
                  </a:cubicBezTo>
                  <a:cubicBezTo>
                    <a:pt x="65" y="236"/>
                    <a:pt x="61" y="235"/>
                    <a:pt x="61" y="235"/>
                  </a:cubicBezTo>
                  <a:cubicBezTo>
                    <a:pt x="60" y="233"/>
                    <a:pt x="61" y="233"/>
                    <a:pt x="60" y="233"/>
                  </a:cubicBezTo>
                  <a:cubicBezTo>
                    <a:pt x="60" y="234"/>
                    <a:pt x="61" y="237"/>
                    <a:pt x="60" y="237"/>
                  </a:cubicBezTo>
                  <a:cubicBezTo>
                    <a:pt x="60" y="238"/>
                    <a:pt x="59" y="238"/>
                    <a:pt x="58" y="239"/>
                  </a:cubicBezTo>
                  <a:cubicBezTo>
                    <a:pt x="58" y="239"/>
                    <a:pt x="59" y="240"/>
                    <a:pt x="58" y="241"/>
                  </a:cubicBezTo>
                  <a:cubicBezTo>
                    <a:pt x="57" y="240"/>
                    <a:pt x="57" y="240"/>
                    <a:pt x="55" y="240"/>
                  </a:cubicBezTo>
                  <a:cubicBezTo>
                    <a:pt x="55" y="241"/>
                    <a:pt x="55" y="244"/>
                    <a:pt x="55" y="244"/>
                  </a:cubicBezTo>
                  <a:cubicBezTo>
                    <a:pt x="54" y="244"/>
                    <a:pt x="54" y="244"/>
                    <a:pt x="53" y="244"/>
                  </a:cubicBezTo>
                  <a:cubicBezTo>
                    <a:pt x="52" y="244"/>
                    <a:pt x="53" y="243"/>
                    <a:pt x="52" y="242"/>
                  </a:cubicBezTo>
                  <a:cubicBezTo>
                    <a:pt x="47" y="242"/>
                    <a:pt x="47" y="242"/>
                    <a:pt x="47" y="242"/>
                  </a:cubicBezTo>
                  <a:cubicBezTo>
                    <a:pt x="47" y="243"/>
                    <a:pt x="47" y="244"/>
                    <a:pt x="47" y="245"/>
                  </a:cubicBezTo>
                  <a:cubicBezTo>
                    <a:pt x="52" y="247"/>
                    <a:pt x="53" y="248"/>
                    <a:pt x="53" y="253"/>
                  </a:cubicBezTo>
                  <a:cubicBezTo>
                    <a:pt x="52" y="253"/>
                    <a:pt x="52" y="253"/>
                    <a:pt x="52" y="253"/>
                  </a:cubicBezTo>
                  <a:cubicBezTo>
                    <a:pt x="50" y="251"/>
                    <a:pt x="50" y="249"/>
                    <a:pt x="48" y="247"/>
                  </a:cubicBezTo>
                  <a:cubicBezTo>
                    <a:pt x="47" y="247"/>
                    <a:pt x="38" y="243"/>
                    <a:pt x="38" y="243"/>
                  </a:cubicBezTo>
                  <a:cubicBezTo>
                    <a:pt x="37" y="242"/>
                    <a:pt x="36" y="243"/>
                    <a:pt x="35" y="243"/>
                  </a:cubicBezTo>
                  <a:cubicBezTo>
                    <a:pt x="34" y="242"/>
                    <a:pt x="33" y="240"/>
                    <a:pt x="32" y="239"/>
                  </a:cubicBezTo>
                  <a:cubicBezTo>
                    <a:pt x="31" y="239"/>
                    <a:pt x="30" y="240"/>
                    <a:pt x="28" y="239"/>
                  </a:cubicBezTo>
                  <a:cubicBezTo>
                    <a:pt x="28" y="239"/>
                    <a:pt x="26" y="236"/>
                    <a:pt x="25" y="236"/>
                  </a:cubicBezTo>
                  <a:cubicBezTo>
                    <a:pt x="24" y="236"/>
                    <a:pt x="23" y="236"/>
                    <a:pt x="22" y="236"/>
                  </a:cubicBezTo>
                  <a:cubicBezTo>
                    <a:pt x="21" y="235"/>
                    <a:pt x="20" y="232"/>
                    <a:pt x="18" y="232"/>
                  </a:cubicBezTo>
                  <a:cubicBezTo>
                    <a:pt x="14" y="231"/>
                    <a:pt x="10" y="234"/>
                    <a:pt x="7" y="233"/>
                  </a:cubicBezTo>
                  <a:cubicBezTo>
                    <a:pt x="7" y="232"/>
                    <a:pt x="7" y="232"/>
                    <a:pt x="7" y="232"/>
                  </a:cubicBezTo>
                  <a:cubicBezTo>
                    <a:pt x="4" y="231"/>
                    <a:pt x="2" y="232"/>
                    <a:pt x="0" y="231"/>
                  </a:cubicBezTo>
                  <a:cubicBezTo>
                    <a:pt x="3" y="370"/>
                    <a:pt x="3" y="370"/>
                    <a:pt x="3" y="370"/>
                  </a:cubicBezTo>
                  <a:cubicBezTo>
                    <a:pt x="3" y="370"/>
                    <a:pt x="9" y="367"/>
                    <a:pt x="11" y="368"/>
                  </a:cubicBezTo>
                  <a:cubicBezTo>
                    <a:pt x="12" y="369"/>
                    <a:pt x="15" y="371"/>
                    <a:pt x="16" y="370"/>
                  </a:cubicBezTo>
                  <a:cubicBezTo>
                    <a:pt x="22" y="364"/>
                    <a:pt x="19" y="370"/>
                    <a:pt x="20" y="373"/>
                  </a:cubicBezTo>
                  <a:cubicBezTo>
                    <a:pt x="21" y="376"/>
                    <a:pt x="21" y="376"/>
                    <a:pt x="23" y="379"/>
                  </a:cubicBezTo>
                  <a:cubicBezTo>
                    <a:pt x="25" y="382"/>
                    <a:pt x="31" y="385"/>
                    <a:pt x="33" y="388"/>
                  </a:cubicBezTo>
                  <a:cubicBezTo>
                    <a:pt x="35" y="391"/>
                    <a:pt x="32" y="395"/>
                    <a:pt x="37" y="390"/>
                  </a:cubicBezTo>
                  <a:cubicBezTo>
                    <a:pt x="40" y="388"/>
                    <a:pt x="43" y="389"/>
                    <a:pt x="44" y="386"/>
                  </a:cubicBezTo>
                  <a:cubicBezTo>
                    <a:pt x="45" y="383"/>
                    <a:pt x="42" y="381"/>
                    <a:pt x="44" y="381"/>
                  </a:cubicBezTo>
                  <a:cubicBezTo>
                    <a:pt x="47" y="381"/>
                    <a:pt x="50" y="378"/>
                    <a:pt x="52" y="381"/>
                  </a:cubicBezTo>
                  <a:cubicBezTo>
                    <a:pt x="53" y="384"/>
                    <a:pt x="58" y="383"/>
                    <a:pt x="58" y="386"/>
                  </a:cubicBezTo>
                  <a:cubicBezTo>
                    <a:pt x="58" y="388"/>
                    <a:pt x="58" y="390"/>
                    <a:pt x="61" y="390"/>
                  </a:cubicBezTo>
                  <a:cubicBezTo>
                    <a:pt x="65" y="391"/>
                    <a:pt x="67" y="395"/>
                    <a:pt x="69" y="397"/>
                  </a:cubicBezTo>
                  <a:cubicBezTo>
                    <a:pt x="70" y="400"/>
                    <a:pt x="77" y="406"/>
                    <a:pt x="79" y="409"/>
                  </a:cubicBezTo>
                  <a:cubicBezTo>
                    <a:pt x="81" y="412"/>
                    <a:pt x="81" y="416"/>
                    <a:pt x="85" y="418"/>
                  </a:cubicBezTo>
                  <a:cubicBezTo>
                    <a:pt x="88" y="420"/>
                    <a:pt x="87" y="423"/>
                    <a:pt x="91" y="425"/>
                  </a:cubicBezTo>
                  <a:cubicBezTo>
                    <a:pt x="94" y="427"/>
                    <a:pt x="97" y="422"/>
                    <a:pt x="97" y="425"/>
                  </a:cubicBezTo>
                  <a:cubicBezTo>
                    <a:pt x="97" y="428"/>
                    <a:pt x="98" y="430"/>
                    <a:pt x="99" y="433"/>
                  </a:cubicBezTo>
                  <a:cubicBezTo>
                    <a:pt x="100" y="436"/>
                    <a:pt x="100" y="434"/>
                    <a:pt x="102" y="435"/>
                  </a:cubicBezTo>
                  <a:cubicBezTo>
                    <a:pt x="104" y="437"/>
                    <a:pt x="103" y="441"/>
                    <a:pt x="105" y="441"/>
                  </a:cubicBezTo>
                  <a:cubicBezTo>
                    <a:pt x="107" y="441"/>
                    <a:pt x="103" y="443"/>
                    <a:pt x="104" y="445"/>
                  </a:cubicBezTo>
                  <a:cubicBezTo>
                    <a:pt x="104" y="447"/>
                    <a:pt x="104" y="448"/>
                    <a:pt x="104" y="449"/>
                  </a:cubicBezTo>
                  <a:cubicBezTo>
                    <a:pt x="103" y="450"/>
                    <a:pt x="101" y="453"/>
                    <a:pt x="101" y="453"/>
                  </a:cubicBezTo>
                  <a:close/>
                  <a:moveTo>
                    <a:pt x="506" y="620"/>
                  </a:moveTo>
                  <a:cubicBezTo>
                    <a:pt x="506" y="620"/>
                    <a:pt x="506" y="620"/>
                    <a:pt x="506" y="619"/>
                  </a:cubicBezTo>
                  <a:cubicBezTo>
                    <a:pt x="505" y="620"/>
                    <a:pt x="505" y="621"/>
                    <a:pt x="505" y="621"/>
                  </a:cubicBezTo>
                  <a:lnTo>
                    <a:pt x="506" y="620"/>
                  </a:lnTo>
                  <a:close/>
                  <a:moveTo>
                    <a:pt x="656" y="29"/>
                  </a:moveTo>
                  <a:cubicBezTo>
                    <a:pt x="657" y="29"/>
                    <a:pt x="657" y="30"/>
                    <a:pt x="657" y="31"/>
                  </a:cubicBezTo>
                  <a:cubicBezTo>
                    <a:pt x="653" y="30"/>
                    <a:pt x="653" y="29"/>
                    <a:pt x="656" y="29"/>
                  </a:cubicBezTo>
                  <a:close/>
                  <a:moveTo>
                    <a:pt x="386" y="265"/>
                  </a:moveTo>
                  <a:cubicBezTo>
                    <a:pt x="386" y="266"/>
                    <a:pt x="386" y="266"/>
                    <a:pt x="386" y="266"/>
                  </a:cubicBezTo>
                  <a:cubicBezTo>
                    <a:pt x="384" y="266"/>
                    <a:pt x="385" y="265"/>
                    <a:pt x="386" y="265"/>
                  </a:cubicBezTo>
                  <a:close/>
                  <a:moveTo>
                    <a:pt x="94" y="241"/>
                  </a:moveTo>
                  <a:cubicBezTo>
                    <a:pt x="95" y="241"/>
                    <a:pt x="94" y="242"/>
                    <a:pt x="94" y="242"/>
                  </a:cubicBezTo>
                  <a:cubicBezTo>
                    <a:pt x="94" y="241"/>
                    <a:pt x="93" y="240"/>
                    <a:pt x="94" y="241"/>
                  </a:cubicBezTo>
                  <a:close/>
                  <a:moveTo>
                    <a:pt x="147" y="518"/>
                  </a:moveTo>
                  <a:cubicBezTo>
                    <a:pt x="147" y="520"/>
                    <a:pt x="147" y="521"/>
                    <a:pt x="147" y="522"/>
                  </a:cubicBezTo>
                  <a:cubicBezTo>
                    <a:pt x="148" y="522"/>
                    <a:pt x="148" y="523"/>
                    <a:pt x="149" y="523"/>
                  </a:cubicBezTo>
                  <a:cubicBezTo>
                    <a:pt x="155" y="525"/>
                    <a:pt x="147" y="518"/>
                    <a:pt x="147" y="518"/>
                  </a:cubicBezTo>
                  <a:close/>
                  <a:moveTo>
                    <a:pt x="113" y="492"/>
                  </a:moveTo>
                  <a:cubicBezTo>
                    <a:pt x="112" y="492"/>
                    <a:pt x="114" y="494"/>
                    <a:pt x="114" y="494"/>
                  </a:cubicBezTo>
                  <a:cubicBezTo>
                    <a:pt x="114" y="494"/>
                    <a:pt x="115" y="491"/>
                    <a:pt x="113" y="492"/>
                  </a:cubicBezTo>
                  <a:close/>
                  <a:moveTo>
                    <a:pt x="111" y="472"/>
                  </a:moveTo>
                  <a:cubicBezTo>
                    <a:pt x="112" y="472"/>
                    <a:pt x="110" y="473"/>
                    <a:pt x="110" y="473"/>
                  </a:cubicBezTo>
                  <a:cubicBezTo>
                    <a:pt x="110" y="473"/>
                    <a:pt x="110" y="471"/>
                    <a:pt x="111" y="472"/>
                  </a:cubicBezTo>
                  <a:close/>
                  <a:moveTo>
                    <a:pt x="453" y="542"/>
                  </a:moveTo>
                  <a:cubicBezTo>
                    <a:pt x="452" y="543"/>
                    <a:pt x="454" y="544"/>
                    <a:pt x="454" y="544"/>
                  </a:cubicBezTo>
                  <a:cubicBezTo>
                    <a:pt x="454" y="544"/>
                    <a:pt x="456" y="542"/>
                    <a:pt x="453" y="542"/>
                  </a:cubicBezTo>
                  <a:close/>
                  <a:moveTo>
                    <a:pt x="464" y="536"/>
                  </a:moveTo>
                  <a:cubicBezTo>
                    <a:pt x="464" y="536"/>
                    <a:pt x="463" y="537"/>
                    <a:pt x="463" y="537"/>
                  </a:cubicBezTo>
                  <a:cubicBezTo>
                    <a:pt x="465" y="537"/>
                    <a:pt x="466" y="536"/>
                    <a:pt x="464" y="536"/>
                  </a:cubicBezTo>
                  <a:close/>
                  <a:moveTo>
                    <a:pt x="638" y="573"/>
                  </a:moveTo>
                  <a:cubicBezTo>
                    <a:pt x="639" y="573"/>
                    <a:pt x="637" y="574"/>
                    <a:pt x="637" y="574"/>
                  </a:cubicBezTo>
                  <a:cubicBezTo>
                    <a:pt x="637" y="574"/>
                    <a:pt x="637" y="572"/>
                    <a:pt x="638" y="573"/>
                  </a:cubicBezTo>
                  <a:close/>
                  <a:moveTo>
                    <a:pt x="693" y="583"/>
                  </a:moveTo>
                  <a:cubicBezTo>
                    <a:pt x="693" y="584"/>
                    <a:pt x="693" y="584"/>
                    <a:pt x="693" y="584"/>
                  </a:cubicBezTo>
                  <a:cubicBezTo>
                    <a:pt x="694" y="584"/>
                    <a:pt x="694" y="584"/>
                    <a:pt x="694" y="584"/>
                  </a:cubicBezTo>
                  <a:cubicBezTo>
                    <a:pt x="694" y="584"/>
                    <a:pt x="695" y="583"/>
                    <a:pt x="693" y="583"/>
                  </a:cubicBezTo>
                  <a:close/>
                  <a:moveTo>
                    <a:pt x="613" y="559"/>
                  </a:moveTo>
                  <a:cubicBezTo>
                    <a:pt x="617" y="558"/>
                    <a:pt x="612" y="562"/>
                    <a:pt x="611" y="562"/>
                  </a:cubicBezTo>
                  <a:cubicBezTo>
                    <a:pt x="607" y="564"/>
                    <a:pt x="612" y="559"/>
                    <a:pt x="613" y="559"/>
                  </a:cubicBezTo>
                  <a:close/>
                  <a:moveTo>
                    <a:pt x="667" y="520"/>
                  </a:moveTo>
                  <a:cubicBezTo>
                    <a:pt x="667" y="521"/>
                    <a:pt x="667" y="523"/>
                    <a:pt x="667" y="524"/>
                  </a:cubicBezTo>
                  <a:cubicBezTo>
                    <a:pt x="668" y="524"/>
                    <a:pt x="669" y="524"/>
                    <a:pt x="671" y="524"/>
                  </a:cubicBezTo>
                  <a:cubicBezTo>
                    <a:pt x="674" y="527"/>
                    <a:pt x="674" y="527"/>
                    <a:pt x="674" y="527"/>
                  </a:cubicBezTo>
                  <a:cubicBezTo>
                    <a:pt x="674" y="528"/>
                    <a:pt x="674" y="529"/>
                    <a:pt x="674" y="529"/>
                  </a:cubicBezTo>
                  <a:cubicBezTo>
                    <a:pt x="675" y="530"/>
                    <a:pt x="677" y="530"/>
                    <a:pt x="679" y="530"/>
                  </a:cubicBezTo>
                  <a:cubicBezTo>
                    <a:pt x="681" y="531"/>
                    <a:pt x="683" y="533"/>
                    <a:pt x="685" y="534"/>
                  </a:cubicBezTo>
                  <a:cubicBezTo>
                    <a:pt x="686" y="534"/>
                    <a:pt x="687" y="534"/>
                    <a:pt x="689" y="534"/>
                  </a:cubicBezTo>
                  <a:cubicBezTo>
                    <a:pt x="689" y="533"/>
                    <a:pt x="690" y="533"/>
                    <a:pt x="690" y="532"/>
                  </a:cubicBezTo>
                  <a:cubicBezTo>
                    <a:pt x="686" y="529"/>
                    <a:pt x="686" y="529"/>
                    <a:pt x="686" y="529"/>
                  </a:cubicBezTo>
                  <a:cubicBezTo>
                    <a:pt x="686" y="529"/>
                    <a:pt x="685" y="529"/>
                    <a:pt x="685" y="529"/>
                  </a:cubicBezTo>
                  <a:cubicBezTo>
                    <a:pt x="683" y="528"/>
                    <a:pt x="682" y="525"/>
                    <a:pt x="681" y="524"/>
                  </a:cubicBezTo>
                  <a:cubicBezTo>
                    <a:pt x="681" y="524"/>
                    <a:pt x="679" y="525"/>
                    <a:pt x="679" y="524"/>
                  </a:cubicBezTo>
                  <a:cubicBezTo>
                    <a:pt x="676" y="524"/>
                    <a:pt x="674" y="522"/>
                    <a:pt x="672" y="521"/>
                  </a:cubicBezTo>
                  <a:cubicBezTo>
                    <a:pt x="670" y="521"/>
                    <a:pt x="669" y="521"/>
                    <a:pt x="667" y="520"/>
                  </a:cubicBezTo>
                  <a:close/>
                  <a:moveTo>
                    <a:pt x="538" y="591"/>
                  </a:moveTo>
                  <a:cubicBezTo>
                    <a:pt x="538" y="592"/>
                    <a:pt x="539" y="593"/>
                    <a:pt x="539" y="593"/>
                  </a:cubicBezTo>
                  <a:cubicBezTo>
                    <a:pt x="538" y="596"/>
                    <a:pt x="538" y="596"/>
                    <a:pt x="538" y="596"/>
                  </a:cubicBezTo>
                  <a:cubicBezTo>
                    <a:pt x="534" y="594"/>
                    <a:pt x="537" y="593"/>
                    <a:pt x="538" y="591"/>
                  </a:cubicBezTo>
                  <a:close/>
                  <a:moveTo>
                    <a:pt x="518" y="583"/>
                  </a:moveTo>
                  <a:cubicBezTo>
                    <a:pt x="518" y="583"/>
                    <a:pt x="519" y="586"/>
                    <a:pt x="519" y="586"/>
                  </a:cubicBezTo>
                  <a:cubicBezTo>
                    <a:pt x="522" y="587"/>
                    <a:pt x="520" y="584"/>
                    <a:pt x="518" y="583"/>
                  </a:cubicBezTo>
                  <a:close/>
                  <a:moveTo>
                    <a:pt x="583" y="578"/>
                  </a:moveTo>
                  <a:cubicBezTo>
                    <a:pt x="584" y="579"/>
                    <a:pt x="586" y="580"/>
                    <a:pt x="587" y="580"/>
                  </a:cubicBezTo>
                  <a:cubicBezTo>
                    <a:pt x="586" y="581"/>
                    <a:pt x="585" y="583"/>
                    <a:pt x="583" y="582"/>
                  </a:cubicBezTo>
                  <a:cubicBezTo>
                    <a:pt x="583" y="582"/>
                    <a:pt x="584" y="581"/>
                    <a:pt x="584" y="580"/>
                  </a:cubicBezTo>
                  <a:cubicBezTo>
                    <a:pt x="583" y="580"/>
                    <a:pt x="580" y="580"/>
                    <a:pt x="582" y="579"/>
                  </a:cubicBezTo>
                  <a:cubicBezTo>
                    <a:pt x="584" y="578"/>
                    <a:pt x="581" y="578"/>
                    <a:pt x="583" y="578"/>
                  </a:cubicBezTo>
                  <a:close/>
                  <a:moveTo>
                    <a:pt x="506" y="575"/>
                  </a:moveTo>
                  <a:cubicBezTo>
                    <a:pt x="507" y="575"/>
                    <a:pt x="506" y="576"/>
                    <a:pt x="506" y="576"/>
                  </a:cubicBezTo>
                  <a:cubicBezTo>
                    <a:pt x="507" y="577"/>
                    <a:pt x="509" y="578"/>
                    <a:pt x="510" y="578"/>
                  </a:cubicBezTo>
                  <a:cubicBezTo>
                    <a:pt x="512" y="579"/>
                    <a:pt x="516" y="579"/>
                    <a:pt x="516" y="579"/>
                  </a:cubicBezTo>
                  <a:cubicBezTo>
                    <a:pt x="518" y="580"/>
                    <a:pt x="515" y="578"/>
                    <a:pt x="515" y="578"/>
                  </a:cubicBezTo>
                  <a:cubicBezTo>
                    <a:pt x="512" y="576"/>
                    <a:pt x="510" y="576"/>
                    <a:pt x="506" y="575"/>
                  </a:cubicBezTo>
                  <a:close/>
                  <a:moveTo>
                    <a:pt x="708" y="568"/>
                  </a:moveTo>
                  <a:cubicBezTo>
                    <a:pt x="707" y="569"/>
                    <a:pt x="707" y="570"/>
                    <a:pt x="707" y="570"/>
                  </a:cubicBezTo>
                  <a:cubicBezTo>
                    <a:pt x="706" y="571"/>
                    <a:pt x="705" y="570"/>
                    <a:pt x="704" y="570"/>
                  </a:cubicBezTo>
                  <a:cubicBezTo>
                    <a:pt x="703" y="571"/>
                    <a:pt x="702" y="572"/>
                    <a:pt x="702" y="573"/>
                  </a:cubicBezTo>
                  <a:cubicBezTo>
                    <a:pt x="703" y="574"/>
                    <a:pt x="703" y="574"/>
                    <a:pt x="702" y="574"/>
                  </a:cubicBezTo>
                  <a:cubicBezTo>
                    <a:pt x="702" y="576"/>
                    <a:pt x="701" y="578"/>
                    <a:pt x="701" y="579"/>
                  </a:cubicBezTo>
                  <a:cubicBezTo>
                    <a:pt x="703" y="578"/>
                    <a:pt x="705" y="579"/>
                    <a:pt x="706" y="578"/>
                  </a:cubicBezTo>
                  <a:cubicBezTo>
                    <a:pt x="707" y="577"/>
                    <a:pt x="706" y="576"/>
                    <a:pt x="706" y="576"/>
                  </a:cubicBezTo>
                  <a:cubicBezTo>
                    <a:pt x="706" y="576"/>
                    <a:pt x="713" y="571"/>
                    <a:pt x="708" y="574"/>
                  </a:cubicBezTo>
                  <a:cubicBezTo>
                    <a:pt x="708" y="573"/>
                    <a:pt x="708" y="572"/>
                    <a:pt x="708" y="572"/>
                  </a:cubicBezTo>
                  <a:cubicBezTo>
                    <a:pt x="711" y="571"/>
                    <a:pt x="709" y="570"/>
                    <a:pt x="708" y="568"/>
                  </a:cubicBezTo>
                  <a:close/>
                  <a:moveTo>
                    <a:pt x="532" y="566"/>
                  </a:moveTo>
                  <a:cubicBezTo>
                    <a:pt x="535" y="567"/>
                    <a:pt x="536" y="570"/>
                    <a:pt x="532" y="570"/>
                  </a:cubicBezTo>
                  <a:cubicBezTo>
                    <a:pt x="532" y="569"/>
                    <a:pt x="532" y="569"/>
                    <a:pt x="532" y="569"/>
                  </a:cubicBezTo>
                  <a:cubicBezTo>
                    <a:pt x="530" y="569"/>
                    <a:pt x="528" y="569"/>
                    <a:pt x="527" y="568"/>
                  </a:cubicBezTo>
                  <a:cubicBezTo>
                    <a:pt x="527" y="567"/>
                    <a:pt x="527" y="567"/>
                    <a:pt x="527" y="567"/>
                  </a:cubicBezTo>
                  <a:cubicBezTo>
                    <a:pt x="528" y="567"/>
                    <a:pt x="531" y="566"/>
                    <a:pt x="532" y="566"/>
                  </a:cubicBezTo>
                  <a:close/>
                  <a:moveTo>
                    <a:pt x="671" y="560"/>
                  </a:moveTo>
                  <a:cubicBezTo>
                    <a:pt x="670" y="560"/>
                    <a:pt x="670" y="561"/>
                    <a:pt x="670" y="562"/>
                  </a:cubicBezTo>
                  <a:cubicBezTo>
                    <a:pt x="670" y="563"/>
                    <a:pt x="668" y="564"/>
                    <a:pt x="668" y="564"/>
                  </a:cubicBezTo>
                  <a:cubicBezTo>
                    <a:pt x="669" y="566"/>
                    <a:pt x="669" y="566"/>
                    <a:pt x="669" y="566"/>
                  </a:cubicBezTo>
                  <a:cubicBezTo>
                    <a:pt x="669" y="566"/>
                    <a:pt x="671" y="566"/>
                    <a:pt x="671" y="566"/>
                  </a:cubicBezTo>
                  <a:cubicBezTo>
                    <a:pt x="672" y="567"/>
                    <a:pt x="671" y="569"/>
                    <a:pt x="672" y="569"/>
                  </a:cubicBezTo>
                  <a:cubicBezTo>
                    <a:pt x="672" y="569"/>
                    <a:pt x="674" y="569"/>
                    <a:pt x="674" y="569"/>
                  </a:cubicBezTo>
                  <a:cubicBezTo>
                    <a:pt x="679" y="570"/>
                    <a:pt x="678" y="570"/>
                    <a:pt x="683" y="568"/>
                  </a:cubicBezTo>
                  <a:cubicBezTo>
                    <a:pt x="683" y="569"/>
                    <a:pt x="683" y="570"/>
                    <a:pt x="682" y="570"/>
                  </a:cubicBezTo>
                  <a:cubicBezTo>
                    <a:pt x="682" y="572"/>
                    <a:pt x="682" y="572"/>
                    <a:pt x="682" y="572"/>
                  </a:cubicBezTo>
                  <a:cubicBezTo>
                    <a:pt x="683" y="572"/>
                    <a:pt x="683" y="573"/>
                    <a:pt x="683" y="573"/>
                  </a:cubicBezTo>
                  <a:cubicBezTo>
                    <a:pt x="684" y="573"/>
                    <a:pt x="685" y="573"/>
                    <a:pt x="686" y="573"/>
                  </a:cubicBezTo>
                  <a:cubicBezTo>
                    <a:pt x="685" y="572"/>
                    <a:pt x="686" y="572"/>
                    <a:pt x="686" y="572"/>
                  </a:cubicBezTo>
                  <a:cubicBezTo>
                    <a:pt x="686" y="572"/>
                    <a:pt x="687" y="571"/>
                    <a:pt x="687" y="571"/>
                  </a:cubicBezTo>
                  <a:cubicBezTo>
                    <a:pt x="686" y="571"/>
                    <a:pt x="685" y="570"/>
                    <a:pt x="685" y="570"/>
                  </a:cubicBezTo>
                  <a:cubicBezTo>
                    <a:pt x="685" y="569"/>
                    <a:pt x="685" y="568"/>
                    <a:pt x="685" y="568"/>
                  </a:cubicBezTo>
                  <a:cubicBezTo>
                    <a:pt x="685" y="568"/>
                    <a:pt x="687" y="567"/>
                    <a:pt x="686" y="567"/>
                  </a:cubicBezTo>
                  <a:cubicBezTo>
                    <a:pt x="684" y="567"/>
                    <a:pt x="680" y="568"/>
                    <a:pt x="677" y="568"/>
                  </a:cubicBezTo>
                  <a:cubicBezTo>
                    <a:pt x="677" y="566"/>
                    <a:pt x="677" y="566"/>
                    <a:pt x="677" y="566"/>
                  </a:cubicBezTo>
                  <a:cubicBezTo>
                    <a:pt x="676" y="566"/>
                    <a:pt x="676" y="567"/>
                    <a:pt x="676" y="567"/>
                  </a:cubicBezTo>
                  <a:cubicBezTo>
                    <a:pt x="674" y="568"/>
                    <a:pt x="672" y="566"/>
                    <a:pt x="671" y="565"/>
                  </a:cubicBezTo>
                  <a:cubicBezTo>
                    <a:pt x="671" y="565"/>
                    <a:pt x="672" y="562"/>
                    <a:pt x="671" y="562"/>
                  </a:cubicBezTo>
                  <a:cubicBezTo>
                    <a:pt x="672" y="562"/>
                    <a:pt x="673" y="559"/>
                    <a:pt x="671" y="560"/>
                  </a:cubicBezTo>
                  <a:close/>
                  <a:moveTo>
                    <a:pt x="707" y="558"/>
                  </a:moveTo>
                  <a:cubicBezTo>
                    <a:pt x="706" y="560"/>
                    <a:pt x="706" y="560"/>
                    <a:pt x="706" y="560"/>
                  </a:cubicBezTo>
                  <a:cubicBezTo>
                    <a:pt x="703" y="561"/>
                    <a:pt x="702" y="559"/>
                    <a:pt x="700" y="559"/>
                  </a:cubicBezTo>
                  <a:cubicBezTo>
                    <a:pt x="699" y="560"/>
                    <a:pt x="698" y="561"/>
                    <a:pt x="697" y="562"/>
                  </a:cubicBezTo>
                  <a:cubicBezTo>
                    <a:pt x="698" y="562"/>
                    <a:pt x="698" y="565"/>
                    <a:pt x="697" y="566"/>
                  </a:cubicBezTo>
                  <a:cubicBezTo>
                    <a:pt x="695" y="566"/>
                    <a:pt x="695" y="566"/>
                    <a:pt x="695" y="566"/>
                  </a:cubicBezTo>
                  <a:cubicBezTo>
                    <a:pt x="695" y="567"/>
                    <a:pt x="694" y="568"/>
                    <a:pt x="694" y="568"/>
                  </a:cubicBezTo>
                  <a:cubicBezTo>
                    <a:pt x="693" y="570"/>
                    <a:pt x="695" y="570"/>
                    <a:pt x="694" y="571"/>
                  </a:cubicBezTo>
                  <a:cubicBezTo>
                    <a:pt x="692" y="572"/>
                    <a:pt x="692" y="572"/>
                    <a:pt x="692" y="572"/>
                  </a:cubicBezTo>
                  <a:cubicBezTo>
                    <a:pt x="693" y="575"/>
                    <a:pt x="692" y="578"/>
                    <a:pt x="694" y="579"/>
                  </a:cubicBezTo>
                  <a:cubicBezTo>
                    <a:pt x="696" y="580"/>
                    <a:pt x="696" y="579"/>
                    <a:pt x="698" y="580"/>
                  </a:cubicBezTo>
                  <a:cubicBezTo>
                    <a:pt x="698" y="579"/>
                    <a:pt x="699" y="579"/>
                    <a:pt x="698" y="578"/>
                  </a:cubicBezTo>
                  <a:cubicBezTo>
                    <a:pt x="694" y="576"/>
                    <a:pt x="700" y="571"/>
                    <a:pt x="701" y="570"/>
                  </a:cubicBezTo>
                  <a:cubicBezTo>
                    <a:pt x="701" y="569"/>
                    <a:pt x="701" y="569"/>
                    <a:pt x="701" y="569"/>
                  </a:cubicBezTo>
                  <a:cubicBezTo>
                    <a:pt x="701" y="569"/>
                    <a:pt x="700" y="569"/>
                    <a:pt x="699" y="569"/>
                  </a:cubicBezTo>
                  <a:cubicBezTo>
                    <a:pt x="700" y="568"/>
                    <a:pt x="702" y="562"/>
                    <a:pt x="703" y="562"/>
                  </a:cubicBezTo>
                  <a:cubicBezTo>
                    <a:pt x="704" y="561"/>
                    <a:pt x="706" y="562"/>
                    <a:pt x="707" y="562"/>
                  </a:cubicBezTo>
                  <a:cubicBezTo>
                    <a:pt x="708" y="559"/>
                    <a:pt x="707" y="561"/>
                    <a:pt x="709" y="559"/>
                  </a:cubicBezTo>
                  <a:cubicBezTo>
                    <a:pt x="709" y="559"/>
                    <a:pt x="708" y="558"/>
                    <a:pt x="707" y="558"/>
                  </a:cubicBezTo>
                  <a:close/>
                  <a:moveTo>
                    <a:pt x="747" y="554"/>
                  </a:moveTo>
                  <a:cubicBezTo>
                    <a:pt x="747" y="555"/>
                    <a:pt x="746" y="560"/>
                    <a:pt x="748" y="558"/>
                  </a:cubicBezTo>
                  <a:cubicBezTo>
                    <a:pt x="750" y="558"/>
                    <a:pt x="749" y="556"/>
                    <a:pt x="749" y="554"/>
                  </a:cubicBezTo>
                  <a:cubicBezTo>
                    <a:pt x="748" y="554"/>
                    <a:pt x="747" y="554"/>
                    <a:pt x="747" y="554"/>
                  </a:cubicBezTo>
                  <a:close/>
                  <a:moveTo>
                    <a:pt x="692" y="549"/>
                  </a:moveTo>
                  <a:cubicBezTo>
                    <a:pt x="692" y="549"/>
                    <a:pt x="686" y="555"/>
                    <a:pt x="690" y="552"/>
                  </a:cubicBezTo>
                  <a:cubicBezTo>
                    <a:pt x="691" y="552"/>
                    <a:pt x="696" y="547"/>
                    <a:pt x="692" y="549"/>
                  </a:cubicBezTo>
                  <a:close/>
                  <a:moveTo>
                    <a:pt x="461" y="517"/>
                  </a:moveTo>
                  <a:cubicBezTo>
                    <a:pt x="464" y="520"/>
                    <a:pt x="464" y="521"/>
                    <a:pt x="465" y="526"/>
                  </a:cubicBezTo>
                  <a:cubicBezTo>
                    <a:pt x="464" y="526"/>
                    <a:pt x="462" y="526"/>
                    <a:pt x="463" y="526"/>
                  </a:cubicBezTo>
                  <a:cubicBezTo>
                    <a:pt x="463" y="526"/>
                    <a:pt x="460" y="526"/>
                    <a:pt x="462" y="526"/>
                  </a:cubicBezTo>
                  <a:cubicBezTo>
                    <a:pt x="461" y="526"/>
                    <a:pt x="459" y="526"/>
                    <a:pt x="459" y="526"/>
                  </a:cubicBezTo>
                  <a:cubicBezTo>
                    <a:pt x="459" y="523"/>
                    <a:pt x="459" y="523"/>
                    <a:pt x="459" y="523"/>
                  </a:cubicBezTo>
                  <a:cubicBezTo>
                    <a:pt x="457" y="522"/>
                    <a:pt x="459" y="525"/>
                    <a:pt x="458" y="525"/>
                  </a:cubicBezTo>
                  <a:cubicBezTo>
                    <a:pt x="457" y="525"/>
                    <a:pt x="457" y="525"/>
                    <a:pt x="457" y="525"/>
                  </a:cubicBezTo>
                  <a:cubicBezTo>
                    <a:pt x="457" y="525"/>
                    <a:pt x="457" y="519"/>
                    <a:pt x="457" y="518"/>
                  </a:cubicBezTo>
                  <a:cubicBezTo>
                    <a:pt x="458" y="517"/>
                    <a:pt x="460" y="517"/>
                    <a:pt x="461" y="517"/>
                  </a:cubicBezTo>
                  <a:close/>
                  <a:moveTo>
                    <a:pt x="603" y="505"/>
                  </a:moveTo>
                  <a:cubicBezTo>
                    <a:pt x="607" y="504"/>
                    <a:pt x="601" y="509"/>
                    <a:pt x="601" y="509"/>
                  </a:cubicBezTo>
                  <a:cubicBezTo>
                    <a:pt x="599" y="509"/>
                    <a:pt x="601" y="506"/>
                    <a:pt x="601" y="506"/>
                  </a:cubicBezTo>
                  <a:cubicBezTo>
                    <a:pt x="602" y="505"/>
                    <a:pt x="602" y="506"/>
                    <a:pt x="603" y="505"/>
                  </a:cubicBezTo>
                  <a:close/>
                  <a:moveTo>
                    <a:pt x="598" y="502"/>
                  </a:moveTo>
                  <a:cubicBezTo>
                    <a:pt x="598" y="502"/>
                    <a:pt x="597" y="502"/>
                    <a:pt x="599" y="503"/>
                  </a:cubicBezTo>
                  <a:cubicBezTo>
                    <a:pt x="600" y="503"/>
                    <a:pt x="599" y="504"/>
                    <a:pt x="599" y="505"/>
                  </a:cubicBezTo>
                  <a:cubicBezTo>
                    <a:pt x="599" y="506"/>
                    <a:pt x="592" y="512"/>
                    <a:pt x="591" y="512"/>
                  </a:cubicBezTo>
                  <a:cubicBezTo>
                    <a:pt x="590" y="512"/>
                    <a:pt x="590" y="511"/>
                    <a:pt x="589" y="511"/>
                  </a:cubicBezTo>
                  <a:cubicBezTo>
                    <a:pt x="589" y="511"/>
                    <a:pt x="588" y="511"/>
                    <a:pt x="587" y="511"/>
                  </a:cubicBezTo>
                  <a:cubicBezTo>
                    <a:pt x="589" y="509"/>
                    <a:pt x="591" y="506"/>
                    <a:pt x="593" y="505"/>
                  </a:cubicBezTo>
                  <a:cubicBezTo>
                    <a:pt x="594" y="504"/>
                    <a:pt x="596" y="505"/>
                    <a:pt x="596" y="504"/>
                  </a:cubicBezTo>
                  <a:cubicBezTo>
                    <a:pt x="597" y="503"/>
                    <a:pt x="597" y="502"/>
                    <a:pt x="598" y="502"/>
                  </a:cubicBezTo>
                  <a:close/>
                  <a:moveTo>
                    <a:pt x="738" y="499"/>
                  </a:moveTo>
                  <a:cubicBezTo>
                    <a:pt x="736" y="499"/>
                    <a:pt x="732" y="502"/>
                    <a:pt x="732" y="503"/>
                  </a:cubicBezTo>
                  <a:cubicBezTo>
                    <a:pt x="731" y="504"/>
                    <a:pt x="732" y="506"/>
                    <a:pt x="732" y="506"/>
                  </a:cubicBezTo>
                  <a:cubicBezTo>
                    <a:pt x="732" y="507"/>
                    <a:pt x="730" y="507"/>
                    <a:pt x="728" y="507"/>
                  </a:cubicBezTo>
                  <a:cubicBezTo>
                    <a:pt x="728" y="509"/>
                    <a:pt x="729" y="511"/>
                    <a:pt x="728" y="513"/>
                  </a:cubicBezTo>
                  <a:cubicBezTo>
                    <a:pt x="727" y="515"/>
                    <a:pt x="727" y="515"/>
                    <a:pt x="727" y="515"/>
                  </a:cubicBezTo>
                  <a:cubicBezTo>
                    <a:pt x="727" y="517"/>
                    <a:pt x="729" y="520"/>
                    <a:pt x="727" y="523"/>
                  </a:cubicBezTo>
                  <a:cubicBezTo>
                    <a:pt x="724" y="525"/>
                    <a:pt x="724" y="525"/>
                    <a:pt x="724" y="525"/>
                  </a:cubicBezTo>
                  <a:cubicBezTo>
                    <a:pt x="726" y="526"/>
                    <a:pt x="725" y="525"/>
                    <a:pt x="725" y="526"/>
                  </a:cubicBezTo>
                  <a:cubicBezTo>
                    <a:pt x="727" y="527"/>
                    <a:pt x="728" y="527"/>
                    <a:pt x="729" y="527"/>
                  </a:cubicBezTo>
                  <a:cubicBezTo>
                    <a:pt x="728" y="528"/>
                    <a:pt x="728" y="528"/>
                    <a:pt x="727" y="529"/>
                  </a:cubicBezTo>
                  <a:cubicBezTo>
                    <a:pt x="728" y="529"/>
                    <a:pt x="726" y="531"/>
                    <a:pt x="726" y="531"/>
                  </a:cubicBezTo>
                  <a:cubicBezTo>
                    <a:pt x="725" y="531"/>
                    <a:pt x="725" y="529"/>
                    <a:pt x="722" y="529"/>
                  </a:cubicBezTo>
                  <a:cubicBezTo>
                    <a:pt x="722" y="530"/>
                    <a:pt x="722" y="530"/>
                    <a:pt x="722" y="530"/>
                  </a:cubicBezTo>
                  <a:cubicBezTo>
                    <a:pt x="722" y="530"/>
                    <a:pt x="721" y="532"/>
                    <a:pt x="721" y="532"/>
                  </a:cubicBezTo>
                  <a:cubicBezTo>
                    <a:pt x="722" y="532"/>
                    <a:pt x="724" y="534"/>
                    <a:pt x="720" y="533"/>
                  </a:cubicBezTo>
                  <a:cubicBezTo>
                    <a:pt x="721" y="533"/>
                    <a:pt x="719" y="533"/>
                    <a:pt x="718" y="533"/>
                  </a:cubicBezTo>
                  <a:cubicBezTo>
                    <a:pt x="718" y="533"/>
                    <a:pt x="717" y="535"/>
                    <a:pt x="717" y="536"/>
                  </a:cubicBezTo>
                  <a:cubicBezTo>
                    <a:pt x="717" y="536"/>
                    <a:pt x="720" y="536"/>
                    <a:pt x="718" y="535"/>
                  </a:cubicBezTo>
                  <a:cubicBezTo>
                    <a:pt x="720" y="536"/>
                    <a:pt x="722" y="536"/>
                    <a:pt x="723" y="536"/>
                  </a:cubicBezTo>
                  <a:cubicBezTo>
                    <a:pt x="723" y="536"/>
                    <a:pt x="723" y="538"/>
                    <a:pt x="722" y="538"/>
                  </a:cubicBezTo>
                  <a:cubicBezTo>
                    <a:pt x="722" y="536"/>
                    <a:pt x="722" y="536"/>
                    <a:pt x="722" y="536"/>
                  </a:cubicBezTo>
                  <a:cubicBezTo>
                    <a:pt x="722" y="537"/>
                    <a:pt x="720" y="537"/>
                    <a:pt x="720" y="537"/>
                  </a:cubicBezTo>
                  <a:cubicBezTo>
                    <a:pt x="719" y="538"/>
                    <a:pt x="720" y="539"/>
                    <a:pt x="720" y="540"/>
                  </a:cubicBezTo>
                  <a:cubicBezTo>
                    <a:pt x="716" y="542"/>
                    <a:pt x="716" y="542"/>
                    <a:pt x="716" y="542"/>
                  </a:cubicBezTo>
                  <a:cubicBezTo>
                    <a:pt x="716" y="543"/>
                    <a:pt x="715" y="543"/>
                    <a:pt x="714" y="544"/>
                  </a:cubicBezTo>
                  <a:cubicBezTo>
                    <a:pt x="717" y="548"/>
                    <a:pt x="715" y="548"/>
                    <a:pt x="720" y="547"/>
                  </a:cubicBezTo>
                  <a:cubicBezTo>
                    <a:pt x="722" y="547"/>
                    <a:pt x="721" y="547"/>
                    <a:pt x="721" y="546"/>
                  </a:cubicBezTo>
                  <a:cubicBezTo>
                    <a:pt x="723" y="546"/>
                    <a:pt x="726" y="546"/>
                    <a:pt x="730" y="546"/>
                  </a:cubicBezTo>
                  <a:cubicBezTo>
                    <a:pt x="732" y="546"/>
                    <a:pt x="733" y="546"/>
                    <a:pt x="736" y="546"/>
                  </a:cubicBezTo>
                  <a:cubicBezTo>
                    <a:pt x="736" y="547"/>
                    <a:pt x="735" y="548"/>
                    <a:pt x="736" y="548"/>
                  </a:cubicBezTo>
                  <a:cubicBezTo>
                    <a:pt x="738" y="548"/>
                    <a:pt x="739" y="545"/>
                    <a:pt x="740" y="545"/>
                  </a:cubicBezTo>
                  <a:cubicBezTo>
                    <a:pt x="741" y="545"/>
                    <a:pt x="741" y="547"/>
                    <a:pt x="741" y="547"/>
                  </a:cubicBezTo>
                  <a:cubicBezTo>
                    <a:pt x="745" y="547"/>
                    <a:pt x="748" y="546"/>
                    <a:pt x="754" y="545"/>
                  </a:cubicBezTo>
                  <a:cubicBezTo>
                    <a:pt x="752" y="550"/>
                    <a:pt x="751" y="548"/>
                    <a:pt x="756" y="549"/>
                  </a:cubicBezTo>
                  <a:cubicBezTo>
                    <a:pt x="756" y="548"/>
                    <a:pt x="757" y="546"/>
                    <a:pt x="758" y="545"/>
                  </a:cubicBezTo>
                  <a:cubicBezTo>
                    <a:pt x="758" y="545"/>
                    <a:pt x="759" y="545"/>
                    <a:pt x="760" y="545"/>
                  </a:cubicBezTo>
                  <a:cubicBezTo>
                    <a:pt x="759" y="546"/>
                    <a:pt x="760" y="547"/>
                    <a:pt x="759" y="548"/>
                  </a:cubicBezTo>
                  <a:cubicBezTo>
                    <a:pt x="758" y="549"/>
                    <a:pt x="756" y="549"/>
                    <a:pt x="756" y="550"/>
                  </a:cubicBezTo>
                  <a:cubicBezTo>
                    <a:pt x="755" y="551"/>
                    <a:pt x="756" y="552"/>
                    <a:pt x="755" y="553"/>
                  </a:cubicBezTo>
                  <a:cubicBezTo>
                    <a:pt x="755" y="553"/>
                    <a:pt x="753" y="554"/>
                    <a:pt x="752" y="554"/>
                  </a:cubicBezTo>
                  <a:cubicBezTo>
                    <a:pt x="752" y="554"/>
                    <a:pt x="752" y="556"/>
                    <a:pt x="752" y="556"/>
                  </a:cubicBezTo>
                  <a:cubicBezTo>
                    <a:pt x="753" y="556"/>
                    <a:pt x="754" y="557"/>
                    <a:pt x="754" y="556"/>
                  </a:cubicBezTo>
                  <a:cubicBezTo>
                    <a:pt x="756" y="556"/>
                    <a:pt x="758" y="553"/>
                    <a:pt x="759" y="551"/>
                  </a:cubicBezTo>
                  <a:cubicBezTo>
                    <a:pt x="758" y="552"/>
                    <a:pt x="759" y="549"/>
                    <a:pt x="760" y="549"/>
                  </a:cubicBezTo>
                  <a:cubicBezTo>
                    <a:pt x="761" y="548"/>
                    <a:pt x="762" y="549"/>
                    <a:pt x="763" y="548"/>
                  </a:cubicBezTo>
                  <a:cubicBezTo>
                    <a:pt x="763" y="548"/>
                    <a:pt x="764" y="545"/>
                    <a:pt x="764" y="545"/>
                  </a:cubicBezTo>
                  <a:cubicBezTo>
                    <a:pt x="766" y="545"/>
                    <a:pt x="766" y="545"/>
                    <a:pt x="766" y="545"/>
                  </a:cubicBezTo>
                  <a:cubicBezTo>
                    <a:pt x="766" y="545"/>
                    <a:pt x="766" y="547"/>
                    <a:pt x="766" y="547"/>
                  </a:cubicBezTo>
                  <a:cubicBezTo>
                    <a:pt x="768" y="548"/>
                    <a:pt x="768" y="548"/>
                    <a:pt x="768" y="548"/>
                  </a:cubicBezTo>
                  <a:cubicBezTo>
                    <a:pt x="769" y="549"/>
                    <a:pt x="768" y="550"/>
                    <a:pt x="768" y="551"/>
                  </a:cubicBezTo>
                  <a:cubicBezTo>
                    <a:pt x="768" y="552"/>
                    <a:pt x="767" y="551"/>
                    <a:pt x="766" y="552"/>
                  </a:cubicBezTo>
                  <a:cubicBezTo>
                    <a:pt x="766" y="554"/>
                    <a:pt x="766" y="556"/>
                    <a:pt x="766" y="557"/>
                  </a:cubicBezTo>
                  <a:cubicBezTo>
                    <a:pt x="767" y="557"/>
                    <a:pt x="768" y="556"/>
                    <a:pt x="768" y="556"/>
                  </a:cubicBezTo>
                  <a:cubicBezTo>
                    <a:pt x="769" y="555"/>
                    <a:pt x="769" y="553"/>
                    <a:pt x="769" y="552"/>
                  </a:cubicBezTo>
                  <a:cubicBezTo>
                    <a:pt x="772" y="555"/>
                    <a:pt x="772" y="553"/>
                    <a:pt x="771" y="558"/>
                  </a:cubicBezTo>
                  <a:cubicBezTo>
                    <a:pt x="773" y="558"/>
                    <a:pt x="773" y="558"/>
                    <a:pt x="776" y="558"/>
                  </a:cubicBezTo>
                  <a:cubicBezTo>
                    <a:pt x="776" y="556"/>
                    <a:pt x="776" y="556"/>
                    <a:pt x="777" y="554"/>
                  </a:cubicBezTo>
                  <a:cubicBezTo>
                    <a:pt x="777" y="553"/>
                    <a:pt x="779" y="550"/>
                    <a:pt x="779" y="549"/>
                  </a:cubicBezTo>
                  <a:cubicBezTo>
                    <a:pt x="780" y="546"/>
                    <a:pt x="780" y="546"/>
                    <a:pt x="780" y="546"/>
                  </a:cubicBezTo>
                  <a:cubicBezTo>
                    <a:pt x="779" y="547"/>
                    <a:pt x="778" y="547"/>
                    <a:pt x="778" y="547"/>
                  </a:cubicBezTo>
                  <a:cubicBezTo>
                    <a:pt x="777" y="548"/>
                    <a:pt x="778" y="549"/>
                    <a:pt x="778" y="550"/>
                  </a:cubicBezTo>
                  <a:cubicBezTo>
                    <a:pt x="777" y="550"/>
                    <a:pt x="773" y="551"/>
                    <a:pt x="774" y="546"/>
                  </a:cubicBezTo>
                  <a:cubicBezTo>
                    <a:pt x="774" y="545"/>
                    <a:pt x="777" y="543"/>
                    <a:pt x="778" y="542"/>
                  </a:cubicBezTo>
                  <a:cubicBezTo>
                    <a:pt x="778" y="542"/>
                    <a:pt x="777" y="541"/>
                    <a:pt x="778" y="540"/>
                  </a:cubicBezTo>
                  <a:cubicBezTo>
                    <a:pt x="777" y="541"/>
                    <a:pt x="776" y="541"/>
                    <a:pt x="776" y="541"/>
                  </a:cubicBezTo>
                  <a:cubicBezTo>
                    <a:pt x="776" y="542"/>
                    <a:pt x="776" y="542"/>
                    <a:pt x="776" y="542"/>
                  </a:cubicBezTo>
                  <a:cubicBezTo>
                    <a:pt x="775" y="543"/>
                    <a:pt x="774" y="543"/>
                    <a:pt x="774" y="544"/>
                  </a:cubicBezTo>
                  <a:cubicBezTo>
                    <a:pt x="773" y="545"/>
                    <a:pt x="773" y="547"/>
                    <a:pt x="773" y="549"/>
                  </a:cubicBezTo>
                  <a:cubicBezTo>
                    <a:pt x="772" y="549"/>
                    <a:pt x="771" y="548"/>
                    <a:pt x="769" y="548"/>
                  </a:cubicBezTo>
                  <a:cubicBezTo>
                    <a:pt x="768" y="546"/>
                    <a:pt x="768" y="546"/>
                    <a:pt x="768" y="546"/>
                  </a:cubicBezTo>
                  <a:cubicBezTo>
                    <a:pt x="769" y="546"/>
                    <a:pt x="770" y="546"/>
                    <a:pt x="771" y="546"/>
                  </a:cubicBezTo>
                  <a:cubicBezTo>
                    <a:pt x="771" y="546"/>
                    <a:pt x="771" y="544"/>
                    <a:pt x="772" y="544"/>
                  </a:cubicBezTo>
                  <a:cubicBezTo>
                    <a:pt x="770" y="543"/>
                    <a:pt x="770" y="543"/>
                    <a:pt x="769" y="542"/>
                  </a:cubicBezTo>
                  <a:cubicBezTo>
                    <a:pt x="769" y="542"/>
                    <a:pt x="769" y="541"/>
                    <a:pt x="769" y="540"/>
                  </a:cubicBezTo>
                  <a:cubicBezTo>
                    <a:pt x="769" y="540"/>
                    <a:pt x="771" y="540"/>
                    <a:pt x="771" y="540"/>
                  </a:cubicBezTo>
                  <a:cubicBezTo>
                    <a:pt x="772" y="538"/>
                    <a:pt x="772" y="537"/>
                    <a:pt x="773" y="535"/>
                  </a:cubicBezTo>
                  <a:cubicBezTo>
                    <a:pt x="771" y="536"/>
                    <a:pt x="771" y="536"/>
                    <a:pt x="770" y="536"/>
                  </a:cubicBezTo>
                  <a:cubicBezTo>
                    <a:pt x="770" y="538"/>
                    <a:pt x="770" y="538"/>
                    <a:pt x="770" y="538"/>
                  </a:cubicBezTo>
                  <a:cubicBezTo>
                    <a:pt x="769" y="538"/>
                    <a:pt x="769" y="537"/>
                    <a:pt x="768" y="537"/>
                  </a:cubicBezTo>
                  <a:cubicBezTo>
                    <a:pt x="767" y="537"/>
                    <a:pt x="765" y="539"/>
                    <a:pt x="765" y="539"/>
                  </a:cubicBezTo>
                  <a:cubicBezTo>
                    <a:pt x="764" y="539"/>
                    <a:pt x="764" y="538"/>
                    <a:pt x="763" y="538"/>
                  </a:cubicBezTo>
                  <a:cubicBezTo>
                    <a:pt x="764" y="537"/>
                    <a:pt x="764" y="535"/>
                    <a:pt x="765" y="534"/>
                  </a:cubicBezTo>
                  <a:cubicBezTo>
                    <a:pt x="764" y="534"/>
                    <a:pt x="764" y="535"/>
                    <a:pt x="764" y="535"/>
                  </a:cubicBezTo>
                  <a:cubicBezTo>
                    <a:pt x="763" y="535"/>
                    <a:pt x="762" y="535"/>
                    <a:pt x="762" y="535"/>
                  </a:cubicBezTo>
                  <a:cubicBezTo>
                    <a:pt x="762" y="535"/>
                    <a:pt x="762" y="534"/>
                    <a:pt x="762" y="533"/>
                  </a:cubicBezTo>
                  <a:cubicBezTo>
                    <a:pt x="761" y="532"/>
                    <a:pt x="761" y="532"/>
                    <a:pt x="760" y="532"/>
                  </a:cubicBezTo>
                  <a:cubicBezTo>
                    <a:pt x="762" y="531"/>
                    <a:pt x="762" y="531"/>
                    <a:pt x="762" y="531"/>
                  </a:cubicBezTo>
                  <a:cubicBezTo>
                    <a:pt x="762" y="531"/>
                    <a:pt x="763" y="527"/>
                    <a:pt x="764" y="526"/>
                  </a:cubicBezTo>
                  <a:cubicBezTo>
                    <a:pt x="762" y="525"/>
                    <a:pt x="762" y="525"/>
                    <a:pt x="761" y="524"/>
                  </a:cubicBezTo>
                  <a:cubicBezTo>
                    <a:pt x="760" y="524"/>
                    <a:pt x="760" y="524"/>
                    <a:pt x="760" y="524"/>
                  </a:cubicBezTo>
                  <a:cubicBezTo>
                    <a:pt x="759" y="526"/>
                    <a:pt x="759" y="526"/>
                    <a:pt x="759" y="526"/>
                  </a:cubicBezTo>
                  <a:cubicBezTo>
                    <a:pt x="754" y="528"/>
                    <a:pt x="756" y="524"/>
                    <a:pt x="755" y="523"/>
                  </a:cubicBezTo>
                  <a:cubicBezTo>
                    <a:pt x="751" y="526"/>
                    <a:pt x="756" y="525"/>
                    <a:pt x="750" y="525"/>
                  </a:cubicBezTo>
                  <a:cubicBezTo>
                    <a:pt x="750" y="525"/>
                    <a:pt x="750" y="528"/>
                    <a:pt x="750" y="528"/>
                  </a:cubicBezTo>
                  <a:cubicBezTo>
                    <a:pt x="749" y="528"/>
                    <a:pt x="749" y="527"/>
                    <a:pt x="748" y="526"/>
                  </a:cubicBezTo>
                  <a:cubicBezTo>
                    <a:pt x="747" y="526"/>
                    <a:pt x="745" y="527"/>
                    <a:pt x="744" y="527"/>
                  </a:cubicBezTo>
                  <a:cubicBezTo>
                    <a:pt x="743" y="527"/>
                    <a:pt x="745" y="526"/>
                    <a:pt x="745" y="526"/>
                  </a:cubicBezTo>
                  <a:cubicBezTo>
                    <a:pt x="745" y="524"/>
                    <a:pt x="745" y="524"/>
                    <a:pt x="745" y="524"/>
                  </a:cubicBezTo>
                  <a:cubicBezTo>
                    <a:pt x="743" y="525"/>
                    <a:pt x="743" y="525"/>
                    <a:pt x="741" y="525"/>
                  </a:cubicBezTo>
                  <a:cubicBezTo>
                    <a:pt x="746" y="521"/>
                    <a:pt x="745" y="521"/>
                    <a:pt x="740" y="518"/>
                  </a:cubicBezTo>
                  <a:cubicBezTo>
                    <a:pt x="739" y="518"/>
                    <a:pt x="740" y="520"/>
                    <a:pt x="740" y="520"/>
                  </a:cubicBezTo>
                  <a:cubicBezTo>
                    <a:pt x="739" y="520"/>
                    <a:pt x="739" y="519"/>
                    <a:pt x="738" y="519"/>
                  </a:cubicBezTo>
                  <a:cubicBezTo>
                    <a:pt x="737" y="522"/>
                    <a:pt x="736" y="523"/>
                    <a:pt x="734" y="525"/>
                  </a:cubicBezTo>
                  <a:cubicBezTo>
                    <a:pt x="734" y="525"/>
                    <a:pt x="735" y="522"/>
                    <a:pt x="735" y="522"/>
                  </a:cubicBezTo>
                  <a:cubicBezTo>
                    <a:pt x="734" y="523"/>
                    <a:pt x="734" y="520"/>
                    <a:pt x="734" y="520"/>
                  </a:cubicBezTo>
                  <a:cubicBezTo>
                    <a:pt x="734" y="520"/>
                    <a:pt x="733" y="519"/>
                    <a:pt x="734" y="518"/>
                  </a:cubicBezTo>
                  <a:cubicBezTo>
                    <a:pt x="734" y="516"/>
                    <a:pt x="737" y="515"/>
                    <a:pt x="737" y="514"/>
                  </a:cubicBezTo>
                  <a:cubicBezTo>
                    <a:pt x="738" y="512"/>
                    <a:pt x="737" y="510"/>
                    <a:pt x="737" y="508"/>
                  </a:cubicBezTo>
                  <a:cubicBezTo>
                    <a:pt x="738" y="508"/>
                    <a:pt x="738" y="508"/>
                    <a:pt x="738" y="508"/>
                  </a:cubicBezTo>
                  <a:cubicBezTo>
                    <a:pt x="738" y="508"/>
                    <a:pt x="740" y="508"/>
                    <a:pt x="740" y="507"/>
                  </a:cubicBezTo>
                  <a:cubicBezTo>
                    <a:pt x="742" y="506"/>
                    <a:pt x="743" y="504"/>
                    <a:pt x="740" y="504"/>
                  </a:cubicBezTo>
                  <a:cubicBezTo>
                    <a:pt x="740" y="503"/>
                    <a:pt x="740" y="503"/>
                    <a:pt x="740" y="503"/>
                  </a:cubicBezTo>
                  <a:cubicBezTo>
                    <a:pt x="740" y="502"/>
                    <a:pt x="741" y="503"/>
                    <a:pt x="742" y="503"/>
                  </a:cubicBezTo>
                  <a:cubicBezTo>
                    <a:pt x="742" y="501"/>
                    <a:pt x="742" y="501"/>
                    <a:pt x="742" y="501"/>
                  </a:cubicBezTo>
                  <a:cubicBezTo>
                    <a:pt x="744" y="501"/>
                    <a:pt x="744" y="501"/>
                    <a:pt x="744" y="501"/>
                  </a:cubicBezTo>
                  <a:cubicBezTo>
                    <a:pt x="744" y="500"/>
                    <a:pt x="743" y="499"/>
                    <a:pt x="744" y="499"/>
                  </a:cubicBezTo>
                  <a:cubicBezTo>
                    <a:pt x="743" y="499"/>
                    <a:pt x="740" y="500"/>
                    <a:pt x="741" y="500"/>
                  </a:cubicBezTo>
                  <a:cubicBezTo>
                    <a:pt x="740" y="500"/>
                    <a:pt x="738" y="499"/>
                    <a:pt x="738" y="499"/>
                  </a:cubicBezTo>
                  <a:close/>
                  <a:moveTo>
                    <a:pt x="363" y="494"/>
                  </a:moveTo>
                  <a:cubicBezTo>
                    <a:pt x="366" y="494"/>
                    <a:pt x="366" y="496"/>
                    <a:pt x="367" y="498"/>
                  </a:cubicBezTo>
                  <a:cubicBezTo>
                    <a:pt x="368" y="498"/>
                    <a:pt x="369" y="497"/>
                    <a:pt x="369" y="497"/>
                  </a:cubicBezTo>
                  <a:cubicBezTo>
                    <a:pt x="370" y="498"/>
                    <a:pt x="369" y="501"/>
                    <a:pt x="369" y="502"/>
                  </a:cubicBezTo>
                  <a:cubicBezTo>
                    <a:pt x="370" y="503"/>
                    <a:pt x="372" y="504"/>
                    <a:pt x="373" y="505"/>
                  </a:cubicBezTo>
                  <a:cubicBezTo>
                    <a:pt x="374" y="506"/>
                    <a:pt x="373" y="507"/>
                    <a:pt x="373" y="509"/>
                  </a:cubicBezTo>
                  <a:cubicBezTo>
                    <a:pt x="374" y="510"/>
                    <a:pt x="375" y="511"/>
                    <a:pt x="376" y="513"/>
                  </a:cubicBezTo>
                  <a:cubicBezTo>
                    <a:pt x="375" y="514"/>
                    <a:pt x="376" y="514"/>
                    <a:pt x="375" y="515"/>
                  </a:cubicBezTo>
                  <a:cubicBezTo>
                    <a:pt x="374" y="515"/>
                    <a:pt x="372" y="515"/>
                    <a:pt x="371" y="515"/>
                  </a:cubicBezTo>
                  <a:cubicBezTo>
                    <a:pt x="371" y="512"/>
                    <a:pt x="371" y="508"/>
                    <a:pt x="369" y="505"/>
                  </a:cubicBezTo>
                  <a:cubicBezTo>
                    <a:pt x="369" y="505"/>
                    <a:pt x="368" y="505"/>
                    <a:pt x="367" y="505"/>
                  </a:cubicBezTo>
                  <a:cubicBezTo>
                    <a:pt x="367" y="504"/>
                    <a:pt x="368" y="503"/>
                    <a:pt x="367" y="503"/>
                  </a:cubicBezTo>
                  <a:cubicBezTo>
                    <a:pt x="367" y="500"/>
                    <a:pt x="362" y="499"/>
                    <a:pt x="362" y="497"/>
                  </a:cubicBezTo>
                  <a:cubicBezTo>
                    <a:pt x="362" y="495"/>
                    <a:pt x="362" y="494"/>
                    <a:pt x="363" y="494"/>
                  </a:cubicBezTo>
                  <a:close/>
                  <a:moveTo>
                    <a:pt x="625" y="481"/>
                  </a:moveTo>
                  <a:cubicBezTo>
                    <a:pt x="626" y="481"/>
                    <a:pt x="626" y="481"/>
                    <a:pt x="627" y="482"/>
                  </a:cubicBezTo>
                  <a:cubicBezTo>
                    <a:pt x="626" y="484"/>
                    <a:pt x="626" y="485"/>
                    <a:pt x="626" y="487"/>
                  </a:cubicBezTo>
                  <a:cubicBezTo>
                    <a:pt x="625" y="488"/>
                    <a:pt x="625" y="487"/>
                    <a:pt x="623" y="487"/>
                  </a:cubicBezTo>
                  <a:cubicBezTo>
                    <a:pt x="623" y="487"/>
                    <a:pt x="622" y="489"/>
                    <a:pt x="621" y="489"/>
                  </a:cubicBezTo>
                  <a:cubicBezTo>
                    <a:pt x="621" y="488"/>
                    <a:pt x="620" y="488"/>
                    <a:pt x="621" y="486"/>
                  </a:cubicBezTo>
                  <a:cubicBezTo>
                    <a:pt x="621" y="484"/>
                    <a:pt x="624" y="482"/>
                    <a:pt x="625" y="481"/>
                  </a:cubicBezTo>
                  <a:close/>
                  <a:moveTo>
                    <a:pt x="519" y="480"/>
                  </a:moveTo>
                  <a:cubicBezTo>
                    <a:pt x="519" y="480"/>
                    <a:pt x="517" y="483"/>
                    <a:pt x="517" y="483"/>
                  </a:cubicBezTo>
                  <a:cubicBezTo>
                    <a:pt x="520" y="484"/>
                    <a:pt x="522" y="485"/>
                    <a:pt x="526" y="486"/>
                  </a:cubicBezTo>
                  <a:cubicBezTo>
                    <a:pt x="526" y="486"/>
                    <a:pt x="526" y="483"/>
                    <a:pt x="526" y="483"/>
                  </a:cubicBezTo>
                  <a:cubicBezTo>
                    <a:pt x="525" y="483"/>
                    <a:pt x="524" y="483"/>
                    <a:pt x="524" y="483"/>
                  </a:cubicBezTo>
                  <a:cubicBezTo>
                    <a:pt x="522" y="481"/>
                    <a:pt x="522" y="481"/>
                    <a:pt x="519" y="480"/>
                  </a:cubicBezTo>
                  <a:close/>
                  <a:moveTo>
                    <a:pt x="357" y="474"/>
                  </a:moveTo>
                  <a:cubicBezTo>
                    <a:pt x="360" y="474"/>
                    <a:pt x="359" y="477"/>
                    <a:pt x="357" y="478"/>
                  </a:cubicBezTo>
                  <a:cubicBezTo>
                    <a:pt x="359" y="479"/>
                    <a:pt x="360" y="479"/>
                    <a:pt x="361" y="480"/>
                  </a:cubicBezTo>
                  <a:cubicBezTo>
                    <a:pt x="361" y="485"/>
                    <a:pt x="361" y="489"/>
                    <a:pt x="361" y="494"/>
                  </a:cubicBezTo>
                  <a:cubicBezTo>
                    <a:pt x="360" y="494"/>
                    <a:pt x="359" y="494"/>
                    <a:pt x="357" y="494"/>
                  </a:cubicBezTo>
                  <a:cubicBezTo>
                    <a:pt x="357" y="493"/>
                    <a:pt x="356" y="492"/>
                    <a:pt x="356" y="492"/>
                  </a:cubicBezTo>
                  <a:cubicBezTo>
                    <a:pt x="356" y="490"/>
                    <a:pt x="357" y="490"/>
                    <a:pt x="357" y="489"/>
                  </a:cubicBezTo>
                  <a:cubicBezTo>
                    <a:pt x="359" y="483"/>
                    <a:pt x="354" y="480"/>
                    <a:pt x="351" y="478"/>
                  </a:cubicBezTo>
                  <a:cubicBezTo>
                    <a:pt x="352" y="478"/>
                    <a:pt x="355" y="477"/>
                    <a:pt x="357" y="477"/>
                  </a:cubicBezTo>
                  <a:cubicBezTo>
                    <a:pt x="356" y="477"/>
                    <a:pt x="355" y="474"/>
                    <a:pt x="357" y="474"/>
                  </a:cubicBezTo>
                  <a:close/>
                  <a:moveTo>
                    <a:pt x="667" y="473"/>
                  </a:moveTo>
                  <a:cubicBezTo>
                    <a:pt x="667" y="473"/>
                    <a:pt x="672" y="476"/>
                    <a:pt x="672" y="476"/>
                  </a:cubicBezTo>
                  <a:cubicBezTo>
                    <a:pt x="672" y="476"/>
                    <a:pt x="672" y="478"/>
                    <a:pt x="672" y="478"/>
                  </a:cubicBezTo>
                  <a:cubicBezTo>
                    <a:pt x="671" y="478"/>
                    <a:pt x="669" y="479"/>
                    <a:pt x="669" y="479"/>
                  </a:cubicBezTo>
                  <a:cubicBezTo>
                    <a:pt x="668" y="479"/>
                    <a:pt x="666" y="473"/>
                    <a:pt x="667" y="473"/>
                  </a:cubicBezTo>
                  <a:close/>
                  <a:moveTo>
                    <a:pt x="634" y="463"/>
                  </a:moveTo>
                  <a:cubicBezTo>
                    <a:pt x="634" y="465"/>
                    <a:pt x="634" y="467"/>
                    <a:pt x="634" y="469"/>
                  </a:cubicBezTo>
                  <a:cubicBezTo>
                    <a:pt x="633" y="469"/>
                    <a:pt x="633" y="469"/>
                    <a:pt x="633" y="469"/>
                  </a:cubicBezTo>
                  <a:cubicBezTo>
                    <a:pt x="633" y="470"/>
                    <a:pt x="634" y="470"/>
                    <a:pt x="633" y="472"/>
                  </a:cubicBezTo>
                  <a:cubicBezTo>
                    <a:pt x="631" y="471"/>
                    <a:pt x="628" y="474"/>
                    <a:pt x="630" y="468"/>
                  </a:cubicBezTo>
                  <a:cubicBezTo>
                    <a:pt x="630" y="467"/>
                    <a:pt x="632" y="467"/>
                    <a:pt x="633" y="467"/>
                  </a:cubicBezTo>
                  <a:cubicBezTo>
                    <a:pt x="633" y="466"/>
                    <a:pt x="633" y="465"/>
                    <a:pt x="633" y="464"/>
                  </a:cubicBezTo>
                  <a:cubicBezTo>
                    <a:pt x="633" y="464"/>
                    <a:pt x="634" y="463"/>
                    <a:pt x="634" y="463"/>
                  </a:cubicBezTo>
                  <a:close/>
                  <a:moveTo>
                    <a:pt x="374" y="461"/>
                  </a:moveTo>
                  <a:cubicBezTo>
                    <a:pt x="374" y="461"/>
                    <a:pt x="374" y="463"/>
                    <a:pt x="374" y="463"/>
                  </a:cubicBezTo>
                  <a:cubicBezTo>
                    <a:pt x="375" y="464"/>
                    <a:pt x="376" y="463"/>
                    <a:pt x="376" y="463"/>
                  </a:cubicBezTo>
                  <a:cubicBezTo>
                    <a:pt x="376" y="467"/>
                    <a:pt x="375" y="470"/>
                    <a:pt x="377" y="474"/>
                  </a:cubicBezTo>
                  <a:cubicBezTo>
                    <a:pt x="377" y="474"/>
                    <a:pt x="379" y="476"/>
                    <a:pt x="379" y="476"/>
                  </a:cubicBezTo>
                  <a:cubicBezTo>
                    <a:pt x="379" y="477"/>
                    <a:pt x="378" y="478"/>
                    <a:pt x="379" y="479"/>
                  </a:cubicBezTo>
                  <a:cubicBezTo>
                    <a:pt x="379" y="479"/>
                    <a:pt x="379" y="479"/>
                    <a:pt x="379" y="479"/>
                  </a:cubicBezTo>
                  <a:cubicBezTo>
                    <a:pt x="380" y="481"/>
                    <a:pt x="381" y="483"/>
                    <a:pt x="383" y="485"/>
                  </a:cubicBezTo>
                  <a:cubicBezTo>
                    <a:pt x="384" y="486"/>
                    <a:pt x="384" y="486"/>
                    <a:pt x="384" y="486"/>
                  </a:cubicBezTo>
                  <a:cubicBezTo>
                    <a:pt x="385" y="488"/>
                    <a:pt x="383" y="488"/>
                    <a:pt x="383" y="489"/>
                  </a:cubicBezTo>
                  <a:cubicBezTo>
                    <a:pt x="384" y="490"/>
                    <a:pt x="387" y="497"/>
                    <a:pt x="389" y="497"/>
                  </a:cubicBezTo>
                  <a:cubicBezTo>
                    <a:pt x="389" y="498"/>
                    <a:pt x="389" y="498"/>
                    <a:pt x="389" y="498"/>
                  </a:cubicBezTo>
                  <a:cubicBezTo>
                    <a:pt x="390" y="499"/>
                    <a:pt x="392" y="498"/>
                    <a:pt x="393" y="499"/>
                  </a:cubicBezTo>
                  <a:cubicBezTo>
                    <a:pt x="391" y="503"/>
                    <a:pt x="392" y="505"/>
                    <a:pt x="393" y="510"/>
                  </a:cubicBezTo>
                  <a:cubicBezTo>
                    <a:pt x="392" y="510"/>
                    <a:pt x="390" y="510"/>
                    <a:pt x="389" y="511"/>
                  </a:cubicBezTo>
                  <a:cubicBezTo>
                    <a:pt x="389" y="511"/>
                    <a:pt x="389" y="512"/>
                    <a:pt x="389" y="513"/>
                  </a:cubicBezTo>
                  <a:cubicBezTo>
                    <a:pt x="389" y="513"/>
                    <a:pt x="387" y="512"/>
                    <a:pt x="387" y="513"/>
                  </a:cubicBezTo>
                  <a:cubicBezTo>
                    <a:pt x="386" y="508"/>
                    <a:pt x="387" y="503"/>
                    <a:pt x="385" y="499"/>
                  </a:cubicBezTo>
                  <a:cubicBezTo>
                    <a:pt x="385" y="498"/>
                    <a:pt x="383" y="499"/>
                    <a:pt x="383" y="499"/>
                  </a:cubicBezTo>
                  <a:cubicBezTo>
                    <a:pt x="383" y="498"/>
                    <a:pt x="383" y="497"/>
                    <a:pt x="383" y="496"/>
                  </a:cubicBezTo>
                  <a:cubicBezTo>
                    <a:pt x="383" y="495"/>
                    <a:pt x="383" y="495"/>
                    <a:pt x="383" y="495"/>
                  </a:cubicBezTo>
                  <a:cubicBezTo>
                    <a:pt x="382" y="495"/>
                    <a:pt x="380" y="495"/>
                    <a:pt x="379" y="495"/>
                  </a:cubicBezTo>
                  <a:cubicBezTo>
                    <a:pt x="379" y="491"/>
                    <a:pt x="378" y="492"/>
                    <a:pt x="380" y="489"/>
                  </a:cubicBezTo>
                  <a:cubicBezTo>
                    <a:pt x="378" y="488"/>
                    <a:pt x="378" y="486"/>
                    <a:pt x="376" y="487"/>
                  </a:cubicBezTo>
                  <a:cubicBezTo>
                    <a:pt x="376" y="488"/>
                    <a:pt x="377" y="488"/>
                    <a:pt x="375" y="488"/>
                  </a:cubicBezTo>
                  <a:cubicBezTo>
                    <a:pt x="374" y="488"/>
                    <a:pt x="374" y="485"/>
                    <a:pt x="373" y="485"/>
                  </a:cubicBezTo>
                  <a:cubicBezTo>
                    <a:pt x="372" y="484"/>
                    <a:pt x="369" y="483"/>
                    <a:pt x="368" y="482"/>
                  </a:cubicBezTo>
                  <a:cubicBezTo>
                    <a:pt x="367" y="481"/>
                    <a:pt x="368" y="480"/>
                    <a:pt x="367" y="478"/>
                  </a:cubicBezTo>
                  <a:cubicBezTo>
                    <a:pt x="368" y="478"/>
                    <a:pt x="369" y="478"/>
                    <a:pt x="369" y="477"/>
                  </a:cubicBezTo>
                  <a:cubicBezTo>
                    <a:pt x="364" y="475"/>
                    <a:pt x="366" y="477"/>
                    <a:pt x="363" y="473"/>
                  </a:cubicBezTo>
                  <a:cubicBezTo>
                    <a:pt x="365" y="471"/>
                    <a:pt x="367" y="468"/>
                    <a:pt x="368" y="465"/>
                  </a:cubicBezTo>
                  <a:cubicBezTo>
                    <a:pt x="369" y="465"/>
                    <a:pt x="371" y="465"/>
                    <a:pt x="373" y="465"/>
                  </a:cubicBezTo>
                  <a:cubicBezTo>
                    <a:pt x="373" y="465"/>
                    <a:pt x="373" y="463"/>
                    <a:pt x="373" y="463"/>
                  </a:cubicBezTo>
                  <a:cubicBezTo>
                    <a:pt x="373" y="463"/>
                    <a:pt x="372" y="463"/>
                    <a:pt x="372" y="462"/>
                  </a:cubicBezTo>
                  <a:lnTo>
                    <a:pt x="374" y="461"/>
                  </a:lnTo>
                  <a:close/>
                  <a:moveTo>
                    <a:pt x="592" y="457"/>
                  </a:moveTo>
                  <a:cubicBezTo>
                    <a:pt x="594" y="457"/>
                    <a:pt x="592" y="459"/>
                    <a:pt x="592" y="459"/>
                  </a:cubicBezTo>
                  <a:cubicBezTo>
                    <a:pt x="590" y="459"/>
                    <a:pt x="591" y="458"/>
                    <a:pt x="592" y="457"/>
                  </a:cubicBezTo>
                  <a:close/>
                  <a:moveTo>
                    <a:pt x="651" y="453"/>
                  </a:moveTo>
                  <a:cubicBezTo>
                    <a:pt x="652" y="453"/>
                    <a:pt x="654" y="456"/>
                    <a:pt x="652" y="455"/>
                  </a:cubicBezTo>
                  <a:cubicBezTo>
                    <a:pt x="652" y="455"/>
                    <a:pt x="650" y="452"/>
                    <a:pt x="651" y="453"/>
                  </a:cubicBezTo>
                  <a:close/>
                  <a:moveTo>
                    <a:pt x="591" y="442"/>
                  </a:moveTo>
                  <a:cubicBezTo>
                    <a:pt x="591" y="442"/>
                    <a:pt x="591" y="442"/>
                    <a:pt x="591" y="442"/>
                  </a:cubicBezTo>
                  <a:cubicBezTo>
                    <a:pt x="590" y="444"/>
                    <a:pt x="592" y="445"/>
                    <a:pt x="589" y="446"/>
                  </a:cubicBezTo>
                  <a:cubicBezTo>
                    <a:pt x="588" y="447"/>
                    <a:pt x="589" y="443"/>
                    <a:pt x="591" y="442"/>
                  </a:cubicBezTo>
                  <a:close/>
                  <a:moveTo>
                    <a:pt x="535" y="439"/>
                  </a:moveTo>
                  <a:cubicBezTo>
                    <a:pt x="534" y="439"/>
                    <a:pt x="534" y="440"/>
                    <a:pt x="536" y="441"/>
                  </a:cubicBezTo>
                  <a:cubicBezTo>
                    <a:pt x="536" y="441"/>
                    <a:pt x="537" y="438"/>
                    <a:pt x="535" y="439"/>
                  </a:cubicBezTo>
                  <a:close/>
                  <a:moveTo>
                    <a:pt x="579" y="435"/>
                  </a:moveTo>
                  <a:cubicBezTo>
                    <a:pt x="581" y="435"/>
                    <a:pt x="582" y="437"/>
                    <a:pt x="583" y="437"/>
                  </a:cubicBezTo>
                  <a:cubicBezTo>
                    <a:pt x="583" y="438"/>
                    <a:pt x="583" y="439"/>
                    <a:pt x="583" y="439"/>
                  </a:cubicBezTo>
                  <a:cubicBezTo>
                    <a:pt x="582" y="439"/>
                    <a:pt x="580" y="439"/>
                    <a:pt x="578" y="439"/>
                  </a:cubicBezTo>
                  <a:cubicBezTo>
                    <a:pt x="578" y="438"/>
                    <a:pt x="576" y="436"/>
                    <a:pt x="579" y="435"/>
                  </a:cubicBezTo>
                  <a:close/>
                  <a:moveTo>
                    <a:pt x="534" y="434"/>
                  </a:moveTo>
                  <a:cubicBezTo>
                    <a:pt x="532" y="434"/>
                    <a:pt x="533" y="436"/>
                    <a:pt x="534" y="436"/>
                  </a:cubicBezTo>
                  <a:cubicBezTo>
                    <a:pt x="534" y="436"/>
                    <a:pt x="536" y="433"/>
                    <a:pt x="534" y="434"/>
                  </a:cubicBezTo>
                  <a:close/>
                  <a:moveTo>
                    <a:pt x="330" y="432"/>
                  </a:moveTo>
                  <a:cubicBezTo>
                    <a:pt x="330" y="433"/>
                    <a:pt x="330" y="433"/>
                    <a:pt x="330" y="433"/>
                  </a:cubicBezTo>
                  <a:cubicBezTo>
                    <a:pt x="334" y="432"/>
                    <a:pt x="331" y="435"/>
                    <a:pt x="331" y="435"/>
                  </a:cubicBezTo>
                  <a:cubicBezTo>
                    <a:pt x="328" y="435"/>
                    <a:pt x="329" y="432"/>
                    <a:pt x="330" y="432"/>
                  </a:cubicBezTo>
                  <a:close/>
                  <a:moveTo>
                    <a:pt x="538" y="430"/>
                  </a:moveTo>
                  <a:cubicBezTo>
                    <a:pt x="538" y="434"/>
                    <a:pt x="537" y="437"/>
                    <a:pt x="537" y="440"/>
                  </a:cubicBezTo>
                  <a:cubicBezTo>
                    <a:pt x="537" y="440"/>
                    <a:pt x="539" y="440"/>
                    <a:pt x="539" y="440"/>
                  </a:cubicBezTo>
                  <a:cubicBezTo>
                    <a:pt x="540" y="437"/>
                    <a:pt x="541" y="434"/>
                    <a:pt x="541" y="431"/>
                  </a:cubicBezTo>
                  <a:cubicBezTo>
                    <a:pt x="540" y="430"/>
                    <a:pt x="539" y="431"/>
                    <a:pt x="538" y="430"/>
                  </a:cubicBezTo>
                  <a:close/>
                  <a:moveTo>
                    <a:pt x="535" y="429"/>
                  </a:moveTo>
                  <a:cubicBezTo>
                    <a:pt x="533" y="430"/>
                    <a:pt x="531" y="433"/>
                    <a:pt x="535" y="432"/>
                  </a:cubicBezTo>
                  <a:cubicBezTo>
                    <a:pt x="535" y="432"/>
                    <a:pt x="538" y="429"/>
                    <a:pt x="535" y="429"/>
                  </a:cubicBezTo>
                  <a:close/>
                  <a:moveTo>
                    <a:pt x="341" y="409"/>
                  </a:moveTo>
                  <a:cubicBezTo>
                    <a:pt x="342" y="410"/>
                    <a:pt x="342" y="411"/>
                    <a:pt x="342" y="411"/>
                  </a:cubicBezTo>
                  <a:cubicBezTo>
                    <a:pt x="343" y="411"/>
                    <a:pt x="344" y="411"/>
                    <a:pt x="345" y="411"/>
                  </a:cubicBezTo>
                  <a:cubicBezTo>
                    <a:pt x="344" y="413"/>
                    <a:pt x="344" y="414"/>
                    <a:pt x="344" y="415"/>
                  </a:cubicBezTo>
                  <a:cubicBezTo>
                    <a:pt x="343" y="416"/>
                    <a:pt x="342" y="416"/>
                    <a:pt x="342" y="417"/>
                  </a:cubicBezTo>
                  <a:cubicBezTo>
                    <a:pt x="341" y="419"/>
                    <a:pt x="343" y="419"/>
                    <a:pt x="343" y="421"/>
                  </a:cubicBezTo>
                  <a:cubicBezTo>
                    <a:pt x="343" y="421"/>
                    <a:pt x="341" y="422"/>
                    <a:pt x="341" y="422"/>
                  </a:cubicBezTo>
                  <a:cubicBezTo>
                    <a:pt x="338" y="428"/>
                    <a:pt x="342" y="429"/>
                    <a:pt x="335" y="431"/>
                  </a:cubicBezTo>
                  <a:cubicBezTo>
                    <a:pt x="335" y="429"/>
                    <a:pt x="335" y="429"/>
                    <a:pt x="335" y="426"/>
                  </a:cubicBezTo>
                  <a:cubicBezTo>
                    <a:pt x="334" y="421"/>
                    <a:pt x="332" y="423"/>
                    <a:pt x="335" y="418"/>
                  </a:cubicBezTo>
                  <a:cubicBezTo>
                    <a:pt x="337" y="415"/>
                    <a:pt x="339" y="412"/>
                    <a:pt x="341" y="409"/>
                  </a:cubicBezTo>
                  <a:close/>
                  <a:moveTo>
                    <a:pt x="334" y="402"/>
                  </a:moveTo>
                  <a:cubicBezTo>
                    <a:pt x="334" y="404"/>
                    <a:pt x="337" y="408"/>
                    <a:pt x="332" y="409"/>
                  </a:cubicBezTo>
                  <a:cubicBezTo>
                    <a:pt x="331" y="409"/>
                    <a:pt x="331" y="407"/>
                    <a:pt x="330" y="405"/>
                  </a:cubicBezTo>
                  <a:cubicBezTo>
                    <a:pt x="331" y="404"/>
                    <a:pt x="332" y="403"/>
                    <a:pt x="334" y="402"/>
                  </a:cubicBezTo>
                  <a:close/>
                  <a:moveTo>
                    <a:pt x="626" y="391"/>
                  </a:moveTo>
                  <a:cubicBezTo>
                    <a:pt x="627" y="392"/>
                    <a:pt x="627" y="392"/>
                    <a:pt x="627" y="392"/>
                  </a:cubicBezTo>
                  <a:cubicBezTo>
                    <a:pt x="626" y="391"/>
                    <a:pt x="627" y="391"/>
                    <a:pt x="626" y="391"/>
                  </a:cubicBezTo>
                  <a:close/>
                  <a:moveTo>
                    <a:pt x="635" y="374"/>
                  </a:moveTo>
                  <a:cubicBezTo>
                    <a:pt x="635" y="376"/>
                    <a:pt x="635" y="376"/>
                    <a:pt x="635" y="376"/>
                  </a:cubicBezTo>
                  <a:cubicBezTo>
                    <a:pt x="638" y="375"/>
                    <a:pt x="638" y="374"/>
                    <a:pt x="635" y="374"/>
                  </a:cubicBezTo>
                  <a:close/>
                  <a:moveTo>
                    <a:pt x="611" y="353"/>
                  </a:moveTo>
                  <a:cubicBezTo>
                    <a:pt x="611" y="353"/>
                    <a:pt x="613" y="355"/>
                    <a:pt x="613" y="356"/>
                  </a:cubicBezTo>
                  <a:cubicBezTo>
                    <a:pt x="620" y="354"/>
                    <a:pt x="613" y="354"/>
                    <a:pt x="611" y="353"/>
                  </a:cubicBezTo>
                  <a:close/>
                  <a:moveTo>
                    <a:pt x="586" y="328"/>
                  </a:moveTo>
                  <a:cubicBezTo>
                    <a:pt x="585" y="328"/>
                    <a:pt x="587" y="330"/>
                    <a:pt x="587" y="330"/>
                  </a:cubicBezTo>
                  <a:cubicBezTo>
                    <a:pt x="587" y="330"/>
                    <a:pt x="589" y="326"/>
                    <a:pt x="586" y="328"/>
                  </a:cubicBezTo>
                  <a:close/>
                  <a:moveTo>
                    <a:pt x="657" y="320"/>
                  </a:moveTo>
                  <a:cubicBezTo>
                    <a:pt x="657" y="321"/>
                    <a:pt x="659" y="324"/>
                    <a:pt x="657" y="322"/>
                  </a:cubicBezTo>
                  <a:cubicBezTo>
                    <a:pt x="657" y="322"/>
                    <a:pt x="655" y="320"/>
                    <a:pt x="657" y="320"/>
                  </a:cubicBezTo>
                  <a:close/>
                  <a:moveTo>
                    <a:pt x="485" y="299"/>
                  </a:moveTo>
                  <a:cubicBezTo>
                    <a:pt x="486" y="300"/>
                    <a:pt x="487" y="303"/>
                    <a:pt x="488" y="303"/>
                  </a:cubicBezTo>
                  <a:cubicBezTo>
                    <a:pt x="490" y="303"/>
                    <a:pt x="490" y="302"/>
                    <a:pt x="489" y="302"/>
                  </a:cubicBezTo>
                  <a:cubicBezTo>
                    <a:pt x="489" y="302"/>
                    <a:pt x="489" y="300"/>
                    <a:pt x="489" y="300"/>
                  </a:cubicBezTo>
                  <a:cubicBezTo>
                    <a:pt x="488" y="300"/>
                    <a:pt x="486" y="300"/>
                    <a:pt x="485" y="299"/>
                  </a:cubicBezTo>
                  <a:close/>
                  <a:moveTo>
                    <a:pt x="494" y="289"/>
                  </a:moveTo>
                  <a:cubicBezTo>
                    <a:pt x="494" y="290"/>
                    <a:pt x="494" y="290"/>
                    <a:pt x="494" y="290"/>
                  </a:cubicBezTo>
                  <a:cubicBezTo>
                    <a:pt x="496" y="290"/>
                    <a:pt x="496" y="289"/>
                    <a:pt x="494" y="289"/>
                  </a:cubicBezTo>
                  <a:close/>
                  <a:moveTo>
                    <a:pt x="530" y="236"/>
                  </a:moveTo>
                  <a:cubicBezTo>
                    <a:pt x="531" y="237"/>
                    <a:pt x="531" y="237"/>
                    <a:pt x="531" y="237"/>
                  </a:cubicBezTo>
                  <a:cubicBezTo>
                    <a:pt x="531" y="236"/>
                    <a:pt x="532" y="236"/>
                    <a:pt x="530" y="236"/>
                  </a:cubicBezTo>
                  <a:close/>
                  <a:moveTo>
                    <a:pt x="434" y="231"/>
                  </a:moveTo>
                  <a:cubicBezTo>
                    <a:pt x="435" y="233"/>
                    <a:pt x="435" y="233"/>
                    <a:pt x="435" y="233"/>
                  </a:cubicBezTo>
                  <a:cubicBezTo>
                    <a:pt x="434" y="232"/>
                    <a:pt x="435" y="231"/>
                    <a:pt x="434" y="231"/>
                  </a:cubicBezTo>
                  <a:close/>
                  <a:moveTo>
                    <a:pt x="476" y="226"/>
                  </a:moveTo>
                  <a:cubicBezTo>
                    <a:pt x="477" y="226"/>
                    <a:pt x="478" y="228"/>
                    <a:pt x="478" y="228"/>
                  </a:cubicBezTo>
                  <a:cubicBezTo>
                    <a:pt x="478" y="228"/>
                    <a:pt x="482" y="227"/>
                    <a:pt x="480" y="227"/>
                  </a:cubicBezTo>
                  <a:cubicBezTo>
                    <a:pt x="479" y="226"/>
                    <a:pt x="478" y="227"/>
                    <a:pt x="476" y="226"/>
                  </a:cubicBezTo>
                  <a:close/>
                  <a:moveTo>
                    <a:pt x="597" y="205"/>
                  </a:moveTo>
                  <a:cubicBezTo>
                    <a:pt x="596" y="207"/>
                    <a:pt x="596" y="207"/>
                    <a:pt x="596" y="207"/>
                  </a:cubicBezTo>
                  <a:cubicBezTo>
                    <a:pt x="597" y="207"/>
                    <a:pt x="597" y="207"/>
                    <a:pt x="597" y="207"/>
                  </a:cubicBezTo>
                  <a:cubicBezTo>
                    <a:pt x="597" y="207"/>
                    <a:pt x="599" y="204"/>
                    <a:pt x="597" y="205"/>
                  </a:cubicBezTo>
                  <a:close/>
                  <a:moveTo>
                    <a:pt x="546" y="198"/>
                  </a:moveTo>
                  <a:cubicBezTo>
                    <a:pt x="547" y="199"/>
                    <a:pt x="545" y="199"/>
                    <a:pt x="545" y="199"/>
                  </a:cubicBezTo>
                  <a:cubicBezTo>
                    <a:pt x="545" y="199"/>
                    <a:pt x="545" y="198"/>
                    <a:pt x="546" y="198"/>
                  </a:cubicBezTo>
                  <a:close/>
                  <a:moveTo>
                    <a:pt x="545" y="195"/>
                  </a:moveTo>
                  <a:cubicBezTo>
                    <a:pt x="546" y="196"/>
                    <a:pt x="544" y="197"/>
                    <a:pt x="544" y="197"/>
                  </a:cubicBezTo>
                  <a:cubicBezTo>
                    <a:pt x="544" y="196"/>
                    <a:pt x="544" y="195"/>
                    <a:pt x="545" y="195"/>
                  </a:cubicBezTo>
                  <a:close/>
                  <a:moveTo>
                    <a:pt x="533" y="149"/>
                  </a:moveTo>
                  <a:cubicBezTo>
                    <a:pt x="534" y="152"/>
                    <a:pt x="534" y="152"/>
                    <a:pt x="534" y="152"/>
                  </a:cubicBezTo>
                  <a:cubicBezTo>
                    <a:pt x="537" y="149"/>
                    <a:pt x="537" y="150"/>
                    <a:pt x="533" y="149"/>
                  </a:cubicBezTo>
                  <a:close/>
                  <a:moveTo>
                    <a:pt x="448" y="132"/>
                  </a:moveTo>
                  <a:cubicBezTo>
                    <a:pt x="449" y="132"/>
                    <a:pt x="447" y="133"/>
                    <a:pt x="447" y="133"/>
                  </a:cubicBezTo>
                  <a:cubicBezTo>
                    <a:pt x="447" y="132"/>
                    <a:pt x="447" y="131"/>
                    <a:pt x="448" y="132"/>
                  </a:cubicBezTo>
                  <a:close/>
                  <a:moveTo>
                    <a:pt x="504" y="114"/>
                  </a:moveTo>
                  <a:cubicBezTo>
                    <a:pt x="506" y="115"/>
                    <a:pt x="511" y="121"/>
                    <a:pt x="506" y="120"/>
                  </a:cubicBezTo>
                  <a:cubicBezTo>
                    <a:pt x="506" y="120"/>
                    <a:pt x="501" y="113"/>
                    <a:pt x="504" y="114"/>
                  </a:cubicBezTo>
                  <a:close/>
                  <a:moveTo>
                    <a:pt x="449" y="92"/>
                  </a:moveTo>
                  <a:cubicBezTo>
                    <a:pt x="449" y="92"/>
                    <a:pt x="449" y="93"/>
                    <a:pt x="448" y="93"/>
                  </a:cubicBezTo>
                  <a:cubicBezTo>
                    <a:pt x="448" y="92"/>
                    <a:pt x="447" y="91"/>
                    <a:pt x="449" y="92"/>
                  </a:cubicBezTo>
                  <a:close/>
                  <a:moveTo>
                    <a:pt x="447" y="88"/>
                  </a:moveTo>
                  <a:cubicBezTo>
                    <a:pt x="447" y="89"/>
                    <a:pt x="446" y="90"/>
                    <a:pt x="446" y="90"/>
                  </a:cubicBezTo>
                  <a:cubicBezTo>
                    <a:pt x="446" y="90"/>
                    <a:pt x="445" y="88"/>
                    <a:pt x="447" y="88"/>
                  </a:cubicBezTo>
                  <a:close/>
                  <a:moveTo>
                    <a:pt x="577" y="72"/>
                  </a:moveTo>
                  <a:cubicBezTo>
                    <a:pt x="577" y="73"/>
                    <a:pt x="577" y="74"/>
                    <a:pt x="576" y="76"/>
                  </a:cubicBezTo>
                  <a:cubicBezTo>
                    <a:pt x="579" y="77"/>
                    <a:pt x="581" y="77"/>
                    <a:pt x="584" y="78"/>
                  </a:cubicBezTo>
                  <a:cubicBezTo>
                    <a:pt x="585" y="79"/>
                    <a:pt x="585" y="79"/>
                    <a:pt x="585" y="79"/>
                  </a:cubicBezTo>
                  <a:cubicBezTo>
                    <a:pt x="587" y="79"/>
                    <a:pt x="585" y="78"/>
                    <a:pt x="587" y="78"/>
                  </a:cubicBezTo>
                  <a:cubicBezTo>
                    <a:pt x="587" y="77"/>
                    <a:pt x="586" y="76"/>
                    <a:pt x="586" y="74"/>
                  </a:cubicBezTo>
                  <a:cubicBezTo>
                    <a:pt x="588" y="74"/>
                    <a:pt x="587" y="73"/>
                    <a:pt x="587" y="72"/>
                  </a:cubicBezTo>
                  <a:cubicBezTo>
                    <a:pt x="584" y="73"/>
                    <a:pt x="582" y="73"/>
                    <a:pt x="577" y="72"/>
                  </a:cubicBezTo>
                  <a:close/>
                  <a:moveTo>
                    <a:pt x="423" y="56"/>
                  </a:moveTo>
                  <a:cubicBezTo>
                    <a:pt x="426" y="55"/>
                    <a:pt x="423" y="58"/>
                    <a:pt x="421" y="58"/>
                  </a:cubicBezTo>
                  <a:cubicBezTo>
                    <a:pt x="420" y="59"/>
                    <a:pt x="422" y="56"/>
                    <a:pt x="423" y="56"/>
                  </a:cubicBezTo>
                  <a:close/>
                  <a:moveTo>
                    <a:pt x="484" y="29"/>
                  </a:moveTo>
                  <a:cubicBezTo>
                    <a:pt x="485" y="29"/>
                    <a:pt x="488" y="36"/>
                    <a:pt x="486" y="33"/>
                  </a:cubicBezTo>
                  <a:cubicBezTo>
                    <a:pt x="486" y="33"/>
                    <a:pt x="482" y="27"/>
                    <a:pt x="484" y="29"/>
                  </a:cubicBezTo>
                  <a:close/>
                  <a:moveTo>
                    <a:pt x="498" y="27"/>
                  </a:moveTo>
                  <a:cubicBezTo>
                    <a:pt x="499" y="27"/>
                    <a:pt x="499" y="28"/>
                    <a:pt x="498" y="29"/>
                  </a:cubicBezTo>
                  <a:cubicBezTo>
                    <a:pt x="498" y="28"/>
                    <a:pt x="497" y="27"/>
                    <a:pt x="498" y="27"/>
                  </a:cubicBezTo>
                  <a:close/>
                  <a:moveTo>
                    <a:pt x="537" y="21"/>
                  </a:moveTo>
                  <a:cubicBezTo>
                    <a:pt x="540" y="21"/>
                    <a:pt x="541" y="22"/>
                    <a:pt x="543" y="23"/>
                  </a:cubicBezTo>
                  <a:cubicBezTo>
                    <a:pt x="541" y="23"/>
                    <a:pt x="541" y="23"/>
                    <a:pt x="539" y="24"/>
                  </a:cubicBezTo>
                  <a:cubicBezTo>
                    <a:pt x="539" y="24"/>
                    <a:pt x="539" y="22"/>
                    <a:pt x="539" y="22"/>
                  </a:cubicBezTo>
                  <a:cubicBezTo>
                    <a:pt x="538" y="22"/>
                    <a:pt x="535" y="20"/>
                    <a:pt x="537" y="21"/>
                  </a:cubicBezTo>
                  <a:close/>
                  <a:moveTo>
                    <a:pt x="660" y="359"/>
                  </a:moveTo>
                  <a:cubicBezTo>
                    <a:pt x="660" y="362"/>
                    <a:pt x="660" y="362"/>
                    <a:pt x="660" y="362"/>
                  </a:cubicBezTo>
                  <a:cubicBezTo>
                    <a:pt x="660" y="361"/>
                    <a:pt x="662" y="362"/>
                    <a:pt x="663" y="362"/>
                  </a:cubicBezTo>
                  <a:cubicBezTo>
                    <a:pt x="663" y="361"/>
                    <a:pt x="664" y="359"/>
                    <a:pt x="664" y="359"/>
                  </a:cubicBezTo>
                  <a:cubicBezTo>
                    <a:pt x="663" y="359"/>
                    <a:pt x="661" y="359"/>
                    <a:pt x="660" y="359"/>
                  </a:cubicBezTo>
                  <a:close/>
                  <a:moveTo>
                    <a:pt x="537" y="349"/>
                  </a:moveTo>
                  <a:cubicBezTo>
                    <a:pt x="535" y="350"/>
                    <a:pt x="533" y="355"/>
                    <a:pt x="532" y="356"/>
                  </a:cubicBezTo>
                  <a:cubicBezTo>
                    <a:pt x="533" y="357"/>
                    <a:pt x="535" y="357"/>
                    <a:pt x="536" y="358"/>
                  </a:cubicBezTo>
                  <a:cubicBezTo>
                    <a:pt x="537" y="358"/>
                    <a:pt x="540" y="348"/>
                    <a:pt x="537" y="349"/>
                  </a:cubicBezTo>
                  <a:close/>
                  <a:moveTo>
                    <a:pt x="585" y="343"/>
                  </a:moveTo>
                  <a:cubicBezTo>
                    <a:pt x="584" y="343"/>
                    <a:pt x="584" y="344"/>
                    <a:pt x="585" y="344"/>
                  </a:cubicBezTo>
                  <a:cubicBezTo>
                    <a:pt x="585" y="344"/>
                    <a:pt x="586" y="343"/>
                    <a:pt x="585" y="343"/>
                  </a:cubicBezTo>
                  <a:close/>
                  <a:moveTo>
                    <a:pt x="552" y="342"/>
                  </a:moveTo>
                  <a:cubicBezTo>
                    <a:pt x="552" y="342"/>
                    <a:pt x="551" y="343"/>
                    <a:pt x="551" y="343"/>
                  </a:cubicBezTo>
                  <a:cubicBezTo>
                    <a:pt x="551" y="343"/>
                    <a:pt x="554" y="344"/>
                    <a:pt x="554" y="344"/>
                  </a:cubicBezTo>
                  <a:cubicBezTo>
                    <a:pt x="554" y="344"/>
                    <a:pt x="554" y="342"/>
                    <a:pt x="554" y="342"/>
                  </a:cubicBezTo>
                  <a:cubicBezTo>
                    <a:pt x="553" y="342"/>
                    <a:pt x="552" y="342"/>
                    <a:pt x="552" y="342"/>
                  </a:cubicBezTo>
                  <a:close/>
                  <a:moveTo>
                    <a:pt x="560" y="341"/>
                  </a:moveTo>
                  <a:cubicBezTo>
                    <a:pt x="561" y="342"/>
                    <a:pt x="559" y="343"/>
                    <a:pt x="562" y="344"/>
                  </a:cubicBezTo>
                  <a:cubicBezTo>
                    <a:pt x="563" y="344"/>
                    <a:pt x="562" y="341"/>
                    <a:pt x="562" y="341"/>
                  </a:cubicBezTo>
                  <a:cubicBezTo>
                    <a:pt x="561" y="341"/>
                    <a:pt x="560" y="341"/>
                    <a:pt x="560" y="341"/>
                  </a:cubicBezTo>
                  <a:close/>
                  <a:moveTo>
                    <a:pt x="508" y="340"/>
                  </a:moveTo>
                  <a:cubicBezTo>
                    <a:pt x="508" y="340"/>
                    <a:pt x="508" y="342"/>
                    <a:pt x="507" y="342"/>
                  </a:cubicBezTo>
                  <a:cubicBezTo>
                    <a:pt x="507" y="343"/>
                    <a:pt x="501" y="345"/>
                    <a:pt x="501" y="346"/>
                  </a:cubicBezTo>
                  <a:cubicBezTo>
                    <a:pt x="500" y="346"/>
                    <a:pt x="497" y="347"/>
                    <a:pt x="496" y="348"/>
                  </a:cubicBezTo>
                  <a:cubicBezTo>
                    <a:pt x="495" y="348"/>
                    <a:pt x="494" y="349"/>
                    <a:pt x="493" y="350"/>
                  </a:cubicBezTo>
                  <a:cubicBezTo>
                    <a:pt x="494" y="350"/>
                    <a:pt x="492" y="352"/>
                    <a:pt x="492" y="352"/>
                  </a:cubicBezTo>
                  <a:cubicBezTo>
                    <a:pt x="500" y="352"/>
                    <a:pt x="496" y="351"/>
                    <a:pt x="500" y="349"/>
                  </a:cubicBezTo>
                  <a:cubicBezTo>
                    <a:pt x="502" y="348"/>
                    <a:pt x="504" y="349"/>
                    <a:pt x="505" y="348"/>
                  </a:cubicBezTo>
                  <a:cubicBezTo>
                    <a:pt x="506" y="348"/>
                    <a:pt x="506" y="345"/>
                    <a:pt x="507" y="344"/>
                  </a:cubicBezTo>
                  <a:cubicBezTo>
                    <a:pt x="508" y="343"/>
                    <a:pt x="515" y="343"/>
                    <a:pt x="508" y="340"/>
                  </a:cubicBezTo>
                  <a:close/>
                  <a:moveTo>
                    <a:pt x="668" y="337"/>
                  </a:moveTo>
                  <a:cubicBezTo>
                    <a:pt x="668" y="338"/>
                    <a:pt x="668" y="338"/>
                    <a:pt x="668" y="338"/>
                  </a:cubicBezTo>
                  <a:cubicBezTo>
                    <a:pt x="665" y="337"/>
                    <a:pt x="666" y="340"/>
                    <a:pt x="668" y="340"/>
                  </a:cubicBezTo>
                  <a:cubicBezTo>
                    <a:pt x="668" y="341"/>
                    <a:pt x="668" y="342"/>
                    <a:pt x="668" y="343"/>
                  </a:cubicBezTo>
                  <a:cubicBezTo>
                    <a:pt x="669" y="343"/>
                    <a:pt x="671" y="343"/>
                    <a:pt x="671" y="343"/>
                  </a:cubicBezTo>
                  <a:cubicBezTo>
                    <a:pt x="672" y="342"/>
                    <a:pt x="673" y="342"/>
                    <a:pt x="674" y="341"/>
                  </a:cubicBezTo>
                  <a:cubicBezTo>
                    <a:pt x="674" y="341"/>
                    <a:pt x="673" y="335"/>
                    <a:pt x="673" y="338"/>
                  </a:cubicBezTo>
                  <a:cubicBezTo>
                    <a:pt x="672" y="338"/>
                    <a:pt x="670" y="338"/>
                    <a:pt x="669" y="338"/>
                  </a:cubicBezTo>
                  <a:cubicBezTo>
                    <a:pt x="669" y="338"/>
                    <a:pt x="669" y="337"/>
                    <a:pt x="668" y="337"/>
                  </a:cubicBezTo>
                  <a:close/>
                  <a:moveTo>
                    <a:pt x="552" y="337"/>
                  </a:moveTo>
                  <a:cubicBezTo>
                    <a:pt x="551" y="339"/>
                    <a:pt x="551" y="339"/>
                    <a:pt x="551" y="339"/>
                  </a:cubicBezTo>
                  <a:cubicBezTo>
                    <a:pt x="552" y="339"/>
                    <a:pt x="554" y="339"/>
                    <a:pt x="554" y="339"/>
                  </a:cubicBezTo>
                  <a:cubicBezTo>
                    <a:pt x="555" y="340"/>
                    <a:pt x="552" y="337"/>
                    <a:pt x="552" y="337"/>
                  </a:cubicBezTo>
                  <a:close/>
                  <a:moveTo>
                    <a:pt x="607" y="308"/>
                  </a:moveTo>
                  <a:cubicBezTo>
                    <a:pt x="609" y="307"/>
                    <a:pt x="609" y="309"/>
                    <a:pt x="610" y="309"/>
                  </a:cubicBezTo>
                  <a:cubicBezTo>
                    <a:pt x="612" y="309"/>
                    <a:pt x="613" y="309"/>
                    <a:pt x="614" y="308"/>
                  </a:cubicBezTo>
                  <a:cubicBezTo>
                    <a:pt x="614" y="310"/>
                    <a:pt x="614" y="309"/>
                    <a:pt x="615" y="309"/>
                  </a:cubicBezTo>
                  <a:cubicBezTo>
                    <a:pt x="616" y="314"/>
                    <a:pt x="617" y="316"/>
                    <a:pt x="617" y="321"/>
                  </a:cubicBezTo>
                  <a:cubicBezTo>
                    <a:pt x="617" y="321"/>
                    <a:pt x="616" y="321"/>
                    <a:pt x="615" y="321"/>
                  </a:cubicBezTo>
                  <a:cubicBezTo>
                    <a:pt x="615" y="321"/>
                    <a:pt x="615" y="319"/>
                    <a:pt x="615" y="319"/>
                  </a:cubicBezTo>
                  <a:cubicBezTo>
                    <a:pt x="613" y="318"/>
                    <a:pt x="613" y="321"/>
                    <a:pt x="612" y="321"/>
                  </a:cubicBezTo>
                  <a:cubicBezTo>
                    <a:pt x="611" y="321"/>
                    <a:pt x="608" y="321"/>
                    <a:pt x="607" y="320"/>
                  </a:cubicBezTo>
                  <a:cubicBezTo>
                    <a:pt x="606" y="318"/>
                    <a:pt x="606" y="318"/>
                    <a:pt x="606" y="318"/>
                  </a:cubicBezTo>
                  <a:cubicBezTo>
                    <a:pt x="607" y="317"/>
                    <a:pt x="608" y="317"/>
                    <a:pt x="609" y="316"/>
                  </a:cubicBezTo>
                  <a:cubicBezTo>
                    <a:pt x="608" y="314"/>
                    <a:pt x="606" y="308"/>
                    <a:pt x="607" y="310"/>
                  </a:cubicBezTo>
                  <a:cubicBezTo>
                    <a:pt x="606" y="309"/>
                    <a:pt x="606" y="308"/>
                    <a:pt x="607" y="308"/>
                  </a:cubicBezTo>
                  <a:close/>
                  <a:moveTo>
                    <a:pt x="484" y="303"/>
                  </a:moveTo>
                  <a:cubicBezTo>
                    <a:pt x="482" y="309"/>
                    <a:pt x="482" y="317"/>
                    <a:pt x="483" y="324"/>
                  </a:cubicBezTo>
                  <a:cubicBezTo>
                    <a:pt x="481" y="325"/>
                    <a:pt x="478" y="328"/>
                    <a:pt x="475" y="329"/>
                  </a:cubicBezTo>
                  <a:cubicBezTo>
                    <a:pt x="475" y="329"/>
                    <a:pt x="474" y="333"/>
                    <a:pt x="475" y="334"/>
                  </a:cubicBezTo>
                  <a:cubicBezTo>
                    <a:pt x="478" y="335"/>
                    <a:pt x="480" y="332"/>
                    <a:pt x="482" y="332"/>
                  </a:cubicBezTo>
                  <a:cubicBezTo>
                    <a:pt x="485" y="332"/>
                    <a:pt x="484" y="334"/>
                    <a:pt x="482" y="334"/>
                  </a:cubicBezTo>
                  <a:cubicBezTo>
                    <a:pt x="483" y="336"/>
                    <a:pt x="483" y="337"/>
                    <a:pt x="483" y="339"/>
                  </a:cubicBezTo>
                  <a:cubicBezTo>
                    <a:pt x="488" y="339"/>
                    <a:pt x="487" y="339"/>
                    <a:pt x="491" y="338"/>
                  </a:cubicBezTo>
                  <a:cubicBezTo>
                    <a:pt x="491" y="337"/>
                    <a:pt x="491" y="336"/>
                    <a:pt x="491" y="336"/>
                  </a:cubicBezTo>
                  <a:cubicBezTo>
                    <a:pt x="491" y="335"/>
                    <a:pt x="493" y="334"/>
                    <a:pt x="493" y="334"/>
                  </a:cubicBezTo>
                  <a:cubicBezTo>
                    <a:pt x="494" y="331"/>
                    <a:pt x="492" y="328"/>
                    <a:pt x="493" y="325"/>
                  </a:cubicBezTo>
                  <a:cubicBezTo>
                    <a:pt x="493" y="325"/>
                    <a:pt x="496" y="322"/>
                    <a:pt x="496" y="322"/>
                  </a:cubicBezTo>
                  <a:cubicBezTo>
                    <a:pt x="497" y="321"/>
                    <a:pt x="498" y="322"/>
                    <a:pt x="499" y="322"/>
                  </a:cubicBezTo>
                  <a:cubicBezTo>
                    <a:pt x="498" y="321"/>
                    <a:pt x="501" y="321"/>
                    <a:pt x="501" y="321"/>
                  </a:cubicBezTo>
                  <a:cubicBezTo>
                    <a:pt x="502" y="324"/>
                    <a:pt x="501" y="323"/>
                    <a:pt x="502" y="324"/>
                  </a:cubicBezTo>
                  <a:cubicBezTo>
                    <a:pt x="502" y="325"/>
                    <a:pt x="503" y="326"/>
                    <a:pt x="502" y="326"/>
                  </a:cubicBezTo>
                  <a:cubicBezTo>
                    <a:pt x="502" y="327"/>
                    <a:pt x="500" y="327"/>
                    <a:pt x="500" y="328"/>
                  </a:cubicBezTo>
                  <a:cubicBezTo>
                    <a:pt x="500" y="328"/>
                    <a:pt x="500" y="329"/>
                    <a:pt x="500" y="330"/>
                  </a:cubicBezTo>
                  <a:cubicBezTo>
                    <a:pt x="501" y="330"/>
                    <a:pt x="502" y="330"/>
                    <a:pt x="502" y="330"/>
                  </a:cubicBezTo>
                  <a:cubicBezTo>
                    <a:pt x="503" y="330"/>
                    <a:pt x="504" y="332"/>
                    <a:pt x="504" y="332"/>
                  </a:cubicBezTo>
                  <a:cubicBezTo>
                    <a:pt x="509" y="333"/>
                    <a:pt x="511" y="332"/>
                    <a:pt x="515" y="334"/>
                  </a:cubicBezTo>
                  <a:cubicBezTo>
                    <a:pt x="515" y="334"/>
                    <a:pt x="517" y="333"/>
                    <a:pt x="517" y="332"/>
                  </a:cubicBezTo>
                  <a:cubicBezTo>
                    <a:pt x="517" y="332"/>
                    <a:pt x="517" y="329"/>
                    <a:pt x="517" y="328"/>
                  </a:cubicBezTo>
                  <a:cubicBezTo>
                    <a:pt x="519" y="330"/>
                    <a:pt x="518" y="327"/>
                    <a:pt x="518" y="326"/>
                  </a:cubicBezTo>
                  <a:cubicBezTo>
                    <a:pt x="517" y="326"/>
                    <a:pt x="514" y="326"/>
                    <a:pt x="514" y="326"/>
                  </a:cubicBezTo>
                  <a:cubicBezTo>
                    <a:pt x="513" y="326"/>
                    <a:pt x="512" y="325"/>
                    <a:pt x="511" y="326"/>
                  </a:cubicBezTo>
                  <a:cubicBezTo>
                    <a:pt x="511" y="326"/>
                    <a:pt x="509" y="328"/>
                    <a:pt x="509" y="328"/>
                  </a:cubicBezTo>
                  <a:cubicBezTo>
                    <a:pt x="508" y="325"/>
                    <a:pt x="509" y="322"/>
                    <a:pt x="507" y="320"/>
                  </a:cubicBezTo>
                  <a:cubicBezTo>
                    <a:pt x="506" y="320"/>
                    <a:pt x="506" y="320"/>
                    <a:pt x="506" y="320"/>
                  </a:cubicBezTo>
                  <a:cubicBezTo>
                    <a:pt x="506" y="318"/>
                    <a:pt x="506" y="318"/>
                    <a:pt x="506" y="318"/>
                  </a:cubicBezTo>
                  <a:cubicBezTo>
                    <a:pt x="500" y="314"/>
                    <a:pt x="500" y="314"/>
                    <a:pt x="500" y="314"/>
                  </a:cubicBezTo>
                  <a:cubicBezTo>
                    <a:pt x="500" y="313"/>
                    <a:pt x="500" y="313"/>
                    <a:pt x="500" y="313"/>
                  </a:cubicBezTo>
                  <a:cubicBezTo>
                    <a:pt x="499" y="313"/>
                    <a:pt x="499" y="313"/>
                    <a:pt x="499" y="313"/>
                  </a:cubicBezTo>
                  <a:cubicBezTo>
                    <a:pt x="499" y="312"/>
                    <a:pt x="499" y="311"/>
                    <a:pt x="498" y="310"/>
                  </a:cubicBezTo>
                  <a:cubicBezTo>
                    <a:pt x="496" y="309"/>
                    <a:pt x="494" y="311"/>
                    <a:pt x="492" y="310"/>
                  </a:cubicBezTo>
                  <a:cubicBezTo>
                    <a:pt x="491" y="308"/>
                    <a:pt x="491" y="308"/>
                    <a:pt x="491" y="308"/>
                  </a:cubicBezTo>
                  <a:cubicBezTo>
                    <a:pt x="489" y="308"/>
                    <a:pt x="490" y="310"/>
                    <a:pt x="488" y="311"/>
                  </a:cubicBezTo>
                  <a:cubicBezTo>
                    <a:pt x="487" y="310"/>
                    <a:pt x="487" y="310"/>
                    <a:pt x="486" y="310"/>
                  </a:cubicBezTo>
                  <a:cubicBezTo>
                    <a:pt x="485" y="308"/>
                    <a:pt x="485" y="308"/>
                    <a:pt x="485" y="308"/>
                  </a:cubicBezTo>
                  <a:cubicBezTo>
                    <a:pt x="487" y="306"/>
                    <a:pt x="490" y="305"/>
                    <a:pt x="486" y="304"/>
                  </a:cubicBezTo>
                  <a:lnTo>
                    <a:pt x="484" y="303"/>
                  </a:lnTo>
                  <a:close/>
                  <a:moveTo>
                    <a:pt x="613" y="275"/>
                  </a:moveTo>
                  <a:cubicBezTo>
                    <a:pt x="613" y="276"/>
                    <a:pt x="617" y="281"/>
                    <a:pt x="617" y="281"/>
                  </a:cubicBezTo>
                  <a:cubicBezTo>
                    <a:pt x="619" y="282"/>
                    <a:pt x="620" y="280"/>
                    <a:pt x="622" y="281"/>
                  </a:cubicBezTo>
                  <a:cubicBezTo>
                    <a:pt x="623" y="282"/>
                    <a:pt x="623" y="282"/>
                    <a:pt x="623" y="282"/>
                  </a:cubicBezTo>
                  <a:cubicBezTo>
                    <a:pt x="624" y="283"/>
                    <a:pt x="627" y="283"/>
                    <a:pt x="629" y="284"/>
                  </a:cubicBezTo>
                  <a:cubicBezTo>
                    <a:pt x="629" y="284"/>
                    <a:pt x="629" y="286"/>
                    <a:pt x="629" y="286"/>
                  </a:cubicBezTo>
                  <a:cubicBezTo>
                    <a:pt x="629" y="286"/>
                    <a:pt x="630" y="286"/>
                    <a:pt x="631" y="286"/>
                  </a:cubicBezTo>
                  <a:cubicBezTo>
                    <a:pt x="631" y="287"/>
                    <a:pt x="631" y="289"/>
                    <a:pt x="632" y="289"/>
                  </a:cubicBezTo>
                  <a:cubicBezTo>
                    <a:pt x="631" y="289"/>
                    <a:pt x="632" y="289"/>
                    <a:pt x="631" y="290"/>
                  </a:cubicBezTo>
                  <a:cubicBezTo>
                    <a:pt x="630" y="290"/>
                    <a:pt x="629" y="291"/>
                    <a:pt x="627" y="290"/>
                  </a:cubicBezTo>
                  <a:cubicBezTo>
                    <a:pt x="627" y="290"/>
                    <a:pt x="627" y="289"/>
                    <a:pt x="626" y="289"/>
                  </a:cubicBezTo>
                  <a:cubicBezTo>
                    <a:pt x="626" y="289"/>
                    <a:pt x="625" y="291"/>
                    <a:pt x="625" y="291"/>
                  </a:cubicBezTo>
                  <a:cubicBezTo>
                    <a:pt x="624" y="292"/>
                    <a:pt x="623" y="291"/>
                    <a:pt x="622" y="292"/>
                  </a:cubicBezTo>
                  <a:cubicBezTo>
                    <a:pt x="623" y="292"/>
                    <a:pt x="619" y="291"/>
                    <a:pt x="620" y="291"/>
                  </a:cubicBezTo>
                  <a:cubicBezTo>
                    <a:pt x="620" y="292"/>
                    <a:pt x="619" y="293"/>
                    <a:pt x="618" y="293"/>
                  </a:cubicBezTo>
                  <a:cubicBezTo>
                    <a:pt x="617" y="294"/>
                    <a:pt x="617" y="295"/>
                    <a:pt x="617" y="296"/>
                  </a:cubicBezTo>
                  <a:cubicBezTo>
                    <a:pt x="615" y="295"/>
                    <a:pt x="615" y="295"/>
                    <a:pt x="614" y="294"/>
                  </a:cubicBezTo>
                  <a:cubicBezTo>
                    <a:pt x="612" y="291"/>
                    <a:pt x="614" y="293"/>
                    <a:pt x="613" y="289"/>
                  </a:cubicBezTo>
                  <a:cubicBezTo>
                    <a:pt x="613" y="288"/>
                    <a:pt x="611" y="287"/>
                    <a:pt x="611" y="286"/>
                  </a:cubicBezTo>
                  <a:cubicBezTo>
                    <a:pt x="610" y="285"/>
                    <a:pt x="610" y="283"/>
                    <a:pt x="610" y="283"/>
                  </a:cubicBezTo>
                  <a:cubicBezTo>
                    <a:pt x="611" y="284"/>
                    <a:pt x="611" y="277"/>
                    <a:pt x="611" y="276"/>
                  </a:cubicBezTo>
                  <a:lnTo>
                    <a:pt x="613" y="275"/>
                  </a:lnTo>
                  <a:close/>
                  <a:moveTo>
                    <a:pt x="474" y="270"/>
                  </a:moveTo>
                  <a:cubicBezTo>
                    <a:pt x="474" y="272"/>
                    <a:pt x="474" y="272"/>
                    <a:pt x="474" y="272"/>
                  </a:cubicBezTo>
                  <a:cubicBezTo>
                    <a:pt x="474" y="272"/>
                    <a:pt x="475" y="272"/>
                    <a:pt x="476" y="273"/>
                  </a:cubicBezTo>
                  <a:cubicBezTo>
                    <a:pt x="475" y="271"/>
                    <a:pt x="477" y="269"/>
                    <a:pt x="474" y="270"/>
                  </a:cubicBezTo>
                  <a:close/>
                  <a:moveTo>
                    <a:pt x="583" y="262"/>
                  </a:moveTo>
                  <a:cubicBezTo>
                    <a:pt x="583" y="262"/>
                    <a:pt x="582" y="265"/>
                    <a:pt x="581" y="266"/>
                  </a:cubicBezTo>
                  <a:cubicBezTo>
                    <a:pt x="582" y="266"/>
                    <a:pt x="584" y="266"/>
                    <a:pt x="585" y="267"/>
                  </a:cubicBezTo>
                  <a:cubicBezTo>
                    <a:pt x="587" y="265"/>
                    <a:pt x="587" y="265"/>
                    <a:pt x="587" y="265"/>
                  </a:cubicBezTo>
                  <a:cubicBezTo>
                    <a:pt x="587" y="264"/>
                    <a:pt x="587" y="263"/>
                    <a:pt x="587" y="263"/>
                  </a:cubicBezTo>
                  <a:cubicBezTo>
                    <a:pt x="586" y="262"/>
                    <a:pt x="584" y="262"/>
                    <a:pt x="583" y="262"/>
                  </a:cubicBezTo>
                  <a:close/>
                  <a:moveTo>
                    <a:pt x="570" y="259"/>
                  </a:moveTo>
                  <a:cubicBezTo>
                    <a:pt x="567" y="260"/>
                    <a:pt x="563" y="263"/>
                    <a:pt x="564" y="267"/>
                  </a:cubicBezTo>
                  <a:cubicBezTo>
                    <a:pt x="566" y="269"/>
                    <a:pt x="566" y="269"/>
                    <a:pt x="566" y="269"/>
                  </a:cubicBezTo>
                  <a:cubicBezTo>
                    <a:pt x="566" y="269"/>
                    <a:pt x="565" y="270"/>
                    <a:pt x="566" y="271"/>
                  </a:cubicBezTo>
                  <a:cubicBezTo>
                    <a:pt x="566" y="271"/>
                    <a:pt x="568" y="272"/>
                    <a:pt x="568" y="273"/>
                  </a:cubicBezTo>
                  <a:cubicBezTo>
                    <a:pt x="570" y="272"/>
                    <a:pt x="572" y="271"/>
                    <a:pt x="574" y="271"/>
                  </a:cubicBezTo>
                  <a:cubicBezTo>
                    <a:pt x="574" y="269"/>
                    <a:pt x="574" y="268"/>
                    <a:pt x="574" y="266"/>
                  </a:cubicBezTo>
                  <a:cubicBezTo>
                    <a:pt x="575" y="265"/>
                    <a:pt x="575" y="265"/>
                    <a:pt x="575" y="265"/>
                  </a:cubicBezTo>
                  <a:cubicBezTo>
                    <a:pt x="575" y="264"/>
                    <a:pt x="575" y="263"/>
                    <a:pt x="575" y="263"/>
                  </a:cubicBezTo>
                  <a:cubicBezTo>
                    <a:pt x="575" y="262"/>
                    <a:pt x="574" y="262"/>
                    <a:pt x="573" y="261"/>
                  </a:cubicBezTo>
                  <a:cubicBezTo>
                    <a:pt x="572" y="261"/>
                    <a:pt x="572" y="259"/>
                    <a:pt x="572" y="259"/>
                  </a:cubicBezTo>
                  <a:cubicBezTo>
                    <a:pt x="571" y="258"/>
                    <a:pt x="570" y="259"/>
                    <a:pt x="570" y="259"/>
                  </a:cubicBezTo>
                  <a:close/>
                  <a:moveTo>
                    <a:pt x="585" y="254"/>
                  </a:moveTo>
                  <a:cubicBezTo>
                    <a:pt x="586" y="255"/>
                    <a:pt x="585" y="256"/>
                    <a:pt x="585" y="257"/>
                  </a:cubicBezTo>
                  <a:cubicBezTo>
                    <a:pt x="586" y="257"/>
                    <a:pt x="585" y="258"/>
                    <a:pt x="585" y="259"/>
                  </a:cubicBezTo>
                  <a:cubicBezTo>
                    <a:pt x="586" y="259"/>
                    <a:pt x="587" y="258"/>
                    <a:pt x="587" y="259"/>
                  </a:cubicBezTo>
                  <a:cubicBezTo>
                    <a:pt x="587" y="258"/>
                    <a:pt x="587" y="256"/>
                    <a:pt x="587" y="256"/>
                  </a:cubicBezTo>
                  <a:cubicBezTo>
                    <a:pt x="587" y="255"/>
                    <a:pt x="586" y="254"/>
                    <a:pt x="585" y="254"/>
                  </a:cubicBezTo>
                  <a:close/>
                  <a:moveTo>
                    <a:pt x="538" y="251"/>
                  </a:moveTo>
                  <a:cubicBezTo>
                    <a:pt x="538" y="251"/>
                    <a:pt x="538" y="254"/>
                    <a:pt x="538" y="254"/>
                  </a:cubicBezTo>
                  <a:cubicBezTo>
                    <a:pt x="538" y="254"/>
                    <a:pt x="540" y="254"/>
                    <a:pt x="540" y="254"/>
                  </a:cubicBezTo>
                  <a:cubicBezTo>
                    <a:pt x="540" y="254"/>
                    <a:pt x="543" y="254"/>
                    <a:pt x="542" y="254"/>
                  </a:cubicBezTo>
                  <a:cubicBezTo>
                    <a:pt x="544" y="255"/>
                    <a:pt x="543" y="252"/>
                    <a:pt x="543" y="252"/>
                  </a:cubicBezTo>
                  <a:cubicBezTo>
                    <a:pt x="541" y="251"/>
                    <a:pt x="540" y="251"/>
                    <a:pt x="538" y="251"/>
                  </a:cubicBezTo>
                  <a:close/>
                  <a:moveTo>
                    <a:pt x="544" y="241"/>
                  </a:moveTo>
                  <a:cubicBezTo>
                    <a:pt x="544" y="241"/>
                    <a:pt x="544" y="243"/>
                    <a:pt x="545" y="243"/>
                  </a:cubicBezTo>
                  <a:cubicBezTo>
                    <a:pt x="546" y="244"/>
                    <a:pt x="545" y="241"/>
                    <a:pt x="545" y="241"/>
                  </a:cubicBezTo>
                  <a:lnTo>
                    <a:pt x="544" y="241"/>
                  </a:lnTo>
                  <a:close/>
                  <a:moveTo>
                    <a:pt x="567" y="239"/>
                  </a:moveTo>
                  <a:cubicBezTo>
                    <a:pt x="567" y="239"/>
                    <a:pt x="566" y="241"/>
                    <a:pt x="566" y="241"/>
                  </a:cubicBezTo>
                  <a:cubicBezTo>
                    <a:pt x="566" y="241"/>
                    <a:pt x="566" y="241"/>
                    <a:pt x="566" y="242"/>
                  </a:cubicBezTo>
                  <a:cubicBezTo>
                    <a:pt x="567" y="242"/>
                    <a:pt x="568" y="242"/>
                    <a:pt x="569" y="242"/>
                  </a:cubicBezTo>
                  <a:cubicBezTo>
                    <a:pt x="570" y="239"/>
                    <a:pt x="570" y="239"/>
                    <a:pt x="570" y="239"/>
                  </a:cubicBezTo>
                  <a:cubicBezTo>
                    <a:pt x="569" y="239"/>
                    <a:pt x="567" y="240"/>
                    <a:pt x="567" y="239"/>
                  </a:cubicBezTo>
                  <a:close/>
                  <a:moveTo>
                    <a:pt x="548" y="237"/>
                  </a:moveTo>
                  <a:cubicBezTo>
                    <a:pt x="548" y="237"/>
                    <a:pt x="548" y="240"/>
                    <a:pt x="548" y="240"/>
                  </a:cubicBezTo>
                  <a:cubicBezTo>
                    <a:pt x="550" y="239"/>
                    <a:pt x="550" y="239"/>
                    <a:pt x="550" y="239"/>
                  </a:cubicBezTo>
                  <a:cubicBezTo>
                    <a:pt x="550" y="238"/>
                    <a:pt x="550" y="237"/>
                    <a:pt x="550" y="237"/>
                  </a:cubicBezTo>
                  <a:cubicBezTo>
                    <a:pt x="550" y="237"/>
                    <a:pt x="548" y="237"/>
                    <a:pt x="548" y="237"/>
                  </a:cubicBezTo>
                  <a:close/>
                  <a:moveTo>
                    <a:pt x="542" y="233"/>
                  </a:moveTo>
                  <a:cubicBezTo>
                    <a:pt x="541" y="233"/>
                    <a:pt x="539" y="235"/>
                    <a:pt x="538" y="235"/>
                  </a:cubicBezTo>
                  <a:cubicBezTo>
                    <a:pt x="536" y="236"/>
                    <a:pt x="534" y="235"/>
                    <a:pt x="532" y="235"/>
                  </a:cubicBezTo>
                  <a:cubicBezTo>
                    <a:pt x="532" y="236"/>
                    <a:pt x="531" y="237"/>
                    <a:pt x="532" y="237"/>
                  </a:cubicBezTo>
                  <a:cubicBezTo>
                    <a:pt x="531" y="237"/>
                    <a:pt x="533" y="238"/>
                    <a:pt x="533" y="238"/>
                  </a:cubicBezTo>
                  <a:cubicBezTo>
                    <a:pt x="532" y="238"/>
                    <a:pt x="534" y="239"/>
                    <a:pt x="534" y="239"/>
                  </a:cubicBezTo>
                  <a:cubicBezTo>
                    <a:pt x="534" y="238"/>
                    <a:pt x="536" y="237"/>
                    <a:pt x="536" y="237"/>
                  </a:cubicBezTo>
                  <a:cubicBezTo>
                    <a:pt x="536" y="238"/>
                    <a:pt x="537" y="240"/>
                    <a:pt x="537" y="240"/>
                  </a:cubicBezTo>
                  <a:cubicBezTo>
                    <a:pt x="538" y="240"/>
                    <a:pt x="538" y="240"/>
                    <a:pt x="538" y="240"/>
                  </a:cubicBezTo>
                  <a:cubicBezTo>
                    <a:pt x="539" y="240"/>
                    <a:pt x="550" y="232"/>
                    <a:pt x="542" y="233"/>
                  </a:cubicBezTo>
                  <a:close/>
                  <a:moveTo>
                    <a:pt x="623" y="232"/>
                  </a:moveTo>
                  <a:cubicBezTo>
                    <a:pt x="629" y="232"/>
                    <a:pt x="627" y="233"/>
                    <a:pt x="629" y="234"/>
                  </a:cubicBezTo>
                  <a:cubicBezTo>
                    <a:pt x="628" y="234"/>
                    <a:pt x="618" y="232"/>
                    <a:pt x="623" y="232"/>
                  </a:cubicBezTo>
                  <a:close/>
                  <a:moveTo>
                    <a:pt x="474" y="229"/>
                  </a:moveTo>
                  <a:cubicBezTo>
                    <a:pt x="475" y="236"/>
                    <a:pt x="474" y="236"/>
                    <a:pt x="481" y="237"/>
                  </a:cubicBezTo>
                  <a:cubicBezTo>
                    <a:pt x="478" y="235"/>
                    <a:pt x="475" y="232"/>
                    <a:pt x="474" y="229"/>
                  </a:cubicBezTo>
                  <a:close/>
                  <a:moveTo>
                    <a:pt x="622" y="227"/>
                  </a:moveTo>
                  <a:cubicBezTo>
                    <a:pt x="622" y="227"/>
                    <a:pt x="622" y="229"/>
                    <a:pt x="622" y="229"/>
                  </a:cubicBezTo>
                  <a:cubicBezTo>
                    <a:pt x="619" y="230"/>
                    <a:pt x="621" y="227"/>
                    <a:pt x="622" y="227"/>
                  </a:cubicBezTo>
                  <a:close/>
                  <a:moveTo>
                    <a:pt x="615" y="220"/>
                  </a:moveTo>
                  <a:cubicBezTo>
                    <a:pt x="618" y="220"/>
                    <a:pt x="616" y="223"/>
                    <a:pt x="616" y="223"/>
                  </a:cubicBezTo>
                  <a:cubicBezTo>
                    <a:pt x="616" y="223"/>
                    <a:pt x="614" y="223"/>
                    <a:pt x="614" y="223"/>
                  </a:cubicBezTo>
                  <a:cubicBezTo>
                    <a:pt x="614" y="222"/>
                    <a:pt x="613" y="220"/>
                    <a:pt x="615" y="220"/>
                  </a:cubicBezTo>
                  <a:close/>
                  <a:moveTo>
                    <a:pt x="604" y="216"/>
                  </a:moveTo>
                  <a:cubicBezTo>
                    <a:pt x="604" y="216"/>
                    <a:pt x="604" y="218"/>
                    <a:pt x="604" y="218"/>
                  </a:cubicBezTo>
                  <a:cubicBezTo>
                    <a:pt x="602" y="219"/>
                    <a:pt x="603" y="216"/>
                    <a:pt x="604" y="216"/>
                  </a:cubicBezTo>
                  <a:close/>
                  <a:moveTo>
                    <a:pt x="387" y="173"/>
                  </a:moveTo>
                  <a:cubicBezTo>
                    <a:pt x="387" y="176"/>
                    <a:pt x="387" y="176"/>
                    <a:pt x="387" y="176"/>
                  </a:cubicBezTo>
                  <a:cubicBezTo>
                    <a:pt x="387" y="176"/>
                    <a:pt x="389" y="176"/>
                    <a:pt x="389" y="176"/>
                  </a:cubicBezTo>
                  <a:cubicBezTo>
                    <a:pt x="389" y="173"/>
                    <a:pt x="389" y="173"/>
                    <a:pt x="389" y="173"/>
                  </a:cubicBezTo>
                  <a:cubicBezTo>
                    <a:pt x="388" y="173"/>
                    <a:pt x="387" y="174"/>
                    <a:pt x="387" y="173"/>
                  </a:cubicBezTo>
                  <a:close/>
                  <a:moveTo>
                    <a:pt x="550" y="163"/>
                  </a:moveTo>
                  <a:cubicBezTo>
                    <a:pt x="547" y="163"/>
                    <a:pt x="544" y="165"/>
                    <a:pt x="542" y="166"/>
                  </a:cubicBezTo>
                  <a:cubicBezTo>
                    <a:pt x="542" y="166"/>
                    <a:pt x="542" y="166"/>
                    <a:pt x="542" y="166"/>
                  </a:cubicBezTo>
                  <a:cubicBezTo>
                    <a:pt x="539" y="166"/>
                    <a:pt x="537" y="164"/>
                    <a:pt x="535" y="164"/>
                  </a:cubicBezTo>
                  <a:cubicBezTo>
                    <a:pt x="532" y="163"/>
                    <a:pt x="532" y="165"/>
                    <a:pt x="530" y="166"/>
                  </a:cubicBezTo>
                  <a:cubicBezTo>
                    <a:pt x="529" y="166"/>
                    <a:pt x="528" y="166"/>
                    <a:pt x="527" y="166"/>
                  </a:cubicBezTo>
                  <a:cubicBezTo>
                    <a:pt x="522" y="169"/>
                    <a:pt x="523" y="175"/>
                    <a:pt x="522" y="179"/>
                  </a:cubicBezTo>
                  <a:cubicBezTo>
                    <a:pt x="521" y="176"/>
                    <a:pt x="521" y="185"/>
                    <a:pt x="525" y="186"/>
                  </a:cubicBezTo>
                  <a:cubicBezTo>
                    <a:pt x="529" y="187"/>
                    <a:pt x="530" y="184"/>
                    <a:pt x="532" y="184"/>
                  </a:cubicBezTo>
                  <a:cubicBezTo>
                    <a:pt x="535" y="184"/>
                    <a:pt x="537" y="186"/>
                    <a:pt x="540" y="185"/>
                  </a:cubicBezTo>
                  <a:cubicBezTo>
                    <a:pt x="544" y="185"/>
                    <a:pt x="545" y="181"/>
                    <a:pt x="548" y="180"/>
                  </a:cubicBezTo>
                  <a:cubicBezTo>
                    <a:pt x="549" y="180"/>
                    <a:pt x="550" y="181"/>
                    <a:pt x="552" y="180"/>
                  </a:cubicBezTo>
                  <a:cubicBezTo>
                    <a:pt x="552" y="180"/>
                    <a:pt x="553" y="178"/>
                    <a:pt x="553" y="178"/>
                  </a:cubicBezTo>
                  <a:cubicBezTo>
                    <a:pt x="554" y="178"/>
                    <a:pt x="555" y="179"/>
                    <a:pt x="558" y="179"/>
                  </a:cubicBezTo>
                  <a:cubicBezTo>
                    <a:pt x="558" y="179"/>
                    <a:pt x="559" y="177"/>
                    <a:pt x="560" y="177"/>
                  </a:cubicBezTo>
                  <a:cubicBezTo>
                    <a:pt x="559" y="176"/>
                    <a:pt x="560" y="176"/>
                    <a:pt x="560" y="175"/>
                  </a:cubicBezTo>
                  <a:cubicBezTo>
                    <a:pt x="558" y="174"/>
                    <a:pt x="558" y="174"/>
                    <a:pt x="558" y="174"/>
                  </a:cubicBezTo>
                  <a:cubicBezTo>
                    <a:pt x="557" y="172"/>
                    <a:pt x="556" y="169"/>
                    <a:pt x="556" y="168"/>
                  </a:cubicBezTo>
                  <a:cubicBezTo>
                    <a:pt x="555" y="166"/>
                    <a:pt x="555" y="166"/>
                    <a:pt x="555" y="164"/>
                  </a:cubicBezTo>
                  <a:cubicBezTo>
                    <a:pt x="554" y="164"/>
                    <a:pt x="552" y="165"/>
                    <a:pt x="552" y="165"/>
                  </a:cubicBezTo>
                  <a:cubicBezTo>
                    <a:pt x="551" y="165"/>
                    <a:pt x="551" y="163"/>
                    <a:pt x="550" y="163"/>
                  </a:cubicBezTo>
                  <a:close/>
                  <a:moveTo>
                    <a:pt x="397" y="156"/>
                  </a:moveTo>
                  <a:cubicBezTo>
                    <a:pt x="397" y="156"/>
                    <a:pt x="397" y="157"/>
                    <a:pt x="397" y="158"/>
                  </a:cubicBezTo>
                  <a:cubicBezTo>
                    <a:pt x="399" y="158"/>
                    <a:pt x="399" y="156"/>
                    <a:pt x="397" y="156"/>
                  </a:cubicBezTo>
                  <a:close/>
                  <a:moveTo>
                    <a:pt x="381" y="153"/>
                  </a:moveTo>
                  <a:cubicBezTo>
                    <a:pt x="380" y="153"/>
                    <a:pt x="378" y="156"/>
                    <a:pt x="381" y="156"/>
                  </a:cubicBezTo>
                  <a:cubicBezTo>
                    <a:pt x="381" y="156"/>
                    <a:pt x="383" y="152"/>
                    <a:pt x="381" y="153"/>
                  </a:cubicBezTo>
                  <a:close/>
                  <a:moveTo>
                    <a:pt x="399" y="135"/>
                  </a:moveTo>
                  <a:cubicBezTo>
                    <a:pt x="399" y="137"/>
                    <a:pt x="398" y="141"/>
                    <a:pt x="396" y="142"/>
                  </a:cubicBezTo>
                  <a:cubicBezTo>
                    <a:pt x="395" y="142"/>
                    <a:pt x="394" y="141"/>
                    <a:pt x="393" y="142"/>
                  </a:cubicBezTo>
                  <a:cubicBezTo>
                    <a:pt x="393" y="143"/>
                    <a:pt x="394" y="144"/>
                    <a:pt x="393" y="145"/>
                  </a:cubicBezTo>
                  <a:cubicBezTo>
                    <a:pt x="393" y="145"/>
                    <a:pt x="391" y="147"/>
                    <a:pt x="391" y="147"/>
                  </a:cubicBezTo>
                  <a:cubicBezTo>
                    <a:pt x="391" y="148"/>
                    <a:pt x="392" y="150"/>
                    <a:pt x="392" y="150"/>
                  </a:cubicBezTo>
                  <a:cubicBezTo>
                    <a:pt x="393" y="150"/>
                    <a:pt x="393" y="149"/>
                    <a:pt x="393" y="149"/>
                  </a:cubicBezTo>
                  <a:cubicBezTo>
                    <a:pt x="394" y="149"/>
                    <a:pt x="395" y="149"/>
                    <a:pt x="396" y="150"/>
                  </a:cubicBezTo>
                  <a:cubicBezTo>
                    <a:pt x="397" y="150"/>
                    <a:pt x="397" y="151"/>
                    <a:pt x="397" y="152"/>
                  </a:cubicBezTo>
                  <a:cubicBezTo>
                    <a:pt x="398" y="152"/>
                    <a:pt x="404" y="154"/>
                    <a:pt x="405" y="154"/>
                  </a:cubicBezTo>
                  <a:cubicBezTo>
                    <a:pt x="405" y="154"/>
                    <a:pt x="405" y="152"/>
                    <a:pt x="407" y="153"/>
                  </a:cubicBezTo>
                  <a:cubicBezTo>
                    <a:pt x="407" y="153"/>
                    <a:pt x="408" y="155"/>
                    <a:pt x="409" y="156"/>
                  </a:cubicBezTo>
                  <a:cubicBezTo>
                    <a:pt x="410" y="155"/>
                    <a:pt x="411" y="155"/>
                    <a:pt x="412" y="155"/>
                  </a:cubicBezTo>
                  <a:cubicBezTo>
                    <a:pt x="413" y="151"/>
                    <a:pt x="415" y="145"/>
                    <a:pt x="413" y="141"/>
                  </a:cubicBezTo>
                  <a:cubicBezTo>
                    <a:pt x="413" y="140"/>
                    <a:pt x="411" y="140"/>
                    <a:pt x="410" y="139"/>
                  </a:cubicBezTo>
                  <a:cubicBezTo>
                    <a:pt x="409" y="138"/>
                    <a:pt x="410" y="137"/>
                    <a:pt x="409" y="136"/>
                  </a:cubicBezTo>
                  <a:cubicBezTo>
                    <a:pt x="408" y="135"/>
                    <a:pt x="401" y="135"/>
                    <a:pt x="399" y="135"/>
                  </a:cubicBezTo>
                  <a:close/>
                  <a:moveTo>
                    <a:pt x="395" y="133"/>
                  </a:moveTo>
                  <a:cubicBezTo>
                    <a:pt x="395" y="133"/>
                    <a:pt x="394" y="135"/>
                    <a:pt x="393" y="136"/>
                  </a:cubicBezTo>
                  <a:cubicBezTo>
                    <a:pt x="392" y="137"/>
                    <a:pt x="390" y="136"/>
                    <a:pt x="388" y="137"/>
                  </a:cubicBezTo>
                  <a:cubicBezTo>
                    <a:pt x="388" y="139"/>
                    <a:pt x="388" y="140"/>
                    <a:pt x="389" y="140"/>
                  </a:cubicBezTo>
                  <a:cubicBezTo>
                    <a:pt x="389" y="139"/>
                    <a:pt x="390" y="140"/>
                    <a:pt x="391" y="140"/>
                  </a:cubicBezTo>
                  <a:cubicBezTo>
                    <a:pt x="391" y="140"/>
                    <a:pt x="392" y="137"/>
                    <a:pt x="392" y="137"/>
                  </a:cubicBezTo>
                  <a:cubicBezTo>
                    <a:pt x="393" y="137"/>
                    <a:pt x="394" y="137"/>
                    <a:pt x="395" y="137"/>
                  </a:cubicBezTo>
                  <a:cubicBezTo>
                    <a:pt x="395" y="137"/>
                    <a:pt x="397" y="132"/>
                    <a:pt x="395" y="133"/>
                  </a:cubicBezTo>
                  <a:close/>
                  <a:moveTo>
                    <a:pt x="389" y="132"/>
                  </a:moveTo>
                  <a:cubicBezTo>
                    <a:pt x="390" y="134"/>
                    <a:pt x="390" y="134"/>
                    <a:pt x="390" y="134"/>
                  </a:cubicBezTo>
                  <a:cubicBezTo>
                    <a:pt x="390" y="133"/>
                    <a:pt x="391" y="132"/>
                    <a:pt x="389" y="132"/>
                  </a:cubicBezTo>
                  <a:close/>
                  <a:moveTo>
                    <a:pt x="386" y="132"/>
                  </a:moveTo>
                  <a:cubicBezTo>
                    <a:pt x="386" y="132"/>
                    <a:pt x="386" y="134"/>
                    <a:pt x="386" y="134"/>
                  </a:cubicBezTo>
                  <a:cubicBezTo>
                    <a:pt x="388" y="135"/>
                    <a:pt x="387" y="133"/>
                    <a:pt x="386" y="132"/>
                  </a:cubicBezTo>
                  <a:close/>
                  <a:moveTo>
                    <a:pt x="404" y="131"/>
                  </a:moveTo>
                  <a:cubicBezTo>
                    <a:pt x="402" y="131"/>
                    <a:pt x="404" y="133"/>
                    <a:pt x="405" y="133"/>
                  </a:cubicBezTo>
                  <a:cubicBezTo>
                    <a:pt x="405" y="133"/>
                    <a:pt x="407" y="130"/>
                    <a:pt x="404" y="131"/>
                  </a:cubicBezTo>
                  <a:close/>
                  <a:moveTo>
                    <a:pt x="538" y="128"/>
                  </a:moveTo>
                  <a:cubicBezTo>
                    <a:pt x="537" y="128"/>
                    <a:pt x="535" y="129"/>
                    <a:pt x="535" y="130"/>
                  </a:cubicBezTo>
                  <a:cubicBezTo>
                    <a:pt x="535" y="130"/>
                    <a:pt x="533" y="130"/>
                    <a:pt x="533" y="130"/>
                  </a:cubicBezTo>
                  <a:cubicBezTo>
                    <a:pt x="534" y="130"/>
                    <a:pt x="532" y="130"/>
                    <a:pt x="532" y="130"/>
                  </a:cubicBezTo>
                  <a:cubicBezTo>
                    <a:pt x="533" y="132"/>
                    <a:pt x="533" y="132"/>
                    <a:pt x="533" y="132"/>
                  </a:cubicBezTo>
                  <a:cubicBezTo>
                    <a:pt x="534" y="132"/>
                    <a:pt x="535" y="131"/>
                    <a:pt x="536" y="132"/>
                  </a:cubicBezTo>
                  <a:cubicBezTo>
                    <a:pt x="536" y="132"/>
                    <a:pt x="537" y="133"/>
                    <a:pt x="538" y="134"/>
                  </a:cubicBezTo>
                  <a:cubicBezTo>
                    <a:pt x="538" y="133"/>
                    <a:pt x="537" y="132"/>
                    <a:pt x="538" y="131"/>
                  </a:cubicBezTo>
                  <a:cubicBezTo>
                    <a:pt x="538" y="130"/>
                    <a:pt x="544" y="127"/>
                    <a:pt x="538" y="128"/>
                  </a:cubicBezTo>
                  <a:close/>
                  <a:moveTo>
                    <a:pt x="443" y="114"/>
                  </a:moveTo>
                  <a:cubicBezTo>
                    <a:pt x="442" y="114"/>
                    <a:pt x="441" y="114"/>
                    <a:pt x="440" y="114"/>
                  </a:cubicBezTo>
                  <a:cubicBezTo>
                    <a:pt x="439" y="116"/>
                    <a:pt x="439" y="116"/>
                    <a:pt x="439" y="116"/>
                  </a:cubicBezTo>
                  <a:cubicBezTo>
                    <a:pt x="441" y="119"/>
                    <a:pt x="441" y="119"/>
                    <a:pt x="446" y="120"/>
                  </a:cubicBezTo>
                  <a:cubicBezTo>
                    <a:pt x="446" y="120"/>
                    <a:pt x="445" y="118"/>
                    <a:pt x="445" y="118"/>
                  </a:cubicBezTo>
                  <a:cubicBezTo>
                    <a:pt x="445" y="118"/>
                    <a:pt x="445" y="115"/>
                    <a:pt x="445" y="114"/>
                  </a:cubicBezTo>
                  <a:cubicBezTo>
                    <a:pt x="444" y="114"/>
                    <a:pt x="443" y="114"/>
                    <a:pt x="443" y="114"/>
                  </a:cubicBezTo>
                  <a:close/>
                  <a:moveTo>
                    <a:pt x="395" y="111"/>
                  </a:moveTo>
                  <a:cubicBezTo>
                    <a:pt x="394" y="112"/>
                    <a:pt x="394" y="114"/>
                    <a:pt x="393" y="115"/>
                  </a:cubicBezTo>
                  <a:cubicBezTo>
                    <a:pt x="392" y="114"/>
                    <a:pt x="392" y="117"/>
                    <a:pt x="391" y="117"/>
                  </a:cubicBezTo>
                  <a:cubicBezTo>
                    <a:pt x="392" y="118"/>
                    <a:pt x="394" y="118"/>
                    <a:pt x="395" y="119"/>
                  </a:cubicBezTo>
                  <a:cubicBezTo>
                    <a:pt x="397" y="120"/>
                    <a:pt x="396" y="123"/>
                    <a:pt x="398" y="124"/>
                  </a:cubicBezTo>
                  <a:cubicBezTo>
                    <a:pt x="400" y="125"/>
                    <a:pt x="402" y="124"/>
                    <a:pt x="405" y="124"/>
                  </a:cubicBezTo>
                  <a:cubicBezTo>
                    <a:pt x="408" y="125"/>
                    <a:pt x="410" y="127"/>
                    <a:pt x="412" y="128"/>
                  </a:cubicBezTo>
                  <a:cubicBezTo>
                    <a:pt x="413" y="128"/>
                    <a:pt x="413" y="127"/>
                    <a:pt x="414" y="128"/>
                  </a:cubicBezTo>
                  <a:cubicBezTo>
                    <a:pt x="416" y="126"/>
                    <a:pt x="414" y="124"/>
                    <a:pt x="418" y="124"/>
                  </a:cubicBezTo>
                  <a:cubicBezTo>
                    <a:pt x="418" y="126"/>
                    <a:pt x="418" y="126"/>
                    <a:pt x="418" y="126"/>
                  </a:cubicBezTo>
                  <a:cubicBezTo>
                    <a:pt x="421" y="127"/>
                    <a:pt x="428" y="128"/>
                    <a:pt x="429" y="130"/>
                  </a:cubicBezTo>
                  <a:cubicBezTo>
                    <a:pt x="429" y="131"/>
                    <a:pt x="428" y="132"/>
                    <a:pt x="429" y="132"/>
                  </a:cubicBezTo>
                  <a:cubicBezTo>
                    <a:pt x="429" y="133"/>
                    <a:pt x="431" y="133"/>
                    <a:pt x="431" y="134"/>
                  </a:cubicBezTo>
                  <a:cubicBezTo>
                    <a:pt x="433" y="138"/>
                    <a:pt x="430" y="139"/>
                    <a:pt x="430" y="142"/>
                  </a:cubicBezTo>
                  <a:cubicBezTo>
                    <a:pt x="430" y="143"/>
                    <a:pt x="431" y="144"/>
                    <a:pt x="431" y="144"/>
                  </a:cubicBezTo>
                  <a:cubicBezTo>
                    <a:pt x="431" y="146"/>
                    <a:pt x="429" y="147"/>
                    <a:pt x="429" y="148"/>
                  </a:cubicBezTo>
                  <a:cubicBezTo>
                    <a:pt x="429" y="149"/>
                    <a:pt x="430" y="151"/>
                    <a:pt x="431" y="152"/>
                  </a:cubicBezTo>
                  <a:cubicBezTo>
                    <a:pt x="431" y="153"/>
                    <a:pt x="431" y="155"/>
                    <a:pt x="431" y="154"/>
                  </a:cubicBezTo>
                  <a:cubicBezTo>
                    <a:pt x="431" y="155"/>
                    <a:pt x="431" y="158"/>
                    <a:pt x="431" y="158"/>
                  </a:cubicBezTo>
                  <a:cubicBezTo>
                    <a:pt x="433" y="158"/>
                    <a:pt x="434" y="158"/>
                    <a:pt x="435" y="158"/>
                  </a:cubicBezTo>
                  <a:cubicBezTo>
                    <a:pt x="436" y="156"/>
                    <a:pt x="436" y="156"/>
                    <a:pt x="436" y="156"/>
                  </a:cubicBezTo>
                  <a:cubicBezTo>
                    <a:pt x="440" y="155"/>
                    <a:pt x="439" y="157"/>
                    <a:pt x="439" y="158"/>
                  </a:cubicBezTo>
                  <a:cubicBezTo>
                    <a:pt x="439" y="158"/>
                    <a:pt x="439" y="158"/>
                    <a:pt x="439" y="158"/>
                  </a:cubicBezTo>
                  <a:cubicBezTo>
                    <a:pt x="439" y="158"/>
                    <a:pt x="451" y="156"/>
                    <a:pt x="451" y="156"/>
                  </a:cubicBezTo>
                  <a:cubicBezTo>
                    <a:pt x="452" y="155"/>
                    <a:pt x="451" y="153"/>
                    <a:pt x="452" y="152"/>
                  </a:cubicBezTo>
                  <a:cubicBezTo>
                    <a:pt x="455" y="150"/>
                    <a:pt x="455" y="150"/>
                    <a:pt x="455" y="150"/>
                  </a:cubicBezTo>
                  <a:cubicBezTo>
                    <a:pt x="456" y="152"/>
                    <a:pt x="457" y="155"/>
                    <a:pt x="457" y="157"/>
                  </a:cubicBezTo>
                  <a:cubicBezTo>
                    <a:pt x="459" y="157"/>
                    <a:pt x="460" y="158"/>
                    <a:pt x="462" y="158"/>
                  </a:cubicBezTo>
                  <a:cubicBezTo>
                    <a:pt x="462" y="157"/>
                    <a:pt x="465" y="155"/>
                    <a:pt x="466" y="156"/>
                  </a:cubicBezTo>
                  <a:cubicBezTo>
                    <a:pt x="466" y="156"/>
                    <a:pt x="468" y="158"/>
                    <a:pt x="470" y="157"/>
                  </a:cubicBezTo>
                  <a:cubicBezTo>
                    <a:pt x="471" y="154"/>
                    <a:pt x="471" y="154"/>
                    <a:pt x="471" y="154"/>
                  </a:cubicBezTo>
                  <a:cubicBezTo>
                    <a:pt x="473" y="154"/>
                    <a:pt x="473" y="154"/>
                    <a:pt x="474" y="154"/>
                  </a:cubicBezTo>
                  <a:cubicBezTo>
                    <a:pt x="475" y="154"/>
                    <a:pt x="475" y="155"/>
                    <a:pt x="475" y="157"/>
                  </a:cubicBezTo>
                  <a:cubicBezTo>
                    <a:pt x="478" y="157"/>
                    <a:pt x="480" y="156"/>
                    <a:pt x="482" y="156"/>
                  </a:cubicBezTo>
                  <a:cubicBezTo>
                    <a:pt x="482" y="154"/>
                    <a:pt x="482" y="154"/>
                    <a:pt x="482" y="154"/>
                  </a:cubicBezTo>
                  <a:cubicBezTo>
                    <a:pt x="484" y="155"/>
                    <a:pt x="483" y="156"/>
                    <a:pt x="484" y="157"/>
                  </a:cubicBezTo>
                  <a:cubicBezTo>
                    <a:pt x="485" y="157"/>
                    <a:pt x="485" y="156"/>
                    <a:pt x="486" y="156"/>
                  </a:cubicBezTo>
                  <a:cubicBezTo>
                    <a:pt x="487" y="155"/>
                    <a:pt x="489" y="156"/>
                    <a:pt x="491" y="156"/>
                  </a:cubicBezTo>
                  <a:cubicBezTo>
                    <a:pt x="495" y="156"/>
                    <a:pt x="498" y="156"/>
                    <a:pt x="502" y="156"/>
                  </a:cubicBezTo>
                  <a:cubicBezTo>
                    <a:pt x="502" y="154"/>
                    <a:pt x="502" y="155"/>
                    <a:pt x="503" y="155"/>
                  </a:cubicBezTo>
                  <a:cubicBezTo>
                    <a:pt x="503" y="153"/>
                    <a:pt x="503" y="151"/>
                    <a:pt x="502" y="151"/>
                  </a:cubicBezTo>
                  <a:cubicBezTo>
                    <a:pt x="503" y="151"/>
                    <a:pt x="504" y="151"/>
                    <a:pt x="504" y="151"/>
                  </a:cubicBezTo>
                  <a:cubicBezTo>
                    <a:pt x="505" y="151"/>
                    <a:pt x="505" y="154"/>
                    <a:pt x="505" y="154"/>
                  </a:cubicBezTo>
                  <a:cubicBezTo>
                    <a:pt x="506" y="154"/>
                    <a:pt x="507" y="155"/>
                    <a:pt x="508" y="156"/>
                  </a:cubicBezTo>
                  <a:cubicBezTo>
                    <a:pt x="509" y="156"/>
                    <a:pt x="509" y="155"/>
                    <a:pt x="510" y="155"/>
                  </a:cubicBezTo>
                  <a:cubicBezTo>
                    <a:pt x="511" y="154"/>
                    <a:pt x="510" y="154"/>
                    <a:pt x="511" y="154"/>
                  </a:cubicBezTo>
                  <a:cubicBezTo>
                    <a:pt x="511" y="154"/>
                    <a:pt x="512" y="155"/>
                    <a:pt x="512" y="156"/>
                  </a:cubicBezTo>
                  <a:cubicBezTo>
                    <a:pt x="514" y="156"/>
                    <a:pt x="526" y="155"/>
                    <a:pt x="529" y="154"/>
                  </a:cubicBezTo>
                  <a:cubicBezTo>
                    <a:pt x="529" y="154"/>
                    <a:pt x="529" y="152"/>
                    <a:pt x="530" y="152"/>
                  </a:cubicBezTo>
                  <a:cubicBezTo>
                    <a:pt x="531" y="156"/>
                    <a:pt x="530" y="150"/>
                    <a:pt x="530" y="148"/>
                  </a:cubicBezTo>
                  <a:cubicBezTo>
                    <a:pt x="531" y="147"/>
                    <a:pt x="530" y="149"/>
                    <a:pt x="530" y="149"/>
                  </a:cubicBezTo>
                  <a:cubicBezTo>
                    <a:pt x="532" y="148"/>
                    <a:pt x="534" y="147"/>
                    <a:pt x="535" y="146"/>
                  </a:cubicBezTo>
                  <a:cubicBezTo>
                    <a:pt x="537" y="143"/>
                    <a:pt x="536" y="142"/>
                    <a:pt x="535" y="139"/>
                  </a:cubicBezTo>
                  <a:cubicBezTo>
                    <a:pt x="535" y="139"/>
                    <a:pt x="533" y="139"/>
                    <a:pt x="533" y="139"/>
                  </a:cubicBezTo>
                  <a:cubicBezTo>
                    <a:pt x="531" y="138"/>
                    <a:pt x="527" y="135"/>
                    <a:pt x="524" y="135"/>
                  </a:cubicBezTo>
                  <a:cubicBezTo>
                    <a:pt x="523" y="135"/>
                    <a:pt x="521" y="137"/>
                    <a:pt x="520" y="136"/>
                  </a:cubicBezTo>
                  <a:cubicBezTo>
                    <a:pt x="517" y="134"/>
                    <a:pt x="517" y="134"/>
                    <a:pt x="517" y="134"/>
                  </a:cubicBezTo>
                  <a:cubicBezTo>
                    <a:pt x="517" y="134"/>
                    <a:pt x="517" y="132"/>
                    <a:pt x="517" y="132"/>
                  </a:cubicBezTo>
                  <a:cubicBezTo>
                    <a:pt x="516" y="132"/>
                    <a:pt x="508" y="131"/>
                    <a:pt x="506" y="132"/>
                  </a:cubicBezTo>
                  <a:cubicBezTo>
                    <a:pt x="506" y="132"/>
                    <a:pt x="505" y="133"/>
                    <a:pt x="503" y="133"/>
                  </a:cubicBezTo>
                  <a:cubicBezTo>
                    <a:pt x="502" y="133"/>
                    <a:pt x="501" y="131"/>
                    <a:pt x="497" y="131"/>
                  </a:cubicBezTo>
                  <a:cubicBezTo>
                    <a:pt x="496" y="132"/>
                    <a:pt x="496" y="132"/>
                    <a:pt x="496" y="132"/>
                  </a:cubicBezTo>
                  <a:cubicBezTo>
                    <a:pt x="494" y="133"/>
                    <a:pt x="493" y="132"/>
                    <a:pt x="492" y="132"/>
                  </a:cubicBezTo>
                  <a:cubicBezTo>
                    <a:pt x="491" y="134"/>
                    <a:pt x="491" y="134"/>
                    <a:pt x="491" y="134"/>
                  </a:cubicBezTo>
                  <a:cubicBezTo>
                    <a:pt x="489" y="135"/>
                    <a:pt x="485" y="133"/>
                    <a:pt x="482" y="134"/>
                  </a:cubicBezTo>
                  <a:cubicBezTo>
                    <a:pt x="482" y="135"/>
                    <a:pt x="480" y="135"/>
                    <a:pt x="479" y="136"/>
                  </a:cubicBezTo>
                  <a:cubicBezTo>
                    <a:pt x="479" y="136"/>
                    <a:pt x="479" y="138"/>
                    <a:pt x="479" y="138"/>
                  </a:cubicBezTo>
                  <a:cubicBezTo>
                    <a:pt x="477" y="138"/>
                    <a:pt x="470" y="136"/>
                    <a:pt x="468" y="135"/>
                  </a:cubicBezTo>
                  <a:cubicBezTo>
                    <a:pt x="468" y="138"/>
                    <a:pt x="468" y="138"/>
                    <a:pt x="468" y="138"/>
                  </a:cubicBezTo>
                  <a:cubicBezTo>
                    <a:pt x="467" y="138"/>
                    <a:pt x="465" y="136"/>
                    <a:pt x="463" y="136"/>
                  </a:cubicBezTo>
                  <a:cubicBezTo>
                    <a:pt x="463" y="136"/>
                    <a:pt x="463" y="138"/>
                    <a:pt x="461" y="138"/>
                  </a:cubicBezTo>
                  <a:cubicBezTo>
                    <a:pt x="461" y="136"/>
                    <a:pt x="461" y="136"/>
                    <a:pt x="461" y="136"/>
                  </a:cubicBezTo>
                  <a:cubicBezTo>
                    <a:pt x="458" y="135"/>
                    <a:pt x="456" y="135"/>
                    <a:pt x="453" y="134"/>
                  </a:cubicBezTo>
                  <a:cubicBezTo>
                    <a:pt x="452" y="134"/>
                    <a:pt x="452" y="135"/>
                    <a:pt x="451" y="136"/>
                  </a:cubicBezTo>
                  <a:cubicBezTo>
                    <a:pt x="451" y="134"/>
                    <a:pt x="451" y="133"/>
                    <a:pt x="451" y="132"/>
                  </a:cubicBezTo>
                  <a:cubicBezTo>
                    <a:pt x="448" y="131"/>
                    <a:pt x="447" y="130"/>
                    <a:pt x="444" y="131"/>
                  </a:cubicBezTo>
                  <a:cubicBezTo>
                    <a:pt x="443" y="131"/>
                    <a:pt x="443" y="133"/>
                    <a:pt x="443" y="133"/>
                  </a:cubicBezTo>
                  <a:cubicBezTo>
                    <a:pt x="439" y="135"/>
                    <a:pt x="442" y="131"/>
                    <a:pt x="443" y="130"/>
                  </a:cubicBezTo>
                  <a:cubicBezTo>
                    <a:pt x="442" y="130"/>
                    <a:pt x="440" y="130"/>
                    <a:pt x="439" y="130"/>
                  </a:cubicBezTo>
                  <a:cubicBezTo>
                    <a:pt x="440" y="128"/>
                    <a:pt x="440" y="128"/>
                    <a:pt x="440" y="128"/>
                  </a:cubicBezTo>
                  <a:cubicBezTo>
                    <a:pt x="444" y="129"/>
                    <a:pt x="445" y="129"/>
                    <a:pt x="449" y="127"/>
                  </a:cubicBezTo>
                  <a:cubicBezTo>
                    <a:pt x="449" y="127"/>
                    <a:pt x="449" y="125"/>
                    <a:pt x="449" y="125"/>
                  </a:cubicBezTo>
                  <a:cubicBezTo>
                    <a:pt x="447" y="124"/>
                    <a:pt x="445" y="124"/>
                    <a:pt x="443" y="123"/>
                  </a:cubicBezTo>
                  <a:cubicBezTo>
                    <a:pt x="442" y="123"/>
                    <a:pt x="441" y="121"/>
                    <a:pt x="441" y="121"/>
                  </a:cubicBezTo>
                  <a:cubicBezTo>
                    <a:pt x="439" y="120"/>
                    <a:pt x="437" y="121"/>
                    <a:pt x="436" y="120"/>
                  </a:cubicBezTo>
                  <a:cubicBezTo>
                    <a:pt x="435" y="120"/>
                    <a:pt x="435" y="118"/>
                    <a:pt x="435" y="117"/>
                  </a:cubicBezTo>
                  <a:cubicBezTo>
                    <a:pt x="431" y="118"/>
                    <a:pt x="420" y="120"/>
                    <a:pt x="419" y="119"/>
                  </a:cubicBezTo>
                  <a:cubicBezTo>
                    <a:pt x="418" y="119"/>
                    <a:pt x="419" y="117"/>
                    <a:pt x="419" y="117"/>
                  </a:cubicBezTo>
                  <a:cubicBezTo>
                    <a:pt x="419" y="117"/>
                    <a:pt x="415" y="114"/>
                    <a:pt x="415" y="114"/>
                  </a:cubicBezTo>
                  <a:cubicBezTo>
                    <a:pt x="413" y="113"/>
                    <a:pt x="412" y="114"/>
                    <a:pt x="409" y="114"/>
                  </a:cubicBezTo>
                  <a:cubicBezTo>
                    <a:pt x="408" y="114"/>
                    <a:pt x="404" y="113"/>
                    <a:pt x="403" y="113"/>
                  </a:cubicBezTo>
                  <a:cubicBezTo>
                    <a:pt x="402" y="113"/>
                    <a:pt x="402" y="112"/>
                    <a:pt x="402" y="112"/>
                  </a:cubicBezTo>
                  <a:cubicBezTo>
                    <a:pt x="401" y="111"/>
                    <a:pt x="399" y="112"/>
                    <a:pt x="399" y="112"/>
                  </a:cubicBezTo>
                  <a:cubicBezTo>
                    <a:pt x="399" y="112"/>
                    <a:pt x="397" y="111"/>
                    <a:pt x="395" y="111"/>
                  </a:cubicBezTo>
                  <a:close/>
                  <a:moveTo>
                    <a:pt x="523" y="102"/>
                  </a:moveTo>
                  <a:cubicBezTo>
                    <a:pt x="524" y="102"/>
                    <a:pt x="524" y="103"/>
                    <a:pt x="524" y="104"/>
                  </a:cubicBezTo>
                  <a:cubicBezTo>
                    <a:pt x="525" y="104"/>
                    <a:pt x="525" y="105"/>
                    <a:pt x="526" y="105"/>
                  </a:cubicBezTo>
                  <a:cubicBezTo>
                    <a:pt x="523" y="105"/>
                    <a:pt x="520" y="105"/>
                    <a:pt x="518" y="105"/>
                  </a:cubicBezTo>
                  <a:cubicBezTo>
                    <a:pt x="519" y="105"/>
                    <a:pt x="518" y="104"/>
                    <a:pt x="518" y="104"/>
                  </a:cubicBezTo>
                  <a:cubicBezTo>
                    <a:pt x="518" y="104"/>
                    <a:pt x="522" y="102"/>
                    <a:pt x="523" y="102"/>
                  </a:cubicBezTo>
                  <a:close/>
                  <a:moveTo>
                    <a:pt x="411" y="99"/>
                  </a:moveTo>
                  <a:cubicBezTo>
                    <a:pt x="411" y="100"/>
                    <a:pt x="411" y="100"/>
                    <a:pt x="411" y="100"/>
                  </a:cubicBezTo>
                  <a:cubicBezTo>
                    <a:pt x="409" y="101"/>
                    <a:pt x="407" y="101"/>
                    <a:pt x="405" y="102"/>
                  </a:cubicBezTo>
                  <a:cubicBezTo>
                    <a:pt x="405" y="102"/>
                    <a:pt x="405" y="102"/>
                    <a:pt x="405" y="102"/>
                  </a:cubicBezTo>
                  <a:cubicBezTo>
                    <a:pt x="402" y="103"/>
                    <a:pt x="399" y="102"/>
                    <a:pt x="397" y="102"/>
                  </a:cubicBezTo>
                  <a:cubicBezTo>
                    <a:pt x="397" y="102"/>
                    <a:pt x="394" y="104"/>
                    <a:pt x="393" y="104"/>
                  </a:cubicBezTo>
                  <a:cubicBezTo>
                    <a:pt x="394" y="105"/>
                    <a:pt x="394" y="105"/>
                    <a:pt x="394" y="106"/>
                  </a:cubicBezTo>
                  <a:cubicBezTo>
                    <a:pt x="404" y="105"/>
                    <a:pt x="414" y="111"/>
                    <a:pt x="421" y="106"/>
                  </a:cubicBezTo>
                  <a:cubicBezTo>
                    <a:pt x="422" y="105"/>
                    <a:pt x="422" y="105"/>
                    <a:pt x="423" y="105"/>
                  </a:cubicBezTo>
                  <a:cubicBezTo>
                    <a:pt x="424" y="102"/>
                    <a:pt x="424" y="102"/>
                    <a:pt x="424" y="102"/>
                  </a:cubicBezTo>
                  <a:cubicBezTo>
                    <a:pt x="429" y="101"/>
                    <a:pt x="420" y="100"/>
                    <a:pt x="420" y="100"/>
                  </a:cubicBezTo>
                  <a:cubicBezTo>
                    <a:pt x="420" y="99"/>
                    <a:pt x="420" y="99"/>
                    <a:pt x="420" y="99"/>
                  </a:cubicBezTo>
                  <a:cubicBezTo>
                    <a:pt x="418" y="99"/>
                    <a:pt x="417" y="101"/>
                    <a:pt x="414" y="100"/>
                  </a:cubicBezTo>
                  <a:cubicBezTo>
                    <a:pt x="413" y="100"/>
                    <a:pt x="413" y="99"/>
                    <a:pt x="411" y="99"/>
                  </a:cubicBezTo>
                  <a:close/>
                  <a:moveTo>
                    <a:pt x="442" y="96"/>
                  </a:moveTo>
                  <a:cubicBezTo>
                    <a:pt x="441" y="97"/>
                    <a:pt x="442" y="98"/>
                    <a:pt x="442" y="98"/>
                  </a:cubicBezTo>
                  <a:cubicBezTo>
                    <a:pt x="442" y="99"/>
                    <a:pt x="440" y="100"/>
                    <a:pt x="439" y="100"/>
                  </a:cubicBezTo>
                  <a:cubicBezTo>
                    <a:pt x="439" y="101"/>
                    <a:pt x="439" y="103"/>
                    <a:pt x="439" y="102"/>
                  </a:cubicBezTo>
                  <a:cubicBezTo>
                    <a:pt x="440" y="105"/>
                    <a:pt x="440" y="106"/>
                    <a:pt x="440" y="108"/>
                  </a:cubicBezTo>
                  <a:cubicBezTo>
                    <a:pt x="441" y="107"/>
                    <a:pt x="441" y="106"/>
                    <a:pt x="441" y="106"/>
                  </a:cubicBezTo>
                  <a:cubicBezTo>
                    <a:pt x="442" y="106"/>
                    <a:pt x="444" y="106"/>
                    <a:pt x="445" y="106"/>
                  </a:cubicBezTo>
                  <a:cubicBezTo>
                    <a:pt x="446" y="104"/>
                    <a:pt x="447" y="102"/>
                    <a:pt x="447" y="99"/>
                  </a:cubicBezTo>
                  <a:cubicBezTo>
                    <a:pt x="445" y="98"/>
                    <a:pt x="444" y="97"/>
                    <a:pt x="442" y="96"/>
                  </a:cubicBezTo>
                  <a:close/>
                  <a:moveTo>
                    <a:pt x="510" y="94"/>
                  </a:moveTo>
                  <a:cubicBezTo>
                    <a:pt x="511" y="93"/>
                    <a:pt x="510" y="96"/>
                    <a:pt x="510" y="96"/>
                  </a:cubicBezTo>
                  <a:cubicBezTo>
                    <a:pt x="508" y="96"/>
                    <a:pt x="509" y="94"/>
                    <a:pt x="510" y="94"/>
                  </a:cubicBezTo>
                  <a:close/>
                  <a:moveTo>
                    <a:pt x="377" y="79"/>
                  </a:moveTo>
                  <a:cubicBezTo>
                    <a:pt x="373" y="88"/>
                    <a:pt x="374" y="92"/>
                    <a:pt x="384" y="92"/>
                  </a:cubicBezTo>
                  <a:cubicBezTo>
                    <a:pt x="384" y="92"/>
                    <a:pt x="385" y="94"/>
                    <a:pt x="385" y="94"/>
                  </a:cubicBezTo>
                  <a:cubicBezTo>
                    <a:pt x="384" y="94"/>
                    <a:pt x="383" y="93"/>
                    <a:pt x="382" y="94"/>
                  </a:cubicBezTo>
                  <a:cubicBezTo>
                    <a:pt x="382" y="94"/>
                    <a:pt x="381" y="96"/>
                    <a:pt x="382" y="96"/>
                  </a:cubicBezTo>
                  <a:cubicBezTo>
                    <a:pt x="383" y="96"/>
                    <a:pt x="383" y="98"/>
                    <a:pt x="384" y="98"/>
                  </a:cubicBezTo>
                  <a:cubicBezTo>
                    <a:pt x="385" y="99"/>
                    <a:pt x="388" y="100"/>
                    <a:pt x="388" y="101"/>
                  </a:cubicBezTo>
                  <a:cubicBezTo>
                    <a:pt x="388" y="102"/>
                    <a:pt x="387" y="102"/>
                    <a:pt x="388" y="103"/>
                  </a:cubicBezTo>
                  <a:cubicBezTo>
                    <a:pt x="389" y="103"/>
                    <a:pt x="390" y="103"/>
                    <a:pt x="391" y="103"/>
                  </a:cubicBezTo>
                  <a:cubicBezTo>
                    <a:pt x="392" y="103"/>
                    <a:pt x="392" y="101"/>
                    <a:pt x="393" y="100"/>
                  </a:cubicBezTo>
                  <a:cubicBezTo>
                    <a:pt x="395" y="99"/>
                    <a:pt x="402" y="99"/>
                    <a:pt x="404" y="99"/>
                  </a:cubicBezTo>
                  <a:cubicBezTo>
                    <a:pt x="404" y="98"/>
                    <a:pt x="404" y="97"/>
                    <a:pt x="404" y="96"/>
                  </a:cubicBezTo>
                  <a:cubicBezTo>
                    <a:pt x="404" y="96"/>
                    <a:pt x="402" y="95"/>
                    <a:pt x="402" y="94"/>
                  </a:cubicBezTo>
                  <a:cubicBezTo>
                    <a:pt x="402" y="93"/>
                    <a:pt x="403" y="93"/>
                    <a:pt x="403" y="93"/>
                  </a:cubicBezTo>
                  <a:cubicBezTo>
                    <a:pt x="403" y="93"/>
                    <a:pt x="401" y="90"/>
                    <a:pt x="401" y="90"/>
                  </a:cubicBezTo>
                  <a:cubicBezTo>
                    <a:pt x="401" y="90"/>
                    <a:pt x="400" y="90"/>
                    <a:pt x="399" y="90"/>
                  </a:cubicBezTo>
                  <a:cubicBezTo>
                    <a:pt x="399" y="90"/>
                    <a:pt x="397" y="88"/>
                    <a:pt x="397" y="88"/>
                  </a:cubicBezTo>
                  <a:cubicBezTo>
                    <a:pt x="396" y="87"/>
                    <a:pt x="395" y="89"/>
                    <a:pt x="394" y="88"/>
                  </a:cubicBezTo>
                  <a:cubicBezTo>
                    <a:pt x="394" y="88"/>
                    <a:pt x="394" y="88"/>
                    <a:pt x="394" y="88"/>
                  </a:cubicBezTo>
                  <a:cubicBezTo>
                    <a:pt x="394" y="87"/>
                    <a:pt x="392" y="86"/>
                    <a:pt x="392" y="86"/>
                  </a:cubicBezTo>
                  <a:cubicBezTo>
                    <a:pt x="389" y="84"/>
                    <a:pt x="386" y="84"/>
                    <a:pt x="383" y="83"/>
                  </a:cubicBezTo>
                  <a:cubicBezTo>
                    <a:pt x="381" y="82"/>
                    <a:pt x="379" y="80"/>
                    <a:pt x="377" y="79"/>
                  </a:cubicBezTo>
                  <a:close/>
                  <a:moveTo>
                    <a:pt x="363" y="57"/>
                  </a:moveTo>
                  <a:cubicBezTo>
                    <a:pt x="364" y="60"/>
                    <a:pt x="364" y="63"/>
                    <a:pt x="365" y="65"/>
                  </a:cubicBezTo>
                  <a:cubicBezTo>
                    <a:pt x="365" y="65"/>
                    <a:pt x="367" y="64"/>
                    <a:pt x="367" y="64"/>
                  </a:cubicBezTo>
                  <a:cubicBezTo>
                    <a:pt x="368" y="65"/>
                    <a:pt x="368" y="67"/>
                    <a:pt x="369" y="68"/>
                  </a:cubicBezTo>
                  <a:cubicBezTo>
                    <a:pt x="369" y="68"/>
                    <a:pt x="370" y="67"/>
                    <a:pt x="371" y="68"/>
                  </a:cubicBezTo>
                  <a:cubicBezTo>
                    <a:pt x="370" y="66"/>
                    <a:pt x="371" y="65"/>
                    <a:pt x="370" y="63"/>
                  </a:cubicBezTo>
                  <a:cubicBezTo>
                    <a:pt x="370" y="62"/>
                    <a:pt x="367" y="61"/>
                    <a:pt x="367" y="60"/>
                  </a:cubicBezTo>
                  <a:cubicBezTo>
                    <a:pt x="366" y="59"/>
                    <a:pt x="367" y="58"/>
                    <a:pt x="367" y="57"/>
                  </a:cubicBezTo>
                  <a:cubicBezTo>
                    <a:pt x="366" y="57"/>
                    <a:pt x="364" y="58"/>
                    <a:pt x="363" y="57"/>
                  </a:cubicBezTo>
                  <a:close/>
                  <a:moveTo>
                    <a:pt x="578" y="40"/>
                  </a:moveTo>
                  <a:cubicBezTo>
                    <a:pt x="581" y="40"/>
                    <a:pt x="580" y="41"/>
                    <a:pt x="579" y="41"/>
                  </a:cubicBezTo>
                  <a:cubicBezTo>
                    <a:pt x="573" y="42"/>
                    <a:pt x="573" y="40"/>
                    <a:pt x="578" y="40"/>
                  </a:cubicBezTo>
                  <a:close/>
                  <a:moveTo>
                    <a:pt x="374" y="160"/>
                  </a:moveTo>
                  <a:cubicBezTo>
                    <a:pt x="374" y="160"/>
                    <a:pt x="372" y="163"/>
                    <a:pt x="371" y="164"/>
                  </a:cubicBezTo>
                  <a:cubicBezTo>
                    <a:pt x="369" y="164"/>
                    <a:pt x="358" y="165"/>
                    <a:pt x="365" y="167"/>
                  </a:cubicBezTo>
                  <a:cubicBezTo>
                    <a:pt x="365" y="167"/>
                    <a:pt x="364" y="169"/>
                    <a:pt x="364" y="169"/>
                  </a:cubicBezTo>
                  <a:cubicBezTo>
                    <a:pt x="362" y="168"/>
                    <a:pt x="360" y="169"/>
                    <a:pt x="357" y="168"/>
                  </a:cubicBezTo>
                  <a:cubicBezTo>
                    <a:pt x="357" y="167"/>
                    <a:pt x="356" y="165"/>
                    <a:pt x="355" y="165"/>
                  </a:cubicBezTo>
                  <a:cubicBezTo>
                    <a:pt x="353" y="166"/>
                    <a:pt x="347" y="171"/>
                    <a:pt x="348" y="174"/>
                  </a:cubicBezTo>
                  <a:cubicBezTo>
                    <a:pt x="348" y="175"/>
                    <a:pt x="349" y="175"/>
                    <a:pt x="349" y="176"/>
                  </a:cubicBezTo>
                  <a:cubicBezTo>
                    <a:pt x="351" y="176"/>
                    <a:pt x="353" y="177"/>
                    <a:pt x="353" y="177"/>
                  </a:cubicBezTo>
                  <a:cubicBezTo>
                    <a:pt x="355" y="177"/>
                    <a:pt x="357" y="177"/>
                    <a:pt x="357" y="178"/>
                  </a:cubicBezTo>
                  <a:cubicBezTo>
                    <a:pt x="358" y="179"/>
                    <a:pt x="358" y="181"/>
                    <a:pt x="357" y="181"/>
                  </a:cubicBezTo>
                  <a:cubicBezTo>
                    <a:pt x="357" y="182"/>
                    <a:pt x="358" y="184"/>
                    <a:pt x="357" y="185"/>
                  </a:cubicBezTo>
                  <a:cubicBezTo>
                    <a:pt x="356" y="187"/>
                    <a:pt x="347" y="186"/>
                    <a:pt x="344" y="186"/>
                  </a:cubicBezTo>
                  <a:cubicBezTo>
                    <a:pt x="342" y="184"/>
                    <a:pt x="341" y="182"/>
                    <a:pt x="340" y="180"/>
                  </a:cubicBezTo>
                  <a:cubicBezTo>
                    <a:pt x="340" y="180"/>
                    <a:pt x="339" y="181"/>
                    <a:pt x="338" y="181"/>
                  </a:cubicBezTo>
                  <a:cubicBezTo>
                    <a:pt x="337" y="182"/>
                    <a:pt x="337" y="181"/>
                    <a:pt x="336" y="181"/>
                  </a:cubicBezTo>
                  <a:cubicBezTo>
                    <a:pt x="336" y="182"/>
                    <a:pt x="335" y="182"/>
                    <a:pt x="335" y="184"/>
                  </a:cubicBezTo>
                  <a:cubicBezTo>
                    <a:pt x="335" y="184"/>
                    <a:pt x="336" y="186"/>
                    <a:pt x="336" y="186"/>
                  </a:cubicBezTo>
                  <a:cubicBezTo>
                    <a:pt x="336" y="187"/>
                    <a:pt x="335" y="188"/>
                    <a:pt x="336" y="188"/>
                  </a:cubicBezTo>
                  <a:cubicBezTo>
                    <a:pt x="336" y="189"/>
                    <a:pt x="338" y="190"/>
                    <a:pt x="338" y="191"/>
                  </a:cubicBezTo>
                  <a:cubicBezTo>
                    <a:pt x="339" y="191"/>
                    <a:pt x="341" y="194"/>
                    <a:pt x="341" y="194"/>
                  </a:cubicBezTo>
                  <a:cubicBezTo>
                    <a:pt x="342" y="194"/>
                    <a:pt x="343" y="194"/>
                    <a:pt x="344" y="194"/>
                  </a:cubicBezTo>
                  <a:cubicBezTo>
                    <a:pt x="344" y="194"/>
                    <a:pt x="346" y="196"/>
                    <a:pt x="346" y="196"/>
                  </a:cubicBezTo>
                  <a:cubicBezTo>
                    <a:pt x="348" y="196"/>
                    <a:pt x="348" y="196"/>
                    <a:pt x="348" y="196"/>
                  </a:cubicBezTo>
                  <a:cubicBezTo>
                    <a:pt x="348" y="196"/>
                    <a:pt x="348" y="194"/>
                    <a:pt x="348" y="193"/>
                  </a:cubicBezTo>
                  <a:cubicBezTo>
                    <a:pt x="349" y="193"/>
                    <a:pt x="350" y="193"/>
                    <a:pt x="352" y="193"/>
                  </a:cubicBezTo>
                  <a:cubicBezTo>
                    <a:pt x="352" y="194"/>
                    <a:pt x="353" y="195"/>
                    <a:pt x="354" y="196"/>
                  </a:cubicBezTo>
                  <a:cubicBezTo>
                    <a:pt x="355" y="197"/>
                    <a:pt x="356" y="199"/>
                    <a:pt x="357" y="199"/>
                  </a:cubicBezTo>
                  <a:cubicBezTo>
                    <a:pt x="357" y="200"/>
                    <a:pt x="359" y="199"/>
                    <a:pt x="359" y="199"/>
                  </a:cubicBezTo>
                  <a:cubicBezTo>
                    <a:pt x="360" y="200"/>
                    <a:pt x="364" y="203"/>
                    <a:pt x="364" y="203"/>
                  </a:cubicBezTo>
                  <a:cubicBezTo>
                    <a:pt x="364" y="204"/>
                    <a:pt x="364" y="205"/>
                    <a:pt x="364" y="206"/>
                  </a:cubicBezTo>
                  <a:cubicBezTo>
                    <a:pt x="364" y="207"/>
                    <a:pt x="366" y="209"/>
                    <a:pt x="367" y="211"/>
                  </a:cubicBezTo>
                  <a:cubicBezTo>
                    <a:pt x="369" y="211"/>
                    <a:pt x="370" y="212"/>
                    <a:pt x="372" y="211"/>
                  </a:cubicBezTo>
                  <a:cubicBezTo>
                    <a:pt x="374" y="210"/>
                    <a:pt x="375" y="206"/>
                    <a:pt x="377" y="205"/>
                  </a:cubicBezTo>
                  <a:cubicBezTo>
                    <a:pt x="378" y="204"/>
                    <a:pt x="380" y="205"/>
                    <a:pt x="381" y="205"/>
                  </a:cubicBezTo>
                  <a:cubicBezTo>
                    <a:pt x="381" y="205"/>
                    <a:pt x="382" y="203"/>
                    <a:pt x="383" y="203"/>
                  </a:cubicBezTo>
                  <a:cubicBezTo>
                    <a:pt x="386" y="201"/>
                    <a:pt x="388" y="202"/>
                    <a:pt x="391" y="201"/>
                  </a:cubicBezTo>
                  <a:cubicBezTo>
                    <a:pt x="391" y="198"/>
                    <a:pt x="391" y="199"/>
                    <a:pt x="391" y="197"/>
                  </a:cubicBezTo>
                  <a:cubicBezTo>
                    <a:pt x="393" y="197"/>
                    <a:pt x="393" y="197"/>
                    <a:pt x="393" y="197"/>
                  </a:cubicBezTo>
                  <a:cubicBezTo>
                    <a:pt x="393" y="196"/>
                    <a:pt x="394" y="192"/>
                    <a:pt x="393" y="191"/>
                  </a:cubicBezTo>
                  <a:cubicBezTo>
                    <a:pt x="392" y="189"/>
                    <a:pt x="392" y="189"/>
                    <a:pt x="392" y="189"/>
                  </a:cubicBezTo>
                  <a:cubicBezTo>
                    <a:pt x="392" y="187"/>
                    <a:pt x="393" y="187"/>
                    <a:pt x="393" y="185"/>
                  </a:cubicBezTo>
                  <a:cubicBezTo>
                    <a:pt x="393" y="185"/>
                    <a:pt x="390" y="183"/>
                    <a:pt x="390" y="183"/>
                  </a:cubicBezTo>
                  <a:cubicBezTo>
                    <a:pt x="387" y="186"/>
                    <a:pt x="388" y="185"/>
                    <a:pt x="385" y="187"/>
                  </a:cubicBezTo>
                  <a:cubicBezTo>
                    <a:pt x="384" y="184"/>
                    <a:pt x="384" y="183"/>
                    <a:pt x="383" y="179"/>
                  </a:cubicBezTo>
                  <a:cubicBezTo>
                    <a:pt x="377" y="182"/>
                    <a:pt x="379" y="182"/>
                    <a:pt x="377" y="177"/>
                  </a:cubicBezTo>
                  <a:cubicBezTo>
                    <a:pt x="375" y="177"/>
                    <a:pt x="375" y="177"/>
                    <a:pt x="375" y="177"/>
                  </a:cubicBezTo>
                  <a:cubicBezTo>
                    <a:pt x="376" y="175"/>
                    <a:pt x="376" y="175"/>
                    <a:pt x="376" y="175"/>
                  </a:cubicBezTo>
                  <a:cubicBezTo>
                    <a:pt x="379" y="174"/>
                    <a:pt x="381" y="175"/>
                    <a:pt x="384" y="174"/>
                  </a:cubicBezTo>
                  <a:cubicBezTo>
                    <a:pt x="384" y="174"/>
                    <a:pt x="385" y="171"/>
                    <a:pt x="383" y="171"/>
                  </a:cubicBezTo>
                  <a:cubicBezTo>
                    <a:pt x="384" y="171"/>
                    <a:pt x="384" y="169"/>
                    <a:pt x="384" y="168"/>
                  </a:cubicBezTo>
                  <a:cubicBezTo>
                    <a:pt x="384" y="168"/>
                    <a:pt x="382" y="168"/>
                    <a:pt x="382" y="168"/>
                  </a:cubicBezTo>
                  <a:cubicBezTo>
                    <a:pt x="382" y="168"/>
                    <a:pt x="381" y="166"/>
                    <a:pt x="381" y="166"/>
                  </a:cubicBezTo>
                  <a:cubicBezTo>
                    <a:pt x="379" y="165"/>
                    <a:pt x="375" y="165"/>
                    <a:pt x="373" y="166"/>
                  </a:cubicBezTo>
                  <a:cubicBezTo>
                    <a:pt x="372" y="168"/>
                    <a:pt x="372" y="168"/>
                    <a:pt x="372" y="168"/>
                  </a:cubicBezTo>
                  <a:cubicBezTo>
                    <a:pt x="371" y="168"/>
                    <a:pt x="369" y="167"/>
                    <a:pt x="368" y="168"/>
                  </a:cubicBezTo>
                  <a:cubicBezTo>
                    <a:pt x="369" y="167"/>
                    <a:pt x="370" y="167"/>
                    <a:pt x="371" y="166"/>
                  </a:cubicBezTo>
                  <a:cubicBezTo>
                    <a:pt x="372" y="166"/>
                    <a:pt x="374" y="164"/>
                    <a:pt x="374" y="164"/>
                  </a:cubicBezTo>
                  <a:cubicBezTo>
                    <a:pt x="375" y="164"/>
                    <a:pt x="376" y="164"/>
                    <a:pt x="377" y="164"/>
                  </a:cubicBezTo>
                  <a:cubicBezTo>
                    <a:pt x="379" y="162"/>
                    <a:pt x="378" y="158"/>
                    <a:pt x="374" y="160"/>
                  </a:cubicBezTo>
                  <a:close/>
                  <a:moveTo>
                    <a:pt x="294" y="131"/>
                  </a:moveTo>
                  <a:cubicBezTo>
                    <a:pt x="294" y="131"/>
                    <a:pt x="294" y="133"/>
                    <a:pt x="294" y="133"/>
                  </a:cubicBezTo>
                  <a:cubicBezTo>
                    <a:pt x="291" y="134"/>
                    <a:pt x="293" y="131"/>
                    <a:pt x="294" y="131"/>
                  </a:cubicBezTo>
                  <a:close/>
                  <a:moveTo>
                    <a:pt x="188" y="120"/>
                  </a:moveTo>
                  <a:cubicBezTo>
                    <a:pt x="189" y="121"/>
                    <a:pt x="187" y="122"/>
                    <a:pt x="187" y="122"/>
                  </a:cubicBezTo>
                  <a:cubicBezTo>
                    <a:pt x="187" y="121"/>
                    <a:pt x="187" y="120"/>
                    <a:pt x="188" y="120"/>
                  </a:cubicBezTo>
                  <a:close/>
                  <a:moveTo>
                    <a:pt x="335" y="119"/>
                  </a:moveTo>
                  <a:cubicBezTo>
                    <a:pt x="333" y="119"/>
                    <a:pt x="327" y="121"/>
                    <a:pt x="326" y="122"/>
                  </a:cubicBezTo>
                  <a:cubicBezTo>
                    <a:pt x="325" y="122"/>
                    <a:pt x="324" y="123"/>
                    <a:pt x="324" y="124"/>
                  </a:cubicBezTo>
                  <a:cubicBezTo>
                    <a:pt x="322" y="122"/>
                    <a:pt x="321" y="125"/>
                    <a:pt x="324" y="127"/>
                  </a:cubicBezTo>
                  <a:cubicBezTo>
                    <a:pt x="324" y="128"/>
                    <a:pt x="324" y="128"/>
                    <a:pt x="324" y="128"/>
                  </a:cubicBezTo>
                  <a:cubicBezTo>
                    <a:pt x="328" y="127"/>
                    <a:pt x="330" y="127"/>
                    <a:pt x="334" y="126"/>
                  </a:cubicBezTo>
                  <a:cubicBezTo>
                    <a:pt x="334" y="126"/>
                    <a:pt x="332" y="128"/>
                    <a:pt x="332" y="128"/>
                  </a:cubicBezTo>
                  <a:cubicBezTo>
                    <a:pt x="329" y="128"/>
                    <a:pt x="328" y="129"/>
                    <a:pt x="326" y="130"/>
                  </a:cubicBezTo>
                  <a:cubicBezTo>
                    <a:pt x="325" y="132"/>
                    <a:pt x="325" y="132"/>
                    <a:pt x="325" y="132"/>
                  </a:cubicBezTo>
                  <a:cubicBezTo>
                    <a:pt x="329" y="131"/>
                    <a:pt x="337" y="131"/>
                    <a:pt x="334" y="132"/>
                  </a:cubicBezTo>
                  <a:cubicBezTo>
                    <a:pt x="333" y="132"/>
                    <a:pt x="331" y="132"/>
                    <a:pt x="331" y="133"/>
                  </a:cubicBezTo>
                  <a:cubicBezTo>
                    <a:pt x="330" y="133"/>
                    <a:pt x="330" y="135"/>
                    <a:pt x="330" y="136"/>
                  </a:cubicBezTo>
                  <a:cubicBezTo>
                    <a:pt x="329" y="136"/>
                    <a:pt x="327" y="136"/>
                    <a:pt x="327" y="136"/>
                  </a:cubicBezTo>
                  <a:cubicBezTo>
                    <a:pt x="327" y="137"/>
                    <a:pt x="327" y="138"/>
                    <a:pt x="327" y="138"/>
                  </a:cubicBezTo>
                  <a:cubicBezTo>
                    <a:pt x="329" y="138"/>
                    <a:pt x="332" y="139"/>
                    <a:pt x="335" y="138"/>
                  </a:cubicBezTo>
                  <a:cubicBezTo>
                    <a:pt x="336" y="137"/>
                    <a:pt x="336" y="135"/>
                    <a:pt x="338" y="134"/>
                  </a:cubicBezTo>
                  <a:cubicBezTo>
                    <a:pt x="339" y="133"/>
                    <a:pt x="341" y="133"/>
                    <a:pt x="342" y="132"/>
                  </a:cubicBezTo>
                  <a:cubicBezTo>
                    <a:pt x="342" y="132"/>
                    <a:pt x="342" y="130"/>
                    <a:pt x="341" y="131"/>
                  </a:cubicBezTo>
                  <a:cubicBezTo>
                    <a:pt x="341" y="130"/>
                    <a:pt x="341" y="130"/>
                    <a:pt x="341" y="130"/>
                  </a:cubicBezTo>
                  <a:cubicBezTo>
                    <a:pt x="342" y="128"/>
                    <a:pt x="342" y="128"/>
                    <a:pt x="342" y="128"/>
                  </a:cubicBezTo>
                  <a:cubicBezTo>
                    <a:pt x="341" y="127"/>
                    <a:pt x="344" y="125"/>
                    <a:pt x="340" y="125"/>
                  </a:cubicBezTo>
                  <a:cubicBezTo>
                    <a:pt x="338" y="125"/>
                    <a:pt x="337" y="125"/>
                    <a:pt x="336" y="126"/>
                  </a:cubicBezTo>
                  <a:cubicBezTo>
                    <a:pt x="337" y="124"/>
                    <a:pt x="341" y="120"/>
                    <a:pt x="335" y="119"/>
                  </a:cubicBezTo>
                  <a:close/>
                  <a:moveTo>
                    <a:pt x="325" y="114"/>
                  </a:moveTo>
                  <a:cubicBezTo>
                    <a:pt x="324" y="116"/>
                    <a:pt x="323" y="118"/>
                    <a:pt x="322" y="120"/>
                  </a:cubicBezTo>
                  <a:cubicBezTo>
                    <a:pt x="330" y="118"/>
                    <a:pt x="337" y="117"/>
                    <a:pt x="325" y="114"/>
                  </a:cubicBezTo>
                  <a:close/>
                  <a:moveTo>
                    <a:pt x="361" y="112"/>
                  </a:moveTo>
                  <a:cubicBezTo>
                    <a:pt x="361" y="114"/>
                    <a:pt x="361" y="114"/>
                    <a:pt x="361" y="114"/>
                  </a:cubicBezTo>
                  <a:cubicBezTo>
                    <a:pt x="359" y="114"/>
                    <a:pt x="358" y="114"/>
                    <a:pt x="357" y="114"/>
                  </a:cubicBezTo>
                  <a:cubicBezTo>
                    <a:pt x="358" y="115"/>
                    <a:pt x="356" y="116"/>
                    <a:pt x="356" y="116"/>
                  </a:cubicBezTo>
                  <a:cubicBezTo>
                    <a:pt x="357" y="118"/>
                    <a:pt x="357" y="118"/>
                    <a:pt x="357" y="118"/>
                  </a:cubicBezTo>
                  <a:cubicBezTo>
                    <a:pt x="359" y="118"/>
                    <a:pt x="361" y="119"/>
                    <a:pt x="363" y="119"/>
                  </a:cubicBezTo>
                  <a:cubicBezTo>
                    <a:pt x="362" y="119"/>
                    <a:pt x="362" y="119"/>
                    <a:pt x="362" y="120"/>
                  </a:cubicBezTo>
                  <a:cubicBezTo>
                    <a:pt x="360" y="120"/>
                    <a:pt x="357" y="121"/>
                    <a:pt x="355" y="121"/>
                  </a:cubicBezTo>
                  <a:cubicBezTo>
                    <a:pt x="356" y="122"/>
                    <a:pt x="355" y="122"/>
                    <a:pt x="355" y="123"/>
                  </a:cubicBezTo>
                  <a:cubicBezTo>
                    <a:pt x="356" y="124"/>
                    <a:pt x="359" y="125"/>
                    <a:pt x="360" y="126"/>
                  </a:cubicBezTo>
                  <a:cubicBezTo>
                    <a:pt x="360" y="127"/>
                    <a:pt x="360" y="129"/>
                    <a:pt x="359" y="131"/>
                  </a:cubicBezTo>
                  <a:cubicBezTo>
                    <a:pt x="363" y="131"/>
                    <a:pt x="361" y="134"/>
                    <a:pt x="360" y="134"/>
                  </a:cubicBezTo>
                  <a:cubicBezTo>
                    <a:pt x="360" y="134"/>
                    <a:pt x="358" y="133"/>
                    <a:pt x="357" y="134"/>
                  </a:cubicBezTo>
                  <a:cubicBezTo>
                    <a:pt x="357" y="133"/>
                    <a:pt x="358" y="131"/>
                    <a:pt x="357" y="130"/>
                  </a:cubicBezTo>
                  <a:cubicBezTo>
                    <a:pt x="357" y="130"/>
                    <a:pt x="352" y="126"/>
                    <a:pt x="351" y="125"/>
                  </a:cubicBezTo>
                  <a:cubicBezTo>
                    <a:pt x="350" y="124"/>
                    <a:pt x="350" y="120"/>
                    <a:pt x="350" y="120"/>
                  </a:cubicBezTo>
                  <a:cubicBezTo>
                    <a:pt x="345" y="116"/>
                    <a:pt x="345" y="121"/>
                    <a:pt x="344" y="121"/>
                  </a:cubicBezTo>
                  <a:cubicBezTo>
                    <a:pt x="344" y="120"/>
                    <a:pt x="344" y="123"/>
                    <a:pt x="344" y="123"/>
                  </a:cubicBezTo>
                  <a:cubicBezTo>
                    <a:pt x="344" y="123"/>
                    <a:pt x="345" y="123"/>
                    <a:pt x="346" y="123"/>
                  </a:cubicBezTo>
                  <a:cubicBezTo>
                    <a:pt x="344" y="127"/>
                    <a:pt x="345" y="127"/>
                    <a:pt x="346" y="130"/>
                  </a:cubicBezTo>
                  <a:cubicBezTo>
                    <a:pt x="346" y="130"/>
                    <a:pt x="348" y="130"/>
                    <a:pt x="348" y="130"/>
                  </a:cubicBezTo>
                  <a:cubicBezTo>
                    <a:pt x="348" y="130"/>
                    <a:pt x="349" y="135"/>
                    <a:pt x="350" y="135"/>
                  </a:cubicBezTo>
                  <a:cubicBezTo>
                    <a:pt x="349" y="135"/>
                    <a:pt x="348" y="136"/>
                    <a:pt x="347" y="136"/>
                  </a:cubicBezTo>
                  <a:cubicBezTo>
                    <a:pt x="347" y="136"/>
                    <a:pt x="346" y="134"/>
                    <a:pt x="346" y="134"/>
                  </a:cubicBezTo>
                  <a:cubicBezTo>
                    <a:pt x="343" y="135"/>
                    <a:pt x="343" y="135"/>
                    <a:pt x="340" y="136"/>
                  </a:cubicBezTo>
                  <a:cubicBezTo>
                    <a:pt x="341" y="136"/>
                    <a:pt x="339" y="136"/>
                    <a:pt x="342" y="137"/>
                  </a:cubicBezTo>
                  <a:cubicBezTo>
                    <a:pt x="341" y="139"/>
                    <a:pt x="341" y="139"/>
                    <a:pt x="341" y="139"/>
                  </a:cubicBezTo>
                  <a:cubicBezTo>
                    <a:pt x="340" y="139"/>
                    <a:pt x="339" y="139"/>
                    <a:pt x="338" y="139"/>
                  </a:cubicBezTo>
                  <a:cubicBezTo>
                    <a:pt x="338" y="139"/>
                    <a:pt x="339" y="142"/>
                    <a:pt x="338" y="142"/>
                  </a:cubicBezTo>
                  <a:cubicBezTo>
                    <a:pt x="340" y="143"/>
                    <a:pt x="339" y="144"/>
                    <a:pt x="342" y="144"/>
                  </a:cubicBezTo>
                  <a:cubicBezTo>
                    <a:pt x="344" y="143"/>
                    <a:pt x="346" y="140"/>
                    <a:pt x="348" y="140"/>
                  </a:cubicBezTo>
                  <a:cubicBezTo>
                    <a:pt x="351" y="138"/>
                    <a:pt x="353" y="140"/>
                    <a:pt x="357" y="140"/>
                  </a:cubicBezTo>
                  <a:cubicBezTo>
                    <a:pt x="358" y="139"/>
                    <a:pt x="360" y="138"/>
                    <a:pt x="361" y="138"/>
                  </a:cubicBezTo>
                  <a:cubicBezTo>
                    <a:pt x="361" y="138"/>
                    <a:pt x="362" y="139"/>
                    <a:pt x="361" y="140"/>
                  </a:cubicBezTo>
                  <a:cubicBezTo>
                    <a:pt x="360" y="140"/>
                    <a:pt x="360" y="140"/>
                    <a:pt x="360" y="140"/>
                  </a:cubicBezTo>
                  <a:cubicBezTo>
                    <a:pt x="360" y="140"/>
                    <a:pt x="359" y="141"/>
                    <a:pt x="359" y="142"/>
                  </a:cubicBezTo>
                  <a:cubicBezTo>
                    <a:pt x="358" y="142"/>
                    <a:pt x="356" y="143"/>
                    <a:pt x="355" y="144"/>
                  </a:cubicBezTo>
                  <a:cubicBezTo>
                    <a:pt x="355" y="151"/>
                    <a:pt x="357" y="149"/>
                    <a:pt x="364" y="149"/>
                  </a:cubicBezTo>
                  <a:cubicBezTo>
                    <a:pt x="365" y="149"/>
                    <a:pt x="368" y="150"/>
                    <a:pt x="368" y="150"/>
                  </a:cubicBezTo>
                  <a:cubicBezTo>
                    <a:pt x="373" y="149"/>
                    <a:pt x="376" y="149"/>
                    <a:pt x="383" y="149"/>
                  </a:cubicBezTo>
                  <a:cubicBezTo>
                    <a:pt x="383" y="148"/>
                    <a:pt x="383" y="148"/>
                    <a:pt x="384" y="148"/>
                  </a:cubicBezTo>
                  <a:cubicBezTo>
                    <a:pt x="384" y="147"/>
                    <a:pt x="383" y="146"/>
                    <a:pt x="383" y="146"/>
                  </a:cubicBezTo>
                  <a:cubicBezTo>
                    <a:pt x="383" y="145"/>
                    <a:pt x="383" y="145"/>
                    <a:pt x="383" y="145"/>
                  </a:cubicBezTo>
                  <a:cubicBezTo>
                    <a:pt x="383" y="145"/>
                    <a:pt x="384" y="145"/>
                    <a:pt x="385" y="145"/>
                  </a:cubicBezTo>
                  <a:cubicBezTo>
                    <a:pt x="384" y="144"/>
                    <a:pt x="386" y="144"/>
                    <a:pt x="385" y="142"/>
                  </a:cubicBezTo>
                  <a:cubicBezTo>
                    <a:pt x="384" y="142"/>
                    <a:pt x="382" y="142"/>
                    <a:pt x="382" y="141"/>
                  </a:cubicBezTo>
                  <a:cubicBezTo>
                    <a:pt x="382" y="140"/>
                    <a:pt x="382" y="139"/>
                    <a:pt x="382" y="138"/>
                  </a:cubicBezTo>
                  <a:cubicBezTo>
                    <a:pt x="384" y="139"/>
                    <a:pt x="383" y="135"/>
                    <a:pt x="383" y="135"/>
                  </a:cubicBezTo>
                  <a:cubicBezTo>
                    <a:pt x="381" y="135"/>
                    <a:pt x="380" y="135"/>
                    <a:pt x="379" y="134"/>
                  </a:cubicBezTo>
                  <a:cubicBezTo>
                    <a:pt x="380" y="133"/>
                    <a:pt x="381" y="131"/>
                    <a:pt x="380" y="129"/>
                  </a:cubicBezTo>
                  <a:cubicBezTo>
                    <a:pt x="379" y="127"/>
                    <a:pt x="379" y="127"/>
                    <a:pt x="379" y="127"/>
                  </a:cubicBezTo>
                  <a:cubicBezTo>
                    <a:pt x="379" y="126"/>
                    <a:pt x="378" y="121"/>
                    <a:pt x="379" y="121"/>
                  </a:cubicBezTo>
                  <a:cubicBezTo>
                    <a:pt x="377" y="120"/>
                    <a:pt x="374" y="119"/>
                    <a:pt x="373" y="118"/>
                  </a:cubicBezTo>
                  <a:cubicBezTo>
                    <a:pt x="373" y="118"/>
                    <a:pt x="375" y="118"/>
                    <a:pt x="374" y="117"/>
                  </a:cubicBezTo>
                  <a:cubicBezTo>
                    <a:pt x="373" y="115"/>
                    <a:pt x="370" y="115"/>
                    <a:pt x="369" y="114"/>
                  </a:cubicBezTo>
                  <a:cubicBezTo>
                    <a:pt x="368" y="115"/>
                    <a:pt x="368" y="117"/>
                    <a:pt x="367" y="118"/>
                  </a:cubicBezTo>
                  <a:cubicBezTo>
                    <a:pt x="369" y="118"/>
                    <a:pt x="368" y="119"/>
                    <a:pt x="369" y="120"/>
                  </a:cubicBezTo>
                  <a:cubicBezTo>
                    <a:pt x="370" y="121"/>
                    <a:pt x="366" y="121"/>
                    <a:pt x="364" y="121"/>
                  </a:cubicBezTo>
                  <a:cubicBezTo>
                    <a:pt x="364" y="120"/>
                    <a:pt x="364" y="119"/>
                    <a:pt x="363" y="119"/>
                  </a:cubicBezTo>
                  <a:cubicBezTo>
                    <a:pt x="364" y="120"/>
                    <a:pt x="365" y="118"/>
                    <a:pt x="365" y="118"/>
                  </a:cubicBezTo>
                  <a:cubicBezTo>
                    <a:pt x="364" y="116"/>
                    <a:pt x="362" y="114"/>
                    <a:pt x="361" y="112"/>
                  </a:cubicBezTo>
                  <a:close/>
                  <a:moveTo>
                    <a:pt x="346" y="97"/>
                  </a:moveTo>
                  <a:cubicBezTo>
                    <a:pt x="345" y="98"/>
                    <a:pt x="344" y="100"/>
                    <a:pt x="344" y="100"/>
                  </a:cubicBezTo>
                  <a:cubicBezTo>
                    <a:pt x="344" y="100"/>
                    <a:pt x="344" y="101"/>
                    <a:pt x="345" y="100"/>
                  </a:cubicBezTo>
                  <a:cubicBezTo>
                    <a:pt x="345" y="100"/>
                    <a:pt x="346" y="103"/>
                    <a:pt x="346" y="103"/>
                  </a:cubicBezTo>
                  <a:cubicBezTo>
                    <a:pt x="349" y="102"/>
                    <a:pt x="354" y="102"/>
                    <a:pt x="350" y="99"/>
                  </a:cubicBezTo>
                  <a:cubicBezTo>
                    <a:pt x="349" y="98"/>
                    <a:pt x="347" y="98"/>
                    <a:pt x="346" y="97"/>
                  </a:cubicBezTo>
                  <a:close/>
                  <a:moveTo>
                    <a:pt x="316" y="97"/>
                  </a:moveTo>
                  <a:cubicBezTo>
                    <a:pt x="316" y="98"/>
                    <a:pt x="316" y="97"/>
                    <a:pt x="315" y="98"/>
                  </a:cubicBezTo>
                  <a:cubicBezTo>
                    <a:pt x="315" y="99"/>
                    <a:pt x="314" y="101"/>
                    <a:pt x="315" y="102"/>
                  </a:cubicBezTo>
                  <a:cubicBezTo>
                    <a:pt x="315" y="103"/>
                    <a:pt x="317" y="103"/>
                    <a:pt x="318" y="104"/>
                  </a:cubicBezTo>
                  <a:cubicBezTo>
                    <a:pt x="318" y="105"/>
                    <a:pt x="318" y="107"/>
                    <a:pt x="319" y="108"/>
                  </a:cubicBezTo>
                  <a:cubicBezTo>
                    <a:pt x="319" y="107"/>
                    <a:pt x="321" y="106"/>
                    <a:pt x="321" y="106"/>
                  </a:cubicBezTo>
                  <a:cubicBezTo>
                    <a:pt x="321" y="104"/>
                    <a:pt x="321" y="104"/>
                    <a:pt x="321" y="102"/>
                  </a:cubicBezTo>
                  <a:cubicBezTo>
                    <a:pt x="321" y="102"/>
                    <a:pt x="319" y="101"/>
                    <a:pt x="319" y="100"/>
                  </a:cubicBezTo>
                  <a:cubicBezTo>
                    <a:pt x="319" y="100"/>
                    <a:pt x="319" y="99"/>
                    <a:pt x="319" y="98"/>
                  </a:cubicBezTo>
                  <a:cubicBezTo>
                    <a:pt x="319" y="98"/>
                    <a:pt x="317" y="97"/>
                    <a:pt x="316" y="97"/>
                  </a:cubicBezTo>
                  <a:close/>
                  <a:moveTo>
                    <a:pt x="273" y="80"/>
                  </a:moveTo>
                  <a:cubicBezTo>
                    <a:pt x="273" y="80"/>
                    <a:pt x="271" y="82"/>
                    <a:pt x="271" y="82"/>
                  </a:cubicBezTo>
                  <a:cubicBezTo>
                    <a:pt x="270" y="82"/>
                    <a:pt x="269" y="81"/>
                    <a:pt x="268" y="82"/>
                  </a:cubicBezTo>
                  <a:cubicBezTo>
                    <a:pt x="267" y="82"/>
                    <a:pt x="267" y="83"/>
                    <a:pt x="266" y="84"/>
                  </a:cubicBezTo>
                  <a:cubicBezTo>
                    <a:pt x="263" y="86"/>
                    <a:pt x="264" y="85"/>
                    <a:pt x="262" y="88"/>
                  </a:cubicBezTo>
                  <a:cubicBezTo>
                    <a:pt x="265" y="89"/>
                    <a:pt x="270" y="91"/>
                    <a:pt x="274" y="91"/>
                  </a:cubicBezTo>
                  <a:cubicBezTo>
                    <a:pt x="275" y="90"/>
                    <a:pt x="275" y="90"/>
                    <a:pt x="275" y="90"/>
                  </a:cubicBezTo>
                  <a:cubicBezTo>
                    <a:pt x="276" y="89"/>
                    <a:pt x="278" y="90"/>
                    <a:pt x="280" y="90"/>
                  </a:cubicBezTo>
                  <a:cubicBezTo>
                    <a:pt x="280" y="88"/>
                    <a:pt x="282" y="86"/>
                    <a:pt x="281" y="83"/>
                  </a:cubicBezTo>
                  <a:cubicBezTo>
                    <a:pt x="281" y="83"/>
                    <a:pt x="280" y="82"/>
                    <a:pt x="280" y="82"/>
                  </a:cubicBezTo>
                  <a:cubicBezTo>
                    <a:pt x="279" y="82"/>
                    <a:pt x="278" y="82"/>
                    <a:pt x="277" y="82"/>
                  </a:cubicBezTo>
                  <a:cubicBezTo>
                    <a:pt x="276" y="81"/>
                    <a:pt x="276" y="80"/>
                    <a:pt x="273" y="80"/>
                  </a:cubicBezTo>
                  <a:close/>
                  <a:moveTo>
                    <a:pt x="310" y="73"/>
                  </a:moveTo>
                  <a:cubicBezTo>
                    <a:pt x="306" y="77"/>
                    <a:pt x="307" y="76"/>
                    <a:pt x="308" y="81"/>
                  </a:cubicBezTo>
                  <a:cubicBezTo>
                    <a:pt x="309" y="81"/>
                    <a:pt x="311" y="80"/>
                    <a:pt x="312" y="80"/>
                  </a:cubicBezTo>
                  <a:cubicBezTo>
                    <a:pt x="312" y="80"/>
                    <a:pt x="311" y="83"/>
                    <a:pt x="312" y="84"/>
                  </a:cubicBezTo>
                  <a:cubicBezTo>
                    <a:pt x="314" y="83"/>
                    <a:pt x="313" y="81"/>
                    <a:pt x="316" y="82"/>
                  </a:cubicBezTo>
                  <a:cubicBezTo>
                    <a:pt x="316" y="83"/>
                    <a:pt x="315" y="86"/>
                    <a:pt x="315" y="86"/>
                  </a:cubicBezTo>
                  <a:cubicBezTo>
                    <a:pt x="316" y="86"/>
                    <a:pt x="317" y="86"/>
                    <a:pt x="318" y="86"/>
                  </a:cubicBezTo>
                  <a:cubicBezTo>
                    <a:pt x="318" y="85"/>
                    <a:pt x="318" y="85"/>
                    <a:pt x="318" y="85"/>
                  </a:cubicBezTo>
                  <a:cubicBezTo>
                    <a:pt x="318" y="85"/>
                    <a:pt x="320" y="86"/>
                    <a:pt x="320" y="86"/>
                  </a:cubicBezTo>
                  <a:cubicBezTo>
                    <a:pt x="320" y="86"/>
                    <a:pt x="321" y="87"/>
                    <a:pt x="320" y="87"/>
                  </a:cubicBezTo>
                  <a:cubicBezTo>
                    <a:pt x="317" y="88"/>
                    <a:pt x="320" y="89"/>
                    <a:pt x="321" y="90"/>
                  </a:cubicBezTo>
                  <a:cubicBezTo>
                    <a:pt x="320" y="90"/>
                    <a:pt x="318" y="90"/>
                    <a:pt x="316" y="90"/>
                  </a:cubicBezTo>
                  <a:cubicBezTo>
                    <a:pt x="316" y="90"/>
                    <a:pt x="316" y="92"/>
                    <a:pt x="316" y="92"/>
                  </a:cubicBezTo>
                  <a:cubicBezTo>
                    <a:pt x="317" y="93"/>
                    <a:pt x="317" y="92"/>
                    <a:pt x="318" y="93"/>
                  </a:cubicBezTo>
                  <a:cubicBezTo>
                    <a:pt x="318" y="93"/>
                    <a:pt x="320" y="93"/>
                    <a:pt x="321" y="92"/>
                  </a:cubicBezTo>
                  <a:cubicBezTo>
                    <a:pt x="322" y="92"/>
                    <a:pt x="323" y="90"/>
                    <a:pt x="324" y="90"/>
                  </a:cubicBezTo>
                  <a:cubicBezTo>
                    <a:pt x="325" y="89"/>
                    <a:pt x="326" y="90"/>
                    <a:pt x="328" y="90"/>
                  </a:cubicBezTo>
                  <a:cubicBezTo>
                    <a:pt x="329" y="88"/>
                    <a:pt x="329" y="88"/>
                    <a:pt x="329" y="88"/>
                  </a:cubicBezTo>
                  <a:cubicBezTo>
                    <a:pt x="332" y="88"/>
                    <a:pt x="330" y="91"/>
                    <a:pt x="334" y="90"/>
                  </a:cubicBezTo>
                  <a:cubicBezTo>
                    <a:pt x="334" y="90"/>
                    <a:pt x="334" y="88"/>
                    <a:pt x="334" y="88"/>
                  </a:cubicBezTo>
                  <a:cubicBezTo>
                    <a:pt x="335" y="88"/>
                    <a:pt x="336" y="89"/>
                    <a:pt x="336" y="89"/>
                  </a:cubicBezTo>
                  <a:cubicBezTo>
                    <a:pt x="338" y="90"/>
                    <a:pt x="340" y="89"/>
                    <a:pt x="342" y="89"/>
                  </a:cubicBezTo>
                  <a:cubicBezTo>
                    <a:pt x="342" y="89"/>
                    <a:pt x="344" y="91"/>
                    <a:pt x="344" y="92"/>
                  </a:cubicBezTo>
                  <a:cubicBezTo>
                    <a:pt x="345" y="92"/>
                    <a:pt x="346" y="92"/>
                    <a:pt x="348" y="92"/>
                  </a:cubicBezTo>
                  <a:cubicBezTo>
                    <a:pt x="349" y="93"/>
                    <a:pt x="351" y="96"/>
                    <a:pt x="353" y="97"/>
                  </a:cubicBezTo>
                  <a:cubicBezTo>
                    <a:pt x="354" y="98"/>
                    <a:pt x="355" y="97"/>
                    <a:pt x="357" y="98"/>
                  </a:cubicBezTo>
                  <a:cubicBezTo>
                    <a:pt x="359" y="100"/>
                    <a:pt x="360" y="104"/>
                    <a:pt x="363" y="104"/>
                  </a:cubicBezTo>
                  <a:cubicBezTo>
                    <a:pt x="371" y="104"/>
                    <a:pt x="368" y="94"/>
                    <a:pt x="365" y="91"/>
                  </a:cubicBezTo>
                  <a:cubicBezTo>
                    <a:pt x="363" y="88"/>
                    <a:pt x="360" y="86"/>
                    <a:pt x="355" y="86"/>
                  </a:cubicBezTo>
                  <a:cubicBezTo>
                    <a:pt x="355" y="86"/>
                    <a:pt x="354" y="88"/>
                    <a:pt x="353" y="87"/>
                  </a:cubicBezTo>
                  <a:cubicBezTo>
                    <a:pt x="353" y="87"/>
                    <a:pt x="351" y="83"/>
                    <a:pt x="351" y="83"/>
                  </a:cubicBezTo>
                  <a:cubicBezTo>
                    <a:pt x="348" y="81"/>
                    <a:pt x="346" y="82"/>
                    <a:pt x="344" y="82"/>
                  </a:cubicBezTo>
                  <a:cubicBezTo>
                    <a:pt x="344" y="82"/>
                    <a:pt x="343" y="79"/>
                    <a:pt x="343" y="79"/>
                  </a:cubicBezTo>
                  <a:cubicBezTo>
                    <a:pt x="339" y="77"/>
                    <a:pt x="338" y="80"/>
                    <a:pt x="336" y="81"/>
                  </a:cubicBezTo>
                  <a:cubicBezTo>
                    <a:pt x="335" y="81"/>
                    <a:pt x="335" y="81"/>
                    <a:pt x="334" y="81"/>
                  </a:cubicBezTo>
                  <a:cubicBezTo>
                    <a:pt x="334" y="80"/>
                    <a:pt x="334" y="79"/>
                    <a:pt x="334" y="78"/>
                  </a:cubicBezTo>
                  <a:cubicBezTo>
                    <a:pt x="332" y="77"/>
                    <a:pt x="329" y="76"/>
                    <a:pt x="327" y="75"/>
                  </a:cubicBezTo>
                  <a:cubicBezTo>
                    <a:pt x="327" y="76"/>
                    <a:pt x="326" y="76"/>
                    <a:pt x="326" y="76"/>
                  </a:cubicBezTo>
                  <a:cubicBezTo>
                    <a:pt x="325" y="78"/>
                    <a:pt x="326" y="79"/>
                    <a:pt x="326" y="80"/>
                  </a:cubicBezTo>
                  <a:cubicBezTo>
                    <a:pt x="323" y="81"/>
                    <a:pt x="323" y="81"/>
                    <a:pt x="323" y="81"/>
                  </a:cubicBezTo>
                  <a:cubicBezTo>
                    <a:pt x="322" y="80"/>
                    <a:pt x="320" y="75"/>
                    <a:pt x="320" y="75"/>
                  </a:cubicBezTo>
                  <a:cubicBezTo>
                    <a:pt x="318" y="74"/>
                    <a:pt x="316" y="75"/>
                    <a:pt x="315" y="75"/>
                  </a:cubicBezTo>
                  <a:cubicBezTo>
                    <a:pt x="314" y="75"/>
                    <a:pt x="312" y="74"/>
                    <a:pt x="310" y="73"/>
                  </a:cubicBezTo>
                  <a:close/>
                  <a:moveTo>
                    <a:pt x="83" y="478"/>
                  </a:moveTo>
                  <a:cubicBezTo>
                    <a:pt x="82" y="478"/>
                    <a:pt x="80" y="479"/>
                    <a:pt x="79" y="480"/>
                  </a:cubicBezTo>
                  <a:cubicBezTo>
                    <a:pt x="80" y="482"/>
                    <a:pt x="78" y="481"/>
                    <a:pt x="80" y="482"/>
                  </a:cubicBezTo>
                  <a:cubicBezTo>
                    <a:pt x="80" y="483"/>
                    <a:pt x="80" y="483"/>
                    <a:pt x="80" y="483"/>
                  </a:cubicBezTo>
                  <a:cubicBezTo>
                    <a:pt x="80" y="481"/>
                    <a:pt x="79" y="485"/>
                    <a:pt x="80" y="487"/>
                  </a:cubicBezTo>
                  <a:cubicBezTo>
                    <a:pt x="81" y="489"/>
                    <a:pt x="87" y="491"/>
                    <a:pt x="88" y="493"/>
                  </a:cubicBezTo>
                  <a:cubicBezTo>
                    <a:pt x="88" y="492"/>
                    <a:pt x="88" y="491"/>
                    <a:pt x="88" y="491"/>
                  </a:cubicBezTo>
                  <a:cubicBezTo>
                    <a:pt x="87" y="488"/>
                    <a:pt x="86" y="489"/>
                    <a:pt x="86" y="489"/>
                  </a:cubicBezTo>
                  <a:cubicBezTo>
                    <a:pt x="86" y="489"/>
                    <a:pt x="87" y="488"/>
                    <a:pt x="89" y="487"/>
                  </a:cubicBezTo>
                  <a:cubicBezTo>
                    <a:pt x="88" y="486"/>
                    <a:pt x="88" y="486"/>
                    <a:pt x="86" y="485"/>
                  </a:cubicBezTo>
                  <a:cubicBezTo>
                    <a:pt x="86" y="485"/>
                    <a:pt x="88" y="483"/>
                    <a:pt x="87" y="482"/>
                  </a:cubicBezTo>
                  <a:cubicBezTo>
                    <a:pt x="86" y="481"/>
                    <a:pt x="85" y="482"/>
                    <a:pt x="85" y="481"/>
                  </a:cubicBezTo>
                  <a:cubicBezTo>
                    <a:pt x="85" y="481"/>
                    <a:pt x="86" y="480"/>
                    <a:pt x="86" y="479"/>
                  </a:cubicBezTo>
                  <a:cubicBezTo>
                    <a:pt x="85" y="478"/>
                    <a:pt x="84" y="479"/>
                    <a:pt x="83" y="478"/>
                  </a:cubicBezTo>
                  <a:close/>
                  <a:moveTo>
                    <a:pt x="96" y="469"/>
                  </a:moveTo>
                  <a:cubicBezTo>
                    <a:pt x="96" y="470"/>
                    <a:pt x="96" y="470"/>
                    <a:pt x="96" y="470"/>
                  </a:cubicBezTo>
                  <a:cubicBezTo>
                    <a:pt x="94" y="470"/>
                    <a:pt x="96" y="470"/>
                    <a:pt x="97" y="471"/>
                  </a:cubicBezTo>
                  <a:cubicBezTo>
                    <a:pt x="97" y="471"/>
                    <a:pt x="98" y="468"/>
                    <a:pt x="96" y="469"/>
                  </a:cubicBezTo>
                  <a:close/>
                  <a:moveTo>
                    <a:pt x="74" y="467"/>
                  </a:moveTo>
                  <a:cubicBezTo>
                    <a:pt x="74" y="469"/>
                    <a:pt x="75" y="474"/>
                    <a:pt x="75" y="475"/>
                  </a:cubicBezTo>
                  <a:cubicBezTo>
                    <a:pt x="75" y="475"/>
                    <a:pt x="74" y="475"/>
                    <a:pt x="74" y="477"/>
                  </a:cubicBezTo>
                  <a:cubicBezTo>
                    <a:pt x="76" y="477"/>
                    <a:pt x="76" y="477"/>
                    <a:pt x="76" y="477"/>
                  </a:cubicBezTo>
                  <a:cubicBezTo>
                    <a:pt x="76" y="477"/>
                    <a:pt x="76" y="479"/>
                    <a:pt x="76" y="478"/>
                  </a:cubicBezTo>
                  <a:cubicBezTo>
                    <a:pt x="76" y="478"/>
                    <a:pt x="76" y="480"/>
                    <a:pt x="76" y="480"/>
                  </a:cubicBezTo>
                  <a:cubicBezTo>
                    <a:pt x="77" y="481"/>
                    <a:pt x="79" y="479"/>
                    <a:pt x="79" y="479"/>
                  </a:cubicBezTo>
                  <a:cubicBezTo>
                    <a:pt x="80" y="478"/>
                    <a:pt x="82" y="478"/>
                    <a:pt x="82" y="477"/>
                  </a:cubicBezTo>
                  <a:cubicBezTo>
                    <a:pt x="83" y="476"/>
                    <a:pt x="82" y="474"/>
                    <a:pt x="82" y="473"/>
                  </a:cubicBezTo>
                  <a:cubicBezTo>
                    <a:pt x="83" y="471"/>
                    <a:pt x="84" y="469"/>
                    <a:pt x="84" y="467"/>
                  </a:cubicBezTo>
                  <a:cubicBezTo>
                    <a:pt x="79" y="468"/>
                    <a:pt x="78" y="470"/>
                    <a:pt x="74" y="467"/>
                  </a:cubicBezTo>
                  <a:close/>
                  <a:moveTo>
                    <a:pt x="278" y="385"/>
                  </a:moveTo>
                  <a:cubicBezTo>
                    <a:pt x="279" y="385"/>
                    <a:pt x="280" y="385"/>
                    <a:pt x="281" y="385"/>
                  </a:cubicBezTo>
                  <a:cubicBezTo>
                    <a:pt x="282" y="385"/>
                    <a:pt x="282" y="387"/>
                    <a:pt x="283" y="388"/>
                  </a:cubicBezTo>
                  <a:cubicBezTo>
                    <a:pt x="283" y="388"/>
                    <a:pt x="287" y="387"/>
                    <a:pt x="288" y="387"/>
                  </a:cubicBezTo>
                  <a:cubicBezTo>
                    <a:pt x="288" y="386"/>
                    <a:pt x="288" y="386"/>
                    <a:pt x="288" y="386"/>
                  </a:cubicBezTo>
                  <a:cubicBezTo>
                    <a:pt x="290" y="385"/>
                    <a:pt x="295" y="385"/>
                    <a:pt x="296" y="386"/>
                  </a:cubicBezTo>
                  <a:cubicBezTo>
                    <a:pt x="297" y="386"/>
                    <a:pt x="304" y="389"/>
                    <a:pt x="299" y="388"/>
                  </a:cubicBezTo>
                  <a:cubicBezTo>
                    <a:pt x="299" y="388"/>
                    <a:pt x="297" y="388"/>
                    <a:pt x="296" y="388"/>
                  </a:cubicBezTo>
                  <a:cubicBezTo>
                    <a:pt x="296" y="388"/>
                    <a:pt x="293" y="387"/>
                    <a:pt x="291" y="388"/>
                  </a:cubicBezTo>
                  <a:cubicBezTo>
                    <a:pt x="291" y="388"/>
                    <a:pt x="291" y="389"/>
                    <a:pt x="290" y="390"/>
                  </a:cubicBezTo>
                  <a:cubicBezTo>
                    <a:pt x="289" y="391"/>
                    <a:pt x="288" y="390"/>
                    <a:pt x="286" y="390"/>
                  </a:cubicBezTo>
                  <a:cubicBezTo>
                    <a:pt x="284" y="391"/>
                    <a:pt x="283" y="393"/>
                    <a:pt x="282" y="394"/>
                  </a:cubicBezTo>
                  <a:cubicBezTo>
                    <a:pt x="278" y="395"/>
                    <a:pt x="276" y="396"/>
                    <a:pt x="273" y="399"/>
                  </a:cubicBezTo>
                  <a:cubicBezTo>
                    <a:pt x="272" y="400"/>
                    <a:pt x="269" y="402"/>
                    <a:pt x="269" y="403"/>
                  </a:cubicBezTo>
                  <a:cubicBezTo>
                    <a:pt x="269" y="404"/>
                    <a:pt x="269" y="405"/>
                    <a:pt x="269" y="405"/>
                  </a:cubicBezTo>
                  <a:cubicBezTo>
                    <a:pt x="267" y="405"/>
                    <a:pt x="265" y="406"/>
                    <a:pt x="264" y="405"/>
                  </a:cubicBezTo>
                  <a:cubicBezTo>
                    <a:pt x="264" y="405"/>
                    <a:pt x="263" y="404"/>
                    <a:pt x="263" y="404"/>
                  </a:cubicBezTo>
                  <a:cubicBezTo>
                    <a:pt x="261" y="405"/>
                    <a:pt x="262" y="402"/>
                    <a:pt x="262" y="402"/>
                  </a:cubicBezTo>
                  <a:cubicBezTo>
                    <a:pt x="263" y="401"/>
                    <a:pt x="263" y="402"/>
                    <a:pt x="264" y="401"/>
                  </a:cubicBezTo>
                  <a:cubicBezTo>
                    <a:pt x="266" y="400"/>
                    <a:pt x="267" y="397"/>
                    <a:pt x="268" y="396"/>
                  </a:cubicBezTo>
                  <a:cubicBezTo>
                    <a:pt x="270" y="394"/>
                    <a:pt x="274" y="393"/>
                    <a:pt x="275" y="391"/>
                  </a:cubicBezTo>
                  <a:cubicBezTo>
                    <a:pt x="275" y="390"/>
                    <a:pt x="275" y="389"/>
                    <a:pt x="275" y="388"/>
                  </a:cubicBezTo>
                  <a:cubicBezTo>
                    <a:pt x="275" y="387"/>
                    <a:pt x="278" y="386"/>
                    <a:pt x="278" y="385"/>
                  </a:cubicBezTo>
                  <a:close/>
                  <a:moveTo>
                    <a:pt x="274" y="332"/>
                  </a:moveTo>
                  <a:cubicBezTo>
                    <a:pt x="277" y="332"/>
                    <a:pt x="278" y="333"/>
                    <a:pt x="280" y="334"/>
                  </a:cubicBezTo>
                  <a:cubicBezTo>
                    <a:pt x="280" y="335"/>
                    <a:pt x="280" y="335"/>
                    <a:pt x="280" y="335"/>
                  </a:cubicBezTo>
                  <a:cubicBezTo>
                    <a:pt x="278" y="335"/>
                    <a:pt x="277" y="334"/>
                    <a:pt x="275" y="334"/>
                  </a:cubicBezTo>
                  <a:cubicBezTo>
                    <a:pt x="276" y="335"/>
                    <a:pt x="275" y="336"/>
                    <a:pt x="276" y="336"/>
                  </a:cubicBezTo>
                  <a:cubicBezTo>
                    <a:pt x="276" y="336"/>
                    <a:pt x="277" y="337"/>
                    <a:pt x="277" y="338"/>
                  </a:cubicBezTo>
                  <a:cubicBezTo>
                    <a:pt x="276" y="338"/>
                    <a:pt x="274" y="337"/>
                    <a:pt x="273" y="338"/>
                  </a:cubicBezTo>
                  <a:cubicBezTo>
                    <a:pt x="272" y="338"/>
                    <a:pt x="273" y="340"/>
                    <a:pt x="272" y="341"/>
                  </a:cubicBezTo>
                  <a:cubicBezTo>
                    <a:pt x="272" y="341"/>
                    <a:pt x="270" y="341"/>
                    <a:pt x="270" y="341"/>
                  </a:cubicBezTo>
                  <a:cubicBezTo>
                    <a:pt x="269" y="343"/>
                    <a:pt x="268" y="346"/>
                    <a:pt x="266" y="347"/>
                  </a:cubicBezTo>
                  <a:cubicBezTo>
                    <a:pt x="264" y="348"/>
                    <a:pt x="264" y="346"/>
                    <a:pt x="262" y="347"/>
                  </a:cubicBezTo>
                  <a:cubicBezTo>
                    <a:pt x="262" y="347"/>
                    <a:pt x="254" y="355"/>
                    <a:pt x="254" y="355"/>
                  </a:cubicBezTo>
                  <a:cubicBezTo>
                    <a:pt x="253" y="356"/>
                    <a:pt x="254" y="357"/>
                    <a:pt x="253" y="358"/>
                  </a:cubicBezTo>
                  <a:cubicBezTo>
                    <a:pt x="252" y="359"/>
                    <a:pt x="250" y="359"/>
                    <a:pt x="248" y="360"/>
                  </a:cubicBezTo>
                  <a:cubicBezTo>
                    <a:pt x="248" y="359"/>
                    <a:pt x="247" y="358"/>
                    <a:pt x="246" y="358"/>
                  </a:cubicBezTo>
                  <a:cubicBezTo>
                    <a:pt x="245" y="357"/>
                    <a:pt x="244" y="358"/>
                    <a:pt x="243" y="358"/>
                  </a:cubicBezTo>
                  <a:cubicBezTo>
                    <a:pt x="242" y="360"/>
                    <a:pt x="239" y="365"/>
                    <a:pt x="237" y="366"/>
                  </a:cubicBezTo>
                  <a:cubicBezTo>
                    <a:pt x="237" y="366"/>
                    <a:pt x="234" y="365"/>
                    <a:pt x="233" y="365"/>
                  </a:cubicBezTo>
                  <a:cubicBezTo>
                    <a:pt x="229" y="365"/>
                    <a:pt x="226" y="366"/>
                    <a:pt x="223" y="368"/>
                  </a:cubicBezTo>
                  <a:cubicBezTo>
                    <a:pt x="222" y="367"/>
                    <a:pt x="221" y="367"/>
                    <a:pt x="220" y="366"/>
                  </a:cubicBezTo>
                  <a:cubicBezTo>
                    <a:pt x="219" y="365"/>
                    <a:pt x="219" y="362"/>
                    <a:pt x="218" y="362"/>
                  </a:cubicBezTo>
                  <a:cubicBezTo>
                    <a:pt x="216" y="361"/>
                    <a:pt x="214" y="362"/>
                    <a:pt x="212" y="361"/>
                  </a:cubicBezTo>
                  <a:cubicBezTo>
                    <a:pt x="212" y="361"/>
                    <a:pt x="210" y="359"/>
                    <a:pt x="209" y="359"/>
                  </a:cubicBezTo>
                  <a:cubicBezTo>
                    <a:pt x="205" y="354"/>
                    <a:pt x="214" y="359"/>
                    <a:pt x="218" y="358"/>
                  </a:cubicBezTo>
                  <a:cubicBezTo>
                    <a:pt x="218" y="358"/>
                    <a:pt x="220" y="356"/>
                    <a:pt x="220" y="356"/>
                  </a:cubicBezTo>
                  <a:cubicBezTo>
                    <a:pt x="222" y="355"/>
                    <a:pt x="224" y="354"/>
                    <a:pt x="227" y="352"/>
                  </a:cubicBezTo>
                  <a:cubicBezTo>
                    <a:pt x="227" y="352"/>
                    <a:pt x="228" y="350"/>
                    <a:pt x="229" y="350"/>
                  </a:cubicBezTo>
                  <a:cubicBezTo>
                    <a:pt x="231" y="349"/>
                    <a:pt x="232" y="350"/>
                    <a:pt x="234" y="350"/>
                  </a:cubicBezTo>
                  <a:cubicBezTo>
                    <a:pt x="233" y="349"/>
                    <a:pt x="234" y="349"/>
                    <a:pt x="235" y="348"/>
                  </a:cubicBezTo>
                  <a:cubicBezTo>
                    <a:pt x="231" y="345"/>
                    <a:pt x="229" y="344"/>
                    <a:pt x="228" y="340"/>
                  </a:cubicBezTo>
                  <a:cubicBezTo>
                    <a:pt x="228" y="339"/>
                    <a:pt x="228" y="338"/>
                    <a:pt x="228" y="337"/>
                  </a:cubicBezTo>
                  <a:cubicBezTo>
                    <a:pt x="228" y="336"/>
                    <a:pt x="226" y="335"/>
                    <a:pt x="225" y="335"/>
                  </a:cubicBezTo>
                  <a:cubicBezTo>
                    <a:pt x="225" y="333"/>
                    <a:pt x="225" y="333"/>
                    <a:pt x="225" y="333"/>
                  </a:cubicBezTo>
                  <a:cubicBezTo>
                    <a:pt x="227" y="334"/>
                    <a:pt x="229" y="333"/>
                    <a:pt x="231" y="334"/>
                  </a:cubicBezTo>
                  <a:cubicBezTo>
                    <a:pt x="231" y="334"/>
                    <a:pt x="233" y="337"/>
                    <a:pt x="233" y="337"/>
                  </a:cubicBezTo>
                  <a:cubicBezTo>
                    <a:pt x="234" y="338"/>
                    <a:pt x="234" y="336"/>
                    <a:pt x="236" y="336"/>
                  </a:cubicBezTo>
                  <a:cubicBezTo>
                    <a:pt x="236" y="340"/>
                    <a:pt x="237" y="342"/>
                    <a:pt x="238" y="346"/>
                  </a:cubicBezTo>
                  <a:cubicBezTo>
                    <a:pt x="242" y="346"/>
                    <a:pt x="250" y="347"/>
                    <a:pt x="253" y="346"/>
                  </a:cubicBezTo>
                  <a:cubicBezTo>
                    <a:pt x="256" y="346"/>
                    <a:pt x="258" y="341"/>
                    <a:pt x="260" y="340"/>
                  </a:cubicBezTo>
                  <a:cubicBezTo>
                    <a:pt x="261" y="339"/>
                    <a:pt x="262" y="339"/>
                    <a:pt x="264" y="338"/>
                  </a:cubicBezTo>
                  <a:cubicBezTo>
                    <a:pt x="265" y="337"/>
                    <a:pt x="266" y="334"/>
                    <a:pt x="268" y="334"/>
                  </a:cubicBezTo>
                  <a:cubicBezTo>
                    <a:pt x="270" y="333"/>
                    <a:pt x="271" y="334"/>
                    <a:pt x="272" y="334"/>
                  </a:cubicBezTo>
                  <a:cubicBezTo>
                    <a:pt x="273" y="334"/>
                    <a:pt x="274" y="332"/>
                    <a:pt x="274" y="332"/>
                  </a:cubicBezTo>
                  <a:close/>
                  <a:moveTo>
                    <a:pt x="189" y="328"/>
                  </a:moveTo>
                  <a:cubicBezTo>
                    <a:pt x="190" y="328"/>
                    <a:pt x="194" y="329"/>
                    <a:pt x="197" y="330"/>
                  </a:cubicBezTo>
                  <a:cubicBezTo>
                    <a:pt x="197" y="330"/>
                    <a:pt x="197" y="332"/>
                    <a:pt x="197" y="332"/>
                  </a:cubicBezTo>
                  <a:cubicBezTo>
                    <a:pt x="199" y="332"/>
                    <a:pt x="202" y="332"/>
                    <a:pt x="206" y="332"/>
                  </a:cubicBezTo>
                  <a:cubicBezTo>
                    <a:pt x="205" y="334"/>
                    <a:pt x="205" y="334"/>
                    <a:pt x="205" y="334"/>
                  </a:cubicBezTo>
                  <a:cubicBezTo>
                    <a:pt x="202" y="334"/>
                    <a:pt x="199" y="335"/>
                    <a:pt x="197" y="336"/>
                  </a:cubicBezTo>
                  <a:cubicBezTo>
                    <a:pt x="193" y="336"/>
                    <a:pt x="191" y="334"/>
                    <a:pt x="188" y="334"/>
                  </a:cubicBezTo>
                  <a:cubicBezTo>
                    <a:pt x="186" y="334"/>
                    <a:pt x="186" y="335"/>
                    <a:pt x="184" y="334"/>
                  </a:cubicBezTo>
                  <a:cubicBezTo>
                    <a:pt x="183" y="334"/>
                    <a:pt x="182" y="333"/>
                    <a:pt x="181" y="332"/>
                  </a:cubicBezTo>
                  <a:cubicBezTo>
                    <a:pt x="183" y="332"/>
                    <a:pt x="184" y="332"/>
                    <a:pt x="185" y="331"/>
                  </a:cubicBezTo>
                  <a:cubicBezTo>
                    <a:pt x="185" y="331"/>
                    <a:pt x="187" y="331"/>
                    <a:pt x="188" y="330"/>
                  </a:cubicBezTo>
                  <a:cubicBezTo>
                    <a:pt x="189" y="330"/>
                    <a:pt x="188" y="329"/>
                    <a:pt x="189" y="328"/>
                  </a:cubicBezTo>
                  <a:close/>
                  <a:moveTo>
                    <a:pt x="185" y="279"/>
                  </a:moveTo>
                  <a:cubicBezTo>
                    <a:pt x="188" y="278"/>
                    <a:pt x="190" y="280"/>
                    <a:pt x="193" y="281"/>
                  </a:cubicBezTo>
                  <a:cubicBezTo>
                    <a:pt x="194" y="281"/>
                    <a:pt x="196" y="281"/>
                    <a:pt x="197" y="282"/>
                  </a:cubicBezTo>
                  <a:cubicBezTo>
                    <a:pt x="197" y="282"/>
                    <a:pt x="198" y="282"/>
                    <a:pt x="199" y="282"/>
                  </a:cubicBezTo>
                  <a:cubicBezTo>
                    <a:pt x="198" y="283"/>
                    <a:pt x="198" y="283"/>
                    <a:pt x="198" y="283"/>
                  </a:cubicBezTo>
                  <a:cubicBezTo>
                    <a:pt x="193" y="283"/>
                    <a:pt x="182" y="285"/>
                    <a:pt x="189" y="287"/>
                  </a:cubicBezTo>
                  <a:cubicBezTo>
                    <a:pt x="190" y="288"/>
                    <a:pt x="191" y="287"/>
                    <a:pt x="192" y="287"/>
                  </a:cubicBezTo>
                  <a:cubicBezTo>
                    <a:pt x="194" y="287"/>
                    <a:pt x="197" y="290"/>
                    <a:pt x="198" y="290"/>
                  </a:cubicBezTo>
                  <a:cubicBezTo>
                    <a:pt x="202" y="291"/>
                    <a:pt x="205" y="289"/>
                    <a:pt x="208" y="288"/>
                  </a:cubicBezTo>
                  <a:cubicBezTo>
                    <a:pt x="208" y="290"/>
                    <a:pt x="209" y="290"/>
                    <a:pt x="209" y="292"/>
                  </a:cubicBezTo>
                  <a:cubicBezTo>
                    <a:pt x="209" y="294"/>
                    <a:pt x="206" y="297"/>
                    <a:pt x="205" y="298"/>
                  </a:cubicBezTo>
                  <a:cubicBezTo>
                    <a:pt x="206" y="299"/>
                    <a:pt x="206" y="299"/>
                    <a:pt x="207" y="299"/>
                  </a:cubicBezTo>
                  <a:cubicBezTo>
                    <a:pt x="207" y="299"/>
                    <a:pt x="207" y="301"/>
                    <a:pt x="207" y="301"/>
                  </a:cubicBezTo>
                  <a:cubicBezTo>
                    <a:pt x="205" y="302"/>
                    <a:pt x="202" y="303"/>
                    <a:pt x="198" y="302"/>
                  </a:cubicBezTo>
                  <a:cubicBezTo>
                    <a:pt x="198" y="302"/>
                    <a:pt x="196" y="300"/>
                    <a:pt x="196" y="300"/>
                  </a:cubicBezTo>
                  <a:cubicBezTo>
                    <a:pt x="194" y="300"/>
                    <a:pt x="194" y="301"/>
                    <a:pt x="192" y="301"/>
                  </a:cubicBezTo>
                  <a:cubicBezTo>
                    <a:pt x="192" y="301"/>
                    <a:pt x="191" y="303"/>
                    <a:pt x="191" y="304"/>
                  </a:cubicBezTo>
                  <a:cubicBezTo>
                    <a:pt x="192" y="305"/>
                    <a:pt x="203" y="310"/>
                    <a:pt x="199" y="309"/>
                  </a:cubicBezTo>
                  <a:cubicBezTo>
                    <a:pt x="198" y="309"/>
                    <a:pt x="196" y="308"/>
                    <a:pt x="195" y="308"/>
                  </a:cubicBezTo>
                  <a:cubicBezTo>
                    <a:pt x="194" y="308"/>
                    <a:pt x="191" y="308"/>
                    <a:pt x="191" y="308"/>
                  </a:cubicBezTo>
                  <a:cubicBezTo>
                    <a:pt x="188" y="309"/>
                    <a:pt x="185" y="309"/>
                    <a:pt x="182" y="311"/>
                  </a:cubicBezTo>
                  <a:cubicBezTo>
                    <a:pt x="181" y="312"/>
                    <a:pt x="179" y="315"/>
                    <a:pt x="177" y="316"/>
                  </a:cubicBezTo>
                  <a:cubicBezTo>
                    <a:pt x="176" y="316"/>
                    <a:pt x="177" y="313"/>
                    <a:pt x="177" y="312"/>
                  </a:cubicBezTo>
                  <a:cubicBezTo>
                    <a:pt x="178" y="311"/>
                    <a:pt x="178" y="313"/>
                    <a:pt x="180" y="312"/>
                  </a:cubicBezTo>
                  <a:cubicBezTo>
                    <a:pt x="181" y="311"/>
                    <a:pt x="180" y="310"/>
                    <a:pt x="181" y="310"/>
                  </a:cubicBezTo>
                  <a:cubicBezTo>
                    <a:pt x="182" y="307"/>
                    <a:pt x="185" y="307"/>
                    <a:pt x="189" y="306"/>
                  </a:cubicBezTo>
                  <a:cubicBezTo>
                    <a:pt x="189" y="305"/>
                    <a:pt x="189" y="305"/>
                    <a:pt x="189" y="305"/>
                  </a:cubicBezTo>
                  <a:cubicBezTo>
                    <a:pt x="183" y="303"/>
                    <a:pt x="183" y="303"/>
                    <a:pt x="179" y="306"/>
                  </a:cubicBezTo>
                  <a:cubicBezTo>
                    <a:pt x="178" y="307"/>
                    <a:pt x="176" y="308"/>
                    <a:pt x="175" y="309"/>
                  </a:cubicBezTo>
                  <a:cubicBezTo>
                    <a:pt x="175" y="310"/>
                    <a:pt x="176" y="311"/>
                    <a:pt x="175" y="312"/>
                  </a:cubicBezTo>
                  <a:cubicBezTo>
                    <a:pt x="175" y="313"/>
                    <a:pt x="174" y="314"/>
                    <a:pt x="173" y="314"/>
                  </a:cubicBezTo>
                  <a:cubicBezTo>
                    <a:pt x="168" y="313"/>
                    <a:pt x="165" y="313"/>
                    <a:pt x="161" y="310"/>
                  </a:cubicBezTo>
                  <a:cubicBezTo>
                    <a:pt x="161" y="308"/>
                    <a:pt x="161" y="308"/>
                    <a:pt x="161" y="308"/>
                  </a:cubicBezTo>
                  <a:cubicBezTo>
                    <a:pt x="165" y="307"/>
                    <a:pt x="163" y="307"/>
                    <a:pt x="163" y="304"/>
                  </a:cubicBezTo>
                  <a:cubicBezTo>
                    <a:pt x="165" y="303"/>
                    <a:pt x="166" y="301"/>
                    <a:pt x="168" y="300"/>
                  </a:cubicBezTo>
                  <a:cubicBezTo>
                    <a:pt x="168" y="299"/>
                    <a:pt x="168" y="299"/>
                    <a:pt x="168" y="298"/>
                  </a:cubicBezTo>
                  <a:cubicBezTo>
                    <a:pt x="168" y="297"/>
                    <a:pt x="165" y="295"/>
                    <a:pt x="165" y="294"/>
                  </a:cubicBezTo>
                  <a:cubicBezTo>
                    <a:pt x="161" y="292"/>
                    <a:pt x="168" y="294"/>
                    <a:pt x="169" y="294"/>
                  </a:cubicBezTo>
                  <a:cubicBezTo>
                    <a:pt x="171" y="295"/>
                    <a:pt x="173" y="295"/>
                    <a:pt x="175" y="295"/>
                  </a:cubicBezTo>
                  <a:cubicBezTo>
                    <a:pt x="174" y="294"/>
                    <a:pt x="177" y="292"/>
                    <a:pt x="173" y="292"/>
                  </a:cubicBezTo>
                  <a:cubicBezTo>
                    <a:pt x="173" y="292"/>
                    <a:pt x="173" y="291"/>
                    <a:pt x="173" y="290"/>
                  </a:cubicBezTo>
                  <a:cubicBezTo>
                    <a:pt x="169" y="287"/>
                    <a:pt x="157" y="287"/>
                    <a:pt x="153" y="288"/>
                  </a:cubicBezTo>
                  <a:cubicBezTo>
                    <a:pt x="153" y="287"/>
                    <a:pt x="152" y="284"/>
                    <a:pt x="154" y="284"/>
                  </a:cubicBezTo>
                  <a:cubicBezTo>
                    <a:pt x="154" y="284"/>
                    <a:pt x="156" y="285"/>
                    <a:pt x="157" y="285"/>
                  </a:cubicBezTo>
                  <a:cubicBezTo>
                    <a:pt x="159" y="284"/>
                    <a:pt x="159" y="284"/>
                    <a:pt x="159" y="284"/>
                  </a:cubicBezTo>
                  <a:cubicBezTo>
                    <a:pt x="161" y="283"/>
                    <a:pt x="160" y="284"/>
                    <a:pt x="160" y="283"/>
                  </a:cubicBezTo>
                  <a:cubicBezTo>
                    <a:pt x="163" y="283"/>
                    <a:pt x="164" y="284"/>
                    <a:pt x="167" y="284"/>
                  </a:cubicBezTo>
                  <a:cubicBezTo>
                    <a:pt x="169" y="283"/>
                    <a:pt x="169" y="283"/>
                    <a:pt x="169" y="283"/>
                  </a:cubicBezTo>
                  <a:cubicBezTo>
                    <a:pt x="170" y="282"/>
                    <a:pt x="172" y="283"/>
                    <a:pt x="174" y="283"/>
                  </a:cubicBezTo>
                  <a:cubicBezTo>
                    <a:pt x="175" y="281"/>
                    <a:pt x="175" y="281"/>
                    <a:pt x="175" y="281"/>
                  </a:cubicBezTo>
                  <a:cubicBezTo>
                    <a:pt x="177" y="280"/>
                    <a:pt x="179" y="281"/>
                    <a:pt x="181" y="281"/>
                  </a:cubicBezTo>
                  <a:cubicBezTo>
                    <a:pt x="182" y="280"/>
                    <a:pt x="184" y="279"/>
                    <a:pt x="185" y="279"/>
                  </a:cubicBezTo>
                  <a:close/>
                  <a:moveTo>
                    <a:pt x="365" y="263"/>
                  </a:moveTo>
                  <a:cubicBezTo>
                    <a:pt x="365" y="263"/>
                    <a:pt x="366" y="264"/>
                    <a:pt x="366" y="265"/>
                  </a:cubicBezTo>
                  <a:cubicBezTo>
                    <a:pt x="367" y="265"/>
                    <a:pt x="366" y="264"/>
                    <a:pt x="367" y="264"/>
                  </a:cubicBezTo>
                  <a:cubicBezTo>
                    <a:pt x="366" y="264"/>
                    <a:pt x="366" y="263"/>
                    <a:pt x="365" y="263"/>
                  </a:cubicBezTo>
                  <a:close/>
                  <a:moveTo>
                    <a:pt x="361" y="259"/>
                  </a:moveTo>
                  <a:cubicBezTo>
                    <a:pt x="363" y="262"/>
                    <a:pt x="363" y="265"/>
                    <a:pt x="362" y="259"/>
                  </a:cubicBezTo>
                  <a:lnTo>
                    <a:pt x="361" y="259"/>
                  </a:lnTo>
                  <a:close/>
                  <a:moveTo>
                    <a:pt x="318" y="253"/>
                  </a:moveTo>
                  <a:cubicBezTo>
                    <a:pt x="318" y="254"/>
                    <a:pt x="318" y="254"/>
                    <a:pt x="318" y="254"/>
                  </a:cubicBezTo>
                  <a:cubicBezTo>
                    <a:pt x="316" y="255"/>
                    <a:pt x="313" y="253"/>
                    <a:pt x="316" y="255"/>
                  </a:cubicBezTo>
                  <a:cubicBezTo>
                    <a:pt x="316" y="255"/>
                    <a:pt x="317" y="256"/>
                    <a:pt x="318" y="257"/>
                  </a:cubicBezTo>
                  <a:cubicBezTo>
                    <a:pt x="319" y="256"/>
                    <a:pt x="322" y="256"/>
                    <a:pt x="320" y="254"/>
                  </a:cubicBezTo>
                  <a:cubicBezTo>
                    <a:pt x="319" y="253"/>
                    <a:pt x="320" y="253"/>
                    <a:pt x="318" y="253"/>
                  </a:cubicBezTo>
                  <a:close/>
                  <a:moveTo>
                    <a:pt x="346" y="249"/>
                  </a:moveTo>
                  <a:cubicBezTo>
                    <a:pt x="343" y="249"/>
                    <a:pt x="341" y="253"/>
                    <a:pt x="344" y="253"/>
                  </a:cubicBezTo>
                  <a:cubicBezTo>
                    <a:pt x="345" y="252"/>
                    <a:pt x="349" y="248"/>
                    <a:pt x="346" y="249"/>
                  </a:cubicBezTo>
                  <a:close/>
                  <a:moveTo>
                    <a:pt x="357" y="245"/>
                  </a:moveTo>
                  <a:cubicBezTo>
                    <a:pt x="357" y="247"/>
                    <a:pt x="357" y="247"/>
                    <a:pt x="357" y="247"/>
                  </a:cubicBezTo>
                  <a:cubicBezTo>
                    <a:pt x="356" y="247"/>
                    <a:pt x="355" y="246"/>
                    <a:pt x="353" y="246"/>
                  </a:cubicBezTo>
                  <a:cubicBezTo>
                    <a:pt x="353" y="248"/>
                    <a:pt x="353" y="248"/>
                    <a:pt x="353" y="248"/>
                  </a:cubicBezTo>
                  <a:cubicBezTo>
                    <a:pt x="354" y="248"/>
                    <a:pt x="356" y="249"/>
                    <a:pt x="358" y="249"/>
                  </a:cubicBezTo>
                  <a:cubicBezTo>
                    <a:pt x="360" y="248"/>
                    <a:pt x="358" y="244"/>
                    <a:pt x="357" y="245"/>
                  </a:cubicBezTo>
                  <a:close/>
                  <a:moveTo>
                    <a:pt x="352" y="241"/>
                  </a:moveTo>
                  <a:cubicBezTo>
                    <a:pt x="352" y="241"/>
                    <a:pt x="353" y="243"/>
                    <a:pt x="353" y="243"/>
                  </a:cubicBezTo>
                  <a:cubicBezTo>
                    <a:pt x="355" y="243"/>
                    <a:pt x="354" y="241"/>
                    <a:pt x="352" y="241"/>
                  </a:cubicBezTo>
                  <a:close/>
                  <a:moveTo>
                    <a:pt x="377" y="233"/>
                  </a:moveTo>
                  <a:cubicBezTo>
                    <a:pt x="377" y="233"/>
                    <a:pt x="376" y="234"/>
                    <a:pt x="376" y="234"/>
                  </a:cubicBezTo>
                  <a:cubicBezTo>
                    <a:pt x="376" y="235"/>
                    <a:pt x="376" y="236"/>
                    <a:pt x="376" y="237"/>
                  </a:cubicBezTo>
                  <a:cubicBezTo>
                    <a:pt x="375" y="237"/>
                    <a:pt x="375" y="236"/>
                    <a:pt x="375" y="236"/>
                  </a:cubicBezTo>
                  <a:cubicBezTo>
                    <a:pt x="373" y="235"/>
                    <a:pt x="373" y="237"/>
                    <a:pt x="372" y="237"/>
                  </a:cubicBezTo>
                  <a:cubicBezTo>
                    <a:pt x="372" y="240"/>
                    <a:pt x="371" y="244"/>
                    <a:pt x="368" y="245"/>
                  </a:cubicBezTo>
                  <a:cubicBezTo>
                    <a:pt x="368" y="245"/>
                    <a:pt x="367" y="245"/>
                    <a:pt x="366" y="245"/>
                  </a:cubicBezTo>
                  <a:cubicBezTo>
                    <a:pt x="366" y="246"/>
                    <a:pt x="366" y="247"/>
                    <a:pt x="365" y="247"/>
                  </a:cubicBezTo>
                  <a:cubicBezTo>
                    <a:pt x="367" y="248"/>
                    <a:pt x="366" y="248"/>
                    <a:pt x="367" y="249"/>
                  </a:cubicBezTo>
                  <a:cubicBezTo>
                    <a:pt x="368" y="249"/>
                    <a:pt x="368" y="248"/>
                    <a:pt x="369" y="248"/>
                  </a:cubicBezTo>
                  <a:cubicBezTo>
                    <a:pt x="369" y="250"/>
                    <a:pt x="369" y="250"/>
                    <a:pt x="369" y="250"/>
                  </a:cubicBezTo>
                  <a:cubicBezTo>
                    <a:pt x="370" y="250"/>
                    <a:pt x="371" y="250"/>
                    <a:pt x="371" y="251"/>
                  </a:cubicBezTo>
                  <a:cubicBezTo>
                    <a:pt x="372" y="250"/>
                    <a:pt x="373" y="247"/>
                    <a:pt x="375" y="248"/>
                  </a:cubicBezTo>
                  <a:cubicBezTo>
                    <a:pt x="376" y="248"/>
                    <a:pt x="375" y="251"/>
                    <a:pt x="375" y="251"/>
                  </a:cubicBezTo>
                  <a:cubicBezTo>
                    <a:pt x="375" y="252"/>
                    <a:pt x="375" y="252"/>
                    <a:pt x="375" y="252"/>
                  </a:cubicBezTo>
                  <a:cubicBezTo>
                    <a:pt x="379" y="254"/>
                    <a:pt x="377" y="253"/>
                    <a:pt x="379" y="257"/>
                  </a:cubicBezTo>
                  <a:cubicBezTo>
                    <a:pt x="380" y="257"/>
                    <a:pt x="382" y="257"/>
                    <a:pt x="381" y="256"/>
                  </a:cubicBezTo>
                  <a:cubicBezTo>
                    <a:pt x="382" y="256"/>
                    <a:pt x="383" y="257"/>
                    <a:pt x="384" y="257"/>
                  </a:cubicBezTo>
                  <a:cubicBezTo>
                    <a:pt x="385" y="256"/>
                    <a:pt x="387" y="254"/>
                    <a:pt x="385" y="255"/>
                  </a:cubicBezTo>
                  <a:cubicBezTo>
                    <a:pt x="385" y="254"/>
                    <a:pt x="385" y="253"/>
                    <a:pt x="385" y="253"/>
                  </a:cubicBezTo>
                  <a:cubicBezTo>
                    <a:pt x="390" y="254"/>
                    <a:pt x="389" y="254"/>
                    <a:pt x="393" y="253"/>
                  </a:cubicBezTo>
                  <a:cubicBezTo>
                    <a:pt x="393" y="252"/>
                    <a:pt x="396" y="252"/>
                    <a:pt x="397" y="252"/>
                  </a:cubicBezTo>
                  <a:cubicBezTo>
                    <a:pt x="397" y="252"/>
                    <a:pt x="399" y="250"/>
                    <a:pt x="399" y="250"/>
                  </a:cubicBezTo>
                  <a:cubicBezTo>
                    <a:pt x="397" y="250"/>
                    <a:pt x="396" y="250"/>
                    <a:pt x="395" y="249"/>
                  </a:cubicBezTo>
                  <a:cubicBezTo>
                    <a:pt x="395" y="247"/>
                    <a:pt x="396" y="243"/>
                    <a:pt x="395" y="241"/>
                  </a:cubicBezTo>
                  <a:cubicBezTo>
                    <a:pt x="388" y="235"/>
                    <a:pt x="388" y="235"/>
                    <a:pt x="388" y="235"/>
                  </a:cubicBezTo>
                  <a:cubicBezTo>
                    <a:pt x="387" y="235"/>
                    <a:pt x="385" y="236"/>
                    <a:pt x="384" y="235"/>
                  </a:cubicBezTo>
                  <a:cubicBezTo>
                    <a:pt x="383" y="234"/>
                    <a:pt x="383" y="234"/>
                    <a:pt x="383" y="234"/>
                  </a:cubicBezTo>
                  <a:cubicBezTo>
                    <a:pt x="381" y="234"/>
                    <a:pt x="381" y="235"/>
                    <a:pt x="380" y="235"/>
                  </a:cubicBezTo>
                  <a:cubicBezTo>
                    <a:pt x="380" y="235"/>
                    <a:pt x="380" y="233"/>
                    <a:pt x="380" y="233"/>
                  </a:cubicBezTo>
                  <a:cubicBezTo>
                    <a:pt x="379" y="232"/>
                    <a:pt x="378" y="233"/>
                    <a:pt x="377" y="233"/>
                  </a:cubicBezTo>
                  <a:close/>
                  <a:moveTo>
                    <a:pt x="355" y="218"/>
                  </a:moveTo>
                  <a:cubicBezTo>
                    <a:pt x="355" y="219"/>
                    <a:pt x="355" y="219"/>
                    <a:pt x="355" y="219"/>
                  </a:cubicBezTo>
                  <a:cubicBezTo>
                    <a:pt x="351" y="222"/>
                    <a:pt x="353" y="221"/>
                    <a:pt x="353" y="224"/>
                  </a:cubicBezTo>
                  <a:cubicBezTo>
                    <a:pt x="353" y="224"/>
                    <a:pt x="354" y="223"/>
                    <a:pt x="355" y="223"/>
                  </a:cubicBezTo>
                  <a:cubicBezTo>
                    <a:pt x="355" y="222"/>
                    <a:pt x="357" y="217"/>
                    <a:pt x="355" y="218"/>
                  </a:cubicBezTo>
                  <a:close/>
                  <a:moveTo>
                    <a:pt x="295" y="171"/>
                  </a:moveTo>
                  <a:cubicBezTo>
                    <a:pt x="294" y="178"/>
                    <a:pt x="294" y="182"/>
                    <a:pt x="296" y="188"/>
                  </a:cubicBezTo>
                  <a:cubicBezTo>
                    <a:pt x="297" y="188"/>
                    <a:pt x="301" y="188"/>
                    <a:pt x="303" y="189"/>
                  </a:cubicBezTo>
                  <a:cubicBezTo>
                    <a:pt x="304" y="189"/>
                    <a:pt x="305" y="191"/>
                    <a:pt x="305" y="191"/>
                  </a:cubicBezTo>
                  <a:cubicBezTo>
                    <a:pt x="307" y="192"/>
                    <a:pt x="308" y="191"/>
                    <a:pt x="310" y="191"/>
                  </a:cubicBezTo>
                  <a:cubicBezTo>
                    <a:pt x="310" y="191"/>
                    <a:pt x="310" y="190"/>
                    <a:pt x="310" y="190"/>
                  </a:cubicBezTo>
                  <a:cubicBezTo>
                    <a:pt x="310" y="188"/>
                    <a:pt x="310" y="187"/>
                    <a:pt x="310" y="185"/>
                  </a:cubicBezTo>
                  <a:cubicBezTo>
                    <a:pt x="309" y="184"/>
                    <a:pt x="306" y="183"/>
                    <a:pt x="306" y="182"/>
                  </a:cubicBezTo>
                  <a:cubicBezTo>
                    <a:pt x="304" y="181"/>
                    <a:pt x="305" y="179"/>
                    <a:pt x="304" y="177"/>
                  </a:cubicBezTo>
                  <a:cubicBezTo>
                    <a:pt x="298" y="171"/>
                    <a:pt x="298" y="171"/>
                    <a:pt x="298" y="171"/>
                  </a:cubicBezTo>
                  <a:cubicBezTo>
                    <a:pt x="297" y="171"/>
                    <a:pt x="296" y="172"/>
                    <a:pt x="295" y="171"/>
                  </a:cubicBezTo>
                  <a:close/>
                  <a:moveTo>
                    <a:pt x="177" y="153"/>
                  </a:moveTo>
                  <a:cubicBezTo>
                    <a:pt x="176" y="153"/>
                    <a:pt x="173" y="155"/>
                    <a:pt x="172" y="156"/>
                  </a:cubicBezTo>
                  <a:cubicBezTo>
                    <a:pt x="169" y="157"/>
                    <a:pt x="166" y="156"/>
                    <a:pt x="163" y="157"/>
                  </a:cubicBezTo>
                  <a:cubicBezTo>
                    <a:pt x="161" y="158"/>
                    <a:pt x="161" y="158"/>
                    <a:pt x="161" y="158"/>
                  </a:cubicBezTo>
                  <a:cubicBezTo>
                    <a:pt x="160" y="159"/>
                    <a:pt x="159" y="158"/>
                    <a:pt x="157" y="159"/>
                  </a:cubicBezTo>
                  <a:cubicBezTo>
                    <a:pt x="155" y="160"/>
                    <a:pt x="152" y="161"/>
                    <a:pt x="150" y="162"/>
                  </a:cubicBezTo>
                  <a:cubicBezTo>
                    <a:pt x="151" y="164"/>
                    <a:pt x="153" y="168"/>
                    <a:pt x="153" y="169"/>
                  </a:cubicBezTo>
                  <a:cubicBezTo>
                    <a:pt x="151" y="172"/>
                    <a:pt x="151" y="172"/>
                    <a:pt x="151" y="172"/>
                  </a:cubicBezTo>
                  <a:cubicBezTo>
                    <a:pt x="151" y="176"/>
                    <a:pt x="152" y="177"/>
                    <a:pt x="151" y="179"/>
                  </a:cubicBezTo>
                  <a:cubicBezTo>
                    <a:pt x="153" y="179"/>
                    <a:pt x="153" y="179"/>
                    <a:pt x="153" y="179"/>
                  </a:cubicBezTo>
                  <a:cubicBezTo>
                    <a:pt x="153" y="180"/>
                    <a:pt x="152" y="181"/>
                    <a:pt x="153" y="181"/>
                  </a:cubicBezTo>
                  <a:cubicBezTo>
                    <a:pt x="152" y="181"/>
                    <a:pt x="150" y="181"/>
                    <a:pt x="149" y="181"/>
                  </a:cubicBezTo>
                  <a:cubicBezTo>
                    <a:pt x="150" y="184"/>
                    <a:pt x="152" y="188"/>
                    <a:pt x="151" y="191"/>
                  </a:cubicBezTo>
                  <a:cubicBezTo>
                    <a:pt x="150" y="192"/>
                    <a:pt x="148" y="193"/>
                    <a:pt x="148" y="193"/>
                  </a:cubicBezTo>
                  <a:cubicBezTo>
                    <a:pt x="147" y="196"/>
                    <a:pt x="148" y="197"/>
                    <a:pt x="147" y="199"/>
                  </a:cubicBezTo>
                  <a:cubicBezTo>
                    <a:pt x="147" y="200"/>
                    <a:pt x="149" y="200"/>
                    <a:pt x="149" y="200"/>
                  </a:cubicBezTo>
                  <a:cubicBezTo>
                    <a:pt x="151" y="201"/>
                    <a:pt x="151" y="203"/>
                    <a:pt x="153" y="203"/>
                  </a:cubicBezTo>
                  <a:cubicBezTo>
                    <a:pt x="153" y="204"/>
                    <a:pt x="153" y="204"/>
                    <a:pt x="153" y="204"/>
                  </a:cubicBezTo>
                  <a:cubicBezTo>
                    <a:pt x="154" y="204"/>
                    <a:pt x="154" y="204"/>
                    <a:pt x="154" y="204"/>
                  </a:cubicBezTo>
                  <a:cubicBezTo>
                    <a:pt x="156" y="206"/>
                    <a:pt x="156" y="211"/>
                    <a:pt x="159" y="212"/>
                  </a:cubicBezTo>
                  <a:cubicBezTo>
                    <a:pt x="166" y="215"/>
                    <a:pt x="170" y="206"/>
                    <a:pt x="172" y="203"/>
                  </a:cubicBezTo>
                  <a:cubicBezTo>
                    <a:pt x="173" y="204"/>
                    <a:pt x="173" y="203"/>
                    <a:pt x="174" y="203"/>
                  </a:cubicBezTo>
                  <a:cubicBezTo>
                    <a:pt x="175" y="205"/>
                    <a:pt x="175" y="205"/>
                    <a:pt x="175" y="205"/>
                  </a:cubicBezTo>
                  <a:cubicBezTo>
                    <a:pt x="179" y="206"/>
                    <a:pt x="181" y="205"/>
                    <a:pt x="185" y="204"/>
                  </a:cubicBezTo>
                  <a:cubicBezTo>
                    <a:pt x="186" y="204"/>
                    <a:pt x="187" y="204"/>
                    <a:pt x="187" y="203"/>
                  </a:cubicBezTo>
                  <a:cubicBezTo>
                    <a:pt x="188" y="203"/>
                    <a:pt x="187" y="201"/>
                    <a:pt x="188" y="200"/>
                  </a:cubicBezTo>
                  <a:cubicBezTo>
                    <a:pt x="188" y="200"/>
                    <a:pt x="190" y="199"/>
                    <a:pt x="190" y="199"/>
                  </a:cubicBezTo>
                  <a:cubicBezTo>
                    <a:pt x="191" y="197"/>
                    <a:pt x="190" y="195"/>
                    <a:pt x="190" y="195"/>
                  </a:cubicBezTo>
                  <a:cubicBezTo>
                    <a:pt x="190" y="195"/>
                    <a:pt x="190" y="193"/>
                    <a:pt x="190" y="193"/>
                  </a:cubicBezTo>
                  <a:cubicBezTo>
                    <a:pt x="191" y="192"/>
                    <a:pt x="192" y="193"/>
                    <a:pt x="193" y="192"/>
                  </a:cubicBezTo>
                  <a:cubicBezTo>
                    <a:pt x="194" y="191"/>
                    <a:pt x="194" y="189"/>
                    <a:pt x="195" y="188"/>
                  </a:cubicBezTo>
                  <a:cubicBezTo>
                    <a:pt x="196" y="187"/>
                    <a:pt x="198" y="187"/>
                    <a:pt x="199" y="186"/>
                  </a:cubicBezTo>
                  <a:cubicBezTo>
                    <a:pt x="199" y="185"/>
                    <a:pt x="199" y="185"/>
                    <a:pt x="199" y="185"/>
                  </a:cubicBezTo>
                  <a:cubicBezTo>
                    <a:pt x="204" y="180"/>
                    <a:pt x="204" y="180"/>
                    <a:pt x="204" y="180"/>
                  </a:cubicBezTo>
                  <a:cubicBezTo>
                    <a:pt x="206" y="179"/>
                    <a:pt x="207" y="180"/>
                    <a:pt x="209" y="179"/>
                  </a:cubicBezTo>
                  <a:cubicBezTo>
                    <a:pt x="211" y="178"/>
                    <a:pt x="213" y="175"/>
                    <a:pt x="215" y="175"/>
                  </a:cubicBezTo>
                  <a:cubicBezTo>
                    <a:pt x="217" y="174"/>
                    <a:pt x="218" y="176"/>
                    <a:pt x="219" y="175"/>
                  </a:cubicBezTo>
                  <a:cubicBezTo>
                    <a:pt x="221" y="174"/>
                    <a:pt x="221" y="174"/>
                    <a:pt x="221" y="174"/>
                  </a:cubicBezTo>
                  <a:cubicBezTo>
                    <a:pt x="222" y="174"/>
                    <a:pt x="224" y="175"/>
                    <a:pt x="226" y="174"/>
                  </a:cubicBezTo>
                  <a:cubicBezTo>
                    <a:pt x="226" y="174"/>
                    <a:pt x="228" y="172"/>
                    <a:pt x="229" y="172"/>
                  </a:cubicBezTo>
                  <a:cubicBezTo>
                    <a:pt x="228" y="172"/>
                    <a:pt x="229" y="170"/>
                    <a:pt x="229" y="169"/>
                  </a:cubicBezTo>
                  <a:cubicBezTo>
                    <a:pt x="227" y="169"/>
                    <a:pt x="225" y="169"/>
                    <a:pt x="223" y="168"/>
                  </a:cubicBezTo>
                  <a:cubicBezTo>
                    <a:pt x="222" y="167"/>
                    <a:pt x="222" y="164"/>
                    <a:pt x="221" y="164"/>
                  </a:cubicBezTo>
                  <a:cubicBezTo>
                    <a:pt x="219" y="162"/>
                    <a:pt x="207" y="160"/>
                    <a:pt x="203" y="160"/>
                  </a:cubicBezTo>
                  <a:cubicBezTo>
                    <a:pt x="203" y="160"/>
                    <a:pt x="202" y="162"/>
                    <a:pt x="202" y="162"/>
                  </a:cubicBezTo>
                  <a:cubicBezTo>
                    <a:pt x="196" y="161"/>
                    <a:pt x="189" y="160"/>
                    <a:pt x="183" y="157"/>
                  </a:cubicBezTo>
                  <a:cubicBezTo>
                    <a:pt x="181" y="156"/>
                    <a:pt x="178" y="153"/>
                    <a:pt x="177" y="153"/>
                  </a:cubicBezTo>
                  <a:close/>
                  <a:moveTo>
                    <a:pt x="277" y="149"/>
                  </a:moveTo>
                  <a:cubicBezTo>
                    <a:pt x="276" y="149"/>
                    <a:pt x="275" y="152"/>
                    <a:pt x="278" y="151"/>
                  </a:cubicBezTo>
                  <a:cubicBezTo>
                    <a:pt x="279" y="151"/>
                    <a:pt x="280" y="148"/>
                    <a:pt x="277" y="149"/>
                  </a:cubicBezTo>
                  <a:close/>
                  <a:moveTo>
                    <a:pt x="325" y="141"/>
                  </a:moveTo>
                  <a:cubicBezTo>
                    <a:pt x="325" y="142"/>
                    <a:pt x="324" y="145"/>
                    <a:pt x="324" y="146"/>
                  </a:cubicBezTo>
                  <a:cubicBezTo>
                    <a:pt x="326" y="146"/>
                    <a:pt x="326" y="146"/>
                    <a:pt x="326" y="146"/>
                  </a:cubicBezTo>
                  <a:cubicBezTo>
                    <a:pt x="324" y="148"/>
                    <a:pt x="328" y="146"/>
                    <a:pt x="327" y="146"/>
                  </a:cubicBezTo>
                  <a:cubicBezTo>
                    <a:pt x="327" y="146"/>
                    <a:pt x="328" y="144"/>
                    <a:pt x="327" y="142"/>
                  </a:cubicBezTo>
                  <a:cubicBezTo>
                    <a:pt x="327" y="142"/>
                    <a:pt x="325" y="141"/>
                    <a:pt x="325" y="141"/>
                  </a:cubicBezTo>
                  <a:close/>
                  <a:moveTo>
                    <a:pt x="206" y="126"/>
                  </a:moveTo>
                  <a:cubicBezTo>
                    <a:pt x="206" y="127"/>
                    <a:pt x="204" y="128"/>
                    <a:pt x="204" y="128"/>
                  </a:cubicBezTo>
                  <a:cubicBezTo>
                    <a:pt x="204" y="129"/>
                    <a:pt x="204" y="130"/>
                    <a:pt x="204" y="131"/>
                  </a:cubicBezTo>
                  <a:cubicBezTo>
                    <a:pt x="203" y="132"/>
                    <a:pt x="200" y="133"/>
                    <a:pt x="199" y="134"/>
                  </a:cubicBezTo>
                  <a:cubicBezTo>
                    <a:pt x="198" y="134"/>
                    <a:pt x="198" y="136"/>
                    <a:pt x="197" y="137"/>
                  </a:cubicBezTo>
                  <a:cubicBezTo>
                    <a:pt x="196" y="136"/>
                    <a:pt x="197" y="140"/>
                    <a:pt x="197" y="140"/>
                  </a:cubicBezTo>
                  <a:cubicBezTo>
                    <a:pt x="200" y="141"/>
                    <a:pt x="201" y="140"/>
                    <a:pt x="204" y="141"/>
                  </a:cubicBezTo>
                  <a:cubicBezTo>
                    <a:pt x="205" y="138"/>
                    <a:pt x="204" y="136"/>
                    <a:pt x="205" y="134"/>
                  </a:cubicBezTo>
                  <a:cubicBezTo>
                    <a:pt x="206" y="133"/>
                    <a:pt x="207" y="133"/>
                    <a:pt x="207" y="133"/>
                  </a:cubicBezTo>
                  <a:cubicBezTo>
                    <a:pt x="208" y="132"/>
                    <a:pt x="208" y="129"/>
                    <a:pt x="209" y="127"/>
                  </a:cubicBezTo>
                  <a:cubicBezTo>
                    <a:pt x="208" y="127"/>
                    <a:pt x="206" y="126"/>
                    <a:pt x="206" y="126"/>
                  </a:cubicBezTo>
                  <a:close/>
                  <a:moveTo>
                    <a:pt x="223" y="120"/>
                  </a:moveTo>
                  <a:cubicBezTo>
                    <a:pt x="220" y="123"/>
                    <a:pt x="223" y="123"/>
                    <a:pt x="225" y="124"/>
                  </a:cubicBezTo>
                  <a:cubicBezTo>
                    <a:pt x="225" y="121"/>
                    <a:pt x="225" y="121"/>
                    <a:pt x="225" y="121"/>
                  </a:cubicBezTo>
                  <a:lnTo>
                    <a:pt x="223" y="120"/>
                  </a:lnTo>
                  <a:close/>
                  <a:moveTo>
                    <a:pt x="230" y="112"/>
                  </a:moveTo>
                  <a:cubicBezTo>
                    <a:pt x="230" y="112"/>
                    <a:pt x="230" y="114"/>
                    <a:pt x="230" y="114"/>
                  </a:cubicBezTo>
                  <a:cubicBezTo>
                    <a:pt x="229" y="114"/>
                    <a:pt x="229" y="116"/>
                    <a:pt x="229" y="117"/>
                  </a:cubicBezTo>
                  <a:cubicBezTo>
                    <a:pt x="231" y="117"/>
                    <a:pt x="231" y="116"/>
                    <a:pt x="233" y="116"/>
                  </a:cubicBezTo>
                  <a:cubicBezTo>
                    <a:pt x="233" y="115"/>
                    <a:pt x="235" y="111"/>
                    <a:pt x="230" y="112"/>
                  </a:cubicBezTo>
                  <a:close/>
                  <a:moveTo>
                    <a:pt x="276" y="110"/>
                  </a:moveTo>
                  <a:cubicBezTo>
                    <a:pt x="276" y="112"/>
                    <a:pt x="276" y="112"/>
                    <a:pt x="276" y="112"/>
                  </a:cubicBezTo>
                  <a:cubicBezTo>
                    <a:pt x="274" y="112"/>
                    <a:pt x="274" y="112"/>
                    <a:pt x="274" y="112"/>
                  </a:cubicBezTo>
                  <a:cubicBezTo>
                    <a:pt x="275" y="112"/>
                    <a:pt x="272" y="112"/>
                    <a:pt x="272" y="112"/>
                  </a:cubicBezTo>
                  <a:cubicBezTo>
                    <a:pt x="274" y="114"/>
                    <a:pt x="273" y="115"/>
                    <a:pt x="274" y="118"/>
                  </a:cubicBezTo>
                  <a:cubicBezTo>
                    <a:pt x="272" y="118"/>
                    <a:pt x="273" y="117"/>
                    <a:pt x="272" y="119"/>
                  </a:cubicBezTo>
                  <a:cubicBezTo>
                    <a:pt x="274" y="119"/>
                    <a:pt x="273" y="124"/>
                    <a:pt x="272" y="126"/>
                  </a:cubicBezTo>
                  <a:cubicBezTo>
                    <a:pt x="274" y="126"/>
                    <a:pt x="277" y="127"/>
                    <a:pt x="278" y="128"/>
                  </a:cubicBezTo>
                  <a:cubicBezTo>
                    <a:pt x="277" y="130"/>
                    <a:pt x="277" y="131"/>
                    <a:pt x="276" y="133"/>
                  </a:cubicBezTo>
                  <a:cubicBezTo>
                    <a:pt x="277" y="133"/>
                    <a:pt x="278" y="133"/>
                    <a:pt x="279" y="133"/>
                  </a:cubicBezTo>
                  <a:cubicBezTo>
                    <a:pt x="279" y="133"/>
                    <a:pt x="280" y="134"/>
                    <a:pt x="280" y="134"/>
                  </a:cubicBezTo>
                  <a:cubicBezTo>
                    <a:pt x="280" y="134"/>
                    <a:pt x="280" y="137"/>
                    <a:pt x="280" y="137"/>
                  </a:cubicBezTo>
                  <a:cubicBezTo>
                    <a:pt x="276" y="136"/>
                    <a:pt x="270" y="136"/>
                    <a:pt x="268" y="136"/>
                  </a:cubicBezTo>
                  <a:cubicBezTo>
                    <a:pt x="266" y="135"/>
                    <a:pt x="262" y="136"/>
                    <a:pt x="260" y="136"/>
                  </a:cubicBezTo>
                  <a:cubicBezTo>
                    <a:pt x="260" y="136"/>
                    <a:pt x="260" y="133"/>
                    <a:pt x="260" y="133"/>
                  </a:cubicBezTo>
                  <a:cubicBezTo>
                    <a:pt x="259" y="132"/>
                    <a:pt x="257" y="133"/>
                    <a:pt x="256" y="133"/>
                  </a:cubicBezTo>
                  <a:cubicBezTo>
                    <a:pt x="256" y="133"/>
                    <a:pt x="255" y="131"/>
                    <a:pt x="254" y="131"/>
                  </a:cubicBezTo>
                  <a:cubicBezTo>
                    <a:pt x="254" y="130"/>
                    <a:pt x="254" y="130"/>
                    <a:pt x="254" y="130"/>
                  </a:cubicBezTo>
                  <a:cubicBezTo>
                    <a:pt x="252" y="129"/>
                    <a:pt x="250" y="130"/>
                    <a:pt x="247" y="130"/>
                  </a:cubicBezTo>
                  <a:cubicBezTo>
                    <a:pt x="246" y="129"/>
                    <a:pt x="244" y="127"/>
                    <a:pt x="243" y="126"/>
                  </a:cubicBezTo>
                  <a:cubicBezTo>
                    <a:pt x="240" y="125"/>
                    <a:pt x="236" y="127"/>
                    <a:pt x="234" y="126"/>
                  </a:cubicBezTo>
                  <a:cubicBezTo>
                    <a:pt x="234" y="126"/>
                    <a:pt x="233" y="124"/>
                    <a:pt x="233" y="124"/>
                  </a:cubicBezTo>
                  <a:cubicBezTo>
                    <a:pt x="231" y="124"/>
                    <a:pt x="229" y="124"/>
                    <a:pt x="227" y="124"/>
                  </a:cubicBezTo>
                  <a:cubicBezTo>
                    <a:pt x="227" y="126"/>
                    <a:pt x="227" y="126"/>
                    <a:pt x="227" y="126"/>
                  </a:cubicBezTo>
                  <a:cubicBezTo>
                    <a:pt x="225" y="127"/>
                    <a:pt x="223" y="126"/>
                    <a:pt x="221" y="126"/>
                  </a:cubicBezTo>
                  <a:cubicBezTo>
                    <a:pt x="220" y="131"/>
                    <a:pt x="218" y="132"/>
                    <a:pt x="225" y="133"/>
                  </a:cubicBezTo>
                  <a:cubicBezTo>
                    <a:pt x="223" y="133"/>
                    <a:pt x="221" y="135"/>
                    <a:pt x="220" y="135"/>
                  </a:cubicBezTo>
                  <a:cubicBezTo>
                    <a:pt x="218" y="135"/>
                    <a:pt x="217" y="134"/>
                    <a:pt x="217" y="134"/>
                  </a:cubicBezTo>
                  <a:cubicBezTo>
                    <a:pt x="216" y="134"/>
                    <a:pt x="216" y="136"/>
                    <a:pt x="215" y="136"/>
                  </a:cubicBezTo>
                  <a:cubicBezTo>
                    <a:pt x="216" y="138"/>
                    <a:pt x="216" y="138"/>
                    <a:pt x="216" y="138"/>
                  </a:cubicBezTo>
                  <a:cubicBezTo>
                    <a:pt x="219" y="138"/>
                    <a:pt x="226" y="137"/>
                    <a:pt x="221" y="139"/>
                  </a:cubicBezTo>
                  <a:cubicBezTo>
                    <a:pt x="220" y="140"/>
                    <a:pt x="220" y="140"/>
                    <a:pt x="220" y="140"/>
                  </a:cubicBezTo>
                  <a:cubicBezTo>
                    <a:pt x="218" y="141"/>
                    <a:pt x="216" y="140"/>
                    <a:pt x="215" y="141"/>
                  </a:cubicBezTo>
                  <a:cubicBezTo>
                    <a:pt x="214" y="142"/>
                    <a:pt x="214" y="142"/>
                    <a:pt x="213" y="142"/>
                  </a:cubicBezTo>
                  <a:cubicBezTo>
                    <a:pt x="214" y="142"/>
                    <a:pt x="214" y="144"/>
                    <a:pt x="214" y="144"/>
                  </a:cubicBezTo>
                  <a:cubicBezTo>
                    <a:pt x="217" y="146"/>
                    <a:pt x="221" y="145"/>
                    <a:pt x="224" y="144"/>
                  </a:cubicBezTo>
                  <a:cubicBezTo>
                    <a:pt x="224" y="145"/>
                    <a:pt x="224" y="144"/>
                    <a:pt x="225" y="144"/>
                  </a:cubicBezTo>
                  <a:cubicBezTo>
                    <a:pt x="225" y="145"/>
                    <a:pt x="225" y="147"/>
                    <a:pt x="225" y="147"/>
                  </a:cubicBezTo>
                  <a:cubicBezTo>
                    <a:pt x="226" y="147"/>
                    <a:pt x="227" y="147"/>
                    <a:pt x="227" y="147"/>
                  </a:cubicBezTo>
                  <a:cubicBezTo>
                    <a:pt x="227" y="146"/>
                    <a:pt x="227" y="143"/>
                    <a:pt x="227" y="143"/>
                  </a:cubicBezTo>
                  <a:cubicBezTo>
                    <a:pt x="228" y="143"/>
                    <a:pt x="229" y="143"/>
                    <a:pt x="230" y="143"/>
                  </a:cubicBezTo>
                  <a:cubicBezTo>
                    <a:pt x="229" y="143"/>
                    <a:pt x="230" y="148"/>
                    <a:pt x="230" y="148"/>
                  </a:cubicBezTo>
                  <a:cubicBezTo>
                    <a:pt x="230" y="148"/>
                    <a:pt x="232" y="147"/>
                    <a:pt x="232" y="148"/>
                  </a:cubicBezTo>
                  <a:cubicBezTo>
                    <a:pt x="232" y="147"/>
                    <a:pt x="233" y="145"/>
                    <a:pt x="233" y="145"/>
                  </a:cubicBezTo>
                  <a:cubicBezTo>
                    <a:pt x="235" y="145"/>
                    <a:pt x="235" y="145"/>
                    <a:pt x="235" y="145"/>
                  </a:cubicBezTo>
                  <a:cubicBezTo>
                    <a:pt x="235" y="143"/>
                    <a:pt x="232" y="140"/>
                    <a:pt x="235" y="140"/>
                  </a:cubicBezTo>
                  <a:cubicBezTo>
                    <a:pt x="235" y="140"/>
                    <a:pt x="235" y="136"/>
                    <a:pt x="235" y="138"/>
                  </a:cubicBezTo>
                  <a:cubicBezTo>
                    <a:pt x="235" y="138"/>
                    <a:pt x="235" y="135"/>
                    <a:pt x="235" y="135"/>
                  </a:cubicBezTo>
                  <a:cubicBezTo>
                    <a:pt x="235" y="135"/>
                    <a:pt x="237" y="135"/>
                    <a:pt x="237" y="135"/>
                  </a:cubicBezTo>
                  <a:cubicBezTo>
                    <a:pt x="237" y="137"/>
                    <a:pt x="237" y="141"/>
                    <a:pt x="237" y="144"/>
                  </a:cubicBezTo>
                  <a:cubicBezTo>
                    <a:pt x="242" y="143"/>
                    <a:pt x="245" y="145"/>
                    <a:pt x="250" y="142"/>
                  </a:cubicBezTo>
                  <a:cubicBezTo>
                    <a:pt x="250" y="142"/>
                    <a:pt x="251" y="140"/>
                    <a:pt x="251" y="140"/>
                  </a:cubicBezTo>
                  <a:cubicBezTo>
                    <a:pt x="252" y="140"/>
                    <a:pt x="253" y="140"/>
                    <a:pt x="254" y="140"/>
                  </a:cubicBezTo>
                  <a:cubicBezTo>
                    <a:pt x="255" y="140"/>
                    <a:pt x="256" y="142"/>
                    <a:pt x="256" y="142"/>
                  </a:cubicBezTo>
                  <a:cubicBezTo>
                    <a:pt x="256" y="142"/>
                    <a:pt x="259" y="142"/>
                    <a:pt x="258" y="142"/>
                  </a:cubicBezTo>
                  <a:cubicBezTo>
                    <a:pt x="262" y="143"/>
                    <a:pt x="262" y="142"/>
                    <a:pt x="265" y="141"/>
                  </a:cubicBezTo>
                  <a:cubicBezTo>
                    <a:pt x="265" y="141"/>
                    <a:pt x="265" y="139"/>
                    <a:pt x="265" y="139"/>
                  </a:cubicBezTo>
                  <a:cubicBezTo>
                    <a:pt x="265" y="138"/>
                    <a:pt x="267" y="139"/>
                    <a:pt x="267" y="138"/>
                  </a:cubicBezTo>
                  <a:cubicBezTo>
                    <a:pt x="267" y="139"/>
                    <a:pt x="267" y="140"/>
                    <a:pt x="267" y="141"/>
                  </a:cubicBezTo>
                  <a:cubicBezTo>
                    <a:pt x="267" y="142"/>
                    <a:pt x="263" y="146"/>
                    <a:pt x="261" y="147"/>
                  </a:cubicBezTo>
                  <a:cubicBezTo>
                    <a:pt x="257" y="148"/>
                    <a:pt x="255" y="146"/>
                    <a:pt x="250" y="148"/>
                  </a:cubicBezTo>
                  <a:cubicBezTo>
                    <a:pt x="250" y="148"/>
                    <a:pt x="247" y="148"/>
                    <a:pt x="246" y="149"/>
                  </a:cubicBezTo>
                  <a:cubicBezTo>
                    <a:pt x="246" y="149"/>
                    <a:pt x="246" y="151"/>
                    <a:pt x="245" y="151"/>
                  </a:cubicBezTo>
                  <a:cubicBezTo>
                    <a:pt x="244" y="151"/>
                    <a:pt x="243" y="151"/>
                    <a:pt x="242" y="151"/>
                  </a:cubicBezTo>
                  <a:cubicBezTo>
                    <a:pt x="239" y="152"/>
                    <a:pt x="237" y="155"/>
                    <a:pt x="240" y="158"/>
                  </a:cubicBezTo>
                  <a:cubicBezTo>
                    <a:pt x="240" y="158"/>
                    <a:pt x="242" y="159"/>
                    <a:pt x="242" y="160"/>
                  </a:cubicBezTo>
                  <a:cubicBezTo>
                    <a:pt x="245" y="160"/>
                    <a:pt x="251" y="159"/>
                    <a:pt x="253" y="158"/>
                  </a:cubicBezTo>
                  <a:cubicBezTo>
                    <a:pt x="254" y="158"/>
                    <a:pt x="254" y="156"/>
                    <a:pt x="255" y="156"/>
                  </a:cubicBezTo>
                  <a:cubicBezTo>
                    <a:pt x="257" y="154"/>
                    <a:pt x="258" y="155"/>
                    <a:pt x="260" y="154"/>
                  </a:cubicBezTo>
                  <a:cubicBezTo>
                    <a:pt x="261" y="153"/>
                    <a:pt x="262" y="149"/>
                    <a:pt x="264" y="149"/>
                  </a:cubicBezTo>
                  <a:cubicBezTo>
                    <a:pt x="266" y="148"/>
                    <a:pt x="267" y="150"/>
                    <a:pt x="269" y="150"/>
                  </a:cubicBezTo>
                  <a:cubicBezTo>
                    <a:pt x="269" y="149"/>
                    <a:pt x="271" y="148"/>
                    <a:pt x="272" y="148"/>
                  </a:cubicBezTo>
                  <a:cubicBezTo>
                    <a:pt x="275" y="147"/>
                    <a:pt x="277" y="148"/>
                    <a:pt x="279" y="147"/>
                  </a:cubicBezTo>
                  <a:cubicBezTo>
                    <a:pt x="279" y="147"/>
                    <a:pt x="280" y="145"/>
                    <a:pt x="280" y="145"/>
                  </a:cubicBezTo>
                  <a:cubicBezTo>
                    <a:pt x="281" y="145"/>
                    <a:pt x="282" y="145"/>
                    <a:pt x="283" y="145"/>
                  </a:cubicBezTo>
                  <a:cubicBezTo>
                    <a:pt x="285" y="147"/>
                    <a:pt x="282" y="149"/>
                    <a:pt x="288" y="148"/>
                  </a:cubicBezTo>
                  <a:cubicBezTo>
                    <a:pt x="291" y="148"/>
                    <a:pt x="292" y="144"/>
                    <a:pt x="292" y="144"/>
                  </a:cubicBezTo>
                  <a:cubicBezTo>
                    <a:pt x="293" y="144"/>
                    <a:pt x="295" y="145"/>
                    <a:pt x="296" y="146"/>
                  </a:cubicBezTo>
                  <a:cubicBezTo>
                    <a:pt x="300" y="146"/>
                    <a:pt x="303" y="144"/>
                    <a:pt x="305" y="146"/>
                  </a:cubicBezTo>
                  <a:cubicBezTo>
                    <a:pt x="306" y="146"/>
                    <a:pt x="306" y="146"/>
                    <a:pt x="306" y="146"/>
                  </a:cubicBezTo>
                  <a:cubicBezTo>
                    <a:pt x="306" y="145"/>
                    <a:pt x="307" y="143"/>
                    <a:pt x="308" y="143"/>
                  </a:cubicBezTo>
                  <a:cubicBezTo>
                    <a:pt x="308" y="142"/>
                    <a:pt x="309" y="143"/>
                    <a:pt x="310" y="142"/>
                  </a:cubicBezTo>
                  <a:cubicBezTo>
                    <a:pt x="309" y="137"/>
                    <a:pt x="309" y="130"/>
                    <a:pt x="306" y="126"/>
                  </a:cubicBezTo>
                  <a:cubicBezTo>
                    <a:pt x="306" y="125"/>
                    <a:pt x="304" y="125"/>
                    <a:pt x="303" y="124"/>
                  </a:cubicBezTo>
                  <a:cubicBezTo>
                    <a:pt x="304" y="123"/>
                    <a:pt x="301" y="124"/>
                    <a:pt x="301" y="124"/>
                  </a:cubicBezTo>
                  <a:cubicBezTo>
                    <a:pt x="301" y="126"/>
                    <a:pt x="301" y="127"/>
                    <a:pt x="301" y="128"/>
                  </a:cubicBezTo>
                  <a:cubicBezTo>
                    <a:pt x="302" y="129"/>
                    <a:pt x="302" y="129"/>
                    <a:pt x="302" y="129"/>
                  </a:cubicBezTo>
                  <a:cubicBezTo>
                    <a:pt x="302" y="131"/>
                    <a:pt x="301" y="130"/>
                    <a:pt x="300" y="132"/>
                  </a:cubicBezTo>
                  <a:cubicBezTo>
                    <a:pt x="300" y="132"/>
                    <a:pt x="300" y="134"/>
                    <a:pt x="300" y="134"/>
                  </a:cubicBezTo>
                  <a:cubicBezTo>
                    <a:pt x="300" y="134"/>
                    <a:pt x="299" y="136"/>
                    <a:pt x="299" y="136"/>
                  </a:cubicBezTo>
                  <a:cubicBezTo>
                    <a:pt x="298" y="133"/>
                    <a:pt x="298" y="132"/>
                    <a:pt x="298" y="130"/>
                  </a:cubicBezTo>
                  <a:cubicBezTo>
                    <a:pt x="296" y="130"/>
                    <a:pt x="295" y="131"/>
                    <a:pt x="294" y="131"/>
                  </a:cubicBezTo>
                  <a:cubicBezTo>
                    <a:pt x="294" y="129"/>
                    <a:pt x="295" y="126"/>
                    <a:pt x="294" y="124"/>
                  </a:cubicBezTo>
                  <a:cubicBezTo>
                    <a:pt x="294" y="123"/>
                    <a:pt x="294" y="123"/>
                    <a:pt x="294" y="123"/>
                  </a:cubicBezTo>
                  <a:cubicBezTo>
                    <a:pt x="293" y="123"/>
                    <a:pt x="292" y="123"/>
                    <a:pt x="291" y="123"/>
                  </a:cubicBezTo>
                  <a:cubicBezTo>
                    <a:pt x="291" y="123"/>
                    <a:pt x="291" y="125"/>
                    <a:pt x="290" y="125"/>
                  </a:cubicBezTo>
                  <a:cubicBezTo>
                    <a:pt x="289" y="126"/>
                    <a:pt x="289" y="125"/>
                    <a:pt x="288" y="126"/>
                  </a:cubicBezTo>
                  <a:cubicBezTo>
                    <a:pt x="286" y="124"/>
                    <a:pt x="285" y="122"/>
                    <a:pt x="284" y="121"/>
                  </a:cubicBezTo>
                  <a:cubicBezTo>
                    <a:pt x="282" y="120"/>
                    <a:pt x="281" y="120"/>
                    <a:pt x="280" y="119"/>
                  </a:cubicBezTo>
                  <a:cubicBezTo>
                    <a:pt x="278" y="117"/>
                    <a:pt x="280" y="111"/>
                    <a:pt x="276" y="110"/>
                  </a:cubicBezTo>
                  <a:close/>
                  <a:moveTo>
                    <a:pt x="213" y="94"/>
                  </a:moveTo>
                  <a:cubicBezTo>
                    <a:pt x="213" y="94"/>
                    <a:pt x="212" y="96"/>
                    <a:pt x="212" y="96"/>
                  </a:cubicBezTo>
                  <a:cubicBezTo>
                    <a:pt x="211" y="97"/>
                    <a:pt x="210" y="96"/>
                    <a:pt x="208" y="97"/>
                  </a:cubicBezTo>
                  <a:cubicBezTo>
                    <a:pt x="211" y="99"/>
                    <a:pt x="209" y="100"/>
                    <a:pt x="207" y="102"/>
                  </a:cubicBezTo>
                  <a:cubicBezTo>
                    <a:pt x="202" y="100"/>
                    <a:pt x="195" y="99"/>
                    <a:pt x="189" y="101"/>
                  </a:cubicBezTo>
                  <a:cubicBezTo>
                    <a:pt x="185" y="102"/>
                    <a:pt x="182" y="107"/>
                    <a:pt x="179" y="109"/>
                  </a:cubicBezTo>
                  <a:cubicBezTo>
                    <a:pt x="175" y="111"/>
                    <a:pt x="174" y="111"/>
                    <a:pt x="171" y="111"/>
                  </a:cubicBezTo>
                  <a:cubicBezTo>
                    <a:pt x="170" y="112"/>
                    <a:pt x="171" y="114"/>
                    <a:pt x="169" y="114"/>
                  </a:cubicBezTo>
                  <a:cubicBezTo>
                    <a:pt x="169" y="115"/>
                    <a:pt x="167" y="114"/>
                    <a:pt x="167" y="114"/>
                  </a:cubicBezTo>
                  <a:cubicBezTo>
                    <a:pt x="165" y="116"/>
                    <a:pt x="165" y="118"/>
                    <a:pt x="165" y="120"/>
                  </a:cubicBezTo>
                  <a:cubicBezTo>
                    <a:pt x="162" y="120"/>
                    <a:pt x="161" y="119"/>
                    <a:pt x="159" y="120"/>
                  </a:cubicBezTo>
                  <a:cubicBezTo>
                    <a:pt x="158" y="121"/>
                    <a:pt x="157" y="122"/>
                    <a:pt x="157" y="122"/>
                  </a:cubicBezTo>
                  <a:cubicBezTo>
                    <a:pt x="155" y="123"/>
                    <a:pt x="154" y="122"/>
                    <a:pt x="153" y="123"/>
                  </a:cubicBezTo>
                  <a:cubicBezTo>
                    <a:pt x="152" y="123"/>
                    <a:pt x="152" y="125"/>
                    <a:pt x="152" y="125"/>
                  </a:cubicBezTo>
                  <a:cubicBezTo>
                    <a:pt x="153" y="125"/>
                    <a:pt x="155" y="125"/>
                    <a:pt x="156" y="126"/>
                  </a:cubicBezTo>
                  <a:cubicBezTo>
                    <a:pt x="157" y="126"/>
                    <a:pt x="160" y="133"/>
                    <a:pt x="161" y="134"/>
                  </a:cubicBezTo>
                  <a:cubicBezTo>
                    <a:pt x="161" y="133"/>
                    <a:pt x="163" y="134"/>
                    <a:pt x="163" y="134"/>
                  </a:cubicBezTo>
                  <a:cubicBezTo>
                    <a:pt x="164" y="133"/>
                    <a:pt x="165" y="131"/>
                    <a:pt x="165" y="131"/>
                  </a:cubicBezTo>
                  <a:cubicBezTo>
                    <a:pt x="170" y="130"/>
                    <a:pt x="169" y="132"/>
                    <a:pt x="170" y="133"/>
                  </a:cubicBezTo>
                  <a:cubicBezTo>
                    <a:pt x="170" y="133"/>
                    <a:pt x="173" y="133"/>
                    <a:pt x="172" y="132"/>
                  </a:cubicBezTo>
                  <a:cubicBezTo>
                    <a:pt x="172" y="132"/>
                    <a:pt x="174" y="132"/>
                    <a:pt x="174" y="132"/>
                  </a:cubicBezTo>
                  <a:cubicBezTo>
                    <a:pt x="175" y="130"/>
                    <a:pt x="174" y="131"/>
                    <a:pt x="176" y="130"/>
                  </a:cubicBezTo>
                  <a:cubicBezTo>
                    <a:pt x="177" y="131"/>
                    <a:pt x="176" y="131"/>
                    <a:pt x="177" y="132"/>
                  </a:cubicBezTo>
                  <a:cubicBezTo>
                    <a:pt x="177" y="128"/>
                    <a:pt x="177" y="128"/>
                    <a:pt x="177" y="128"/>
                  </a:cubicBezTo>
                  <a:cubicBezTo>
                    <a:pt x="176" y="128"/>
                    <a:pt x="176" y="124"/>
                    <a:pt x="178" y="126"/>
                  </a:cubicBezTo>
                  <a:cubicBezTo>
                    <a:pt x="179" y="126"/>
                    <a:pt x="180" y="132"/>
                    <a:pt x="181" y="133"/>
                  </a:cubicBezTo>
                  <a:cubicBezTo>
                    <a:pt x="182" y="134"/>
                    <a:pt x="182" y="134"/>
                    <a:pt x="182" y="134"/>
                  </a:cubicBezTo>
                  <a:cubicBezTo>
                    <a:pt x="187" y="131"/>
                    <a:pt x="188" y="128"/>
                    <a:pt x="188" y="122"/>
                  </a:cubicBezTo>
                  <a:cubicBezTo>
                    <a:pt x="188" y="123"/>
                    <a:pt x="190" y="125"/>
                    <a:pt x="190" y="126"/>
                  </a:cubicBezTo>
                  <a:cubicBezTo>
                    <a:pt x="189" y="127"/>
                    <a:pt x="192" y="126"/>
                    <a:pt x="192" y="126"/>
                  </a:cubicBezTo>
                  <a:cubicBezTo>
                    <a:pt x="192" y="125"/>
                    <a:pt x="192" y="124"/>
                    <a:pt x="192" y="124"/>
                  </a:cubicBezTo>
                  <a:cubicBezTo>
                    <a:pt x="193" y="123"/>
                    <a:pt x="194" y="123"/>
                    <a:pt x="195" y="123"/>
                  </a:cubicBezTo>
                  <a:cubicBezTo>
                    <a:pt x="194" y="120"/>
                    <a:pt x="195" y="120"/>
                    <a:pt x="194" y="117"/>
                  </a:cubicBezTo>
                  <a:cubicBezTo>
                    <a:pt x="194" y="117"/>
                    <a:pt x="195" y="116"/>
                    <a:pt x="195" y="116"/>
                  </a:cubicBezTo>
                  <a:cubicBezTo>
                    <a:pt x="195" y="115"/>
                    <a:pt x="195" y="115"/>
                    <a:pt x="195" y="115"/>
                  </a:cubicBezTo>
                  <a:cubicBezTo>
                    <a:pt x="197" y="115"/>
                    <a:pt x="196" y="116"/>
                    <a:pt x="197" y="117"/>
                  </a:cubicBezTo>
                  <a:cubicBezTo>
                    <a:pt x="197" y="117"/>
                    <a:pt x="199" y="116"/>
                    <a:pt x="199" y="116"/>
                  </a:cubicBezTo>
                  <a:cubicBezTo>
                    <a:pt x="199" y="116"/>
                    <a:pt x="199" y="114"/>
                    <a:pt x="199" y="113"/>
                  </a:cubicBezTo>
                  <a:cubicBezTo>
                    <a:pt x="200" y="112"/>
                    <a:pt x="201" y="113"/>
                    <a:pt x="201" y="112"/>
                  </a:cubicBezTo>
                  <a:cubicBezTo>
                    <a:pt x="202" y="112"/>
                    <a:pt x="203" y="112"/>
                    <a:pt x="203" y="112"/>
                  </a:cubicBezTo>
                  <a:cubicBezTo>
                    <a:pt x="202" y="115"/>
                    <a:pt x="201" y="117"/>
                    <a:pt x="200" y="120"/>
                  </a:cubicBezTo>
                  <a:cubicBezTo>
                    <a:pt x="201" y="121"/>
                    <a:pt x="203" y="122"/>
                    <a:pt x="205" y="123"/>
                  </a:cubicBezTo>
                  <a:cubicBezTo>
                    <a:pt x="208" y="117"/>
                    <a:pt x="206" y="121"/>
                    <a:pt x="211" y="119"/>
                  </a:cubicBezTo>
                  <a:cubicBezTo>
                    <a:pt x="215" y="117"/>
                    <a:pt x="212" y="109"/>
                    <a:pt x="215" y="109"/>
                  </a:cubicBezTo>
                  <a:cubicBezTo>
                    <a:pt x="221" y="112"/>
                    <a:pt x="221" y="112"/>
                    <a:pt x="221" y="112"/>
                  </a:cubicBezTo>
                  <a:cubicBezTo>
                    <a:pt x="221" y="110"/>
                    <a:pt x="220" y="110"/>
                    <a:pt x="220" y="110"/>
                  </a:cubicBezTo>
                  <a:cubicBezTo>
                    <a:pt x="220" y="109"/>
                    <a:pt x="220" y="108"/>
                    <a:pt x="220" y="108"/>
                  </a:cubicBezTo>
                  <a:cubicBezTo>
                    <a:pt x="220" y="107"/>
                    <a:pt x="221" y="107"/>
                    <a:pt x="222" y="107"/>
                  </a:cubicBezTo>
                  <a:cubicBezTo>
                    <a:pt x="223" y="106"/>
                    <a:pt x="223" y="103"/>
                    <a:pt x="224" y="102"/>
                  </a:cubicBezTo>
                  <a:cubicBezTo>
                    <a:pt x="222" y="99"/>
                    <a:pt x="218" y="93"/>
                    <a:pt x="213" y="94"/>
                  </a:cubicBezTo>
                  <a:close/>
                  <a:moveTo>
                    <a:pt x="269" y="92"/>
                  </a:moveTo>
                  <a:cubicBezTo>
                    <a:pt x="268" y="92"/>
                    <a:pt x="267" y="94"/>
                    <a:pt x="266" y="94"/>
                  </a:cubicBezTo>
                  <a:cubicBezTo>
                    <a:pt x="264" y="95"/>
                    <a:pt x="264" y="93"/>
                    <a:pt x="262" y="94"/>
                  </a:cubicBezTo>
                  <a:cubicBezTo>
                    <a:pt x="260" y="95"/>
                    <a:pt x="260" y="95"/>
                    <a:pt x="260" y="95"/>
                  </a:cubicBezTo>
                  <a:cubicBezTo>
                    <a:pt x="259" y="96"/>
                    <a:pt x="258" y="95"/>
                    <a:pt x="256" y="96"/>
                  </a:cubicBezTo>
                  <a:cubicBezTo>
                    <a:pt x="256" y="96"/>
                    <a:pt x="256" y="97"/>
                    <a:pt x="256" y="97"/>
                  </a:cubicBezTo>
                  <a:cubicBezTo>
                    <a:pt x="253" y="99"/>
                    <a:pt x="250" y="99"/>
                    <a:pt x="245" y="100"/>
                  </a:cubicBezTo>
                  <a:cubicBezTo>
                    <a:pt x="245" y="103"/>
                    <a:pt x="245" y="107"/>
                    <a:pt x="245" y="110"/>
                  </a:cubicBezTo>
                  <a:cubicBezTo>
                    <a:pt x="246" y="110"/>
                    <a:pt x="247" y="110"/>
                    <a:pt x="248" y="110"/>
                  </a:cubicBezTo>
                  <a:cubicBezTo>
                    <a:pt x="249" y="111"/>
                    <a:pt x="253" y="114"/>
                    <a:pt x="255" y="114"/>
                  </a:cubicBezTo>
                  <a:cubicBezTo>
                    <a:pt x="258" y="114"/>
                    <a:pt x="261" y="111"/>
                    <a:pt x="263" y="110"/>
                  </a:cubicBezTo>
                  <a:cubicBezTo>
                    <a:pt x="265" y="110"/>
                    <a:pt x="266" y="111"/>
                    <a:pt x="268" y="110"/>
                  </a:cubicBezTo>
                  <a:cubicBezTo>
                    <a:pt x="268" y="110"/>
                    <a:pt x="270" y="108"/>
                    <a:pt x="271" y="107"/>
                  </a:cubicBezTo>
                  <a:cubicBezTo>
                    <a:pt x="271" y="106"/>
                    <a:pt x="271" y="105"/>
                    <a:pt x="271" y="104"/>
                  </a:cubicBezTo>
                  <a:cubicBezTo>
                    <a:pt x="271" y="103"/>
                    <a:pt x="266" y="101"/>
                    <a:pt x="268" y="100"/>
                  </a:cubicBezTo>
                  <a:cubicBezTo>
                    <a:pt x="269" y="100"/>
                    <a:pt x="273" y="100"/>
                    <a:pt x="274" y="100"/>
                  </a:cubicBezTo>
                  <a:cubicBezTo>
                    <a:pt x="275" y="99"/>
                    <a:pt x="276" y="96"/>
                    <a:pt x="276" y="94"/>
                  </a:cubicBezTo>
                  <a:cubicBezTo>
                    <a:pt x="275" y="93"/>
                    <a:pt x="274" y="94"/>
                    <a:pt x="272" y="94"/>
                  </a:cubicBezTo>
                  <a:cubicBezTo>
                    <a:pt x="272" y="93"/>
                    <a:pt x="271" y="92"/>
                    <a:pt x="269" y="92"/>
                  </a:cubicBezTo>
                  <a:close/>
                  <a:moveTo>
                    <a:pt x="231" y="90"/>
                  </a:moveTo>
                  <a:cubicBezTo>
                    <a:pt x="226" y="90"/>
                    <a:pt x="224" y="97"/>
                    <a:pt x="229" y="100"/>
                  </a:cubicBezTo>
                  <a:cubicBezTo>
                    <a:pt x="230" y="101"/>
                    <a:pt x="232" y="100"/>
                    <a:pt x="235" y="100"/>
                  </a:cubicBezTo>
                  <a:cubicBezTo>
                    <a:pt x="235" y="100"/>
                    <a:pt x="237" y="97"/>
                    <a:pt x="237" y="97"/>
                  </a:cubicBezTo>
                  <a:cubicBezTo>
                    <a:pt x="238" y="94"/>
                    <a:pt x="234" y="90"/>
                    <a:pt x="231" y="90"/>
                  </a:cubicBezTo>
                  <a:close/>
                  <a:moveTo>
                    <a:pt x="250" y="84"/>
                  </a:moveTo>
                  <a:cubicBezTo>
                    <a:pt x="250" y="85"/>
                    <a:pt x="250" y="85"/>
                    <a:pt x="250" y="85"/>
                  </a:cubicBezTo>
                  <a:cubicBezTo>
                    <a:pt x="245" y="85"/>
                    <a:pt x="245" y="85"/>
                    <a:pt x="242" y="87"/>
                  </a:cubicBezTo>
                  <a:cubicBezTo>
                    <a:pt x="242" y="88"/>
                    <a:pt x="242" y="88"/>
                    <a:pt x="241" y="89"/>
                  </a:cubicBezTo>
                  <a:cubicBezTo>
                    <a:pt x="242" y="89"/>
                    <a:pt x="242" y="90"/>
                    <a:pt x="244" y="90"/>
                  </a:cubicBezTo>
                  <a:cubicBezTo>
                    <a:pt x="246" y="89"/>
                    <a:pt x="246" y="89"/>
                    <a:pt x="246" y="89"/>
                  </a:cubicBezTo>
                  <a:cubicBezTo>
                    <a:pt x="246" y="89"/>
                    <a:pt x="252" y="89"/>
                    <a:pt x="253" y="89"/>
                  </a:cubicBezTo>
                  <a:cubicBezTo>
                    <a:pt x="254" y="89"/>
                    <a:pt x="254" y="91"/>
                    <a:pt x="254" y="92"/>
                  </a:cubicBezTo>
                  <a:cubicBezTo>
                    <a:pt x="256" y="92"/>
                    <a:pt x="257" y="92"/>
                    <a:pt x="258" y="92"/>
                  </a:cubicBezTo>
                  <a:cubicBezTo>
                    <a:pt x="258" y="92"/>
                    <a:pt x="258" y="91"/>
                    <a:pt x="258" y="90"/>
                  </a:cubicBezTo>
                  <a:cubicBezTo>
                    <a:pt x="258" y="89"/>
                    <a:pt x="260" y="89"/>
                    <a:pt x="261" y="88"/>
                  </a:cubicBezTo>
                  <a:cubicBezTo>
                    <a:pt x="261" y="88"/>
                    <a:pt x="262" y="87"/>
                    <a:pt x="260" y="88"/>
                  </a:cubicBezTo>
                  <a:cubicBezTo>
                    <a:pt x="260" y="86"/>
                    <a:pt x="260" y="87"/>
                    <a:pt x="260" y="85"/>
                  </a:cubicBezTo>
                  <a:cubicBezTo>
                    <a:pt x="259" y="85"/>
                    <a:pt x="257" y="85"/>
                    <a:pt x="256" y="85"/>
                  </a:cubicBezTo>
                  <a:cubicBezTo>
                    <a:pt x="254" y="85"/>
                    <a:pt x="253" y="83"/>
                    <a:pt x="250" y="8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60" name="Freeform 296">
              <a:extLst>
                <a:ext uri="{FF2B5EF4-FFF2-40B4-BE49-F238E27FC236}">
                  <a16:creationId xmlns:a16="http://schemas.microsoft.com/office/drawing/2014/main" id="{CDA7E2D2-909B-2ABB-7CC7-17A561A6A19E}"/>
                </a:ext>
              </a:extLst>
            </p:cNvPr>
            <p:cNvSpPr>
              <a:spLocks/>
            </p:cNvSpPr>
            <p:nvPr/>
          </p:nvSpPr>
          <p:spPr bwMode="auto">
            <a:xfrm>
              <a:off x="6221969" y="3721867"/>
              <a:ext cx="253294" cy="422162"/>
            </a:xfrm>
            <a:custGeom>
              <a:avLst/>
              <a:gdLst>
                <a:gd name="T0" fmla="*/ 2 w 72"/>
                <a:gd name="T1" fmla="*/ 97 h 120"/>
                <a:gd name="T2" fmla="*/ 6 w 72"/>
                <a:gd name="T3" fmla="*/ 97 h 120"/>
                <a:gd name="T4" fmla="*/ 11 w 72"/>
                <a:gd name="T5" fmla="*/ 103 h 120"/>
                <a:gd name="T6" fmla="*/ 15 w 72"/>
                <a:gd name="T7" fmla="*/ 110 h 120"/>
                <a:gd name="T8" fmla="*/ 29 w 72"/>
                <a:gd name="T9" fmla="*/ 118 h 120"/>
                <a:gd name="T10" fmla="*/ 39 w 72"/>
                <a:gd name="T11" fmla="*/ 116 h 120"/>
                <a:gd name="T12" fmla="*/ 52 w 72"/>
                <a:gd name="T13" fmla="*/ 116 h 120"/>
                <a:gd name="T14" fmla="*/ 61 w 72"/>
                <a:gd name="T15" fmla="*/ 119 h 120"/>
                <a:gd name="T16" fmla="*/ 71 w 72"/>
                <a:gd name="T17" fmla="*/ 120 h 120"/>
                <a:gd name="T18" fmla="*/ 72 w 72"/>
                <a:gd name="T19" fmla="*/ 111 h 120"/>
                <a:gd name="T20" fmla="*/ 61 w 72"/>
                <a:gd name="T21" fmla="*/ 99 h 120"/>
                <a:gd name="T22" fmla="*/ 53 w 72"/>
                <a:gd name="T23" fmla="*/ 84 h 120"/>
                <a:gd name="T24" fmla="*/ 52 w 72"/>
                <a:gd name="T25" fmla="*/ 76 h 120"/>
                <a:gd name="T26" fmla="*/ 60 w 72"/>
                <a:gd name="T27" fmla="*/ 59 h 120"/>
                <a:gd name="T28" fmla="*/ 51 w 72"/>
                <a:gd name="T29" fmla="*/ 44 h 120"/>
                <a:gd name="T30" fmla="*/ 64 w 72"/>
                <a:gd name="T31" fmla="*/ 38 h 120"/>
                <a:gd name="T32" fmla="*/ 62 w 72"/>
                <a:gd name="T33" fmla="*/ 29 h 120"/>
                <a:gd name="T34" fmla="*/ 61 w 72"/>
                <a:gd name="T35" fmla="*/ 18 h 120"/>
                <a:gd name="T36" fmla="*/ 60 w 72"/>
                <a:gd name="T37" fmla="*/ 11 h 120"/>
                <a:gd name="T38" fmla="*/ 53 w 72"/>
                <a:gd name="T39" fmla="*/ 0 h 120"/>
                <a:gd name="T40" fmla="*/ 55 w 72"/>
                <a:gd name="T41" fmla="*/ 11 h 120"/>
                <a:gd name="T42" fmla="*/ 49 w 72"/>
                <a:gd name="T43" fmla="*/ 21 h 120"/>
                <a:gd name="T44" fmla="*/ 45 w 72"/>
                <a:gd name="T45" fmla="*/ 30 h 120"/>
                <a:gd name="T46" fmla="*/ 41 w 72"/>
                <a:gd name="T47" fmla="*/ 38 h 120"/>
                <a:gd name="T48" fmla="*/ 35 w 72"/>
                <a:gd name="T49" fmla="*/ 45 h 120"/>
                <a:gd name="T50" fmla="*/ 31 w 72"/>
                <a:gd name="T51" fmla="*/ 55 h 120"/>
                <a:gd name="T52" fmla="*/ 25 w 72"/>
                <a:gd name="T53" fmla="*/ 63 h 120"/>
                <a:gd name="T54" fmla="*/ 23 w 72"/>
                <a:gd name="T55" fmla="*/ 74 h 120"/>
                <a:gd name="T56" fmla="*/ 16 w 72"/>
                <a:gd name="T57" fmla="*/ 73 h 120"/>
                <a:gd name="T58" fmla="*/ 10 w 72"/>
                <a:gd name="T59" fmla="*/ 73 h 120"/>
                <a:gd name="T60" fmla="*/ 2 w 72"/>
                <a:gd name="T61" fmla="*/ 82 h 120"/>
                <a:gd name="T62" fmla="*/ 2 w 72"/>
                <a:gd name="T63" fmla="*/ 88 h 120"/>
                <a:gd name="T64" fmla="*/ 1 w 72"/>
                <a:gd name="T65"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20">
                  <a:moveTo>
                    <a:pt x="1" y="95"/>
                  </a:moveTo>
                  <a:cubicBezTo>
                    <a:pt x="2" y="95"/>
                    <a:pt x="2" y="97"/>
                    <a:pt x="2" y="97"/>
                  </a:cubicBezTo>
                  <a:cubicBezTo>
                    <a:pt x="3" y="97"/>
                    <a:pt x="5" y="95"/>
                    <a:pt x="6" y="95"/>
                  </a:cubicBezTo>
                  <a:cubicBezTo>
                    <a:pt x="7" y="95"/>
                    <a:pt x="6" y="97"/>
                    <a:pt x="6" y="97"/>
                  </a:cubicBezTo>
                  <a:cubicBezTo>
                    <a:pt x="4" y="103"/>
                    <a:pt x="10" y="101"/>
                    <a:pt x="13" y="100"/>
                  </a:cubicBezTo>
                  <a:cubicBezTo>
                    <a:pt x="12" y="101"/>
                    <a:pt x="12" y="102"/>
                    <a:pt x="11" y="103"/>
                  </a:cubicBezTo>
                  <a:cubicBezTo>
                    <a:pt x="11" y="103"/>
                    <a:pt x="13" y="109"/>
                    <a:pt x="14" y="109"/>
                  </a:cubicBezTo>
                  <a:cubicBezTo>
                    <a:pt x="15" y="110"/>
                    <a:pt x="15" y="110"/>
                    <a:pt x="15" y="110"/>
                  </a:cubicBezTo>
                  <a:cubicBezTo>
                    <a:pt x="15" y="110"/>
                    <a:pt x="15" y="115"/>
                    <a:pt x="14" y="118"/>
                  </a:cubicBezTo>
                  <a:cubicBezTo>
                    <a:pt x="29" y="118"/>
                    <a:pt x="29" y="118"/>
                    <a:pt x="29" y="118"/>
                  </a:cubicBezTo>
                  <a:cubicBezTo>
                    <a:pt x="29" y="118"/>
                    <a:pt x="32" y="118"/>
                    <a:pt x="34" y="117"/>
                  </a:cubicBezTo>
                  <a:cubicBezTo>
                    <a:pt x="35" y="116"/>
                    <a:pt x="36" y="118"/>
                    <a:pt x="39" y="116"/>
                  </a:cubicBezTo>
                  <a:cubicBezTo>
                    <a:pt x="42" y="115"/>
                    <a:pt x="45" y="116"/>
                    <a:pt x="45" y="116"/>
                  </a:cubicBezTo>
                  <a:cubicBezTo>
                    <a:pt x="52" y="116"/>
                    <a:pt x="52" y="116"/>
                    <a:pt x="52" y="116"/>
                  </a:cubicBezTo>
                  <a:cubicBezTo>
                    <a:pt x="54" y="115"/>
                    <a:pt x="57" y="116"/>
                    <a:pt x="58" y="117"/>
                  </a:cubicBezTo>
                  <a:cubicBezTo>
                    <a:pt x="59" y="119"/>
                    <a:pt x="59" y="119"/>
                    <a:pt x="61" y="119"/>
                  </a:cubicBezTo>
                  <a:cubicBezTo>
                    <a:pt x="63" y="119"/>
                    <a:pt x="64" y="118"/>
                    <a:pt x="66" y="119"/>
                  </a:cubicBezTo>
                  <a:cubicBezTo>
                    <a:pt x="69" y="119"/>
                    <a:pt x="71" y="120"/>
                    <a:pt x="71" y="120"/>
                  </a:cubicBezTo>
                  <a:cubicBezTo>
                    <a:pt x="71" y="120"/>
                    <a:pt x="70" y="117"/>
                    <a:pt x="70" y="116"/>
                  </a:cubicBezTo>
                  <a:cubicBezTo>
                    <a:pt x="69" y="114"/>
                    <a:pt x="72" y="111"/>
                    <a:pt x="72" y="111"/>
                  </a:cubicBezTo>
                  <a:cubicBezTo>
                    <a:pt x="72" y="111"/>
                    <a:pt x="68" y="108"/>
                    <a:pt x="66" y="104"/>
                  </a:cubicBezTo>
                  <a:cubicBezTo>
                    <a:pt x="64" y="101"/>
                    <a:pt x="64" y="102"/>
                    <a:pt x="61" y="99"/>
                  </a:cubicBezTo>
                  <a:cubicBezTo>
                    <a:pt x="58" y="96"/>
                    <a:pt x="59" y="95"/>
                    <a:pt x="57" y="92"/>
                  </a:cubicBezTo>
                  <a:cubicBezTo>
                    <a:pt x="55" y="89"/>
                    <a:pt x="54" y="86"/>
                    <a:pt x="53" y="84"/>
                  </a:cubicBezTo>
                  <a:cubicBezTo>
                    <a:pt x="53" y="81"/>
                    <a:pt x="51" y="81"/>
                    <a:pt x="50" y="80"/>
                  </a:cubicBezTo>
                  <a:cubicBezTo>
                    <a:pt x="48" y="79"/>
                    <a:pt x="49" y="77"/>
                    <a:pt x="52" y="76"/>
                  </a:cubicBezTo>
                  <a:cubicBezTo>
                    <a:pt x="54" y="75"/>
                    <a:pt x="58" y="65"/>
                    <a:pt x="58" y="65"/>
                  </a:cubicBezTo>
                  <a:cubicBezTo>
                    <a:pt x="60" y="59"/>
                    <a:pt x="60" y="59"/>
                    <a:pt x="60" y="59"/>
                  </a:cubicBezTo>
                  <a:cubicBezTo>
                    <a:pt x="60" y="59"/>
                    <a:pt x="59" y="52"/>
                    <a:pt x="58" y="51"/>
                  </a:cubicBezTo>
                  <a:cubicBezTo>
                    <a:pt x="56" y="50"/>
                    <a:pt x="53" y="45"/>
                    <a:pt x="51" y="44"/>
                  </a:cubicBezTo>
                  <a:cubicBezTo>
                    <a:pt x="50" y="43"/>
                    <a:pt x="51" y="40"/>
                    <a:pt x="53" y="38"/>
                  </a:cubicBezTo>
                  <a:cubicBezTo>
                    <a:pt x="55" y="37"/>
                    <a:pt x="64" y="38"/>
                    <a:pt x="64" y="38"/>
                  </a:cubicBezTo>
                  <a:cubicBezTo>
                    <a:pt x="64" y="38"/>
                    <a:pt x="64" y="36"/>
                    <a:pt x="63" y="34"/>
                  </a:cubicBezTo>
                  <a:cubicBezTo>
                    <a:pt x="62" y="32"/>
                    <a:pt x="63" y="30"/>
                    <a:pt x="62" y="29"/>
                  </a:cubicBezTo>
                  <a:cubicBezTo>
                    <a:pt x="61" y="27"/>
                    <a:pt x="60" y="24"/>
                    <a:pt x="60" y="21"/>
                  </a:cubicBezTo>
                  <a:cubicBezTo>
                    <a:pt x="60" y="19"/>
                    <a:pt x="61" y="18"/>
                    <a:pt x="61" y="18"/>
                  </a:cubicBezTo>
                  <a:cubicBezTo>
                    <a:pt x="61" y="18"/>
                    <a:pt x="61" y="17"/>
                    <a:pt x="61" y="15"/>
                  </a:cubicBezTo>
                  <a:cubicBezTo>
                    <a:pt x="62" y="14"/>
                    <a:pt x="61" y="12"/>
                    <a:pt x="60" y="11"/>
                  </a:cubicBezTo>
                  <a:cubicBezTo>
                    <a:pt x="58" y="9"/>
                    <a:pt x="60" y="8"/>
                    <a:pt x="59" y="6"/>
                  </a:cubicBezTo>
                  <a:cubicBezTo>
                    <a:pt x="57" y="4"/>
                    <a:pt x="53" y="0"/>
                    <a:pt x="53" y="0"/>
                  </a:cubicBezTo>
                  <a:cubicBezTo>
                    <a:pt x="52" y="8"/>
                    <a:pt x="52" y="8"/>
                    <a:pt x="52" y="8"/>
                  </a:cubicBezTo>
                  <a:cubicBezTo>
                    <a:pt x="52" y="8"/>
                    <a:pt x="55" y="9"/>
                    <a:pt x="55" y="11"/>
                  </a:cubicBezTo>
                  <a:cubicBezTo>
                    <a:pt x="55" y="12"/>
                    <a:pt x="54" y="19"/>
                    <a:pt x="52" y="19"/>
                  </a:cubicBezTo>
                  <a:cubicBezTo>
                    <a:pt x="50" y="19"/>
                    <a:pt x="49" y="19"/>
                    <a:pt x="49" y="21"/>
                  </a:cubicBezTo>
                  <a:cubicBezTo>
                    <a:pt x="49" y="22"/>
                    <a:pt x="47" y="24"/>
                    <a:pt x="46" y="26"/>
                  </a:cubicBezTo>
                  <a:cubicBezTo>
                    <a:pt x="44" y="27"/>
                    <a:pt x="46" y="28"/>
                    <a:pt x="45" y="30"/>
                  </a:cubicBezTo>
                  <a:cubicBezTo>
                    <a:pt x="44" y="32"/>
                    <a:pt x="44" y="34"/>
                    <a:pt x="43" y="34"/>
                  </a:cubicBezTo>
                  <a:cubicBezTo>
                    <a:pt x="41" y="35"/>
                    <a:pt x="41" y="38"/>
                    <a:pt x="41" y="38"/>
                  </a:cubicBezTo>
                  <a:cubicBezTo>
                    <a:pt x="41" y="38"/>
                    <a:pt x="43" y="41"/>
                    <a:pt x="41" y="42"/>
                  </a:cubicBezTo>
                  <a:cubicBezTo>
                    <a:pt x="40" y="43"/>
                    <a:pt x="37" y="45"/>
                    <a:pt x="35" y="45"/>
                  </a:cubicBezTo>
                  <a:cubicBezTo>
                    <a:pt x="33" y="46"/>
                    <a:pt x="33" y="46"/>
                    <a:pt x="32" y="49"/>
                  </a:cubicBezTo>
                  <a:cubicBezTo>
                    <a:pt x="32" y="52"/>
                    <a:pt x="33" y="53"/>
                    <a:pt x="31" y="55"/>
                  </a:cubicBezTo>
                  <a:cubicBezTo>
                    <a:pt x="29" y="56"/>
                    <a:pt x="30" y="56"/>
                    <a:pt x="29" y="59"/>
                  </a:cubicBezTo>
                  <a:cubicBezTo>
                    <a:pt x="28" y="62"/>
                    <a:pt x="26" y="61"/>
                    <a:pt x="25" y="63"/>
                  </a:cubicBezTo>
                  <a:cubicBezTo>
                    <a:pt x="24" y="66"/>
                    <a:pt x="23" y="67"/>
                    <a:pt x="23" y="69"/>
                  </a:cubicBezTo>
                  <a:cubicBezTo>
                    <a:pt x="23" y="71"/>
                    <a:pt x="25" y="73"/>
                    <a:pt x="23" y="74"/>
                  </a:cubicBezTo>
                  <a:cubicBezTo>
                    <a:pt x="21" y="75"/>
                    <a:pt x="21" y="80"/>
                    <a:pt x="17" y="79"/>
                  </a:cubicBezTo>
                  <a:cubicBezTo>
                    <a:pt x="17" y="77"/>
                    <a:pt x="18" y="74"/>
                    <a:pt x="16" y="73"/>
                  </a:cubicBezTo>
                  <a:cubicBezTo>
                    <a:pt x="14" y="72"/>
                    <a:pt x="13" y="72"/>
                    <a:pt x="13" y="72"/>
                  </a:cubicBezTo>
                  <a:cubicBezTo>
                    <a:pt x="13" y="72"/>
                    <a:pt x="12" y="71"/>
                    <a:pt x="10" y="73"/>
                  </a:cubicBezTo>
                  <a:cubicBezTo>
                    <a:pt x="8" y="75"/>
                    <a:pt x="4" y="74"/>
                    <a:pt x="4" y="76"/>
                  </a:cubicBezTo>
                  <a:cubicBezTo>
                    <a:pt x="3" y="79"/>
                    <a:pt x="3" y="82"/>
                    <a:pt x="2" y="82"/>
                  </a:cubicBezTo>
                  <a:cubicBezTo>
                    <a:pt x="0" y="83"/>
                    <a:pt x="1" y="83"/>
                    <a:pt x="1" y="85"/>
                  </a:cubicBezTo>
                  <a:cubicBezTo>
                    <a:pt x="1" y="87"/>
                    <a:pt x="2" y="88"/>
                    <a:pt x="2" y="88"/>
                  </a:cubicBezTo>
                  <a:cubicBezTo>
                    <a:pt x="1" y="91"/>
                    <a:pt x="1" y="91"/>
                    <a:pt x="1" y="91"/>
                  </a:cubicBezTo>
                  <a:lnTo>
                    <a:pt x="1" y="95"/>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61" name="Freeform 297">
              <a:extLst>
                <a:ext uri="{FF2B5EF4-FFF2-40B4-BE49-F238E27FC236}">
                  <a16:creationId xmlns:a16="http://schemas.microsoft.com/office/drawing/2014/main" id="{312A94BE-F315-8DBF-4F59-F32D480B90D0}"/>
                </a:ext>
              </a:extLst>
            </p:cNvPr>
            <p:cNvSpPr>
              <a:spLocks/>
            </p:cNvSpPr>
            <p:nvPr/>
          </p:nvSpPr>
          <p:spPr bwMode="auto">
            <a:xfrm>
              <a:off x="6221969" y="3721867"/>
              <a:ext cx="253294" cy="422162"/>
            </a:xfrm>
            <a:custGeom>
              <a:avLst/>
              <a:gdLst>
                <a:gd name="T0" fmla="*/ 2 w 72"/>
                <a:gd name="T1" fmla="*/ 97 h 120"/>
                <a:gd name="T2" fmla="*/ 6 w 72"/>
                <a:gd name="T3" fmla="*/ 97 h 120"/>
                <a:gd name="T4" fmla="*/ 11 w 72"/>
                <a:gd name="T5" fmla="*/ 103 h 120"/>
                <a:gd name="T6" fmla="*/ 15 w 72"/>
                <a:gd name="T7" fmla="*/ 110 h 120"/>
                <a:gd name="T8" fmla="*/ 29 w 72"/>
                <a:gd name="T9" fmla="*/ 118 h 120"/>
                <a:gd name="T10" fmla="*/ 39 w 72"/>
                <a:gd name="T11" fmla="*/ 116 h 120"/>
                <a:gd name="T12" fmla="*/ 52 w 72"/>
                <a:gd name="T13" fmla="*/ 116 h 120"/>
                <a:gd name="T14" fmla="*/ 61 w 72"/>
                <a:gd name="T15" fmla="*/ 119 h 120"/>
                <a:gd name="T16" fmla="*/ 71 w 72"/>
                <a:gd name="T17" fmla="*/ 120 h 120"/>
                <a:gd name="T18" fmla="*/ 72 w 72"/>
                <a:gd name="T19" fmla="*/ 111 h 120"/>
                <a:gd name="T20" fmla="*/ 61 w 72"/>
                <a:gd name="T21" fmla="*/ 99 h 120"/>
                <a:gd name="T22" fmla="*/ 53 w 72"/>
                <a:gd name="T23" fmla="*/ 84 h 120"/>
                <a:gd name="T24" fmla="*/ 52 w 72"/>
                <a:gd name="T25" fmla="*/ 76 h 120"/>
                <a:gd name="T26" fmla="*/ 60 w 72"/>
                <a:gd name="T27" fmla="*/ 59 h 120"/>
                <a:gd name="T28" fmla="*/ 51 w 72"/>
                <a:gd name="T29" fmla="*/ 44 h 120"/>
                <a:gd name="T30" fmla="*/ 64 w 72"/>
                <a:gd name="T31" fmla="*/ 38 h 120"/>
                <a:gd name="T32" fmla="*/ 62 w 72"/>
                <a:gd name="T33" fmla="*/ 29 h 120"/>
                <a:gd name="T34" fmla="*/ 61 w 72"/>
                <a:gd name="T35" fmla="*/ 18 h 120"/>
                <a:gd name="T36" fmla="*/ 60 w 72"/>
                <a:gd name="T37" fmla="*/ 11 h 120"/>
                <a:gd name="T38" fmla="*/ 53 w 72"/>
                <a:gd name="T39" fmla="*/ 0 h 120"/>
                <a:gd name="T40" fmla="*/ 55 w 72"/>
                <a:gd name="T41" fmla="*/ 11 h 120"/>
                <a:gd name="T42" fmla="*/ 49 w 72"/>
                <a:gd name="T43" fmla="*/ 21 h 120"/>
                <a:gd name="T44" fmla="*/ 45 w 72"/>
                <a:gd name="T45" fmla="*/ 30 h 120"/>
                <a:gd name="T46" fmla="*/ 41 w 72"/>
                <a:gd name="T47" fmla="*/ 38 h 120"/>
                <a:gd name="T48" fmla="*/ 35 w 72"/>
                <a:gd name="T49" fmla="*/ 45 h 120"/>
                <a:gd name="T50" fmla="*/ 31 w 72"/>
                <a:gd name="T51" fmla="*/ 55 h 120"/>
                <a:gd name="T52" fmla="*/ 25 w 72"/>
                <a:gd name="T53" fmla="*/ 63 h 120"/>
                <a:gd name="T54" fmla="*/ 23 w 72"/>
                <a:gd name="T55" fmla="*/ 74 h 120"/>
                <a:gd name="T56" fmla="*/ 16 w 72"/>
                <a:gd name="T57" fmla="*/ 73 h 120"/>
                <a:gd name="T58" fmla="*/ 10 w 72"/>
                <a:gd name="T59" fmla="*/ 73 h 120"/>
                <a:gd name="T60" fmla="*/ 2 w 72"/>
                <a:gd name="T61" fmla="*/ 82 h 120"/>
                <a:gd name="T62" fmla="*/ 2 w 72"/>
                <a:gd name="T63" fmla="*/ 88 h 120"/>
                <a:gd name="T64" fmla="*/ 1 w 72"/>
                <a:gd name="T65"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20">
                  <a:moveTo>
                    <a:pt x="1" y="95"/>
                  </a:moveTo>
                  <a:cubicBezTo>
                    <a:pt x="2" y="95"/>
                    <a:pt x="2" y="97"/>
                    <a:pt x="2" y="97"/>
                  </a:cubicBezTo>
                  <a:cubicBezTo>
                    <a:pt x="3" y="97"/>
                    <a:pt x="5" y="95"/>
                    <a:pt x="6" y="95"/>
                  </a:cubicBezTo>
                  <a:cubicBezTo>
                    <a:pt x="7" y="95"/>
                    <a:pt x="6" y="97"/>
                    <a:pt x="6" y="97"/>
                  </a:cubicBezTo>
                  <a:cubicBezTo>
                    <a:pt x="4" y="103"/>
                    <a:pt x="10" y="101"/>
                    <a:pt x="13" y="100"/>
                  </a:cubicBezTo>
                  <a:cubicBezTo>
                    <a:pt x="12" y="101"/>
                    <a:pt x="12" y="102"/>
                    <a:pt x="11" y="103"/>
                  </a:cubicBezTo>
                  <a:cubicBezTo>
                    <a:pt x="11" y="103"/>
                    <a:pt x="13" y="109"/>
                    <a:pt x="14" y="109"/>
                  </a:cubicBezTo>
                  <a:cubicBezTo>
                    <a:pt x="15" y="110"/>
                    <a:pt x="15" y="110"/>
                    <a:pt x="15" y="110"/>
                  </a:cubicBezTo>
                  <a:cubicBezTo>
                    <a:pt x="15" y="110"/>
                    <a:pt x="15" y="115"/>
                    <a:pt x="14" y="118"/>
                  </a:cubicBezTo>
                  <a:cubicBezTo>
                    <a:pt x="29" y="118"/>
                    <a:pt x="29" y="118"/>
                    <a:pt x="29" y="118"/>
                  </a:cubicBezTo>
                  <a:cubicBezTo>
                    <a:pt x="29" y="118"/>
                    <a:pt x="32" y="118"/>
                    <a:pt x="34" y="117"/>
                  </a:cubicBezTo>
                  <a:cubicBezTo>
                    <a:pt x="35" y="116"/>
                    <a:pt x="36" y="118"/>
                    <a:pt x="39" y="116"/>
                  </a:cubicBezTo>
                  <a:cubicBezTo>
                    <a:pt x="42" y="115"/>
                    <a:pt x="45" y="116"/>
                    <a:pt x="45" y="116"/>
                  </a:cubicBezTo>
                  <a:cubicBezTo>
                    <a:pt x="52" y="116"/>
                    <a:pt x="52" y="116"/>
                    <a:pt x="52" y="116"/>
                  </a:cubicBezTo>
                  <a:cubicBezTo>
                    <a:pt x="54" y="115"/>
                    <a:pt x="57" y="116"/>
                    <a:pt x="58" y="117"/>
                  </a:cubicBezTo>
                  <a:cubicBezTo>
                    <a:pt x="59" y="119"/>
                    <a:pt x="59" y="119"/>
                    <a:pt x="61" y="119"/>
                  </a:cubicBezTo>
                  <a:cubicBezTo>
                    <a:pt x="63" y="119"/>
                    <a:pt x="64" y="118"/>
                    <a:pt x="66" y="119"/>
                  </a:cubicBezTo>
                  <a:cubicBezTo>
                    <a:pt x="69" y="119"/>
                    <a:pt x="71" y="120"/>
                    <a:pt x="71" y="120"/>
                  </a:cubicBezTo>
                  <a:cubicBezTo>
                    <a:pt x="71" y="120"/>
                    <a:pt x="70" y="117"/>
                    <a:pt x="70" y="116"/>
                  </a:cubicBezTo>
                  <a:cubicBezTo>
                    <a:pt x="69" y="114"/>
                    <a:pt x="72" y="111"/>
                    <a:pt x="72" y="111"/>
                  </a:cubicBezTo>
                  <a:cubicBezTo>
                    <a:pt x="72" y="111"/>
                    <a:pt x="68" y="108"/>
                    <a:pt x="66" y="104"/>
                  </a:cubicBezTo>
                  <a:cubicBezTo>
                    <a:pt x="64" y="101"/>
                    <a:pt x="64" y="102"/>
                    <a:pt x="61" y="99"/>
                  </a:cubicBezTo>
                  <a:cubicBezTo>
                    <a:pt x="58" y="96"/>
                    <a:pt x="59" y="95"/>
                    <a:pt x="57" y="92"/>
                  </a:cubicBezTo>
                  <a:cubicBezTo>
                    <a:pt x="55" y="89"/>
                    <a:pt x="54" y="86"/>
                    <a:pt x="53" y="84"/>
                  </a:cubicBezTo>
                  <a:cubicBezTo>
                    <a:pt x="53" y="81"/>
                    <a:pt x="51" y="81"/>
                    <a:pt x="50" y="80"/>
                  </a:cubicBezTo>
                  <a:cubicBezTo>
                    <a:pt x="48" y="79"/>
                    <a:pt x="49" y="77"/>
                    <a:pt x="52" y="76"/>
                  </a:cubicBezTo>
                  <a:cubicBezTo>
                    <a:pt x="54" y="75"/>
                    <a:pt x="58" y="65"/>
                    <a:pt x="58" y="65"/>
                  </a:cubicBezTo>
                  <a:cubicBezTo>
                    <a:pt x="60" y="59"/>
                    <a:pt x="60" y="59"/>
                    <a:pt x="60" y="59"/>
                  </a:cubicBezTo>
                  <a:cubicBezTo>
                    <a:pt x="60" y="59"/>
                    <a:pt x="59" y="52"/>
                    <a:pt x="58" y="51"/>
                  </a:cubicBezTo>
                  <a:cubicBezTo>
                    <a:pt x="56" y="50"/>
                    <a:pt x="53" y="45"/>
                    <a:pt x="51" y="44"/>
                  </a:cubicBezTo>
                  <a:cubicBezTo>
                    <a:pt x="50" y="43"/>
                    <a:pt x="51" y="40"/>
                    <a:pt x="53" y="38"/>
                  </a:cubicBezTo>
                  <a:cubicBezTo>
                    <a:pt x="55" y="37"/>
                    <a:pt x="64" y="38"/>
                    <a:pt x="64" y="38"/>
                  </a:cubicBezTo>
                  <a:cubicBezTo>
                    <a:pt x="64" y="38"/>
                    <a:pt x="64" y="36"/>
                    <a:pt x="63" y="34"/>
                  </a:cubicBezTo>
                  <a:cubicBezTo>
                    <a:pt x="62" y="32"/>
                    <a:pt x="63" y="30"/>
                    <a:pt x="62" y="29"/>
                  </a:cubicBezTo>
                  <a:cubicBezTo>
                    <a:pt x="61" y="27"/>
                    <a:pt x="60" y="24"/>
                    <a:pt x="60" y="21"/>
                  </a:cubicBezTo>
                  <a:cubicBezTo>
                    <a:pt x="60" y="19"/>
                    <a:pt x="61" y="18"/>
                    <a:pt x="61" y="18"/>
                  </a:cubicBezTo>
                  <a:cubicBezTo>
                    <a:pt x="61" y="18"/>
                    <a:pt x="61" y="17"/>
                    <a:pt x="61" y="15"/>
                  </a:cubicBezTo>
                  <a:cubicBezTo>
                    <a:pt x="62" y="14"/>
                    <a:pt x="61" y="12"/>
                    <a:pt x="60" y="11"/>
                  </a:cubicBezTo>
                  <a:cubicBezTo>
                    <a:pt x="58" y="9"/>
                    <a:pt x="60" y="8"/>
                    <a:pt x="59" y="6"/>
                  </a:cubicBezTo>
                  <a:cubicBezTo>
                    <a:pt x="57" y="4"/>
                    <a:pt x="53" y="0"/>
                    <a:pt x="53" y="0"/>
                  </a:cubicBezTo>
                  <a:cubicBezTo>
                    <a:pt x="52" y="8"/>
                    <a:pt x="52" y="8"/>
                    <a:pt x="52" y="8"/>
                  </a:cubicBezTo>
                  <a:cubicBezTo>
                    <a:pt x="52" y="8"/>
                    <a:pt x="55" y="9"/>
                    <a:pt x="55" y="11"/>
                  </a:cubicBezTo>
                  <a:cubicBezTo>
                    <a:pt x="55" y="12"/>
                    <a:pt x="54" y="19"/>
                    <a:pt x="52" y="19"/>
                  </a:cubicBezTo>
                  <a:cubicBezTo>
                    <a:pt x="50" y="19"/>
                    <a:pt x="49" y="19"/>
                    <a:pt x="49" y="21"/>
                  </a:cubicBezTo>
                  <a:cubicBezTo>
                    <a:pt x="49" y="22"/>
                    <a:pt x="47" y="24"/>
                    <a:pt x="46" y="26"/>
                  </a:cubicBezTo>
                  <a:cubicBezTo>
                    <a:pt x="44" y="27"/>
                    <a:pt x="46" y="28"/>
                    <a:pt x="45" y="30"/>
                  </a:cubicBezTo>
                  <a:cubicBezTo>
                    <a:pt x="44" y="32"/>
                    <a:pt x="44" y="34"/>
                    <a:pt x="43" y="34"/>
                  </a:cubicBezTo>
                  <a:cubicBezTo>
                    <a:pt x="41" y="35"/>
                    <a:pt x="41" y="38"/>
                    <a:pt x="41" y="38"/>
                  </a:cubicBezTo>
                  <a:cubicBezTo>
                    <a:pt x="41" y="38"/>
                    <a:pt x="43" y="41"/>
                    <a:pt x="41" y="42"/>
                  </a:cubicBezTo>
                  <a:cubicBezTo>
                    <a:pt x="40" y="43"/>
                    <a:pt x="37" y="45"/>
                    <a:pt x="35" y="45"/>
                  </a:cubicBezTo>
                  <a:cubicBezTo>
                    <a:pt x="33" y="46"/>
                    <a:pt x="33" y="46"/>
                    <a:pt x="32" y="49"/>
                  </a:cubicBezTo>
                  <a:cubicBezTo>
                    <a:pt x="32" y="52"/>
                    <a:pt x="33" y="53"/>
                    <a:pt x="31" y="55"/>
                  </a:cubicBezTo>
                  <a:cubicBezTo>
                    <a:pt x="29" y="56"/>
                    <a:pt x="30" y="56"/>
                    <a:pt x="29" y="59"/>
                  </a:cubicBezTo>
                  <a:cubicBezTo>
                    <a:pt x="28" y="62"/>
                    <a:pt x="26" y="61"/>
                    <a:pt x="25" y="63"/>
                  </a:cubicBezTo>
                  <a:cubicBezTo>
                    <a:pt x="24" y="66"/>
                    <a:pt x="23" y="67"/>
                    <a:pt x="23" y="69"/>
                  </a:cubicBezTo>
                  <a:cubicBezTo>
                    <a:pt x="23" y="71"/>
                    <a:pt x="25" y="73"/>
                    <a:pt x="23" y="74"/>
                  </a:cubicBezTo>
                  <a:cubicBezTo>
                    <a:pt x="21" y="75"/>
                    <a:pt x="21" y="80"/>
                    <a:pt x="17" y="79"/>
                  </a:cubicBezTo>
                  <a:cubicBezTo>
                    <a:pt x="17" y="77"/>
                    <a:pt x="18" y="74"/>
                    <a:pt x="16" y="73"/>
                  </a:cubicBezTo>
                  <a:cubicBezTo>
                    <a:pt x="14" y="72"/>
                    <a:pt x="13" y="72"/>
                    <a:pt x="13" y="72"/>
                  </a:cubicBezTo>
                  <a:cubicBezTo>
                    <a:pt x="13" y="72"/>
                    <a:pt x="12" y="71"/>
                    <a:pt x="10" y="73"/>
                  </a:cubicBezTo>
                  <a:cubicBezTo>
                    <a:pt x="8" y="75"/>
                    <a:pt x="4" y="74"/>
                    <a:pt x="4" y="76"/>
                  </a:cubicBezTo>
                  <a:cubicBezTo>
                    <a:pt x="3" y="79"/>
                    <a:pt x="3" y="82"/>
                    <a:pt x="2" y="82"/>
                  </a:cubicBezTo>
                  <a:cubicBezTo>
                    <a:pt x="0" y="83"/>
                    <a:pt x="1" y="83"/>
                    <a:pt x="1" y="85"/>
                  </a:cubicBezTo>
                  <a:cubicBezTo>
                    <a:pt x="1" y="87"/>
                    <a:pt x="2" y="88"/>
                    <a:pt x="2" y="88"/>
                  </a:cubicBezTo>
                  <a:cubicBezTo>
                    <a:pt x="1" y="91"/>
                    <a:pt x="1" y="91"/>
                    <a:pt x="1" y="91"/>
                  </a:cubicBezTo>
                  <a:lnTo>
                    <a:pt x="1" y="95"/>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62" name="Freeform 298">
              <a:extLst>
                <a:ext uri="{FF2B5EF4-FFF2-40B4-BE49-F238E27FC236}">
                  <a16:creationId xmlns:a16="http://schemas.microsoft.com/office/drawing/2014/main" id="{D866FC50-CF95-6E1F-4230-00E248335635}"/>
                </a:ext>
              </a:extLst>
            </p:cNvPr>
            <p:cNvSpPr>
              <a:spLocks/>
            </p:cNvSpPr>
            <p:nvPr/>
          </p:nvSpPr>
          <p:spPr bwMode="auto">
            <a:xfrm>
              <a:off x="9081851" y="3671565"/>
              <a:ext cx="165269" cy="181441"/>
            </a:xfrm>
            <a:custGeom>
              <a:avLst/>
              <a:gdLst>
                <a:gd name="T0" fmla="*/ 5 w 47"/>
                <a:gd name="T1" fmla="*/ 39 h 51"/>
                <a:gd name="T2" fmla="*/ 7 w 47"/>
                <a:gd name="T3" fmla="*/ 43 h 51"/>
                <a:gd name="T4" fmla="*/ 8 w 47"/>
                <a:gd name="T5" fmla="*/ 43 h 51"/>
                <a:gd name="T6" fmla="*/ 9 w 47"/>
                <a:gd name="T7" fmla="*/ 48 h 51"/>
                <a:gd name="T8" fmla="*/ 13 w 47"/>
                <a:gd name="T9" fmla="*/ 47 h 51"/>
                <a:gd name="T10" fmla="*/ 13 w 47"/>
                <a:gd name="T11" fmla="*/ 50 h 51"/>
                <a:gd name="T12" fmla="*/ 17 w 47"/>
                <a:gd name="T13" fmla="*/ 51 h 51"/>
                <a:gd name="T14" fmla="*/ 17 w 47"/>
                <a:gd name="T15" fmla="*/ 51 h 51"/>
                <a:gd name="T16" fmla="*/ 21 w 47"/>
                <a:gd name="T17" fmla="*/ 46 h 51"/>
                <a:gd name="T18" fmla="*/ 24 w 47"/>
                <a:gd name="T19" fmla="*/ 45 h 51"/>
                <a:gd name="T20" fmla="*/ 25 w 47"/>
                <a:gd name="T21" fmla="*/ 43 h 51"/>
                <a:gd name="T22" fmla="*/ 31 w 47"/>
                <a:gd name="T23" fmla="*/ 42 h 51"/>
                <a:gd name="T24" fmla="*/ 34 w 47"/>
                <a:gd name="T25" fmla="*/ 44 h 51"/>
                <a:gd name="T26" fmla="*/ 35 w 47"/>
                <a:gd name="T27" fmla="*/ 40 h 51"/>
                <a:gd name="T28" fmla="*/ 37 w 47"/>
                <a:gd name="T29" fmla="*/ 39 h 51"/>
                <a:gd name="T30" fmla="*/ 42 w 47"/>
                <a:gd name="T31" fmla="*/ 37 h 51"/>
                <a:gd name="T32" fmla="*/ 44 w 47"/>
                <a:gd name="T33" fmla="*/ 35 h 51"/>
                <a:gd name="T34" fmla="*/ 44 w 47"/>
                <a:gd name="T35" fmla="*/ 31 h 51"/>
                <a:gd name="T36" fmla="*/ 45 w 47"/>
                <a:gd name="T37" fmla="*/ 26 h 51"/>
                <a:gd name="T38" fmla="*/ 47 w 47"/>
                <a:gd name="T39" fmla="*/ 21 h 51"/>
                <a:gd name="T40" fmla="*/ 46 w 47"/>
                <a:gd name="T41" fmla="*/ 17 h 51"/>
                <a:gd name="T42" fmla="*/ 45 w 47"/>
                <a:gd name="T43" fmla="*/ 12 h 51"/>
                <a:gd name="T44" fmla="*/ 43 w 47"/>
                <a:gd name="T45" fmla="*/ 8 h 51"/>
                <a:gd name="T46" fmla="*/ 43 w 47"/>
                <a:gd name="T47" fmla="*/ 3 h 51"/>
                <a:gd name="T48" fmla="*/ 39 w 47"/>
                <a:gd name="T49" fmla="*/ 4 h 51"/>
                <a:gd name="T50" fmla="*/ 37 w 47"/>
                <a:gd name="T51" fmla="*/ 1 h 51"/>
                <a:gd name="T52" fmla="*/ 34 w 47"/>
                <a:gd name="T53" fmla="*/ 0 h 51"/>
                <a:gd name="T54" fmla="*/ 32 w 47"/>
                <a:gd name="T55" fmla="*/ 4 h 51"/>
                <a:gd name="T56" fmla="*/ 32 w 47"/>
                <a:gd name="T57" fmla="*/ 8 h 51"/>
                <a:gd name="T58" fmla="*/ 29 w 47"/>
                <a:gd name="T59" fmla="*/ 9 h 51"/>
                <a:gd name="T60" fmla="*/ 26 w 47"/>
                <a:gd name="T61" fmla="*/ 7 h 51"/>
                <a:gd name="T62" fmla="*/ 25 w 47"/>
                <a:gd name="T63" fmla="*/ 5 h 51"/>
                <a:gd name="T64" fmla="*/ 20 w 47"/>
                <a:gd name="T65" fmla="*/ 4 h 51"/>
                <a:gd name="T66" fmla="*/ 18 w 47"/>
                <a:gd name="T67" fmla="*/ 6 h 51"/>
                <a:gd name="T68" fmla="*/ 14 w 47"/>
                <a:gd name="T69" fmla="*/ 9 h 51"/>
                <a:gd name="T70" fmla="*/ 11 w 47"/>
                <a:gd name="T71" fmla="*/ 9 h 51"/>
                <a:gd name="T72" fmla="*/ 8 w 47"/>
                <a:gd name="T73" fmla="*/ 9 h 51"/>
                <a:gd name="T74" fmla="*/ 4 w 47"/>
                <a:gd name="T75" fmla="*/ 11 h 51"/>
                <a:gd name="T76" fmla="*/ 1 w 47"/>
                <a:gd name="T77" fmla="*/ 12 h 51"/>
                <a:gd name="T78" fmla="*/ 0 w 47"/>
                <a:gd name="T79" fmla="*/ 17 h 51"/>
                <a:gd name="T80" fmla="*/ 1 w 47"/>
                <a:gd name="T81" fmla="*/ 24 h 51"/>
                <a:gd name="T82" fmla="*/ 4 w 47"/>
                <a:gd name="T83" fmla="*/ 29 h 51"/>
                <a:gd name="T84" fmla="*/ 4 w 47"/>
                <a:gd name="T85" fmla="*/ 33 h 51"/>
                <a:gd name="T86" fmla="*/ 5 w 47"/>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51">
                  <a:moveTo>
                    <a:pt x="5" y="39"/>
                  </a:moveTo>
                  <a:cubicBezTo>
                    <a:pt x="5" y="40"/>
                    <a:pt x="6" y="42"/>
                    <a:pt x="7" y="43"/>
                  </a:cubicBezTo>
                  <a:cubicBezTo>
                    <a:pt x="8" y="43"/>
                    <a:pt x="8" y="43"/>
                    <a:pt x="8" y="43"/>
                  </a:cubicBezTo>
                  <a:cubicBezTo>
                    <a:pt x="9" y="44"/>
                    <a:pt x="9" y="47"/>
                    <a:pt x="9" y="48"/>
                  </a:cubicBezTo>
                  <a:cubicBezTo>
                    <a:pt x="11" y="48"/>
                    <a:pt x="11" y="47"/>
                    <a:pt x="13" y="47"/>
                  </a:cubicBezTo>
                  <a:cubicBezTo>
                    <a:pt x="13" y="48"/>
                    <a:pt x="13" y="49"/>
                    <a:pt x="13" y="50"/>
                  </a:cubicBezTo>
                  <a:cubicBezTo>
                    <a:pt x="15" y="50"/>
                    <a:pt x="16" y="50"/>
                    <a:pt x="17" y="51"/>
                  </a:cubicBezTo>
                  <a:cubicBezTo>
                    <a:pt x="17" y="51"/>
                    <a:pt x="17" y="51"/>
                    <a:pt x="17" y="51"/>
                  </a:cubicBezTo>
                  <a:cubicBezTo>
                    <a:pt x="21" y="46"/>
                    <a:pt x="21" y="46"/>
                    <a:pt x="21" y="46"/>
                  </a:cubicBezTo>
                  <a:cubicBezTo>
                    <a:pt x="24" y="45"/>
                    <a:pt x="24" y="45"/>
                    <a:pt x="24" y="45"/>
                  </a:cubicBezTo>
                  <a:cubicBezTo>
                    <a:pt x="25" y="43"/>
                    <a:pt x="25" y="43"/>
                    <a:pt x="25" y="43"/>
                  </a:cubicBezTo>
                  <a:cubicBezTo>
                    <a:pt x="31" y="42"/>
                    <a:pt x="31" y="42"/>
                    <a:pt x="31" y="42"/>
                  </a:cubicBezTo>
                  <a:cubicBezTo>
                    <a:pt x="34" y="44"/>
                    <a:pt x="34" y="44"/>
                    <a:pt x="34" y="44"/>
                  </a:cubicBezTo>
                  <a:cubicBezTo>
                    <a:pt x="35" y="40"/>
                    <a:pt x="35" y="40"/>
                    <a:pt x="35" y="40"/>
                  </a:cubicBezTo>
                  <a:cubicBezTo>
                    <a:pt x="37" y="39"/>
                    <a:pt x="37" y="39"/>
                    <a:pt x="37" y="39"/>
                  </a:cubicBezTo>
                  <a:cubicBezTo>
                    <a:pt x="42" y="37"/>
                    <a:pt x="42" y="37"/>
                    <a:pt x="42" y="37"/>
                  </a:cubicBezTo>
                  <a:cubicBezTo>
                    <a:pt x="44" y="35"/>
                    <a:pt x="44" y="35"/>
                    <a:pt x="44" y="35"/>
                  </a:cubicBezTo>
                  <a:cubicBezTo>
                    <a:pt x="44" y="31"/>
                    <a:pt x="44" y="31"/>
                    <a:pt x="44" y="31"/>
                  </a:cubicBezTo>
                  <a:cubicBezTo>
                    <a:pt x="45" y="26"/>
                    <a:pt x="45" y="26"/>
                    <a:pt x="45" y="26"/>
                  </a:cubicBezTo>
                  <a:cubicBezTo>
                    <a:pt x="47" y="21"/>
                    <a:pt x="47" y="21"/>
                    <a:pt x="47" y="21"/>
                  </a:cubicBezTo>
                  <a:cubicBezTo>
                    <a:pt x="46" y="17"/>
                    <a:pt x="46" y="17"/>
                    <a:pt x="46" y="17"/>
                  </a:cubicBezTo>
                  <a:cubicBezTo>
                    <a:pt x="45" y="12"/>
                    <a:pt x="45" y="12"/>
                    <a:pt x="45" y="12"/>
                  </a:cubicBezTo>
                  <a:cubicBezTo>
                    <a:pt x="43" y="8"/>
                    <a:pt x="43" y="8"/>
                    <a:pt x="43" y="8"/>
                  </a:cubicBezTo>
                  <a:cubicBezTo>
                    <a:pt x="43" y="3"/>
                    <a:pt x="43" y="3"/>
                    <a:pt x="43" y="3"/>
                  </a:cubicBezTo>
                  <a:cubicBezTo>
                    <a:pt x="39" y="4"/>
                    <a:pt x="39" y="4"/>
                    <a:pt x="39" y="4"/>
                  </a:cubicBezTo>
                  <a:cubicBezTo>
                    <a:pt x="37" y="1"/>
                    <a:pt x="37" y="1"/>
                    <a:pt x="37" y="1"/>
                  </a:cubicBezTo>
                  <a:cubicBezTo>
                    <a:pt x="34" y="0"/>
                    <a:pt x="34" y="0"/>
                    <a:pt x="34" y="0"/>
                  </a:cubicBezTo>
                  <a:cubicBezTo>
                    <a:pt x="32" y="4"/>
                    <a:pt x="32" y="4"/>
                    <a:pt x="32" y="4"/>
                  </a:cubicBezTo>
                  <a:cubicBezTo>
                    <a:pt x="32" y="8"/>
                    <a:pt x="32" y="8"/>
                    <a:pt x="32" y="8"/>
                  </a:cubicBezTo>
                  <a:cubicBezTo>
                    <a:pt x="29" y="9"/>
                    <a:pt x="29" y="9"/>
                    <a:pt x="29" y="9"/>
                  </a:cubicBezTo>
                  <a:cubicBezTo>
                    <a:pt x="26" y="7"/>
                    <a:pt x="26" y="7"/>
                    <a:pt x="26" y="7"/>
                  </a:cubicBezTo>
                  <a:cubicBezTo>
                    <a:pt x="25" y="5"/>
                    <a:pt x="25" y="5"/>
                    <a:pt x="25" y="5"/>
                  </a:cubicBezTo>
                  <a:cubicBezTo>
                    <a:pt x="20" y="4"/>
                    <a:pt x="20" y="4"/>
                    <a:pt x="20" y="4"/>
                  </a:cubicBezTo>
                  <a:cubicBezTo>
                    <a:pt x="18" y="6"/>
                    <a:pt x="18" y="6"/>
                    <a:pt x="18" y="6"/>
                  </a:cubicBezTo>
                  <a:cubicBezTo>
                    <a:pt x="14" y="9"/>
                    <a:pt x="14" y="9"/>
                    <a:pt x="14" y="9"/>
                  </a:cubicBezTo>
                  <a:cubicBezTo>
                    <a:pt x="11" y="9"/>
                    <a:pt x="11" y="9"/>
                    <a:pt x="11" y="9"/>
                  </a:cubicBezTo>
                  <a:cubicBezTo>
                    <a:pt x="8" y="9"/>
                    <a:pt x="8" y="9"/>
                    <a:pt x="8" y="9"/>
                  </a:cubicBezTo>
                  <a:cubicBezTo>
                    <a:pt x="4" y="11"/>
                    <a:pt x="4" y="11"/>
                    <a:pt x="4" y="11"/>
                  </a:cubicBezTo>
                  <a:cubicBezTo>
                    <a:pt x="1" y="12"/>
                    <a:pt x="1" y="12"/>
                    <a:pt x="1" y="12"/>
                  </a:cubicBezTo>
                  <a:cubicBezTo>
                    <a:pt x="0" y="17"/>
                    <a:pt x="0" y="17"/>
                    <a:pt x="0" y="17"/>
                  </a:cubicBezTo>
                  <a:cubicBezTo>
                    <a:pt x="1" y="24"/>
                    <a:pt x="1" y="24"/>
                    <a:pt x="1" y="24"/>
                  </a:cubicBezTo>
                  <a:cubicBezTo>
                    <a:pt x="4" y="29"/>
                    <a:pt x="4" y="29"/>
                    <a:pt x="4" y="29"/>
                  </a:cubicBezTo>
                  <a:cubicBezTo>
                    <a:pt x="4" y="33"/>
                    <a:pt x="4" y="33"/>
                    <a:pt x="4" y="33"/>
                  </a:cubicBezTo>
                  <a:lnTo>
                    <a:pt x="5" y="39"/>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63" name="Freeform 299">
              <a:extLst>
                <a:ext uri="{FF2B5EF4-FFF2-40B4-BE49-F238E27FC236}">
                  <a16:creationId xmlns:a16="http://schemas.microsoft.com/office/drawing/2014/main" id="{D45D15EA-E759-BB15-53CC-06591DF45FCD}"/>
                </a:ext>
              </a:extLst>
            </p:cNvPr>
            <p:cNvSpPr>
              <a:spLocks/>
            </p:cNvSpPr>
            <p:nvPr/>
          </p:nvSpPr>
          <p:spPr bwMode="auto">
            <a:xfrm>
              <a:off x="9081851" y="3671565"/>
              <a:ext cx="165269" cy="181441"/>
            </a:xfrm>
            <a:custGeom>
              <a:avLst/>
              <a:gdLst>
                <a:gd name="T0" fmla="*/ 5 w 47"/>
                <a:gd name="T1" fmla="*/ 39 h 51"/>
                <a:gd name="T2" fmla="*/ 7 w 47"/>
                <a:gd name="T3" fmla="*/ 43 h 51"/>
                <a:gd name="T4" fmla="*/ 8 w 47"/>
                <a:gd name="T5" fmla="*/ 43 h 51"/>
                <a:gd name="T6" fmla="*/ 9 w 47"/>
                <a:gd name="T7" fmla="*/ 48 h 51"/>
                <a:gd name="T8" fmla="*/ 13 w 47"/>
                <a:gd name="T9" fmla="*/ 47 h 51"/>
                <a:gd name="T10" fmla="*/ 13 w 47"/>
                <a:gd name="T11" fmla="*/ 50 h 51"/>
                <a:gd name="T12" fmla="*/ 17 w 47"/>
                <a:gd name="T13" fmla="*/ 51 h 51"/>
                <a:gd name="T14" fmla="*/ 17 w 47"/>
                <a:gd name="T15" fmla="*/ 51 h 51"/>
                <a:gd name="T16" fmla="*/ 21 w 47"/>
                <a:gd name="T17" fmla="*/ 46 h 51"/>
                <a:gd name="T18" fmla="*/ 24 w 47"/>
                <a:gd name="T19" fmla="*/ 45 h 51"/>
                <a:gd name="T20" fmla="*/ 25 w 47"/>
                <a:gd name="T21" fmla="*/ 43 h 51"/>
                <a:gd name="T22" fmla="*/ 31 w 47"/>
                <a:gd name="T23" fmla="*/ 42 h 51"/>
                <a:gd name="T24" fmla="*/ 34 w 47"/>
                <a:gd name="T25" fmla="*/ 44 h 51"/>
                <a:gd name="T26" fmla="*/ 35 w 47"/>
                <a:gd name="T27" fmla="*/ 40 h 51"/>
                <a:gd name="T28" fmla="*/ 37 w 47"/>
                <a:gd name="T29" fmla="*/ 39 h 51"/>
                <a:gd name="T30" fmla="*/ 42 w 47"/>
                <a:gd name="T31" fmla="*/ 37 h 51"/>
                <a:gd name="T32" fmla="*/ 44 w 47"/>
                <a:gd name="T33" fmla="*/ 35 h 51"/>
                <a:gd name="T34" fmla="*/ 44 w 47"/>
                <a:gd name="T35" fmla="*/ 31 h 51"/>
                <a:gd name="T36" fmla="*/ 45 w 47"/>
                <a:gd name="T37" fmla="*/ 26 h 51"/>
                <a:gd name="T38" fmla="*/ 47 w 47"/>
                <a:gd name="T39" fmla="*/ 21 h 51"/>
                <a:gd name="T40" fmla="*/ 46 w 47"/>
                <a:gd name="T41" fmla="*/ 17 h 51"/>
                <a:gd name="T42" fmla="*/ 45 w 47"/>
                <a:gd name="T43" fmla="*/ 12 h 51"/>
                <a:gd name="T44" fmla="*/ 43 w 47"/>
                <a:gd name="T45" fmla="*/ 8 h 51"/>
                <a:gd name="T46" fmla="*/ 43 w 47"/>
                <a:gd name="T47" fmla="*/ 3 h 51"/>
                <a:gd name="T48" fmla="*/ 39 w 47"/>
                <a:gd name="T49" fmla="*/ 4 h 51"/>
                <a:gd name="T50" fmla="*/ 37 w 47"/>
                <a:gd name="T51" fmla="*/ 1 h 51"/>
                <a:gd name="T52" fmla="*/ 34 w 47"/>
                <a:gd name="T53" fmla="*/ 0 h 51"/>
                <a:gd name="T54" fmla="*/ 32 w 47"/>
                <a:gd name="T55" fmla="*/ 4 h 51"/>
                <a:gd name="T56" fmla="*/ 32 w 47"/>
                <a:gd name="T57" fmla="*/ 8 h 51"/>
                <a:gd name="T58" fmla="*/ 29 w 47"/>
                <a:gd name="T59" fmla="*/ 9 h 51"/>
                <a:gd name="T60" fmla="*/ 26 w 47"/>
                <a:gd name="T61" fmla="*/ 7 h 51"/>
                <a:gd name="T62" fmla="*/ 25 w 47"/>
                <a:gd name="T63" fmla="*/ 5 h 51"/>
                <a:gd name="T64" fmla="*/ 20 w 47"/>
                <a:gd name="T65" fmla="*/ 4 h 51"/>
                <a:gd name="T66" fmla="*/ 18 w 47"/>
                <a:gd name="T67" fmla="*/ 6 h 51"/>
                <a:gd name="T68" fmla="*/ 14 w 47"/>
                <a:gd name="T69" fmla="*/ 9 h 51"/>
                <a:gd name="T70" fmla="*/ 11 w 47"/>
                <a:gd name="T71" fmla="*/ 9 h 51"/>
                <a:gd name="T72" fmla="*/ 8 w 47"/>
                <a:gd name="T73" fmla="*/ 9 h 51"/>
                <a:gd name="T74" fmla="*/ 4 w 47"/>
                <a:gd name="T75" fmla="*/ 11 h 51"/>
                <a:gd name="T76" fmla="*/ 1 w 47"/>
                <a:gd name="T77" fmla="*/ 12 h 51"/>
                <a:gd name="T78" fmla="*/ 0 w 47"/>
                <a:gd name="T79" fmla="*/ 17 h 51"/>
                <a:gd name="T80" fmla="*/ 1 w 47"/>
                <a:gd name="T81" fmla="*/ 24 h 51"/>
                <a:gd name="T82" fmla="*/ 4 w 47"/>
                <a:gd name="T83" fmla="*/ 29 h 51"/>
                <a:gd name="T84" fmla="*/ 4 w 47"/>
                <a:gd name="T85" fmla="*/ 33 h 51"/>
                <a:gd name="T86" fmla="*/ 5 w 47"/>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51">
                  <a:moveTo>
                    <a:pt x="5" y="39"/>
                  </a:moveTo>
                  <a:cubicBezTo>
                    <a:pt x="5" y="40"/>
                    <a:pt x="6" y="42"/>
                    <a:pt x="7" y="43"/>
                  </a:cubicBezTo>
                  <a:cubicBezTo>
                    <a:pt x="8" y="43"/>
                    <a:pt x="8" y="43"/>
                    <a:pt x="8" y="43"/>
                  </a:cubicBezTo>
                  <a:cubicBezTo>
                    <a:pt x="9" y="44"/>
                    <a:pt x="9" y="47"/>
                    <a:pt x="9" y="48"/>
                  </a:cubicBezTo>
                  <a:cubicBezTo>
                    <a:pt x="11" y="48"/>
                    <a:pt x="11" y="47"/>
                    <a:pt x="13" y="47"/>
                  </a:cubicBezTo>
                  <a:cubicBezTo>
                    <a:pt x="13" y="48"/>
                    <a:pt x="13" y="49"/>
                    <a:pt x="13" y="50"/>
                  </a:cubicBezTo>
                  <a:cubicBezTo>
                    <a:pt x="15" y="50"/>
                    <a:pt x="16" y="50"/>
                    <a:pt x="17" y="51"/>
                  </a:cubicBezTo>
                  <a:cubicBezTo>
                    <a:pt x="17" y="51"/>
                    <a:pt x="17" y="51"/>
                    <a:pt x="17" y="51"/>
                  </a:cubicBezTo>
                  <a:cubicBezTo>
                    <a:pt x="21" y="46"/>
                    <a:pt x="21" y="46"/>
                    <a:pt x="21" y="46"/>
                  </a:cubicBezTo>
                  <a:cubicBezTo>
                    <a:pt x="24" y="45"/>
                    <a:pt x="24" y="45"/>
                    <a:pt x="24" y="45"/>
                  </a:cubicBezTo>
                  <a:cubicBezTo>
                    <a:pt x="25" y="43"/>
                    <a:pt x="25" y="43"/>
                    <a:pt x="25" y="43"/>
                  </a:cubicBezTo>
                  <a:cubicBezTo>
                    <a:pt x="31" y="42"/>
                    <a:pt x="31" y="42"/>
                    <a:pt x="31" y="42"/>
                  </a:cubicBezTo>
                  <a:cubicBezTo>
                    <a:pt x="34" y="44"/>
                    <a:pt x="34" y="44"/>
                    <a:pt x="34" y="44"/>
                  </a:cubicBezTo>
                  <a:cubicBezTo>
                    <a:pt x="35" y="40"/>
                    <a:pt x="35" y="40"/>
                    <a:pt x="35" y="40"/>
                  </a:cubicBezTo>
                  <a:cubicBezTo>
                    <a:pt x="37" y="39"/>
                    <a:pt x="37" y="39"/>
                    <a:pt x="37" y="39"/>
                  </a:cubicBezTo>
                  <a:cubicBezTo>
                    <a:pt x="42" y="37"/>
                    <a:pt x="42" y="37"/>
                    <a:pt x="42" y="37"/>
                  </a:cubicBezTo>
                  <a:cubicBezTo>
                    <a:pt x="44" y="35"/>
                    <a:pt x="44" y="35"/>
                    <a:pt x="44" y="35"/>
                  </a:cubicBezTo>
                  <a:cubicBezTo>
                    <a:pt x="44" y="31"/>
                    <a:pt x="44" y="31"/>
                    <a:pt x="44" y="31"/>
                  </a:cubicBezTo>
                  <a:cubicBezTo>
                    <a:pt x="45" y="26"/>
                    <a:pt x="45" y="26"/>
                    <a:pt x="45" y="26"/>
                  </a:cubicBezTo>
                  <a:cubicBezTo>
                    <a:pt x="47" y="21"/>
                    <a:pt x="47" y="21"/>
                    <a:pt x="47" y="21"/>
                  </a:cubicBezTo>
                  <a:cubicBezTo>
                    <a:pt x="46" y="17"/>
                    <a:pt x="46" y="17"/>
                    <a:pt x="46" y="17"/>
                  </a:cubicBezTo>
                  <a:cubicBezTo>
                    <a:pt x="45" y="12"/>
                    <a:pt x="45" y="12"/>
                    <a:pt x="45" y="12"/>
                  </a:cubicBezTo>
                  <a:cubicBezTo>
                    <a:pt x="43" y="8"/>
                    <a:pt x="43" y="8"/>
                    <a:pt x="43" y="8"/>
                  </a:cubicBezTo>
                  <a:cubicBezTo>
                    <a:pt x="43" y="3"/>
                    <a:pt x="43" y="3"/>
                    <a:pt x="43" y="3"/>
                  </a:cubicBezTo>
                  <a:cubicBezTo>
                    <a:pt x="39" y="4"/>
                    <a:pt x="39" y="4"/>
                    <a:pt x="39" y="4"/>
                  </a:cubicBezTo>
                  <a:cubicBezTo>
                    <a:pt x="37" y="1"/>
                    <a:pt x="37" y="1"/>
                    <a:pt x="37" y="1"/>
                  </a:cubicBezTo>
                  <a:cubicBezTo>
                    <a:pt x="34" y="0"/>
                    <a:pt x="34" y="0"/>
                    <a:pt x="34" y="0"/>
                  </a:cubicBezTo>
                  <a:cubicBezTo>
                    <a:pt x="32" y="4"/>
                    <a:pt x="32" y="4"/>
                    <a:pt x="32" y="4"/>
                  </a:cubicBezTo>
                  <a:cubicBezTo>
                    <a:pt x="32" y="8"/>
                    <a:pt x="32" y="8"/>
                    <a:pt x="32" y="8"/>
                  </a:cubicBezTo>
                  <a:cubicBezTo>
                    <a:pt x="29" y="9"/>
                    <a:pt x="29" y="9"/>
                    <a:pt x="29" y="9"/>
                  </a:cubicBezTo>
                  <a:cubicBezTo>
                    <a:pt x="26" y="7"/>
                    <a:pt x="26" y="7"/>
                    <a:pt x="26" y="7"/>
                  </a:cubicBezTo>
                  <a:cubicBezTo>
                    <a:pt x="25" y="5"/>
                    <a:pt x="25" y="5"/>
                    <a:pt x="25" y="5"/>
                  </a:cubicBezTo>
                  <a:cubicBezTo>
                    <a:pt x="20" y="4"/>
                    <a:pt x="20" y="4"/>
                    <a:pt x="20" y="4"/>
                  </a:cubicBezTo>
                  <a:cubicBezTo>
                    <a:pt x="18" y="6"/>
                    <a:pt x="18" y="6"/>
                    <a:pt x="18" y="6"/>
                  </a:cubicBezTo>
                  <a:cubicBezTo>
                    <a:pt x="14" y="9"/>
                    <a:pt x="14" y="9"/>
                    <a:pt x="14" y="9"/>
                  </a:cubicBezTo>
                  <a:cubicBezTo>
                    <a:pt x="11" y="9"/>
                    <a:pt x="11" y="9"/>
                    <a:pt x="11" y="9"/>
                  </a:cubicBezTo>
                  <a:cubicBezTo>
                    <a:pt x="8" y="9"/>
                    <a:pt x="8" y="9"/>
                    <a:pt x="8" y="9"/>
                  </a:cubicBezTo>
                  <a:cubicBezTo>
                    <a:pt x="4" y="11"/>
                    <a:pt x="4" y="11"/>
                    <a:pt x="4" y="11"/>
                  </a:cubicBezTo>
                  <a:cubicBezTo>
                    <a:pt x="1" y="12"/>
                    <a:pt x="1" y="12"/>
                    <a:pt x="1" y="12"/>
                  </a:cubicBezTo>
                  <a:cubicBezTo>
                    <a:pt x="0" y="17"/>
                    <a:pt x="0" y="17"/>
                    <a:pt x="0" y="17"/>
                  </a:cubicBezTo>
                  <a:cubicBezTo>
                    <a:pt x="1" y="24"/>
                    <a:pt x="1" y="24"/>
                    <a:pt x="1" y="24"/>
                  </a:cubicBezTo>
                  <a:cubicBezTo>
                    <a:pt x="4" y="29"/>
                    <a:pt x="4" y="29"/>
                    <a:pt x="4" y="29"/>
                  </a:cubicBezTo>
                  <a:cubicBezTo>
                    <a:pt x="4" y="33"/>
                    <a:pt x="4" y="33"/>
                    <a:pt x="4" y="33"/>
                  </a:cubicBezTo>
                  <a:lnTo>
                    <a:pt x="5" y="39"/>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64" name="Freeform 300">
              <a:extLst>
                <a:ext uri="{FF2B5EF4-FFF2-40B4-BE49-F238E27FC236}">
                  <a16:creationId xmlns:a16="http://schemas.microsoft.com/office/drawing/2014/main" id="{D02B0F25-3096-3BFB-4567-D48F2096027C}"/>
                </a:ext>
              </a:extLst>
            </p:cNvPr>
            <p:cNvSpPr>
              <a:spLocks/>
            </p:cNvSpPr>
            <p:nvPr/>
          </p:nvSpPr>
          <p:spPr bwMode="auto">
            <a:xfrm>
              <a:off x="6856101" y="4341635"/>
              <a:ext cx="70060" cy="79043"/>
            </a:xfrm>
            <a:custGeom>
              <a:avLst/>
              <a:gdLst>
                <a:gd name="T0" fmla="*/ 1 w 20"/>
                <a:gd name="T1" fmla="*/ 3 h 22"/>
                <a:gd name="T2" fmla="*/ 4 w 20"/>
                <a:gd name="T3" fmla="*/ 2 h 22"/>
                <a:gd name="T4" fmla="*/ 8 w 20"/>
                <a:gd name="T5" fmla="*/ 5 h 22"/>
                <a:gd name="T6" fmla="*/ 11 w 20"/>
                <a:gd name="T7" fmla="*/ 1 h 22"/>
                <a:gd name="T8" fmla="*/ 17 w 20"/>
                <a:gd name="T9" fmla="*/ 2 h 22"/>
                <a:gd name="T10" fmla="*/ 17 w 20"/>
                <a:gd name="T11" fmla="*/ 8 h 22"/>
                <a:gd name="T12" fmla="*/ 20 w 20"/>
                <a:gd name="T13" fmla="*/ 9 h 22"/>
                <a:gd name="T14" fmla="*/ 18 w 20"/>
                <a:gd name="T15" fmla="*/ 13 h 22"/>
                <a:gd name="T16" fmla="*/ 15 w 20"/>
                <a:gd name="T17" fmla="*/ 16 h 22"/>
                <a:gd name="T18" fmla="*/ 14 w 20"/>
                <a:gd name="T19" fmla="*/ 21 h 22"/>
                <a:gd name="T20" fmla="*/ 9 w 20"/>
                <a:gd name="T21" fmla="*/ 22 h 22"/>
                <a:gd name="T22" fmla="*/ 6 w 20"/>
                <a:gd name="T23" fmla="*/ 22 h 22"/>
                <a:gd name="T24" fmla="*/ 5 w 20"/>
                <a:gd name="T25" fmla="*/ 7 h 22"/>
                <a:gd name="T26" fmla="*/ 2 w 20"/>
                <a:gd name="T27" fmla="*/ 6 h 22"/>
                <a:gd name="T28" fmla="*/ 2 w 20"/>
                <a:gd name="T29" fmla="*/ 7 h 22"/>
                <a:gd name="T30" fmla="*/ 0 w 20"/>
                <a:gd name="T31" fmla="*/ 3 h 22"/>
                <a:gd name="T32" fmla="*/ 1 w 20"/>
                <a:gd name="T3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2">
                  <a:moveTo>
                    <a:pt x="1" y="3"/>
                  </a:moveTo>
                  <a:cubicBezTo>
                    <a:pt x="1" y="3"/>
                    <a:pt x="2" y="0"/>
                    <a:pt x="4" y="2"/>
                  </a:cubicBezTo>
                  <a:cubicBezTo>
                    <a:pt x="6" y="5"/>
                    <a:pt x="5" y="7"/>
                    <a:pt x="8" y="5"/>
                  </a:cubicBezTo>
                  <a:cubicBezTo>
                    <a:pt x="10" y="3"/>
                    <a:pt x="9" y="0"/>
                    <a:pt x="11" y="1"/>
                  </a:cubicBezTo>
                  <a:cubicBezTo>
                    <a:pt x="12" y="2"/>
                    <a:pt x="17" y="2"/>
                    <a:pt x="17" y="2"/>
                  </a:cubicBezTo>
                  <a:cubicBezTo>
                    <a:pt x="17" y="2"/>
                    <a:pt x="15" y="7"/>
                    <a:pt x="17" y="8"/>
                  </a:cubicBezTo>
                  <a:cubicBezTo>
                    <a:pt x="20" y="10"/>
                    <a:pt x="20" y="9"/>
                    <a:pt x="20" y="9"/>
                  </a:cubicBezTo>
                  <a:cubicBezTo>
                    <a:pt x="20" y="9"/>
                    <a:pt x="20" y="11"/>
                    <a:pt x="18" y="13"/>
                  </a:cubicBezTo>
                  <a:cubicBezTo>
                    <a:pt x="17" y="14"/>
                    <a:pt x="15" y="16"/>
                    <a:pt x="15" y="16"/>
                  </a:cubicBezTo>
                  <a:cubicBezTo>
                    <a:pt x="14" y="21"/>
                    <a:pt x="14" y="21"/>
                    <a:pt x="14" y="21"/>
                  </a:cubicBezTo>
                  <a:cubicBezTo>
                    <a:pt x="14" y="21"/>
                    <a:pt x="11" y="22"/>
                    <a:pt x="9" y="22"/>
                  </a:cubicBezTo>
                  <a:cubicBezTo>
                    <a:pt x="9" y="22"/>
                    <a:pt x="7" y="22"/>
                    <a:pt x="6" y="22"/>
                  </a:cubicBezTo>
                  <a:cubicBezTo>
                    <a:pt x="5" y="16"/>
                    <a:pt x="5" y="13"/>
                    <a:pt x="5" y="7"/>
                  </a:cubicBezTo>
                  <a:cubicBezTo>
                    <a:pt x="3" y="7"/>
                    <a:pt x="3" y="7"/>
                    <a:pt x="2" y="6"/>
                  </a:cubicBezTo>
                  <a:cubicBezTo>
                    <a:pt x="2" y="7"/>
                    <a:pt x="2" y="7"/>
                    <a:pt x="2" y="7"/>
                  </a:cubicBezTo>
                  <a:cubicBezTo>
                    <a:pt x="0" y="3"/>
                    <a:pt x="0" y="3"/>
                    <a:pt x="0" y="3"/>
                  </a:cubicBezTo>
                  <a:lnTo>
                    <a:pt x="1" y="3"/>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65" name="Freeform 301">
              <a:extLst>
                <a:ext uri="{FF2B5EF4-FFF2-40B4-BE49-F238E27FC236}">
                  <a16:creationId xmlns:a16="http://schemas.microsoft.com/office/drawing/2014/main" id="{0F4B984C-8D31-2AC8-7518-908E1CD2030C}"/>
                </a:ext>
              </a:extLst>
            </p:cNvPr>
            <p:cNvSpPr>
              <a:spLocks/>
            </p:cNvSpPr>
            <p:nvPr/>
          </p:nvSpPr>
          <p:spPr bwMode="auto">
            <a:xfrm>
              <a:off x="6856101" y="4341635"/>
              <a:ext cx="70060" cy="79043"/>
            </a:xfrm>
            <a:custGeom>
              <a:avLst/>
              <a:gdLst>
                <a:gd name="T0" fmla="*/ 1 w 20"/>
                <a:gd name="T1" fmla="*/ 3 h 22"/>
                <a:gd name="T2" fmla="*/ 4 w 20"/>
                <a:gd name="T3" fmla="*/ 2 h 22"/>
                <a:gd name="T4" fmla="*/ 8 w 20"/>
                <a:gd name="T5" fmla="*/ 5 h 22"/>
                <a:gd name="T6" fmla="*/ 11 w 20"/>
                <a:gd name="T7" fmla="*/ 1 h 22"/>
                <a:gd name="T8" fmla="*/ 17 w 20"/>
                <a:gd name="T9" fmla="*/ 2 h 22"/>
                <a:gd name="T10" fmla="*/ 17 w 20"/>
                <a:gd name="T11" fmla="*/ 8 h 22"/>
                <a:gd name="T12" fmla="*/ 20 w 20"/>
                <a:gd name="T13" fmla="*/ 9 h 22"/>
                <a:gd name="T14" fmla="*/ 18 w 20"/>
                <a:gd name="T15" fmla="*/ 13 h 22"/>
                <a:gd name="T16" fmla="*/ 15 w 20"/>
                <a:gd name="T17" fmla="*/ 16 h 22"/>
                <a:gd name="T18" fmla="*/ 14 w 20"/>
                <a:gd name="T19" fmla="*/ 21 h 22"/>
                <a:gd name="T20" fmla="*/ 9 w 20"/>
                <a:gd name="T21" fmla="*/ 22 h 22"/>
                <a:gd name="T22" fmla="*/ 6 w 20"/>
                <a:gd name="T23" fmla="*/ 22 h 22"/>
                <a:gd name="T24" fmla="*/ 5 w 20"/>
                <a:gd name="T25" fmla="*/ 7 h 22"/>
                <a:gd name="T26" fmla="*/ 2 w 20"/>
                <a:gd name="T27" fmla="*/ 6 h 22"/>
                <a:gd name="T28" fmla="*/ 2 w 20"/>
                <a:gd name="T29" fmla="*/ 7 h 22"/>
                <a:gd name="T30" fmla="*/ 0 w 20"/>
                <a:gd name="T31" fmla="*/ 3 h 22"/>
                <a:gd name="T32" fmla="*/ 1 w 20"/>
                <a:gd name="T33"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22">
                  <a:moveTo>
                    <a:pt x="1" y="3"/>
                  </a:moveTo>
                  <a:cubicBezTo>
                    <a:pt x="1" y="3"/>
                    <a:pt x="2" y="0"/>
                    <a:pt x="4" y="2"/>
                  </a:cubicBezTo>
                  <a:cubicBezTo>
                    <a:pt x="6" y="5"/>
                    <a:pt x="5" y="7"/>
                    <a:pt x="8" y="5"/>
                  </a:cubicBezTo>
                  <a:cubicBezTo>
                    <a:pt x="10" y="3"/>
                    <a:pt x="9" y="0"/>
                    <a:pt x="11" y="1"/>
                  </a:cubicBezTo>
                  <a:cubicBezTo>
                    <a:pt x="12" y="2"/>
                    <a:pt x="17" y="2"/>
                    <a:pt x="17" y="2"/>
                  </a:cubicBezTo>
                  <a:cubicBezTo>
                    <a:pt x="17" y="2"/>
                    <a:pt x="15" y="7"/>
                    <a:pt x="17" y="8"/>
                  </a:cubicBezTo>
                  <a:cubicBezTo>
                    <a:pt x="20" y="10"/>
                    <a:pt x="20" y="9"/>
                    <a:pt x="20" y="9"/>
                  </a:cubicBezTo>
                  <a:cubicBezTo>
                    <a:pt x="20" y="9"/>
                    <a:pt x="20" y="11"/>
                    <a:pt x="18" y="13"/>
                  </a:cubicBezTo>
                  <a:cubicBezTo>
                    <a:pt x="17" y="14"/>
                    <a:pt x="15" y="16"/>
                    <a:pt x="15" y="16"/>
                  </a:cubicBezTo>
                  <a:cubicBezTo>
                    <a:pt x="14" y="21"/>
                    <a:pt x="14" y="21"/>
                    <a:pt x="14" y="21"/>
                  </a:cubicBezTo>
                  <a:cubicBezTo>
                    <a:pt x="14" y="21"/>
                    <a:pt x="11" y="22"/>
                    <a:pt x="9" y="22"/>
                  </a:cubicBezTo>
                  <a:cubicBezTo>
                    <a:pt x="9" y="22"/>
                    <a:pt x="7" y="22"/>
                    <a:pt x="6" y="22"/>
                  </a:cubicBezTo>
                  <a:cubicBezTo>
                    <a:pt x="5" y="16"/>
                    <a:pt x="5" y="13"/>
                    <a:pt x="5" y="7"/>
                  </a:cubicBezTo>
                  <a:cubicBezTo>
                    <a:pt x="3" y="7"/>
                    <a:pt x="3" y="7"/>
                    <a:pt x="2" y="6"/>
                  </a:cubicBezTo>
                  <a:cubicBezTo>
                    <a:pt x="2" y="7"/>
                    <a:pt x="2" y="7"/>
                    <a:pt x="2" y="7"/>
                  </a:cubicBezTo>
                  <a:cubicBezTo>
                    <a:pt x="0" y="3"/>
                    <a:pt x="0" y="3"/>
                    <a:pt x="0" y="3"/>
                  </a:cubicBezTo>
                  <a:lnTo>
                    <a:pt x="1" y="3"/>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66" name="Freeform 302">
              <a:extLst>
                <a:ext uri="{FF2B5EF4-FFF2-40B4-BE49-F238E27FC236}">
                  <a16:creationId xmlns:a16="http://schemas.microsoft.com/office/drawing/2014/main" id="{FB869AFA-207C-3CAB-7DCA-2F79DCDC77B0}"/>
                </a:ext>
              </a:extLst>
            </p:cNvPr>
            <p:cNvSpPr>
              <a:spLocks/>
            </p:cNvSpPr>
            <p:nvPr/>
          </p:nvSpPr>
          <p:spPr bwMode="auto">
            <a:xfrm>
              <a:off x="8789037" y="3197308"/>
              <a:ext cx="256887" cy="623361"/>
            </a:xfrm>
            <a:custGeom>
              <a:avLst/>
              <a:gdLst>
                <a:gd name="T0" fmla="*/ 57 w 73"/>
                <a:gd name="T1" fmla="*/ 174 h 177"/>
                <a:gd name="T2" fmla="*/ 62 w 73"/>
                <a:gd name="T3" fmla="*/ 164 h 177"/>
                <a:gd name="T4" fmla="*/ 59 w 73"/>
                <a:gd name="T5" fmla="*/ 152 h 177"/>
                <a:gd name="T6" fmla="*/ 51 w 73"/>
                <a:gd name="T7" fmla="*/ 139 h 177"/>
                <a:gd name="T8" fmla="*/ 54 w 73"/>
                <a:gd name="T9" fmla="*/ 129 h 177"/>
                <a:gd name="T10" fmla="*/ 50 w 73"/>
                <a:gd name="T11" fmla="*/ 121 h 177"/>
                <a:gd name="T12" fmla="*/ 45 w 73"/>
                <a:gd name="T13" fmla="*/ 108 h 177"/>
                <a:gd name="T14" fmla="*/ 47 w 73"/>
                <a:gd name="T15" fmla="*/ 98 h 177"/>
                <a:gd name="T16" fmla="*/ 46 w 73"/>
                <a:gd name="T17" fmla="*/ 90 h 177"/>
                <a:gd name="T18" fmla="*/ 52 w 73"/>
                <a:gd name="T19" fmla="*/ 86 h 177"/>
                <a:gd name="T20" fmla="*/ 54 w 73"/>
                <a:gd name="T21" fmla="*/ 83 h 177"/>
                <a:gd name="T22" fmla="*/ 58 w 73"/>
                <a:gd name="T23" fmla="*/ 79 h 177"/>
                <a:gd name="T24" fmla="*/ 67 w 73"/>
                <a:gd name="T25" fmla="*/ 81 h 177"/>
                <a:gd name="T26" fmla="*/ 69 w 73"/>
                <a:gd name="T27" fmla="*/ 76 h 177"/>
                <a:gd name="T28" fmla="*/ 73 w 73"/>
                <a:gd name="T29" fmla="*/ 68 h 177"/>
                <a:gd name="T30" fmla="*/ 66 w 73"/>
                <a:gd name="T31" fmla="*/ 62 h 177"/>
                <a:gd name="T32" fmla="*/ 62 w 73"/>
                <a:gd name="T33" fmla="*/ 57 h 177"/>
                <a:gd name="T34" fmla="*/ 58 w 73"/>
                <a:gd name="T35" fmla="*/ 54 h 177"/>
                <a:gd name="T36" fmla="*/ 61 w 73"/>
                <a:gd name="T37" fmla="*/ 47 h 177"/>
                <a:gd name="T38" fmla="*/ 56 w 73"/>
                <a:gd name="T39" fmla="*/ 44 h 177"/>
                <a:gd name="T40" fmla="*/ 55 w 73"/>
                <a:gd name="T41" fmla="*/ 38 h 177"/>
                <a:gd name="T42" fmla="*/ 49 w 73"/>
                <a:gd name="T43" fmla="*/ 40 h 177"/>
                <a:gd name="T44" fmla="*/ 46 w 73"/>
                <a:gd name="T45" fmla="*/ 42 h 177"/>
                <a:gd name="T46" fmla="*/ 46 w 73"/>
                <a:gd name="T47" fmla="*/ 37 h 177"/>
                <a:gd name="T48" fmla="*/ 44 w 73"/>
                <a:gd name="T49" fmla="*/ 32 h 177"/>
                <a:gd name="T50" fmla="*/ 49 w 73"/>
                <a:gd name="T51" fmla="*/ 23 h 177"/>
                <a:gd name="T52" fmla="*/ 50 w 73"/>
                <a:gd name="T53" fmla="*/ 15 h 177"/>
                <a:gd name="T54" fmla="*/ 50 w 73"/>
                <a:gd name="T55" fmla="*/ 7 h 177"/>
                <a:gd name="T56" fmla="*/ 48 w 73"/>
                <a:gd name="T57" fmla="*/ 0 h 177"/>
                <a:gd name="T58" fmla="*/ 42 w 73"/>
                <a:gd name="T59" fmla="*/ 1 h 177"/>
                <a:gd name="T60" fmla="*/ 39 w 73"/>
                <a:gd name="T61" fmla="*/ 12 h 177"/>
                <a:gd name="T62" fmla="*/ 31 w 73"/>
                <a:gd name="T63" fmla="*/ 12 h 177"/>
                <a:gd name="T64" fmla="*/ 28 w 73"/>
                <a:gd name="T65" fmla="*/ 20 h 177"/>
                <a:gd name="T66" fmla="*/ 22 w 73"/>
                <a:gd name="T67" fmla="*/ 27 h 177"/>
                <a:gd name="T68" fmla="*/ 17 w 73"/>
                <a:gd name="T69" fmla="*/ 30 h 177"/>
                <a:gd name="T70" fmla="*/ 19 w 73"/>
                <a:gd name="T71" fmla="*/ 34 h 177"/>
                <a:gd name="T72" fmla="*/ 14 w 73"/>
                <a:gd name="T73" fmla="*/ 45 h 177"/>
                <a:gd name="T74" fmla="*/ 9 w 73"/>
                <a:gd name="T75" fmla="*/ 50 h 177"/>
                <a:gd name="T76" fmla="*/ 11 w 73"/>
                <a:gd name="T77" fmla="*/ 58 h 177"/>
                <a:gd name="T78" fmla="*/ 9 w 73"/>
                <a:gd name="T79" fmla="*/ 62 h 177"/>
                <a:gd name="T80" fmla="*/ 5 w 73"/>
                <a:gd name="T81" fmla="*/ 62 h 177"/>
                <a:gd name="T82" fmla="*/ 3 w 73"/>
                <a:gd name="T83" fmla="*/ 67 h 177"/>
                <a:gd name="T84" fmla="*/ 4 w 73"/>
                <a:gd name="T85" fmla="*/ 74 h 177"/>
                <a:gd name="T86" fmla="*/ 0 w 73"/>
                <a:gd name="T87" fmla="*/ 75 h 177"/>
                <a:gd name="T88" fmla="*/ 2 w 73"/>
                <a:gd name="T89" fmla="*/ 83 h 177"/>
                <a:gd name="T90" fmla="*/ 4 w 73"/>
                <a:gd name="T91" fmla="*/ 81 h 177"/>
                <a:gd name="T92" fmla="*/ 6 w 73"/>
                <a:gd name="T93" fmla="*/ 79 h 177"/>
                <a:gd name="T94" fmla="*/ 8 w 73"/>
                <a:gd name="T95" fmla="*/ 85 h 177"/>
                <a:gd name="T96" fmla="*/ 10 w 73"/>
                <a:gd name="T97" fmla="*/ 89 h 177"/>
                <a:gd name="T98" fmla="*/ 12 w 73"/>
                <a:gd name="T99" fmla="*/ 99 h 177"/>
                <a:gd name="T100" fmla="*/ 16 w 73"/>
                <a:gd name="T101" fmla="*/ 105 h 177"/>
                <a:gd name="T102" fmla="*/ 14 w 73"/>
                <a:gd name="T103" fmla="*/ 125 h 177"/>
                <a:gd name="T104" fmla="*/ 18 w 73"/>
                <a:gd name="T105" fmla="*/ 125 h 177"/>
                <a:gd name="T106" fmla="*/ 26 w 73"/>
                <a:gd name="T107" fmla="*/ 122 h 177"/>
                <a:gd name="T108" fmla="*/ 32 w 73"/>
                <a:gd name="T109" fmla="*/ 114 h 177"/>
                <a:gd name="T110" fmla="*/ 38 w 73"/>
                <a:gd name="T111" fmla="*/ 117 h 177"/>
                <a:gd name="T112" fmla="*/ 42 w 73"/>
                <a:gd name="T113" fmla="*/ 120 h 177"/>
                <a:gd name="T114" fmla="*/ 44 w 73"/>
                <a:gd name="T115" fmla="*/ 129 h 177"/>
                <a:gd name="T116" fmla="*/ 48 w 73"/>
                <a:gd name="T117" fmla="*/ 148 h 177"/>
                <a:gd name="T118" fmla="*/ 53 w 73"/>
                <a:gd name="T119" fmla="*/ 167 h 177"/>
                <a:gd name="T120" fmla="*/ 53 w 73"/>
                <a:gd name="T121" fmla="*/ 169 h 177"/>
                <a:gd name="T122" fmla="*/ 56 w 73"/>
                <a:gd name="T123"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 h="177">
                  <a:moveTo>
                    <a:pt x="56" y="177"/>
                  </a:moveTo>
                  <a:cubicBezTo>
                    <a:pt x="57" y="174"/>
                    <a:pt x="57" y="174"/>
                    <a:pt x="57" y="174"/>
                  </a:cubicBezTo>
                  <a:cubicBezTo>
                    <a:pt x="58" y="168"/>
                    <a:pt x="58" y="168"/>
                    <a:pt x="58" y="168"/>
                  </a:cubicBezTo>
                  <a:cubicBezTo>
                    <a:pt x="62" y="164"/>
                    <a:pt x="62" y="164"/>
                    <a:pt x="62" y="164"/>
                  </a:cubicBezTo>
                  <a:cubicBezTo>
                    <a:pt x="62" y="158"/>
                    <a:pt x="62" y="158"/>
                    <a:pt x="62" y="158"/>
                  </a:cubicBezTo>
                  <a:cubicBezTo>
                    <a:pt x="59" y="152"/>
                    <a:pt x="59" y="152"/>
                    <a:pt x="59" y="152"/>
                  </a:cubicBezTo>
                  <a:cubicBezTo>
                    <a:pt x="54" y="147"/>
                    <a:pt x="54" y="147"/>
                    <a:pt x="54" y="147"/>
                  </a:cubicBezTo>
                  <a:cubicBezTo>
                    <a:pt x="51" y="139"/>
                    <a:pt x="51" y="139"/>
                    <a:pt x="51" y="139"/>
                  </a:cubicBezTo>
                  <a:cubicBezTo>
                    <a:pt x="50" y="131"/>
                    <a:pt x="50" y="131"/>
                    <a:pt x="50" y="131"/>
                  </a:cubicBezTo>
                  <a:cubicBezTo>
                    <a:pt x="54" y="129"/>
                    <a:pt x="54" y="129"/>
                    <a:pt x="54" y="129"/>
                  </a:cubicBezTo>
                  <a:cubicBezTo>
                    <a:pt x="54" y="124"/>
                    <a:pt x="54" y="124"/>
                    <a:pt x="54" y="124"/>
                  </a:cubicBezTo>
                  <a:cubicBezTo>
                    <a:pt x="50" y="121"/>
                    <a:pt x="50" y="121"/>
                    <a:pt x="50" y="121"/>
                  </a:cubicBezTo>
                  <a:cubicBezTo>
                    <a:pt x="46" y="116"/>
                    <a:pt x="46" y="116"/>
                    <a:pt x="46" y="116"/>
                  </a:cubicBezTo>
                  <a:cubicBezTo>
                    <a:pt x="45" y="108"/>
                    <a:pt x="45" y="108"/>
                    <a:pt x="45" y="108"/>
                  </a:cubicBezTo>
                  <a:cubicBezTo>
                    <a:pt x="46" y="102"/>
                    <a:pt x="46" y="102"/>
                    <a:pt x="46" y="102"/>
                  </a:cubicBezTo>
                  <a:cubicBezTo>
                    <a:pt x="47" y="98"/>
                    <a:pt x="47" y="98"/>
                    <a:pt x="47" y="98"/>
                  </a:cubicBezTo>
                  <a:cubicBezTo>
                    <a:pt x="45" y="93"/>
                    <a:pt x="45" y="93"/>
                    <a:pt x="45" y="93"/>
                  </a:cubicBezTo>
                  <a:cubicBezTo>
                    <a:pt x="46" y="90"/>
                    <a:pt x="46" y="90"/>
                    <a:pt x="46" y="90"/>
                  </a:cubicBezTo>
                  <a:cubicBezTo>
                    <a:pt x="49" y="89"/>
                    <a:pt x="49" y="89"/>
                    <a:pt x="49" y="89"/>
                  </a:cubicBezTo>
                  <a:cubicBezTo>
                    <a:pt x="52" y="86"/>
                    <a:pt x="52" y="86"/>
                    <a:pt x="52" y="86"/>
                  </a:cubicBezTo>
                  <a:cubicBezTo>
                    <a:pt x="55" y="86"/>
                    <a:pt x="55" y="86"/>
                    <a:pt x="55" y="86"/>
                  </a:cubicBezTo>
                  <a:cubicBezTo>
                    <a:pt x="54" y="83"/>
                    <a:pt x="54" y="83"/>
                    <a:pt x="54" y="83"/>
                  </a:cubicBezTo>
                  <a:cubicBezTo>
                    <a:pt x="56" y="79"/>
                    <a:pt x="56" y="79"/>
                    <a:pt x="56" y="79"/>
                  </a:cubicBezTo>
                  <a:cubicBezTo>
                    <a:pt x="58" y="79"/>
                    <a:pt x="58" y="79"/>
                    <a:pt x="58" y="79"/>
                  </a:cubicBezTo>
                  <a:cubicBezTo>
                    <a:pt x="61" y="81"/>
                    <a:pt x="61" y="81"/>
                    <a:pt x="61" y="81"/>
                  </a:cubicBezTo>
                  <a:cubicBezTo>
                    <a:pt x="67" y="81"/>
                    <a:pt x="67" y="81"/>
                    <a:pt x="67" y="81"/>
                  </a:cubicBezTo>
                  <a:cubicBezTo>
                    <a:pt x="68" y="79"/>
                    <a:pt x="68" y="79"/>
                    <a:pt x="68" y="79"/>
                  </a:cubicBezTo>
                  <a:cubicBezTo>
                    <a:pt x="69" y="76"/>
                    <a:pt x="69" y="76"/>
                    <a:pt x="69" y="76"/>
                  </a:cubicBezTo>
                  <a:cubicBezTo>
                    <a:pt x="72" y="71"/>
                    <a:pt x="72" y="71"/>
                    <a:pt x="72" y="71"/>
                  </a:cubicBezTo>
                  <a:cubicBezTo>
                    <a:pt x="73" y="68"/>
                    <a:pt x="73" y="68"/>
                    <a:pt x="73" y="68"/>
                  </a:cubicBezTo>
                  <a:cubicBezTo>
                    <a:pt x="67" y="66"/>
                    <a:pt x="67" y="66"/>
                    <a:pt x="67" y="66"/>
                  </a:cubicBezTo>
                  <a:cubicBezTo>
                    <a:pt x="66" y="62"/>
                    <a:pt x="66" y="62"/>
                    <a:pt x="66" y="62"/>
                  </a:cubicBezTo>
                  <a:cubicBezTo>
                    <a:pt x="64" y="57"/>
                    <a:pt x="64" y="57"/>
                    <a:pt x="64" y="57"/>
                  </a:cubicBezTo>
                  <a:cubicBezTo>
                    <a:pt x="62" y="57"/>
                    <a:pt x="62" y="57"/>
                    <a:pt x="62" y="57"/>
                  </a:cubicBezTo>
                  <a:cubicBezTo>
                    <a:pt x="58" y="56"/>
                    <a:pt x="58" y="56"/>
                    <a:pt x="58" y="56"/>
                  </a:cubicBezTo>
                  <a:cubicBezTo>
                    <a:pt x="58" y="54"/>
                    <a:pt x="58" y="54"/>
                    <a:pt x="58" y="54"/>
                  </a:cubicBezTo>
                  <a:cubicBezTo>
                    <a:pt x="61" y="49"/>
                    <a:pt x="61" y="49"/>
                    <a:pt x="61" y="49"/>
                  </a:cubicBezTo>
                  <a:cubicBezTo>
                    <a:pt x="61" y="47"/>
                    <a:pt x="61" y="47"/>
                    <a:pt x="61" y="47"/>
                  </a:cubicBezTo>
                  <a:cubicBezTo>
                    <a:pt x="58" y="47"/>
                    <a:pt x="58" y="47"/>
                    <a:pt x="58" y="47"/>
                  </a:cubicBezTo>
                  <a:cubicBezTo>
                    <a:pt x="56" y="44"/>
                    <a:pt x="56" y="44"/>
                    <a:pt x="56" y="44"/>
                  </a:cubicBezTo>
                  <a:cubicBezTo>
                    <a:pt x="57" y="41"/>
                    <a:pt x="57" y="41"/>
                    <a:pt x="57" y="41"/>
                  </a:cubicBezTo>
                  <a:cubicBezTo>
                    <a:pt x="55" y="38"/>
                    <a:pt x="55" y="38"/>
                    <a:pt x="55" y="38"/>
                  </a:cubicBezTo>
                  <a:cubicBezTo>
                    <a:pt x="53" y="38"/>
                    <a:pt x="53" y="38"/>
                    <a:pt x="53" y="38"/>
                  </a:cubicBezTo>
                  <a:cubicBezTo>
                    <a:pt x="49" y="40"/>
                    <a:pt x="49" y="40"/>
                    <a:pt x="49" y="40"/>
                  </a:cubicBezTo>
                  <a:cubicBezTo>
                    <a:pt x="48" y="41"/>
                    <a:pt x="48" y="41"/>
                    <a:pt x="48" y="41"/>
                  </a:cubicBezTo>
                  <a:cubicBezTo>
                    <a:pt x="46" y="42"/>
                    <a:pt x="46" y="42"/>
                    <a:pt x="46" y="42"/>
                  </a:cubicBezTo>
                  <a:cubicBezTo>
                    <a:pt x="46" y="40"/>
                    <a:pt x="46" y="40"/>
                    <a:pt x="46" y="40"/>
                  </a:cubicBezTo>
                  <a:cubicBezTo>
                    <a:pt x="46" y="37"/>
                    <a:pt x="46" y="37"/>
                    <a:pt x="46" y="37"/>
                  </a:cubicBezTo>
                  <a:cubicBezTo>
                    <a:pt x="44" y="34"/>
                    <a:pt x="44" y="34"/>
                    <a:pt x="44" y="34"/>
                  </a:cubicBezTo>
                  <a:cubicBezTo>
                    <a:pt x="44" y="32"/>
                    <a:pt x="44" y="32"/>
                    <a:pt x="44" y="32"/>
                  </a:cubicBezTo>
                  <a:cubicBezTo>
                    <a:pt x="47" y="28"/>
                    <a:pt x="47" y="28"/>
                    <a:pt x="47" y="28"/>
                  </a:cubicBezTo>
                  <a:cubicBezTo>
                    <a:pt x="49" y="23"/>
                    <a:pt x="49" y="23"/>
                    <a:pt x="49" y="23"/>
                  </a:cubicBezTo>
                  <a:cubicBezTo>
                    <a:pt x="50" y="18"/>
                    <a:pt x="50" y="18"/>
                    <a:pt x="50" y="18"/>
                  </a:cubicBezTo>
                  <a:cubicBezTo>
                    <a:pt x="50" y="15"/>
                    <a:pt x="50" y="15"/>
                    <a:pt x="50" y="15"/>
                  </a:cubicBezTo>
                  <a:cubicBezTo>
                    <a:pt x="49" y="12"/>
                    <a:pt x="49" y="12"/>
                    <a:pt x="49" y="12"/>
                  </a:cubicBezTo>
                  <a:cubicBezTo>
                    <a:pt x="50" y="7"/>
                    <a:pt x="50" y="7"/>
                    <a:pt x="50" y="7"/>
                  </a:cubicBezTo>
                  <a:cubicBezTo>
                    <a:pt x="49" y="4"/>
                    <a:pt x="49" y="4"/>
                    <a:pt x="49" y="4"/>
                  </a:cubicBezTo>
                  <a:cubicBezTo>
                    <a:pt x="48" y="0"/>
                    <a:pt x="48" y="0"/>
                    <a:pt x="48" y="0"/>
                  </a:cubicBezTo>
                  <a:cubicBezTo>
                    <a:pt x="45" y="0"/>
                    <a:pt x="45" y="0"/>
                    <a:pt x="45" y="0"/>
                  </a:cubicBezTo>
                  <a:cubicBezTo>
                    <a:pt x="42" y="1"/>
                    <a:pt x="42" y="1"/>
                    <a:pt x="42" y="1"/>
                  </a:cubicBezTo>
                  <a:cubicBezTo>
                    <a:pt x="42" y="6"/>
                    <a:pt x="42" y="6"/>
                    <a:pt x="42" y="6"/>
                  </a:cubicBezTo>
                  <a:cubicBezTo>
                    <a:pt x="39" y="12"/>
                    <a:pt x="39" y="12"/>
                    <a:pt x="39" y="12"/>
                  </a:cubicBezTo>
                  <a:cubicBezTo>
                    <a:pt x="36" y="11"/>
                    <a:pt x="36" y="11"/>
                    <a:pt x="36" y="11"/>
                  </a:cubicBezTo>
                  <a:cubicBezTo>
                    <a:pt x="31" y="12"/>
                    <a:pt x="31" y="12"/>
                    <a:pt x="31" y="12"/>
                  </a:cubicBezTo>
                  <a:cubicBezTo>
                    <a:pt x="28" y="17"/>
                    <a:pt x="28" y="17"/>
                    <a:pt x="28" y="17"/>
                  </a:cubicBezTo>
                  <a:cubicBezTo>
                    <a:pt x="28" y="20"/>
                    <a:pt x="28" y="20"/>
                    <a:pt x="28" y="20"/>
                  </a:cubicBezTo>
                  <a:cubicBezTo>
                    <a:pt x="24" y="23"/>
                    <a:pt x="24" y="23"/>
                    <a:pt x="24" y="23"/>
                  </a:cubicBezTo>
                  <a:cubicBezTo>
                    <a:pt x="22" y="27"/>
                    <a:pt x="22" y="27"/>
                    <a:pt x="22" y="27"/>
                  </a:cubicBezTo>
                  <a:cubicBezTo>
                    <a:pt x="18" y="29"/>
                    <a:pt x="18" y="29"/>
                    <a:pt x="18" y="29"/>
                  </a:cubicBezTo>
                  <a:cubicBezTo>
                    <a:pt x="17" y="30"/>
                    <a:pt x="17" y="30"/>
                    <a:pt x="17" y="30"/>
                  </a:cubicBezTo>
                  <a:cubicBezTo>
                    <a:pt x="19" y="32"/>
                    <a:pt x="19" y="32"/>
                    <a:pt x="19" y="32"/>
                  </a:cubicBezTo>
                  <a:cubicBezTo>
                    <a:pt x="19" y="34"/>
                    <a:pt x="19" y="34"/>
                    <a:pt x="19" y="34"/>
                  </a:cubicBezTo>
                  <a:cubicBezTo>
                    <a:pt x="16" y="39"/>
                    <a:pt x="16" y="39"/>
                    <a:pt x="16" y="39"/>
                  </a:cubicBezTo>
                  <a:cubicBezTo>
                    <a:pt x="14" y="45"/>
                    <a:pt x="14" y="45"/>
                    <a:pt x="14" y="45"/>
                  </a:cubicBezTo>
                  <a:cubicBezTo>
                    <a:pt x="9" y="41"/>
                    <a:pt x="9" y="41"/>
                    <a:pt x="9" y="41"/>
                  </a:cubicBezTo>
                  <a:cubicBezTo>
                    <a:pt x="9" y="50"/>
                    <a:pt x="9" y="50"/>
                    <a:pt x="9" y="50"/>
                  </a:cubicBezTo>
                  <a:cubicBezTo>
                    <a:pt x="10" y="53"/>
                    <a:pt x="10" y="53"/>
                    <a:pt x="10" y="53"/>
                  </a:cubicBezTo>
                  <a:cubicBezTo>
                    <a:pt x="11" y="58"/>
                    <a:pt x="11" y="58"/>
                    <a:pt x="11" y="58"/>
                  </a:cubicBezTo>
                  <a:cubicBezTo>
                    <a:pt x="10" y="60"/>
                    <a:pt x="10" y="60"/>
                    <a:pt x="10" y="60"/>
                  </a:cubicBezTo>
                  <a:cubicBezTo>
                    <a:pt x="9" y="62"/>
                    <a:pt x="9" y="62"/>
                    <a:pt x="9" y="62"/>
                  </a:cubicBezTo>
                  <a:cubicBezTo>
                    <a:pt x="7" y="64"/>
                    <a:pt x="7" y="64"/>
                    <a:pt x="7" y="64"/>
                  </a:cubicBezTo>
                  <a:cubicBezTo>
                    <a:pt x="5" y="62"/>
                    <a:pt x="5" y="62"/>
                    <a:pt x="5" y="62"/>
                  </a:cubicBezTo>
                  <a:cubicBezTo>
                    <a:pt x="2" y="63"/>
                    <a:pt x="2" y="63"/>
                    <a:pt x="2" y="63"/>
                  </a:cubicBezTo>
                  <a:cubicBezTo>
                    <a:pt x="3" y="67"/>
                    <a:pt x="3" y="67"/>
                    <a:pt x="3" y="67"/>
                  </a:cubicBezTo>
                  <a:cubicBezTo>
                    <a:pt x="4" y="70"/>
                    <a:pt x="4" y="70"/>
                    <a:pt x="4" y="70"/>
                  </a:cubicBezTo>
                  <a:cubicBezTo>
                    <a:pt x="4" y="74"/>
                    <a:pt x="4" y="74"/>
                    <a:pt x="4" y="74"/>
                  </a:cubicBezTo>
                  <a:cubicBezTo>
                    <a:pt x="1" y="72"/>
                    <a:pt x="1" y="72"/>
                    <a:pt x="1" y="72"/>
                  </a:cubicBezTo>
                  <a:cubicBezTo>
                    <a:pt x="0" y="75"/>
                    <a:pt x="0" y="75"/>
                    <a:pt x="0" y="75"/>
                  </a:cubicBezTo>
                  <a:cubicBezTo>
                    <a:pt x="0" y="78"/>
                    <a:pt x="0" y="78"/>
                    <a:pt x="0" y="78"/>
                  </a:cubicBezTo>
                  <a:cubicBezTo>
                    <a:pt x="1" y="80"/>
                    <a:pt x="1" y="81"/>
                    <a:pt x="2" y="83"/>
                  </a:cubicBezTo>
                  <a:cubicBezTo>
                    <a:pt x="3" y="83"/>
                    <a:pt x="3" y="83"/>
                    <a:pt x="3" y="83"/>
                  </a:cubicBezTo>
                  <a:cubicBezTo>
                    <a:pt x="3" y="82"/>
                    <a:pt x="3" y="81"/>
                    <a:pt x="4" y="81"/>
                  </a:cubicBezTo>
                  <a:cubicBezTo>
                    <a:pt x="4" y="81"/>
                    <a:pt x="5" y="81"/>
                    <a:pt x="6" y="81"/>
                  </a:cubicBezTo>
                  <a:cubicBezTo>
                    <a:pt x="6" y="79"/>
                    <a:pt x="6" y="79"/>
                    <a:pt x="6" y="79"/>
                  </a:cubicBezTo>
                  <a:cubicBezTo>
                    <a:pt x="7" y="79"/>
                    <a:pt x="8" y="80"/>
                    <a:pt x="8" y="79"/>
                  </a:cubicBezTo>
                  <a:cubicBezTo>
                    <a:pt x="9" y="81"/>
                    <a:pt x="8" y="83"/>
                    <a:pt x="8" y="85"/>
                  </a:cubicBezTo>
                  <a:cubicBezTo>
                    <a:pt x="10" y="85"/>
                    <a:pt x="10" y="85"/>
                    <a:pt x="10" y="85"/>
                  </a:cubicBezTo>
                  <a:cubicBezTo>
                    <a:pt x="11" y="87"/>
                    <a:pt x="10" y="88"/>
                    <a:pt x="10" y="89"/>
                  </a:cubicBezTo>
                  <a:cubicBezTo>
                    <a:pt x="11" y="90"/>
                    <a:pt x="12" y="90"/>
                    <a:pt x="12" y="91"/>
                  </a:cubicBezTo>
                  <a:cubicBezTo>
                    <a:pt x="13" y="93"/>
                    <a:pt x="11" y="96"/>
                    <a:pt x="12" y="99"/>
                  </a:cubicBezTo>
                  <a:cubicBezTo>
                    <a:pt x="13" y="99"/>
                    <a:pt x="15" y="99"/>
                    <a:pt x="15" y="99"/>
                  </a:cubicBezTo>
                  <a:cubicBezTo>
                    <a:pt x="15" y="101"/>
                    <a:pt x="16" y="103"/>
                    <a:pt x="16" y="105"/>
                  </a:cubicBezTo>
                  <a:cubicBezTo>
                    <a:pt x="17" y="110"/>
                    <a:pt x="13" y="116"/>
                    <a:pt x="12" y="123"/>
                  </a:cubicBezTo>
                  <a:cubicBezTo>
                    <a:pt x="13" y="123"/>
                    <a:pt x="14" y="124"/>
                    <a:pt x="14" y="125"/>
                  </a:cubicBezTo>
                  <a:cubicBezTo>
                    <a:pt x="16" y="125"/>
                    <a:pt x="16" y="124"/>
                    <a:pt x="17" y="124"/>
                  </a:cubicBezTo>
                  <a:cubicBezTo>
                    <a:pt x="17" y="124"/>
                    <a:pt x="18" y="125"/>
                    <a:pt x="18" y="125"/>
                  </a:cubicBezTo>
                  <a:cubicBezTo>
                    <a:pt x="20" y="125"/>
                    <a:pt x="21" y="125"/>
                    <a:pt x="24" y="125"/>
                  </a:cubicBezTo>
                  <a:cubicBezTo>
                    <a:pt x="25" y="124"/>
                    <a:pt x="25" y="123"/>
                    <a:pt x="26" y="122"/>
                  </a:cubicBezTo>
                  <a:cubicBezTo>
                    <a:pt x="26" y="122"/>
                    <a:pt x="27" y="122"/>
                    <a:pt x="28" y="122"/>
                  </a:cubicBezTo>
                  <a:cubicBezTo>
                    <a:pt x="31" y="121"/>
                    <a:pt x="31" y="118"/>
                    <a:pt x="32" y="114"/>
                  </a:cubicBezTo>
                  <a:cubicBezTo>
                    <a:pt x="34" y="113"/>
                    <a:pt x="34" y="113"/>
                    <a:pt x="34" y="113"/>
                  </a:cubicBezTo>
                  <a:cubicBezTo>
                    <a:pt x="35" y="113"/>
                    <a:pt x="38" y="116"/>
                    <a:pt x="38" y="117"/>
                  </a:cubicBezTo>
                  <a:cubicBezTo>
                    <a:pt x="39" y="118"/>
                    <a:pt x="38" y="119"/>
                    <a:pt x="39" y="119"/>
                  </a:cubicBezTo>
                  <a:cubicBezTo>
                    <a:pt x="40" y="120"/>
                    <a:pt x="42" y="120"/>
                    <a:pt x="42" y="120"/>
                  </a:cubicBezTo>
                  <a:cubicBezTo>
                    <a:pt x="42" y="123"/>
                    <a:pt x="42" y="124"/>
                    <a:pt x="41" y="127"/>
                  </a:cubicBezTo>
                  <a:cubicBezTo>
                    <a:pt x="42" y="128"/>
                    <a:pt x="44" y="129"/>
                    <a:pt x="44" y="129"/>
                  </a:cubicBezTo>
                  <a:cubicBezTo>
                    <a:pt x="45" y="130"/>
                    <a:pt x="47" y="143"/>
                    <a:pt x="48" y="145"/>
                  </a:cubicBezTo>
                  <a:cubicBezTo>
                    <a:pt x="48" y="146"/>
                    <a:pt x="47" y="147"/>
                    <a:pt x="48" y="148"/>
                  </a:cubicBezTo>
                  <a:cubicBezTo>
                    <a:pt x="48" y="148"/>
                    <a:pt x="50" y="149"/>
                    <a:pt x="50" y="149"/>
                  </a:cubicBezTo>
                  <a:cubicBezTo>
                    <a:pt x="51" y="150"/>
                    <a:pt x="53" y="165"/>
                    <a:pt x="53" y="167"/>
                  </a:cubicBezTo>
                  <a:cubicBezTo>
                    <a:pt x="53" y="167"/>
                    <a:pt x="51" y="168"/>
                    <a:pt x="51" y="169"/>
                  </a:cubicBezTo>
                  <a:cubicBezTo>
                    <a:pt x="51" y="169"/>
                    <a:pt x="53" y="169"/>
                    <a:pt x="53" y="169"/>
                  </a:cubicBezTo>
                  <a:cubicBezTo>
                    <a:pt x="54" y="170"/>
                    <a:pt x="55" y="174"/>
                    <a:pt x="55" y="177"/>
                  </a:cubicBezTo>
                  <a:lnTo>
                    <a:pt x="56" y="177"/>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67" name="Freeform 303">
              <a:extLst>
                <a:ext uri="{FF2B5EF4-FFF2-40B4-BE49-F238E27FC236}">
                  <a16:creationId xmlns:a16="http://schemas.microsoft.com/office/drawing/2014/main" id="{B552998A-B6CB-707F-F07F-0792B261F7C0}"/>
                </a:ext>
              </a:extLst>
            </p:cNvPr>
            <p:cNvSpPr>
              <a:spLocks/>
            </p:cNvSpPr>
            <p:nvPr/>
          </p:nvSpPr>
          <p:spPr bwMode="auto">
            <a:xfrm>
              <a:off x="8789037" y="3197308"/>
              <a:ext cx="256887" cy="623361"/>
            </a:xfrm>
            <a:custGeom>
              <a:avLst/>
              <a:gdLst>
                <a:gd name="T0" fmla="*/ 57 w 73"/>
                <a:gd name="T1" fmla="*/ 174 h 177"/>
                <a:gd name="T2" fmla="*/ 62 w 73"/>
                <a:gd name="T3" fmla="*/ 164 h 177"/>
                <a:gd name="T4" fmla="*/ 59 w 73"/>
                <a:gd name="T5" fmla="*/ 152 h 177"/>
                <a:gd name="T6" fmla="*/ 51 w 73"/>
                <a:gd name="T7" fmla="*/ 139 h 177"/>
                <a:gd name="T8" fmla="*/ 54 w 73"/>
                <a:gd name="T9" fmla="*/ 129 h 177"/>
                <a:gd name="T10" fmla="*/ 50 w 73"/>
                <a:gd name="T11" fmla="*/ 121 h 177"/>
                <a:gd name="T12" fmla="*/ 45 w 73"/>
                <a:gd name="T13" fmla="*/ 108 h 177"/>
                <a:gd name="T14" fmla="*/ 47 w 73"/>
                <a:gd name="T15" fmla="*/ 98 h 177"/>
                <a:gd name="T16" fmla="*/ 46 w 73"/>
                <a:gd name="T17" fmla="*/ 90 h 177"/>
                <a:gd name="T18" fmla="*/ 52 w 73"/>
                <a:gd name="T19" fmla="*/ 86 h 177"/>
                <a:gd name="T20" fmla="*/ 54 w 73"/>
                <a:gd name="T21" fmla="*/ 83 h 177"/>
                <a:gd name="T22" fmla="*/ 58 w 73"/>
                <a:gd name="T23" fmla="*/ 79 h 177"/>
                <a:gd name="T24" fmla="*/ 67 w 73"/>
                <a:gd name="T25" fmla="*/ 81 h 177"/>
                <a:gd name="T26" fmla="*/ 69 w 73"/>
                <a:gd name="T27" fmla="*/ 76 h 177"/>
                <a:gd name="T28" fmla="*/ 73 w 73"/>
                <a:gd name="T29" fmla="*/ 68 h 177"/>
                <a:gd name="T30" fmla="*/ 66 w 73"/>
                <a:gd name="T31" fmla="*/ 62 h 177"/>
                <a:gd name="T32" fmla="*/ 62 w 73"/>
                <a:gd name="T33" fmla="*/ 57 h 177"/>
                <a:gd name="T34" fmla="*/ 58 w 73"/>
                <a:gd name="T35" fmla="*/ 54 h 177"/>
                <a:gd name="T36" fmla="*/ 61 w 73"/>
                <a:gd name="T37" fmla="*/ 47 h 177"/>
                <a:gd name="T38" fmla="*/ 56 w 73"/>
                <a:gd name="T39" fmla="*/ 44 h 177"/>
                <a:gd name="T40" fmla="*/ 55 w 73"/>
                <a:gd name="T41" fmla="*/ 38 h 177"/>
                <a:gd name="T42" fmla="*/ 49 w 73"/>
                <a:gd name="T43" fmla="*/ 40 h 177"/>
                <a:gd name="T44" fmla="*/ 46 w 73"/>
                <a:gd name="T45" fmla="*/ 42 h 177"/>
                <a:gd name="T46" fmla="*/ 46 w 73"/>
                <a:gd name="T47" fmla="*/ 37 h 177"/>
                <a:gd name="T48" fmla="*/ 44 w 73"/>
                <a:gd name="T49" fmla="*/ 32 h 177"/>
                <a:gd name="T50" fmla="*/ 49 w 73"/>
                <a:gd name="T51" fmla="*/ 23 h 177"/>
                <a:gd name="T52" fmla="*/ 50 w 73"/>
                <a:gd name="T53" fmla="*/ 15 h 177"/>
                <a:gd name="T54" fmla="*/ 50 w 73"/>
                <a:gd name="T55" fmla="*/ 7 h 177"/>
                <a:gd name="T56" fmla="*/ 48 w 73"/>
                <a:gd name="T57" fmla="*/ 0 h 177"/>
                <a:gd name="T58" fmla="*/ 42 w 73"/>
                <a:gd name="T59" fmla="*/ 1 h 177"/>
                <a:gd name="T60" fmla="*/ 39 w 73"/>
                <a:gd name="T61" fmla="*/ 12 h 177"/>
                <a:gd name="T62" fmla="*/ 31 w 73"/>
                <a:gd name="T63" fmla="*/ 12 h 177"/>
                <a:gd name="T64" fmla="*/ 28 w 73"/>
                <a:gd name="T65" fmla="*/ 20 h 177"/>
                <a:gd name="T66" fmla="*/ 22 w 73"/>
                <a:gd name="T67" fmla="*/ 27 h 177"/>
                <a:gd name="T68" fmla="*/ 17 w 73"/>
                <a:gd name="T69" fmla="*/ 30 h 177"/>
                <a:gd name="T70" fmla="*/ 19 w 73"/>
                <a:gd name="T71" fmla="*/ 34 h 177"/>
                <a:gd name="T72" fmla="*/ 14 w 73"/>
                <a:gd name="T73" fmla="*/ 45 h 177"/>
                <a:gd name="T74" fmla="*/ 9 w 73"/>
                <a:gd name="T75" fmla="*/ 50 h 177"/>
                <a:gd name="T76" fmla="*/ 11 w 73"/>
                <a:gd name="T77" fmla="*/ 58 h 177"/>
                <a:gd name="T78" fmla="*/ 9 w 73"/>
                <a:gd name="T79" fmla="*/ 62 h 177"/>
                <a:gd name="T80" fmla="*/ 5 w 73"/>
                <a:gd name="T81" fmla="*/ 62 h 177"/>
                <a:gd name="T82" fmla="*/ 3 w 73"/>
                <a:gd name="T83" fmla="*/ 67 h 177"/>
                <a:gd name="T84" fmla="*/ 4 w 73"/>
                <a:gd name="T85" fmla="*/ 74 h 177"/>
                <a:gd name="T86" fmla="*/ 0 w 73"/>
                <a:gd name="T87" fmla="*/ 75 h 177"/>
                <a:gd name="T88" fmla="*/ 2 w 73"/>
                <a:gd name="T89" fmla="*/ 83 h 177"/>
                <a:gd name="T90" fmla="*/ 4 w 73"/>
                <a:gd name="T91" fmla="*/ 81 h 177"/>
                <a:gd name="T92" fmla="*/ 6 w 73"/>
                <a:gd name="T93" fmla="*/ 79 h 177"/>
                <a:gd name="T94" fmla="*/ 8 w 73"/>
                <a:gd name="T95" fmla="*/ 85 h 177"/>
                <a:gd name="T96" fmla="*/ 10 w 73"/>
                <a:gd name="T97" fmla="*/ 89 h 177"/>
                <a:gd name="T98" fmla="*/ 12 w 73"/>
                <a:gd name="T99" fmla="*/ 99 h 177"/>
                <a:gd name="T100" fmla="*/ 16 w 73"/>
                <a:gd name="T101" fmla="*/ 105 h 177"/>
                <a:gd name="T102" fmla="*/ 14 w 73"/>
                <a:gd name="T103" fmla="*/ 125 h 177"/>
                <a:gd name="T104" fmla="*/ 18 w 73"/>
                <a:gd name="T105" fmla="*/ 125 h 177"/>
                <a:gd name="T106" fmla="*/ 26 w 73"/>
                <a:gd name="T107" fmla="*/ 122 h 177"/>
                <a:gd name="T108" fmla="*/ 32 w 73"/>
                <a:gd name="T109" fmla="*/ 114 h 177"/>
                <a:gd name="T110" fmla="*/ 38 w 73"/>
                <a:gd name="T111" fmla="*/ 117 h 177"/>
                <a:gd name="T112" fmla="*/ 42 w 73"/>
                <a:gd name="T113" fmla="*/ 120 h 177"/>
                <a:gd name="T114" fmla="*/ 44 w 73"/>
                <a:gd name="T115" fmla="*/ 129 h 177"/>
                <a:gd name="T116" fmla="*/ 48 w 73"/>
                <a:gd name="T117" fmla="*/ 148 h 177"/>
                <a:gd name="T118" fmla="*/ 53 w 73"/>
                <a:gd name="T119" fmla="*/ 167 h 177"/>
                <a:gd name="T120" fmla="*/ 53 w 73"/>
                <a:gd name="T121" fmla="*/ 169 h 177"/>
                <a:gd name="T122" fmla="*/ 56 w 73"/>
                <a:gd name="T123"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 h="177">
                  <a:moveTo>
                    <a:pt x="56" y="177"/>
                  </a:moveTo>
                  <a:cubicBezTo>
                    <a:pt x="57" y="174"/>
                    <a:pt x="57" y="174"/>
                    <a:pt x="57" y="174"/>
                  </a:cubicBezTo>
                  <a:cubicBezTo>
                    <a:pt x="58" y="168"/>
                    <a:pt x="58" y="168"/>
                    <a:pt x="58" y="168"/>
                  </a:cubicBezTo>
                  <a:cubicBezTo>
                    <a:pt x="62" y="164"/>
                    <a:pt x="62" y="164"/>
                    <a:pt x="62" y="164"/>
                  </a:cubicBezTo>
                  <a:cubicBezTo>
                    <a:pt x="62" y="158"/>
                    <a:pt x="62" y="158"/>
                    <a:pt x="62" y="158"/>
                  </a:cubicBezTo>
                  <a:cubicBezTo>
                    <a:pt x="59" y="152"/>
                    <a:pt x="59" y="152"/>
                    <a:pt x="59" y="152"/>
                  </a:cubicBezTo>
                  <a:cubicBezTo>
                    <a:pt x="54" y="147"/>
                    <a:pt x="54" y="147"/>
                    <a:pt x="54" y="147"/>
                  </a:cubicBezTo>
                  <a:cubicBezTo>
                    <a:pt x="51" y="139"/>
                    <a:pt x="51" y="139"/>
                    <a:pt x="51" y="139"/>
                  </a:cubicBezTo>
                  <a:cubicBezTo>
                    <a:pt x="50" y="131"/>
                    <a:pt x="50" y="131"/>
                    <a:pt x="50" y="131"/>
                  </a:cubicBezTo>
                  <a:cubicBezTo>
                    <a:pt x="54" y="129"/>
                    <a:pt x="54" y="129"/>
                    <a:pt x="54" y="129"/>
                  </a:cubicBezTo>
                  <a:cubicBezTo>
                    <a:pt x="54" y="124"/>
                    <a:pt x="54" y="124"/>
                    <a:pt x="54" y="124"/>
                  </a:cubicBezTo>
                  <a:cubicBezTo>
                    <a:pt x="50" y="121"/>
                    <a:pt x="50" y="121"/>
                    <a:pt x="50" y="121"/>
                  </a:cubicBezTo>
                  <a:cubicBezTo>
                    <a:pt x="46" y="116"/>
                    <a:pt x="46" y="116"/>
                    <a:pt x="46" y="116"/>
                  </a:cubicBezTo>
                  <a:cubicBezTo>
                    <a:pt x="45" y="108"/>
                    <a:pt x="45" y="108"/>
                    <a:pt x="45" y="108"/>
                  </a:cubicBezTo>
                  <a:cubicBezTo>
                    <a:pt x="46" y="102"/>
                    <a:pt x="46" y="102"/>
                    <a:pt x="46" y="102"/>
                  </a:cubicBezTo>
                  <a:cubicBezTo>
                    <a:pt x="47" y="98"/>
                    <a:pt x="47" y="98"/>
                    <a:pt x="47" y="98"/>
                  </a:cubicBezTo>
                  <a:cubicBezTo>
                    <a:pt x="45" y="93"/>
                    <a:pt x="45" y="93"/>
                    <a:pt x="45" y="93"/>
                  </a:cubicBezTo>
                  <a:cubicBezTo>
                    <a:pt x="46" y="90"/>
                    <a:pt x="46" y="90"/>
                    <a:pt x="46" y="90"/>
                  </a:cubicBezTo>
                  <a:cubicBezTo>
                    <a:pt x="49" y="89"/>
                    <a:pt x="49" y="89"/>
                    <a:pt x="49" y="89"/>
                  </a:cubicBezTo>
                  <a:cubicBezTo>
                    <a:pt x="52" y="86"/>
                    <a:pt x="52" y="86"/>
                    <a:pt x="52" y="86"/>
                  </a:cubicBezTo>
                  <a:cubicBezTo>
                    <a:pt x="55" y="86"/>
                    <a:pt x="55" y="86"/>
                    <a:pt x="55" y="86"/>
                  </a:cubicBezTo>
                  <a:cubicBezTo>
                    <a:pt x="54" y="83"/>
                    <a:pt x="54" y="83"/>
                    <a:pt x="54" y="83"/>
                  </a:cubicBezTo>
                  <a:cubicBezTo>
                    <a:pt x="56" y="79"/>
                    <a:pt x="56" y="79"/>
                    <a:pt x="56" y="79"/>
                  </a:cubicBezTo>
                  <a:cubicBezTo>
                    <a:pt x="58" y="79"/>
                    <a:pt x="58" y="79"/>
                    <a:pt x="58" y="79"/>
                  </a:cubicBezTo>
                  <a:cubicBezTo>
                    <a:pt x="61" y="81"/>
                    <a:pt x="61" y="81"/>
                    <a:pt x="61" y="81"/>
                  </a:cubicBezTo>
                  <a:cubicBezTo>
                    <a:pt x="67" y="81"/>
                    <a:pt x="67" y="81"/>
                    <a:pt x="67" y="81"/>
                  </a:cubicBezTo>
                  <a:cubicBezTo>
                    <a:pt x="68" y="79"/>
                    <a:pt x="68" y="79"/>
                    <a:pt x="68" y="79"/>
                  </a:cubicBezTo>
                  <a:cubicBezTo>
                    <a:pt x="69" y="76"/>
                    <a:pt x="69" y="76"/>
                    <a:pt x="69" y="76"/>
                  </a:cubicBezTo>
                  <a:cubicBezTo>
                    <a:pt x="72" y="71"/>
                    <a:pt x="72" y="71"/>
                    <a:pt x="72" y="71"/>
                  </a:cubicBezTo>
                  <a:cubicBezTo>
                    <a:pt x="73" y="68"/>
                    <a:pt x="73" y="68"/>
                    <a:pt x="73" y="68"/>
                  </a:cubicBezTo>
                  <a:cubicBezTo>
                    <a:pt x="67" y="66"/>
                    <a:pt x="67" y="66"/>
                    <a:pt x="67" y="66"/>
                  </a:cubicBezTo>
                  <a:cubicBezTo>
                    <a:pt x="66" y="62"/>
                    <a:pt x="66" y="62"/>
                    <a:pt x="66" y="62"/>
                  </a:cubicBezTo>
                  <a:cubicBezTo>
                    <a:pt x="64" y="57"/>
                    <a:pt x="64" y="57"/>
                    <a:pt x="64" y="57"/>
                  </a:cubicBezTo>
                  <a:cubicBezTo>
                    <a:pt x="62" y="57"/>
                    <a:pt x="62" y="57"/>
                    <a:pt x="62" y="57"/>
                  </a:cubicBezTo>
                  <a:cubicBezTo>
                    <a:pt x="58" y="56"/>
                    <a:pt x="58" y="56"/>
                    <a:pt x="58" y="56"/>
                  </a:cubicBezTo>
                  <a:cubicBezTo>
                    <a:pt x="58" y="54"/>
                    <a:pt x="58" y="54"/>
                    <a:pt x="58" y="54"/>
                  </a:cubicBezTo>
                  <a:cubicBezTo>
                    <a:pt x="61" y="49"/>
                    <a:pt x="61" y="49"/>
                    <a:pt x="61" y="49"/>
                  </a:cubicBezTo>
                  <a:cubicBezTo>
                    <a:pt x="61" y="47"/>
                    <a:pt x="61" y="47"/>
                    <a:pt x="61" y="47"/>
                  </a:cubicBezTo>
                  <a:cubicBezTo>
                    <a:pt x="58" y="47"/>
                    <a:pt x="58" y="47"/>
                    <a:pt x="58" y="47"/>
                  </a:cubicBezTo>
                  <a:cubicBezTo>
                    <a:pt x="56" y="44"/>
                    <a:pt x="56" y="44"/>
                    <a:pt x="56" y="44"/>
                  </a:cubicBezTo>
                  <a:cubicBezTo>
                    <a:pt x="57" y="41"/>
                    <a:pt x="57" y="41"/>
                    <a:pt x="57" y="41"/>
                  </a:cubicBezTo>
                  <a:cubicBezTo>
                    <a:pt x="55" y="38"/>
                    <a:pt x="55" y="38"/>
                    <a:pt x="55" y="38"/>
                  </a:cubicBezTo>
                  <a:cubicBezTo>
                    <a:pt x="53" y="38"/>
                    <a:pt x="53" y="38"/>
                    <a:pt x="53" y="38"/>
                  </a:cubicBezTo>
                  <a:cubicBezTo>
                    <a:pt x="49" y="40"/>
                    <a:pt x="49" y="40"/>
                    <a:pt x="49" y="40"/>
                  </a:cubicBezTo>
                  <a:cubicBezTo>
                    <a:pt x="48" y="41"/>
                    <a:pt x="48" y="41"/>
                    <a:pt x="48" y="41"/>
                  </a:cubicBezTo>
                  <a:cubicBezTo>
                    <a:pt x="46" y="42"/>
                    <a:pt x="46" y="42"/>
                    <a:pt x="46" y="42"/>
                  </a:cubicBezTo>
                  <a:cubicBezTo>
                    <a:pt x="46" y="40"/>
                    <a:pt x="46" y="40"/>
                    <a:pt x="46" y="40"/>
                  </a:cubicBezTo>
                  <a:cubicBezTo>
                    <a:pt x="46" y="37"/>
                    <a:pt x="46" y="37"/>
                    <a:pt x="46" y="37"/>
                  </a:cubicBezTo>
                  <a:cubicBezTo>
                    <a:pt x="44" y="34"/>
                    <a:pt x="44" y="34"/>
                    <a:pt x="44" y="34"/>
                  </a:cubicBezTo>
                  <a:cubicBezTo>
                    <a:pt x="44" y="32"/>
                    <a:pt x="44" y="32"/>
                    <a:pt x="44" y="32"/>
                  </a:cubicBezTo>
                  <a:cubicBezTo>
                    <a:pt x="47" y="28"/>
                    <a:pt x="47" y="28"/>
                    <a:pt x="47" y="28"/>
                  </a:cubicBezTo>
                  <a:cubicBezTo>
                    <a:pt x="49" y="23"/>
                    <a:pt x="49" y="23"/>
                    <a:pt x="49" y="23"/>
                  </a:cubicBezTo>
                  <a:cubicBezTo>
                    <a:pt x="50" y="18"/>
                    <a:pt x="50" y="18"/>
                    <a:pt x="50" y="18"/>
                  </a:cubicBezTo>
                  <a:cubicBezTo>
                    <a:pt x="50" y="15"/>
                    <a:pt x="50" y="15"/>
                    <a:pt x="50" y="15"/>
                  </a:cubicBezTo>
                  <a:cubicBezTo>
                    <a:pt x="49" y="12"/>
                    <a:pt x="49" y="12"/>
                    <a:pt x="49" y="12"/>
                  </a:cubicBezTo>
                  <a:cubicBezTo>
                    <a:pt x="50" y="7"/>
                    <a:pt x="50" y="7"/>
                    <a:pt x="50" y="7"/>
                  </a:cubicBezTo>
                  <a:cubicBezTo>
                    <a:pt x="49" y="4"/>
                    <a:pt x="49" y="4"/>
                    <a:pt x="49" y="4"/>
                  </a:cubicBezTo>
                  <a:cubicBezTo>
                    <a:pt x="48" y="0"/>
                    <a:pt x="48" y="0"/>
                    <a:pt x="48" y="0"/>
                  </a:cubicBezTo>
                  <a:cubicBezTo>
                    <a:pt x="45" y="0"/>
                    <a:pt x="45" y="0"/>
                    <a:pt x="45" y="0"/>
                  </a:cubicBezTo>
                  <a:cubicBezTo>
                    <a:pt x="42" y="1"/>
                    <a:pt x="42" y="1"/>
                    <a:pt x="42" y="1"/>
                  </a:cubicBezTo>
                  <a:cubicBezTo>
                    <a:pt x="42" y="6"/>
                    <a:pt x="42" y="6"/>
                    <a:pt x="42" y="6"/>
                  </a:cubicBezTo>
                  <a:cubicBezTo>
                    <a:pt x="39" y="12"/>
                    <a:pt x="39" y="12"/>
                    <a:pt x="39" y="12"/>
                  </a:cubicBezTo>
                  <a:cubicBezTo>
                    <a:pt x="36" y="11"/>
                    <a:pt x="36" y="11"/>
                    <a:pt x="36" y="11"/>
                  </a:cubicBezTo>
                  <a:cubicBezTo>
                    <a:pt x="31" y="12"/>
                    <a:pt x="31" y="12"/>
                    <a:pt x="31" y="12"/>
                  </a:cubicBezTo>
                  <a:cubicBezTo>
                    <a:pt x="28" y="17"/>
                    <a:pt x="28" y="17"/>
                    <a:pt x="28" y="17"/>
                  </a:cubicBezTo>
                  <a:cubicBezTo>
                    <a:pt x="28" y="20"/>
                    <a:pt x="28" y="20"/>
                    <a:pt x="28" y="20"/>
                  </a:cubicBezTo>
                  <a:cubicBezTo>
                    <a:pt x="24" y="23"/>
                    <a:pt x="24" y="23"/>
                    <a:pt x="24" y="23"/>
                  </a:cubicBezTo>
                  <a:cubicBezTo>
                    <a:pt x="22" y="27"/>
                    <a:pt x="22" y="27"/>
                    <a:pt x="22" y="27"/>
                  </a:cubicBezTo>
                  <a:cubicBezTo>
                    <a:pt x="18" y="29"/>
                    <a:pt x="18" y="29"/>
                    <a:pt x="18" y="29"/>
                  </a:cubicBezTo>
                  <a:cubicBezTo>
                    <a:pt x="17" y="30"/>
                    <a:pt x="17" y="30"/>
                    <a:pt x="17" y="30"/>
                  </a:cubicBezTo>
                  <a:cubicBezTo>
                    <a:pt x="19" y="32"/>
                    <a:pt x="19" y="32"/>
                    <a:pt x="19" y="32"/>
                  </a:cubicBezTo>
                  <a:cubicBezTo>
                    <a:pt x="19" y="34"/>
                    <a:pt x="19" y="34"/>
                    <a:pt x="19" y="34"/>
                  </a:cubicBezTo>
                  <a:cubicBezTo>
                    <a:pt x="16" y="39"/>
                    <a:pt x="16" y="39"/>
                    <a:pt x="16" y="39"/>
                  </a:cubicBezTo>
                  <a:cubicBezTo>
                    <a:pt x="14" y="45"/>
                    <a:pt x="14" y="45"/>
                    <a:pt x="14" y="45"/>
                  </a:cubicBezTo>
                  <a:cubicBezTo>
                    <a:pt x="9" y="41"/>
                    <a:pt x="9" y="41"/>
                    <a:pt x="9" y="41"/>
                  </a:cubicBezTo>
                  <a:cubicBezTo>
                    <a:pt x="9" y="50"/>
                    <a:pt x="9" y="50"/>
                    <a:pt x="9" y="50"/>
                  </a:cubicBezTo>
                  <a:cubicBezTo>
                    <a:pt x="10" y="53"/>
                    <a:pt x="10" y="53"/>
                    <a:pt x="10" y="53"/>
                  </a:cubicBezTo>
                  <a:cubicBezTo>
                    <a:pt x="11" y="58"/>
                    <a:pt x="11" y="58"/>
                    <a:pt x="11" y="58"/>
                  </a:cubicBezTo>
                  <a:cubicBezTo>
                    <a:pt x="10" y="60"/>
                    <a:pt x="10" y="60"/>
                    <a:pt x="10" y="60"/>
                  </a:cubicBezTo>
                  <a:cubicBezTo>
                    <a:pt x="9" y="62"/>
                    <a:pt x="9" y="62"/>
                    <a:pt x="9" y="62"/>
                  </a:cubicBezTo>
                  <a:cubicBezTo>
                    <a:pt x="7" y="64"/>
                    <a:pt x="7" y="64"/>
                    <a:pt x="7" y="64"/>
                  </a:cubicBezTo>
                  <a:cubicBezTo>
                    <a:pt x="5" y="62"/>
                    <a:pt x="5" y="62"/>
                    <a:pt x="5" y="62"/>
                  </a:cubicBezTo>
                  <a:cubicBezTo>
                    <a:pt x="2" y="63"/>
                    <a:pt x="2" y="63"/>
                    <a:pt x="2" y="63"/>
                  </a:cubicBezTo>
                  <a:cubicBezTo>
                    <a:pt x="3" y="67"/>
                    <a:pt x="3" y="67"/>
                    <a:pt x="3" y="67"/>
                  </a:cubicBezTo>
                  <a:cubicBezTo>
                    <a:pt x="4" y="70"/>
                    <a:pt x="4" y="70"/>
                    <a:pt x="4" y="70"/>
                  </a:cubicBezTo>
                  <a:cubicBezTo>
                    <a:pt x="4" y="74"/>
                    <a:pt x="4" y="74"/>
                    <a:pt x="4" y="74"/>
                  </a:cubicBezTo>
                  <a:cubicBezTo>
                    <a:pt x="1" y="72"/>
                    <a:pt x="1" y="72"/>
                    <a:pt x="1" y="72"/>
                  </a:cubicBezTo>
                  <a:cubicBezTo>
                    <a:pt x="0" y="75"/>
                    <a:pt x="0" y="75"/>
                    <a:pt x="0" y="75"/>
                  </a:cubicBezTo>
                  <a:cubicBezTo>
                    <a:pt x="0" y="78"/>
                    <a:pt x="0" y="78"/>
                    <a:pt x="0" y="78"/>
                  </a:cubicBezTo>
                  <a:cubicBezTo>
                    <a:pt x="1" y="80"/>
                    <a:pt x="1" y="81"/>
                    <a:pt x="2" y="83"/>
                  </a:cubicBezTo>
                  <a:cubicBezTo>
                    <a:pt x="3" y="83"/>
                    <a:pt x="3" y="83"/>
                    <a:pt x="3" y="83"/>
                  </a:cubicBezTo>
                  <a:cubicBezTo>
                    <a:pt x="3" y="82"/>
                    <a:pt x="3" y="81"/>
                    <a:pt x="4" y="81"/>
                  </a:cubicBezTo>
                  <a:cubicBezTo>
                    <a:pt x="4" y="81"/>
                    <a:pt x="5" y="81"/>
                    <a:pt x="6" y="81"/>
                  </a:cubicBezTo>
                  <a:cubicBezTo>
                    <a:pt x="6" y="79"/>
                    <a:pt x="6" y="79"/>
                    <a:pt x="6" y="79"/>
                  </a:cubicBezTo>
                  <a:cubicBezTo>
                    <a:pt x="7" y="79"/>
                    <a:pt x="8" y="80"/>
                    <a:pt x="8" y="79"/>
                  </a:cubicBezTo>
                  <a:cubicBezTo>
                    <a:pt x="9" y="81"/>
                    <a:pt x="8" y="83"/>
                    <a:pt x="8" y="85"/>
                  </a:cubicBezTo>
                  <a:cubicBezTo>
                    <a:pt x="10" y="85"/>
                    <a:pt x="10" y="85"/>
                    <a:pt x="10" y="85"/>
                  </a:cubicBezTo>
                  <a:cubicBezTo>
                    <a:pt x="11" y="87"/>
                    <a:pt x="10" y="88"/>
                    <a:pt x="10" y="89"/>
                  </a:cubicBezTo>
                  <a:cubicBezTo>
                    <a:pt x="11" y="90"/>
                    <a:pt x="12" y="90"/>
                    <a:pt x="12" y="91"/>
                  </a:cubicBezTo>
                  <a:cubicBezTo>
                    <a:pt x="13" y="93"/>
                    <a:pt x="11" y="96"/>
                    <a:pt x="12" y="99"/>
                  </a:cubicBezTo>
                  <a:cubicBezTo>
                    <a:pt x="13" y="99"/>
                    <a:pt x="15" y="99"/>
                    <a:pt x="15" y="99"/>
                  </a:cubicBezTo>
                  <a:cubicBezTo>
                    <a:pt x="15" y="101"/>
                    <a:pt x="16" y="103"/>
                    <a:pt x="16" y="105"/>
                  </a:cubicBezTo>
                  <a:cubicBezTo>
                    <a:pt x="17" y="110"/>
                    <a:pt x="13" y="116"/>
                    <a:pt x="12" y="123"/>
                  </a:cubicBezTo>
                  <a:cubicBezTo>
                    <a:pt x="13" y="123"/>
                    <a:pt x="14" y="124"/>
                    <a:pt x="14" y="125"/>
                  </a:cubicBezTo>
                  <a:cubicBezTo>
                    <a:pt x="16" y="125"/>
                    <a:pt x="16" y="124"/>
                    <a:pt x="17" y="124"/>
                  </a:cubicBezTo>
                  <a:cubicBezTo>
                    <a:pt x="17" y="124"/>
                    <a:pt x="18" y="125"/>
                    <a:pt x="18" y="125"/>
                  </a:cubicBezTo>
                  <a:cubicBezTo>
                    <a:pt x="20" y="125"/>
                    <a:pt x="21" y="125"/>
                    <a:pt x="24" y="125"/>
                  </a:cubicBezTo>
                  <a:cubicBezTo>
                    <a:pt x="25" y="124"/>
                    <a:pt x="25" y="123"/>
                    <a:pt x="26" y="122"/>
                  </a:cubicBezTo>
                  <a:cubicBezTo>
                    <a:pt x="26" y="122"/>
                    <a:pt x="27" y="122"/>
                    <a:pt x="28" y="122"/>
                  </a:cubicBezTo>
                  <a:cubicBezTo>
                    <a:pt x="31" y="121"/>
                    <a:pt x="31" y="118"/>
                    <a:pt x="32" y="114"/>
                  </a:cubicBezTo>
                  <a:cubicBezTo>
                    <a:pt x="34" y="113"/>
                    <a:pt x="34" y="113"/>
                    <a:pt x="34" y="113"/>
                  </a:cubicBezTo>
                  <a:cubicBezTo>
                    <a:pt x="35" y="113"/>
                    <a:pt x="38" y="116"/>
                    <a:pt x="38" y="117"/>
                  </a:cubicBezTo>
                  <a:cubicBezTo>
                    <a:pt x="39" y="118"/>
                    <a:pt x="38" y="119"/>
                    <a:pt x="39" y="119"/>
                  </a:cubicBezTo>
                  <a:cubicBezTo>
                    <a:pt x="40" y="120"/>
                    <a:pt x="42" y="120"/>
                    <a:pt x="42" y="120"/>
                  </a:cubicBezTo>
                  <a:cubicBezTo>
                    <a:pt x="42" y="123"/>
                    <a:pt x="42" y="124"/>
                    <a:pt x="41" y="127"/>
                  </a:cubicBezTo>
                  <a:cubicBezTo>
                    <a:pt x="42" y="128"/>
                    <a:pt x="44" y="129"/>
                    <a:pt x="44" y="129"/>
                  </a:cubicBezTo>
                  <a:cubicBezTo>
                    <a:pt x="45" y="130"/>
                    <a:pt x="47" y="143"/>
                    <a:pt x="48" y="145"/>
                  </a:cubicBezTo>
                  <a:cubicBezTo>
                    <a:pt x="48" y="146"/>
                    <a:pt x="47" y="147"/>
                    <a:pt x="48" y="148"/>
                  </a:cubicBezTo>
                  <a:cubicBezTo>
                    <a:pt x="48" y="148"/>
                    <a:pt x="50" y="149"/>
                    <a:pt x="50" y="149"/>
                  </a:cubicBezTo>
                  <a:cubicBezTo>
                    <a:pt x="51" y="150"/>
                    <a:pt x="53" y="165"/>
                    <a:pt x="53" y="167"/>
                  </a:cubicBezTo>
                  <a:cubicBezTo>
                    <a:pt x="53" y="167"/>
                    <a:pt x="51" y="168"/>
                    <a:pt x="51" y="169"/>
                  </a:cubicBezTo>
                  <a:cubicBezTo>
                    <a:pt x="51" y="169"/>
                    <a:pt x="53" y="169"/>
                    <a:pt x="53" y="169"/>
                  </a:cubicBezTo>
                  <a:cubicBezTo>
                    <a:pt x="54" y="170"/>
                    <a:pt x="55" y="174"/>
                    <a:pt x="55" y="177"/>
                  </a:cubicBezTo>
                  <a:lnTo>
                    <a:pt x="56" y="177"/>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68" name="Freeform 304">
              <a:extLst>
                <a:ext uri="{FF2B5EF4-FFF2-40B4-BE49-F238E27FC236}">
                  <a16:creationId xmlns:a16="http://schemas.microsoft.com/office/drawing/2014/main" id="{2DEACFC3-80FC-6C5C-4F3B-86C63F341A2B}"/>
                </a:ext>
              </a:extLst>
            </p:cNvPr>
            <p:cNvSpPr>
              <a:spLocks/>
            </p:cNvSpPr>
            <p:nvPr/>
          </p:nvSpPr>
          <p:spPr bwMode="auto">
            <a:xfrm>
              <a:off x="5794423" y="3623063"/>
              <a:ext cx="229940" cy="226350"/>
            </a:xfrm>
            <a:custGeom>
              <a:avLst/>
              <a:gdLst>
                <a:gd name="T0" fmla="*/ 49 w 65"/>
                <a:gd name="T1" fmla="*/ 47 h 64"/>
                <a:gd name="T2" fmla="*/ 43 w 65"/>
                <a:gd name="T3" fmla="*/ 46 h 64"/>
                <a:gd name="T4" fmla="*/ 42 w 65"/>
                <a:gd name="T5" fmla="*/ 48 h 64"/>
                <a:gd name="T6" fmla="*/ 29 w 65"/>
                <a:gd name="T7" fmla="*/ 47 h 64"/>
                <a:gd name="T8" fmla="*/ 26 w 65"/>
                <a:gd name="T9" fmla="*/ 52 h 64"/>
                <a:gd name="T10" fmla="*/ 27 w 65"/>
                <a:gd name="T11" fmla="*/ 57 h 64"/>
                <a:gd name="T12" fmla="*/ 26 w 65"/>
                <a:gd name="T13" fmla="*/ 63 h 64"/>
                <a:gd name="T14" fmla="*/ 20 w 65"/>
                <a:gd name="T15" fmla="*/ 64 h 64"/>
                <a:gd name="T16" fmla="*/ 19 w 65"/>
                <a:gd name="T17" fmla="*/ 59 h 64"/>
                <a:gd name="T18" fmla="*/ 15 w 65"/>
                <a:gd name="T19" fmla="*/ 59 h 64"/>
                <a:gd name="T20" fmla="*/ 13 w 65"/>
                <a:gd name="T21" fmla="*/ 61 h 64"/>
                <a:gd name="T22" fmla="*/ 9 w 65"/>
                <a:gd name="T23" fmla="*/ 61 h 64"/>
                <a:gd name="T24" fmla="*/ 8 w 65"/>
                <a:gd name="T25" fmla="*/ 58 h 64"/>
                <a:gd name="T26" fmla="*/ 1 w 65"/>
                <a:gd name="T27" fmla="*/ 57 h 64"/>
                <a:gd name="T28" fmla="*/ 2 w 65"/>
                <a:gd name="T29" fmla="*/ 50 h 64"/>
                <a:gd name="T30" fmla="*/ 3 w 65"/>
                <a:gd name="T31" fmla="*/ 45 h 64"/>
                <a:gd name="T32" fmla="*/ 4 w 65"/>
                <a:gd name="T33" fmla="*/ 41 h 64"/>
                <a:gd name="T34" fmla="*/ 7 w 65"/>
                <a:gd name="T35" fmla="*/ 38 h 64"/>
                <a:gd name="T36" fmla="*/ 9 w 65"/>
                <a:gd name="T37" fmla="*/ 38 h 64"/>
                <a:gd name="T38" fmla="*/ 11 w 65"/>
                <a:gd name="T39" fmla="*/ 31 h 64"/>
                <a:gd name="T40" fmla="*/ 14 w 65"/>
                <a:gd name="T41" fmla="*/ 27 h 64"/>
                <a:gd name="T42" fmla="*/ 21 w 65"/>
                <a:gd name="T43" fmla="*/ 24 h 64"/>
                <a:gd name="T44" fmla="*/ 25 w 65"/>
                <a:gd name="T45" fmla="*/ 20 h 64"/>
                <a:gd name="T46" fmla="*/ 27 w 65"/>
                <a:gd name="T47" fmla="*/ 15 h 64"/>
                <a:gd name="T48" fmla="*/ 32 w 65"/>
                <a:gd name="T49" fmla="*/ 12 h 64"/>
                <a:gd name="T50" fmla="*/ 35 w 65"/>
                <a:gd name="T51" fmla="*/ 6 h 64"/>
                <a:gd name="T52" fmla="*/ 40 w 65"/>
                <a:gd name="T53" fmla="*/ 3 h 64"/>
                <a:gd name="T54" fmla="*/ 43 w 65"/>
                <a:gd name="T55" fmla="*/ 2 h 64"/>
                <a:gd name="T56" fmla="*/ 46 w 65"/>
                <a:gd name="T57" fmla="*/ 2 h 64"/>
                <a:gd name="T58" fmla="*/ 49 w 65"/>
                <a:gd name="T59" fmla="*/ 5 h 64"/>
                <a:gd name="T60" fmla="*/ 47 w 65"/>
                <a:gd name="T61" fmla="*/ 9 h 64"/>
                <a:gd name="T62" fmla="*/ 50 w 65"/>
                <a:gd name="T63" fmla="*/ 13 h 64"/>
                <a:gd name="T64" fmla="*/ 56 w 65"/>
                <a:gd name="T65" fmla="*/ 17 h 64"/>
                <a:gd name="T66" fmla="*/ 56 w 65"/>
                <a:gd name="T67" fmla="*/ 20 h 64"/>
                <a:gd name="T68" fmla="*/ 60 w 65"/>
                <a:gd name="T69" fmla="*/ 28 h 64"/>
                <a:gd name="T70" fmla="*/ 63 w 65"/>
                <a:gd name="T71" fmla="*/ 28 h 64"/>
                <a:gd name="T72" fmla="*/ 62 w 65"/>
                <a:gd name="T73" fmla="*/ 32 h 64"/>
                <a:gd name="T74" fmla="*/ 64 w 65"/>
                <a:gd name="T75" fmla="*/ 40 h 64"/>
                <a:gd name="T76" fmla="*/ 63 w 65"/>
                <a:gd name="T77" fmla="*/ 43 h 64"/>
                <a:gd name="T78" fmla="*/ 60 w 65"/>
                <a:gd name="T79" fmla="*/ 45 h 64"/>
                <a:gd name="T80" fmla="*/ 59 w 65"/>
                <a:gd name="T81" fmla="*/ 48 h 64"/>
                <a:gd name="T82" fmla="*/ 57 w 65"/>
                <a:gd name="T83" fmla="*/ 48 h 64"/>
                <a:gd name="T84" fmla="*/ 53 w 65"/>
                <a:gd name="T85" fmla="*/ 47 h 64"/>
                <a:gd name="T86" fmla="*/ 49 w 65"/>
                <a:gd name="T87"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 h="64">
                  <a:moveTo>
                    <a:pt x="49" y="47"/>
                  </a:moveTo>
                  <a:cubicBezTo>
                    <a:pt x="43" y="46"/>
                    <a:pt x="43" y="46"/>
                    <a:pt x="43" y="46"/>
                  </a:cubicBezTo>
                  <a:cubicBezTo>
                    <a:pt x="42" y="48"/>
                    <a:pt x="42" y="48"/>
                    <a:pt x="42" y="48"/>
                  </a:cubicBezTo>
                  <a:cubicBezTo>
                    <a:pt x="42" y="48"/>
                    <a:pt x="31" y="46"/>
                    <a:pt x="29" y="47"/>
                  </a:cubicBezTo>
                  <a:cubicBezTo>
                    <a:pt x="28" y="48"/>
                    <a:pt x="26" y="50"/>
                    <a:pt x="26" y="52"/>
                  </a:cubicBezTo>
                  <a:cubicBezTo>
                    <a:pt x="26" y="54"/>
                    <a:pt x="28" y="56"/>
                    <a:pt x="27" y="57"/>
                  </a:cubicBezTo>
                  <a:cubicBezTo>
                    <a:pt x="27" y="59"/>
                    <a:pt x="26" y="63"/>
                    <a:pt x="26" y="63"/>
                  </a:cubicBezTo>
                  <a:cubicBezTo>
                    <a:pt x="26" y="63"/>
                    <a:pt x="22" y="64"/>
                    <a:pt x="20" y="64"/>
                  </a:cubicBezTo>
                  <a:cubicBezTo>
                    <a:pt x="18" y="63"/>
                    <a:pt x="19" y="59"/>
                    <a:pt x="19" y="59"/>
                  </a:cubicBezTo>
                  <a:cubicBezTo>
                    <a:pt x="15" y="59"/>
                    <a:pt x="15" y="59"/>
                    <a:pt x="15" y="59"/>
                  </a:cubicBezTo>
                  <a:cubicBezTo>
                    <a:pt x="13" y="61"/>
                    <a:pt x="13" y="61"/>
                    <a:pt x="13" y="61"/>
                  </a:cubicBezTo>
                  <a:cubicBezTo>
                    <a:pt x="9" y="61"/>
                    <a:pt x="9" y="61"/>
                    <a:pt x="9" y="61"/>
                  </a:cubicBezTo>
                  <a:cubicBezTo>
                    <a:pt x="8" y="58"/>
                    <a:pt x="8" y="58"/>
                    <a:pt x="8" y="58"/>
                  </a:cubicBezTo>
                  <a:cubicBezTo>
                    <a:pt x="1" y="57"/>
                    <a:pt x="1" y="57"/>
                    <a:pt x="1" y="57"/>
                  </a:cubicBezTo>
                  <a:cubicBezTo>
                    <a:pt x="1" y="57"/>
                    <a:pt x="0" y="51"/>
                    <a:pt x="2" y="50"/>
                  </a:cubicBezTo>
                  <a:cubicBezTo>
                    <a:pt x="5" y="49"/>
                    <a:pt x="4" y="47"/>
                    <a:pt x="3" y="45"/>
                  </a:cubicBezTo>
                  <a:cubicBezTo>
                    <a:pt x="2" y="44"/>
                    <a:pt x="4" y="41"/>
                    <a:pt x="4" y="41"/>
                  </a:cubicBezTo>
                  <a:cubicBezTo>
                    <a:pt x="4" y="41"/>
                    <a:pt x="5" y="38"/>
                    <a:pt x="7" y="38"/>
                  </a:cubicBezTo>
                  <a:cubicBezTo>
                    <a:pt x="8" y="37"/>
                    <a:pt x="9" y="38"/>
                    <a:pt x="9" y="38"/>
                  </a:cubicBezTo>
                  <a:cubicBezTo>
                    <a:pt x="9" y="38"/>
                    <a:pt x="10" y="33"/>
                    <a:pt x="11" y="31"/>
                  </a:cubicBezTo>
                  <a:cubicBezTo>
                    <a:pt x="12" y="29"/>
                    <a:pt x="12" y="28"/>
                    <a:pt x="14" y="27"/>
                  </a:cubicBezTo>
                  <a:cubicBezTo>
                    <a:pt x="16" y="26"/>
                    <a:pt x="19" y="24"/>
                    <a:pt x="21" y="24"/>
                  </a:cubicBezTo>
                  <a:cubicBezTo>
                    <a:pt x="22" y="25"/>
                    <a:pt x="25" y="22"/>
                    <a:pt x="25" y="20"/>
                  </a:cubicBezTo>
                  <a:cubicBezTo>
                    <a:pt x="25" y="19"/>
                    <a:pt x="25" y="17"/>
                    <a:pt x="27" y="15"/>
                  </a:cubicBezTo>
                  <a:cubicBezTo>
                    <a:pt x="30" y="13"/>
                    <a:pt x="32" y="14"/>
                    <a:pt x="32" y="12"/>
                  </a:cubicBezTo>
                  <a:cubicBezTo>
                    <a:pt x="32" y="10"/>
                    <a:pt x="33" y="6"/>
                    <a:pt x="35" y="6"/>
                  </a:cubicBezTo>
                  <a:cubicBezTo>
                    <a:pt x="38" y="6"/>
                    <a:pt x="40" y="5"/>
                    <a:pt x="40" y="3"/>
                  </a:cubicBezTo>
                  <a:cubicBezTo>
                    <a:pt x="40" y="1"/>
                    <a:pt x="42" y="0"/>
                    <a:pt x="43" y="2"/>
                  </a:cubicBezTo>
                  <a:cubicBezTo>
                    <a:pt x="44" y="3"/>
                    <a:pt x="45" y="1"/>
                    <a:pt x="46" y="2"/>
                  </a:cubicBezTo>
                  <a:cubicBezTo>
                    <a:pt x="48" y="3"/>
                    <a:pt x="49" y="5"/>
                    <a:pt x="49" y="5"/>
                  </a:cubicBezTo>
                  <a:cubicBezTo>
                    <a:pt x="47" y="9"/>
                    <a:pt x="47" y="9"/>
                    <a:pt x="47" y="9"/>
                  </a:cubicBezTo>
                  <a:cubicBezTo>
                    <a:pt x="50" y="13"/>
                    <a:pt x="50" y="13"/>
                    <a:pt x="50" y="13"/>
                  </a:cubicBezTo>
                  <a:cubicBezTo>
                    <a:pt x="56" y="17"/>
                    <a:pt x="56" y="17"/>
                    <a:pt x="56" y="17"/>
                  </a:cubicBezTo>
                  <a:cubicBezTo>
                    <a:pt x="56" y="20"/>
                    <a:pt x="56" y="20"/>
                    <a:pt x="56" y="20"/>
                  </a:cubicBezTo>
                  <a:cubicBezTo>
                    <a:pt x="60" y="28"/>
                    <a:pt x="60" y="28"/>
                    <a:pt x="60" y="28"/>
                  </a:cubicBezTo>
                  <a:cubicBezTo>
                    <a:pt x="60" y="28"/>
                    <a:pt x="63" y="27"/>
                    <a:pt x="63" y="28"/>
                  </a:cubicBezTo>
                  <a:cubicBezTo>
                    <a:pt x="63" y="30"/>
                    <a:pt x="62" y="32"/>
                    <a:pt x="62" y="32"/>
                  </a:cubicBezTo>
                  <a:cubicBezTo>
                    <a:pt x="64" y="40"/>
                    <a:pt x="64" y="40"/>
                    <a:pt x="64" y="40"/>
                  </a:cubicBezTo>
                  <a:cubicBezTo>
                    <a:pt x="64" y="40"/>
                    <a:pt x="65" y="42"/>
                    <a:pt x="63" y="43"/>
                  </a:cubicBezTo>
                  <a:cubicBezTo>
                    <a:pt x="62" y="45"/>
                    <a:pt x="60" y="45"/>
                    <a:pt x="60" y="45"/>
                  </a:cubicBezTo>
                  <a:cubicBezTo>
                    <a:pt x="60" y="45"/>
                    <a:pt x="60" y="48"/>
                    <a:pt x="59" y="48"/>
                  </a:cubicBezTo>
                  <a:cubicBezTo>
                    <a:pt x="57" y="48"/>
                    <a:pt x="57" y="48"/>
                    <a:pt x="57" y="48"/>
                  </a:cubicBezTo>
                  <a:cubicBezTo>
                    <a:pt x="57" y="48"/>
                    <a:pt x="54" y="48"/>
                    <a:pt x="53" y="47"/>
                  </a:cubicBezTo>
                  <a:cubicBezTo>
                    <a:pt x="51" y="47"/>
                    <a:pt x="49" y="47"/>
                    <a:pt x="49" y="47"/>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69" name="Freeform 305">
              <a:extLst>
                <a:ext uri="{FF2B5EF4-FFF2-40B4-BE49-F238E27FC236}">
                  <a16:creationId xmlns:a16="http://schemas.microsoft.com/office/drawing/2014/main" id="{8D6F67BE-D0B4-09E4-B0EE-FE3350F7E2CD}"/>
                </a:ext>
              </a:extLst>
            </p:cNvPr>
            <p:cNvSpPr>
              <a:spLocks/>
            </p:cNvSpPr>
            <p:nvPr/>
          </p:nvSpPr>
          <p:spPr bwMode="auto">
            <a:xfrm>
              <a:off x="5794423" y="3623063"/>
              <a:ext cx="229940" cy="226350"/>
            </a:xfrm>
            <a:custGeom>
              <a:avLst/>
              <a:gdLst>
                <a:gd name="T0" fmla="*/ 49 w 65"/>
                <a:gd name="T1" fmla="*/ 47 h 64"/>
                <a:gd name="T2" fmla="*/ 43 w 65"/>
                <a:gd name="T3" fmla="*/ 46 h 64"/>
                <a:gd name="T4" fmla="*/ 42 w 65"/>
                <a:gd name="T5" fmla="*/ 48 h 64"/>
                <a:gd name="T6" fmla="*/ 29 w 65"/>
                <a:gd name="T7" fmla="*/ 47 h 64"/>
                <a:gd name="T8" fmla="*/ 26 w 65"/>
                <a:gd name="T9" fmla="*/ 52 h 64"/>
                <a:gd name="T10" fmla="*/ 27 w 65"/>
                <a:gd name="T11" fmla="*/ 57 h 64"/>
                <a:gd name="T12" fmla="*/ 26 w 65"/>
                <a:gd name="T13" fmla="*/ 63 h 64"/>
                <a:gd name="T14" fmla="*/ 20 w 65"/>
                <a:gd name="T15" fmla="*/ 64 h 64"/>
                <a:gd name="T16" fmla="*/ 19 w 65"/>
                <a:gd name="T17" fmla="*/ 59 h 64"/>
                <a:gd name="T18" fmla="*/ 15 w 65"/>
                <a:gd name="T19" fmla="*/ 59 h 64"/>
                <a:gd name="T20" fmla="*/ 13 w 65"/>
                <a:gd name="T21" fmla="*/ 61 h 64"/>
                <a:gd name="T22" fmla="*/ 9 w 65"/>
                <a:gd name="T23" fmla="*/ 61 h 64"/>
                <a:gd name="T24" fmla="*/ 8 w 65"/>
                <a:gd name="T25" fmla="*/ 58 h 64"/>
                <a:gd name="T26" fmla="*/ 1 w 65"/>
                <a:gd name="T27" fmla="*/ 57 h 64"/>
                <a:gd name="T28" fmla="*/ 2 w 65"/>
                <a:gd name="T29" fmla="*/ 50 h 64"/>
                <a:gd name="T30" fmla="*/ 3 w 65"/>
                <a:gd name="T31" fmla="*/ 45 h 64"/>
                <a:gd name="T32" fmla="*/ 4 w 65"/>
                <a:gd name="T33" fmla="*/ 41 h 64"/>
                <a:gd name="T34" fmla="*/ 7 w 65"/>
                <a:gd name="T35" fmla="*/ 38 h 64"/>
                <a:gd name="T36" fmla="*/ 9 w 65"/>
                <a:gd name="T37" fmla="*/ 38 h 64"/>
                <a:gd name="T38" fmla="*/ 11 w 65"/>
                <a:gd name="T39" fmla="*/ 31 h 64"/>
                <a:gd name="T40" fmla="*/ 14 w 65"/>
                <a:gd name="T41" fmla="*/ 27 h 64"/>
                <a:gd name="T42" fmla="*/ 21 w 65"/>
                <a:gd name="T43" fmla="*/ 24 h 64"/>
                <a:gd name="T44" fmla="*/ 25 w 65"/>
                <a:gd name="T45" fmla="*/ 20 h 64"/>
                <a:gd name="T46" fmla="*/ 27 w 65"/>
                <a:gd name="T47" fmla="*/ 15 h 64"/>
                <a:gd name="T48" fmla="*/ 32 w 65"/>
                <a:gd name="T49" fmla="*/ 12 h 64"/>
                <a:gd name="T50" fmla="*/ 35 w 65"/>
                <a:gd name="T51" fmla="*/ 6 h 64"/>
                <a:gd name="T52" fmla="*/ 40 w 65"/>
                <a:gd name="T53" fmla="*/ 3 h 64"/>
                <a:gd name="T54" fmla="*/ 43 w 65"/>
                <a:gd name="T55" fmla="*/ 2 h 64"/>
                <a:gd name="T56" fmla="*/ 46 w 65"/>
                <a:gd name="T57" fmla="*/ 2 h 64"/>
                <a:gd name="T58" fmla="*/ 49 w 65"/>
                <a:gd name="T59" fmla="*/ 5 h 64"/>
                <a:gd name="T60" fmla="*/ 47 w 65"/>
                <a:gd name="T61" fmla="*/ 9 h 64"/>
                <a:gd name="T62" fmla="*/ 50 w 65"/>
                <a:gd name="T63" fmla="*/ 13 h 64"/>
                <a:gd name="T64" fmla="*/ 56 w 65"/>
                <a:gd name="T65" fmla="*/ 17 h 64"/>
                <a:gd name="T66" fmla="*/ 56 w 65"/>
                <a:gd name="T67" fmla="*/ 20 h 64"/>
                <a:gd name="T68" fmla="*/ 60 w 65"/>
                <a:gd name="T69" fmla="*/ 28 h 64"/>
                <a:gd name="T70" fmla="*/ 63 w 65"/>
                <a:gd name="T71" fmla="*/ 28 h 64"/>
                <a:gd name="T72" fmla="*/ 62 w 65"/>
                <a:gd name="T73" fmla="*/ 32 h 64"/>
                <a:gd name="T74" fmla="*/ 64 w 65"/>
                <a:gd name="T75" fmla="*/ 40 h 64"/>
                <a:gd name="T76" fmla="*/ 63 w 65"/>
                <a:gd name="T77" fmla="*/ 43 h 64"/>
                <a:gd name="T78" fmla="*/ 60 w 65"/>
                <a:gd name="T79" fmla="*/ 45 h 64"/>
                <a:gd name="T80" fmla="*/ 59 w 65"/>
                <a:gd name="T81" fmla="*/ 48 h 64"/>
                <a:gd name="T82" fmla="*/ 57 w 65"/>
                <a:gd name="T83" fmla="*/ 48 h 64"/>
                <a:gd name="T84" fmla="*/ 53 w 65"/>
                <a:gd name="T85" fmla="*/ 47 h 64"/>
                <a:gd name="T86" fmla="*/ 49 w 65"/>
                <a:gd name="T87" fmla="*/ 4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 h="64">
                  <a:moveTo>
                    <a:pt x="49" y="47"/>
                  </a:moveTo>
                  <a:cubicBezTo>
                    <a:pt x="43" y="46"/>
                    <a:pt x="43" y="46"/>
                    <a:pt x="43" y="46"/>
                  </a:cubicBezTo>
                  <a:cubicBezTo>
                    <a:pt x="42" y="48"/>
                    <a:pt x="42" y="48"/>
                    <a:pt x="42" y="48"/>
                  </a:cubicBezTo>
                  <a:cubicBezTo>
                    <a:pt x="42" y="48"/>
                    <a:pt x="31" y="46"/>
                    <a:pt x="29" y="47"/>
                  </a:cubicBezTo>
                  <a:cubicBezTo>
                    <a:pt x="28" y="48"/>
                    <a:pt x="26" y="50"/>
                    <a:pt x="26" y="52"/>
                  </a:cubicBezTo>
                  <a:cubicBezTo>
                    <a:pt x="26" y="54"/>
                    <a:pt x="28" y="56"/>
                    <a:pt x="27" y="57"/>
                  </a:cubicBezTo>
                  <a:cubicBezTo>
                    <a:pt x="27" y="59"/>
                    <a:pt x="26" y="63"/>
                    <a:pt x="26" y="63"/>
                  </a:cubicBezTo>
                  <a:cubicBezTo>
                    <a:pt x="26" y="63"/>
                    <a:pt x="22" y="64"/>
                    <a:pt x="20" y="64"/>
                  </a:cubicBezTo>
                  <a:cubicBezTo>
                    <a:pt x="18" y="63"/>
                    <a:pt x="19" y="59"/>
                    <a:pt x="19" y="59"/>
                  </a:cubicBezTo>
                  <a:cubicBezTo>
                    <a:pt x="15" y="59"/>
                    <a:pt x="15" y="59"/>
                    <a:pt x="15" y="59"/>
                  </a:cubicBezTo>
                  <a:cubicBezTo>
                    <a:pt x="13" y="61"/>
                    <a:pt x="13" y="61"/>
                    <a:pt x="13" y="61"/>
                  </a:cubicBezTo>
                  <a:cubicBezTo>
                    <a:pt x="9" y="61"/>
                    <a:pt x="9" y="61"/>
                    <a:pt x="9" y="61"/>
                  </a:cubicBezTo>
                  <a:cubicBezTo>
                    <a:pt x="8" y="58"/>
                    <a:pt x="8" y="58"/>
                    <a:pt x="8" y="58"/>
                  </a:cubicBezTo>
                  <a:cubicBezTo>
                    <a:pt x="1" y="57"/>
                    <a:pt x="1" y="57"/>
                    <a:pt x="1" y="57"/>
                  </a:cubicBezTo>
                  <a:cubicBezTo>
                    <a:pt x="1" y="57"/>
                    <a:pt x="0" y="51"/>
                    <a:pt x="2" y="50"/>
                  </a:cubicBezTo>
                  <a:cubicBezTo>
                    <a:pt x="5" y="49"/>
                    <a:pt x="4" y="47"/>
                    <a:pt x="3" y="45"/>
                  </a:cubicBezTo>
                  <a:cubicBezTo>
                    <a:pt x="2" y="44"/>
                    <a:pt x="4" y="41"/>
                    <a:pt x="4" y="41"/>
                  </a:cubicBezTo>
                  <a:cubicBezTo>
                    <a:pt x="4" y="41"/>
                    <a:pt x="5" y="38"/>
                    <a:pt x="7" y="38"/>
                  </a:cubicBezTo>
                  <a:cubicBezTo>
                    <a:pt x="8" y="37"/>
                    <a:pt x="9" y="38"/>
                    <a:pt x="9" y="38"/>
                  </a:cubicBezTo>
                  <a:cubicBezTo>
                    <a:pt x="9" y="38"/>
                    <a:pt x="10" y="33"/>
                    <a:pt x="11" y="31"/>
                  </a:cubicBezTo>
                  <a:cubicBezTo>
                    <a:pt x="12" y="29"/>
                    <a:pt x="12" y="28"/>
                    <a:pt x="14" y="27"/>
                  </a:cubicBezTo>
                  <a:cubicBezTo>
                    <a:pt x="16" y="26"/>
                    <a:pt x="19" y="24"/>
                    <a:pt x="21" y="24"/>
                  </a:cubicBezTo>
                  <a:cubicBezTo>
                    <a:pt x="22" y="25"/>
                    <a:pt x="25" y="22"/>
                    <a:pt x="25" y="20"/>
                  </a:cubicBezTo>
                  <a:cubicBezTo>
                    <a:pt x="25" y="19"/>
                    <a:pt x="25" y="17"/>
                    <a:pt x="27" y="15"/>
                  </a:cubicBezTo>
                  <a:cubicBezTo>
                    <a:pt x="30" y="13"/>
                    <a:pt x="32" y="14"/>
                    <a:pt x="32" y="12"/>
                  </a:cubicBezTo>
                  <a:cubicBezTo>
                    <a:pt x="32" y="10"/>
                    <a:pt x="33" y="6"/>
                    <a:pt x="35" y="6"/>
                  </a:cubicBezTo>
                  <a:cubicBezTo>
                    <a:pt x="38" y="6"/>
                    <a:pt x="40" y="5"/>
                    <a:pt x="40" y="3"/>
                  </a:cubicBezTo>
                  <a:cubicBezTo>
                    <a:pt x="40" y="1"/>
                    <a:pt x="42" y="0"/>
                    <a:pt x="43" y="2"/>
                  </a:cubicBezTo>
                  <a:cubicBezTo>
                    <a:pt x="44" y="3"/>
                    <a:pt x="45" y="1"/>
                    <a:pt x="46" y="2"/>
                  </a:cubicBezTo>
                  <a:cubicBezTo>
                    <a:pt x="48" y="3"/>
                    <a:pt x="49" y="5"/>
                    <a:pt x="49" y="5"/>
                  </a:cubicBezTo>
                  <a:cubicBezTo>
                    <a:pt x="47" y="9"/>
                    <a:pt x="47" y="9"/>
                    <a:pt x="47" y="9"/>
                  </a:cubicBezTo>
                  <a:cubicBezTo>
                    <a:pt x="50" y="13"/>
                    <a:pt x="50" y="13"/>
                    <a:pt x="50" y="13"/>
                  </a:cubicBezTo>
                  <a:cubicBezTo>
                    <a:pt x="56" y="17"/>
                    <a:pt x="56" y="17"/>
                    <a:pt x="56" y="17"/>
                  </a:cubicBezTo>
                  <a:cubicBezTo>
                    <a:pt x="56" y="20"/>
                    <a:pt x="56" y="20"/>
                    <a:pt x="56" y="20"/>
                  </a:cubicBezTo>
                  <a:cubicBezTo>
                    <a:pt x="60" y="28"/>
                    <a:pt x="60" y="28"/>
                    <a:pt x="60" y="28"/>
                  </a:cubicBezTo>
                  <a:cubicBezTo>
                    <a:pt x="60" y="28"/>
                    <a:pt x="63" y="27"/>
                    <a:pt x="63" y="28"/>
                  </a:cubicBezTo>
                  <a:cubicBezTo>
                    <a:pt x="63" y="30"/>
                    <a:pt x="62" y="32"/>
                    <a:pt x="62" y="32"/>
                  </a:cubicBezTo>
                  <a:cubicBezTo>
                    <a:pt x="64" y="40"/>
                    <a:pt x="64" y="40"/>
                    <a:pt x="64" y="40"/>
                  </a:cubicBezTo>
                  <a:cubicBezTo>
                    <a:pt x="64" y="40"/>
                    <a:pt x="65" y="42"/>
                    <a:pt x="63" y="43"/>
                  </a:cubicBezTo>
                  <a:cubicBezTo>
                    <a:pt x="62" y="45"/>
                    <a:pt x="60" y="45"/>
                    <a:pt x="60" y="45"/>
                  </a:cubicBezTo>
                  <a:cubicBezTo>
                    <a:pt x="60" y="45"/>
                    <a:pt x="60" y="48"/>
                    <a:pt x="59" y="48"/>
                  </a:cubicBezTo>
                  <a:cubicBezTo>
                    <a:pt x="57" y="48"/>
                    <a:pt x="57" y="48"/>
                    <a:pt x="57" y="48"/>
                  </a:cubicBezTo>
                  <a:cubicBezTo>
                    <a:pt x="57" y="48"/>
                    <a:pt x="54" y="48"/>
                    <a:pt x="53" y="47"/>
                  </a:cubicBezTo>
                  <a:cubicBezTo>
                    <a:pt x="51" y="47"/>
                    <a:pt x="49" y="47"/>
                    <a:pt x="49" y="47"/>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70" name="Freeform 306">
              <a:extLst>
                <a:ext uri="{FF2B5EF4-FFF2-40B4-BE49-F238E27FC236}">
                  <a16:creationId xmlns:a16="http://schemas.microsoft.com/office/drawing/2014/main" id="{A38A4B17-1D8A-E004-ED08-4871E6D4A06E}"/>
                </a:ext>
              </a:extLst>
            </p:cNvPr>
            <p:cNvSpPr>
              <a:spLocks/>
            </p:cNvSpPr>
            <p:nvPr/>
          </p:nvSpPr>
          <p:spPr bwMode="auto">
            <a:xfrm>
              <a:off x="6665682" y="2480532"/>
              <a:ext cx="186826" cy="138326"/>
            </a:xfrm>
            <a:custGeom>
              <a:avLst/>
              <a:gdLst>
                <a:gd name="T0" fmla="*/ 52 w 53"/>
                <a:gd name="T1" fmla="*/ 4 h 39"/>
                <a:gd name="T2" fmla="*/ 49 w 53"/>
                <a:gd name="T3" fmla="*/ 2 h 39"/>
                <a:gd name="T4" fmla="*/ 42 w 53"/>
                <a:gd name="T5" fmla="*/ 3 h 39"/>
                <a:gd name="T6" fmla="*/ 36 w 53"/>
                <a:gd name="T7" fmla="*/ 1 h 39"/>
                <a:gd name="T8" fmla="*/ 31 w 53"/>
                <a:gd name="T9" fmla="*/ 4 h 39"/>
                <a:gd name="T10" fmla="*/ 26 w 53"/>
                <a:gd name="T11" fmla="*/ 6 h 39"/>
                <a:gd name="T12" fmla="*/ 18 w 53"/>
                <a:gd name="T13" fmla="*/ 6 h 39"/>
                <a:gd name="T14" fmla="*/ 13 w 53"/>
                <a:gd name="T15" fmla="*/ 7 h 39"/>
                <a:gd name="T16" fmla="*/ 11 w 53"/>
                <a:gd name="T17" fmla="*/ 3 h 39"/>
                <a:gd name="T18" fmla="*/ 7 w 53"/>
                <a:gd name="T19" fmla="*/ 1 h 39"/>
                <a:gd name="T20" fmla="*/ 4 w 53"/>
                <a:gd name="T21" fmla="*/ 6 h 39"/>
                <a:gd name="T22" fmla="*/ 1 w 53"/>
                <a:gd name="T23" fmla="*/ 9 h 39"/>
                <a:gd name="T24" fmla="*/ 1 w 53"/>
                <a:gd name="T25" fmla="*/ 14 h 39"/>
                <a:gd name="T26" fmla="*/ 6 w 53"/>
                <a:gd name="T27" fmla="*/ 16 h 39"/>
                <a:gd name="T28" fmla="*/ 4 w 53"/>
                <a:gd name="T29" fmla="*/ 21 h 39"/>
                <a:gd name="T30" fmla="*/ 2 w 53"/>
                <a:gd name="T31" fmla="*/ 25 h 39"/>
                <a:gd name="T32" fmla="*/ 6 w 53"/>
                <a:gd name="T33" fmla="*/ 27 h 39"/>
                <a:gd name="T34" fmla="*/ 6 w 53"/>
                <a:gd name="T35" fmla="*/ 31 h 39"/>
                <a:gd name="T36" fmla="*/ 7 w 53"/>
                <a:gd name="T37" fmla="*/ 34 h 39"/>
                <a:gd name="T38" fmla="*/ 7 w 53"/>
                <a:gd name="T39" fmla="*/ 37 h 39"/>
                <a:gd name="T40" fmla="*/ 13 w 53"/>
                <a:gd name="T41" fmla="*/ 38 h 39"/>
                <a:gd name="T42" fmla="*/ 18 w 53"/>
                <a:gd name="T43" fmla="*/ 35 h 39"/>
                <a:gd name="T44" fmla="*/ 23 w 53"/>
                <a:gd name="T45" fmla="*/ 34 h 39"/>
                <a:gd name="T46" fmla="*/ 26 w 53"/>
                <a:gd name="T47" fmla="*/ 38 h 39"/>
                <a:gd name="T48" fmla="*/ 30 w 53"/>
                <a:gd name="T49" fmla="*/ 37 h 39"/>
                <a:gd name="T50" fmla="*/ 33 w 53"/>
                <a:gd name="T51" fmla="*/ 35 h 39"/>
                <a:gd name="T52" fmla="*/ 36 w 53"/>
                <a:gd name="T53" fmla="*/ 34 h 39"/>
                <a:gd name="T54" fmla="*/ 37 w 53"/>
                <a:gd name="T55" fmla="*/ 32 h 39"/>
                <a:gd name="T56" fmla="*/ 41 w 53"/>
                <a:gd name="T57" fmla="*/ 32 h 39"/>
                <a:gd name="T58" fmla="*/ 46 w 53"/>
                <a:gd name="T59" fmla="*/ 32 h 39"/>
                <a:gd name="T60" fmla="*/ 45 w 53"/>
                <a:gd name="T61" fmla="*/ 28 h 39"/>
                <a:gd name="T62" fmla="*/ 43 w 53"/>
                <a:gd name="T63" fmla="*/ 27 h 39"/>
                <a:gd name="T64" fmla="*/ 45 w 53"/>
                <a:gd name="T65" fmla="*/ 23 h 39"/>
                <a:gd name="T66" fmla="*/ 46 w 53"/>
                <a:gd name="T67" fmla="*/ 23 h 39"/>
                <a:gd name="T68" fmla="*/ 46 w 53"/>
                <a:gd name="T69" fmla="*/ 19 h 39"/>
                <a:gd name="T70" fmla="*/ 52 w 53"/>
                <a:gd name="T71" fmla="*/ 14 h 39"/>
                <a:gd name="T72" fmla="*/ 52 w 53"/>
                <a:gd name="T73"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39">
                  <a:moveTo>
                    <a:pt x="52" y="4"/>
                  </a:moveTo>
                  <a:cubicBezTo>
                    <a:pt x="52" y="4"/>
                    <a:pt x="50" y="2"/>
                    <a:pt x="49" y="2"/>
                  </a:cubicBezTo>
                  <a:cubicBezTo>
                    <a:pt x="46" y="1"/>
                    <a:pt x="46" y="1"/>
                    <a:pt x="42" y="3"/>
                  </a:cubicBezTo>
                  <a:cubicBezTo>
                    <a:pt x="39" y="4"/>
                    <a:pt x="38" y="1"/>
                    <a:pt x="36" y="1"/>
                  </a:cubicBezTo>
                  <a:cubicBezTo>
                    <a:pt x="34" y="0"/>
                    <a:pt x="33" y="2"/>
                    <a:pt x="31" y="4"/>
                  </a:cubicBezTo>
                  <a:cubicBezTo>
                    <a:pt x="29" y="6"/>
                    <a:pt x="30" y="5"/>
                    <a:pt x="26" y="6"/>
                  </a:cubicBezTo>
                  <a:cubicBezTo>
                    <a:pt x="21" y="7"/>
                    <a:pt x="22" y="7"/>
                    <a:pt x="18" y="6"/>
                  </a:cubicBezTo>
                  <a:cubicBezTo>
                    <a:pt x="15" y="5"/>
                    <a:pt x="18" y="7"/>
                    <a:pt x="13" y="7"/>
                  </a:cubicBezTo>
                  <a:cubicBezTo>
                    <a:pt x="9" y="7"/>
                    <a:pt x="9" y="5"/>
                    <a:pt x="11" y="3"/>
                  </a:cubicBezTo>
                  <a:cubicBezTo>
                    <a:pt x="13" y="2"/>
                    <a:pt x="7" y="1"/>
                    <a:pt x="7" y="1"/>
                  </a:cubicBezTo>
                  <a:cubicBezTo>
                    <a:pt x="7" y="1"/>
                    <a:pt x="6" y="4"/>
                    <a:pt x="4" y="6"/>
                  </a:cubicBezTo>
                  <a:cubicBezTo>
                    <a:pt x="2" y="7"/>
                    <a:pt x="2" y="8"/>
                    <a:pt x="1" y="9"/>
                  </a:cubicBezTo>
                  <a:cubicBezTo>
                    <a:pt x="0" y="11"/>
                    <a:pt x="0" y="12"/>
                    <a:pt x="1" y="14"/>
                  </a:cubicBezTo>
                  <a:cubicBezTo>
                    <a:pt x="2" y="16"/>
                    <a:pt x="4" y="16"/>
                    <a:pt x="6" y="16"/>
                  </a:cubicBezTo>
                  <a:cubicBezTo>
                    <a:pt x="8" y="17"/>
                    <a:pt x="5" y="19"/>
                    <a:pt x="4" y="21"/>
                  </a:cubicBezTo>
                  <a:cubicBezTo>
                    <a:pt x="4" y="23"/>
                    <a:pt x="2" y="25"/>
                    <a:pt x="2" y="25"/>
                  </a:cubicBezTo>
                  <a:cubicBezTo>
                    <a:pt x="2" y="25"/>
                    <a:pt x="4" y="25"/>
                    <a:pt x="6" y="27"/>
                  </a:cubicBezTo>
                  <a:cubicBezTo>
                    <a:pt x="7" y="29"/>
                    <a:pt x="4" y="29"/>
                    <a:pt x="6" y="31"/>
                  </a:cubicBezTo>
                  <a:cubicBezTo>
                    <a:pt x="8" y="33"/>
                    <a:pt x="7" y="34"/>
                    <a:pt x="7" y="34"/>
                  </a:cubicBezTo>
                  <a:cubicBezTo>
                    <a:pt x="7" y="37"/>
                    <a:pt x="7" y="37"/>
                    <a:pt x="7" y="37"/>
                  </a:cubicBezTo>
                  <a:cubicBezTo>
                    <a:pt x="7" y="37"/>
                    <a:pt x="10" y="38"/>
                    <a:pt x="13" y="38"/>
                  </a:cubicBezTo>
                  <a:cubicBezTo>
                    <a:pt x="15" y="38"/>
                    <a:pt x="16" y="38"/>
                    <a:pt x="18" y="35"/>
                  </a:cubicBezTo>
                  <a:cubicBezTo>
                    <a:pt x="19" y="33"/>
                    <a:pt x="20" y="34"/>
                    <a:pt x="23" y="34"/>
                  </a:cubicBezTo>
                  <a:cubicBezTo>
                    <a:pt x="26" y="34"/>
                    <a:pt x="26" y="38"/>
                    <a:pt x="26" y="38"/>
                  </a:cubicBezTo>
                  <a:cubicBezTo>
                    <a:pt x="26" y="38"/>
                    <a:pt x="28" y="37"/>
                    <a:pt x="30" y="37"/>
                  </a:cubicBezTo>
                  <a:cubicBezTo>
                    <a:pt x="32" y="37"/>
                    <a:pt x="34" y="39"/>
                    <a:pt x="33" y="35"/>
                  </a:cubicBezTo>
                  <a:cubicBezTo>
                    <a:pt x="31" y="32"/>
                    <a:pt x="36" y="34"/>
                    <a:pt x="36" y="34"/>
                  </a:cubicBezTo>
                  <a:cubicBezTo>
                    <a:pt x="36" y="34"/>
                    <a:pt x="36" y="33"/>
                    <a:pt x="37" y="32"/>
                  </a:cubicBezTo>
                  <a:cubicBezTo>
                    <a:pt x="38" y="31"/>
                    <a:pt x="40" y="31"/>
                    <a:pt x="41" y="32"/>
                  </a:cubicBezTo>
                  <a:cubicBezTo>
                    <a:pt x="42" y="33"/>
                    <a:pt x="46" y="32"/>
                    <a:pt x="46" y="32"/>
                  </a:cubicBezTo>
                  <a:cubicBezTo>
                    <a:pt x="46" y="31"/>
                    <a:pt x="46" y="29"/>
                    <a:pt x="45" y="28"/>
                  </a:cubicBezTo>
                  <a:cubicBezTo>
                    <a:pt x="45" y="27"/>
                    <a:pt x="43" y="27"/>
                    <a:pt x="43" y="27"/>
                  </a:cubicBezTo>
                  <a:cubicBezTo>
                    <a:pt x="43" y="27"/>
                    <a:pt x="45" y="23"/>
                    <a:pt x="45" y="23"/>
                  </a:cubicBezTo>
                  <a:cubicBezTo>
                    <a:pt x="46" y="23"/>
                    <a:pt x="46" y="23"/>
                    <a:pt x="46" y="23"/>
                  </a:cubicBezTo>
                  <a:cubicBezTo>
                    <a:pt x="46" y="21"/>
                    <a:pt x="45" y="20"/>
                    <a:pt x="46" y="19"/>
                  </a:cubicBezTo>
                  <a:cubicBezTo>
                    <a:pt x="46" y="18"/>
                    <a:pt x="52" y="14"/>
                    <a:pt x="52" y="14"/>
                  </a:cubicBezTo>
                  <a:cubicBezTo>
                    <a:pt x="53" y="11"/>
                    <a:pt x="51" y="6"/>
                    <a:pt x="52" y="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71" name="Freeform 307">
              <a:extLst>
                <a:ext uri="{FF2B5EF4-FFF2-40B4-BE49-F238E27FC236}">
                  <a16:creationId xmlns:a16="http://schemas.microsoft.com/office/drawing/2014/main" id="{FCBA1B82-C05D-27BD-D95C-219DA74A86C3}"/>
                </a:ext>
              </a:extLst>
            </p:cNvPr>
            <p:cNvSpPr>
              <a:spLocks/>
            </p:cNvSpPr>
            <p:nvPr/>
          </p:nvSpPr>
          <p:spPr bwMode="auto">
            <a:xfrm>
              <a:off x="6665682" y="2480532"/>
              <a:ext cx="186826" cy="138326"/>
            </a:xfrm>
            <a:custGeom>
              <a:avLst/>
              <a:gdLst>
                <a:gd name="T0" fmla="*/ 52 w 53"/>
                <a:gd name="T1" fmla="*/ 4 h 39"/>
                <a:gd name="T2" fmla="*/ 49 w 53"/>
                <a:gd name="T3" fmla="*/ 2 h 39"/>
                <a:gd name="T4" fmla="*/ 42 w 53"/>
                <a:gd name="T5" fmla="*/ 3 h 39"/>
                <a:gd name="T6" fmla="*/ 36 w 53"/>
                <a:gd name="T7" fmla="*/ 1 h 39"/>
                <a:gd name="T8" fmla="*/ 31 w 53"/>
                <a:gd name="T9" fmla="*/ 4 h 39"/>
                <a:gd name="T10" fmla="*/ 26 w 53"/>
                <a:gd name="T11" fmla="*/ 6 h 39"/>
                <a:gd name="T12" fmla="*/ 18 w 53"/>
                <a:gd name="T13" fmla="*/ 6 h 39"/>
                <a:gd name="T14" fmla="*/ 13 w 53"/>
                <a:gd name="T15" fmla="*/ 7 h 39"/>
                <a:gd name="T16" fmla="*/ 11 w 53"/>
                <a:gd name="T17" fmla="*/ 3 h 39"/>
                <a:gd name="T18" fmla="*/ 7 w 53"/>
                <a:gd name="T19" fmla="*/ 1 h 39"/>
                <a:gd name="T20" fmla="*/ 4 w 53"/>
                <a:gd name="T21" fmla="*/ 6 h 39"/>
                <a:gd name="T22" fmla="*/ 1 w 53"/>
                <a:gd name="T23" fmla="*/ 9 h 39"/>
                <a:gd name="T24" fmla="*/ 1 w 53"/>
                <a:gd name="T25" fmla="*/ 14 h 39"/>
                <a:gd name="T26" fmla="*/ 6 w 53"/>
                <a:gd name="T27" fmla="*/ 16 h 39"/>
                <a:gd name="T28" fmla="*/ 4 w 53"/>
                <a:gd name="T29" fmla="*/ 21 h 39"/>
                <a:gd name="T30" fmla="*/ 2 w 53"/>
                <a:gd name="T31" fmla="*/ 25 h 39"/>
                <a:gd name="T32" fmla="*/ 6 w 53"/>
                <a:gd name="T33" fmla="*/ 27 h 39"/>
                <a:gd name="T34" fmla="*/ 6 w 53"/>
                <a:gd name="T35" fmla="*/ 31 h 39"/>
                <a:gd name="T36" fmla="*/ 7 w 53"/>
                <a:gd name="T37" fmla="*/ 34 h 39"/>
                <a:gd name="T38" fmla="*/ 7 w 53"/>
                <a:gd name="T39" fmla="*/ 37 h 39"/>
                <a:gd name="T40" fmla="*/ 13 w 53"/>
                <a:gd name="T41" fmla="*/ 38 h 39"/>
                <a:gd name="T42" fmla="*/ 18 w 53"/>
                <a:gd name="T43" fmla="*/ 35 h 39"/>
                <a:gd name="T44" fmla="*/ 23 w 53"/>
                <a:gd name="T45" fmla="*/ 34 h 39"/>
                <a:gd name="T46" fmla="*/ 26 w 53"/>
                <a:gd name="T47" fmla="*/ 38 h 39"/>
                <a:gd name="T48" fmla="*/ 30 w 53"/>
                <a:gd name="T49" fmla="*/ 37 h 39"/>
                <a:gd name="T50" fmla="*/ 33 w 53"/>
                <a:gd name="T51" fmla="*/ 35 h 39"/>
                <a:gd name="T52" fmla="*/ 36 w 53"/>
                <a:gd name="T53" fmla="*/ 34 h 39"/>
                <a:gd name="T54" fmla="*/ 37 w 53"/>
                <a:gd name="T55" fmla="*/ 32 h 39"/>
                <a:gd name="T56" fmla="*/ 41 w 53"/>
                <a:gd name="T57" fmla="*/ 32 h 39"/>
                <a:gd name="T58" fmla="*/ 46 w 53"/>
                <a:gd name="T59" fmla="*/ 32 h 39"/>
                <a:gd name="T60" fmla="*/ 45 w 53"/>
                <a:gd name="T61" fmla="*/ 28 h 39"/>
                <a:gd name="T62" fmla="*/ 43 w 53"/>
                <a:gd name="T63" fmla="*/ 27 h 39"/>
                <a:gd name="T64" fmla="*/ 45 w 53"/>
                <a:gd name="T65" fmla="*/ 23 h 39"/>
                <a:gd name="T66" fmla="*/ 46 w 53"/>
                <a:gd name="T67" fmla="*/ 23 h 39"/>
                <a:gd name="T68" fmla="*/ 46 w 53"/>
                <a:gd name="T69" fmla="*/ 19 h 39"/>
                <a:gd name="T70" fmla="*/ 52 w 53"/>
                <a:gd name="T71" fmla="*/ 14 h 39"/>
                <a:gd name="T72" fmla="*/ 52 w 53"/>
                <a:gd name="T73"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 h="39">
                  <a:moveTo>
                    <a:pt x="52" y="4"/>
                  </a:moveTo>
                  <a:cubicBezTo>
                    <a:pt x="52" y="4"/>
                    <a:pt x="50" y="2"/>
                    <a:pt x="49" y="2"/>
                  </a:cubicBezTo>
                  <a:cubicBezTo>
                    <a:pt x="46" y="1"/>
                    <a:pt x="46" y="1"/>
                    <a:pt x="42" y="3"/>
                  </a:cubicBezTo>
                  <a:cubicBezTo>
                    <a:pt x="39" y="4"/>
                    <a:pt x="38" y="1"/>
                    <a:pt x="36" y="1"/>
                  </a:cubicBezTo>
                  <a:cubicBezTo>
                    <a:pt x="34" y="0"/>
                    <a:pt x="33" y="2"/>
                    <a:pt x="31" y="4"/>
                  </a:cubicBezTo>
                  <a:cubicBezTo>
                    <a:pt x="29" y="6"/>
                    <a:pt x="30" y="5"/>
                    <a:pt x="26" y="6"/>
                  </a:cubicBezTo>
                  <a:cubicBezTo>
                    <a:pt x="21" y="7"/>
                    <a:pt x="22" y="7"/>
                    <a:pt x="18" y="6"/>
                  </a:cubicBezTo>
                  <a:cubicBezTo>
                    <a:pt x="15" y="5"/>
                    <a:pt x="18" y="7"/>
                    <a:pt x="13" y="7"/>
                  </a:cubicBezTo>
                  <a:cubicBezTo>
                    <a:pt x="9" y="7"/>
                    <a:pt x="9" y="5"/>
                    <a:pt x="11" y="3"/>
                  </a:cubicBezTo>
                  <a:cubicBezTo>
                    <a:pt x="13" y="2"/>
                    <a:pt x="7" y="1"/>
                    <a:pt x="7" y="1"/>
                  </a:cubicBezTo>
                  <a:cubicBezTo>
                    <a:pt x="7" y="1"/>
                    <a:pt x="6" y="4"/>
                    <a:pt x="4" y="6"/>
                  </a:cubicBezTo>
                  <a:cubicBezTo>
                    <a:pt x="2" y="7"/>
                    <a:pt x="2" y="8"/>
                    <a:pt x="1" y="9"/>
                  </a:cubicBezTo>
                  <a:cubicBezTo>
                    <a:pt x="0" y="11"/>
                    <a:pt x="0" y="12"/>
                    <a:pt x="1" y="14"/>
                  </a:cubicBezTo>
                  <a:cubicBezTo>
                    <a:pt x="2" y="16"/>
                    <a:pt x="4" y="16"/>
                    <a:pt x="6" y="16"/>
                  </a:cubicBezTo>
                  <a:cubicBezTo>
                    <a:pt x="8" y="17"/>
                    <a:pt x="5" y="19"/>
                    <a:pt x="4" y="21"/>
                  </a:cubicBezTo>
                  <a:cubicBezTo>
                    <a:pt x="4" y="23"/>
                    <a:pt x="2" y="25"/>
                    <a:pt x="2" y="25"/>
                  </a:cubicBezTo>
                  <a:cubicBezTo>
                    <a:pt x="2" y="25"/>
                    <a:pt x="4" y="25"/>
                    <a:pt x="6" y="27"/>
                  </a:cubicBezTo>
                  <a:cubicBezTo>
                    <a:pt x="7" y="29"/>
                    <a:pt x="4" y="29"/>
                    <a:pt x="6" y="31"/>
                  </a:cubicBezTo>
                  <a:cubicBezTo>
                    <a:pt x="8" y="33"/>
                    <a:pt x="7" y="34"/>
                    <a:pt x="7" y="34"/>
                  </a:cubicBezTo>
                  <a:cubicBezTo>
                    <a:pt x="7" y="37"/>
                    <a:pt x="7" y="37"/>
                    <a:pt x="7" y="37"/>
                  </a:cubicBezTo>
                  <a:cubicBezTo>
                    <a:pt x="7" y="37"/>
                    <a:pt x="10" y="38"/>
                    <a:pt x="13" y="38"/>
                  </a:cubicBezTo>
                  <a:cubicBezTo>
                    <a:pt x="15" y="38"/>
                    <a:pt x="16" y="38"/>
                    <a:pt x="18" y="35"/>
                  </a:cubicBezTo>
                  <a:cubicBezTo>
                    <a:pt x="19" y="33"/>
                    <a:pt x="20" y="34"/>
                    <a:pt x="23" y="34"/>
                  </a:cubicBezTo>
                  <a:cubicBezTo>
                    <a:pt x="26" y="34"/>
                    <a:pt x="26" y="38"/>
                    <a:pt x="26" y="38"/>
                  </a:cubicBezTo>
                  <a:cubicBezTo>
                    <a:pt x="26" y="38"/>
                    <a:pt x="28" y="37"/>
                    <a:pt x="30" y="37"/>
                  </a:cubicBezTo>
                  <a:cubicBezTo>
                    <a:pt x="32" y="37"/>
                    <a:pt x="34" y="39"/>
                    <a:pt x="33" y="35"/>
                  </a:cubicBezTo>
                  <a:cubicBezTo>
                    <a:pt x="31" y="32"/>
                    <a:pt x="36" y="34"/>
                    <a:pt x="36" y="34"/>
                  </a:cubicBezTo>
                  <a:cubicBezTo>
                    <a:pt x="36" y="34"/>
                    <a:pt x="36" y="33"/>
                    <a:pt x="37" y="32"/>
                  </a:cubicBezTo>
                  <a:cubicBezTo>
                    <a:pt x="38" y="31"/>
                    <a:pt x="40" y="31"/>
                    <a:pt x="41" y="32"/>
                  </a:cubicBezTo>
                  <a:cubicBezTo>
                    <a:pt x="42" y="33"/>
                    <a:pt x="46" y="32"/>
                    <a:pt x="46" y="32"/>
                  </a:cubicBezTo>
                  <a:cubicBezTo>
                    <a:pt x="46" y="31"/>
                    <a:pt x="46" y="29"/>
                    <a:pt x="45" y="28"/>
                  </a:cubicBezTo>
                  <a:cubicBezTo>
                    <a:pt x="45" y="27"/>
                    <a:pt x="43" y="27"/>
                    <a:pt x="43" y="27"/>
                  </a:cubicBezTo>
                  <a:cubicBezTo>
                    <a:pt x="43" y="27"/>
                    <a:pt x="45" y="23"/>
                    <a:pt x="45" y="23"/>
                  </a:cubicBezTo>
                  <a:cubicBezTo>
                    <a:pt x="46" y="23"/>
                    <a:pt x="46" y="23"/>
                    <a:pt x="46" y="23"/>
                  </a:cubicBezTo>
                  <a:cubicBezTo>
                    <a:pt x="46" y="21"/>
                    <a:pt x="45" y="20"/>
                    <a:pt x="46" y="19"/>
                  </a:cubicBezTo>
                  <a:cubicBezTo>
                    <a:pt x="46" y="18"/>
                    <a:pt x="52" y="14"/>
                    <a:pt x="52" y="14"/>
                  </a:cubicBezTo>
                  <a:cubicBezTo>
                    <a:pt x="53" y="11"/>
                    <a:pt x="51" y="6"/>
                    <a:pt x="52" y="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72" name="Freeform 308">
              <a:extLst>
                <a:ext uri="{FF2B5EF4-FFF2-40B4-BE49-F238E27FC236}">
                  <a16:creationId xmlns:a16="http://schemas.microsoft.com/office/drawing/2014/main" id="{B177591F-408B-F6F3-11EB-02C6083DB84D}"/>
                </a:ext>
              </a:extLst>
            </p:cNvPr>
            <p:cNvSpPr>
              <a:spLocks/>
            </p:cNvSpPr>
            <p:nvPr/>
          </p:nvSpPr>
          <p:spPr bwMode="auto">
            <a:xfrm>
              <a:off x="9433948" y="4059595"/>
              <a:ext cx="46708" cy="32336"/>
            </a:xfrm>
            <a:custGeom>
              <a:avLst/>
              <a:gdLst>
                <a:gd name="T0" fmla="*/ 0 w 13"/>
                <a:gd name="T1" fmla="*/ 5 h 9"/>
                <a:gd name="T2" fmla="*/ 4 w 13"/>
                <a:gd name="T3" fmla="*/ 9 h 9"/>
                <a:gd name="T4" fmla="*/ 7 w 13"/>
                <a:gd name="T5" fmla="*/ 8 h 9"/>
                <a:gd name="T6" fmla="*/ 8 w 13"/>
                <a:gd name="T7" fmla="*/ 7 h 9"/>
                <a:gd name="T8" fmla="*/ 9 w 13"/>
                <a:gd name="T9" fmla="*/ 5 h 9"/>
                <a:gd name="T10" fmla="*/ 11 w 13"/>
                <a:gd name="T11" fmla="*/ 6 h 9"/>
                <a:gd name="T12" fmla="*/ 13 w 13"/>
                <a:gd name="T13" fmla="*/ 6 h 9"/>
                <a:gd name="T14" fmla="*/ 11 w 13"/>
                <a:gd name="T15" fmla="*/ 0 h 9"/>
                <a:gd name="T16" fmla="*/ 8 w 13"/>
                <a:gd name="T17" fmla="*/ 0 h 9"/>
                <a:gd name="T18" fmla="*/ 6 w 13"/>
                <a:gd name="T19" fmla="*/ 5 h 9"/>
                <a:gd name="T20" fmla="*/ 0 w 13"/>
                <a:gd name="T21" fmla="*/ 4 h 9"/>
                <a:gd name="T22" fmla="*/ 0 w 13"/>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9">
                  <a:moveTo>
                    <a:pt x="0" y="5"/>
                  </a:moveTo>
                  <a:cubicBezTo>
                    <a:pt x="4" y="9"/>
                    <a:pt x="4" y="9"/>
                    <a:pt x="4" y="9"/>
                  </a:cubicBezTo>
                  <a:cubicBezTo>
                    <a:pt x="7" y="8"/>
                    <a:pt x="7" y="8"/>
                    <a:pt x="7" y="8"/>
                  </a:cubicBezTo>
                  <a:cubicBezTo>
                    <a:pt x="8" y="7"/>
                    <a:pt x="8" y="7"/>
                    <a:pt x="8" y="7"/>
                  </a:cubicBezTo>
                  <a:cubicBezTo>
                    <a:pt x="9" y="5"/>
                    <a:pt x="9" y="5"/>
                    <a:pt x="9" y="5"/>
                  </a:cubicBezTo>
                  <a:cubicBezTo>
                    <a:pt x="11" y="6"/>
                    <a:pt x="11" y="6"/>
                    <a:pt x="11" y="6"/>
                  </a:cubicBezTo>
                  <a:cubicBezTo>
                    <a:pt x="13" y="6"/>
                    <a:pt x="13" y="6"/>
                    <a:pt x="13" y="6"/>
                  </a:cubicBezTo>
                  <a:cubicBezTo>
                    <a:pt x="11" y="0"/>
                    <a:pt x="11" y="0"/>
                    <a:pt x="11" y="0"/>
                  </a:cubicBezTo>
                  <a:cubicBezTo>
                    <a:pt x="10" y="0"/>
                    <a:pt x="9" y="0"/>
                    <a:pt x="8" y="0"/>
                  </a:cubicBezTo>
                  <a:cubicBezTo>
                    <a:pt x="6" y="1"/>
                    <a:pt x="7" y="3"/>
                    <a:pt x="6" y="5"/>
                  </a:cubicBezTo>
                  <a:cubicBezTo>
                    <a:pt x="5" y="5"/>
                    <a:pt x="2" y="4"/>
                    <a:pt x="0" y="4"/>
                  </a:cubicBezTo>
                  <a:lnTo>
                    <a:pt x="0" y="5"/>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73" name="Freeform 309">
              <a:extLst>
                <a:ext uri="{FF2B5EF4-FFF2-40B4-BE49-F238E27FC236}">
                  <a16:creationId xmlns:a16="http://schemas.microsoft.com/office/drawing/2014/main" id="{BC890D1E-3041-54F8-4E8C-9C5DFA84DC71}"/>
                </a:ext>
              </a:extLst>
            </p:cNvPr>
            <p:cNvSpPr>
              <a:spLocks/>
            </p:cNvSpPr>
            <p:nvPr/>
          </p:nvSpPr>
          <p:spPr bwMode="auto">
            <a:xfrm>
              <a:off x="9433948" y="4059595"/>
              <a:ext cx="46708" cy="32336"/>
            </a:xfrm>
            <a:custGeom>
              <a:avLst/>
              <a:gdLst>
                <a:gd name="T0" fmla="*/ 0 w 13"/>
                <a:gd name="T1" fmla="*/ 5 h 9"/>
                <a:gd name="T2" fmla="*/ 4 w 13"/>
                <a:gd name="T3" fmla="*/ 9 h 9"/>
                <a:gd name="T4" fmla="*/ 7 w 13"/>
                <a:gd name="T5" fmla="*/ 8 h 9"/>
                <a:gd name="T6" fmla="*/ 8 w 13"/>
                <a:gd name="T7" fmla="*/ 7 h 9"/>
                <a:gd name="T8" fmla="*/ 9 w 13"/>
                <a:gd name="T9" fmla="*/ 5 h 9"/>
                <a:gd name="T10" fmla="*/ 11 w 13"/>
                <a:gd name="T11" fmla="*/ 6 h 9"/>
                <a:gd name="T12" fmla="*/ 13 w 13"/>
                <a:gd name="T13" fmla="*/ 6 h 9"/>
                <a:gd name="T14" fmla="*/ 11 w 13"/>
                <a:gd name="T15" fmla="*/ 0 h 9"/>
                <a:gd name="T16" fmla="*/ 8 w 13"/>
                <a:gd name="T17" fmla="*/ 0 h 9"/>
                <a:gd name="T18" fmla="*/ 6 w 13"/>
                <a:gd name="T19" fmla="*/ 5 h 9"/>
                <a:gd name="T20" fmla="*/ 0 w 13"/>
                <a:gd name="T21" fmla="*/ 4 h 9"/>
                <a:gd name="T22" fmla="*/ 0 w 13"/>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9">
                  <a:moveTo>
                    <a:pt x="0" y="5"/>
                  </a:moveTo>
                  <a:cubicBezTo>
                    <a:pt x="4" y="9"/>
                    <a:pt x="4" y="9"/>
                    <a:pt x="4" y="9"/>
                  </a:cubicBezTo>
                  <a:cubicBezTo>
                    <a:pt x="7" y="8"/>
                    <a:pt x="7" y="8"/>
                    <a:pt x="7" y="8"/>
                  </a:cubicBezTo>
                  <a:cubicBezTo>
                    <a:pt x="8" y="7"/>
                    <a:pt x="8" y="7"/>
                    <a:pt x="8" y="7"/>
                  </a:cubicBezTo>
                  <a:cubicBezTo>
                    <a:pt x="9" y="5"/>
                    <a:pt x="9" y="5"/>
                    <a:pt x="9" y="5"/>
                  </a:cubicBezTo>
                  <a:cubicBezTo>
                    <a:pt x="11" y="6"/>
                    <a:pt x="11" y="6"/>
                    <a:pt x="11" y="6"/>
                  </a:cubicBezTo>
                  <a:cubicBezTo>
                    <a:pt x="13" y="6"/>
                    <a:pt x="13" y="6"/>
                    <a:pt x="13" y="6"/>
                  </a:cubicBezTo>
                  <a:cubicBezTo>
                    <a:pt x="11" y="0"/>
                    <a:pt x="11" y="0"/>
                    <a:pt x="11" y="0"/>
                  </a:cubicBezTo>
                  <a:cubicBezTo>
                    <a:pt x="10" y="0"/>
                    <a:pt x="9" y="0"/>
                    <a:pt x="8" y="0"/>
                  </a:cubicBezTo>
                  <a:cubicBezTo>
                    <a:pt x="6" y="1"/>
                    <a:pt x="7" y="3"/>
                    <a:pt x="6" y="5"/>
                  </a:cubicBezTo>
                  <a:cubicBezTo>
                    <a:pt x="5" y="5"/>
                    <a:pt x="2" y="4"/>
                    <a:pt x="0" y="4"/>
                  </a:cubicBezTo>
                  <a:lnTo>
                    <a:pt x="0" y="5"/>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74" name="Freeform 310">
              <a:extLst>
                <a:ext uri="{FF2B5EF4-FFF2-40B4-BE49-F238E27FC236}">
                  <a16:creationId xmlns:a16="http://schemas.microsoft.com/office/drawing/2014/main" id="{23BE409C-6896-E7A0-BC53-787965366ADD}"/>
                </a:ext>
              </a:extLst>
            </p:cNvPr>
            <p:cNvSpPr>
              <a:spLocks noEditPoints="1"/>
            </p:cNvSpPr>
            <p:nvPr/>
          </p:nvSpPr>
          <p:spPr bwMode="auto">
            <a:xfrm>
              <a:off x="3701607" y="4047020"/>
              <a:ext cx="1219763" cy="1491038"/>
            </a:xfrm>
            <a:custGeom>
              <a:avLst/>
              <a:gdLst>
                <a:gd name="T0" fmla="*/ 206 w 346"/>
                <a:gd name="T1" fmla="*/ 70 h 423"/>
                <a:gd name="T2" fmla="*/ 202 w 346"/>
                <a:gd name="T3" fmla="*/ 61 h 423"/>
                <a:gd name="T4" fmla="*/ 198 w 346"/>
                <a:gd name="T5" fmla="*/ 405 h 423"/>
                <a:gd name="T6" fmla="*/ 176 w 346"/>
                <a:gd name="T7" fmla="*/ 77 h 423"/>
                <a:gd name="T8" fmla="*/ 232 w 346"/>
                <a:gd name="T9" fmla="*/ 324 h 423"/>
                <a:gd name="T10" fmla="*/ 257 w 346"/>
                <a:gd name="T11" fmla="*/ 309 h 423"/>
                <a:gd name="T12" fmla="*/ 273 w 346"/>
                <a:gd name="T13" fmla="*/ 304 h 423"/>
                <a:gd name="T14" fmla="*/ 285 w 346"/>
                <a:gd name="T15" fmla="*/ 294 h 423"/>
                <a:gd name="T16" fmla="*/ 293 w 346"/>
                <a:gd name="T17" fmla="*/ 272 h 423"/>
                <a:gd name="T18" fmla="*/ 307 w 346"/>
                <a:gd name="T19" fmla="*/ 235 h 423"/>
                <a:gd name="T20" fmla="*/ 307 w 346"/>
                <a:gd name="T21" fmla="*/ 196 h 423"/>
                <a:gd name="T22" fmla="*/ 321 w 346"/>
                <a:gd name="T23" fmla="*/ 179 h 423"/>
                <a:gd name="T24" fmla="*/ 339 w 346"/>
                <a:gd name="T25" fmla="*/ 156 h 423"/>
                <a:gd name="T26" fmla="*/ 344 w 346"/>
                <a:gd name="T27" fmla="*/ 123 h 423"/>
                <a:gd name="T28" fmla="*/ 329 w 346"/>
                <a:gd name="T29" fmla="*/ 106 h 423"/>
                <a:gd name="T30" fmla="*/ 307 w 346"/>
                <a:gd name="T31" fmla="*/ 90 h 423"/>
                <a:gd name="T32" fmla="*/ 269 w 346"/>
                <a:gd name="T33" fmla="*/ 80 h 423"/>
                <a:gd name="T34" fmla="*/ 258 w 346"/>
                <a:gd name="T35" fmla="*/ 74 h 423"/>
                <a:gd name="T36" fmla="*/ 248 w 346"/>
                <a:gd name="T37" fmla="*/ 64 h 423"/>
                <a:gd name="T38" fmla="*/ 221 w 346"/>
                <a:gd name="T39" fmla="*/ 72 h 423"/>
                <a:gd name="T40" fmla="*/ 222 w 346"/>
                <a:gd name="T41" fmla="*/ 70 h 423"/>
                <a:gd name="T42" fmla="*/ 225 w 346"/>
                <a:gd name="T43" fmla="*/ 55 h 423"/>
                <a:gd name="T44" fmla="*/ 206 w 346"/>
                <a:gd name="T45" fmla="*/ 68 h 423"/>
                <a:gd name="T46" fmla="*/ 197 w 346"/>
                <a:gd name="T47" fmla="*/ 68 h 423"/>
                <a:gd name="T48" fmla="*/ 197 w 346"/>
                <a:gd name="T49" fmla="*/ 60 h 423"/>
                <a:gd name="T50" fmla="*/ 212 w 346"/>
                <a:gd name="T51" fmla="*/ 51 h 423"/>
                <a:gd name="T52" fmla="*/ 210 w 346"/>
                <a:gd name="T53" fmla="*/ 45 h 423"/>
                <a:gd name="T54" fmla="*/ 205 w 346"/>
                <a:gd name="T55" fmla="*/ 16 h 423"/>
                <a:gd name="T56" fmla="*/ 187 w 346"/>
                <a:gd name="T57" fmla="*/ 36 h 423"/>
                <a:gd name="T58" fmla="*/ 163 w 346"/>
                <a:gd name="T59" fmla="*/ 30 h 423"/>
                <a:gd name="T60" fmla="*/ 143 w 346"/>
                <a:gd name="T61" fmla="*/ 37 h 423"/>
                <a:gd name="T62" fmla="*/ 123 w 346"/>
                <a:gd name="T63" fmla="*/ 20 h 423"/>
                <a:gd name="T64" fmla="*/ 118 w 346"/>
                <a:gd name="T65" fmla="*/ 0 h 423"/>
                <a:gd name="T66" fmla="*/ 97 w 346"/>
                <a:gd name="T67" fmla="*/ 13 h 423"/>
                <a:gd name="T68" fmla="*/ 84 w 346"/>
                <a:gd name="T69" fmla="*/ 21 h 423"/>
                <a:gd name="T70" fmla="*/ 84 w 346"/>
                <a:gd name="T71" fmla="*/ 43 h 423"/>
                <a:gd name="T72" fmla="*/ 61 w 346"/>
                <a:gd name="T73" fmla="*/ 46 h 423"/>
                <a:gd name="T74" fmla="*/ 45 w 346"/>
                <a:gd name="T75" fmla="*/ 51 h 423"/>
                <a:gd name="T76" fmla="*/ 33 w 346"/>
                <a:gd name="T77" fmla="*/ 99 h 423"/>
                <a:gd name="T78" fmla="*/ 4 w 346"/>
                <a:gd name="T79" fmla="*/ 130 h 423"/>
                <a:gd name="T80" fmla="*/ 15 w 346"/>
                <a:gd name="T81" fmla="*/ 158 h 423"/>
                <a:gd name="T82" fmla="*/ 48 w 346"/>
                <a:gd name="T83" fmla="*/ 184 h 423"/>
                <a:gd name="T84" fmla="*/ 74 w 346"/>
                <a:gd name="T85" fmla="*/ 179 h 423"/>
                <a:gd name="T86" fmla="*/ 113 w 346"/>
                <a:gd name="T87" fmla="*/ 200 h 423"/>
                <a:gd name="T88" fmla="*/ 136 w 346"/>
                <a:gd name="T89" fmla="*/ 229 h 423"/>
                <a:gd name="T90" fmla="*/ 140 w 346"/>
                <a:gd name="T91" fmla="*/ 267 h 423"/>
                <a:gd name="T92" fmla="*/ 158 w 346"/>
                <a:gd name="T93" fmla="*/ 291 h 423"/>
                <a:gd name="T94" fmla="*/ 170 w 346"/>
                <a:gd name="T95" fmla="*/ 331 h 423"/>
                <a:gd name="T96" fmla="*/ 164 w 346"/>
                <a:gd name="T97" fmla="*/ 361 h 423"/>
                <a:gd name="T98" fmla="*/ 159 w 346"/>
                <a:gd name="T99" fmla="*/ 390 h 423"/>
                <a:gd name="T100" fmla="*/ 181 w 346"/>
                <a:gd name="T101" fmla="*/ 420 h 423"/>
                <a:gd name="T102" fmla="*/ 196 w 346"/>
                <a:gd name="T103" fmla="*/ 397 h 423"/>
                <a:gd name="T104" fmla="*/ 205 w 346"/>
                <a:gd name="T105" fmla="*/ 392 h 423"/>
                <a:gd name="T106" fmla="*/ 220 w 346"/>
                <a:gd name="T107" fmla="*/ 371 h 423"/>
                <a:gd name="T108" fmla="*/ 219 w 346"/>
                <a:gd name="T109" fmla="*/ 347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6" h="423">
                  <a:moveTo>
                    <a:pt x="182" y="70"/>
                  </a:moveTo>
                  <a:cubicBezTo>
                    <a:pt x="183" y="69"/>
                    <a:pt x="183" y="70"/>
                    <a:pt x="183" y="70"/>
                  </a:cubicBezTo>
                  <a:cubicBezTo>
                    <a:pt x="182" y="71"/>
                    <a:pt x="180" y="71"/>
                    <a:pt x="180" y="72"/>
                  </a:cubicBezTo>
                  <a:cubicBezTo>
                    <a:pt x="179" y="73"/>
                    <a:pt x="179" y="74"/>
                    <a:pt x="178" y="75"/>
                  </a:cubicBezTo>
                  <a:cubicBezTo>
                    <a:pt x="177" y="76"/>
                    <a:pt x="179" y="71"/>
                    <a:pt x="182" y="70"/>
                  </a:cubicBezTo>
                  <a:close/>
                  <a:moveTo>
                    <a:pt x="207" y="68"/>
                  </a:moveTo>
                  <a:cubicBezTo>
                    <a:pt x="208" y="69"/>
                    <a:pt x="206" y="70"/>
                    <a:pt x="206" y="70"/>
                  </a:cubicBezTo>
                  <a:cubicBezTo>
                    <a:pt x="206" y="69"/>
                    <a:pt x="206" y="68"/>
                    <a:pt x="207" y="68"/>
                  </a:cubicBezTo>
                  <a:close/>
                  <a:moveTo>
                    <a:pt x="199" y="64"/>
                  </a:moveTo>
                  <a:cubicBezTo>
                    <a:pt x="198" y="65"/>
                    <a:pt x="198" y="66"/>
                    <a:pt x="200" y="66"/>
                  </a:cubicBezTo>
                  <a:cubicBezTo>
                    <a:pt x="200" y="66"/>
                    <a:pt x="201" y="64"/>
                    <a:pt x="199" y="64"/>
                  </a:cubicBezTo>
                  <a:close/>
                  <a:moveTo>
                    <a:pt x="202" y="61"/>
                  </a:moveTo>
                  <a:cubicBezTo>
                    <a:pt x="203" y="62"/>
                    <a:pt x="203" y="62"/>
                    <a:pt x="203" y="62"/>
                  </a:cubicBezTo>
                  <a:cubicBezTo>
                    <a:pt x="203" y="62"/>
                    <a:pt x="203" y="61"/>
                    <a:pt x="202" y="61"/>
                  </a:cubicBezTo>
                  <a:close/>
                  <a:moveTo>
                    <a:pt x="190" y="410"/>
                  </a:moveTo>
                  <a:cubicBezTo>
                    <a:pt x="189" y="410"/>
                    <a:pt x="187" y="413"/>
                    <a:pt x="190" y="412"/>
                  </a:cubicBezTo>
                  <a:cubicBezTo>
                    <a:pt x="190" y="412"/>
                    <a:pt x="191" y="410"/>
                    <a:pt x="190" y="410"/>
                  </a:cubicBezTo>
                  <a:close/>
                  <a:moveTo>
                    <a:pt x="195" y="409"/>
                  </a:moveTo>
                  <a:cubicBezTo>
                    <a:pt x="192" y="409"/>
                    <a:pt x="191" y="412"/>
                    <a:pt x="196" y="411"/>
                  </a:cubicBezTo>
                  <a:cubicBezTo>
                    <a:pt x="198" y="411"/>
                    <a:pt x="199" y="408"/>
                    <a:pt x="195" y="409"/>
                  </a:cubicBezTo>
                  <a:close/>
                  <a:moveTo>
                    <a:pt x="198" y="405"/>
                  </a:moveTo>
                  <a:cubicBezTo>
                    <a:pt x="197" y="407"/>
                    <a:pt x="197" y="407"/>
                    <a:pt x="197" y="407"/>
                  </a:cubicBezTo>
                  <a:cubicBezTo>
                    <a:pt x="198" y="406"/>
                    <a:pt x="204" y="405"/>
                    <a:pt x="198" y="405"/>
                  </a:cubicBezTo>
                  <a:close/>
                  <a:moveTo>
                    <a:pt x="177" y="76"/>
                  </a:moveTo>
                  <a:cubicBezTo>
                    <a:pt x="176" y="78"/>
                    <a:pt x="176" y="78"/>
                    <a:pt x="176" y="78"/>
                  </a:cubicBezTo>
                  <a:cubicBezTo>
                    <a:pt x="170" y="78"/>
                    <a:pt x="166" y="77"/>
                    <a:pt x="162" y="78"/>
                  </a:cubicBezTo>
                  <a:cubicBezTo>
                    <a:pt x="163" y="76"/>
                    <a:pt x="163" y="76"/>
                    <a:pt x="163" y="76"/>
                  </a:cubicBezTo>
                  <a:cubicBezTo>
                    <a:pt x="167" y="76"/>
                    <a:pt x="171" y="79"/>
                    <a:pt x="176" y="77"/>
                  </a:cubicBezTo>
                  <a:cubicBezTo>
                    <a:pt x="176" y="77"/>
                    <a:pt x="176" y="76"/>
                    <a:pt x="177" y="76"/>
                  </a:cubicBezTo>
                  <a:close/>
                  <a:moveTo>
                    <a:pt x="200" y="58"/>
                  </a:moveTo>
                  <a:cubicBezTo>
                    <a:pt x="199" y="58"/>
                    <a:pt x="199" y="59"/>
                    <a:pt x="201" y="59"/>
                  </a:cubicBezTo>
                  <a:cubicBezTo>
                    <a:pt x="201" y="59"/>
                    <a:pt x="203" y="57"/>
                    <a:pt x="200" y="58"/>
                  </a:cubicBezTo>
                  <a:close/>
                  <a:moveTo>
                    <a:pt x="221" y="332"/>
                  </a:moveTo>
                  <a:cubicBezTo>
                    <a:pt x="225" y="331"/>
                    <a:pt x="227" y="329"/>
                    <a:pt x="230" y="327"/>
                  </a:cubicBezTo>
                  <a:cubicBezTo>
                    <a:pt x="231" y="327"/>
                    <a:pt x="232" y="325"/>
                    <a:pt x="232" y="324"/>
                  </a:cubicBezTo>
                  <a:cubicBezTo>
                    <a:pt x="234" y="323"/>
                    <a:pt x="237" y="323"/>
                    <a:pt x="239" y="322"/>
                  </a:cubicBezTo>
                  <a:cubicBezTo>
                    <a:pt x="240" y="321"/>
                    <a:pt x="241" y="317"/>
                    <a:pt x="241" y="317"/>
                  </a:cubicBezTo>
                  <a:cubicBezTo>
                    <a:pt x="243" y="316"/>
                    <a:pt x="247" y="317"/>
                    <a:pt x="249" y="316"/>
                  </a:cubicBezTo>
                  <a:cubicBezTo>
                    <a:pt x="249" y="316"/>
                    <a:pt x="250" y="315"/>
                    <a:pt x="250" y="314"/>
                  </a:cubicBezTo>
                  <a:cubicBezTo>
                    <a:pt x="252" y="314"/>
                    <a:pt x="254" y="314"/>
                    <a:pt x="257" y="314"/>
                  </a:cubicBezTo>
                  <a:cubicBezTo>
                    <a:pt x="256" y="312"/>
                    <a:pt x="256" y="311"/>
                    <a:pt x="255" y="309"/>
                  </a:cubicBezTo>
                  <a:cubicBezTo>
                    <a:pt x="255" y="309"/>
                    <a:pt x="256" y="309"/>
                    <a:pt x="257" y="309"/>
                  </a:cubicBezTo>
                  <a:cubicBezTo>
                    <a:pt x="257" y="309"/>
                    <a:pt x="258" y="307"/>
                    <a:pt x="259" y="307"/>
                  </a:cubicBezTo>
                  <a:cubicBezTo>
                    <a:pt x="259" y="307"/>
                    <a:pt x="260" y="308"/>
                    <a:pt x="262" y="308"/>
                  </a:cubicBezTo>
                  <a:cubicBezTo>
                    <a:pt x="262" y="308"/>
                    <a:pt x="264" y="306"/>
                    <a:pt x="264" y="306"/>
                  </a:cubicBezTo>
                  <a:cubicBezTo>
                    <a:pt x="267" y="305"/>
                    <a:pt x="268" y="306"/>
                    <a:pt x="271" y="306"/>
                  </a:cubicBezTo>
                  <a:cubicBezTo>
                    <a:pt x="271" y="305"/>
                    <a:pt x="271" y="302"/>
                    <a:pt x="271" y="302"/>
                  </a:cubicBezTo>
                  <a:cubicBezTo>
                    <a:pt x="271" y="303"/>
                    <a:pt x="272" y="302"/>
                    <a:pt x="273" y="302"/>
                  </a:cubicBezTo>
                  <a:cubicBezTo>
                    <a:pt x="273" y="304"/>
                    <a:pt x="273" y="304"/>
                    <a:pt x="273" y="304"/>
                  </a:cubicBezTo>
                  <a:cubicBezTo>
                    <a:pt x="273" y="304"/>
                    <a:pt x="274" y="305"/>
                    <a:pt x="274" y="305"/>
                  </a:cubicBezTo>
                  <a:cubicBezTo>
                    <a:pt x="275" y="306"/>
                    <a:pt x="277" y="305"/>
                    <a:pt x="279" y="305"/>
                  </a:cubicBezTo>
                  <a:cubicBezTo>
                    <a:pt x="279" y="304"/>
                    <a:pt x="281" y="303"/>
                    <a:pt x="281" y="302"/>
                  </a:cubicBezTo>
                  <a:cubicBezTo>
                    <a:pt x="281" y="302"/>
                    <a:pt x="280" y="300"/>
                    <a:pt x="281" y="299"/>
                  </a:cubicBezTo>
                  <a:cubicBezTo>
                    <a:pt x="285" y="297"/>
                    <a:pt x="285" y="297"/>
                    <a:pt x="285" y="297"/>
                  </a:cubicBezTo>
                  <a:cubicBezTo>
                    <a:pt x="285" y="296"/>
                    <a:pt x="286" y="295"/>
                    <a:pt x="286" y="294"/>
                  </a:cubicBezTo>
                  <a:cubicBezTo>
                    <a:pt x="285" y="294"/>
                    <a:pt x="285" y="294"/>
                    <a:pt x="285" y="294"/>
                  </a:cubicBezTo>
                  <a:cubicBezTo>
                    <a:pt x="285" y="292"/>
                    <a:pt x="285" y="292"/>
                    <a:pt x="285" y="289"/>
                  </a:cubicBezTo>
                  <a:cubicBezTo>
                    <a:pt x="283" y="289"/>
                    <a:pt x="285" y="288"/>
                    <a:pt x="285" y="289"/>
                  </a:cubicBezTo>
                  <a:cubicBezTo>
                    <a:pt x="285" y="288"/>
                    <a:pt x="285" y="287"/>
                    <a:pt x="285" y="287"/>
                  </a:cubicBezTo>
                  <a:cubicBezTo>
                    <a:pt x="285" y="286"/>
                    <a:pt x="287" y="285"/>
                    <a:pt x="287" y="285"/>
                  </a:cubicBezTo>
                  <a:cubicBezTo>
                    <a:pt x="288" y="283"/>
                    <a:pt x="287" y="281"/>
                    <a:pt x="288" y="279"/>
                  </a:cubicBezTo>
                  <a:cubicBezTo>
                    <a:pt x="289" y="278"/>
                    <a:pt x="292" y="276"/>
                    <a:pt x="293" y="275"/>
                  </a:cubicBezTo>
                  <a:cubicBezTo>
                    <a:pt x="293" y="274"/>
                    <a:pt x="292" y="273"/>
                    <a:pt x="293" y="272"/>
                  </a:cubicBezTo>
                  <a:cubicBezTo>
                    <a:pt x="293" y="271"/>
                    <a:pt x="294" y="272"/>
                    <a:pt x="295" y="271"/>
                  </a:cubicBezTo>
                  <a:cubicBezTo>
                    <a:pt x="295" y="271"/>
                    <a:pt x="294" y="270"/>
                    <a:pt x="295" y="269"/>
                  </a:cubicBezTo>
                  <a:cubicBezTo>
                    <a:pt x="295" y="267"/>
                    <a:pt x="299" y="266"/>
                    <a:pt x="300" y="264"/>
                  </a:cubicBezTo>
                  <a:cubicBezTo>
                    <a:pt x="301" y="261"/>
                    <a:pt x="300" y="256"/>
                    <a:pt x="301" y="253"/>
                  </a:cubicBezTo>
                  <a:cubicBezTo>
                    <a:pt x="301" y="251"/>
                    <a:pt x="304" y="249"/>
                    <a:pt x="306" y="247"/>
                  </a:cubicBezTo>
                  <a:cubicBezTo>
                    <a:pt x="304" y="245"/>
                    <a:pt x="302" y="240"/>
                    <a:pt x="305" y="236"/>
                  </a:cubicBezTo>
                  <a:cubicBezTo>
                    <a:pt x="305" y="236"/>
                    <a:pt x="306" y="235"/>
                    <a:pt x="307" y="235"/>
                  </a:cubicBezTo>
                  <a:cubicBezTo>
                    <a:pt x="307" y="234"/>
                    <a:pt x="307" y="229"/>
                    <a:pt x="307" y="229"/>
                  </a:cubicBezTo>
                  <a:cubicBezTo>
                    <a:pt x="307" y="227"/>
                    <a:pt x="308" y="225"/>
                    <a:pt x="308" y="223"/>
                  </a:cubicBezTo>
                  <a:cubicBezTo>
                    <a:pt x="307" y="219"/>
                    <a:pt x="307" y="219"/>
                    <a:pt x="307" y="219"/>
                  </a:cubicBezTo>
                  <a:cubicBezTo>
                    <a:pt x="306" y="214"/>
                    <a:pt x="306" y="210"/>
                    <a:pt x="307" y="205"/>
                  </a:cubicBezTo>
                  <a:cubicBezTo>
                    <a:pt x="305" y="205"/>
                    <a:pt x="305" y="205"/>
                    <a:pt x="304" y="204"/>
                  </a:cubicBezTo>
                  <a:cubicBezTo>
                    <a:pt x="304" y="203"/>
                    <a:pt x="306" y="202"/>
                    <a:pt x="307" y="201"/>
                  </a:cubicBezTo>
                  <a:cubicBezTo>
                    <a:pt x="307" y="199"/>
                    <a:pt x="306" y="199"/>
                    <a:pt x="307" y="196"/>
                  </a:cubicBezTo>
                  <a:cubicBezTo>
                    <a:pt x="308" y="195"/>
                    <a:pt x="309" y="195"/>
                    <a:pt x="310" y="193"/>
                  </a:cubicBezTo>
                  <a:cubicBezTo>
                    <a:pt x="310" y="193"/>
                    <a:pt x="310" y="188"/>
                    <a:pt x="310" y="188"/>
                  </a:cubicBezTo>
                  <a:cubicBezTo>
                    <a:pt x="314" y="190"/>
                    <a:pt x="313" y="188"/>
                    <a:pt x="315" y="192"/>
                  </a:cubicBezTo>
                  <a:cubicBezTo>
                    <a:pt x="316" y="191"/>
                    <a:pt x="318" y="188"/>
                    <a:pt x="318" y="187"/>
                  </a:cubicBezTo>
                  <a:cubicBezTo>
                    <a:pt x="318" y="187"/>
                    <a:pt x="318" y="186"/>
                    <a:pt x="318" y="185"/>
                  </a:cubicBezTo>
                  <a:cubicBezTo>
                    <a:pt x="318" y="185"/>
                    <a:pt x="320" y="185"/>
                    <a:pt x="320" y="184"/>
                  </a:cubicBezTo>
                  <a:cubicBezTo>
                    <a:pt x="321" y="182"/>
                    <a:pt x="320" y="181"/>
                    <a:pt x="321" y="179"/>
                  </a:cubicBezTo>
                  <a:cubicBezTo>
                    <a:pt x="321" y="177"/>
                    <a:pt x="323" y="176"/>
                    <a:pt x="324" y="174"/>
                  </a:cubicBezTo>
                  <a:cubicBezTo>
                    <a:pt x="325" y="173"/>
                    <a:pt x="324" y="171"/>
                    <a:pt x="325" y="170"/>
                  </a:cubicBezTo>
                  <a:cubicBezTo>
                    <a:pt x="325" y="169"/>
                    <a:pt x="331" y="164"/>
                    <a:pt x="331" y="164"/>
                  </a:cubicBezTo>
                  <a:cubicBezTo>
                    <a:pt x="332" y="164"/>
                    <a:pt x="333" y="164"/>
                    <a:pt x="334" y="164"/>
                  </a:cubicBezTo>
                  <a:cubicBezTo>
                    <a:pt x="335" y="163"/>
                    <a:pt x="335" y="162"/>
                    <a:pt x="336" y="161"/>
                  </a:cubicBezTo>
                  <a:cubicBezTo>
                    <a:pt x="337" y="160"/>
                    <a:pt x="338" y="159"/>
                    <a:pt x="339" y="158"/>
                  </a:cubicBezTo>
                  <a:cubicBezTo>
                    <a:pt x="339" y="158"/>
                    <a:pt x="339" y="157"/>
                    <a:pt x="339" y="156"/>
                  </a:cubicBezTo>
                  <a:cubicBezTo>
                    <a:pt x="339" y="156"/>
                    <a:pt x="341" y="155"/>
                    <a:pt x="341" y="154"/>
                  </a:cubicBezTo>
                  <a:cubicBezTo>
                    <a:pt x="343" y="151"/>
                    <a:pt x="343" y="149"/>
                    <a:pt x="344" y="145"/>
                  </a:cubicBezTo>
                  <a:cubicBezTo>
                    <a:pt x="346" y="144"/>
                    <a:pt x="346" y="144"/>
                    <a:pt x="346" y="144"/>
                  </a:cubicBezTo>
                  <a:cubicBezTo>
                    <a:pt x="346" y="141"/>
                    <a:pt x="345" y="140"/>
                    <a:pt x="345" y="138"/>
                  </a:cubicBezTo>
                  <a:cubicBezTo>
                    <a:pt x="345" y="137"/>
                    <a:pt x="346" y="134"/>
                    <a:pt x="346" y="132"/>
                  </a:cubicBezTo>
                  <a:cubicBezTo>
                    <a:pt x="344" y="130"/>
                    <a:pt x="344" y="130"/>
                    <a:pt x="344" y="130"/>
                  </a:cubicBezTo>
                  <a:cubicBezTo>
                    <a:pt x="343" y="129"/>
                    <a:pt x="345" y="126"/>
                    <a:pt x="344" y="123"/>
                  </a:cubicBezTo>
                  <a:cubicBezTo>
                    <a:pt x="344" y="121"/>
                    <a:pt x="342" y="121"/>
                    <a:pt x="341" y="120"/>
                  </a:cubicBezTo>
                  <a:cubicBezTo>
                    <a:pt x="341" y="119"/>
                    <a:pt x="341" y="118"/>
                    <a:pt x="341" y="118"/>
                  </a:cubicBezTo>
                  <a:cubicBezTo>
                    <a:pt x="341" y="117"/>
                    <a:pt x="340" y="117"/>
                    <a:pt x="340" y="117"/>
                  </a:cubicBezTo>
                  <a:cubicBezTo>
                    <a:pt x="338" y="113"/>
                    <a:pt x="338" y="108"/>
                    <a:pt x="334" y="108"/>
                  </a:cubicBezTo>
                  <a:cubicBezTo>
                    <a:pt x="332" y="107"/>
                    <a:pt x="330" y="109"/>
                    <a:pt x="330" y="109"/>
                  </a:cubicBezTo>
                  <a:cubicBezTo>
                    <a:pt x="330" y="109"/>
                    <a:pt x="330" y="107"/>
                    <a:pt x="330" y="107"/>
                  </a:cubicBezTo>
                  <a:cubicBezTo>
                    <a:pt x="329" y="107"/>
                    <a:pt x="329" y="106"/>
                    <a:pt x="329" y="106"/>
                  </a:cubicBezTo>
                  <a:cubicBezTo>
                    <a:pt x="326" y="105"/>
                    <a:pt x="325" y="107"/>
                    <a:pt x="323" y="108"/>
                  </a:cubicBezTo>
                  <a:cubicBezTo>
                    <a:pt x="323" y="107"/>
                    <a:pt x="324" y="106"/>
                    <a:pt x="324" y="106"/>
                  </a:cubicBezTo>
                  <a:cubicBezTo>
                    <a:pt x="323" y="105"/>
                    <a:pt x="322" y="105"/>
                    <a:pt x="321" y="104"/>
                  </a:cubicBezTo>
                  <a:cubicBezTo>
                    <a:pt x="321" y="104"/>
                    <a:pt x="321" y="103"/>
                    <a:pt x="321" y="102"/>
                  </a:cubicBezTo>
                  <a:cubicBezTo>
                    <a:pt x="317" y="98"/>
                    <a:pt x="317" y="98"/>
                    <a:pt x="317" y="98"/>
                  </a:cubicBezTo>
                  <a:cubicBezTo>
                    <a:pt x="317" y="97"/>
                    <a:pt x="316" y="98"/>
                    <a:pt x="316" y="98"/>
                  </a:cubicBezTo>
                  <a:cubicBezTo>
                    <a:pt x="313" y="96"/>
                    <a:pt x="310" y="92"/>
                    <a:pt x="307" y="90"/>
                  </a:cubicBezTo>
                  <a:cubicBezTo>
                    <a:pt x="305" y="89"/>
                    <a:pt x="304" y="89"/>
                    <a:pt x="302" y="88"/>
                  </a:cubicBezTo>
                  <a:cubicBezTo>
                    <a:pt x="301" y="88"/>
                    <a:pt x="300" y="86"/>
                    <a:pt x="299" y="86"/>
                  </a:cubicBezTo>
                  <a:cubicBezTo>
                    <a:pt x="295" y="85"/>
                    <a:pt x="294" y="86"/>
                    <a:pt x="290" y="86"/>
                  </a:cubicBezTo>
                  <a:cubicBezTo>
                    <a:pt x="283" y="85"/>
                    <a:pt x="284" y="82"/>
                    <a:pt x="279" y="84"/>
                  </a:cubicBezTo>
                  <a:cubicBezTo>
                    <a:pt x="278" y="83"/>
                    <a:pt x="276" y="80"/>
                    <a:pt x="275" y="80"/>
                  </a:cubicBezTo>
                  <a:cubicBezTo>
                    <a:pt x="273" y="79"/>
                    <a:pt x="272" y="80"/>
                    <a:pt x="271" y="80"/>
                  </a:cubicBezTo>
                  <a:cubicBezTo>
                    <a:pt x="271" y="80"/>
                    <a:pt x="270" y="80"/>
                    <a:pt x="269" y="80"/>
                  </a:cubicBezTo>
                  <a:cubicBezTo>
                    <a:pt x="267" y="82"/>
                    <a:pt x="267" y="86"/>
                    <a:pt x="263" y="86"/>
                  </a:cubicBezTo>
                  <a:cubicBezTo>
                    <a:pt x="261" y="85"/>
                    <a:pt x="262" y="82"/>
                    <a:pt x="263" y="80"/>
                  </a:cubicBezTo>
                  <a:cubicBezTo>
                    <a:pt x="263" y="80"/>
                    <a:pt x="260" y="80"/>
                    <a:pt x="260" y="80"/>
                  </a:cubicBezTo>
                  <a:cubicBezTo>
                    <a:pt x="260" y="79"/>
                    <a:pt x="261" y="78"/>
                    <a:pt x="261" y="78"/>
                  </a:cubicBezTo>
                  <a:cubicBezTo>
                    <a:pt x="262" y="76"/>
                    <a:pt x="261" y="76"/>
                    <a:pt x="261" y="75"/>
                  </a:cubicBezTo>
                  <a:cubicBezTo>
                    <a:pt x="259" y="75"/>
                    <a:pt x="260" y="76"/>
                    <a:pt x="259" y="74"/>
                  </a:cubicBezTo>
                  <a:cubicBezTo>
                    <a:pt x="258" y="74"/>
                    <a:pt x="258" y="74"/>
                    <a:pt x="258" y="74"/>
                  </a:cubicBezTo>
                  <a:cubicBezTo>
                    <a:pt x="258" y="74"/>
                    <a:pt x="258" y="73"/>
                    <a:pt x="259" y="72"/>
                  </a:cubicBezTo>
                  <a:cubicBezTo>
                    <a:pt x="258" y="71"/>
                    <a:pt x="258" y="71"/>
                    <a:pt x="257" y="70"/>
                  </a:cubicBezTo>
                  <a:cubicBezTo>
                    <a:pt x="256" y="70"/>
                    <a:pt x="255" y="69"/>
                    <a:pt x="254" y="70"/>
                  </a:cubicBezTo>
                  <a:cubicBezTo>
                    <a:pt x="254" y="70"/>
                    <a:pt x="253" y="72"/>
                    <a:pt x="252" y="72"/>
                  </a:cubicBezTo>
                  <a:cubicBezTo>
                    <a:pt x="252" y="71"/>
                    <a:pt x="253" y="70"/>
                    <a:pt x="253" y="68"/>
                  </a:cubicBezTo>
                  <a:cubicBezTo>
                    <a:pt x="251" y="68"/>
                    <a:pt x="251" y="67"/>
                    <a:pt x="248" y="66"/>
                  </a:cubicBezTo>
                  <a:cubicBezTo>
                    <a:pt x="248" y="66"/>
                    <a:pt x="248" y="64"/>
                    <a:pt x="248" y="64"/>
                  </a:cubicBezTo>
                  <a:cubicBezTo>
                    <a:pt x="247" y="64"/>
                    <a:pt x="247" y="66"/>
                    <a:pt x="245" y="65"/>
                  </a:cubicBezTo>
                  <a:cubicBezTo>
                    <a:pt x="244" y="65"/>
                    <a:pt x="242" y="62"/>
                    <a:pt x="241" y="61"/>
                  </a:cubicBezTo>
                  <a:cubicBezTo>
                    <a:pt x="239" y="60"/>
                    <a:pt x="239" y="60"/>
                    <a:pt x="239" y="60"/>
                  </a:cubicBezTo>
                  <a:cubicBezTo>
                    <a:pt x="232" y="58"/>
                    <a:pt x="230" y="63"/>
                    <a:pt x="226" y="65"/>
                  </a:cubicBezTo>
                  <a:cubicBezTo>
                    <a:pt x="227" y="66"/>
                    <a:pt x="228" y="67"/>
                    <a:pt x="228" y="68"/>
                  </a:cubicBezTo>
                  <a:cubicBezTo>
                    <a:pt x="227" y="69"/>
                    <a:pt x="226" y="68"/>
                    <a:pt x="225" y="68"/>
                  </a:cubicBezTo>
                  <a:cubicBezTo>
                    <a:pt x="221" y="72"/>
                    <a:pt x="221" y="72"/>
                    <a:pt x="221" y="72"/>
                  </a:cubicBezTo>
                  <a:cubicBezTo>
                    <a:pt x="224" y="72"/>
                    <a:pt x="217" y="75"/>
                    <a:pt x="220" y="72"/>
                  </a:cubicBezTo>
                  <a:cubicBezTo>
                    <a:pt x="216" y="72"/>
                    <a:pt x="214" y="72"/>
                    <a:pt x="210" y="74"/>
                  </a:cubicBezTo>
                  <a:cubicBezTo>
                    <a:pt x="208" y="72"/>
                    <a:pt x="208" y="71"/>
                    <a:pt x="207" y="70"/>
                  </a:cubicBezTo>
                  <a:cubicBezTo>
                    <a:pt x="211" y="73"/>
                    <a:pt x="209" y="72"/>
                    <a:pt x="214" y="71"/>
                  </a:cubicBezTo>
                  <a:cubicBezTo>
                    <a:pt x="214" y="71"/>
                    <a:pt x="218" y="72"/>
                    <a:pt x="219" y="72"/>
                  </a:cubicBezTo>
                  <a:cubicBezTo>
                    <a:pt x="219" y="72"/>
                    <a:pt x="219" y="71"/>
                    <a:pt x="219" y="70"/>
                  </a:cubicBezTo>
                  <a:cubicBezTo>
                    <a:pt x="221" y="70"/>
                    <a:pt x="221" y="70"/>
                    <a:pt x="222" y="70"/>
                  </a:cubicBezTo>
                  <a:cubicBezTo>
                    <a:pt x="222" y="68"/>
                    <a:pt x="222" y="68"/>
                    <a:pt x="222" y="68"/>
                  </a:cubicBezTo>
                  <a:cubicBezTo>
                    <a:pt x="222" y="68"/>
                    <a:pt x="224" y="68"/>
                    <a:pt x="224" y="68"/>
                  </a:cubicBezTo>
                  <a:cubicBezTo>
                    <a:pt x="225" y="67"/>
                    <a:pt x="224" y="66"/>
                    <a:pt x="225" y="64"/>
                  </a:cubicBezTo>
                  <a:cubicBezTo>
                    <a:pt x="226" y="64"/>
                    <a:pt x="226" y="64"/>
                    <a:pt x="226" y="64"/>
                  </a:cubicBezTo>
                  <a:cubicBezTo>
                    <a:pt x="227" y="62"/>
                    <a:pt x="226" y="60"/>
                    <a:pt x="225" y="58"/>
                  </a:cubicBezTo>
                  <a:cubicBezTo>
                    <a:pt x="227" y="58"/>
                    <a:pt x="225" y="55"/>
                    <a:pt x="225" y="55"/>
                  </a:cubicBezTo>
                  <a:cubicBezTo>
                    <a:pt x="225" y="55"/>
                    <a:pt x="225" y="55"/>
                    <a:pt x="225" y="55"/>
                  </a:cubicBezTo>
                  <a:cubicBezTo>
                    <a:pt x="223" y="55"/>
                    <a:pt x="222" y="55"/>
                    <a:pt x="219" y="55"/>
                  </a:cubicBezTo>
                  <a:cubicBezTo>
                    <a:pt x="220" y="55"/>
                    <a:pt x="220" y="51"/>
                    <a:pt x="219" y="51"/>
                  </a:cubicBezTo>
                  <a:cubicBezTo>
                    <a:pt x="214" y="50"/>
                    <a:pt x="214" y="54"/>
                    <a:pt x="212" y="55"/>
                  </a:cubicBezTo>
                  <a:cubicBezTo>
                    <a:pt x="211" y="56"/>
                    <a:pt x="209" y="56"/>
                    <a:pt x="209" y="57"/>
                  </a:cubicBezTo>
                  <a:cubicBezTo>
                    <a:pt x="208" y="57"/>
                    <a:pt x="209" y="59"/>
                    <a:pt x="208" y="60"/>
                  </a:cubicBezTo>
                  <a:cubicBezTo>
                    <a:pt x="208" y="60"/>
                    <a:pt x="206" y="60"/>
                    <a:pt x="206" y="61"/>
                  </a:cubicBezTo>
                  <a:cubicBezTo>
                    <a:pt x="205" y="64"/>
                    <a:pt x="206" y="66"/>
                    <a:pt x="206" y="68"/>
                  </a:cubicBezTo>
                  <a:cubicBezTo>
                    <a:pt x="205" y="67"/>
                    <a:pt x="205" y="67"/>
                    <a:pt x="205" y="67"/>
                  </a:cubicBezTo>
                  <a:cubicBezTo>
                    <a:pt x="203" y="62"/>
                    <a:pt x="203" y="65"/>
                    <a:pt x="201" y="66"/>
                  </a:cubicBezTo>
                  <a:cubicBezTo>
                    <a:pt x="200" y="67"/>
                    <a:pt x="199" y="67"/>
                    <a:pt x="199" y="67"/>
                  </a:cubicBezTo>
                  <a:cubicBezTo>
                    <a:pt x="198" y="68"/>
                    <a:pt x="200" y="72"/>
                    <a:pt x="199" y="75"/>
                  </a:cubicBezTo>
                  <a:cubicBezTo>
                    <a:pt x="199" y="76"/>
                    <a:pt x="197" y="77"/>
                    <a:pt x="197" y="78"/>
                  </a:cubicBezTo>
                  <a:cubicBezTo>
                    <a:pt x="196" y="80"/>
                    <a:pt x="198" y="75"/>
                    <a:pt x="198" y="75"/>
                  </a:cubicBezTo>
                  <a:cubicBezTo>
                    <a:pt x="198" y="73"/>
                    <a:pt x="197" y="69"/>
                    <a:pt x="197" y="68"/>
                  </a:cubicBezTo>
                  <a:cubicBezTo>
                    <a:pt x="197" y="68"/>
                    <a:pt x="197" y="66"/>
                    <a:pt x="197" y="66"/>
                  </a:cubicBezTo>
                  <a:cubicBezTo>
                    <a:pt x="196" y="66"/>
                    <a:pt x="195" y="65"/>
                    <a:pt x="194" y="66"/>
                  </a:cubicBezTo>
                  <a:cubicBezTo>
                    <a:pt x="192" y="66"/>
                    <a:pt x="190" y="69"/>
                    <a:pt x="188" y="69"/>
                  </a:cubicBezTo>
                  <a:cubicBezTo>
                    <a:pt x="186" y="70"/>
                    <a:pt x="185" y="69"/>
                    <a:pt x="183" y="70"/>
                  </a:cubicBezTo>
                  <a:cubicBezTo>
                    <a:pt x="186" y="69"/>
                    <a:pt x="190" y="66"/>
                    <a:pt x="193" y="65"/>
                  </a:cubicBezTo>
                  <a:cubicBezTo>
                    <a:pt x="193" y="65"/>
                    <a:pt x="195" y="66"/>
                    <a:pt x="196" y="65"/>
                  </a:cubicBezTo>
                  <a:cubicBezTo>
                    <a:pt x="197" y="64"/>
                    <a:pt x="196" y="61"/>
                    <a:pt x="197" y="60"/>
                  </a:cubicBezTo>
                  <a:cubicBezTo>
                    <a:pt x="197" y="59"/>
                    <a:pt x="200" y="57"/>
                    <a:pt x="200" y="55"/>
                  </a:cubicBezTo>
                  <a:cubicBezTo>
                    <a:pt x="200" y="55"/>
                    <a:pt x="200" y="54"/>
                    <a:pt x="200" y="53"/>
                  </a:cubicBezTo>
                  <a:cubicBezTo>
                    <a:pt x="201" y="52"/>
                    <a:pt x="203" y="51"/>
                    <a:pt x="204" y="51"/>
                  </a:cubicBezTo>
                  <a:cubicBezTo>
                    <a:pt x="205" y="50"/>
                    <a:pt x="205" y="47"/>
                    <a:pt x="206" y="47"/>
                  </a:cubicBezTo>
                  <a:cubicBezTo>
                    <a:pt x="207" y="47"/>
                    <a:pt x="207" y="49"/>
                    <a:pt x="206" y="49"/>
                  </a:cubicBezTo>
                  <a:cubicBezTo>
                    <a:pt x="206" y="50"/>
                    <a:pt x="206" y="51"/>
                    <a:pt x="207" y="53"/>
                  </a:cubicBezTo>
                  <a:cubicBezTo>
                    <a:pt x="208" y="52"/>
                    <a:pt x="213" y="54"/>
                    <a:pt x="212" y="51"/>
                  </a:cubicBezTo>
                  <a:cubicBezTo>
                    <a:pt x="212" y="50"/>
                    <a:pt x="212" y="50"/>
                    <a:pt x="211" y="50"/>
                  </a:cubicBezTo>
                  <a:cubicBezTo>
                    <a:pt x="211" y="49"/>
                    <a:pt x="211" y="47"/>
                    <a:pt x="211" y="47"/>
                  </a:cubicBezTo>
                  <a:cubicBezTo>
                    <a:pt x="213" y="47"/>
                    <a:pt x="213" y="47"/>
                    <a:pt x="213" y="47"/>
                  </a:cubicBezTo>
                  <a:cubicBezTo>
                    <a:pt x="213" y="45"/>
                    <a:pt x="214" y="43"/>
                    <a:pt x="214" y="41"/>
                  </a:cubicBezTo>
                  <a:cubicBezTo>
                    <a:pt x="213" y="42"/>
                    <a:pt x="212" y="41"/>
                    <a:pt x="212" y="41"/>
                  </a:cubicBezTo>
                  <a:cubicBezTo>
                    <a:pt x="211" y="41"/>
                    <a:pt x="210" y="43"/>
                    <a:pt x="210" y="43"/>
                  </a:cubicBezTo>
                  <a:cubicBezTo>
                    <a:pt x="210" y="44"/>
                    <a:pt x="211" y="44"/>
                    <a:pt x="210" y="45"/>
                  </a:cubicBezTo>
                  <a:cubicBezTo>
                    <a:pt x="210" y="45"/>
                    <a:pt x="208" y="45"/>
                    <a:pt x="208" y="45"/>
                  </a:cubicBezTo>
                  <a:cubicBezTo>
                    <a:pt x="210" y="41"/>
                    <a:pt x="212" y="41"/>
                    <a:pt x="208" y="38"/>
                  </a:cubicBezTo>
                  <a:cubicBezTo>
                    <a:pt x="213" y="36"/>
                    <a:pt x="211" y="37"/>
                    <a:pt x="213" y="32"/>
                  </a:cubicBezTo>
                  <a:cubicBezTo>
                    <a:pt x="211" y="32"/>
                    <a:pt x="209" y="32"/>
                    <a:pt x="207" y="32"/>
                  </a:cubicBezTo>
                  <a:cubicBezTo>
                    <a:pt x="207" y="30"/>
                    <a:pt x="208" y="27"/>
                    <a:pt x="207" y="25"/>
                  </a:cubicBezTo>
                  <a:cubicBezTo>
                    <a:pt x="207" y="24"/>
                    <a:pt x="205" y="23"/>
                    <a:pt x="205" y="23"/>
                  </a:cubicBezTo>
                  <a:cubicBezTo>
                    <a:pt x="204" y="20"/>
                    <a:pt x="206" y="19"/>
                    <a:pt x="205" y="16"/>
                  </a:cubicBezTo>
                  <a:cubicBezTo>
                    <a:pt x="204" y="14"/>
                    <a:pt x="202" y="12"/>
                    <a:pt x="202" y="10"/>
                  </a:cubicBezTo>
                  <a:cubicBezTo>
                    <a:pt x="201" y="9"/>
                    <a:pt x="202" y="8"/>
                    <a:pt x="202" y="7"/>
                  </a:cubicBezTo>
                  <a:cubicBezTo>
                    <a:pt x="201" y="7"/>
                    <a:pt x="199" y="7"/>
                    <a:pt x="199" y="6"/>
                  </a:cubicBezTo>
                  <a:cubicBezTo>
                    <a:pt x="195" y="13"/>
                    <a:pt x="195" y="13"/>
                    <a:pt x="195" y="13"/>
                  </a:cubicBezTo>
                  <a:cubicBezTo>
                    <a:pt x="194" y="19"/>
                    <a:pt x="194" y="19"/>
                    <a:pt x="194" y="19"/>
                  </a:cubicBezTo>
                  <a:cubicBezTo>
                    <a:pt x="194" y="19"/>
                    <a:pt x="193" y="27"/>
                    <a:pt x="192" y="28"/>
                  </a:cubicBezTo>
                  <a:cubicBezTo>
                    <a:pt x="192" y="30"/>
                    <a:pt x="187" y="36"/>
                    <a:pt x="187" y="36"/>
                  </a:cubicBezTo>
                  <a:cubicBezTo>
                    <a:pt x="184" y="33"/>
                    <a:pt x="184" y="33"/>
                    <a:pt x="184" y="33"/>
                  </a:cubicBezTo>
                  <a:cubicBezTo>
                    <a:pt x="179" y="34"/>
                    <a:pt x="179" y="34"/>
                    <a:pt x="179" y="34"/>
                  </a:cubicBezTo>
                  <a:cubicBezTo>
                    <a:pt x="179" y="34"/>
                    <a:pt x="176" y="37"/>
                    <a:pt x="174" y="36"/>
                  </a:cubicBezTo>
                  <a:cubicBezTo>
                    <a:pt x="172" y="34"/>
                    <a:pt x="171" y="31"/>
                    <a:pt x="171" y="31"/>
                  </a:cubicBezTo>
                  <a:cubicBezTo>
                    <a:pt x="167" y="31"/>
                    <a:pt x="167" y="31"/>
                    <a:pt x="167" y="31"/>
                  </a:cubicBezTo>
                  <a:cubicBezTo>
                    <a:pt x="166" y="29"/>
                    <a:pt x="166" y="29"/>
                    <a:pt x="166" y="29"/>
                  </a:cubicBezTo>
                  <a:cubicBezTo>
                    <a:pt x="163" y="30"/>
                    <a:pt x="163" y="30"/>
                    <a:pt x="163" y="30"/>
                  </a:cubicBezTo>
                  <a:cubicBezTo>
                    <a:pt x="157" y="28"/>
                    <a:pt x="157" y="28"/>
                    <a:pt x="157" y="28"/>
                  </a:cubicBezTo>
                  <a:cubicBezTo>
                    <a:pt x="156" y="33"/>
                    <a:pt x="156" y="33"/>
                    <a:pt x="156" y="33"/>
                  </a:cubicBezTo>
                  <a:cubicBezTo>
                    <a:pt x="159" y="35"/>
                    <a:pt x="159" y="35"/>
                    <a:pt x="159" y="35"/>
                  </a:cubicBezTo>
                  <a:cubicBezTo>
                    <a:pt x="157" y="39"/>
                    <a:pt x="157" y="39"/>
                    <a:pt x="157" y="39"/>
                  </a:cubicBezTo>
                  <a:cubicBezTo>
                    <a:pt x="151" y="37"/>
                    <a:pt x="151" y="37"/>
                    <a:pt x="151" y="37"/>
                  </a:cubicBezTo>
                  <a:cubicBezTo>
                    <a:pt x="147" y="38"/>
                    <a:pt x="147" y="38"/>
                    <a:pt x="147" y="38"/>
                  </a:cubicBezTo>
                  <a:cubicBezTo>
                    <a:pt x="147" y="38"/>
                    <a:pt x="145" y="39"/>
                    <a:pt x="143" y="37"/>
                  </a:cubicBezTo>
                  <a:cubicBezTo>
                    <a:pt x="140" y="36"/>
                    <a:pt x="141" y="39"/>
                    <a:pt x="139" y="39"/>
                  </a:cubicBezTo>
                  <a:cubicBezTo>
                    <a:pt x="137" y="39"/>
                    <a:pt x="138" y="43"/>
                    <a:pt x="137" y="42"/>
                  </a:cubicBezTo>
                  <a:cubicBezTo>
                    <a:pt x="135" y="41"/>
                    <a:pt x="134" y="45"/>
                    <a:pt x="133" y="45"/>
                  </a:cubicBezTo>
                  <a:cubicBezTo>
                    <a:pt x="131" y="45"/>
                    <a:pt x="129" y="44"/>
                    <a:pt x="129" y="42"/>
                  </a:cubicBezTo>
                  <a:cubicBezTo>
                    <a:pt x="129" y="41"/>
                    <a:pt x="126" y="40"/>
                    <a:pt x="125" y="39"/>
                  </a:cubicBezTo>
                  <a:cubicBezTo>
                    <a:pt x="124" y="37"/>
                    <a:pt x="122" y="36"/>
                    <a:pt x="123" y="33"/>
                  </a:cubicBezTo>
                  <a:cubicBezTo>
                    <a:pt x="124" y="30"/>
                    <a:pt x="123" y="20"/>
                    <a:pt x="123" y="20"/>
                  </a:cubicBezTo>
                  <a:cubicBezTo>
                    <a:pt x="123" y="20"/>
                    <a:pt x="126" y="18"/>
                    <a:pt x="128" y="16"/>
                  </a:cubicBezTo>
                  <a:cubicBezTo>
                    <a:pt x="130" y="15"/>
                    <a:pt x="129" y="14"/>
                    <a:pt x="128" y="12"/>
                  </a:cubicBezTo>
                  <a:cubicBezTo>
                    <a:pt x="127" y="11"/>
                    <a:pt x="129" y="9"/>
                    <a:pt x="128" y="9"/>
                  </a:cubicBezTo>
                  <a:cubicBezTo>
                    <a:pt x="127" y="8"/>
                    <a:pt x="123" y="7"/>
                    <a:pt x="123" y="7"/>
                  </a:cubicBezTo>
                  <a:cubicBezTo>
                    <a:pt x="126" y="4"/>
                    <a:pt x="126" y="4"/>
                    <a:pt x="126" y="4"/>
                  </a:cubicBezTo>
                  <a:cubicBezTo>
                    <a:pt x="126" y="4"/>
                    <a:pt x="126" y="1"/>
                    <a:pt x="124" y="1"/>
                  </a:cubicBezTo>
                  <a:cubicBezTo>
                    <a:pt x="122" y="2"/>
                    <a:pt x="118" y="0"/>
                    <a:pt x="118" y="0"/>
                  </a:cubicBezTo>
                  <a:cubicBezTo>
                    <a:pt x="118" y="3"/>
                    <a:pt x="118" y="3"/>
                    <a:pt x="118" y="3"/>
                  </a:cubicBezTo>
                  <a:cubicBezTo>
                    <a:pt x="117" y="6"/>
                    <a:pt x="117" y="6"/>
                    <a:pt x="117" y="6"/>
                  </a:cubicBezTo>
                  <a:cubicBezTo>
                    <a:pt x="117" y="6"/>
                    <a:pt x="114" y="6"/>
                    <a:pt x="113" y="6"/>
                  </a:cubicBezTo>
                  <a:cubicBezTo>
                    <a:pt x="111" y="6"/>
                    <a:pt x="111" y="10"/>
                    <a:pt x="109" y="10"/>
                  </a:cubicBezTo>
                  <a:cubicBezTo>
                    <a:pt x="107" y="10"/>
                    <a:pt x="107" y="12"/>
                    <a:pt x="105" y="12"/>
                  </a:cubicBezTo>
                  <a:cubicBezTo>
                    <a:pt x="103" y="12"/>
                    <a:pt x="100" y="12"/>
                    <a:pt x="100" y="12"/>
                  </a:cubicBezTo>
                  <a:cubicBezTo>
                    <a:pt x="100" y="12"/>
                    <a:pt x="98" y="11"/>
                    <a:pt x="97" y="13"/>
                  </a:cubicBezTo>
                  <a:cubicBezTo>
                    <a:pt x="96" y="15"/>
                    <a:pt x="98" y="16"/>
                    <a:pt x="98" y="16"/>
                  </a:cubicBezTo>
                  <a:cubicBezTo>
                    <a:pt x="98" y="16"/>
                    <a:pt x="94" y="16"/>
                    <a:pt x="93" y="14"/>
                  </a:cubicBezTo>
                  <a:cubicBezTo>
                    <a:pt x="92" y="13"/>
                    <a:pt x="87" y="13"/>
                    <a:pt x="87" y="13"/>
                  </a:cubicBezTo>
                  <a:cubicBezTo>
                    <a:pt x="87" y="13"/>
                    <a:pt x="85" y="11"/>
                    <a:pt x="81" y="11"/>
                  </a:cubicBezTo>
                  <a:cubicBezTo>
                    <a:pt x="78" y="10"/>
                    <a:pt x="78" y="11"/>
                    <a:pt x="80" y="12"/>
                  </a:cubicBezTo>
                  <a:cubicBezTo>
                    <a:pt x="82" y="13"/>
                    <a:pt x="80" y="15"/>
                    <a:pt x="82" y="17"/>
                  </a:cubicBezTo>
                  <a:cubicBezTo>
                    <a:pt x="84" y="19"/>
                    <a:pt x="84" y="20"/>
                    <a:pt x="84" y="21"/>
                  </a:cubicBezTo>
                  <a:cubicBezTo>
                    <a:pt x="85" y="23"/>
                    <a:pt x="83" y="27"/>
                    <a:pt x="83" y="29"/>
                  </a:cubicBezTo>
                  <a:cubicBezTo>
                    <a:pt x="84" y="31"/>
                    <a:pt x="85" y="31"/>
                    <a:pt x="87" y="32"/>
                  </a:cubicBezTo>
                  <a:cubicBezTo>
                    <a:pt x="88" y="33"/>
                    <a:pt x="91" y="32"/>
                    <a:pt x="93" y="31"/>
                  </a:cubicBezTo>
                  <a:cubicBezTo>
                    <a:pt x="95" y="30"/>
                    <a:pt x="96" y="34"/>
                    <a:pt x="96" y="34"/>
                  </a:cubicBezTo>
                  <a:cubicBezTo>
                    <a:pt x="96" y="34"/>
                    <a:pt x="95" y="35"/>
                    <a:pt x="93" y="35"/>
                  </a:cubicBezTo>
                  <a:cubicBezTo>
                    <a:pt x="91" y="35"/>
                    <a:pt x="90" y="41"/>
                    <a:pt x="88" y="41"/>
                  </a:cubicBezTo>
                  <a:cubicBezTo>
                    <a:pt x="86" y="41"/>
                    <a:pt x="86" y="43"/>
                    <a:pt x="84" y="43"/>
                  </a:cubicBezTo>
                  <a:cubicBezTo>
                    <a:pt x="82" y="43"/>
                    <a:pt x="81" y="47"/>
                    <a:pt x="79" y="47"/>
                  </a:cubicBezTo>
                  <a:cubicBezTo>
                    <a:pt x="76" y="47"/>
                    <a:pt x="73" y="50"/>
                    <a:pt x="73" y="50"/>
                  </a:cubicBezTo>
                  <a:cubicBezTo>
                    <a:pt x="69" y="47"/>
                    <a:pt x="69" y="47"/>
                    <a:pt x="69" y="47"/>
                  </a:cubicBezTo>
                  <a:cubicBezTo>
                    <a:pt x="66" y="46"/>
                    <a:pt x="66" y="46"/>
                    <a:pt x="66" y="46"/>
                  </a:cubicBezTo>
                  <a:cubicBezTo>
                    <a:pt x="65" y="42"/>
                    <a:pt x="65" y="42"/>
                    <a:pt x="65" y="42"/>
                  </a:cubicBezTo>
                  <a:cubicBezTo>
                    <a:pt x="62" y="42"/>
                    <a:pt x="62" y="42"/>
                    <a:pt x="62" y="42"/>
                  </a:cubicBezTo>
                  <a:cubicBezTo>
                    <a:pt x="61" y="46"/>
                    <a:pt x="61" y="46"/>
                    <a:pt x="61" y="46"/>
                  </a:cubicBezTo>
                  <a:cubicBezTo>
                    <a:pt x="58" y="47"/>
                    <a:pt x="58" y="47"/>
                    <a:pt x="58" y="47"/>
                  </a:cubicBezTo>
                  <a:cubicBezTo>
                    <a:pt x="55" y="45"/>
                    <a:pt x="55" y="45"/>
                    <a:pt x="55" y="45"/>
                  </a:cubicBezTo>
                  <a:cubicBezTo>
                    <a:pt x="55" y="47"/>
                    <a:pt x="55" y="47"/>
                    <a:pt x="55" y="47"/>
                  </a:cubicBezTo>
                  <a:cubicBezTo>
                    <a:pt x="55" y="47"/>
                    <a:pt x="49" y="48"/>
                    <a:pt x="46" y="48"/>
                  </a:cubicBezTo>
                  <a:cubicBezTo>
                    <a:pt x="44" y="48"/>
                    <a:pt x="41" y="46"/>
                    <a:pt x="41" y="46"/>
                  </a:cubicBezTo>
                  <a:cubicBezTo>
                    <a:pt x="40" y="50"/>
                    <a:pt x="40" y="50"/>
                    <a:pt x="40" y="50"/>
                  </a:cubicBezTo>
                  <a:cubicBezTo>
                    <a:pt x="45" y="51"/>
                    <a:pt x="45" y="51"/>
                    <a:pt x="45" y="51"/>
                  </a:cubicBezTo>
                  <a:cubicBezTo>
                    <a:pt x="44" y="52"/>
                    <a:pt x="44" y="52"/>
                    <a:pt x="44" y="52"/>
                  </a:cubicBezTo>
                  <a:cubicBezTo>
                    <a:pt x="39" y="52"/>
                    <a:pt x="39" y="52"/>
                    <a:pt x="39" y="52"/>
                  </a:cubicBezTo>
                  <a:cubicBezTo>
                    <a:pt x="38" y="57"/>
                    <a:pt x="38" y="57"/>
                    <a:pt x="38" y="57"/>
                  </a:cubicBezTo>
                  <a:cubicBezTo>
                    <a:pt x="41" y="58"/>
                    <a:pt x="41" y="58"/>
                    <a:pt x="41" y="58"/>
                  </a:cubicBezTo>
                  <a:cubicBezTo>
                    <a:pt x="41" y="58"/>
                    <a:pt x="44" y="65"/>
                    <a:pt x="44" y="66"/>
                  </a:cubicBezTo>
                  <a:cubicBezTo>
                    <a:pt x="46" y="69"/>
                    <a:pt x="43" y="72"/>
                    <a:pt x="43" y="74"/>
                  </a:cubicBezTo>
                  <a:cubicBezTo>
                    <a:pt x="42" y="77"/>
                    <a:pt x="33" y="99"/>
                    <a:pt x="33" y="99"/>
                  </a:cubicBezTo>
                  <a:cubicBezTo>
                    <a:pt x="33" y="99"/>
                    <a:pt x="33" y="102"/>
                    <a:pt x="31" y="102"/>
                  </a:cubicBezTo>
                  <a:cubicBezTo>
                    <a:pt x="28" y="102"/>
                    <a:pt x="26" y="102"/>
                    <a:pt x="24" y="103"/>
                  </a:cubicBezTo>
                  <a:cubicBezTo>
                    <a:pt x="22" y="104"/>
                    <a:pt x="18" y="104"/>
                    <a:pt x="16" y="106"/>
                  </a:cubicBezTo>
                  <a:cubicBezTo>
                    <a:pt x="14" y="108"/>
                    <a:pt x="10" y="109"/>
                    <a:pt x="9" y="112"/>
                  </a:cubicBezTo>
                  <a:cubicBezTo>
                    <a:pt x="8" y="114"/>
                    <a:pt x="8" y="117"/>
                    <a:pt x="7" y="119"/>
                  </a:cubicBezTo>
                  <a:cubicBezTo>
                    <a:pt x="5" y="122"/>
                    <a:pt x="4" y="123"/>
                    <a:pt x="4" y="125"/>
                  </a:cubicBezTo>
                  <a:cubicBezTo>
                    <a:pt x="4" y="127"/>
                    <a:pt x="4" y="130"/>
                    <a:pt x="4" y="130"/>
                  </a:cubicBezTo>
                  <a:cubicBezTo>
                    <a:pt x="4" y="130"/>
                    <a:pt x="0" y="128"/>
                    <a:pt x="0" y="130"/>
                  </a:cubicBezTo>
                  <a:cubicBezTo>
                    <a:pt x="0" y="131"/>
                    <a:pt x="0" y="135"/>
                    <a:pt x="2" y="136"/>
                  </a:cubicBezTo>
                  <a:cubicBezTo>
                    <a:pt x="3" y="136"/>
                    <a:pt x="3" y="140"/>
                    <a:pt x="3" y="140"/>
                  </a:cubicBezTo>
                  <a:cubicBezTo>
                    <a:pt x="2" y="144"/>
                    <a:pt x="2" y="144"/>
                    <a:pt x="2" y="144"/>
                  </a:cubicBezTo>
                  <a:cubicBezTo>
                    <a:pt x="2" y="144"/>
                    <a:pt x="6" y="146"/>
                    <a:pt x="7" y="149"/>
                  </a:cubicBezTo>
                  <a:cubicBezTo>
                    <a:pt x="8" y="151"/>
                    <a:pt x="13" y="152"/>
                    <a:pt x="13" y="154"/>
                  </a:cubicBezTo>
                  <a:cubicBezTo>
                    <a:pt x="13" y="157"/>
                    <a:pt x="15" y="158"/>
                    <a:pt x="15" y="158"/>
                  </a:cubicBezTo>
                  <a:cubicBezTo>
                    <a:pt x="23" y="158"/>
                    <a:pt x="23" y="158"/>
                    <a:pt x="23" y="158"/>
                  </a:cubicBezTo>
                  <a:cubicBezTo>
                    <a:pt x="23" y="158"/>
                    <a:pt x="27" y="156"/>
                    <a:pt x="29" y="154"/>
                  </a:cubicBezTo>
                  <a:cubicBezTo>
                    <a:pt x="31" y="152"/>
                    <a:pt x="31" y="156"/>
                    <a:pt x="31" y="156"/>
                  </a:cubicBezTo>
                  <a:cubicBezTo>
                    <a:pt x="29" y="182"/>
                    <a:pt x="29" y="182"/>
                    <a:pt x="29" y="182"/>
                  </a:cubicBezTo>
                  <a:cubicBezTo>
                    <a:pt x="39" y="185"/>
                    <a:pt x="39" y="185"/>
                    <a:pt x="39" y="185"/>
                  </a:cubicBezTo>
                  <a:cubicBezTo>
                    <a:pt x="39" y="185"/>
                    <a:pt x="41" y="185"/>
                    <a:pt x="43" y="186"/>
                  </a:cubicBezTo>
                  <a:cubicBezTo>
                    <a:pt x="44" y="187"/>
                    <a:pt x="49" y="185"/>
                    <a:pt x="48" y="184"/>
                  </a:cubicBezTo>
                  <a:cubicBezTo>
                    <a:pt x="47" y="182"/>
                    <a:pt x="49" y="181"/>
                    <a:pt x="49" y="181"/>
                  </a:cubicBezTo>
                  <a:cubicBezTo>
                    <a:pt x="52" y="181"/>
                    <a:pt x="52" y="181"/>
                    <a:pt x="52" y="181"/>
                  </a:cubicBezTo>
                  <a:cubicBezTo>
                    <a:pt x="52" y="181"/>
                    <a:pt x="58" y="171"/>
                    <a:pt x="61" y="170"/>
                  </a:cubicBezTo>
                  <a:cubicBezTo>
                    <a:pt x="65" y="170"/>
                    <a:pt x="69" y="168"/>
                    <a:pt x="72" y="168"/>
                  </a:cubicBezTo>
                  <a:cubicBezTo>
                    <a:pt x="76" y="168"/>
                    <a:pt x="76" y="168"/>
                    <a:pt x="76" y="168"/>
                  </a:cubicBezTo>
                  <a:cubicBezTo>
                    <a:pt x="77" y="170"/>
                    <a:pt x="77" y="170"/>
                    <a:pt x="77" y="170"/>
                  </a:cubicBezTo>
                  <a:cubicBezTo>
                    <a:pt x="77" y="170"/>
                    <a:pt x="73" y="177"/>
                    <a:pt x="74" y="179"/>
                  </a:cubicBezTo>
                  <a:cubicBezTo>
                    <a:pt x="75" y="181"/>
                    <a:pt x="76" y="184"/>
                    <a:pt x="78" y="184"/>
                  </a:cubicBezTo>
                  <a:cubicBezTo>
                    <a:pt x="80" y="185"/>
                    <a:pt x="80" y="185"/>
                    <a:pt x="83" y="186"/>
                  </a:cubicBezTo>
                  <a:cubicBezTo>
                    <a:pt x="85" y="186"/>
                    <a:pt x="86" y="182"/>
                    <a:pt x="88" y="185"/>
                  </a:cubicBezTo>
                  <a:cubicBezTo>
                    <a:pt x="91" y="188"/>
                    <a:pt x="92" y="189"/>
                    <a:pt x="95" y="191"/>
                  </a:cubicBezTo>
                  <a:cubicBezTo>
                    <a:pt x="98" y="192"/>
                    <a:pt x="97" y="193"/>
                    <a:pt x="100" y="195"/>
                  </a:cubicBezTo>
                  <a:cubicBezTo>
                    <a:pt x="102" y="196"/>
                    <a:pt x="103" y="198"/>
                    <a:pt x="106" y="198"/>
                  </a:cubicBezTo>
                  <a:cubicBezTo>
                    <a:pt x="109" y="198"/>
                    <a:pt x="110" y="200"/>
                    <a:pt x="113" y="200"/>
                  </a:cubicBezTo>
                  <a:cubicBezTo>
                    <a:pt x="115" y="200"/>
                    <a:pt x="117" y="198"/>
                    <a:pt x="118" y="200"/>
                  </a:cubicBezTo>
                  <a:cubicBezTo>
                    <a:pt x="120" y="202"/>
                    <a:pt x="120" y="205"/>
                    <a:pt x="121" y="208"/>
                  </a:cubicBezTo>
                  <a:cubicBezTo>
                    <a:pt x="122" y="210"/>
                    <a:pt x="123" y="213"/>
                    <a:pt x="123" y="213"/>
                  </a:cubicBezTo>
                  <a:cubicBezTo>
                    <a:pt x="123" y="213"/>
                    <a:pt x="121" y="216"/>
                    <a:pt x="120" y="218"/>
                  </a:cubicBezTo>
                  <a:cubicBezTo>
                    <a:pt x="119" y="220"/>
                    <a:pt x="120" y="222"/>
                    <a:pt x="122" y="225"/>
                  </a:cubicBezTo>
                  <a:cubicBezTo>
                    <a:pt x="123" y="228"/>
                    <a:pt x="123" y="230"/>
                    <a:pt x="123" y="230"/>
                  </a:cubicBezTo>
                  <a:cubicBezTo>
                    <a:pt x="136" y="229"/>
                    <a:pt x="136" y="229"/>
                    <a:pt x="136" y="229"/>
                  </a:cubicBezTo>
                  <a:cubicBezTo>
                    <a:pt x="136" y="229"/>
                    <a:pt x="135" y="232"/>
                    <a:pt x="136" y="234"/>
                  </a:cubicBezTo>
                  <a:cubicBezTo>
                    <a:pt x="136" y="237"/>
                    <a:pt x="136" y="239"/>
                    <a:pt x="139" y="241"/>
                  </a:cubicBezTo>
                  <a:cubicBezTo>
                    <a:pt x="141" y="242"/>
                    <a:pt x="142" y="244"/>
                    <a:pt x="143" y="246"/>
                  </a:cubicBezTo>
                  <a:cubicBezTo>
                    <a:pt x="144" y="248"/>
                    <a:pt x="143" y="248"/>
                    <a:pt x="143" y="251"/>
                  </a:cubicBezTo>
                  <a:cubicBezTo>
                    <a:pt x="143" y="254"/>
                    <a:pt x="140" y="262"/>
                    <a:pt x="140" y="262"/>
                  </a:cubicBezTo>
                  <a:cubicBezTo>
                    <a:pt x="142" y="265"/>
                    <a:pt x="142" y="265"/>
                    <a:pt x="142" y="265"/>
                  </a:cubicBezTo>
                  <a:cubicBezTo>
                    <a:pt x="140" y="267"/>
                    <a:pt x="140" y="267"/>
                    <a:pt x="140" y="267"/>
                  </a:cubicBezTo>
                  <a:cubicBezTo>
                    <a:pt x="141" y="269"/>
                    <a:pt x="141" y="269"/>
                    <a:pt x="141" y="269"/>
                  </a:cubicBezTo>
                  <a:cubicBezTo>
                    <a:pt x="141" y="269"/>
                    <a:pt x="142" y="270"/>
                    <a:pt x="143" y="272"/>
                  </a:cubicBezTo>
                  <a:cubicBezTo>
                    <a:pt x="145" y="274"/>
                    <a:pt x="144" y="277"/>
                    <a:pt x="144" y="280"/>
                  </a:cubicBezTo>
                  <a:cubicBezTo>
                    <a:pt x="143" y="284"/>
                    <a:pt x="145" y="285"/>
                    <a:pt x="145" y="288"/>
                  </a:cubicBezTo>
                  <a:cubicBezTo>
                    <a:pt x="145" y="290"/>
                    <a:pt x="155" y="290"/>
                    <a:pt x="155" y="290"/>
                  </a:cubicBezTo>
                  <a:cubicBezTo>
                    <a:pt x="157" y="289"/>
                    <a:pt x="157" y="289"/>
                    <a:pt x="157" y="289"/>
                  </a:cubicBezTo>
                  <a:cubicBezTo>
                    <a:pt x="158" y="291"/>
                    <a:pt x="158" y="291"/>
                    <a:pt x="158" y="291"/>
                  </a:cubicBezTo>
                  <a:cubicBezTo>
                    <a:pt x="158" y="291"/>
                    <a:pt x="158" y="294"/>
                    <a:pt x="161" y="294"/>
                  </a:cubicBezTo>
                  <a:cubicBezTo>
                    <a:pt x="164" y="294"/>
                    <a:pt x="165" y="295"/>
                    <a:pt x="165" y="298"/>
                  </a:cubicBezTo>
                  <a:cubicBezTo>
                    <a:pt x="165" y="302"/>
                    <a:pt x="165" y="305"/>
                    <a:pt x="165" y="308"/>
                  </a:cubicBezTo>
                  <a:cubicBezTo>
                    <a:pt x="165" y="311"/>
                    <a:pt x="166" y="314"/>
                    <a:pt x="167" y="313"/>
                  </a:cubicBezTo>
                  <a:cubicBezTo>
                    <a:pt x="169" y="312"/>
                    <a:pt x="172" y="311"/>
                    <a:pt x="172" y="312"/>
                  </a:cubicBezTo>
                  <a:cubicBezTo>
                    <a:pt x="172" y="314"/>
                    <a:pt x="172" y="319"/>
                    <a:pt x="171" y="321"/>
                  </a:cubicBezTo>
                  <a:cubicBezTo>
                    <a:pt x="169" y="323"/>
                    <a:pt x="170" y="331"/>
                    <a:pt x="170" y="331"/>
                  </a:cubicBezTo>
                  <a:cubicBezTo>
                    <a:pt x="170" y="331"/>
                    <a:pt x="175" y="334"/>
                    <a:pt x="174" y="332"/>
                  </a:cubicBezTo>
                  <a:cubicBezTo>
                    <a:pt x="174" y="330"/>
                    <a:pt x="177" y="332"/>
                    <a:pt x="177" y="332"/>
                  </a:cubicBezTo>
                  <a:cubicBezTo>
                    <a:pt x="177" y="332"/>
                    <a:pt x="177" y="336"/>
                    <a:pt x="178" y="339"/>
                  </a:cubicBezTo>
                  <a:cubicBezTo>
                    <a:pt x="178" y="342"/>
                    <a:pt x="178" y="347"/>
                    <a:pt x="178" y="348"/>
                  </a:cubicBezTo>
                  <a:cubicBezTo>
                    <a:pt x="179" y="350"/>
                    <a:pt x="176" y="350"/>
                    <a:pt x="175" y="351"/>
                  </a:cubicBezTo>
                  <a:cubicBezTo>
                    <a:pt x="174" y="353"/>
                    <a:pt x="169" y="352"/>
                    <a:pt x="168" y="355"/>
                  </a:cubicBezTo>
                  <a:cubicBezTo>
                    <a:pt x="167" y="357"/>
                    <a:pt x="166" y="359"/>
                    <a:pt x="164" y="361"/>
                  </a:cubicBezTo>
                  <a:cubicBezTo>
                    <a:pt x="162" y="363"/>
                    <a:pt x="160" y="363"/>
                    <a:pt x="160" y="365"/>
                  </a:cubicBezTo>
                  <a:cubicBezTo>
                    <a:pt x="159" y="367"/>
                    <a:pt x="154" y="366"/>
                    <a:pt x="154" y="369"/>
                  </a:cubicBezTo>
                  <a:cubicBezTo>
                    <a:pt x="154" y="372"/>
                    <a:pt x="153" y="375"/>
                    <a:pt x="151" y="376"/>
                  </a:cubicBezTo>
                  <a:cubicBezTo>
                    <a:pt x="149" y="377"/>
                    <a:pt x="147" y="378"/>
                    <a:pt x="147" y="380"/>
                  </a:cubicBezTo>
                  <a:cubicBezTo>
                    <a:pt x="147" y="382"/>
                    <a:pt x="145" y="387"/>
                    <a:pt x="145" y="387"/>
                  </a:cubicBezTo>
                  <a:cubicBezTo>
                    <a:pt x="151" y="385"/>
                    <a:pt x="151" y="385"/>
                    <a:pt x="151" y="385"/>
                  </a:cubicBezTo>
                  <a:cubicBezTo>
                    <a:pt x="159" y="390"/>
                    <a:pt x="159" y="390"/>
                    <a:pt x="159" y="390"/>
                  </a:cubicBezTo>
                  <a:cubicBezTo>
                    <a:pt x="159" y="390"/>
                    <a:pt x="160" y="392"/>
                    <a:pt x="161" y="394"/>
                  </a:cubicBezTo>
                  <a:cubicBezTo>
                    <a:pt x="162" y="396"/>
                    <a:pt x="165" y="395"/>
                    <a:pt x="167" y="398"/>
                  </a:cubicBezTo>
                  <a:cubicBezTo>
                    <a:pt x="168" y="400"/>
                    <a:pt x="169" y="400"/>
                    <a:pt x="172" y="402"/>
                  </a:cubicBezTo>
                  <a:cubicBezTo>
                    <a:pt x="175" y="404"/>
                    <a:pt x="177" y="403"/>
                    <a:pt x="178" y="406"/>
                  </a:cubicBezTo>
                  <a:cubicBezTo>
                    <a:pt x="178" y="409"/>
                    <a:pt x="179" y="411"/>
                    <a:pt x="182" y="412"/>
                  </a:cubicBezTo>
                  <a:cubicBezTo>
                    <a:pt x="184" y="413"/>
                    <a:pt x="185" y="414"/>
                    <a:pt x="185" y="414"/>
                  </a:cubicBezTo>
                  <a:cubicBezTo>
                    <a:pt x="181" y="420"/>
                    <a:pt x="181" y="420"/>
                    <a:pt x="181" y="420"/>
                  </a:cubicBezTo>
                  <a:cubicBezTo>
                    <a:pt x="182" y="423"/>
                    <a:pt x="182" y="423"/>
                    <a:pt x="182" y="423"/>
                  </a:cubicBezTo>
                  <a:cubicBezTo>
                    <a:pt x="185" y="421"/>
                    <a:pt x="187" y="419"/>
                    <a:pt x="188" y="416"/>
                  </a:cubicBezTo>
                  <a:cubicBezTo>
                    <a:pt x="188" y="413"/>
                    <a:pt x="187" y="412"/>
                    <a:pt x="186" y="409"/>
                  </a:cubicBezTo>
                  <a:cubicBezTo>
                    <a:pt x="188" y="408"/>
                    <a:pt x="192" y="405"/>
                    <a:pt x="192" y="402"/>
                  </a:cubicBezTo>
                  <a:cubicBezTo>
                    <a:pt x="192" y="402"/>
                    <a:pt x="192" y="400"/>
                    <a:pt x="192" y="400"/>
                  </a:cubicBezTo>
                  <a:cubicBezTo>
                    <a:pt x="193" y="399"/>
                    <a:pt x="195" y="399"/>
                    <a:pt x="196" y="398"/>
                  </a:cubicBezTo>
                  <a:cubicBezTo>
                    <a:pt x="196" y="397"/>
                    <a:pt x="196" y="397"/>
                    <a:pt x="196" y="397"/>
                  </a:cubicBezTo>
                  <a:cubicBezTo>
                    <a:pt x="199" y="395"/>
                    <a:pt x="199" y="393"/>
                    <a:pt x="199" y="388"/>
                  </a:cubicBezTo>
                  <a:cubicBezTo>
                    <a:pt x="200" y="389"/>
                    <a:pt x="201" y="388"/>
                    <a:pt x="202" y="389"/>
                  </a:cubicBezTo>
                  <a:cubicBezTo>
                    <a:pt x="202" y="390"/>
                    <a:pt x="202" y="390"/>
                    <a:pt x="202" y="390"/>
                  </a:cubicBezTo>
                  <a:cubicBezTo>
                    <a:pt x="202" y="390"/>
                    <a:pt x="203" y="391"/>
                    <a:pt x="204" y="391"/>
                  </a:cubicBezTo>
                  <a:cubicBezTo>
                    <a:pt x="204" y="391"/>
                    <a:pt x="205" y="389"/>
                    <a:pt x="204" y="389"/>
                  </a:cubicBezTo>
                  <a:cubicBezTo>
                    <a:pt x="206" y="390"/>
                    <a:pt x="206" y="390"/>
                    <a:pt x="206" y="390"/>
                  </a:cubicBezTo>
                  <a:cubicBezTo>
                    <a:pt x="205" y="390"/>
                    <a:pt x="205" y="393"/>
                    <a:pt x="205" y="392"/>
                  </a:cubicBezTo>
                  <a:cubicBezTo>
                    <a:pt x="204" y="396"/>
                    <a:pt x="204" y="397"/>
                    <a:pt x="203" y="400"/>
                  </a:cubicBezTo>
                  <a:cubicBezTo>
                    <a:pt x="203" y="400"/>
                    <a:pt x="201" y="401"/>
                    <a:pt x="201" y="402"/>
                  </a:cubicBezTo>
                  <a:cubicBezTo>
                    <a:pt x="199" y="406"/>
                    <a:pt x="205" y="399"/>
                    <a:pt x="205" y="399"/>
                  </a:cubicBezTo>
                  <a:cubicBezTo>
                    <a:pt x="206" y="396"/>
                    <a:pt x="208" y="391"/>
                    <a:pt x="209" y="388"/>
                  </a:cubicBezTo>
                  <a:cubicBezTo>
                    <a:pt x="210" y="384"/>
                    <a:pt x="210" y="381"/>
                    <a:pt x="212" y="378"/>
                  </a:cubicBezTo>
                  <a:cubicBezTo>
                    <a:pt x="213" y="377"/>
                    <a:pt x="217" y="372"/>
                    <a:pt x="218" y="372"/>
                  </a:cubicBezTo>
                  <a:cubicBezTo>
                    <a:pt x="219" y="371"/>
                    <a:pt x="220" y="372"/>
                    <a:pt x="220" y="371"/>
                  </a:cubicBezTo>
                  <a:cubicBezTo>
                    <a:pt x="221" y="370"/>
                    <a:pt x="220" y="369"/>
                    <a:pt x="221" y="367"/>
                  </a:cubicBezTo>
                  <a:cubicBezTo>
                    <a:pt x="221" y="367"/>
                    <a:pt x="222" y="366"/>
                    <a:pt x="222" y="366"/>
                  </a:cubicBezTo>
                  <a:cubicBezTo>
                    <a:pt x="221" y="365"/>
                    <a:pt x="222" y="356"/>
                    <a:pt x="222" y="353"/>
                  </a:cubicBezTo>
                  <a:cubicBezTo>
                    <a:pt x="221" y="353"/>
                    <a:pt x="220" y="353"/>
                    <a:pt x="220" y="352"/>
                  </a:cubicBezTo>
                  <a:cubicBezTo>
                    <a:pt x="220" y="351"/>
                    <a:pt x="221" y="350"/>
                    <a:pt x="221" y="349"/>
                  </a:cubicBezTo>
                  <a:cubicBezTo>
                    <a:pt x="219" y="349"/>
                    <a:pt x="219" y="349"/>
                    <a:pt x="219" y="349"/>
                  </a:cubicBezTo>
                  <a:cubicBezTo>
                    <a:pt x="219" y="349"/>
                    <a:pt x="219" y="347"/>
                    <a:pt x="219" y="347"/>
                  </a:cubicBezTo>
                  <a:cubicBezTo>
                    <a:pt x="221" y="348"/>
                    <a:pt x="220" y="346"/>
                    <a:pt x="220" y="346"/>
                  </a:cubicBezTo>
                  <a:cubicBezTo>
                    <a:pt x="220" y="346"/>
                    <a:pt x="220" y="342"/>
                    <a:pt x="220" y="341"/>
                  </a:cubicBezTo>
                  <a:cubicBezTo>
                    <a:pt x="220" y="340"/>
                    <a:pt x="219" y="341"/>
                    <a:pt x="219" y="339"/>
                  </a:cubicBezTo>
                  <a:cubicBezTo>
                    <a:pt x="219" y="338"/>
                    <a:pt x="221" y="338"/>
                    <a:pt x="221" y="337"/>
                  </a:cubicBezTo>
                  <a:cubicBezTo>
                    <a:pt x="222" y="335"/>
                    <a:pt x="221" y="334"/>
                    <a:pt x="221" y="33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75" name="Freeform 311">
              <a:extLst>
                <a:ext uri="{FF2B5EF4-FFF2-40B4-BE49-F238E27FC236}">
                  <a16:creationId xmlns:a16="http://schemas.microsoft.com/office/drawing/2014/main" id="{A65D2033-1F81-CD1A-3C90-C01EA275C48B}"/>
                </a:ext>
              </a:extLst>
            </p:cNvPr>
            <p:cNvSpPr>
              <a:spLocks noEditPoints="1"/>
            </p:cNvSpPr>
            <p:nvPr/>
          </p:nvSpPr>
          <p:spPr bwMode="auto">
            <a:xfrm>
              <a:off x="3701607" y="4047020"/>
              <a:ext cx="1219763" cy="1491038"/>
            </a:xfrm>
            <a:custGeom>
              <a:avLst/>
              <a:gdLst>
                <a:gd name="T0" fmla="*/ 206 w 346"/>
                <a:gd name="T1" fmla="*/ 70 h 423"/>
                <a:gd name="T2" fmla="*/ 202 w 346"/>
                <a:gd name="T3" fmla="*/ 61 h 423"/>
                <a:gd name="T4" fmla="*/ 198 w 346"/>
                <a:gd name="T5" fmla="*/ 405 h 423"/>
                <a:gd name="T6" fmla="*/ 176 w 346"/>
                <a:gd name="T7" fmla="*/ 77 h 423"/>
                <a:gd name="T8" fmla="*/ 232 w 346"/>
                <a:gd name="T9" fmla="*/ 324 h 423"/>
                <a:gd name="T10" fmla="*/ 257 w 346"/>
                <a:gd name="T11" fmla="*/ 309 h 423"/>
                <a:gd name="T12" fmla="*/ 273 w 346"/>
                <a:gd name="T13" fmla="*/ 304 h 423"/>
                <a:gd name="T14" fmla="*/ 285 w 346"/>
                <a:gd name="T15" fmla="*/ 294 h 423"/>
                <a:gd name="T16" fmla="*/ 293 w 346"/>
                <a:gd name="T17" fmla="*/ 272 h 423"/>
                <a:gd name="T18" fmla="*/ 307 w 346"/>
                <a:gd name="T19" fmla="*/ 235 h 423"/>
                <a:gd name="T20" fmla="*/ 307 w 346"/>
                <a:gd name="T21" fmla="*/ 196 h 423"/>
                <a:gd name="T22" fmla="*/ 321 w 346"/>
                <a:gd name="T23" fmla="*/ 179 h 423"/>
                <a:gd name="T24" fmla="*/ 339 w 346"/>
                <a:gd name="T25" fmla="*/ 156 h 423"/>
                <a:gd name="T26" fmla="*/ 344 w 346"/>
                <a:gd name="T27" fmla="*/ 123 h 423"/>
                <a:gd name="T28" fmla="*/ 329 w 346"/>
                <a:gd name="T29" fmla="*/ 106 h 423"/>
                <a:gd name="T30" fmla="*/ 307 w 346"/>
                <a:gd name="T31" fmla="*/ 90 h 423"/>
                <a:gd name="T32" fmla="*/ 269 w 346"/>
                <a:gd name="T33" fmla="*/ 80 h 423"/>
                <a:gd name="T34" fmla="*/ 258 w 346"/>
                <a:gd name="T35" fmla="*/ 74 h 423"/>
                <a:gd name="T36" fmla="*/ 248 w 346"/>
                <a:gd name="T37" fmla="*/ 64 h 423"/>
                <a:gd name="T38" fmla="*/ 221 w 346"/>
                <a:gd name="T39" fmla="*/ 72 h 423"/>
                <a:gd name="T40" fmla="*/ 222 w 346"/>
                <a:gd name="T41" fmla="*/ 70 h 423"/>
                <a:gd name="T42" fmla="*/ 225 w 346"/>
                <a:gd name="T43" fmla="*/ 55 h 423"/>
                <a:gd name="T44" fmla="*/ 206 w 346"/>
                <a:gd name="T45" fmla="*/ 68 h 423"/>
                <a:gd name="T46" fmla="*/ 197 w 346"/>
                <a:gd name="T47" fmla="*/ 68 h 423"/>
                <a:gd name="T48" fmla="*/ 197 w 346"/>
                <a:gd name="T49" fmla="*/ 60 h 423"/>
                <a:gd name="T50" fmla="*/ 212 w 346"/>
                <a:gd name="T51" fmla="*/ 51 h 423"/>
                <a:gd name="T52" fmla="*/ 210 w 346"/>
                <a:gd name="T53" fmla="*/ 45 h 423"/>
                <a:gd name="T54" fmla="*/ 205 w 346"/>
                <a:gd name="T55" fmla="*/ 16 h 423"/>
                <a:gd name="T56" fmla="*/ 187 w 346"/>
                <a:gd name="T57" fmla="*/ 36 h 423"/>
                <a:gd name="T58" fmla="*/ 163 w 346"/>
                <a:gd name="T59" fmla="*/ 30 h 423"/>
                <a:gd name="T60" fmla="*/ 143 w 346"/>
                <a:gd name="T61" fmla="*/ 37 h 423"/>
                <a:gd name="T62" fmla="*/ 123 w 346"/>
                <a:gd name="T63" fmla="*/ 20 h 423"/>
                <a:gd name="T64" fmla="*/ 118 w 346"/>
                <a:gd name="T65" fmla="*/ 0 h 423"/>
                <a:gd name="T66" fmla="*/ 97 w 346"/>
                <a:gd name="T67" fmla="*/ 13 h 423"/>
                <a:gd name="T68" fmla="*/ 84 w 346"/>
                <a:gd name="T69" fmla="*/ 21 h 423"/>
                <a:gd name="T70" fmla="*/ 84 w 346"/>
                <a:gd name="T71" fmla="*/ 43 h 423"/>
                <a:gd name="T72" fmla="*/ 61 w 346"/>
                <a:gd name="T73" fmla="*/ 46 h 423"/>
                <a:gd name="T74" fmla="*/ 45 w 346"/>
                <a:gd name="T75" fmla="*/ 51 h 423"/>
                <a:gd name="T76" fmla="*/ 33 w 346"/>
                <a:gd name="T77" fmla="*/ 99 h 423"/>
                <a:gd name="T78" fmla="*/ 4 w 346"/>
                <a:gd name="T79" fmla="*/ 130 h 423"/>
                <a:gd name="T80" fmla="*/ 15 w 346"/>
                <a:gd name="T81" fmla="*/ 158 h 423"/>
                <a:gd name="T82" fmla="*/ 48 w 346"/>
                <a:gd name="T83" fmla="*/ 184 h 423"/>
                <a:gd name="T84" fmla="*/ 74 w 346"/>
                <a:gd name="T85" fmla="*/ 179 h 423"/>
                <a:gd name="T86" fmla="*/ 113 w 346"/>
                <a:gd name="T87" fmla="*/ 200 h 423"/>
                <a:gd name="T88" fmla="*/ 136 w 346"/>
                <a:gd name="T89" fmla="*/ 229 h 423"/>
                <a:gd name="T90" fmla="*/ 140 w 346"/>
                <a:gd name="T91" fmla="*/ 267 h 423"/>
                <a:gd name="T92" fmla="*/ 158 w 346"/>
                <a:gd name="T93" fmla="*/ 291 h 423"/>
                <a:gd name="T94" fmla="*/ 170 w 346"/>
                <a:gd name="T95" fmla="*/ 331 h 423"/>
                <a:gd name="T96" fmla="*/ 164 w 346"/>
                <a:gd name="T97" fmla="*/ 361 h 423"/>
                <a:gd name="T98" fmla="*/ 159 w 346"/>
                <a:gd name="T99" fmla="*/ 390 h 423"/>
                <a:gd name="T100" fmla="*/ 181 w 346"/>
                <a:gd name="T101" fmla="*/ 420 h 423"/>
                <a:gd name="T102" fmla="*/ 196 w 346"/>
                <a:gd name="T103" fmla="*/ 397 h 423"/>
                <a:gd name="T104" fmla="*/ 205 w 346"/>
                <a:gd name="T105" fmla="*/ 392 h 423"/>
                <a:gd name="T106" fmla="*/ 220 w 346"/>
                <a:gd name="T107" fmla="*/ 371 h 423"/>
                <a:gd name="T108" fmla="*/ 219 w 346"/>
                <a:gd name="T109" fmla="*/ 347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6" h="423">
                  <a:moveTo>
                    <a:pt x="182" y="70"/>
                  </a:moveTo>
                  <a:cubicBezTo>
                    <a:pt x="183" y="69"/>
                    <a:pt x="183" y="70"/>
                    <a:pt x="183" y="70"/>
                  </a:cubicBezTo>
                  <a:cubicBezTo>
                    <a:pt x="182" y="71"/>
                    <a:pt x="180" y="71"/>
                    <a:pt x="180" y="72"/>
                  </a:cubicBezTo>
                  <a:cubicBezTo>
                    <a:pt x="179" y="73"/>
                    <a:pt x="179" y="74"/>
                    <a:pt x="178" y="75"/>
                  </a:cubicBezTo>
                  <a:cubicBezTo>
                    <a:pt x="177" y="76"/>
                    <a:pt x="179" y="71"/>
                    <a:pt x="182" y="70"/>
                  </a:cubicBezTo>
                  <a:close/>
                  <a:moveTo>
                    <a:pt x="207" y="68"/>
                  </a:moveTo>
                  <a:cubicBezTo>
                    <a:pt x="208" y="69"/>
                    <a:pt x="206" y="70"/>
                    <a:pt x="206" y="70"/>
                  </a:cubicBezTo>
                  <a:cubicBezTo>
                    <a:pt x="206" y="69"/>
                    <a:pt x="206" y="68"/>
                    <a:pt x="207" y="68"/>
                  </a:cubicBezTo>
                  <a:close/>
                  <a:moveTo>
                    <a:pt x="199" y="64"/>
                  </a:moveTo>
                  <a:cubicBezTo>
                    <a:pt x="198" y="65"/>
                    <a:pt x="198" y="66"/>
                    <a:pt x="200" y="66"/>
                  </a:cubicBezTo>
                  <a:cubicBezTo>
                    <a:pt x="200" y="66"/>
                    <a:pt x="201" y="64"/>
                    <a:pt x="199" y="64"/>
                  </a:cubicBezTo>
                  <a:close/>
                  <a:moveTo>
                    <a:pt x="202" y="61"/>
                  </a:moveTo>
                  <a:cubicBezTo>
                    <a:pt x="203" y="62"/>
                    <a:pt x="203" y="62"/>
                    <a:pt x="203" y="62"/>
                  </a:cubicBezTo>
                  <a:cubicBezTo>
                    <a:pt x="203" y="62"/>
                    <a:pt x="203" y="61"/>
                    <a:pt x="202" y="61"/>
                  </a:cubicBezTo>
                  <a:close/>
                  <a:moveTo>
                    <a:pt x="190" y="410"/>
                  </a:moveTo>
                  <a:cubicBezTo>
                    <a:pt x="189" y="410"/>
                    <a:pt x="187" y="413"/>
                    <a:pt x="190" y="412"/>
                  </a:cubicBezTo>
                  <a:cubicBezTo>
                    <a:pt x="190" y="412"/>
                    <a:pt x="191" y="410"/>
                    <a:pt x="190" y="410"/>
                  </a:cubicBezTo>
                  <a:close/>
                  <a:moveTo>
                    <a:pt x="195" y="409"/>
                  </a:moveTo>
                  <a:cubicBezTo>
                    <a:pt x="192" y="409"/>
                    <a:pt x="191" y="412"/>
                    <a:pt x="196" y="411"/>
                  </a:cubicBezTo>
                  <a:cubicBezTo>
                    <a:pt x="198" y="411"/>
                    <a:pt x="199" y="408"/>
                    <a:pt x="195" y="409"/>
                  </a:cubicBezTo>
                  <a:close/>
                  <a:moveTo>
                    <a:pt x="198" y="405"/>
                  </a:moveTo>
                  <a:cubicBezTo>
                    <a:pt x="197" y="407"/>
                    <a:pt x="197" y="407"/>
                    <a:pt x="197" y="407"/>
                  </a:cubicBezTo>
                  <a:cubicBezTo>
                    <a:pt x="198" y="406"/>
                    <a:pt x="204" y="405"/>
                    <a:pt x="198" y="405"/>
                  </a:cubicBezTo>
                  <a:close/>
                  <a:moveTo>
                    <a:pt x="177" y="76"/>
                  </a:moveTo>
                  <a:cubicBezTo>
                    <a:pt x="176" y="78"/>
                    <a:pt x="176" y="78"/>
                    <a:pt x="176" y="78"/>
                  </a:cubicBezTo>
                  <a:cubicBezTo>
                    <a:pt x="170" y="78"/>
                    <a:pt x="166" y="77"/>
                    <a:pt x="162" y="78"/>
                  </a:cubicBezTo>
                  <a:cubicBezTo>
                    <a:pt x="163" y="76"/>
                    <a:pt x="163" y="76"/>
                    <a:pt x="163" y="76"/>
                  </a:cubicBezTo>
                  <a:cubicBezTo>
                    <a:pt x="167" y="76"/>
                    <a:pt x="171" y="79"/>
                    <a:pt x="176" y="77"/>
                  </a:cubicBezTo>
                  <a:cubicBezTo>
                    <a:pt x="176" y="77"/>
                    <a:pt x="176" y="76"/>
                    <a:pt x="177" y="76"/>
                  </a:cubicBezTo>
                  <a:close/>
                  <a:moveTo>
                    <a:pt x="200" y="58"/>
                  </a:moveTo>
                  <a:cubicBezTo>
                    <a:pt x="199" y="58"/>
                    <a:pt x="199" y="59"/>
                    <a:pt x="201" y="59"/>
                  </a:cubicBezTo>
                  <a:cubicBezTo>
                    <a:pt x="201" y="59"/>
                    <a:pt x="203" y="57"/>
                    <a:pt x="200" y="58"/>
                  </a:cubicBezTo>
                  <a:close/>
                  <a:moveTo>
                    <a:pt x="221" y="332"/>
                  </a:moveTo>
                  <a:cubicBezTo>
                    <a:pt x="225" y="331"/>
                    <a:pt x="227" y="329"/>
                    <a:pt x="230" y="327"/>
                  </a:cubicBezTo>
                  <a:cubicBezTo>
                    <a:pt x="231" y="327"/>
                    <a:pt x="232" y="325"/>
                    <a:pt x="232" y="324"/>
                  </a:cubicBezTo>
                  <a:cubicBezTo>
                    <a:pt x="234" y="323"/>
                    <a:pt x="237" y="323"/>
                    <a:pt x="239" y="322"/>
                  </a:cubicBezTo>
                  <a:cubicBezTo>
                    <a:pt x="240" y="321"/>
                    <a:pt x="241" y="317"/>
                    <a:pt x="241" y="317"/>
                  </a:cubicBezTo>
                  <a:cubicBezTo>
                    <a:pt x="243" y="316"/>
                    <a:pt x="247" y="317"/>
                    <a:pt x="249" y="316"/>
                  </a:cubicBezTo>
                  <a:cubicBezTo>
                    <a:pt x="249" y="316"/>
                    <a:pt x="250" y="315"/>
                    <a:pt x="250" y="314"/>
                  </a:cubicBezTo>
                  <a:cubicBezTo>
                    <a:pt x="252" y="314"/>
                    <a:pt x="254" y="314"/>
                    <a:pt x="257" y="314"/>
                  </a:cubicBezTo>
                  <a:cubicBezTo>
                    <a:pt x="256" y="312"/>
                    <a:pt x="256" y="311"/>
                    <a:pt x="255" y="309"/>
                  </a:cubicBezTo>
                  <a:cubicBezTo>
                    <a:pt x="255" y="309"/>
                    <a:pt x="256" y="309"/>
                    <a:pt x="257" y="309"/>
                  </a:cubicBezTo>
                  <a:cubicBezTo>
                    <a:pt x="257" y="309"/>
                    <a:pt x="258" y="307"/>
                    <a:pt x="259" y="307"/>
                  </a:cubicBezTo>
                  <a:cubicBezTo>
                    <a:pt x="259" y="307"/>
                    <a:pt x="260" y="308"/>
                    <a:pt x="262" y="308"/>
                  </a:cubicBezTo>
                  <a:cubicBezTo>
                    <a:pt x="262" y="308"/>
                    <a:pt x="264" y="306"/>
                    <a:pt x="264" y="306"/>
                  </a:cubicBezTo>
                  <a:cubicBezTo>
                    <a:pt x="267" y="305"/>
                    <a:pt x="268" y="306"/>
                    <a:pt x="271" y="306"/>
                  </a:cubicBezTo>
                  <a:cubicBezTo>
                    <a:pt x="271" y="305"/>
                    <a:pt x="271" y="302"/>
                    <a:pt x="271" y="302"/>
                  </a:cubicBezTo>
                  <a:cubicBezTo>
                    <a:pt x="271" y="303"/>
                    <a:pt x="272" y="302"/>
                    <a:pt x="273" y="302"/>
                  </a:cubicBezTo>
                  <a:cubicBezTo>
                    <a:pt x="273" y="304"/>
                    <a:pt x="273" y="304"/>
                    <a:pt x="273" y="304"/>
                  </a:cubicBezTo>
                  <a:cubicBezTo>
                    <a:pt x="273" y="304"/>
                    <a:pt x="274" y="305"/>
                    <a:pt x="274" y="305"/>
                  </a:cubicBezTo>
                  <a:cubicBezTo>
                    <a:pt x="275" y="306"/>
                    <a:pt x="277" y="305"/>
                    <a:pt x="279" y="305"/>
                  </a:cubicBezTo>
                  <a:cubicBezTo>
                    <a:pt x="279" y="304"/>
                    <a:pt x="281" y="303"/>
                    <a:pt x="281" y="302"/>
                  </a:cubicBezTo>
                  <a:cubicBezTo>
                    <a:pt x="281" y="302"/>
                    <a:pt x="280" y="300"/>
                    <a:pt x="281" y="299"/>
                  </a:cubicBezTo>
                  <a:cubicBezTo>
                    <a:pt x="285" y="297"/>
                    <a:pt x="285" y="297"/>
                    <a:pt x="285" y="297"/>
                  </a:cubicBezTo>
                  <a:cubicBezTo>
                    <a:pt x="285" y="296"/>
                    <a:pt x="286" y="295"/>
                    <a:pt x="286" y="294"/>
                  </a:cubicBezTo>
                  <a:cubicBezTo>
                    <a:pt x="285" y="294"/>
                    <a:pt x="285" y="294"/>
                    <a:pt x="285" y="294"/>
                  </a:cubicBezTo>
                  <a:cubicBezTo>
                    <a:pt x="285" y="292"/>
                    <a:pt x="285" y="292"/>
                    <a:pt x="285" y="289"/>
                  </a:cubicBezTo>
                  <a:cubicBezTo>
                    <a:pt x="283" y="289"/>
                    <a:pt x="285" y="288"/>
                    <a:pt x="285" y="289"/>
                  </a:cubicBezTo>
                  <a:cubicBezTo>
                    <a:pt x="285" y="288"/>
                    <a:pt x="285" y="287"/>
                    <a:pt x="285" y="287"/>
                  </a:cubicBezTo>
                  <a:cubicBezTo>
                    <a:pt x="285" y="286"/>
                    <a:pt x="287" y="285"/>
                    <a:pt x="287" y="285"/>
                  </a:cubicBezTo>
                  <a:cubicBezTo>
                    <a:pt x="288" y="283"/>
                    <a:pt x="287" y="281"/>
                    <a:pt x="288" y="279"/>
                  </a:cubicBezTo>
                  <a:cubicBezTo>
                    <a:pt x="289" y="278"/>
                    <a:pt x="292" y="276"/>
                    <a:pt x="293" y="275"/>
                  </a:cubicBezTo>
                  <a:cubicBezTo>
                    <a:pt x="293" y="274"/>
                    <a:pt x="292" y="273"/>
                    <a:pt x="293" y="272"/>
                  </a:cubicBezTo>
                  <a:cubicBezTo>
                    <a:pt x="293" y="271"/>
                    <a:pt x="294" y="272"/>
                    <a:pt x="295" y="271"/>
                  </a:cubicBezTo>
                  <a:cubicBezTo>
                    <a:pt x="295" y="271"/>
                    <a:pt x="294" y="270"/>
                    <a:pt x="295" y="269"/>
                  </a:cubicBezTo>
                  <a:cubicBezTo>
                    <a:pt x="295" y="267"/>
                    <a:pt x="299" y="266"/>
                    <a:pt x="300" y="264"/>
                  </a:cubicBezTo>
                  <a:cubicBezTo>
                    <a:pt x="301" y="261"/>
                    <a:pt x="300" y="256"/>
                    <a:pt x="301" y="253"/>
                  </a:cubicBezTo>
                  <a:cubicBezTo>
                    <a:pt x="301" y="251"/>
                    <a:pt x="304" y="249"/>
                    <a:pt x="306" y="247"/>
                  </a:cubicBezTo>
                  <a:cubicBezTo>
                    <a:pt x="304" y="245"/>
                    <a:pt x="302" y="240"/>
                    <a:pt x="305" y="236"/>
                  </a:cubicBezTo>
                  <a:cubicBezTo>
                    <a:pt x="305" y="236"/>
                    <a:pt x="306" y="235"/>
                    <a:pt x="307" y="235"/>
                  </a:cubicBezTo>
                  <a:cubicBezTo>
                    <a:pt x="307" y="234"/>
                    <a:pt x="307" y="229"/>
                    <a:pt x="307" y="229"/>
                  </a:cubicBezTo>
                  <a:cubicBezTo>
                    <a:pt x="307" y="227"/>
                    <a:pt x="308" y="225"/>
                    <a:pt x="308" y="223"/>
                  </a:cubicBezTo>
                  <a:cubicBezTo>
                    <a:pt x="307" y="219"/>
                    <a:pt x="307" y="219"/>
                    <a:pt x="307" y="219"/>
                  </a:cubicBezTo>
                  <a:cubicBezTo>
                    <a:pt x="306" y="214"/>
                    <a:pt x="306" y="210"/>
                    <a:pt x="307" y="205"/>
                  </a:cubicBezTo>
                  <a:cubicBezTo>
                    <a:pt x="305" y="205"/>
                    <a:pt x="305" y="205"/>
                    <a:pt x="304" y="204"/>
                  </a:cubicBezTo>
                  <a:cubicBezTo>
                    <a:pt x="304" y="203"/>
                    <a:pt x="306" y="202"/>
                    <a:pt x="307" y="201"/>
                  </a:cubicBezTo>
                  <a:cubicBezTo>
                    <a:pt x="307" y="199"/>
                    <a:pt x="306" y="199"/>
                    <a:pt x="307" y="196"/>
                  </a:cubicBezTo>
                  <a:cubicBezTo>
                    <a:pt x="308" y="195"/>
                    <a:pt x="309" y="195"/>
                    <a:pt x="310" y="193"/>
                  </a:cubicBezTo>
                  <a:cubicBezTo>
                    <a:pt x="310" y="193"/>
                    <a:pt x="310" y="188"/>
                    <a:pt x="310" y="188"/>
                  </a:cubicBezTo>
                  <a:cubicBezTo>
                    <a:pt x="314" y="190"/>
                    <a:pt x="313" y="188"/>
                    <a:pt x="315" y="192"/>
                  </a:cubicBezTo>
                  <a:cubicBezTo>
                    <a:pt x="316" y="191"/>
                    <a:pt x="318" y="188"/>
                    <a:pt x="318" y="187"/>
                  </a:cubicBezTo>
                  <a:cubicBezTo>
                    <a:pt x="318" y="187"/>
                    <a:pt x="318" y="186"/>
                    <a:pt x="318" y="185"/>
                  </a:cubicBezTo>
                  <a:cubicBezTo>
                    <a:pt x="318" y="185"/>
                    <a:pt x="320" y="185"/>
                    <a:pt x="320" y="184"/>
                  </a:cubicBezTo>
                  <a:cubicBezTo>
                    <a:pt x="321" y="182"/>
                    <a:pt x="320" y="181"/>
                    <a:pt x="321" y="179"/>
                  </a:cubicBezTo>
                  <a:cubicBezTo>
                    <a:pt x="321" y="177"/>
                    <a:pt x="323" y="176"/>
                    <a:pt x="324" y="174"/>
                  </a:cubicBezTo>
                  <a:cubicBezTo>
                    <a:pt x="325" y="173"/>
                    <a:pt x="324" y="171"/>
                    <a:pt x="325" y="170"/>
                  </a:cubicBezTo>
                  <a:cubicBezTo>
                    <a:pt x="325" y="169"/>
                    <a:pt x="331" y="164"/>
                    <a:pt x="331" y="164"/>
                  </a:cubicBezTo>
                  <a:cubicBezTo>
                    <a:pt x="332" y="164"/>
                    <a:pt x="333" y="164"/>
                    <a:pt x="334" y="164"/>
                  </a:cubicBezTo>
                  <a:cubicBezTo>
                    <a:pt x="335" y="163"/>
                    <a:pt x="335" y="162"/>
                    <a:pt x="336" y="161"/>
                  </a:cubicBezTo>
                  <a:cubicBezTo>
                    <a:pt x="337" y="160"/>
                    <a:pt x="338" y="159"/>
                    <a:pt x="339" y="158"/>
                  </a:cubicBezTo>
                  <a:cubicBezTo>
                    <a:pt x="339" y="158"/>
                    <a:pt x="339" y="157"/>
                    <a:pt x="339" y="156"/>
                  </a:cubicBezTo>
                  <a:cubicBezTo>
                    <a:pt x="339" y="156"/>
                    <a:pt x="341" y="155"/>
                    <a:pt x="341" y="154"/>
                  </a:cubicBezTo>
                  <a:cubicBezTo>
                    <a:pt x="343" y="151"/>
                    <a:pt x="343" y="149"/>
                    <a:pt x="344" y="145"/>
                  </a:cubicBezTo>
                  <a:cubicBezTo>
                    <a:pt x="346" y="144"/>
                    <a:pt x="346" y="144"/>
                    <a:pt x="346" y="144"/>
                  </a:cubicBezTo>
                  <a:cubicBezTo>
                    <a:pt x="346" y="141"/>
                    <a:pt x="345" y="140"/>
                    <a:pt x="345" y="138"/>
                  </a:cubicBezTo>
                  <a:cubicBezTo>
                    <a:pt x="345" y="137"/>
                    <a:pt x="346" y="134"/>
                    <a:pt x="346" y="132"/>
                  </a:cubicBezTo>
                  <a:cubicBezTo>
                    <a:pt x="344" y="130"/>
                    <a:pt x="344" y="130"/>
                    <a:pt x="344" y="130"/>
                  </a:cubicBezTo>
                  <a:cubicBezTo>
                    <a:pt x="343" y="129"/>
                    <a:pt x="345" y="126"/>
                    <a:pt x="344" y="123"/>
                  </a:cubicBezTo>
                  <a:cubicBezTo>
                    <a:pt x="344" y="121"/>
                    <a:pt x="342" y="121"/>
                    <a:pt x="341" y="120"/>
                  </a:cubicBezTo>
                  <a:cubicBezTo>
                    <a:pt x="341" y="119"/>
                    <a:pt x="341" y="118"/>
                    <a:pt x="341" y="118"/>
                  </a:cubicBezTo>
                  <a:cubicBezTo>
                    <a:pt x="341" y="117"/>
                    <a:pt x="340" y="117"/>
                    <a:pt x="340" y="117"/>
                  </a:cubicBezTo>
                  <a:cubicBezTo>
                    <a:pt x="338" y="113"/>
                    <a:pt x="338" y="108"/>
                    <a:pt x="334" y="108"/>
                  </a:cubicBezTo>
                  <a:cubicBezTo>
                    <a:pt x="332" y="107"/>
                    <a:pt x="330" y="109"/>
                    <a:pt x="330" y="109"/>
                  </a:cubicBezTo>
                  <a:cubicBezTo>
                    <a:pt x="330" y="109"/>
                    <a:pt x="330" y="107"/>
                    <a:pt x="330" y="107"/>
                  </a:cubicBezTo>
                  <a:cubicBezTo>
                    <a:pt x="329" y="107"/>
                    <a:pt x="329" y="106"/>
                    <a:pt x="329" y="106"/>
                  </a:cubicBezTo>
                  <a:cubicBezTo>
                    <a:pt x="326" y="105"/>
                    <a:pt x="325" y="107"/>
                    <a:pt x="323" y="108"/>
                  </a:cubicBezTo>
                  <a:cubicBezTo>
                    <a:pt x="323" y="107"/>
                    <a:pt x="324" y="106"/>
                    <a:pt x="324" y="106"/>
                  </a:cubicBezTo>
                  <a:cubicBezTo>
                    <a:pt x="323" y="105"/>
                    <a:pt x="322" y="105"/>
                    <a:pt x="321" y="104"/>
                  </a:cubicBezTo>
                  <a:cubicBezTo>
                    <a:pt x="321" y="104"/>
                    <a:pt x="321" y="103"/>
                    <a:pt x="321" y="102"/>
                  </a:cubicBezTo>
                  <a:cubicBezTo>
                    <a:pt x="317" y="98"/>
                    <a:pt x="317" y="98"/>
                    <a:pt x="317" y="98"/>
                  </a:cubicBezTo>
                  <a:cubicBezTo>
                    <a:pt x="317" y="97"/>
                    <a:pt x="316" y="98"/>
                    <a:pt x="316" y="98"/>
                  </a:cubicBezTo>
                  <a:cubicBezTo>
                    <a:pt x="313" y="96"/>
                    <a:pt x="310" y="92"/>
                    <a:pt x="307" y="90"/>
                  </a:cubicBezTo>
                  <a:cubicBezTo>
                    <a:pt x="305" y="89"/>
                    <a:pt x="304" y="89"/>
                    <a:pt x="302" y="88"/>
                  </a:cubicBezTo>
                  <a:cubicBezTo>
                    <a:pt x="301" y="88"/>
                    <a:pt x="300" y="86"/>
                    <a:pt x="299" y="86"/>
                  </a:cubicBezTo>
                  <a:cubicBezTo>
                    <a:pt x="295" y="85"/>
                    <a:pt x="294" y="86"/>
                    <a:pt x="290" y="86"/>
                  </a:cubicBezTo>
                  <a:cubicBezTo>
                    <a:pt x="283" y="85"/>
                    <a:pt x="284" y="82"/>
                    <a:pt x="279" y="84"/>
                  </a:cubicBezTo>
                  <a:cubicBezTo>
                    <a:pt x="278" y="83"/>
                    <a:pt x="276" y="80"/>
                    <a:pt x="275" y="80"/>
                  </a:cubicBezTo>
                  <a:cubicBezTo>
                    <a:pt x="273" y="79"/>
                    <a:pt x="272" y="80"/>
                    <a:pt x="271" y="80"/>
                  </a:cubicBezTo>
                  <a:cubicBezTo>
                    <a:pt x="271" y="80"/>
                    <a:pt x="270" y="80"/>
                    <a:pt x="269" y="80"/>
                  </a:cubicBezTo>
                  <a:cubicBezTo>
                    <a:pt x="267" y="82"/>
                    <a:pt x="267" y="86"/>
                    <a:pt x="263" y="86"/>
                  </a:cubicBezTo>
                  <a:cubicBezTo>
                    <a:pt x="261" y="85"/>
                    <a:pt x="262" y="82"/>
                    <a:pt x="263" y="80"/>
                  </a:cubicBezTo>
                  <a:cubicBezTo>
                    <a:pt x="263" y="80"/>
                    <a:pt x="260" y="80"/>
                    <a:pt x="260" y="80"/>
                  </a:cubicBezTo>
                  <a:cubicBezTo>
                    <a:pt x="260" y="79"/>
                    <a:pt x="261" y="78"/>
                    <a:pt x="261" y="78"/>
                  </a:cubicBezTo>
                  <a:cubicBezTo>
                    <a:pt x="262" y="76"/>
                    <a:pt x="261" y="76"/>
                    <a:pt x="261" y="75"/>
                  </a:cubicBezTo>
                  <a:cubicBezTo>
                    <a:pt x="259" y="75"/>
                    <a:pt x="260" y="76"/>
                    <a:pt x="259" y="74"/>
                  </a:cubicBezTo>
                  <a:cubicBezTo>
                    <a:pt x="258" y="74"/>
                    <a:pt x="258" y="74"/>
                    <a:pt x="258" y="74"/>
                  </a:cubicBezTo>
                  <a:cubicBezTo>
                    <a:pt x="258" y="74"/>
                    <a:pt x="258" y="73"/>
                    <a:pt x="259" y="72"/>
                  </a:cubicBezTo>
                  <a:cubicBezTo>
                    <a:pt x="258" y="71"/>
                    <a:pt x="258" y="71"/>
                    <a:pt x="257" y="70"/>
                  </a:cubicBezTo>
                  <a:cubicBezTo>
                    <a:pt x="256" y="70"/>
                    <a:pt x="255" y="69"/>
                    <a:pt x="254" y="70"/>
                  </a:cubicBezTo>
                  <a:cubicBezTo>
                    <a:pt x="254" y="70"/>
                    <a:pt x="253" y="72"/>
                    <a:pt x="252" y="72"/>
                  </a:cubicBezTo>
                  <a:cubicBezTo>
                    <a:pt x="252" y="71"/>
                    <a:pt x="253" y="70"/>
                    <a:pt x="253" y="68"/>
                  </a:cubicBezTo>
                  <a:cubicBezTo>
                    <a:pt x="251" y="68"/>
                    <a:pt x="251" y="67"/>
                    <a:pt x="248" y="66"/>
                  </a:cubicBezTo>
                  <a:cubicBezTo>
                    <a:pt x="248" y="66"/>
                    <a:pt x="248" y="64"/>
                    <a:pt x="248" y="64"/>
                  </a:cubicBezTo>
                  <a:cubicBezTo>
                    <a:pt x="247" y="64"/>
                    <a:pt x="247" y="66"/>
                    <a:pt x="245" y="65"/>
                  </a:cubicBezTo>
                  <a:cubicBezTo>
                    <a:pt x="244" y="65"/>
                    <a:pt x="242" y="62"/>
                    <a:pt x="241" y="61"/>
                  </a:cubicBezTo>
                  <a:cubicBezTo>
                    <a:pt x="239" y="60"/>
                    <a:pt x="239" y="60"/>
                    <a:pt x="239" y="60"/>
                  </a:cubicBezTo>
                  <a:cubicBezTo>
                    <a:pt x="232" y="58"/>
                    <a:pt x="230" y="63"/>
                    <a:pt x="226" y="65"/>
                  </a:cubicBezTo>
                  <a:cubicBezTo>
                    <a:pt x="227" y="66"/>
                    <a:pt x="228" y="67"/>
                    <a:pt x="228" y="68"/>
                  </a:cubicBezTo>
                  <a:cubicBezTo>
                    <a:pt x="227" y="69"/>
                    <a:pt x="226" y="68"/>
                    <a:pt x="225" y="68"/>
                  </a:cubicBezTo>
                  <a:cubicBezTo>
                    <a:pt x="221" y="72"/>
                    <a:pt x="221" y="72"/>
                    <a:pt x="221" y="72"/>
                  </a:cubicBezTo>
                  <a:cubicBezTo>
                    <a:pt x="224" y="72"/>
                    <a:pt x="217" y="75"/>
                    <a:pt x="220" y="72"/>
                  </a:cubicBezTo>
                  <a:cubicBezTo>
                    <a:pt x="216" y="72"/>
                    <a:pt x="214" y="72"/>
                    <a:pt x="210" y="74"/>
                  </a:cubicBezTo>
                  <a:cubicBezTo>
                    <a:pt x="208" y="72"/>
                    <a:pt x="208" y="71"/>
                    <a:pt x="207" y="70"/>
                  </a:cubicBezTo>
                  <a:cubicBezTo>
                    <a:pt x="211" y="73"/>
                    <a:pt x="209" y="72"/>
                    <a:pt x="214" y="71"/>
                  </a:cubicBezTo>
                  <a:cubicBezTo>
                    <a:pt x="214" y="71"/>
                    <a:pt x="218" y="72"/>
                    <a:pt x="219" y="72"/>
                  </a:cubicBezTo>
                  <a:cubicBezTo>
                    <a:pt x="219" y="72"/>
                    <a:pt x="219" y="71"/>
                    <a:pt x="219" y="70"/>
                  </a:cubicBezTo>
                  <a:cubicBezTo>
                    <a:pt x="221" y="70"/>
                    <a:pt x="221" y="70"/>
                    <a:pt x="222" y="70"/>
                  </a:cubicBezTo>
                  <a:cubicBezTo>
                    <a:pt x="222" y="68"/>
                    <a:pt x="222" y="68"/>
                    <a:pt x="222" y="68"/>
                  </a:cubicBezTo>
                  <a:cubicBezTo>
                    <a:pt x="222" y="68"/>
                    <a:pt x="224" y="68"/>
                    <a:pt x="224" y="68"/>
                  </a:cubicBezTo>
                  <a:cubicBezTo>
                    <a:pt x="225" y="67"/>
                    <a:pt x="224" y="66"/>
                    <a:pt x="225" y="64"/>
                  </a:cubicBezTo>
                  <a:cubicBezTo>
                    <a:pt x="226" y="64"/>
                    <a:pt x="226" y="64"/>
                    <a:pt x="226" y="64"/>
                  </a:cubicBezTo>
                  <a:cubicBezTo>
                    <a:pt x="227" y="62"/>
                    <a:pt x="226" y="60"/>
                    <a:pt x="225" y="58"/>
                  </a:cubicBezTo>
                  <a:cubicBezTo>
                    <a:pt x="227" y="58"/>
                    <a:pt x="225" y="55"/>
                    <a:pt x="225" y="55"/>
                  </a:cubicBezTo>
                  <a:cubicBezTo>
                    <a:pt x="225" y="55"/>
                    <a:pt x="225" y="55"/>
                    <a:pt x="225" y="55"/>
                  </a:cubicBezTo>
                  <a:cubicBezTo>
                    <a:pt x="223" y="55"/>
                    <a:pt x="222" y="55"/>
                    <a:pt x="219" y="55"/>
                  </a:cubicBezTo>
                  <a:cubicBezTo>
                    <a:pt x="220" y="55"/>
                    <a:pt x="220" y="51"/>
                    <a:pt x="219" y="51"/>
                  </a:cubicBezTo>
                  <a:cubicBezTo>
                    <a:pt x="214" y="50"/>
                    <a:pt x="214" y="54"/>
                    <a:pt x="212" y="55"/>
                  </a:cubicBezTo>
                  <a:cubicBezTo>
                    <a:pt x="211" y="56"/>
                    <a:pt x="209" y="56"/>
                    <a:pt x="209" y="57"/>
                  </a:cubicBezTo>
                  <a:cubicBezTo>
                    <a:pt x="208" y="57"/>
                    <a:pt x="209" y="59"/>
                    <a:pt x="208" y="60"/>
                  </a:cubicBezTo>
                  <a:cubicBezTo>
                    <a:pt x="208" y="60"/>
                    <a:pt x="206" y="60"/>
                    <a:pt x="206" y="61"/>
                  </a:cubicBezTo>
                  <a:cubicBezTo>
                    <a:pt x="205" y="64"/>
                    <a:pt x="206" y="66"/>
                    <a:pt x="206" y="68"/>
                  </a:cubicBezTo>
                  <a:cubicBezTo>
                    <a:pt x="205" y="67"/>
                    <a:pt x="205" y="67"/>
                    <a:pt x="205" y="67"/>
                  </a:cubicBezTo>
                  <a:cubicBezTo>
                    <a:pt x="203" y="62"/>
                    <a:pt x="203" y="65"/>
                    <a:pt x="201" y="66"/>
                  </a:cubicBezTo>
                  <a:cubicBezTo>
                    <a:pt x="200" y="67"/>
                    <a:pt x="199" y="67"/>
                    <a:pt x="199" y="67"/>
                  </a:cubicBezTo>
                  <a:cubicBezTo>
                    <a:pt x="198" y="68"/>
                    <a:pt x="200" y="72"/>
                    <a:pt x="199" y="75"/>
                  </a:cubicBezTo>
                  <a:cubicBezTo>
                    <a:pt x="199" y="76"/>
                    <a:pt x="197" y="77"/>
                    <a:pt x="197" y="78"/>
                  </a:cubicBezTo>
                  <a:cubicBezTo>
                    <a:pt x="196" y="80"/>
                    <a:pt x="198" y="75"/>
                    <a:pt x="198" y="75"/>
                  </a:cubicBezTo>
                  <a:cubicBezTo>
                    <a:pt x="198" y="73"/>
                    <a:pt x="197" y="69"/>
                    <a:pt x="197" y="68"/>
                  </a:cubicBezTo>
                  <a:cubicBezTo>
                    <a:pt x="197" y="68"/>
                    <a:pt x="197" y="66"/>
                    <a:pt x="197" y="66"/>
                  </a:cubicBezTo>
                  <a:cubicBezTo>
                    <a:pt x="196" y="66"/>
                    <a:pt x="195" y="65"/>
                    <a:pt x="194" y="66"/>
                  </a:cubicBezTo>
                  <a:cubicBezTo>
                    <a:pt x="192" y="66"/>
                    <a:pt x="190" y="69"/>
                    <a:pt x="188" y="69"/>
                  </a:cubicBezTo>
                  <a:cubicBezTo>
                    <a:pt x="186" y="70"/>
                    <a:pt x="185" y="69"/>
                    <a:pt x="183" y="70"/>
                  </a:cubicBezTo>
                  <a:cubicBezTo>
                    <a:pt x="186" y="69"/>
                    <a:pt x="190" y="66"/>
                    <a:pt x="193" y="65"/>
                  </a:cubicBezTo>
                  <a:cubicBezTo>
                    <a:pt x="193" y="65"/>
                    <a:pt x="195" y="66"/>
                    <a:pt x="196" y="65"/>
                  </a:cubicBezTo>
                  <a:cubicBezTo>
                    <a:pt x="197" y="64"/>
                    <a:pt x="196" y="61"/>
                    <a:pt x="197" y="60"/>
                  </a:cubicBezTo>
                  <a:cubicBezTo>
                    <a:pt x="197" y="59"/>
                    <a:pt x="200" y="57"/>
                    <a:pt x="200" y="55"/>
                  </a:cubicBezTo>
                  <a:cubicBezTo>
                    <a:pt x="200" y="55"/>
                    <a:pt x="200" y="54"/>
                    <a:pt x="200" y="53"/>
                  </a:cubicBezTo>
                  <a:cubicBezTo>
                    <a:pt x="201" y="52"/>
                    <a:pt x="203" y="51"/>
                    <a:pt x="204" y="51"/>
                  </a:cubicBezTo>
                  <a:cubicBezTo>
                    <a:pt x="205" y="50"/>
                    <a:pt x="205" y="47"/>
                    <a:pt x="206" y="47"/>
                  </a:cubicBezTo>
                  <a:cubicBezTo>
                    <a:pt x="207" y="47"/>
                    <a:pt x="207" y="49"/>
                    <a:pt x="206" y="49"/>
                  </a:cubicBezTo>
                  <a:cubicBezTo>
                    <a:pt x="206" y="50"/>
                    <a:pt x="206" y="51"/>
                    <a:pt x="207" y="53"/>
                  </a:cubicBezTo>
                  <a:cubicBezTo>
                    <a:pt x="208" y="52"/>
                    <a:pt x="213" y="54"/>
                    <a:pt x="212" y="51"/>
                  </a:cubicBezTo>
                  <a:cubicBezTo>
                    <a:pt x="212" y="50"/>
                    <a:pt x="212" y="50"/>
                    <a:pt x="211" y="50"/>
                  </a:cubicBezTo>
                  <a:cubicBezTo>
                    <a:pt x="211" y="49"/>
                    <a:pt x="211" y="47"/>
                    <a:pt x="211" y="47"/>
                  </a:cubicBezTo>
                  <a:cubicBezTo>
                    <a:pt x="213" y="47"/>
                    <a:pt x="213" y="47"/>
                    <a:pt x="213" y="47"/>
                  </a:cubicBezTo>
                  <a:cubicBezTo>
                    <a:pt x="213" y="45"/>
                    <a:pt x="214" y="43"/>
                    <a:pt x="214" y="41"/>
                  </a:cubicBezTo>
                  <a:cubicBezTo>
                    <a:pt x="213" y="42"/>
                    <a:pt x="212" y="41"/>
                    <a:pt x="212" y="41"/>
                  </a:cubicBezTo>
                  <a:cubicBezTo>
                    <a:pt x="211" y="41"/>
                    <a:pt x="210" y="43"/>
                    <a:pt x="210" y="43"/>
                  </a:cubicBezTo>
                  <a:cubicBezTo>
                    <a:pt x="210" y="44"/>
                    <a:pt x="211" y="44"/>
                    <a:pt x="210" y="45"/>
                  </a:cubicBezTo>
                  <a:cubicBezTo>
                    <a:pt x="210" y="45"/>
                    <a:pt x="208" y="45"/>
                    <a:pt x="208" y="45"/>
                  </a:cubicBezTo>
                  <a:cubicBezTo>
                    <a:pt x="210" y="41"/>
                    <a:pt x="212" y="41"/>
                    <a:pt x="208" y="38"/>
                  </a:cubicBezTo>
                  <a:cubicBezTo>
                    <a:pt x="213" y="36"/>
                    <a:pt x="211" y="37"/>
                    <a:pt x="213" y="32"/>
                  </a:cubicBezTo>
                  <a:cubicBezTo>
                    <a:pt x="211" y="32"/>
                    <a:pt x="209" y="32"/>
                    <a:pt x="207" y="32"/>
                  </a:cubicBezTo>
                  <a:cubicBezTo>
                    <a:pt x="207" y="30"/>
                    <a:pt x="208" y="27"/>
                    <a:pt x="207" y="25"/>
                  </a:cubicBezTo>
                  <a:cubicBezTo>
                    <a:pt x="207" y="24"/>
                    <a:pt x="205" y="23"/>
                    <a:pt x="205" y="23"/>
                  </a:cubicBezTo>
                  <a:cubicBezTo>
                    <a:pt x="204" y="20"/>
                    <a:pt x="206" y="19"/>
                    <a:pt x="205" y="16"/>
                  </a:cubicBezTo>
                  <a:cubicBezTo>
                    <a:pt x="204" y="14"/>
                    <a:pt x="202" y="12"/>
                    <a:pt x="202" y="10"/>
                  </a:cubicBezTo>
                  <a:cubicBezTo>
                    <a:pt x="201" y="9"/>
                    <a:pt x="202" y="8"/>
                    <a:pt x="202" y="7"/>
                  </a:cubicBezTo>
                  <a:cubicBezTo>
                    <a:pt x="201" y="7"/>
                    <a:pt x="199" y="7"/>
                    <a:pt x="199" y="6"/>
                  </a:cubicBezTo>
                  <a:cubicBezTo>
                    <a:pt x="195" y="13"/>
                    <a:pt x="195" y="13"/>
                    <a:pt x="195" y="13"/>
                  </a:cubicBezTo>
                  <a:cubicBezTo>
                    <a:pt x="194" y="19"/>
                    <a:pt x="194" y="19"/>
                    <a:pt x="194" y="19"/>
                  </a:cubicBezTo>
                  <a:cubicBezTo>
                    <a:pt x="194" y="19"/>
                    <a:pt x="193" y="27"/>
                    <a:pt x="192" y="28"/>
                  </a:cubicBezTo>
                  <a:cubicBezTo>
                    <a:pt x="192" y="30"/>
                    <a:pt x="187" y="36"/>
                    <a:pt x="187" y="36"/>
                  </a:cubicBezTo>
                  <a:cubicBezTo>
                    <a:pt x="184" y="33"/>
                    <a:pt x="184" y="33"/>
                    <a:pt x="184" y="33"/>
                  </a:cubicBezTo>
                  <a:cubicBezTo>
                    <a:pt x="179" y="34"/>
                    <a:pt x="179" y="34"/>
                    <a:pt x="179" y="34"/>
                  </a:cubicBezTo>
                  <a:cubicBezTo>
                    <a:pt x="179" y="34"/>
                    <a:pt x="176" y="37"/>
                    <a:pt x="174" y="36"/>
                  </a:cubicBezTo>
                  <a:cubicBezTo>
                    <a:pt x="172" y="34"/>
                    <a:pt x="171" y="31"/>
                    <a:pt x="171" y="31"/>
                  </a:cubicBezTo>
                  <a:cubicBezTo>
                    <a:pt x="167" y="31"/>
                    <a:pt x="167" y="31"/>
                    <a:pt x="167" y="31"/>
                  </a:cubicBezTo>
                  <a:cubicBezTo>
                    <a:pt x="166" y="29"/>
                    <a:pt x="166" y="29"/>
                    <a:pt x="166" y="29"/>
                  </a:cubicBezTo>
                  <a:cubicBezTo>
                    <a:pt x="163" y="30"/>
                    <a:pt x="163" y="30"/>
                    <a:pt x="163" y="30"/>
                  </a:cubicBezTo>
                  <a:cubicBezTo>
                    <a:pt x="157" y="28"/>
                    <a:pt x="157" y="28"/>
                    <a:pt x="157" y="28"/>
                  </a:cubicBezTo>
                  <a:cubicBezTo>
                    <a:pt x="156" y="33"/>
                    <a:pt x="156" y="33"/>
                    <a:pt x="156" y="33"/>
                  </a:cubicBezTo>
                  <a:cubicBezTo>
                    <a:pt x="159" y="35"/>
                    <a:pt x="159" y="35"/>
                    <a:pt x="159" y="35"/>
                  </a:cubicBezTo>
                  <a:cubicBezTo>
                    <a:pt x="157" y="39"/>
                    <a:pt x="157" y="39"/>
                    <a:pt x="157" y="39"/>
                  </a:cubicBezTo>
                  <a:cubicBezTo>
                    <a:pt x="151" y="37"/>
                    <a:pt x="151" y="37"/>
                    <a:pt x="151" y="37"/>
                  </a:cubicBezTo>
                  <a:cubicBezTo>
                    <a:pt x="147" y="38"/>
                    <a:pt x="147" y="38"/>
                    <a:pt x="147" y="38"/>
                  </a:cubicBezTo>
                  <a:cubicBezTo>
                    <a:pt x="147" y="38"/>
                    <a:pt x="145" y="39"/>
                    <a:pt x="143" y="37"/>
                  </a:cubicBezTo>
                  <a:cubicBezTo>
                    <a:pt x="140" y="36"/>
                    <a:pt x="141" y="39"/>
                    <a:pt x="139" y="39"/>
                  </a:cubicBezTo>
                  <a:cubicBezTo>
                    <a:pt x="137" y="39"/>
                    <a:pt x="138" y="43"/>
                    <a:pt x="137" y="42"/>
                  </a:cubicBezTo>
                  <a:cubicBezTo>
                    <a:pt x="135" y="41"/>
                    <a:pt x="134" y="45"/>
                    <a:pt x="133" y="45"/>
                  </a:cubicBezTo>
                  <a:cubicBezTo>
                    <a:pt x="131" y="45"/>
                    <a:pt x="129" y="44"/>
                    <a:pt x="129" y="42"/>
                  </a:cubicBezTo>
                  <a:cubicBezTo>
                    <a:pt x="129" y="41"/>
                    <a:pt x="126" y="40"/>
                    <a:pt x="125" y="39"/>
                  </a:cubicBezTo>
                  <a:cubicBezTo>
                    <a:pt x="124" y="37"/>
                    <a:pt x="122" y="36"/>
                    <a:pt x="123" y="33"/>
                  </a:cubicBezTo>
                  <a:cubicBezTo>
                    <a:pt x="124" y="30"/>
                    <a:pt x="123" y="20"/>
                    <a:pt x="123" y="20"/>
                  </a:cubicBezTo>
                  <a:cubicBezTo>
                    <a:pt x="123" y="20"/>
                    <a:pt x="126" y="18"/>
                    <a:pt x="128" y="16"/>
                  </a:cubicBezTo>
                  <a:cubicBezTo>
                    <a:pt x="130" y="15"/>
                    <a:pt x="129" y="14"/>
                    <a:pt x="128" y="12"/>
                  </a:cubicBezTo>
                  <a:cubicBezTo>
                    <a:pt x="127" y="11"/>
                    <a:pt x="129" y="9"/>
                    <a:pt x="128" y="9"/>
                  </a:cubicBezTo>
                  <a:cubicBezTo>
                    <a:pt x="127" y="8"/>
                    <a:pt x="123" y="7"/>
                    <a:pt x="123" y="7"/>
                  </a:cubicBezTo>
                  <a:cubicBezTo>
                    <a:pt x="126" y="4"/>
                    <a:pt x="126" y="4"/>
                    <a:pt x="126" y="4"/>
                  </a:cubicBezTo>
                  <a:cubicBezTo>
                    <a:pt x="126" y="4"/>
                    <a:pt x="126" y="1"/>
                    <a:pt x="124" y="1"/>
                  </a:cubicBezTo>
                  <a:cubicBezTo>
                    <a:pt x="122" y="2"/>
                    <a:pt x="118" y="0"/>
                    <a:pt x="118" y="0"/>
                  </a:cubicBezTo>
                  <a:cubicBezTo>
                    <a:pt x="118" y="3"/>
                    <a:pt x="118" y="3"/>
                    <a:pt x="118" y="3"/>
                  </a:cubicBezTo>
                  <a:cubicBezTo>
                    <a:pt x="117" y="6"/>
                    <a:pt x="117" y="6"/>
                    <a:pt x="117" y="6"/>
                  </a:cubicBezTo>
                  <a:cubicBezTo>
                    <a:pt x="117" y="6"/>
                    <a:pt x="114" y="6"/>
                    <a:pt x="113" y="6"/>
                  </a:cubicBezTo>
                  <a:cubicBezTo>
                    <a:pt x="111" y="6"/>
                    <a:pt x="111" y="10"/>
                    <a:pt x="109" y="10"/>
                  </a:cubicBezTo>
                  <a:cubicBezTo>
                    <a:pt x="107" y="10"/>
                    <a:pt x="107" y="12"/>
                    <a:pt x="105" y="12"/>
                  </a:cubicBezTo>
                  <a:cubicBezTo>
                    <a:pt x="103" y="12"/>
                    <a:pt x="100" y="12"/>
                    <a:pt x="100" y="12"/>
                  </a:cubicBezTo>
                  <a:cubicBezTo>
                    <a:pt x="100" y="12"/>
                    <a:pt x="98" y="11"/>
                    <a:pt x="97" y="13"/>
                  </a:cubicBezTo>
                  <a:cubicBezTo>
                    <a:pt x="96" y="15"/>
                    <a:pt x="98" y="16"/>
                    <a:pt x="98" y="16"/>
                  </a:cubicBezTo>
                  <a:cubicBezTo>
                    <a:pt x="98" y="16"/>
                    <a:pt x="94" y="16"/>
                    <a:pt x="93" y="14"/>
                  </a:cubicBezTo>
                  <a:cubicBezTo>
                    <a:pt x="92" y="13"/>
                    <a:pt x="87" y="13"/>
                    <a:pt x="87" y="13"/>
                  </a:cubicBezTo>
                  <a:cubicBezTo>
                    <a:pt x="87" y="13"/>
                    <a:pt x="85" y="11"/>
                    <a:pt x="81" y="11"/>
                  </a:cubicBezTo>
                  <a:cubicBezTo>
                    <a:pt x="78" y="10"/>
                    <a:pt x="78" y="11"/>
                    <a:pt x="80" y="12"/>
                  </a:cubicBezTo>
                  <a:cubicBezTo>
                    <a:pt x="82" y="13"/>
                    <a:pt x="80" y="15"/>
                    <a:pt x="82" y="17"/>
                  </a:cubicBezTo>
                  <a:cubicBezTo>
                    <a:pt x="84" y="19"/>
                    <a:pt x="84" y="20"/>
                    <a:pt x="84" y="21"/>
                  </a:cubicBezTo>
                  <a:cubicBezTo>
                    <a:pt x="85" y="23"/>
                    <a:pt x="83" y="27"/>
                    <a:pt x="83" y="29"/>
                  </a:cubicBezTo>
                  <a:cubicBezTo>
                    <a:pt x="84" y="31"/>
                    <a:pt x="85" y="31"/>
                    <a:pt x="87" y="32"/>
                  </a:cubicBezTo>
                  <a:cubicBezTo>
                    <a:pt x="88" y="33"/>
                    <a:pt x="91" y="32"/>
                    <a:pt x="93" y="31"/>
                  </a:cubicBezTo>
                  <a:cubicBezTo>
                    <a:pt x="95" y="30"/>
                    <a:pt x="96" y="34"/>
                    <a:pt x="96" y="34"/>
                  </a:cubicBezTo>
                  <a:cubicBezTo>
                    <a:pt x="96" y="34"/>
                    <a:pt x="95" y="35"/>
                    <a:pt x="93" y="35"/>
                  </a:cubicBezTo>
                  <a:cubicBezTo>
                    <a:pt x="91" y="35"/>
                    <a:pt x="90" y="41"/>
                    <a:pt x="88" y="41"/>
                  </a:cubicBezTo>
                  <a:cubicBezTo>
                    <a:pt x="86" y="41"/>
                    <a:pt x="86" y="43"/>
                    <a:pt x="84" y="43"/>
                  </a:cubicBezTo>
                  <a:cubicBezTo>
                    <a:pt x="82" y="43"/>
                    <a:pt x="81" y="47"/>
                    <a:pt x="79" y="47"/>
                  </a:cubicBezTo>
                  <a:cubicBezTo>
                    <a:pt x="76" y="47"/>
                    <a:pt x="73" y="50"/>
                    <a:pt x="73" y="50"/>
                  </a:cubicBezTo>
                  <a:cubicBezTo>
                    <a:pt x="69" y="47"/>
                    <a:pt x="69" y="47"/>
                    <a:pt x="69" y="47"/>
                  </a:cubicBezTo>
                  <a:cubicBezTo>
                    <a:pt x="66" y="46"/>
                    <a:pt x="66" y="46"/>
                    <a:pt x="66" y="46"/>
                  </a:cubicBezTo>
                  <a:cubicBezTo>
                    <a:pt x="65" y="42"/>
                    <a:pt x="65" y="42"/>
                    <a:pt x="65" y="42"/>
                  </a:cubicBezTo>
                  <a:cubicBezTo>
                    <a:pt x="62" y="42"/>
                    <a:pt x="62" y="42"/>
                    <a:pt x="62" y="42"/>
                  </a:cubicBezTo>
                  <a:cubicBezTo>
                    <a:pt x="61" y="46"/>
                    <a:pt x="61" y="46"/>
                    <a:pt x="61" y="46"/>
                  </a:cubicBezTo>
                  <a:cubicBezTo>
                    <a:pt x="58" y="47"/>
                    <a:pt x="58" y="47"/>
                    <a:pt x="58" y="47"/>
                  </a:cubicBezTo>
                  <a:cubicBezTo>
                    <a:pt x="55" y="45"/>
                    <a:pt x="55" y="45"/>
                    <a:pt x="55" y="45"/>
                  </a:cubicBezTo>
                  <a:cubicBezTo>
                    <a:pt x="55" y="47"/>
                    <a:pt x="55" y="47"/>
                    <a:pt x="55" y="47"/>
                  </a:cubicBezTo>
                  <a:cubicBezTo>
                    <a:pt x="55" y="47"/>
                    <a:pt x="49" y="48"/>
                    <a:pt x="46" y="48"/>
                  </a:cubicBezTo>
                  <a:cubicBezTo>
                    <a:pt x="44" y="48"/>
                    <a:pt x="41" y="46"/>
                    <a:pt x="41" y="46"/>
                  </a:cubicBezTo>
                  <a:cubicBezTo>
                    <a:pt x="40" y="50"/>
                    <a:pt x="40" y="50"/>
                    <a:pt x="40" y="50"/>
                  </a:cubicBezTo>
                  <a:cubicBezTo>
                    <a:pt x="45" y="51"/>
                    <a:pt x="45" y="51"/>
                    <a:pt x="45" y="51"/>
                  </a:cubicBezTo>
                  <a:cubicBezTo>
                    <a:pt x="44" y="52"/>
                    <a:pt x="44" y="52"/>
                    <a:pt x="44" y="52"/>
                  </a:cubicBezTo>
                  <a:cubicBezTo>
                    <a:pt x="39" y="52"/>
                    <a:pt x="39" y="52"/>
                    <a:pt x="39" y="52"/>
                  </a:cubicBezTo>
                  <a:cubicBezTo>
                    <a:pt x="38" y="57"/>
                    <a:pt x="38" y="57"/>
                    <a:pt x="38" y="57"/>
                  </a:cubicBezTo>
                  <a:cubicBezTo>
                    <a:pt x="41" y="58"/>
                    <a:pt x="41" y="58"/>
                    <a:pt x="41" y="58"/>
                  </a:cubicBezTo>
                  <a:cubicBezTo>
                    <a:pt x="41" y="58"/>
                    <a:pt x="44" y="65"/>
                    <a:pt x="44" y="66"/>
                  </a:cubicBezTo>
                  <a:cubicBezTo>
                    <a:pt x="46" y="69"/>
                    <a:pt x="43" y="72"/>
                    <a:pt x="43" y="74"/>
                  </a:cubicBezTo>
                  <a:cubicBezTo>
                    <a:pt x="42" y="77"/>
                    <a:pt x="33" y="99"/>
                    <a:pt x="33" y="99"/>
                  </a:cubicBezTo>
                  <a:cubicBezTo>
                    <a:pt x="33" y="99"/>
                    <a:pt x="33" y="102"/>
                    <a:pt x="31" y="102"/>
                  </a:cubicBezTo>
                  <a:cubicBezTo>
                    <a:pt x="28" y="102"/>
                    <a:pt x="26" y="102"/>
                    <a:pt x="24" y="103"/>
                  </a:cubicBezTo>
                  <a:cubicBezTo>
                    <a:pt x="22" y="104"/>
                    <a:pt x="18" y="104"/>
                    <a:pt x="16" y="106"/>
                  </a:cubicBezTo>
                  <a:cubicBezTo>
                    <a:pt x="14" y="108"/>
                    <a:pt x="10" y="109"/>
                    <a:pt x="9" y="112"/>
                  </a:cubicBezTo>
                  <a:cubicBezTo>
                    <a:pt x="8" y="114"/>
                    <a:pt x="8" y="117"/>
                    <a:pt x="7" y="119"/>
                  </a:cubicBezTo>
                  <a:cubicBezTo>
                    <a:pt x="5" y="122"/>
                    <a:pt x="4" y="123"/>
                    <a:pt x="4" y="125"/>
                  </a:cubicBezTo>
                  <a:cubicBezTo>
                    <a:pt x="4" y="127"/>
                    <a:pt x="4" y="130"/>
                    <a:pt x="4" y="130"/>
                  </a:cubicBezTo>
                  <a:cubicBezTo>
                    <a:pt x="4" y="130"/>
                    <a:pt x="0" y="128"/>
                    <a:pt x="0" y="130"/>
                  </a:cubicBezTo>
                  <a:cubicBezTo>
                    <a:pt x="0" y="131"/>
                    <a:pt x="0" y="135"/>
                    <a:pt x="2" y="136"/>
                  </a:cubicBezTo>
                  <a:cubicBezTo>
                    <a:pt x="3" y="136"/>
                    <a:pt x="3" y="140"/>
                    <a:pt x="3" y="140"/>
                  </a:cubicBezTo>
                  <a:cubicBezTo>
                    <a:pt x="2" y="144"/>
                    <a:pt x="2" y="144"/>
                    <a:pt x="2" y="144"/>
                  </a:cubicBezTo>
                  <a:cubicBezTo>
                    <a:pt x="2" y="144"/>
                    <a:pt x="6" y="146"/>
                    <a:pt x="7" y="149"/>
                  </a:cubicBezTo>
                  <a:cubicBezTo>
                    <a:pt x="8" y="151"/>
                    <a:pt x="13" y="152"/>
                    <a:pt x="13" y="154"/>
                  </a:cubicBezTo>
                  <a:cubicBezTo>
                    <a:pt x="13" y="157"/>
                    <a:pt x="15" y="158"/>
                    <a:pt x="15" y="158"/>
                  </a:cubicBezTo>
                  <a:cubicBezTo>
                    <a:pt x="23" y="158"/>
                    <a:pt x="23" y="158"/>
                    <a:pt x="23" y="158"/>
                  </a:cubicBezTo>
                  <a:cubicBezTo>
                    <a:pt x="23" y="158"/>
                    <a:pt x="27" y="156"/>
                    <a:pt x="29" y="154"/>
                  </a:cubicBezTo>
                  <a:cubicBezTo>
                    <a:pt x="31" y="152"/>
                    <a:pt x="31" y="156"/>
                    <a:pt x="31" y="156"/>
                  </a:cubicBezTo>
                  <a:cubicBezTo>
                    <a:pt x="29" y="182"/>
                    <a:pt x="29" y="182"/>
                    <a:pt x="29" y="182"/>
                  </a:cubicBezTo>
                  <a:cubicBezTo>
                    <a:pt x="39" y="185"/>
                    <a:pt x="39" y="185"/>
                    <a:pt x="39" y="185"/>
                  </a:cubicBezTo>
                  <a:cubicBezTo>
                    <a:pt x="39" y="185"/>
                    <a:pt x="41" y="185"/>
                    <a:pt x="43" y="186"/>
                  </a:cubicBezTo>
                  <a:cubicBezTo>
                    <a:pt x="44" y="187"/>
                    <a:pt x="49" y="185"/>
                    <a:pt x="48" y="184"/>
                  </a:cubicBezTo>
                  <a:cubicBezTo>
                    <a:pt x="47" y="182"/>
                    <a:pt x="49" y="181"/>
                    <a:pt x="49" y="181"/>
                  </a:cubicBezTo>
                  <a:cubicBezTo>
                    <a:pt x="52" y="181"/>
                    <a:pt x="52" y="181"/>
                    <a:pt x="52" y="181"/>
                  </a:cubicBezTo>
                  <a:cubicBezTo>
                    <a:pt x="52" y="181"/>
                    <a:pt x="58" y="171"/>
                    <a:pt x="61" y="170"/>
                  </a:cubicBezTo>
                  <a:cubicBezTo>
                    <a:pt x="65" y="170"/>
                    <a:pt x="69" y="168"/>
                    <a:pt x="72" y="168"/>
                  </a:cubicBezTo>
                  <a:cubicBezTo>
                    <a:pt x="76" y="168"/>
                    <a:pt x="76" y="168"/>
                    <a:pt x="76" y="168"/>
                  </a:cubicBezTo>
                  <a:cubicBezTo>
                    <a:pt x="77" y="170"/>
                    <a:pt x="77" y="170"/>
                    <a:pt x="77" y="170"/>
                  </a:cubicBezTo>
                  <a:cubicBezTo>
                    <a:pt x="77" y="170"/>
                    <a:pt x="73" y="177"/>
                    <a:pt x="74" y="179"/>
                  </a:cubicBezTo>
                  <a:cubicBezTo>
                    <a:pt x="75" y="181"/>
                    <a:pt x="76" y="184"/>
                    <a:pt x="78" y="184"/>
                  </a:cubicBezTo>
                  <a:cubicBezTo>
                    <a:pt x="80" y="185"/>
                    <a:pt x="80" y="185"/>
                    <a:pt x="83" y="186"/>
                  </a:cubicBezTo>
                  <a:cubicBezTo>
                    <a:pt x="85" y="186"/>
                    <a:pt x="86" y="182"/>
                    <a:pt x="88" y="185"/>
                  </a:cubicBezTo>
                  <a:cubicBezTo>
                    <a:pt x="91" y="188"/>
                    <a:pt x="92" y="189"/>
                    <a:pt x="95" y="191"/>
                  </a:cubicBezTo>
                  <a:cubicBezTo>
                    <a:pt x="98" y="192"/>
                    <a:pt x="97" y="193"/>
                    <a:pt x="100" y="195"/>
                  </a:cubicBezTo>
                  <a:cubicBezTo>
                    <a:pt x="102" y="196"/>
                    <a:pt x="103" y="198"/>
                    <a:pt x="106" y="198"/>
                  </a:cubicBezTo>
                  <a:cubicBezTo>
                    <a:pt x="109" y="198"/>
                    <a:pt x="110" y="200"/>
                    <a:pt x="113" y="200"/>
                  </a:cubicBezTo>
                  <a:cubicBezTo>
                    <a:pt x="115" y="200"/>
                    <a:pt x="117" y="198"/>
                    <a:pt x="118" y="200"/>
                  </a:cubicBezTo>
                  <a:cubicBezTo>
                    <a:pt x="120" y="202"/>
                    <a:pt x="120" y="205"/>
                    <a:pt x="121" y="208"/>
                  </a:cubicBezTo>
                  <a:cubicBezTo>
                    <a:pt x="122" y="210"/>
                    <a:pt x="123" y="213"/>
                    <a:pt x="123" y="213"/>
                  </a:cubicBezTo>
                  <a:cubicBezTo>
                    <a:pt x="123" y="213"/>
                    <a:pt x="121" y="216"/>
                    <a:pt x="120" y="218"/>
                  </a:cubicBezTo>
                  <a:cubicBezTo>
                    <a:pt x="119" y="220"/>
                    <a:pt x="120" y="222"/>
                    <a:pt x="122" y="225"/>
                  </a:cubicBezTo>
                  <a:cubicBezTo>
                    <a:pt x="123" y="228"/>
                    <a:pt x="123" y="230"/>
                    <a:pt x="123" y="230"/>
                  </a:cubicBezTo>
                  <a:cubicBezTo>
                    <a:pt x="136" y="229"/>
                    <a:pt x="136" y="229"/>
                    <a:pt x="136" y="229"/>
                  </a:cubicBezTo>
                  <a:cubicBezTo>
                    <a:pt x="136" y="229"/>
                    <a:pt x="135" y="232"/>
                    <a:pt x="136" y="234"/>
                  </a:cubicBezTo>
                  <a:cubicBezTo>
                    <a:pt x="136" y="237"/>
                    <a:pt x="136" y="239"/>
                    <a:pt x="139" y="241"/>
                  </a:cubicBezTo>
                  <a:cubicBezTo>
                    <a:pt x="141" y="242"/>
                    <a:pt x="142" y="244"/>
                    <a:pt x="143" y="246"/>
                  </a:cubicBezTo>
                  <a:cubicBezTo>
                    <a:pt x="144" y="248"/>
                    <a:pt x="143" y="248"/>
                    <a:pt x="143" y="251"/>
                  </a:cubicBezTo>
                  <a:cubicBezTo>
                    <a:pt x="143" y="254"/>
                    <a:pt x="140" y="262"/>
                    <a:pt x="140" y="262"/>
                  </a:cubicBezTo>
                  <a:cubicBezTo>
                    <a:pt x="142" y="265"/>
                    <a:pt x="142" y="265"/>
                    <a:pt x="142" y="265"/>
                  </a:cubicBezTo>
                  <a:cubicBezTo>
                    <a:pt x="140" y="267"/>
                    <a:pt x="140" y="267"/>
                    <a:pt x="140" y="267"/>
                  </a:cubicBezTo>
                  <a:cubicBezTo>
                    <a:pt x="141" y="269"/>
                    <a:pt x="141" y="269"/>
                    <a:pt x="141" y="269"/>
                  </a:cubicBezTo>
                  <a:cubicBezTo>
                    <a:pt x="141" y="269"/>
                    <a:pt x="142" y="270"/>
                    <a:pt x="143" y="272"/>
                  </a:cubicBezTo>
                  <a:cubicBezTo>
                    <a:pt x="145" y="274"/>
                    <a:pt x="144" y="277"/>
                    <a:pt x="144" y="280"/>
                  </a:cubicBezTo>
                  <a:cubicBezTo>
                    <a:pt x="143" y="284"/>
                    <a:pt x="145" y="285"/>
                    <a:pt x="145" y="288"/>
                  </a:cubicBezTo>
                  <a:cubicBezTo>
                    <a:pt x="145" y="290"/>
                    <a:pt x="155" y="290"/>
                    <a:pt x="155" y="290"/>
                  </a:cubicBezTo>
                  <a:cubicBezTo>
                    <a:pt x="157" y="289"/>
                    <a:pt x="157" y="289"/>
                    <a:pt x="157" y="289"/>
                  </a:cubicBezTo>
                  <a:cubicBezTo>
                    <a:pt x="158" y="291"/>
                    <a:pt x="158" y="291"/>
                    <a:pt x="158" y="291"/>
                  </a:cubicBezTo>
                  <a:cubicBezTo>
                    <a:pt x="158" y="291"/>
                    <a:pt x="158" y="294"/>
                    <a:pt x="161" y="294"/>
                  </a:cubicBezTo>
                  <a:cubicBezTo>
                    <a:pt x="164" y="294"/>
                    <a:pt x="165" y="295"/>
                    <a:pt x="165" y="298"/>
                  </a:cubicBezTo>
                  <a:cubicBezTo>
                    <a:pt x="165" y="302"/>
                    <a:pt x="165" y="305"/>
                    <a:pt x="165" y="308"/>
                  </a:cubicBezTo>
                  <a:cubicBezTo>
                    <a:pt x="165" y="311"/>
                    <a:pt x="166" y="314"/>
                    <a:pt x="167" y="313"/>
                  </a:cubicBezTo>
                  <a:cubicBezTo>
                    <a:pt x="169" y="312"/>
                    <a:pt x="172" y="311"/>
                    <a:pt x="172" y="312"/>
                  </a:cubicBezTo>
                  <a:cubicBezTo>
                    <a:pt x="172" y="314"/>
                    <a:pt x="172" y="319"/>
                    <a:pt x="171" y="321"/>
                  </a:cubicBezTo>
                  <a:cubicBezTo>
                    <a:pt x="169" y="323"/>
                    <a:pt x="170" y="331"/>
                    <a:pt x="170" y="331"/>
                  </a:cubicBezTo>
                  <a:cubicBezTo>
                    <a:pt x="170" y="331"/>
                    <a:pt x="175" y="334"/>
                    <a:pt x="174" y="332"/>
                  </a:cubicBezTo>
                  <a:cubicBezTo>
                    <a:pt x="174" y="330"/>
                    <a:pt x="177" y="332"/>
                    <a:pt x="177" y="332"/>
                  </a:cubicBezTo>
                  <a:cubicBezTo>
                    <a:pt x="177" y="332"/>
                    <a:pt x="177" y="336"/>
                    <a:pt x="178" y="339"/>
                  </a:cubicBezTo>
                  <a:cubicBezTo>
                    <a:pt x="178" y="342"/>
                    <a:pt x="178" y="347"/>
                    <a:pt x="178" y="348"/>
                  </a:cubicBezTo>
                  <a:cubicBezTo>
                    <a:pt x="179" y="350"/>
                    <a:pt x="176" y="350"/>
                    <a:pt x="175" y="351"/>
                  </a:cubicBezTo>
                  <a:cubicBezTo>
                    <a:pt x="174" y="353"/>
                    <a:pt x="169" y="352"/>
                    <a:pt x="168" y="355"/>
                  </a:cubicBezTo>
                  <a:cubicBezTo>
                    <a:pt x="167" y="357"/>
                    <a:pt x="166" y="359"/>
                    <a:pt x="164" y="361"/>
                  </a:cubicBezTo>
                  <a:cubicBezTo>
                    <a:pt x="162" y="363"/>
                    <a:pt x="160" y="363"/>
                    <a:pt x="160" y="365"/>
                  </a:cubicBezTo>
                  <a:cubicBezTo>
                    <a:pt x="159" y="367"/>
                    <a:pt x="154" y="366"/>
                    <a:pt x="154" y="369"/>
                  </a:cubicBezTo>
                  <a:cubicBezTo>
                    <a:pt x="154" y="372"/>
                    <a:pt x="153" y="375"/>
                    <a:pt x="151" y="376"/>
                  </a:cubicBezTo>
                  <a:cubicBezTo>
                    <a:pt x="149" y="377"/>
                    <a:pt x="147" y="378"/>
                    <a:pt x="147" y="380"/>
                  </a:cubicBezTo>
                  <a:cubicBezTo>
                    <a:pt x="147" y="382"/>
                    <a:pt x="145" y="387"/>
                    <a:pt x="145" y="387"/>
                  </a:cubicBezTo>
                  <a:cubicBezTo>
                    <a:pt x="151" y="385"/>
                    <a:pt x="151" y="385"/>
                    <a:pt x="151" y="385"/>
                  </a:cubicBezTo>
                  <a:cubicBezTo>
                    <a:pt x="159" y="390"/>
                    <a:pt x="159" y="390"/>
                    <a:pt x="159" y="390"/>
                  </a:cubicBezTo>
                  <a:cubicBezTo>
                    <a:pt x="159" y="390"/>
                    <a:pt x="160" y="392"/>
                    <a:pt x="161" y="394"/>
                  </a:cubicBezTo>
                  <a:cubicBezTo>
                    <a:pt x="162" y="396"/>
                    <a:pt x="165" y="395"/>
                    <a:pt x="167" y="398"/>
                  </a:cubicBezTo>
                  <a:cubicBezTo>
                    <a:pt x="168" y="400"/>
                    <a:pt x="169" y="400"/>
                    <a:pt x="172" y="402"/>
                  </a:cubicBezTo>
                  <a:cubicBezTo>
                    <a:pt x="175" y="404"/>
                    <a:pt x="177" y="403"/>
                    <a:pt x="178" y="406"/>
                  </a:cubicBezTo>
                  <a:cubicBezTo>
                    <a:pt x="178" y="409"/>
                    <a:pt x="179" y="411"/>
                    <a:pt x="182" y="412"/>
                  </a:cubicBezTo>
                  <a:cubicBezTo>
                    <a:pt x="184" y="413"/>
                    <a:pt x="185" y="414"/>
                    <a:pt x="185" y="414"/>
                  </a:cubicBezTo>
                  <a:cubicBezTo>
                    <a:pt x="181" y="420"/>
                    <a:pt x="181" y="420"/>
                    <a:pt x="181" y="420"/>
                  </a:cubicBezTo>
                  <a:cubicBezTo>
                    <a:pt x="182" y="423"/>
                    <a:pt x="182" y="423"/>
                    <a:pt x="182" y="423"/>
                  </a:cubicBezTo>
                  <a:cubicBezTo>
                    <a:pt x="185" y="421"/>
                    <a:pt x="187" y="419"/>
                    <a:pt x="188" y="416"/>
                  </a:cubicBezTo>
                  <a:cubicBezTo>
                    <a:pt x="188" y="413"/>
                    <a:pt x="187" y="412"/>
                    <a:pt x="186" y="409"/>
                  </a:cubicBezTo>
                  <a:cubicBezTo>
                    <a:pt x="188" y="408"/>
                    <a:pt x="192" y="405"/>
                    <a:pt x="192" y="402"/>
                  </a:cubicBezTo>
                  <a:cubicBezTo>
                    <a:pt x="192" y="402"/>
                    <a:pt x="192" y="400"/>
                    <a:pt x="192" y="400"/>
                  </a:cubicBezTo>
                  <a:cubicBezTo>
                    <a:pt x="193" y="399"/>
                    <a:pt x="195" y="399"/>
                    <a:pt x="196" y="398"/>
                  </a:cubicBezTo>
                  <a:cubicBezTo>
                    <a:pt x="196" y="397"/>
                    <a:pt x="196" y="397"/>
                    <a:pt x="196" y="397"/>
                  </a:cubicBezTo>
                  <a:cubicBezTo>
                    <a:pt x="199" y="395"/>
                    <a:pt x="199" y="393"/>
                    <a:pt x="199" y="388"/>
                  </a:cubicBezTo>
                  <a:cubicBezTo>
                    <a:pt x="200" y="389"/>
                    <a:pt x="201" y="388"/>
                    <a:pt x="202" y="389"/>
                  </a:cubicBezTo>
                  <a:cubicBezTo>
                    <a:pt x="202" y="390"/>
                    <a:pt x="202" y="390"/>
                    <a:pt x="202" y="390"/>
                  </a:cubicBezTo>
                  <a:cubicBezTo>
                    <a:pt x="202" y="390"/>
                    <a:pt x="203" y="391"/>
                    <a:pt x="204" y="391"/>
                  </a:cubicBezTo>
                  <a:cubicBezTo>
                    <a:pt x="204" y="391"/>
                    <a:pt x="205" y="389"/>
                    <a:pt x="204" y="389"/>
                  </a:cubicBezTo>
                  <a:cubicBezTo>
                    <a:pt x="206" y="390"/>
                    <a:pt x="206" y="390"/>
                    <a:pt x="206" y="390"/>
                  </a:cubicBezTo>
                  <a:cubicBezTo>
                    <a:pt x="205" y="390"/>
                    <a:pt x="205" y="393"/>
                    <a:pt x="205" y="392"/>
                  </a:cubicBezTo>
                  <a:cubicBezTo>
                    <a:pt x="204" y="396"/>
                    <a:pt x="204" y="397"/>
                    <a:pt x="203" y="400"/>
                  </a:cubicBezTo>
                  <a:cubicBezTo>
                    <a:pt x="203" y="400"/>
                    <a:pt x="201" y="401"/>
                    <a:pt x="201" y="402"/>
                  </a:cubicBezTo>
                  <a:cubicBezTo>
                    <a:pt x="199" y="406"/>
                    <a:pt x="205" y="399"/>
                    <a:pt x="205" y="399"/>
                  </a:cubicBezTo>
                  <a:cubicBezTo>
                    <a:pt x="206" y="396"/>
                    <a:pt x="208" y="391"/>
                    <a:pt x="209" y="388"/>
                  </a:cubicBezTo>
                  <a:cubicBezTo>
                    <a:pt x="210" y="384"/>
                    <a:pt x="210" y="381"/>
                    <a:pt x="212" y="378"/>
                  </a:cubicBezTo>
                  <a:cubicBezTo>
                    <a:pt x="213" y="377"/>
                    <a:pt x="217" y="372"/>
                    <a:pt x="218" y="372"/>
                  </a:cubicBezTo>
                  <a:cubicBezTo>
                    <a:pt x="219" y="371"/>
                    <a:pt x="220" y="372"/>
                    <a:pt x="220" y="371"/>
                  </a:cubicBezTo>
                  <a:cubicBezTo>
                    <a:pt x="221" y="370"/>
                    <a:pt x="220" y="369"/>
                    <a:pt x="221" y="367"/>
                  </a:cubicBezTo>
                  <a:cubicBezTo>
                    <a:pt x="221" y="367"/>
                    <a:pt x="222" y="366"/>
                    <a:pt x="222" y="366"/>
                  </a:cubicBezTo>
                  <a:cubicBezTo>
                    <a:pt x="221" y="365"/>
                    <a:pt x="222" y="356"/>
                    <a:pt x="222" y="353"/>
                  </a:cubicBezTo>
                  <a:cubicBezTo>
                    <a:pt x="221" y="353"/>
                    <a:pt x="220" y="353"/>
                    <a:pt x="220" y="352"/>
                  </a:cubicBezTo>
                  <a:cubicBezTo>
                    <a:pt x="220" y="351"/>
                    <a:pt x="221" y="350"/>
                    <a:pt x="221" y="349"/>
                  </a:cubicBezTo>
                  <a:cubicBezTo>
                    <a:pt x="219" y="349"/>
                    <a:pt x="219" y="349"/>
                    <a:pt x="219" y="349"/>
                  </a:cubicBezTo>
                  <a:cubicBezTo>
                    <a:pt x="219" y="349"/>
                    <a:pt x="219" y="347"/>
                    <a:pt x="219" y="347"/>
                  </a:cubicBezTo>
                  <a:cubicBezTo>
                    <a:pt x="221" y="348"/>
                    <a:pt x="220" y="346"/>
                    <a:pt x="220" y="346"/>
                  </a:cubicBezTo>
                  <a:cubicBezTo>
                    <a:pt x="220" y="346"/>
                    <a:pt x="220" y="342"/>
                    <a:pt x="220" y="341"/>
                  </a:cubicBezTo>
                  <a:cubicBezTo>
                    <a:pt x="220" y="340"/>
                    <a:pt x="219" y="341"/>
                    <a:pt x="219" y="339"/>
                  </a:cubicBezTo>
                  <a:cubicBezTo>
                    <a:pt x="219" y="338"/>
                    <a:pt x="221" y="338"/>
                    <a:pt x="221" y="337"/>
                  </a:cubicBezTo>
                  <a:cubicBezTo>
                    <a:pt x="222" y="335"/>
                    <a:pt x="221" y="334"/>
                    <a:pt x="221" y="33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76" name="Freeform 312">
              <a:extLst>
                <a:ext uri="{FF2B5EF4-FFF2-40B4-BE49-F238E27FC236}">
                  <a16:creationId xmlns:a16="http://schemas.microsoft.com/office/drawing/2014/main" id="{8B27FDDB-5F86-06FE-236E-86BBCAC00991}"/>
                </a:ext>
              </a:extLst>
            </p:cNvPr>
            <p:cNvSpPr>
              <a:spLocks/>
            </p:cNvSpPr>
            <p:nvPr/>
          </p:nvSpPr>
          <p:spPr bwMode="auto">
            <a:xfrm>
              <a:off x="6566879" y="4912899"/>
              <a:ext cx="298203" cy="355693"/>
            </a:xfrm>
            <a:custGeom>
              <a:avLst/>
              <a:gdLst>
                <a:gd name="T0" fmla="*/ 0 w 85"/>
                <a:gd name="T1" fmla="*/ 83 h 101"/>
                <a:gd name="T2" fmla="*/ 6 w 85"/>
                <a:gd name="T3" fmla="*/ 88 h 101"/>
                <a:gd name="T4" fmla="*/ 6 w 85"/>
                <a:gd name="T5" fmla="*/ 96 h 101"/>
                <a:gd name="T6" fmla="*/ 9 w 85"/>
                <a:gd name="T7" fmla="*/ 101 h 101"/>
                <a:gd name="T8" fmla="*/ 13 w 85"/>
                <a:gd name="T9" fmla="*/ 99 h 101"/>
                <a:gd name="T10" fmla="*/ 21 w 85"/>
                <a:gd name="T11" fmla="*/ 96 h 101"/>
                <a:gd name="T12" fmla="*/ 30 w 85"/>
                <a:gd name="T13" fmla="*/ 89 h 101"/>
                <a:gd name="T14" fmla="*/ 33 w 85"/>
                <a:gd name="T15" fmla="*/ 84 h 101"/>
                <a:gd name="T16" fmla="*/ 36 w 85"/>
                <a:gd name="T17" fmla="*/ 86 h 101"/>
                <a:gd name="T18" fmla="*/ 41 w 85"/>
                <a:gd name="T19" fmla="*/ 86 h 101"/>
                <a:gd name="T20" fmla="*/ 48 w 85"/>
                <a:gd name="T21" fmla="*/ 87 h 101"/>
                <a:gd name="T22" fmla="*/ 52 w 85"/>
                <a:gd name="T23" fmla="*/ 87 h 101"/>
                <a:gd name="T24" fmla="*/ 53 w 85"/>
                <a:gd name="T25" fmla="*/ 74 h 101"/>
                <a:gd name="T26" fmla="*/ 57 w 85"/>
                <a:gd name="T27" fmla="*/ 72 h 101"/>
                <a:gd name="T28" fmla="*/ 61 w 85"/>
                <a:gd name="T29" fmla="*/ 64 h 101"/>
                <a:gd name="T30" fmla="*/ 68 w 85"/>
                <a:gd name="T31" fmla="*/ 57 h 101"/>
                <a:gd name="T32" fmla="*/ 76 w 85"/>
                <a:gd name="T33" fmla="*/ 54 h 101"/>
                <a:gd name="T34" fmla="*/ 80 w 85"/>
                <a:gd name="T35" fmla="*/ 51 h 101"/>
                <a:gd name="T36" fmla="*/ 85 w 85"/>
                <a:gd name="T37" fmla="*/ 47 h 101"/>
                <a:gd name="T38" fmla="*/ 81 w 85"/>
                <a:gd name="T39" fmla="*/ 45 h 101"/>
                <a:gd name="T40" fmla="*/ 77 w 85"/>
                <a:gd name="T41" fmla="*/ 44 h 101"/>
                <a:gd name="T42" fmla="*/ 74 w 85"/>
                <a:gd name="T43" fmla="*/ 41 h 101"/>
                <a:gd name="T44" fmla="*/ 75 w 85"/>
                <a:gd name="T45" fmla="*/ 35 h 101"/>
                <a:gd name="T46" fmla="*/ 72 w 85"/>
                <a:gd name="T47" fmla="*/ 32 h 101"/>
                <a:gd name="T48" fmla="*/ 69 w 85"/>
                <a:gd name="T49" fmla="*/ 29 h 101"/>
                <a:gd name="T50" fmla="*/ 68 w 85"/>
                <a:gd name="T51" fmla="*/ 24 h 101"/>
                <a:gd name="T52" fmla="*/ 63 w 85"/>
                <a:gd name="T53" fmla="*/ 21 h 101"/>
                <a:gd name="T54" fmla="*/ 60 w 85"/>
                <a:gd name="T55" fmla="*/ 21 h 101"/>
                <a:gd name="T56" fmla="*/ 58 w 85"/>
                <a:gd name="T57" fmla="*/ 18 h 101"/>
                <a:gd name="T58" fmla="*/ 53 w 85"/>
                <a:gd name="T59" fmla="*/ 11 h 101"/>
                <a:gd name="T60" fmla="*/ 50 w 85"/>
                <a:gd name="T61" fmla="*/ 7 h 101"/>
                <a:gd name="T62" fmla="*/ 48 w 85"/>
                <a:gd name="T63" fmla="*/ 1 h 101"/>
                <a:gd name="T64" fmla="*/ 44 w 85"/>
                <a:gd name="T65" fmla="*/ 3 h 101"/>
                <a:gd name="T66" fmla="*/ 39 w 85"/>
                <a:gd name="T67" fmla="*/ 4 h 101"/>
                <a:gd name="T68" fmla="*/ 36 w 85"/>
                <a:gd name="T69" fmla="*/ 5 h 101"/>
                <a:gd name="T70" fmla="*/ 17 w 85"/>
                <a:gd name="T71" fmla="*/ 7 h 101"/>
                <a:gd name="T72" fmla="*/ 10 w 85"/>
                <a:gd name="T73" fmla="*/ 7 h 101"/>
                <a:gd name="T74" fmla="*/ 10 w 85"/>
                <a:gd name="T75" fmla="*/ 43 h 101"/>
                <a:gd name="T76" fmla="*/ 0 w 85"/>
                <a:gd name="T77" fmla="*/ 43 h 101"/>
                <a:gd name="T78" fmla="*/ 0 w 85"/>
                <a:gd name="T79" fmla="*/ 8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01">
                  <a:moveTo>
                    <a:pt x="0" y="83"/>
                  </a:moveTo>
                  <a:cubicBezTo>
                    <a:pt x="0" y="83"/>
                    <a:pt x="4" y="84"/>
                    <a:pt x="6" y="88"/>
                  </a:cubicBezTo>
                  <a:cubicBezTo>
                    <a:pt x="8" y="93"/>
                    <a:pt x="8" y="93"/>
                    <a:pt x="6" y="96"/>
                  </a:cubicBezTo>
                  <a:cubicBezTo>
                    <a:pt x="5" y="98"/>
                    <a:pt x="6" y="101"/>
                    <a:pt x="9" y="101"/>
                  </a:cubicBezTo>
                  <a:cubicBezTo>
                    <a:pt x="11" y="101"/>
                    <a:pt x="10" y="99"/>
                    <a:pt x="13" y="99"/>
                  </a:cubicBezTo>
                  <a:cubicBezTo>
                    <a:pt x="15" y="99"/>
                    <a:pt x="21" y="96"/>
                    <a:pt x="21" y="96"/>
                  </a:cubicBezTo>
                  <a:cubicBezTo>
                    <a:pt x="21" y="96"/>
                    <a:pt x="30" y="91"/>
                    <a:pt x="30" y="89"/>
                  </a:cubicBezTo>
                  <a:cubicBezTo>
                    <a:pt x="30" y="87"/>
                    <a:pt x="28" y="86"/>
                    <a:pt x="33" y="84"/>
                  </a:cubicBezTo>
                  <a:cubicBezTo>
                    <a:pt x="34" y="83"/>
                    <a:pt x="35" y="85"/>
                    <a:pt x="36" y="86"/>
                  </a:cubicBezTo>
                  <a:cubicBezTo>
                    <a:pt x="38" y="87"/>
                    <a:pt x="39" y="84"/>
                    <a:pt x="41" y="86"/>
                  </a:cubicBezTo>
                  <a:cubicBezTo>
                    <a:pt x="44" y="88"/>
                    <a:pt x="46" y="86"/>
                    <a:pt x="48" y="87"/>
                  </a:cubicBezTo>
                  <a:cubicBezTo>
                    <a:pt x="50" y="88"/>
                    <a:pt x="52" y="89"/>
                    <a:pt x="52" y="87"/>
                  </a:cubicBezTo>
                  <a:cubicBezTo>
                    <a:pt x="52" y="85"/>
                    <a:pt x="53" y="74"/>
                    <a:pt x="53" y="74"/>
                  </a:cubicBezTo>
                  <a:cubicBezTo>
                    <a:pt x="53" y="74"/>
                    <a:pt x="55" y="72"/>
                    <a:pt x="57" y="72"/>
                  </a:cubicBezTo>
                  <a:cubicBezTo>
                    <a:pt x="59" y="72"/>
                    <a:pt x="58" y="65"/>
                    <a:pt x="61" y="64"/>
                  </a:cubicBezTo>
                  <a:cubicBezTo>
                    <a:pt x="64" y="63"/>
                    <a:pt x="65" y="57"/>
                    <a:pt x="68" y="57"/>
                  </a:cubicBezTo>
                  <a:cubicBezTo>
                    <a:pt x="70" y="57"/>
                    <a:pt x="74" y="54"/>
                    <a:pt x="76" y="54"/>
                  </a:cubicBezTo>
                  <a:cubicBezTo>
                    <a:pt x="79" y="54"/>
                    <a:pt x="76" y="51"/>
                    <a:pt x="80" y="51"/>
                  </a:cubicBezTo>
                  <a:cubicBezTo>
                    <a:pt x="83" y="52"/>
                    <a:pt x="85" y="47"/>
                    <a:pt x="85" y="47"/>
                  </a:cubicBezTo>
                  <a:cubicBezTo>
                    <a:pt x="85" y="47"/>
                    <a:pt x="83" y="47"/>
                    <a:pt x="81" y="45"/>
                  </a:cubicBezTo>
                  <a:cubicBezTo>
                    <a:pt x="80" y="43"/>
                    <a:pt x="80" y="46"/>
                    <a:pt x="77" y="44"/>
                  </a:cubicBezTo>
                  <a:cubicBezTo>
                    <a:pt x="75" y="42"/>
                    <a:pt x="74" y="44"/>
                    <a:pt x="74" y="41"/>
                  </a:cubicBezTo>
                  <a:cubicBezTo>
                    <a:pt x="74" y="38"/>
                    <a:pt x="73" y="37"/>
                    <a:pt x="75" y="35"/>
                  </a:cubicBezTo>
                  <a:cubicBezTo>
                    <a:pt x="76" y="33"/>
                    <a:pt x="72" y="34"/>
                    <a:pt x="72" y="32"/>
                  </a:cubicBezTo>
                  <a:cubicBezTo>
                    <a:pt x="72" y="30"/>
                    <a:pt x="70" y="31"/>
                    <a:pt x="69" y="29"/>
                  </a:cubicBezTo>
                  <a:cubicBezTo>
                    <a:pt x="68" y="27"/>
                    <a:pt x="68" y="24"/>
                    <a:pt x="68" y="24"/>
                  </a:cubicBezTo>
                  <a:cubicBezTo>
                    <a:pt x="68" y="24"/>
                    <a:pt x="64" y="23"/>
                    <a:pt x="63" y="21"/>
                  </a:cubicBezTo>
                  <a:cubicBezTo>
                    <a:pt x="63" y="19"/>
                    <a:pt x="63" y="22"/>
                    <a:pt x="60" y="21"/>
                  </a:cubicBezTo>
                  <a:cubicBezTo>
                    <a:pt x="57" y="20"/>
                    <a:pt x="60" y="19"/>
                    <a:pt x="58" y="18"/>
                  </a:cubicBezTo>
                  <a:cubicBezTo>
                    <a:pt x="56" y="17"/>
                    <a:pt x="53" y="11"/>
                    <a:pt x="53" y="11"/>
                  </a:cubicBezTo>
                  <a:cubicBezTo>
                    <a:pt x="53" y="11"/>
                    <a:pt x="53" y="7"/>
                    <a:pt x="50" y="7"/>
                  </a:cubicBezTo>
                  <a:cubicBezTo>
                    <a:pt x="48" y="7"/>
                    <a:pt x="48" y="1"/>
                    <a:pt x="48" y="1"/>
                  </a:cubicBezTo>
                  <a:cubicBezTo>
                    <a:pt x="48" y="1"/>
                    <a:pt x="44" y="0"/>
                    <a:pt x="44" y="3"/>
                  </a:cubicBezTo>
                  <a:cubicBezTo>
                    <a:pt x="44" y="6"/>
                    <a:pt x="39" y="1"/>
                    <a:pt x="39" y="4"/>
                  </a:cubicBezTo>
                  <a:cubicBezTo>
                    <a:pt x="39" y="7"/>
                    <a:pt x="36" y="5"/>
                    <a:pt x="36" y="5"/>
                  </a:cubicBezTo>
                  <a:cubicBezTo>
                    <a:pt x="17" y="7"/>
                    <a:pt x="17" y="7"/>
                    <a:pt x="17" y="7"/>
                  </a:cubicBezTo>
                  <a:cubicBezTo>
                    <a:pt x="10" y="7"/>
                    <a:pt x="10" y="7"/>
                    <a:pt x="10" y="7"/>
                  </a:cubicBezTo>
                  <a:cubicBezTo>
                    <a:pt x="10" y="43"/>
                    <a:pt x="10" y="43"/>
                    <a:pt x="10" y="43"/>
                  </a:cubicBezTo>
                  <a:cubicBezTo>
                    <a:pt x="0" y="43"/>
                    <a:pt x="0" y="43"/>
                    <a:pt x="0" y="43"/>
                  </a:cubicBezTo>
                  <a:lnTo>
                    <a:pt x="0" y="83"/>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77" name="Freeform 313">
              <a:extLst>
                <a:ext uri="{FF2B5EF4-FFF2-40B4-BE49-F238E27FC236}">
                  <a16:creationId xmlns:a16="http://schemas.microsoft.com/office/drawing/2014/main" id="{B7F66D41-092C-FD94-99AF-3ECE6AD4C4FC}"/>
                </a:ext>
              </a:extLst>
            </p:cNvPr>
            <p:cNvSpPr>
              <a:spLocks/>
            </p:cNvSpPr>
            <p:nvPr/>
          </p:nvSpPr>
          <p:spPr bwMode="auto">
            <a:xfrm>
              <a:off x="6566879" y="4912899"/>
              <a:ext cx="298203" cy="355693"/>
            </a:xfrm>
            <a:custGeom>
              <a:avLst/>
              <a:gdLst>
                <a:gd name="T0" fmla="*/ 0 w 85"/>
                <a:gd name="T1" fmla="*/ 83 h 101"/>
                <a:gd name="T2" fmla="*/ 6 w 85"/>
                <a:gd name="T3" fmla="*/ 88 h 101"/>
                <a:gd name="T4" fmla="*/ 6 w 85"/>
                <a:gd name="T5" fmla="*/ 96 h 101"/>
                <a:gd name="T6" fmla="*/ 9 w 85"/>
                <a:gd name="T7" fmla="*/ 101 h 101"/>
                <a:gd name="T8" fmla="*/ 13 w 85"/>
                <a:gd name="T9" fmla="*/ 99 h 101"/>
                <a:gd name="T10" fmla="*/ 21 w 85"/>
                <a:gd name="T11" fmla="*/ 96 h 101"/>
                <a:gd name="T12" fmla="*/ 30 w 85"/>
                <a:gd name="T13" fmla="*/ 89 h 101"/>
                <a:gd name="T14" fmla="*/ 33 w 85"/>
                <a:gd name="T15" fmla="*/ 84 h 101"/>
                <a:gd name="T16" fmla="*/ 36 w 85"/>
                <a:gd name="T17" fmla="*/ 86 h 101"/>
                <a:gd name="T18" fmla="*/ 41 w 85"/>
                <a:gd name="T19" fmla="*/ 86 h 101"/>
                <a:gd name="T20" fmla="*/ 48 w 85"/>
                <a:gd name="T21" fmla="*/ 87 h 101"/>
                <a:gd name="T22" fmla="*/ 52 w 85"/>
                <a:gd name="T23" fmla="*/ 87 h 101"/>
                <a:gd name="T24" fmla="*/ 53 w 85"/>
                <a:gd name="T25" fmla="*/ 74 h 101"/>
                <a:gd name="T26" fmla="*/ 57 w 85"/>
                <a:gd name="T27" fmla="*/ 72 h 101"/>
                <a:gd name="T28" fmla="*/ 61 w 85"/>
                <a:gd name="T29" fmla="*/ 64 h 101"/>
                <a:gd name="T30" fmla="*/ 68 w 85"/>
                <a:gd name="T31" fmla="*/ 57 h 101"/>
                <a:gd name="T32" fmla="*/ 76 w 85"/>
                <a:gd name="T33" fmla="*/ 54 h 101"/>
                <a:gd name="T34" fmla="*/ 80 w 85"/>
                <a:gd name="T35" fmla="*/ 51 h 101"/>
                <a:gd name="T36" fmla="*/ 85 w 85"/>
                <a:gd name="T37" fmla="*/ 47 h 101"/>
                <a:gd name="T38" fmla="*/ 81 w 85"/>
                <a:gd name="T39" fmla="*/ 45 h 101"/>
                <a:gd name="T40" fmla="*/ 77 w 85"/>
                <a:gd name="T41" fmla="*/ 44 h 101"/>
                <a:gd name="T42" fmla="*/ 74 w 85"/>
                <a:gd name="T43" fmla="*/ 41 h 101"/>
                <a:gd name="T44" fmla="*/ 75 w 85"/>
                <a:gd name="T45" fmla="*/ 35 h 101"/>
                <a:gd name="T46" fmla="*/ 72 w 85"/>
                <a:gd name="T47" fmla="*/ 32 h 101"/>
                <a:gd name="T48" fmla="*/ 69 w 85"/>
                <a:gd name="T49" fmla="*/ 29 h 101"/>
                <a:gd name="T50" fmla="*/ 68 w 85"/>
                <a:gd name="T51" fmla="*/ 24 h 101"/>
                <a:gd name="T52" fmla="*/ 63 w 85"/>
                <a:gd name="T53" fmla="*/ 21 h 101"/>
                <a:gd name="T54" fmla="*/ 60 w 85"/>
                <a:gd name="T55" fmla="*/ 21 h 101"/>
                <a:gd name="T56" fmla="*/ 58 w 85"/>
                <a:gd name="T57" fmla="*/ 18 h 101"/>
                <a:gd name="T58" fmla="*/ 53 w 85"/>
                <a:gd name="T59" fmla="*/ 11 h 101"/>
                <a:gd name="T60" fmla="*/ 50 w 85"/>
                <a:gd name="T61" fmla="*/ 7 h 101"/>
                <a:gd name="T62" fmla="*/ 48 w 85"/>
                <a:gd name="T63" fmla="*/ 1 h 101"/>
                <a:gd name="T64" fmla="*/ 44 w 85"/>
                <a:gd name="T65" fmla="*/ 3 h 101"/>
                <a:gd name="T66" fmla="*/ 39 w 85"/>
                <a:gd name="T67" fmla="*/ 4 h 101"/>
                <a:gd name="T68" fmla="*/ 36 w 85"/>
                <a:gd name="T69" fmla="*/ 5 h 101"/>
                <a:gd name="T70" fmla="*/ 17 w 85"/>
                <a:gd name="T71" fmla="*/ 7 h 101"/>
                <a:gd name="T72" fmla="*/ 10 w 85"/>
                <a:gd name="T73" fmla="*/ 7 h 101"/>
                <a:gd name="T74" fmla="*/ 10 w 85"/>
                <a:gd name="T75" fmla="*/ 43 h 101"/>
                <a:gd name="T76" fmla="*/ 0 w 85"/>
                <a:gd name="T77" fmla="*/ 43 h 101"/>
                <a:gd name="T78" fmla="*/ 0 w 85"/>
                <a:gd name="T79" fmla="*/ 8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101">
                  <a:moveTo>
                    <a:pt x="0" y="83"/>
                  </a:moveTo>
                  <a:cubicBezTo>
                    <a:pt x="0" y="83"/>
                    <a:pt x="4" y="84"/>
                    <a:pt x="6" y="88"/>
                  </a:cubicBezTo>
                  <a:cubicBezTo>
                    <a:pt x="8" y="93"/>
                    <a:pt x="8" y="93"/>
                    <a:pt x="6" y="96"/>
                  </a:cubicBezTo>
                  <a:cubicBezTo>
                    <a:pt x="5" y="98"/>
                    <a:pt x="6" y="101"/>
                    <a:pt x="9" y="101"/>
                  </a:cubicBezTo>
                  <a:cubicBezTo>
                    <a:pt x="11" y="101"/>
                    <a:pt x="10" y="99"/>
                    <a:pt x="13" y="99"/>
                  </a:cubicBezTo>
                  <a:cubicBezTo>
                    <a:pt x="15" y="99"/>
                    <a:pt x="21" y="96"/>
                    <a:pt x="21" y="96"/>
                  </a:cubicBezTo>
                  <a:cubicBezTo>
                    <a:pt x="21" y="96"/>
                    <a:pt x="30" y="91"/>
                    <a:pt x="30" y="89"/>
                  </a:cubicBezTo>
                  <a:cubicBezTo>
                    <a:pt x="30" y="87"/>
                    <a:pt x="28" y="86"/>
                    <a:pt x="33" y="84"/>
                  </a:cubicBezTo>
                  <a:cubicBezTo>
                    <a:pt x="34" y="83"/>
                    <a:pt x="35" y="85"/>
                    <a:pt x="36" y="86"/>
                  </a:cubicBezTo>
                  <a:cubicBezTo>
                    <a:pt x="38" y="87"/>
                    <a:pt x="39" y="84"/>
                    <a:pt x="41" y="86"/>
                  </a:cubicBezTo>
                  <a:cubicBezTo>
                    <a:pt x="44" y="88"/>
                    <a:pt x="46" y="86"/>
                    <a:pt x="48" y="87"/>
                  </a:cubicBezTo>
                  <a:cubicBezTo>
                    <a:pt x="50" y="88"/>
                    <a:pt x="52" y="89"/>
                    <a:pt x="52" y="87"/>
                  </a:cubicBezTo>
                  <a:cubicBezTo>
                    <a:pt x="52" y="85"/>
                    <a:pt x="53" y="74"/>
                    <a:pt x="53" y="74"/>
                  </a:cubicBezTo>
                  <a:cubicBezTo>
                    <a:pt x="53" y="74"/>
                    <a:pt x="55" y="72"/>
                    <a:pt x="57" y="72"/>
                  </a:cubicBezTo>
                  <a:cubicBezTo>
                    <a:pt x="59" y="72"/>
                    <a:pt x="58" y="65"/>
                    <a:pt x="61" y="64"/>
                  </a:cubicBezTo>
                  <a:cubicBezTo>
                    <a:pt x="64" y="63"/>
                    <a:pt x="65" y="57"/>
                    <a:pt x="68" y="57"/>
                  </a:cubicBezTo>
                  <a:cubicBezTo>
                    <a:pt x="70" y="57"/>
                    <a:pt x="74" y="54"/>
                    <a:pt x="76" y="54"/>
                  </a:cubicBezTo>
                  <a:cubicBezTo>
                    <a:pt x="79" y="54"/>
                    <a:pt x="76" y="51"/>
                    <a:pt x="80" y="51"/>
                  </a:cubicBezTo>
                  <a:cubicBezTo>
                    <a:pt x="83" y="52"/>
                    <a:pt x="85" y="47"/>
                    <a:pt x="85" y="47"/>
                  </a:cubicBezTo>
                  <a:cubicBezTo>
                    <a:pt x="85" y="47"/>
                    <a:pt x="83" y="47"/>
                    <a:pt x="81" y="45"/>
                  </a:cubicBezTo>
                  <a:cubicBezTo>
                    <a:pt x="80" y="43"/>
                    <a:pt x="80" y="46"/>
                    <a:pt x="77" y="44"/>
                  </a:cubicBezTo>
                  <a:cubicBezTo>
                    <a:pt x="75" y="42"/>
                    <a:pt x="74" y="44"/>
                    <a:pt x="74" y="41"/>
                  </a:cubicBezTo>
                  <a:cubicBezTo>
                    <a:pt x="74" y="38"/>
                    <a:pt x="73" y="37"/>
                    <a:pt x="75" y="35"/>
                  </a:cubicBezTo>
                  <a:cubicBezTo>
                    <a:pt x="76" y="33"/>
                    <a:pt x="72" y="34"/>
                    <a:pt x="72" y="32"/>
                  </a:cubicBezTo>
                  <a:cubicBezTo>
                    <a:pt x="72" y="30"/>
                    <a:pt x="70" y="31"/>
                    <a:pt x="69" y="29"/>
                  </a:cubicBezTo>
                  <a:cubicBezTo>
                    <a:pt x="68" y="27"/>
                    <a:pt x="68" y="24"/>
                    <a:pt x="68" y="24"/>
                  </a:cubicBezTo>
                  <a:cubicBezTo>
                    <a:pt x="68" y="24"/>
                    <a:pt x="64" y="23"/>
                    <a:pt x="63" y="21"/>
                  </a:cubicBezTo>
                  <a:cubicBezTo>
                    <a:pt x="63" y="19"/>
                    <a:pt x="63" y="22"/>
                    <a:pt x="60" y="21"/>
                  </a:cubicBezTo>
                  <a:cubicBezTo>
                    <a:pt x="57" y="20"/>
                    <a:pt x="60" y="19"/>
                    <a:pt x="58" y="18"/>
                  </a:cubicBezTo>
                  <a:cubicBezTo>
                    <a:pt x="56" y="17"/>
                    <a:pt x="53" y="11"/>
                    <a:pt x="53" y="11"/>
                  </a:cubicBezTo>
                  <a:cubicBezTo>
                    <a:pt x="53" y="11"/>
                    <a:pt x="53" y="7"/>
                    <a:pt x="50" y="7"/>
                  </a:cubicBezTo>
                  <a:cubicBezTo>
                    <a:pt x="48" y="7"/>
                    <a:pt x="48" y="1"/>
                    <a:pt x="48" y="1"/>
                  </a:cubicBezTo>
                  <a:cubicBezTo>
                    <a:pt x="48" y="1"/>
                    <a:pt x="44" y="0"/>
                    <a:pt x="44" y="3"/>
                  </a:cubicBezTo>
                  <a:cubicBezTo>
                    <a:pt x="44" y="6"/>
                    <a:pt x="39" y="1"/>
                    <a:pt x="39" y="4"/>
                  </a:cubicBezTo>
                  <a:cubicBezTo>
                    <a:pt x="39" y="7"/>
                    <a:pt x="36" y="5"/>
                    <a:pt x="36" y="5"/>
                  </a:cubicBezTo>
                  <a:cubicBezTo>
                    <a:pt x="17" y="7"/>
                    <a:pt x="17" y="7"/>
                    <a:pt x="17" y="7"/>
                  </a:cubicBezTo>
                  <a:cubicBezTo>
                    <a:pt x="10" y="7"/>
                    <a:pt x="10" y="7"/>
                    <a:pt x="10" y="7"/>
                  </a:cubicBezTo>
                  <a:cubicBezTo>
                    <a:pt x="10" y="43"/>
                    <a:pt x="10" y="43"/>
                    <a:pt x="10" y="43"/>
                  </a:cubicBezTo>
                  <a:cubicBezTo>
                    <a:pt x="0" y="43"/>
                    <a:pt x="0" y="43"/>
                    <a:pt x="0" y="43"/>
                  </a:cubicBezTo>
                  <a:lnTo>
                    <a:pt x="0" y="83"/>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78" name="Freeform 314">
              <a:extLst>
                <a:ext uri="{FF2B5EF4-FFF2-40B4-BE49-F238E27FC236}">
                  <a16:creationId xmlns:a16="http://schemas.microsoft.com/office/drawing/2014/main" id="{43BB9A93-ECAD-7AE8-8BE9-EAFAAD4F2D5C}"/>
                </a:ext>
              </a:extLst>
            </p:cNvPr>
            <p:cNvSpPr>
              <a:spLocks/>
            </p:cNvSpPr>
            <p:nvPr/>
          </p:nvSpPr>
          <p:spPr bwMode="auto">
            <a:xfrm>
              <a:off x="6453707" y="2446400"/>
              <a:ext cx="123953" cy="122158"/>
            </a:xfrm>
            <a:custGeom>
              <a:avLst/>
              <a:gdLst>
                <a:gd name="T0" fmla="*/ 31 w 35"/>
                <a:gd name="T1" fmla="*/ 7 h 35"/>
                <a:gd name="T2" fmla="*/ 23 w 35"/>
                <a:gd name="T3" fmla="*/ 6 h 35"/>
                <a:gd name="T4" fmla="*/ 22 w 35"/>
                <a:gd name="T5" fmla="*/ 5 h 35"/>
                <a:gd name="T6" fmla="*/ 17 w 35"/>
                <a:gd name="T7" fmla="*/ 3 h 35"/>
                <a:gd name="T8" fmla="*/ 9 w 35"/>
                <a:gd name="T9" fmla="*/ 4 h 35"/>
                <a:gd name="T10" fmla="*/ 6 w 35"/>
                <a:gd name="T11" fmla="*/ 3 h 35"/>
                <a:gd name="T12" fmla="*/ 3 w 35"/>
                <a:gd name="T13" fmla="*/ 1 h 35"/>
                <a:gd name="T14" fmla="*/ 0 w 35"/>
                <a:gd name="T15" fmla="*/ 2 h 35"/>
                <a:gd name="T16" fmla="*/ 0 w 35"/>
                <a:gd name="T17" fmla="*/ 5 h 35"/>
                <a:gd name="T18" fmla="*/ 4 w 35"/>
                <a:gd name="T19" fmla="*/ 12 h 35"/>
                <a:gd name="T20" fmla="*/ 4 w 35"/>
                <a:gd name="T21" fmla="*/ 15 h 35"/>
                <a:gd name="T22" fmla="*/ 12 w 35"/>
                <a:gd name="T23" fmla="*/ 24 h 35"/>
                <a:gd name="T24" fmla="*/ 16 w 35"/>
                <a:gd name="T25" fmla="*/ 27 h 35"/>
                <a:gd name="T26" fmla="*/ 20 w 35"/>
                <a:gd name="T27" fmla="*/ 30 h 35"/>
                <a:gd name="T28" fmla="*/ 21 w 35"/>
                <a:gd name="T29" fmla="*/ 32 h 35"/>
                <a:gd name="T30" fmla="*/ 24 w 35"/>
                <a:gd name="T31" fmla="*/ 35 h 35"/>
                <a:gd name="T32" fmla="*/ 23 w 35"/>
                <a:gd name="T33" fmla="*/ 30 h 35"/>
                <a:gd name="T34" fmla="*/ 25 w 35"/>
                <a:gd name="T35" fmla="*/ 25 h 35"/>
                <a:gd name="T36" fmla="*/ 28 w 35"/>
                <a:gd name="T37" fmla="*/ 24 h 35"/>
                <a:gd name="T38" fmla="*/ 30 w 35"/>
                <a:gd name="T39" fmla="*/ 21 h 35"/>
                <a:gd name="T40" fmla="*/ 34 w 35"/>
                <a:gd name="T41" fmla="*/ 19 h 35"/>
                <a:gd name="T42" fmla="*/ 30 w 35"/>
                <a:gd name="T43" fmla="*/ 15 h 35"/>
                <a:gd name="T44" fmla="*/ 33 w 35"/>
                <a:gd name="T45" fmla="*/ 14 h 35"/>
                <a:gd name="T46" fmla="*/ 31 w 35"/>
                <a:gd name="T47" fmla="*/ 10 h 35"/>
                <a:gd name="T48" fmla="*/ 31 w 35"/>
                <a:gd name="T4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5">
                  <a:moveTo>
                    <a:pt x="31" y="7"/>
                  </a:moveTo>
                  <a:cubicBezTo>
                    <a:pt x="31" y="7"/>
                    <a:pt x="24" y="9"/>
                    <a:pt x="23" y="6"/>
                  </a:cubicBezTo>
                  <a:cubicBezTo>
                    <a:pt x="23" y="4"/>
                    <a:pt x="22" y="5"/>
                    <a:pt x="22" y="5"/>
                  </a:cubicBezTo>
                  <a:cubicBezTo>
                    <a:pt x="22" y="5"/>
                    <a:pt x="19" y="4"/>
                    <a:pt x="17" y="3"/>
                  </a:cubicBezTo>
                  <a:cubicBezTo>
                    <a:pt x="15" y="2"/>
                    <a:pt x="11" y="6"/>
                    <a:pt x="9" y="4"/>
                  </a:cubicBezTo>
                  <a:cubicBezTo>
                    <a:pt x="8" y="3"/>
                    <a:pt x="7" y="1"/>
                    <a:pt x="6" y="3"/>
                  </a:cubicBezTo>
                  <a:cubicBezTo>
                    <a:pt x="5" y="5"/>
                    <a:pt x="3" y="2"/>
                    <a:pt x="3" y="1"/>
                  </a:cubicBezTo>
                  <a:cubicBezTo>
                    <a:pt x="2" y="0"/>
                    <a:pt x="0" y="0"/>
                    <a:pt x="0" y="2"/>
                  </a:cubicBezTo>
                  <a:cubicBezTo>
                    <a:pt x="0" y="4"/>
                    <a:pt x="0" y="5"/>
                    <a:pt x="0" y="5"/>
                  </a:cubicBezTo>
                  <a:cubicBezTo>
                    <a:pt x="0" y="5"/>
                    <a:pt x="4" y="9"/>
                    <a:pt x="4" y="12"/>
                  </a:cubicBezTo>
                  <a:cubicBezTo>
                    <a:pt x="5" y="15"/>
                    <a:pt x="2" y="12"/>
                    <a:pt x="4" y="15"/>
                  </a:cubicBezTo>
                  <a:cubicBezTo>
                    <a:pt x="6" y="18"/>
                    <a:pt x="11" y="22"/>
                    <a:pt x="12" y="24"/>
                  </a:cubicBezTo>
                  <a:cubicBezTo>
                    <a:pt x="14" y="27"/>
                    <a:pt x="14" y="26"/>
                    <a:pt x="16" y="27"/>
                  </a:cubicBezTo>
                  <a:cubicBezTo>
                    <a:pt x="17" y="29"/>
                    <a:pt x="20" y="30"/>
                    <a:pt x="20" y="30"/>
                  </a:cubicBezTo>
                  <a:cubicBezTo>
                    <a:pt x="20" y="30"/>
                    <a:pt x="21" y="31"/>
                    <a:pt x="21" y="32"/>
                  </a:cubicBezTo>
                  <a:cubicBezTo>
                    <a:pt x="22" y="34"/>
                    <a:pt x="23" y="34"/>
                    <a:pt x="24" y="35"/>
                  </a:cubicBezTo>
                  <a:cubicBezTo>
                    <a:pt x="23" y="33"/>
                    <a:pt x="22" y="32"/>
                    <a:pt x="23" y="30"/>
                  </a:cubicBezTo>
                  <a:cubicBezTo>
                    <a:pt x="23" y="28"/>
                    <a:pt x="23" y="27"/>
                    <a:pt x="25" y="25"/>
                  </a:cubicBezTo>
                  <a:cubicBezTo>
                    <a:pt x="26" y="25"/>
                    <a:pt x="27" y="25"/>
                    <a:pt x="28" y="24"/>
                  </a:cubicBezTo>
                  <a:cubicBezTo>
                    <a:pt x="29" y="23"/>
                    <a:pt x="29" y="22"/>
                    <a:pt x="30" y="21"/>
                  </a:cubicBezTo>
                  <a:cubicBezTo>
                    <a:pt x="31" y="20"/>
                    <a:pt x="33" y="21"/>
                    <a:pt x="34" y="19"/>
                  </a:cubicBezTo>
                  <a:cubicBezTo>
                    <a:pt x="35" y="17"/>
                    <a:pt x="29" y="17"/>
                    <a:pt x="30" y="15"/>
                  </a:cubicBezTo>
                  <a:cubicBezTo>
                    <a:pt x="30" y="14"/>
                    <a:pt x="33" y="15"/>
                    <a:pt x="33" y="14"/>
                  </a:cubicBezTo>
                  <a:cubicBezTo>
                    <a:pt x="34" y="12"/>
                    <a:pt x="31" y="12"/>
                    <a:pt x="31" y="10"/>
                  </a:cubicBezTo>
                  <a:cubicBezTo>
                    <a:pt x="30" y="9"/>
                    <a:pt x="31" y="8"/>
                    <a:pt x="31" y="7"/>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79" name="Freeform 315">
              <a:extLst>
                <a:ext uri="{FF2B5EF4-FFF2-40B4-BE49-F238E27FC236}">
                  <a16:creationId xmlns:a16="http://schemas.microsoft.com/office/drawing/2014/main" id="{04E83B5E-766A-C473-F453-5EE23A4E3BDF}"/>
                </a:ext>
              </a:extLst>
            </p:cNvPr>
            <p:cNvSpPr>
              <a:spLocks/>
            </p:cNvSpPr>
            <p:nvPr/>
          </p:nvSpPr>
          <p:spPr bwMode="auto">
            <a:xfrm>
              <a:off x="6453707" y="2446400"/>
              <a:ext cx="123953" cy="122158"/>
            </a:xfrm>
            <a:custGeom>
              <a:avLst/>
              <a:gdLst>
                <a:gd name="T0" fmla="*/ 31 w 35"/>
                <a:gd name="T1" fmla="*/ 7 h 35"/>
                <a:gd name="T2" fmla="*/ 23 w 35"/>
                <a:gd name="T3" fmla="*/ 6 h 35"/>
                <a:gd name="T4" fmla="*/ 22 w 35"/>
                <a:gd name="T5" fmla="*/ 5 h 35"/>
                <a:gd name="T6" fmla="*/ 17 w 35"/>
                <a:gd name="T7" fmla="*/ 3 h 35"/>
                <a:gd name="T8" fmla="*/ 9 w 35"/>
                <a:gd name="T9" fmla="*/ 4 h 35"/>
                <a:gd name="T10" fmla="*/ 6 w 35"/>
                <a:gd name="T11" fmla="*/ 3 h 35"/>
                <a:gd name="T12" fmla="*/ 3 w 35"/>
                <a:gd name="T13" fmla="*/ 1 h 35"/>
                <a:gd name="T14" fmla="*/ 0 w 35"/>
                <a:gd name="T15" fmla="*/ 2 h 35"/>
                <a:gd name="T16" fmla="*/ 0 w 35"/>
                <a:gd name="T17" fmla="*/ 5 h 35"/>
                <a:gd name="T18" fmla="*/ 4 w 35"/>
                <a:gd name="T19" fmla="*/ 12 h 35"/>
                <a:gd name="T20" fmla="*/ 4 w 35"/>
                <a:gd name="T21" fmla="*/ 15 h 35"/>
                <a:gd name="T22" fmla="*/ 12 w 35"/>
                <a:gd name="T23" fmla="*/ 24 h 35"/>
                <a:gd name="T24" fmla="*/ 16 w 35"/>
                <a:gd name="T25" fmla="*/ 27 h 35"/>
                <a:gd name="T26" fmla="*/ 20 w 35"/>
                <a:gd name="T27" fmla="*/ 30 h 35"/>
                <a:gd name="T28" fmla="*/ 21 w 35"/>
                <a:gd name="T29" fmla="*/ 32 h 35"/>
                <a:gd name="T30" fmla="*/ 24 w 35"/>
                <a:gd name="T31" fmla="*/ 35 h 35"/>
                <a:gd name="T32" fmla="*/ 23 w 35"/>
                <a:gd name="T33" fmla="*/ 30 h 35"/>
                <a:gd name="T34" fmla="*/ 25 w 35"/>
                <a:gd name="T35" fmla="*/ 25 h 35"/>
                <a:gd name="T36" fmla="*/ 28 w 35"/>
                <a:gd name="T37" fmla="*/ 24 h 35"/>
                <a:gd name="T38" fmla="*/ 30 w 35"/>
                <a:gd name="T39" fmla="*/ 21 h 35"/>
                <a:gd name="T40" fmla="*/ 34 w 35"/>
                <a:gd name="T41" fmla="*/ 19 h 35"/>
                <a:gd name="T42" fmla="*/ 30 w 35"/>
                <a:gd name="T43" fmla="*/ 15 h 35"/>
                <a:gd name="T44" fmla="*/ 33 w 35"/>
                <a:gd name="T45" fmla="*/ 14 h 35"/>
                <a:gd name="T46" fmla="*/ 31 w 35"/>
                <a:gd name="T47" fmla="*/ 10 h 35"/>
                <a:gd name="T48" fmla="*/ 31 w 35"/>
                <a:gd name="T49"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35">
                  <a:moveTo>
                    <a:pt x="31" y="7"/>
                  </a:moveTo>
                  <a:cubicBezTo>
                    <a:pt x="31" y="7"/>
                    <a:pt x="24" y="9"/>
                    <a:pt x="23" y="6"/>
                  </a:cubicBezTo>
                  <a:cubicBezTo>
                    <a:pt x="23" y="4"/>
                    <a:pt x="22" y="5"/>
                    <a:pt x="22" y="5"/>
                  </a:cubicBezTo>
                  <a:cubicBezTo>
                    <a:pt x="22" y="5"/>
                    <a:pt x="19" y="4"/>
                    <a:pt x="17" y="3"/>
                  </a:cubicBezTo>
                  <a:cubicBezTo>
                    <a:pt x="15" y="2"/>
                    <a:pt x="11" y="6"/>
                    <a:pt x="9" y="4"/>
                  </a:cubicBezTo>
                  <a:cubicBezTo>
                    <a:pt x="8" y="3"/>
                    <a:pt x="7" y="1"/>
                    <a:pt x="6" y="3"/>
                  </a:cubicBezTo>
                  <a:cubicBezTo>
                    <a:pt x="5" y="5"/>
                    <a:pt x="3" y="2"/>
                    <a:pt x="3" y="1"/>
                  </a:cubicBezTo>
                  <a:cubicBezTo>
                    <a:pt x="2" y="0"/>
                    <a:pt x="0" y="0"/>
                    <a:pt x="0" y="2"/>
                  </a:cubicBezTo>
                  <a:cubicBezTo>
                    <a:pt x="0" y="4"/>
                    <a:pt x="0" y="5"/>
                    <a:pt x="0" y="5"/>
                  </a:cubicBezTo>
                  <a:cubicBezTo>
                    <a:pt x="0" y="5"/>
                    <a:pt x="4" y="9"/>
                    <a:pt x="4" y="12"/>
                  </a:cubicBezTo>
                  <a:cubicBezTo>
                    <a:pt x="5" y="15"/>
                    <a:pt x="2" y="12"/>
                    <a:pt x="4" y="15"/>
                  </a:cubicBezTo>
                  <a:cubicBezTo>
                    <a:pt x="6" y="18"/>
                    <a:pt x="11" y="22"/>
                    <a:pt x="12" y="24"/>
                  </a:cubicBezTo>
                  <a:cubicBezTo>
                    <a:pt x="14" y="27"/>
                    <a:pt x="14" y="26"/>
                    <a:pt x="16" y="27"/>
                  </a:cubicBezTo>
                  <a:cubicBezTo>
                    <a:pt x="17" y="29"/>
                    <a:pt x="20" y="30"/>
                    <a:pt x="20" y="30"/>
                  </a:cubicBezTo>
                  <a:cubicBezTo>
                    <a:pt x="20" y="30"/>
                    <a:pt x="21" y="31"/>
                    <a:pt x="21" y="32"/>
                  </a:cubicBezTo>
                  <a:cubicBezTo>
                    <a:pt x="22" y="34"/>
                    <a:pt x="23" y="34"/>
                    <a:pt x="24" y="35"/>
                  </a:cubicBezTo>
                  <a:cubicBezTo>
                    <a:pt x="23" y="33"/>
                    <a:pt x="22" y="32"/>
                    <a:pt x="23" y="30"/>
                  </a:cubicBezTo>
                  <a:cubicBezTo>
                    <a:pt x="23" y="28"/>
                    <a:pt x="23" y="27"/>
                    <a:pt x="25" y="25"/>
                  </a:cubicBezTo>
                  <a:cubicBezTo>
                    <a:pt x="26" y="25"/>
                    <a:pt x="27" y="25"/>
                    <a:pt x="28" y="24"/>
                  </a:cubicBezTo>
                  <a:cubicBezTo>
                    <a:pt x="29" y="23"/>
                    <a:pt x="29" y="22"/>
                    <a:pt x="30" y="21"/>
                  </a:cubicBezTo>
                  <a:cubicBezTo>
                    <a:pt x="31" y="20"/>
                    <a:pt x="33" y="21"/>
                    <a:pt x="34" y="19"/>
                  </a:cubicBezTo>
                  <a:cubicBezTo>
                    <a:pt x="35" y="17"/>
                    <a:pt x="29" y="17"/>
                    <a:pt x="30" y="15"/>
                  </a:cubicBezTo>
                  <a:cubicBezTo>
                    <a:pt x="30" y="14"/>
                    <a:pt x="33" y="15"/>
                    <a:pt x="33" y="14"/>
                  </a:cubicBezTo>
                  <a:cubicBezTo>
                    <a:pt x="34" y="12"/>
                    <a:pt x="31" y="12"/>
                    <a:pt x="31" y="10"/>
                  </a:cubicBezTo>
                  <a:cubicBezTo>
                    <a:pt x="30" y="9"/>
                    <a:pt x="31" y="8"/>
                    <a:pt x="31" y="7"/>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80" name="Freeform 316">
              <a:extLst>
                <a:ext uri="{FF2B5EF4-FFF2-40B4-BE49-F238E27FC236}">
                  <a16:creationId xmlns:a16="http://schemas.microsoft.com/office/drawing/2014/main" id="{A2E9A1A4-B316-2A8E-C53D-9B286CFED1EE}"/>
                </a:ext>
              </a:extLst>
            </p:cNvPr>
            <p:cNvSpPr>
              <a:spLocks noEditPoints="1"/>
            </p:cNvSpPr>
            <p:nvPr/>
          </p:nvSpPr>
          <p:spPr bwMode="auto">
            <a:xfrm>
              <a:off x="3839930" y="4638044"/>
              <a:ext cx="370061" cy="454498"/>
            </a:xfrm>
            <a:custGeom>
              <a:avLst/>
              <a:gdLst>
                <a:gd name="T0" fmla="*/ 7 w 105"/>
                <a:gd name="T1" fmla="*/ 55 h 129"/>
                <a:gd name="T2" fmla="*/ 8 w 105"/>
                <a:gd name="T3" fmla="*/ 59 h 129"/>
                <a:gd name="T4" fmla="*/ 6 w 105"/>
                <a:gd name="T5" fmla="*/ 58 h 129"/>
                <a:gd name="T6" fmla="*/ 1 w 105"/>
                <a:gd name="T7" fmla="*/ 70 h 129"/>
                <a:gd name="T8" fmla="*/ 7 w 105"/>
                <a:gd name="T9" fmla="*/ 85 h 129"/>
                <a:gd name="T10" fmla="*/ 13 w 105"/>
                <a:gd name="T11" fmla="*/ 98 h 129"/>
                <a:gd name="T12" fmla="*/ 17 w 105"/>
                <a:gd name="T13" fmla="*/ 116 h 129"/>
                <a:gd name="T14" fmla="*/ 22 w 105"/>
                <a:gd name="T15" fmla="*/ 126 h 129"/>
                <a:gd name="T16" fmla="*/ 37 w 105"/>
                <a:gd name="T17" fmla="*/ 123 h 129"/>
                <a:gd name="T18" fmla="*/ 45 w 105"/>
                <a:gd name="T19" fmla="*/ 128 h 129"/>
                <a:gd name="T20" fmla="*/ 48 w 105"/>
                <a:gd name="T21" fmla="*/ 124 h 129"/>
                <a:gd name="T22" fmla="*/ 65 w 105"/>
                <a:gd name="T23" fmla="*/ 122 h 129"/>
                <a:gd name="T24" fmla="*/ 70 w 105"/>
                <a:gd name="T25" fmla="*/ 107 h 129"/>
                <a:gd name="T26" fmla="*/ 78 w 105"/>
                <a:gd name="T27" fmla="*/ 93 h 129"/>
                <a:gd name="T28" fmla="*/ 96 w 105"/>
                <a:gd name="T29" fmla="*/ 94 h 129"/>
                <a:gd name="T30" fmla="*/ 103 w 105"/>
                <a:gd name="T31" fmla="*/ 97 h 129"/>
                <a:gd name="T32" fmla="*/ 104 w 105"/>
                <a:gd name="T33" fmla="*/ 83 h 129"/>
                <a:gd name="T34" fmla="*/ 100 w 105"/>
                <a:gd name="T35" fmla="*/ 73 h 129"/>
                <a:gd name="T36" fmla="*/ 97 w 105"/>
                <a:gd name="T37" fmla="*/ 61 h 129"/>
                <a:gd name="T38" fmla="*/ 83 w 105"/>
                <a:gd name="T39" fmla="*/ 57 h 129"/>
                <a:gd name="T40" fmla="*/ 84 w 105"/>
                <a:gd name="T41" fmla="*/ 45 h 129"/>
                <a:gd name="T42" fmla="*/ 79 w 105"/>
                <a:gd name="T43" fmla="*/ 32 h 129"/>
                <a:gd name="T44" fmla="*/ 67 w 105"/>
                <a:gd name="T45" fmla="*/ 30 h 129"/>
                <a:gd name="T46" fmla="*/ 56 w 105"/>
                <a:gd name="T47" fmla="*/ 23 h 129"/>
                <a:gd name="T48" fmla="*/ 44 w 105"/>
                <a:gd name="T49" fmla="*/ 18 h 129"/>
                <a:gd name="T50" fmla="*/ 35 w 105"/>
                <a:gd name="T51" fmla="*/ 11 h 129"/>
                <a:gd name="T52" fmla="*/ 37 w 105"/>
                <a:gd name="T53" fmla="*/ 0 h 129"/>
                <a:gd name="T54" fmla="*/ 22 w 105"/>
                <a:gd name="T55" fmla="*/ 2 h 129"/>
                <a:gd name="T56" fmla="*/ 10 w 105"/>
                <a:gd name="T57" fmla="*/ 13 h 129"/>
                <a:gd name="T58" fmla="*/ 4 w 105"/>
                <a:gd name="T59" fmla="*/ 18 h 129"/>
                <a:gd name="T60" fmla="*/ 5 w 105"/>
                <a:gd name="T61" fmla="*/ 28 h 129"/>
                <a:gd name="T62" fmla="*/ 2 w 105"/>
                <a:gd name="T63" fmla="*/ 42 h 129"/>
                <a:gd name="T64" fmla="*/ 4 w 105"/>
                <a:gd name="T65" fmla="*/ 51 h 129"/>
                <a:gd name="T66" fmla="*/ 22 w 105"/>
                <a:gd name="T67" fmla="*/ 84 h 129"/>
                <a:gd name="T68" fmla="*/ 22 w 105"/>
                <a:gd name="T69" fmla="*/ 8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9">
                  <a:moveTo>
                    <a:pt x="5" y="55"/>
                  </a:moveTo>
                  <a:cubicBezTo>
                    <a:pt x="6" y="55"/>
                    <a:pt x="7" y="55"/>
                    <a:pt x="7" y="55"/>
                  </a:cubicBezTo>
                  <a:cubicBezTo>
                    <a:pt x="8" y="56"/>
                    <a:pt x="9" y="59"/>
                    <a:pt x="8" y="59"/>
                  </a:cubicBezTo>
                  <a:cubicBezTo>
                    <a:pt x="8" y="59"/>
                    <a:pt x="8" y="59"/>
                    <a:pt x="8" y="59"/>
                  </a:cubicBezTo>
                  <a:cubicBezTo>
                    <a:pt x="7" y="58"/>
                    <a:pt x="6" y="58"/>
                    <a:pt x="6" y="58"/>
                  </a:cubicBezTo>
                  <a:cubicBezTo>
                    <a:pt x="6" y="58"/>
                    <a:pt x="6" y="58"/>
                    <a:pt x="6" y="58"/>
                  </a:cubicBezTo>
                  <a:cubicBezTo>
                    <a:pt x="6" y="58"/>
                    <a:pt x="8" y="61"/>
                    <a:pt x="6" y="63"/>
                  </a:cubicBezTo>
                  <a:cubicBezTo>
                    <a:pt x="5" y="65"/>
                    <a:pt x="1" y="70"/>
                    <a:pt x="1" y="70"/>
                  </a:cubicBezTo>
                  <a:cubicBezTo>
                    <a:pt x="3" y="76"/>
                    <a:pt x="3" y="76"/>
                    <a:pt x="3" y="76"/>
                  </a:cubicBezTo>
                  <a:cubicBezTo>
                    <a:pt x="3" y="75"/>
                    <a:pt x="5" y="84"/>
                    <a:pt x="7" y="85"/>
                  </a:cubicBezTo>
                  <a:cubicBezTo>
                    <a:pt x="9" y="87"/>
                    <a:pt x="11" y="90"/>
                    <a:pt x="11" y="90"/>
                  </a:cubicBezTo>
                  <a:cubicBezTo>
                    <a:pt x="11" y="90"/>
                    <a:pt x="12" y="96"/>
                    <a:pt x="13" y="98"/>
                  </a:cubicBezTo>
                  <a:cubicBezTo>
                    <a:pt x="14" y="101"/>
                    <a:pt x="14" y="105"/>
                    <a:pt x="16" y="107"/>
                  </a:cubicBezTo>
                  <a:cubicBezTo>
                    <a:pt x="17" y="109"/>
                    <a:pt x="17" y="116"/>
                    <a:pt x="17" y="116"/>
                  </a:cubicBezTo>
                  <a:cubicBezTo>
                    <a:pt x="18" y="123"/>
                    <a:pt x="18" y="123"/>
                    <a:pt x="18" y="123"/>
                  </a:cubicBezTo>
                  <a:cubicBezTo>
                    <a:pt x="22" y="126"/>
                    <a:pt x="22" y="126"/>
                    <a:pt x="22" y="126"/>
                  </a:cubicBezTo>
                  <a:cubicBezTo>
                    <a:pt x="29" y="120"/>
                    <a:pt x="29" y="120"/>
                    <a:pt x="29" y="120"/>
                  </a:cubicBezTo>
                  <a:cubicBezTo>
                    <a:pt x="29" y="120"/>
                    <a:pt x="34" y="123"/>
                    <a:pt x="37" y="123"/>
                  </a:cubicBezTo>
                  <a:cubicBezTo>
                    <a:pt x="43" y="123"/>
                    <a:pt x="43" y="123"/>
                    <a:pt x="43" y="123"/>
                  </a:cubicBezTo>
                  <a:cubicBezTo>
                    <a:pt x="43" y="123"/>
                    <a:pt x="45" y="126"/>
                    <a:pt x="45" y="128"/>
                  </a:cubicBezTo>
                  <a:cubicBezTo>
                    <a:pt x="46" y="128"/>
                    <a:pt x="46" y="129"/>
                    <a:pt x="46" y="129"/>
                  </a:cubicBezTo>
                  <a:cubicBezTo>
                    <a:pt x="46" y="129"/>
                    <a:pt x="47" y="128"/>
                    <a:pt x="48" y="124"/>
                  </a:cubicBezTo>
                  <a:cubicBezTo>
                    <a:pt x="50" y="119"/>
                    <a:pt x="52" y="122"/>
                    <a:pt x="52" y="122"/>
                  </a:cubicBezTo>
                  <a:cubicBezTo>
                    <a:pt x="65" y="122"/>
                    <a:pt x="65" y="122"/>
                    <a:pt x="65" y="122"/>
                  </a:cubicBezTo>
                  <a:cubicBezTo>
                    <a:pt x="70" y="110"/>
                    <a:pt x="70" y="110"/>
                    <a:pt x="70" y="110"/>
                  </a:cubicBezTo>
                  <a:cubicBezTo>
                    <a:pt x="70" y="107"/>
                    <a:pt x="70" y="107"/>
                    <a:pt x="70" y="107"/>
                  </a:cubicBezTo>
                  <a:cubicBezTo>
                    <a:pt x="70" y="107"/>
                    <a:pt x="73" y="102"/>
                    <a:pt x="73" y="101"/>
                  </a:cubicBezTo>
                  <a:cubicBezTo>
                    <a:pt x="73" y="99"/>
                    <a:pt x="78" y="93"/>
                    <a:pt x="78" y="93"/>
                  </a:cubicBezTo>
                  <a:cubicBezTo>
                    <a:pt x="88" y="92"/>
                    <a:pt x="88" y="92"/>
                    <a:pt x="88" y="92"/>
                  </a:cubicBezTo>
                  <a:cubicBezTo>
                    <a:pt x="96" y="94"/>
                    <a:pt x="96" y="94"/>
                    <a:pt x="96" y="94"/>
                  </a:cubicBezTo>
                  <a:cubicBezTo>
                    <a:pt x="101" y="98"/>
                    <a:pt x="101" y="98"/>
                    <a:pt x="101" y="98"/>
                  </a:cubicBezTo>
                  <a:cubicBezTo>
                    <a:pt x="103" y="97"/>
                    <a:pt x="103" y="97"/>
                    <a:pt x="103" y="97"/>
                  </a:cubicBezTo>
                  <a:cubicBezTo>
                    <a:pt x="101" y="94"/>
                    <a:pt x="101" y="94"/>
                    <a:pt x="101" y="94"/>
                  </a:cubicBezTo>
                  <a:cubicBezTo>
                    <a:pt x="101" y="94"/>
                    <a:pt x="104" y="86"/>
                    <a:pt x="104" y="83"/>
                  </a:cubicBezTo>
                  <a:cubicBezTo>
                    <a:pt x="104" y="80"/>
                    <a:pt x="105" y="80"/>
                    <a:pt x="104" y="78"/>
                  </a:cubicBezTo>
                  <a:cubicBezTo>
                    <a:pt x="103" y="76"/>
                    <a:pt x="102" y="74"/>
                    <a:pt x="100" y="73"/>
                  </a:cubicBezTo>
                  <a:cubicBezTo>
                    <a:pt x="97" y="71"/>
                    <a:pt x="97" y="69"/>
                    <a:pt x="97" y="66"/>
                  </a:cubicBezTo>
                  <a:cubicBezTo>
                    <a:pt x="96" y="64"/>
                    <a:pt x="97" y="61"/>
                    <a:pt x="97" y="61"/>
                  </a:cubicBezTo>
                  <a:cubicBezTo>
                    <a:pt x="84" y="62"/>
                    <a:pt x="84" y="62"/>
                    <a:pt x="84" y="62"/>
                  </a:cubicBezTo>
                  <a:cubicBezTo>
                    <a:pt x="84" y="62"/>
                    <a:pt x="84" y="60"/>
                    <a:pt x="83" y="57"/>
                  </a:cubicBezTo>
                  <a:cubicBezTo>
                    <a:pt x="81" y="54"/>
                    <a:pt x="80" y="52"/>
                    <a:pt x="81" y="50"/>
                  </a:cubicBezTo>
                  <a:cubicBezTo>
                    <a:pt x="82" y="48"/>
                    <a:pt x="84" y="45"/>
                    <a:pt x="84" y="45"/>
                  </a:cubicBezTo>
                  <a:cubicBezTo>
                    <a:pt x="84" y="45"/>
                    <a:pt x="83" y="42"/>
                    <a:pt x="82" y="40"/>
                  </a:cubicBezTo>
                  <a:cubicBezTo>
                    <a:pt x="81" y="37"/>
                    <a:pt x="81" y="34"/>
                    <a:pt x="79" y="32"/>
                  </a:cubicBezTo>
                  <a:cubicBezTo>
                    <a:pt x="78" y="30"/>
                    <a:pt x="76" y="32"/>
                    <a:pt x="74" y="32"/>
                  </a:cubicBezTo>
                  <a:cubicBezTo>
                    <a:pt x="71" y="32"/>
                    <a:pt x="70" y="30"/>
                    <a:pt x="67" y="30"/>
                  </a:cubicBezTo>
                  <a:cubicBezTo>
                    <a:pt x="64" y="30"/>
                    <a:pt x="63" y="28"/>
                    <a:pt x="61" y="27"/>
                  </a:cubicBezTo>
                  <a:cubicBezTo>
                    <a:pt x="58" y="25"/>
                    <a:pt x="59" y="24"/>
                    <a:pt x="56" y="23"/>
                  </a:cubicBezTo>
                  <a:cubicBezTo>
                    <a:pt x="53" y="21"/>
                    <a:pt x="52" y="20"/>
                    <a:pt x="49" y="17"/>
                  </a:cubicBezTo>
                  <a:cubicBezTo>
                    <a:pt x="47" y="14"/>
                    <a:pt x="46" y="18"/>
                    <a:pt x="44" y="18"/>
                  </a:cubicBezTo>
                  <a:cubicBezTo>
                    <a:pt x="41" y="17"/>
                    <a:pt x="41" y="17"/>
                    <a:pt x="39" y="16"/>
                  </a:cubicBezTo>
                  <a:cubicBezTo>
                    <a:pt x="37" y="16"/>
                    <a:pt x="36" y="13"/>
                    <a:pt x="35" y="11"/>
                  </a:cubicBezTo>
                  <a:cubicBezTo>
                    <a:pt x="34" y="9"/>
                    <a:pt x="38" y="2"/>
                    <a:pt x="38" y="2"/>
                  </a:cubicBezTo>
                  <a:cubicBezTo>
                    <a:pt x="37" y="0"/>
                    <a:pt x="37" y="0"/>
                    <a:pt x="37" y="0"/>
                  </a:cubicBezTo>
                  <a:cubicBezTo>
                    <a:pt x="33" y="0"/>
                    <a:pt x="33" y="0"/>
                    <a:pt x="33" y="0"/>
                  </a:cubicBezTo>
                  <a:cubicBezTo>
                    <a:pt x="30" y="0"/>
                    <a:pt x="26" y="2"/>
                    <a:pt x="22" y="2"/>
                  </a:cubicBezTo>
                  <a:cubicBezTo>
                    <a:pt x="19" y="3"/>
                    <a:pt x="13" y="13"/>
                    <a:pt x="13" y="13"/>
                  </a:cubicBezTo>
                  <a:cubicBezTo>
                    <a:pt x="10" y="13"/>
                    <a:pt x="10" y="13"/>
                    <a:pt x="10" y="13"/>
                  </a:cubicBezTo>
                  <a:cubicBezTo>
                    <a:pt x="10" y="13"/>
                    <a:pt x="8" y="14"/>
                    <a:pt x="9" y="16"/>
                  </a:cubicBezTo>
                  <a:cubicBezTo>
                    <a:pt x="10" y="17"/>
                    <a:pt x="5" y="19"/>
                    <a:pt x="4" y="18"/>
                  </a:cubicBezTo>
                  <a:cubicBezTo>
                    <a:pt x="2" y="17"/>
                    <a:pt x="0" y="17"/>
                    <a:pt x="0" y="17"/>
                  </a:cubicBezTo>
                  <a:cubicBezTo>
                    <a:pt x="5" y="28"/>
                    <a:pt x="5" y="28"/>
                    <a:pt x="5" y="28"/>
                  </a:cubicBezTo>
                  <a:cubicBezTo>
                    <a:pt x="3" y="35"/>
                    <a:pt x="3" y="35"/>
                    <a:pt x="3" y="35"/>
                  </a:cubicBezTo>
                  <a:cubicBezTo>
                    <a:pt x="3" y="35"/>
                    <a:pt x="1" y="40"/>
                    <a:pt x="2" y="42"/>
                  </a:cubicBezTo>
                  <a:cubicBezTo>
                    <a:pt x="3" y="45"/>
                    <a:pt x="4" y="47"/>
                    <a:pt x="4" y="47"/>
                  </a:cubicBezTo>
                  <a:cubicBezTo>
                    <a:pt x="4" y="47"/>
                    <a:pt x="3" y="49"/>
                    <a:pt x="4" y="51"/>
                  </a:cubicBezTo>
                  <a:cubicBezTo>
                    <a:pt x="5" y="52"/>
                    <a:pt x="5" y="55"/>
                    <a:pt x="5" y="55"/>
                  </a:cubicBezTo>
                  <a:close/>
                  <a:moveTo>
                    <a:pt x="22" y="84"/>
                  </a:moveTo>
                  <a:cubicBezTo>
                    <a:pt x="25" y="85"/>
                    <a:pt x="24" y="90"/>
                    <a:pt x="24" y="90"/>
                  </a:cubicBezTo>
                  <a:cubicBezTo>
                    <a:pt x="23" y="89"/>
                    <a:pt x="19" y="83"/>
                    <a:pt x="22" y="8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81" name="Freeform 317">
              <a:extLst>
                <a:ext uri="{FF2B5EF4-FFF2-40B4-BE49-F238E27FC236}">
                  <a16:creationId xmlns:a16="http://schemas.microsoft.com/office/drawing/2014/main" id="{5F51C764-EE76-0DD5-CF1E-CA6CB4498458}"/>
                </a:ext>
              </a:extLst>
            </p:cNvPr>
            <p:cNvSpPr>
              <a:spLocks noEditPoints="1"/>
            </p:cNvSpPr>
            <p:nvPr/>
          </p:nvSpPr>
          <p:spPr bwMode="auto">
            <a:xfrm>
              <a:off x="3839930" y="4638044"/>
              <a:ext cx="370061" cy="454498"/>
            </a:xfrm>
            <a:custGeom>
              <a:avLst/>
              <a:gdLst>
                <a:gd name="T0" fmla="*/ 7 w 105"/>
                <a:gd name="T1" fmla="*/ 55 h 129"/>
                <a:gd name="T2" fmla="*/ 8 w 105"/>
                <a:gd name="T3" fmla="*/ 59 h 129"/>
                <a:gd name="T4" fmla="*/ 6 w 105"/>
                <a:gd name="T5" fmla="*/ 58 h 129"/>
                <a:gd name="T6" fmla="*/ 1 w 105"/>
                <a:gd name="T7" fmla="*/ 70 h 129"/>
                <a:gd name="T8" fmla="*/ 7 w 105"/>
                <a:gd name="T9" fmla="*/ 85 h 129"/>
                <a:gd name="T10" fmla="*/ 13 w 105"/>
                <a:gd name="T11" fmla="*/ 98 h 129"/>
                <a:gd name="T12" fmla="*/ 17 w 105"/>
                <a:gd name="T13" fmla="*/ 116 h 129"/>
                <a:gd name="T14" fmla="*/ 22 w 105"/>
                <a:gd name="T15" fmla="*/ 126 h 129"/>
                <a:gd name="T16" fmla="*/ 37 w 105"/>
                <a:gd name="T17" fmla="*/ 123 h 129"/>
                <a:gd name="T18" fmla="*/ 45 w 105"/>
                <a:gd name="T19" fmla="*/ 128 h 129"/>
                <a:gd name="T20" fmla="*/ 48 w 105"/>
                <a:gd name="T21" fmla="*/ 124 h 129"/>
                <a:gd name="T22" fmla="*/ 65 w 105"/>
                <a:gd name="T23" fmla="*/ 122 h 129"/>
                <a:gd name="T24" fmla="*/ 70 w 105"/>
                <a:gd name="T25" fmla="*/ 107 h 129"/>
                <a:gd name="T26" fmla="*/ 78 w 105"/>
                <a:gd name="T27" fmla="*/ 93 h 129"/>
                <a:gd name="T28" fmla="*/ 96 w 105"/>
                <a:gd name="T29" fmla="*/ 94 h 129"/>
                <a:gd name="T30" fmla="*/ 103 w 105"/>
                <a:gd name="T31" fmla="*/ 97 h 129"/>
                <a:gd name="T32" fmla="*/ 104 w 105"/>
                <a:gd name="T33" fmla="*/ 83 h 129"/>
                <a:gd name="T34" fmla="*/ 100 w 105"/>
                <a:gd name="T35" fmla="*/ 73 h 129"/>
                <a:gd name="T36" fmla="*/ 97 w 105"/>
                <a:gd name="T37" fmla="*/ 61 h 129"/>
                <a:gd name="T38" fmla="*/ 83 w 105"/>
                <a:gd name="T39" fmla="*/ 57 h 129"/>
                <a:gd name="T40" fmla="*/ 84 w 105"/>
                <a:gd name="T41" fmla="*/ 45 h 129"/>
                <a:gd name="T42" fmla="*/ 79 w 105"/>
                <a:gd name="T43" fmla="*/ 32 h 129"/>
                <a:gd name="T44" fmla="*/ 67 w 105"/>
                <a:gd name="T45" fmla="*/ 30 h 129"/>
                <a:gd name="T46" fmla="*/ 56 w 105"/>
                <a:gd name="T47" fmla="*/ 23 h 129"/>
                <a:gd name="T48" fmla="*/ 44 w 105"/>
                <a:gd name="T49" fmla="*/ 18 h 129"/>
                <a:gd name="T50" fmla="*/ 35 w 105"/>
                <a:gd name="T51" fmla="*/ 11 h 129"/>
                <a:gd name="T52" fmla="*/ 37 w 105"/>
                <a:gd name="T53" fmla="*/ 0 h 129"/>
                <a:gd name="T54" fmla="*/ 22 w 105"/>
                <a:gd name="T55" fmla="*/ 2 h 129"/>
                <a:gd name="T56" fmla="*/ 10 w 105"/>
                <a:gd name="T57" fmla="*/ 13 h 129"/>
                <a:gd name="T58" fmla="*/ 4 w 105"/>
                <a:gd name="T59" fmla="*/ 18 h 129"/>
                <a:gd name="T60" fmla="*/ 5 w 105"/>
                <a:gd name="T61" fmla="*/ 28 h 129"/>
                <a:gd name="T62" fmla="*/ 2 w 105"/>
                <a:gd name="T63" fmla="*/ 42 h 129"/>
                <a:gd name="T64" fmla="*/ 4 w 105"/>
                <a:gd name="T65" fmla="*/ 51 h 129"/>
                <a:gd name="T66" fmla="*/ 22 w 105"/>
                <a:gd name="T67" fmla="*/ 84 h 129"/>
                <a:gd name="T68" fmla="*/ 22 w 105"/>
                <a:gd name="T69" fmla="*/ 8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129">
                  <a:moveTo>
                    <a:pt x="5" y="55"/>
                  </a:moveTo>
                  <a:cubicBezTo>
                    <a:pt x="6" y="55"/>
                    <a:pt x="7" y="55"/>
                    <a:pt x="7" y="55"/>
                  </a:cubicBezTo>
                  <a:cubicBezTo>
                    <a:pt x="8" y="56"/>
                    <a:pt x="9" y="59"/>
                    <a:pt x="8" y="59"/>
                  </a:cubicBezTo>
                  <a:cubicBezTo>
                    <a:pt x="8" y="59"/>
                    <a:pt x="8" y="59"/>
                    <a:pt x="8" y="59"/>
                  </a:cubicBezTo>
                  <a:cubicBezTo>
                    <a:pt x="7" y="58"/>
                    <a:pt x="6" y="58"/>
                    <a:pt x="6" y="58"/>
                  </a:cubicBezTo>
                  <a:cubicBezTo>
                    <a:pt x="6" y="58"/>
                    <a:pt x="6" y="58"/>
                    <a:pt x="6" y="58"/>
                  </a:cubicBezTo>
                  <a:cubicBezTo>
                    <a:pt x="6" y="58"/>
                    <a:pt x="8" y="61"/>
                    <a:pt x="6" y="63"/>
                  </a:cubicBezTo>
                  <a:cubicBezTo>
                    <a:pt x="5" y="65"/>
                    <a:pt x="1" y="70"/>
                    <a:pt x="1" y="70"/>
                  </a:cubicBezTo>
                  <a:cubicBezTo>
                    <a:pt x="3" y="76"/>
                    <a:pt x="3" y="76"/>
                    <a:pt x="3" y="76"/>
                  </a:cubicBezTo>
                  <a:cubicBezTo>
                    <a:pt x="3" y="75"/>
                    <a:pt x="5" y="84"/>
                    <a:pt x="7" y="85"/>
                  </a:cubicBezTo>
                  <a:cubicBezTo>
                    <a:pt x="9" y="87"/>
                    <a:pt x="11" y="90"/>
                    <a:pt x="11" y="90"/>
                  </a:cubicBezTo>
                  <a:cubicBezTo>
                    <a:pt x="11" y="90"/>
                    <a:pt x="12" y="96"/>
                    <a:pt x="13" y="98"/>
                  </a:cubicBezTo>
                  <a:cubicBezTo>
                    <a:pt x="14" y="101"/>
                    <a:pt x="14" y="105"/>
                    <a:pt x="16" y="107"/>
                  </a:cubicBezTo>
                  <a:cubicBezTo>
                    <a:pt x="17" y="109"/>
                    <a:pt x="17" y="116"/>
                    <a:pt x="17" y="116"/>
                  </a:cubicBezTo>
                  <a:cubicBezTo>
                    <a:pt x="18" y="123"/>
                    <a:pt x="18" y="123"/>
                    <a:pt x="18" y="123"/>
                  </a:cubicBezTo>
                  <a:cubicBezTo>
                    <a:pt x="22" y="126"/>
                    <a:pt x="22" y="126"/>
                    <a:pt x="22" y="126"/>
                  </a:cubicBezTo>
                  <a:cubicBezTo>
                    <a:pt x="29" y="120"/>
                    <a:pt x="29" y="120"/>
                    <a:pt x="29" y="120"/>
                  </a:cubicBezTo>
                  <a:cubicBezTo>
                    <a:pt x="29" y="120"/>
                    <a:pt x="34" y="123"/>
                    <a:pt x="37" y="123"/>
                  </a:cubicBezTo>
                  <a:cubicBezTo>
                    <a:pt x="43" y="123"/>
                    <a:pt x="43" y="123"/>
                    <a:pt x="43" y="123"/>
                  </a:cubicBezTo>
                  <a:cubicBezTo>
                    <a:pt x="43" y="123"/>
                    <a:pt x="45" y="126"/>
                    <a:pt x="45" y="128"/>
                  </a:cubicBezTo>
                  <a:cubicBezTo>
                    <a:pt x="46" y="128"/>
                    <a:pt x="46" y="129"/>
                    <a:pt x="46" y="129"/>
                  </a:cubicBezTo>
                  <a:cubicBezTo>
                    <a:pt x="46" y="129"/>
                    <a:pt x="47" y="128"/>
                    <a:pt x="48" y="124"/>
                  </a:cubicBezTo>
                  <a:cubicBezTo>
                    <a:pt x="50" y="119"/>
                    <a:pt x="52" y="122"/>
                    <a:pt x="52" y="122"/>
                  </a:cubicBezTo>
                  <a:cubicBezTo>
                    <a:pt x="65" y="122"/>
                    <a:pt x="65" y="122"/>
                    <a:pt x="65" y="122"/>
                  </a:cubicBezTo>
                  <a:cubicBezTo>
                    <a:pt x="70" y="110"/>
                    <a:pt x="70" y="110"/>
                    <a:pt x="70" y="110"/>
                  </a:cubicBezTo>
                  <a:cubicBezTo>
                    <a:pt x="70" y="107"/>
                    <a:pt x="70" y="107"/>
                    <a:pt x="70" y="107"/>
                  </a:cubicBezTo>
                  <a:cubicBezTo>
                    <a:pt x="70" y="107"/>
                    <a:pt x="73" y="102"/>
                    <a:pt x="73" y="101"/>
                  </a:cubicBezTo>
                  <a:cubicBezTo>
                    <a:pt x="73" y="99"/>
                    <a:pt x="78" y="93"/>
                    <a:pt x="78" y="93"/>
                  </a:cubicBezTo>
                  <a:cubicBezTo>
                    <a:pt x="88" y="92"/>
                    <a:pt x="88" y="92"/>
                    <a:pt x="88" y="92"/>
                  </a:cubicBezTo>
                  <a:cubicBezTo>
                    <a:pt x="96" y="94"/>
                    <a:pt x="96" y="94"/>
                    <a:pt x="96" y="94"/>
                  </a:cubicBezTo>
                  <a:cubicBezTo>
                    <a:pt x="101" y="98"/>
                    <a:pt x="101" y="98"/>
                    <a:pt x="101" y="98"/>
                  </a:cubicBezTo>
                  <a:cubicBezTo>
                    <a:pt x="103" y="97"/>
                    <a:pt x="103" y="97"/>
                    <a:pt x="103" y="97"/>
                  </a:cubicBezTo>
                  <a:cubicBezTo>
                    <a:pt x="101" y="94"/>
                    <a:pt x="101" y="94"/>
                    <a:pt x="101" y="94"/>
                  </a:cubicBezTo>
                  <a:cubicBezTo>
                    <a:pt x="101" y="94"/>
                    <a:pt x="104" y="86"/>
                    <a:pt x="104" y="83"/>
                  </a:cubicBezTo>
                  <a:cubicBezTo>
                    <a:pt x="104" y="80"/>
                    <a:pt x="105" y="80"/>
                    <a:pt x="104" y="78"/>
                  </a:cubicBezTo>
                  <a:cubicBezTo>
                    <a:pt x="103" y="76"/>
                    <a:pt x="102" y="74"/>
                    <a:pt x="100" y="73"/>
                  </a:cubicBezTo>
                  <a:cubicBezTo>
                    <a:pt x="97" y="71"/>
                    <a:pt x="97" y="69"/>
                    <a:pt x="97" y="66"/>
                  </a:cubicBezTo>
                  <a:cubicBezTo>
                    <a:pt x="96" y="64"/>
                    <a:pt x="97" y="61"/>
                    <a:pt x="97" y="61"/>
                  </a:cubicBezTo>
                  <a:cubicBezTo>
                    <a:pt x="84" y="62"/>
                    <a:pt x="84" y="62"/>
                    <a:pt x="84" y="62"/>
                  </a:cubicBezTo>
                  <a:cubicBezTo>
                    <a:pt x="84" y="62"/>
                    <a:pt x="84" y="60"/>
                    <a:pt x="83" y="57"/>
                  </a:cubicBezTo>
                  <a:cubicBezTo>
                    <a:pt x="81" y="54"/>
                    <a:pt x="80" y="52"/>
                    <a:pt x="81" y="50"/>
                  </a:cubicBezTo>
                  <a:cubicBezTo>
                    <a:pt x="82" y="48"/>
                    <a:pt x="84" y="45"/>
                    <a:pt x="84" y="45"/>
                  </a:cubicBezTo>
                  <a:cubicBezTo>
                    <a:pt x="84" y="45"/>
                    <a:pt x="83" y="42"/>
                    <a:pt x="82" y="40"/>
                  </a:cubicBezTo>
                  <a:cubicBezTo>
                    <a:pt x="81" y="37"/>
                    <a:pt x="81" y="34"/>
                    <a:pt x="79" y="32"/>
                  </a:cubicBezTo>
                  <a:cubicBezTo>
                    <a:pt x="78" y="30"/>
                    <a:pt x="76" y="32"/>
                    <a:pt x="74" y="32"/>
                  </a:cubicBezTo>
                  <a:cubicBezTo>
                    <a:pt x="71" y="32"/>
                    <a:pt x="70" y="30"/>
                    <a:pt x="67" y="30"/>
                  </a:cubicBezTo>
                  <a:cubicBezTo>
                    <a:pt x="64" y="30"/>
                    <a:pt x="63" y="28"/>
                    <a:pt x="61" y="27"/>
                  </a:cubicBezTo>
                  <a:cubicBezTo>
                    <a:pt x="58" y="25"/>
                    <a:pt x="59" y="24"/>
                    <a:pt x="56" y="23"/>
                  </a:cubicBezTo>
                  <a:cubicBezTo>
                    <a:pt x="53" y="21"/>
                    <a:pt x="52" y="20"/>
                    <a:pt x="49" y="17"/>
                  </a:cubicBezTo>
                  <a:cubicBezTo>
                    <a:pt x="47" y="14"/>
                    <a:pt x="46" y="18"/>
                    <a:pt x="44" y="18"/>
                  </a:cubicBezTo>
                  <a:cubicBezTo>
                    <a:pt x="41" y="17"/>
                    <a:pt x="41" y="17"/>
                    <a:pt x="39" y="16"/>
                  </a:cubicBezTo>
                  <a:cubicBezTo>
                    <a:pt x="37" y="16"/>
                    <a:pt x="36" y="13"/>
                    <a:pt x="35" y="11"/>
                  </a:cubicBezTo>
                  <a:cubicBezTo>
                    <a:pt x="34" y="9"/>
                    <a:pt x="38" y="2"/>
                    <a:pt x="38" y="2"/>
                  </a:cubicBezTo>
                  <a:cubicBezTo>
                    <a:pt x="37" y="0"/>
                    <a:pt x="37" y="0"/>
                    <a:pt x="37" y="0"/>
                  </a:cubicBezTo>
                  <a:cubicBezTo>
                    <a:pt x="33" y="0"/>
                    <a:pt x="33" y="0"/>
                    <a:pt x="33" y="0"/>
                  </a:cubicBezTo>
                  <a:cubicBezTo>
                    <a:pt x="30" y="0"/>
                    <a:pt x="26" y="2"/>
                    <a:pt x="22" y="2"/>
                  </a:cubicBezTo>
                  <a:cubicBezTo>
                    <a:pt x="19" y="3"/>
                    <a:pt x="13" y="13"/>
                    <a:pt x="13" y="13"/>
                  </a:cubicBezTo>
                  <a:cubicBezTo>
                    <a:pt x="10" y="13"/>
                    <a:pt x="10" y="13"/>
                    <a:pt x="10" y="13"/>
                  </a:cubicBezTo>
                  <a:cubicBezTo>
                    <a:pt x="10" y="13"/>
                    <a:pt x="8" y="14"/>
                    <a:pt x="9" y="16"/>
                  </a:cubicBezTo>
                  <a:cubicBezTo>
                    <a:pt x="10" y="17"/>
                    <a:pt x="5" y="19"/>
                    <a:pt x="4" y="18"/>
                  </a:cubicBezTo>
                  <a:cubicBezTo>
                    <a:pt x="2" y="17"/>
                    <a:pt x="0" y="17"/>
                    <a:pt x="0" y="17"/>
                  </a:cubicBezTo>
                  <a:cubicBezTo>
                    <a:pt x="5" y="28"/>
                    <a:pt x="5" y="28"/>
                    <a:pt x="5" y="28"/>
                  </a:cubicBezTo>
                  <a:cubicBezTo>
                    <a:pt x="3" y="35"/>
                    <a:pt x="3" y="35"/>
                    <a:pt x="3" y="35"/>
                  </a:cubicBezTo>
                  <a:cubicBezTo>
                    <a:pt x="3" y="35"/>
                    <a:pt x="1" y="40"/>
                    <a:pt x="2" y="42"/>
                  </a:cubicBezTo>
                  <a:cubicBezTo>
                    <a:pt x="3" y="45"/>
                    <a:pt x="4" y="47"/>
                    <a:pt x="4" y="47"/>
                  </a:cubicBezTo>
                  <a:cubicBezTo>
                    <a:pt x="4" y="47"/>
                    <a:pt x="3" y="49"/>
                    <a:pt x="4" y="51"/>
                  </a:cubicBezTo>
                  <a:cubicBezTo>
                    <a:pt x="5" y="52"/>
                    <a:pt x="5" y="55"/>
                    <a:pt x="5" y="55"/>
                  </a:cubicBezTo>
                  <a:close/>
                  <a:moveTo>
                    <a:pt x="22" y="84"/>
                  </a:moveTo>
                  <a:cubicBezTo>
                    <a:pt x="25" y="85"/>
                    <a:pt x="24" y="90"/>
                    <a:pt x="24" y="90"/>
                  </a:cubicBezTo>
                  <a:cubicBezTo>
                    <a:pt x="23" y="89"/>
                    <a:pt x="19" y="83"/>
                    <a:pt x="22" y="8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82" name="Freeform 318">
              <a:extLst>
                <a:ext uri="{FF2B5EF4-FFF2-40B4-BE49-F238E27FC236}">
                  <a16:creationId xmlns:a16="http://schemas.microsoft.com/office/drawing/2014/main" id="{2BDF148E-235E-C23C-1E5F-48A85F8E26A3}"/>
                </a:ext>
              </a:extLst>
            </p:cNvPr>
            <p:cNvSpPr>
              <a:spLocks/>
            </p:cNvSpPr>
            <p:nvPr/>
          </p:nvSpPr>
          <p:spPr bwMode="auto">
            <a:xfrm>
              <a:off x="8686642" y="3157786"/>
              <a:ext cx="91617" cy="52097"/>
            </a:xfrm>
            <a:custGeom>
              <a:avLst/>
              <a:gdLst>
                <a:gd name="T0" fmla="*/ 2 w 51"/>
                <a:gd name="T1" fmla="*/ 14 h 29"/>
                <a:gd name="T2" fmla="*/ 0 w 51"/>
                <a:gd name="T3" fmla="*/ 22 h 29"/>
                <a:gd name="T4" fmla="*/ 6 w 51"/>
                <a:gd name="T5" fmla="*/ 29 h 29"/>
                <a:gd name="T6" fmla="*/ 14 w 51"/>
                <a:gd name="T7" fmla="*/ 27 h 29"/>
                <a:gd name="T8" fmla="*/ 22 w 51"/>
                <a:gd name="T9" fmla="*/ 25 h 29"/>
                <a:gd name="T10" fmla="*/ 32 w 51"/>
                <a:gd name="T11" fmla="*/ 29 h 29"/>
                <a:gd name="T12" fmla="*/ 47 w 51"/>
                <a:gd name="T13" fmla="*/ 27 h 29"/>
                <a:gd name="T14" fmla="*/ 51 w 51"/>
                <a:gd name="T15" fmla="*/ 25 h 29"/>
                <a:gd name="T16" fmla="*/ 51 w 51"/>
                <a:gd name="T17" fmla="*/ 18 h 29"/>
                <a:gd name="T18" fmla="*/ 49 w 51"/>
                <a:gd name="T19" fmla="*/ 6 h 29"/>
                <a:gd name="T20" fmla="*/ 38 w 51"/>
                <a:gd name="T21" fmla="*/ 4 h 29"/>
                <a:gd name="T22" fmla="*/ 30 w 51"/>
                <a:gd name="T23" fmla="*/ 4 h 29"/>
                <a:gd name="T24" fmla="*/ 22 w 51"/>
                <a:gd name="T25" fmla="*/ 0 h 29"/>
                <a:gd name="T26" fmla="*/ 12 w 51"/>
                <a:gd name="T27" fmla="*/ 2 h 29"/>
                <a:gd name="T28" fmla="*/ 6 w 51"/>
                <a:gd name="T29" fmla="*/ 4 h 29"/>
                <a:gd name="T30" fmla="*/ 2 w 51"/>
                <a:gd name="T31"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29">
                  <a:moveTo>
                    <a:pt x="2" y="14"/>
                  </a:moveTo>
                  <a:lnTo>
                    <a:pt x="0" y="22"/>
                  </a:lnTo>
                  <a:lnTo>
                    <a:pt x="6" y="29"/>
                  </a:lnTo>
                  <a:lnTo>
                    <a:pt x="14" y="27"/>
                  </a:lnTo>
                  <a:lnTo>
                    <a:pt x="22" y="25"/>
                  </a:lnTo>
                  <a:lnTo>
                    <a:pt x="32" y="29"/>
                  </a:lnTo>
                  <a:lnTo>
                    <a:pt x="47" y="27"/>
                  </a:lnTo>
                  <a:lnTo>
                    <a:pt x="51" y="25"/>
                  </a:lnTo>
                  <a:lnTo>
                    <a:pt x="51" y="18"/>
                  </a:lnTo>
                  <a:lnTo>
                    <a:pt x="49" y="6"/>
                  </a:lnTo>
                  <a:lnTo>
                    <a:pt x="38" y="4"/>
                  </a:lnTo>
                  <a:lnTo>
                    <a:pt x="30" y="4"/>
                  </a:lnTo>
                  <a:lnTo>
                    <a:pt x="22" y="0"/>
                  </a:lnTo>
                  <a:lnTo>
                    <a:pt x="12" y="2"/>
                  </a:lnTo>
                  <a:lnTo>
                    <a:pt x="6" y="4"/>
                  </a:lnTo>
                  <a:lnTo>
                    <a:pt x="2" y="14"/>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83" name="Freeform 319">
              <a:extLst>
                <a:ext uri="{FF2B5EF4-FFF2-40B4-BE49-F238E27FC236}">
                  <a16:creationId xmlns:a16="http://schemas.microsoft.com/office/drawing/2014/main" id="{AA9A3251-6C49-3783-D2C0-4A66FE66CA6B}"/>
                </a:ext>
              </a:extLst>
            </p:cNvPr>
            <p:cNvSpPr>
              <a:spLocks/>
            </p:cNvSpPr>
            <p:nvPr/>
          </p:nvSpPr>
          <p:spPr bwMode="auto">
            <a:xfrm>
              <a:off x="8686642" y="3157786"/>
              <a:ext cx="91617" cy="52097"/>
            </a:xfrm>
            <a:custGeom>
              <a:avLst/>
              <a:gdLst>
                <a:gd name="T0" fmla="*/ 2 w 51"/>
                <a:gd name="T1" fmla="*/ 14 h 29"/>
                <a:gd name="T2" fmla="*/ 0 w 51"/>
                <a:gd name="T3" fmla="*/ 22 h 29"/>
                <a:gd name="T4" fmla="*/ 6 w 51"/>
                <a:gd name="T5" fmla="*/ 29 h 29"/>
                <a:gd name="T6" fmla="*/ 14 w 51"/>
                <a:gd name="T7" fmla="*/ 27 h 29"/>
                <a:gd name="T8" fmla="*/ 22 w 51"/>
                <a:gd name="T9" fmla="*/ 25 h 29"/>
                <a:gd name="T10" fmla="*/ 32 w 51"/>
                <a:gd name="T11" fmla="*/ 29 h 29"/>
                <a:gd name="T12" fmla="*/ 47 w 51"/>
                <a:gd name="T13" fmla="*/ 27 h 29"/>
                <a:gd name="T14" fmla="*/ 51 w 51"/>
                <a:gd name="T15" fmla="*/ 25 h 29"/>
                <a:gd name="T16" fmla="*/ 51 w 51"/>
                <a:gd name="T17" fmla="*/ 18 h 29"/>
                <a:gd name="T18" fmla="*/ 49 w 51"/>
                <a:gd name="T19" fmla="*/ 6 h 29"/>
                <a:gd name="T20" fmla="*/ 38 w 51"/>
                <a:gd name="T21" fmla="*/ 4 h 29"/>
                <a:gd name="T22" fmla="*/ 30 w 51"/>
                <a:gd name="T23" fmla="*/ 4 h 29"/>
                <a:gd name="T24" fmla="*/ 22 w 51"/>
                <a:gd name="T25" fmla="*/ 0 h 29"/>
                <a:gd name="T26" fmla="*/ 12 w 51"/>
                <a:gd name="T27" fmla="*/ 2 h 29"/>
                <a:gd name="T28" fmla="*/ 6 w 51"/>
                <a:gd name="T29" fmla="*/ 4 h 29"/>
                <a:gd name="T30" fmla="*/ 2 w 51"/>
                <a:gd name="T31"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29">
                  <a:moveTo>
                    <a:pt x="2" y="14"/>
                  </a:moveTo>
                  <a:lnTo>
                    <a:pt x="0" y="22"/>
                  </a:lnTo>
                  <a:lnTo>
                    <a:pt x="6" y="29"/>
                  </a:lnTo>
                  <a:lnTo>
                    <a:pt x="14" y="27"/>
                  </a:lnTo>
                  <a:lnTo>
                    <a:pt x="22" y="25"/>
                  </a:lnTo>
                  <a:lnTo>
                    <a:pt x="32" y="29"/>
                  </a:lnTo>
                  <a:lnTo>
                    <a:pt x="47" y="27"/>
                  </a:lnTo>
                  <a:lnTo>
                    <a:pt x="51" y="25"/>
                  </a:lnTo>
                  <a:lnTo>
                    <a:pt x="51" y="18"/>
                  </a:lnTo>
                  <a:lnTo>
                    <a:pt x="49" y="6"/>
                  </a:lnTo>
                  <a:lnTo>
                    <a:pt x="38" y="4"/>
                  </a:lnTo>
                  <a:lnTo>
                    <a:pt x="30" y="4"/>
                  </a:lnTo>
                  <a:lnTo>
                    <a:pt x="22" y="0"/>
                  </a:lnTo>
                  <a:lnTo>
                    <a:pt x="12" y="2"/>
                  </a:lnTo>
                  <a:lnTo>
                    <a:pt x="6" y="4"/>
                  </a:lnTo>
                  <a:lnTo>
                    <a:pt x="2" y="14"/>
                  </a:lnTo>
                  <a:close/>
                </a:path>
              </a:pathLst>
            </a:custGeom>
            <a:grpFill/>
            <a:ln w="2" cap="rnd">
              <a:solidFill>
                <a:schemeClr val="bg1">
                  <a:lumMod val="85000"/>
                  <a:lumOff val="15000"/>
                </a:schemeClr>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84" name="Freeform 320">
              <a:extLst>
                <a:ext uri="{FF2B5EF4-FFF2-40B4-BE49-F238E27FC236}">
                  <a16:creationId xmlns:a16="http://schemas.microsoft.com/office/drawing/2014/main" id="{EC0D04F6-0971-555F-BF54-E9217F631123}"/>
                </a:ext>
              </a:extLst>
            </p:cNvPr>
            <p:cNvSpPr>
              <a:spLocks/>
            </p:cNvSpPr>
            <p:nvPr/>
          </p:nvSpPr>
          <p:spPr bwMode="auto">
            <a:xfrm>
              <a:off x="5992029" y="3747016"/>
              <a:ext cx="88025" cy="260483"/>
            </a:xfrm>
            <a:custGeom>
              <a:avLst/>
              <a:gdLst>
                <a:gd name="T0" fmla="*/ 17 w 25"/>
                <a:gd name="T1" fmla="*/ 69 h 74"/>
                <a:gd name="T2" fmla="*/ 18 w 25"/>
                <a:gd name="T3" fmla="*/ 62 h 74"/>
                <a:gd name="T4" fmla="*/ 17 w 25"/>
                <a:gd name="T5" fmla="*/ 56 h 74"/>
                <a:gd name="T6" fmla="*/ 17 w 25"/>
                <a:gd name="T7" fmla="*/ 44 h 74"/>
                <a:gd name="T8" fmla="*/ 18 w 25"/>
                <a:gd name="T9" fmla="*/ 41 h 74"/>
                <a:gd name="T10" fmla="*/ 20 w 25"/>
                <a:gd name="T11" fmla="*/ 38 h 74"/>
                <a:gd name="T12" fmla="*/ 21 w 25"/>
                <a:gd name="T13" fmla="*/ 34 h 74"/>
                <a:gd name="T14" fmla="*/ 22 w 25"/>
                <a:gd name="T15" fmla="*/ 29 h 74"/>
                <a:gd name="T16" fmla="*/ 24 w 25"/>
                <a:gd name="T17" fmla="*/ 25 h 74"/>
                <a:gd name="T18" fmla="*/ 24 w 25"/>
                <a:gd name="T19" fmla="*/ 20 h 74"/>
                <a:gd name="T20" fmla="*/ 23 w 25"/>
                <a:gd name="T21" fmla="*/ 15 h 74"/>
                <a:gd name="T22" fmla="*/ 22 w 25"/>
                <a:gd name="T23" fmla="*/ 12 h 74"/>
                <a:gd name="T24" fmla="*/ 22 w 25"/>
                <a:gd name="T25" fmla="*/ 7 h 74"/>
                <a:gd name="T26" fmla="*/ 17 w 25"/>
                <a:gd name="T27" fmla="*/ 5 h 74"/>
                <a:gd name="T28" fmla="*/ 16 w 25"/>
                <a:gd name="T29" fmla="*/ 2 h 74"/>
                <a:gd name="T30" fmla="*/ 12 w 25"/>
                <a:gd name="T31" fmla="*/ 1 h 74"/>
                <a:gd name="T32" fmla="*/ 8 w 25"/>
                <a:gd name="T33" fmla="*/ 5 h 74"/>
                <a:gd name="T34" fmla="*/ 7 w 25"/>
                <a:gd name="T35" fmla="*/ 8 h 74"/>
                <a:gd name="T36" fmla="*/ 4 w 25"/>
                <a:gd name="T37" fmla="*/ 10 h 74"/>
                <a:gd name="T38" fmla="*/ 3 w 25"/>
                <a:gd name="T39" fmla="*/ 13 h 74"/>
                <a:gd name="T40" fmla="*/ 1 w 25"/>
                <a:gd name="T41" fmla="*/ 13 h 74"/>
                <a:gd name="T42" fmla="*/ 0 w 25"/>
                <a:gd name="T43" fmla="*/ 22 h 74"/>
                <a:gd name="T44" fmla="*/ 7 w 25"/>
                <a:gd name="T45" fmla="*/ 23 h 74"/>
                <a:gd name="T46" fmla="*/ 7 w 25"/>
                <a:gd name="T47" fmla="*/ 29 h 74"/>
                <a:gd name="T48" fmla="*/ 8 w 25"/>
                <a:gd name="T49" fmla="*/ 34 h 74"/>
                <a:gd name="T50" fmla="*/ 8 w 25"/>
                <a:gd name="T51" fmla="*/ 40 h 74"/>
                <a:gd name="T52" fmla="*/ 8 w 25"/>
                <a:gd name="T53" fmla="*/ 48 h 74"/>
                <a:gd name="T54" fmla="*/ 7 w 25"/>
                <a:gd name="T55" fmla="*/ 55 h 74"/>
                <a:gd name="T56" fmla="*/ 7 w 25"/>
                <a:gd name="T57" fmla="*/ 61 h 74"/>
                <a:gd name="T58" fmla="*/ 7 w 25"/>
                <a:gd name="T59" fmla="*/ 67 h 74"/>
                <a:gd name="T60" fmla="*/ 8 w 25"/>
                <a:gd name="T61" fmla="*/ 69 h 74"/>
                <a:gd name="T62" fmla="*/ 10 w 25"/>
                <a:gd name="T63" fmla="*/ 74 h 74"/>
                <a:gd name="T64" fmla="*/ 10 w 25"/>
                <a:gd name="T65" fmla="*/ 74 h 74"/>
                <a:gd name="T66" fmla="*/ 12 w 25"/>
                <a:gd name="T67" fmla="*/ 71 h 74"/>
                <a:gd name="T68" fmla="*/ 17 w 25"/>
                <a:gd name="T69" fmla="*/ 6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74">
                  <a:moveTo>
                    <a:pt x="17" y="69"/>
                  </a:moveTo>
                  <a:cubicBezTo>
                    <a:pt x="17" y="69"/>
                    <a:pt x="18" y="64"/>
                    <a:pt x="18" y="62"/>
                  </a:cubicBezTo>
                  <a:cubicBezTo>
                    <a:pt x="18" y="60"/>
                    <a:pt x="18" y="58"/>
                    <a:pt x="17" y="56"/>
                  </a:cubicBezTo>
                  <a:cubicBezTo>
                    <a:pt x="15" y="54"/>
                    <a:pt x="18" y="46"/>
                    <a:pt x="17" y="44"/>
                  </a:cubicBezTo>
                  <a:cubicBezTo>
                    <a:pt x="16" y="42"/>
                    <a:pt x="16" y="40"/>
                    <a:pt x="18" y="41"/>
                  </a:cubicBezTo>
                  <a:cubicBezTo>
                    <a:pt x="20" y="42"/>
                    <a:pt x="21" y="40"/>
                    <a:pt x="20" y="38"/>
                  </a:cubicBezTo>
                  <a:cubicBezTo>
                    <a:pt x="18" y="36"/>
                    <a:pt x="20" y="36"/>
                    <a:pt x="21" y="34"/>
                  </a:cubicBezTo>
                  <a:cubicBezTo>
                    <a:pt x="22" y="32"/>
                    <a:pt x="22" y="31"/>
                    <a:pt x="22" y="29"/>
                  </a:cubicBezTo>
                  <a:cubicBezTo>
                    <a:pt x="22" y="26"/>
                    <a:pt x="22" y="25"/>
                    <a:pt x="24" y="25"/>
                  </a:cubicBezTo>
                  <a:cubicBezTo>
                    <a:pt x="25" y="25"/>
                    <a:pt x="23" y="23"/>
                    <a:pt x="24" y="20"/>
                  </a:cubicBezTo>
                  <a:cubicBezTo>
                    <a:pt x="25" y="17"/>
                    <a:pt x="25" y="16"/>
                    <a:pt x="23" y="15"/>
                  </a:cubicBezTo>
                  <a:cubicBezTo>
                    <a:pt x="21" y="14"/>
                    <a:pt x="20" y="13"/>
                    <a:pt x="22" y="12"/>
                  </a:cubicBezTo>
                  <a:cubicBezTo>
                    <a:pt x="23" y="11"/>
                    <a:pt x="22" y="7"/>
                    <a:pt x="22" y="7"/>
                  </a:cubicBezTo>
                  <a:cubicBezTo>
                    <a:pt x="17" y="5"/>
                    <a:pt x="17" y="5"/>
                    <a:pt x="17" y="5"/>
                  </a:cubicBezTo>
                  <a:cubicBezTo>
                    <a:pt x="17" y="5"/>
                    <a:pt x="18" y="3"/>
                    <a:pt x="16" y="2"/>
                  </a:cubicBezTo>
                  <a:cubicBezTo>
                    <a:pt x="14" y="0"/>
                    <a:pt x="12" y="1"/>
                    <a:pt x="12" y="1"/>
                  </a:cubicBezTo>
                  <a:cubicBezTo>
                    <a:pt x="8" y="5"/>
                    <a:pt x="8" y="5"/>
                    <a:pt x="8" y="5"/>
                  </a:cubicBezTo>
                  <a:cubicBezTo>
                    <a:pt x="8" y="5"/>
                    <a:pt x="9" y="7"/>
                    <a:pt x="7" y="8"/>
                  </a:cubicBezTo>
                  <a:cubicBezTo>
                    <a:pt x="6" y="10"/>
                    <a:pt x="4" y="10"/>
                    <a:pt x="4" y="10"/>
                  </a:cubicBezTo>
                  <a:cubicBezTo>
                    <a:pt x="4" y="10"/>
                    <a:pt x="4" y="13"/>
                    <a:pt x="3" y="13"/>
                  </a:cubicBezTo>
                  <a:cubicBezTo>
                    <a:pt x="1" y="13"/>
                    <a:pt x="1" y="13"/>
                    <a:pt x="1" y="13"/>
                  </a:cubicBezTo>
                  <a:cubicBezTo>
                    <a:pt x="0" y="22"/>
                    <a:pt x="0" y="22"/>
                    <a:pt x="0" y="22"/>
                  </a:cubicBezTo>
                  <a:cubicBezTo>
                    <a:pt x="7" y="23"/>
                    <a:pt x="7" y="23"/>
                    <a:pt x="7" y="23"/>
                  </a:cubicBezTo>
                  <a:cubicBezTo>
                    <a:pt x="7" y="23"/>
                    <a:pt x="8" y="27"/>
                    <a:pt x="7" y="29"/>
                  </a:cubicBezTo>
                  <a:cubicBezTo>
                    <a:pt x="6" y="31"/>
                    <a:pt x="8" y="34"/>
                    <a:pt x="8" y="34"/>
                  </a:cubicBezTo>
                  <a:cubicBezTo>
                    <a:pt x="8" y="34"/>
                    <a:pt x="9" y="36"/>
                    <a:pt x="8" y="40"/>
                  </a:cubicBezTo>
                  <a:cubicBezTo>
                    <a:pt x="6" y="45"/>
                    <a:pt x="8" y="45"/>
                    <a:pt x="8" y="48"/>
                  </a:cubicBezTo>
                  <a:cubicBezTo>
                    <a:pt x="8" y="52"/>
                    <a:pt x="8" y="52"/>
                    <a:pt x="7" y="55"/>
                  </a:cubicBezTo>
                  <a:cubicBezTo>
                    <a:pt x="6" y="58"/>
                    <a:pt x="6" y="59"/>
                    <a:pt x="7" y="61"/>
                  </a:cubicBezTo>
                  <a:cubicBezTo>
                    <a:pt x="8" y="64"/>
                    <a:pt x="7" y="67"/>
                    <a:pt x="7" y="67"/>
                  </a:cubicBezTo>
                  <a:cubicBezTo>
                    <a:pt x="7" y="67"/>
                    <a:pt x="7" y="67"/>
                    <a:pt x="8" y="69"/>
                  </a:cubicBezTo>
                  <a:cubicBezTo>
                    <a:pt x="10" y="71"/>
                    <a:pt x="10" y="74"/>
                    <a:pt x="10" y="74"/>
                  </a:cubicBezTo>
                  <a:cubicBezTo>
                    <a:pt x="10" y="74"/>
                    <a:pt x="10" y="74"/>
                    <a:pt x="10" y="74"/>
                  </a:cubicBezTo>
                  <a:cubicBezTo>
                    <a:pt x="10" y="74"/>
                    <a:pt x="12" y="71"/>
                    <a:pt x="12" y="71"/>
                  </a:cubicBezTo>
                  <a:cubicBezTo>
                    <a:pt x="13" y="71"/>
                    <a:pt x="14" y="70"/>
                    <a:pt x="17" y="69"/>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85" name="Freeform 321">
              <a:extLst>
                <a:ext uri="{FF2B5EF4-FFF2-40B4-BE49-F238E27FC236}">
                  <a16:creationId xmlns:a16="http://schemas.microsoft.com/office/drawing/2014/main" id="{EBD8F5E7-AD2B-A103-12D6-4066D215715E}"/>
                </a:ext>
              </a:extLst>
            </p:cNvPr>
            <p:cNvSpPr>
              <a:spLocks/>
            </p:cNvSpPr>
            <p:nvPr/>
          </p:nvSpPr>
          <p:spPr bwMode="auto">
            <a:xfrm>
              <a:off x="5992029" y="3747016"/>
              <a:ext cx="88025" cy="260483"/>
            </a:xfrm>
            <a:custGeom>
              <a:avLst/>
              <a:gdLst>
                <a:gd name="T0" fmla="*/ 17 w 25"/>
                <a:gd name="T1" fmla="*/ 69 h 74"/>
                <a:gd name="T2" fmla="*/ 18 w 25"/>
                <a:gd name="T3" fmla="*/ 62 h 74"/>
                <a:gd name="T4" fmla="*/ 17 w 25"/>
                <a:gd name="T5" fmla="*/ 56 h 74"/>
                <a:gd name="T6" fmla="*/ 17 w 25"/>
                <a:gd name="T7" fmla="*/ 44 h 74"/>
                <a:gd name="T8" fmla="*/ 18 w 25"/>
                <a:gd name="T9" fmla="*/ 41 h 74"/>
                <a:gd name="T10" fmla="*/ 20 w 25"/>
                <a:gd name="T11" fmla="*/ 38 h 74"/>
                <a:gd name="T12" fmla="*/ 21 w 25"/>
                <a:gd name="T13" fmla="*/ 34 h 74"/>
                <a:gd name="T14" fmla="*/ 22 w 25"/>
                <a:gd name="T15" fmla="*/ 29 h 74"/>
                <a:gd name="T16" fmla="*/ 24 w 25"/>
                <a:gd name="T17" fmla="*/ 25 h 74"/>
                <a:gd name="T18" fmla="*/ 24 w 25"/>
                <a:gd name="T19" fmla="*/ 20 h 74"/>
                <a:gd name="T20" fmla="*/ 23 w 25"/>
                <a:gd name="T21" fmla="*/ 15 h 74"/>
                <a:gd name="T22" fmla="*/ 22 w 25"/>
                <a:gd name="T23" fmla="*/ 12 h 74"/>
                <a:gd name="T24" fmla="*/ 22 w 25"/>
                <a:gd name="T25" fmla="*/ 7 h 74"/>
                <a:gd name="T26" fmla="*/ 17 w 25"/>
                <a:gd name="T27" fmla="*/ 5 h 74"/>
                <a:gd name="T28" fmla="*/ 16 w 25"/>
                <a:gd name="T29" fmla="*/ 2 h 74"/>
                <a:gd name="T30" fmla="*/ 12 w 25"/>
                <a:gd name="T31" fmla="*/ 1 h 74"/>
                <a:gd name="T32" fmla="*/ 8 w 25"/>
                <a:gd name="T33" fmla="*/ 5 h 74"/>
                <a:gd name="T34" fmla="*/ 7 w 25"/>
                <a:gd name="T35" fmla="*/ 8 h 74"/>
                <a:gd name="T36" fmla="*/ 4 w 25"/>
                <a:gd name="T37" fmla="*/ 10 h 74"/>
                <a:gd name="T38" fmla="*/ 3 w 25"/>
                <a:gd name="T39" fmla="*/ 13 h 74"/>
                <a:gd name="T40" fmla="*/ 1 w 25"/>
                <a:gd name="T41" fmla="*/ 13 h 74"/>
                <a:gd name="T42" fmla="*/ 0 w 25"/>
                <a:gd name="T43" fmla="*/ 22 h 74"/>
                <a:gd name="T44" fmla="*/ 7 w 25"/>
                <a:gd name="T45" fmla="*/ 23 h 74"/>
                <a:gd name="T46" fmla="*/ 7 w 25"/>
                <a:gd name="T47" fmla="*/ 29 h 74"/>
                <a:gd name="T48" fmla="*/ 8 w 25"/>
                <a:gd name="T49" fmla="*/ 34 h 74"/>
                <a:gd name="T50" fmla="*/ 8 w 25"/>
                <a:gd name="T51" fmla="*/ 40 h 74"/>
                <a:gd name="T52" fmla="*/ 8 w 25"/>
                <a:gd name="T53" fmla="*/ 48 h 74"/>
                <a:gd name="T54" fmla="*/ 7 w 25"/>
                <a:gd name="T55" fmla="*/ 55 h 74"/>
                <a:gd name="T56" fmla="*/ 7 w 25"/>
                <a:gd name="T57" fmla="*/ 61 h 74"/>
                <a:gd name="T58" fmla="*/ 7 w 25"/>
                <a:gd name="T59" fmla="*/ 67 h 74"/>
                <a:gd name="T60" fmla="*/ 8 w 25"/>
                <a:gd name="T61" fmla="*/ 69 h 74"/>
                <a:gd name="T62" fmla="*/ 10 w 25"/>
                <a:gd name="T63" fmla="*/ 74 h 74"/>
                <a:gd name="T64" fmla="*/ 10 w 25"/>
                <a:gd name="T65" fmla="*/ 74 h 74"/>
                <a:gd name="T66" fmla="*/ 12 w 25"/>
                <a:gd name="T67" fmla="*/ 71 h 74"/>
                <a:gd name="T68" fmla="*/ 17 w 25"/>
                <a:gd name="T69" fmla="*/ 6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74">
                  <a:moveTo>
                    <a:pt x="17" y="69"/>
                  </a:moveTo>
                  <a:cubicBezTo>
                    <a:pt x="17" y="69"/>
                    <a:pt x="18" y="64"/>
                    <a:pt x="18" y="62"/>
                  </a:cubicBezTo>
                  <a:cubicBezTo>
                    <a:pt x="18" y="60"/>
                    <a:pt x="18" y="58"/>
                    <a:pt x="17" y="56"/>
                  </a:cubicBezTo>
                  <a:cubicBezTo>
                    <a:pt x="15" y="54"/>
                    <a:pt x="18" y="46"/>
                    <a:pt x="17" y="44"/>
                  </a:cubicBezTo>
                  <a:cubicBezTo>
                    <a:pt x="16" y="42"/>
                    <a:pt x="16" y="40"/>
                    <a:pt x="18" y="41"/>
                  </a:cubicBezTo>
                  <a:cubicBezTo>
                    <a:pt x="20" y="42"/>
                    <a:pt x="21" y="40"/>
                    <a:pt x="20" y="38"/>
                  </a:cubicBezTo>
                  <a:cubicBezTo>
                    <a:pt x="18" y="36"/>
                    <a:pt x="20" y="36"/>
                    <a:pt x="21" y="34"/>
                  </a:cubicBezTo>
                  <a:cubicBezTo>
                    <a:pt x="22" y="32"/>
                    <a:pt x="22" y="31"/>
                    <a:pt x="22" y="29"/>
                  </a:cubicBezTo>
                  <a:cubicBezTo>
                    <a:pt x="22" y="26"/>
                    <a:pt x="22" y="25"/>
                    <a:pt x="24" y="25"/>
                  </a:cubicBezTo>
                  <a:cubicBezTo>
                    <a:pt x="25" y="25"/>
                    <a:pt x="23" y="23"/>
                    <a:pt x="24" y="20"/>
                  </a:cubicBezTo>
                  <a:cubicBezTo>
                    <a:pt x="25" y="17"/>
                    <a:pt x="25" y="16"/>
                    <a:pt x="23" y="15"/>
                  </a:cubicBezTo>
                  <a:cubicBezTo>
                    <a:pt x="21" y="14"/>
                    <a:pt x="20" y="13"/>
                    <a:pt x="22" y="12"/>
                  </a:cubicBezTo>
                  <a:cubicBezTo>
                    <a:pt x="23" y="11"/>
                    <a:pt x="22" y="7"/>
                    <a:pt x="22" y="7"/>
                  </a:cubicBezTo>
                  <a:cubicBezTo>
                    <a:pt x="17" y="5"/>
                    <a:pt x="17" y="5"/>
                    <a:pt x="17" y="5"/>
                  </a:cubicBezTo>
                  <a:cubicBezTo>
                    <a:pt x="17" y="5"/>
                    <a:pt x="18" y="3"/>
                    <a:pt x="16" y="2"/>
                  </a:cubicBezTo>
                  <a:cubicBezTo>
                    <a:pt x="14" y="0"/>
                    <a:pt x="12" y="1"/>
                    <a:pt x="12" y="1"/>
                  </a:cubicBezTo>
                  <a:cubicBezTo>
                    <a:pt x="8" y="5"/>
                    <a:pt x="8" y="5"/>
                    <a:pt x="8" y="5"/>
                  </a:cubicBezTo>
                  <a:cubicBezTo>
                    <a:pt x="8" y="5"/>
                    <a:pt x="9" y="7"/>
                    <a:pt x="7" y="8"/>
                  </a:cubicBezTo>
                  <a:cubicBezTo>
                    <a:pt x="6" y="10"/>
                    <a:pt x="4" y="10"/>
                    <a:pt x="4" y="10"/>
                  </a:cubicBezTo>
                  <a:cubicBezTo>
                    <a:pt x="4" y="10"/>
                    <a:pt x="4" y="13"/>
                    <a:pt x="3" y="13"/>
                  </a:cubicBezTo>
                  <a:cubicBezTo>
                    <a:pt x="1" y="13"/>
                    <a:pt x="1" y="13"/>
                    <a:pt x="1" y="13"/>
                  </a:cubicBezTo>
                  <a:cubicBezTo>
                    <a:pt x="0" y="22"/>
                    <a:pt x="0" y="22"/>
                    <a:pt x="0" y="22"/>
                  </a:cubicBezTo>
                  <a:cubicBezTo>
                    <a:pt x="7" y="23"/>
                    <a:pt x="7" y="23"/>
                    <a:pt x="7" y="23"/>
                  </a:cubicBezTo>
                  <a:cubicBezTo>
                    <a:pt x="7" y="23"/>
                    <a:pt x="8" y="27"/>
                    <a:pt x="7" y="29"/>
                  </a:cubicBezTo>
                  <a:cubicBezTo>
                    <a:pt x="6" y="31"/>
                    <a:pt x="8" y="34"/>
                    <a:pt x="8" y="34"/>
                  </a:cubicBezTo>
                  <a:cubicBezTo>
                    <a:pt x="8" y="34"/>
                    <a:pt x="9" y="36"/>
                    <a:pt x="8" y="40"/>
                  </a:cubicBezTo>
                  <a:cubicBezTo>
                    <a:pt x="6" y="45"/>
                    <a:pt x="8" y="45"/>
                    <a:pt x="8" y="48"/>
                  </a:cubicBezTo>
                  <a:cubicBezTo>
                    <a:pt x="8" y="52"/>
                    <a:pt x="8" y="52"/>
                    <a:pt x="7" y="55"/>
                  </a:cubicBezTo>
                  <a:cubicBezTo>
                    <a:pt x="6" y="58"/>
                    <a:pt x="6" y="59"/>
                    <a:pt x="7" y="61"/>
                  </a:cubicBezTo>
                  <a:cubicBezTo>
                    <a:pt x="8" y="64"/>
                    <a:pt x="7" y="67"/>
                    <a:pt x="7" y="67"/>
                  </a:cubicBezTo>
                  <a:cubicBezTo>
                    <a:pt x="7" y="67"/>
                    <a:pt x="7" y="67"/>
                    <a:pt x="8" y="69"/>
                  </a:cubicBezTo>
                  <a:cubicBezTo>
                    <a:pt x="10" y="71"/>
                    <a:pt x="10" y="74"/>
                    <a:pt x="10" y="74"/>
                  </a:cubicBezTo>
                  <a:cubicBezTo>
                    <a:pt x="10" y="74"/>
                    <a:pt x="10" y="74"/>
                    <a:pt x="10" y="74"/>
                  </a:cubicBezTo>
                  <a:cubicBezTo>
                    <a:pt x="10" y="74"/>
                    <a:pt x="12" y="71"/>
                    <a:pt x="12" y="71"/>
                  </a:cubicBezTo>
                  <a:cubicBezTo>
                    <a:pt x="13" y="71"/>
                    <a:pt x="14" y="70"/>
                    <a:pt x="17" y="69"/>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86" name="Freeform 322">
              <a:extLst>
                <a:ext uri="{FF2B5EF4-FFF2-40B4-BE49-F238E27FC236}">
                  <a16:creationId xmlns:a16="http://schemas.microsoft.com/office/drawing/2014/main" id="{191D498E-A516-5B2F-E11C-26022ECF08EE}"/>
                </a:ext>
              </a:extLst>
            </p:cNvPr>
            <p:cNvSpPr>
              <a:spLocks/>
            </p:cNvSpPr>
            <p:nvPr/>
          </p:nvSpPr>
          <p:spPr bwMode="auto">
            <a:xfrm>
              <a:off x="3254301" y="3527852"/>
              <a:ext cx="39521" cy="102397"/>
            </a:xfrm>
            <a:custGeom>
              <a:avLst/>
              <a:gdLst>
                <a:gd name="T0" fmla="*/ 3 w 11"/>
                <a:gd name="T1" fmla="*/ 29 h 29"/>
                <a:gd name="T2" fmla="*/ 8 w 11"/>
                <a:gd name="T3" fmla="*/ 15 h 29"/>
                <a:gd name="T4" fmla="*/ 10 w 11"/>
                <a:gd name="T5" fmla="*/ 13 h 29"/>
                <a:gd name="T6" fmla="*/ 10 w 11"/>
                <a:gd name="T7" fmla="*/ 3 h 29"/>
                <a:gd name="T8" fmla="*/ 8 w 11"/>
                <a:gd name="T9" fmla="*/ 2 h 29"/>
                <a:gd name="T10" fmla="*/ 8 w 11"/>
                <a:gd name="T11" fmla="*/ 2 h 29"/>
                <a:gd name="T12" fmla="*/ 4 w 11"/>
                <a:gd name="T13" fmla="*/ 3 h 29"/>
                <a:gd name="T14" fmla="*/ 1 w 11"/>
                <a:gd name="T15" fmla="*/ 5 h 29"/>
                <a:gd name="T16" fmla="*/ 0 w 11"/>
                <a:gd name="T17" fmla="*/ 29 h 29"/>
                <a:gd name="T18" fmla="*/ 3 w 11"/>
                <a:gd name="T1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9">
                  <a:moveTo>
                    <a:pt x="3" y="29"/>
                  </a:moveTo>
                  <a:cubicBezTo>
                    <a:pt x="6" y="26"/>
                    <a:pt x="11" y="17"/>
                    <a:pt x="8" y="15"/>
                  </a:cubicBezTo>
                  <a:cubicBezTo>
                    <a:pt x="8" y="15"/>
                    <a:pt x="10" y="13"/>
                    <a:pt x="10" y="13"/>
                  </a:cubicBezTo>
                  <a:cubicBezTo>
                    <a:pt x="11" y="9"/>
                    <a:pt x="10" y="7"/>
                    <a:pt x="10" y="3"/>
                  </a:cubicBezTo>
                  <a:cubicBezTo>
                    <a:pt x="9" y="3"/>
                    <a:pt x="8" y="3"/>
                    <a:pt x="8" y="2"/>
                  </a:cubicBezTo>
                  <a:cubicBezTo>
                    <a:pt x="8" y="2"/>
                    <a:pt x="8" y="2"/>
                    <a:pt x="8" y="2"/>
                  </a:cubicBezTo>
                  <a:cubicBezTo>
                    <a:pt x="5" y="0"/>
                    <a:pt x="4" y="3"/>
                    <a:pt x="4" y="3"/>
                  </a:cubicBezTo>
                  <a:cubicBezTo>
                    <a:pt x="1" y="5"/>
                    <a:pt x="1" y="5"/>
                    <a:pt x="1" y="5"/>
                  </a:cubicBezTo>
                  <a:cubicBezTo>
                    <a:pt x="0" y="29"/>
                    <a:pt x="0" y="29"/>
                    <a:pt x="0" y="29"/>
                  </a:cubicBezTo>
                  <a:lnTo>
                    <a:pt x="3" y="29"/>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87" name="Freeform 323">
              <a:extLst>
                <a:ext uri="{FF2B5EF4-FFF2-40B4-BE49-F238E27FC236}">
                  <a16:creationId xmlns:a16="http://schemas.microsoft.com/office/drawing/2014/main" id="{83461693-6C8F-CDAE-4522-BFAF1ECE4F39}"/>
                </a:ext>
              </a:extLst>
            </p:cNvPr>
            <p:cNvSpPr>
              <a:spLocks/>
            </p:cNvSpPr>
            <p:nvPr/>
          </p:nvSpPr>
          <p:spPr bwMode="auto">
            <a:xfrm>
              <a:off x="3254301" y="3527852"/>
              <a:ext cx="39521" cy="102397"/>
            </a:xfrm>
            <a:custGeom>
              <a:avLst/>
              <a:gdLst>
                <a:gd name="T0" fmla="*/ 3 w 11"/>
                <a:gd name="T1" fmla="*/ 29 h 29"/>
                <a:gd name="T2" fmla="*/ 8 w 11"/>
                <a:gd name="T3" fmla="*/ 15 h 29"/>
                <a:gd name="T4" fmla="*/ 10 w 11"/>
                <a:gd name="T5" fmla="*/ 13 h 29"/>
                <a:gd name="T6" fmla="*/ 10 w 11"/>
                <a:gd name="T7" fmla="*/ 3 h 29"/>
                <a:gd name="T8" fmla="*/ 8 w 11"/>
                <a:gd name="T9" fmla="*/ 2 h 29"/>
                <a:gd name="T10" fmla="*/ 8 w 11"/>
                <a:gd name="T11" fmla="*/ 2 h 29"/>
                <a:gd name="T12" fmla="*/ 4 w 11"/>
                <a:gd name="T13" fmla="*/ 3 h 29"/>
                <a:gd name="T14" fmla="*/ 1 w 11"/>
                <a:gd name="T15" fmla="*/ 5 h 29"/>
                <a:gd name="T16" fmla="*/ 0 w 11"/>
                <a:gd name="T17" fmla="*/ 29 h 29"/>
                <a:gd name="T18" fmla="*/ 3 w 11"/>
                <a:gd name="T1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9">
                  <a:moveTo>
                    <a:pt x="3" y="29"/>
                  </a:moveTo>
                  <a:cubicBezTo>
                    <a:pt x="6" y="26"/>
                    <a:pt x="11" y="17"/>
                    <a:pt x="8" y="15"/>
                  </a:cubicBezTo>
                  <a:cubicBezTo>
                    <a:pt x="8" y="15"/>
                    <a:pt x="10" y="13"/>
                    <a:pt x="10" y="13"/>
                  </a:cubicBezTo>
                  <a:cubicBezTo>
                    <a:pt x="11" y="9"/>
                    <a:pt x="10" y="7"/>
                    <a:pt x="10" y="3"/>
                  </a:cubicBezTo>
                  <a:cubicBezTo>
                    <a:pt x="9" y="3"/>
                    <a:pt x="8" y="3"/>
                    <a:pt x="8" y="2"/>
                  </a:cubicBezTo>
                  <a:cubicBezTo>
                    <a:pt x="8" y="2"/>
                    <a:pt x="8" y="2"/>
                    <a:pt x="8" y="2"/>
                  </a:cubicBezTo>
                  <a:cubicBezTo>
                    <a:pt x="5" y="0"/>
                    <a:pt x="4" y="3"/>
                    <a:pt x="4" y="3"/>
                  </a:cubicBezTo>
                  <a:cubicBezTo>
                    <a:pt x="1" y="5"/>
                    <a:pt x="1" y="5"/>
                    <a:pt x="1" y="5"/>
                  </a:cubicBezTo>
                  <a:cubicBezTo>
                    <a:pt x="0" y="29"/>
                    <a:pt x="0" y="29"/>
                    <a:pt x="0" y="29"/>
                  </a:cubicBezTo>
                  <a:lnTo>
                    <a:pt x="3" y="29"/>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88" name="Freeform 324">
              <a:extLst>
                <a:ext uri="{FF2B5EF4-FFF2-40B4-BE49-F238E27FC236}">
                  <a16:creationId xmlns:a16="http://schemas.microsoft.com/office/drawing/2014/main" id="{02B4FE74-60FC-08AE-0A47-6FC9C7D5957F}"/>
                </a:ext>
              </a:extLst>
            </p:cNvPr>
            <p:cNvSpPr>
              <a:spLocks/>
            </p:cNvSpPr>
            <p:nvPr/>
          </p:nvSpPr>
          <p:spPr bwMode="auto">
            <a:xfrm>
              <a:off x="6038734" y="2157175"/>
              <a:ext cx="125748" cy="88026"/>
            </a:xfrm>
            <a:custGeom>
              <a:avLst/>
              <a:gdLst>
                <a:gd name="T0" fmla="*/ 10 w 36"/>
                <a:gd name="T1" fmla="*/ 0 h 25"/>
                <a:gd name="T2" fmla="*/ 6 w 36"/>
                <a:gd name="T3" fmla="*/ 2 h 25"/>
                <a:gd name="T4" fmla="*/ 0 w 36"/>
                <a:gd name="T5" fmla="*/ 4 h 25"/>
                <a:gd name="T6" fmla="*/ 2 w 36"/>
                <a:gd name="T7" fmla="*/ 7 h 25"/>
                <a:gd name="T8" fmla="*/ 4 w 36"/>
                <a:gd name="T9" fmla="*/ 8 h 25"/>
                <a:gd name="T10" fmla="*/ 5 w 36"/>
                <a:gd name="T11" fmla="*/ 11 h 25"/>
                <a:gd name="T12" fmla="*/ 9 w 36"/>
                <a:gd name="T13" fmla="*/ 14 h 25"/>
                <a:gd name="T14" fmla="*/ 13 w 36"/>
                <a:gd name="T15" fmla="*/ 15 h 25"/>
                <a:gd name="T16" fmla="*/ 15 w 36"/>
                <a:gd name="T17" fmla="*/ 18 h 25"/>
                <a:gd name="T18" fmla="*/ 19 w 36"/>
                <a:gd name="T19" fmla="*/ 21 h 25"/>
                <a:gd name="T20" fmla="*/ 23 w 36"/>
                <a:gd name="T21" fmla="*/ 21 h 25"/>
                <a:gd name="T22" fmla="*/ 25 w 36"/>
                <a:gd name="T23" fmla="*/ 24 h 25"/>
                <a:gd name="T24" fmla="*/ 27 w 36"/>
                <a:gd name="T25" fmla="*/ 25 h 25"/>
                <a:gd name="T26" fmla="*/ 31 w 36"/>
                <a:gd name="T27" fmla="*/ 24 h 25"/>
                <a:gd name="T28" fmla="*/ 32 w 36"/>
                <a:gd name="T29" fmla="*/ 22 h 25"/>
                <a:gd name="T30" fmla="*/ 34 w 36"/>
                <a:gd name="T31" fmla="*/ 19 h 25"/>
                <a:gd name="T32" fmla="*/ 33 w 36"/>
                <a:gd name="T33" fmla="*/ 13 h 25"/>
                <a:gd name="T34" fmla="*/ 34 w 36"/>
                <a:gd name="T35" fmla="*/ 10 h 25"/>
                <a:gd name="T36" fmla="*/ 30 w 36"/>
                <a:gd name="T37" fmla="*/ 8 h 25"/>
                <a:gd name="T38" fmla="*/ 26 w 36"/>
                <a:gd name="T39" fmla="*/ 6 h 25"/>
                <a:gd name="T40" fmla="*/ 22 w 36"/>
                <a:gd name="T41" fmla="*/ 5 h 25"/>
                <a:gd name="T42" fmla="*/ 17 w 36"/>
                <a:gd name="T43" fmla="*/ 6 h 25"/>
                <a:gd name="T44" fmla="*/ 10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10" y="0"/>
                  </a:moveTo>
                  <a:cubicBezTo>
                    <a:pt x="9" y="1"/>
                    <a:pt x="7" y="2"/>
                    <a:pt x="6" y="2"/>
                  </a:cubicBezTo>
                  <a:cubicBezTo>
                    <a:pt x="4" y="3"/>
                    <a:pt x="2" y="3"/>
                    <a:pt x="0" y="4"/>
                  </a:cubicBezTo>
                  <a:cubicBezTo>
                    <a:pt x="2" y="7"/>
                    <a:pt x="2" y="7"/>
                    <a:pt x="2" y="7"/>
                  </a:cubicBezTo>
                  <a:cubicBezTo>
                    <a:pt x="2" y="7"/>
                    <a:pt x="4" y="6"/>
                    <a:pt x="4" y="8"/>
                  </a:cubicBezTo>
                  <a:cubicBezTo>
                    <a:pt x="5" y="10"/>
                    <a:pt x="5" y="11"/>
                    <a:pt x="5" y="11"/>
                  </a:cubicBezTo>
                  <a:cubicBezTo>
                    <a:pt x="5" y="11"/>
                    <a:pt x="7" y="11"/>
                    <a:pt x="9" y="14"/>
                  </a:cubicBezTo>
                  <a:cubicBezTo>
                    <a:pt x="12" y="17"/>
                    <a:pt x="13" y="15"/>
                    <a:pt x="13" y="15"/>
                  </a:cubicBezTo>
                  <a:cubicBezTo>
                    <a:pt x="13" y="15"/>
                    <a:pt x="13" y="16"/>
                    <a:pt x="15" y="18"/>
                  </a:cubicBezTo>
                  <a:cubicBezTo>
                    <a:pt x="17" y="20"/>
                    <a:pt x="18" y="20"/>
                    <a:pt x="19" y="21"/>
                  </a:cubicBezTo>
                  <a:cubicBezTo>
                    <a:pt x="21" y="22"/>
                    <a:pt x="23" y="18"/>
                    <a:pt x="23" y="21"/>
                  </a:cubicBezTo>
                  <a:cubicBezTo>
                    <a:pt x="23" y="24"/>
                    <a:pt x="23" y="24"/>
                    <a:pt x="25" y="24"/>
                  </a:cubicBezTo>
                  <a:cubicBezTo>
                    <a:pt x="27" y="24"/>
                    <a:pt x="27" y="25"/>
                    <a:pt x="27" y="25"/>
                  </a:cubicBezTo>
                  <a:cubicBezTo>
                    <a:pt x="31" y="24"/>
                    <a:pt x="31" y="24"/>
                    <a:pt x="31" y="24"/>
                  </a:cubicBezTo>
                  <a:cubicBezTo>
                    <a:pt x="31" y="23"/>
                    <a:pt x="31" y="23"/>
                    <a:pt x="32" y="22"/>
                  </a:cubicBezTo>
                  <a:cubicBezTo>
                    <a:pt x="32" y="21"/>
                    <a:pt x="30" y="19"/>
                    <a:pt x="34" y="19"/>
                  </a:cubicBezTo>
                  <a:cubicBezTo>
                    <a:pt x="34" y="19"/>
                    <a:pt x="36" y="14"/>
                    <a:pt x="33" y="13"/>
                  </a:cubicBezTo>
                  <a:cubicBezTo>
                    <a:pt x="30" y="11"/>
                    <a:pt x="35" y="10"/>
                    <a:pt x="34" y="10"/>
                  </a:cubicBezTo>
                  <a:cubicBezTo>
                    <a:pt x="32" y="10"/>
                    <a:pt x="30" y="8"/>
                    <a:pt x="30" y="8"/>
                  </a:cubicBezTo>
                  <a:cubicBezTo>
                    <a:pt x="30" y="8"/>
                    <a:pt x="26" y="8"/>
                    <a:pt x="26" y="6"/>
                  </a:cubicBezTo>
                  <a:cubicBezTo>
                    <a:pt x="26" y="4"/>
                    <a:pt x="25" y="5"/>
                    <a:pt x="22" y="5"/>
                  </a:cubicBezTo>
                  <a:cubicBezTo>
                    <a:pt x="20" y="5"/>
                    <a:pt x="20" y="7"/>
                    <a:pt x="17" y="6"/>
                  </a:cubicBezTo>
                  <a:cubicBezTo>
                    <a:pt x="12" y="6"/>
                    <a:pt x="10" y="0"/>
                    <a:pt x="10"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89" name="Freeform 325">
              <a:extLst>
                <a:ext uri="{FF2B5EF4-FFF2-40B4-BE49-F238E27FC236}">
                  <a16:creationId xmlns:a16="http://schemas.microsoft.com/office/drawing/2014/main" id="{6315DB9A-1F0C-BC1A-AE32-441A61A79991}"/>
                </a:ext>
              </a:extLst>
            </p:cNvPr>
            <p:cNvSpPr>
              <a:spLocks/>
            </p:cNvSpPr>
            <p:nvPr/>
          </p:nvSpPr>
          <p:spPr bwMode="auto">
            <a:xfrm>
              <a:off x="6038734" y="2157175"/>
              <a:ext cx="125748" cy="88026"/>
            </a:xfrm>
            <a:custGeom>
              <a:avLst/>
              <a:gdLst>
                <a:gd name="T0" fmla="*/ 10 w 36"/>
                <a:gd name="T1" fmla="*/ 0 h 25"/>
                <a:gd name="T2" fmla="*/ 6 w 36"/>
                <a:gd name="T3" fmla="*/ 2 h 25"/>
                <a:gd name="T4" fmla="*/ 0 w 36"/>
                <a:gd name="T5" fmla="*/ 4 h 25"/>
                <a:gd name="T6" fmla="*/ 2 w 36"/>
                <a:gd name="T7" fmla="*/ 7 h 25"/>
                <a:gd name="T8" fmla="*/ 4 w 36"/>
                <a:gd name="T9" fmla="*/ 8 h 25"/>
                <a:gd name="T10" fmla="*/ 5 w 36"/>
                <a:gd name="T11" fmla="*/ 11 h 25"/>
                <a:gd name="T12" fmla="*/ 9 w 36"/>
                <a:gd name="T13" fmla="*/ 14 h 25"/>
                <a:gd name="T14" fmla="*/ 13 w 36"/>
                <a:gd name="T15" fmla="*/ 15 h 25"/>
                <a:gd name="T16" fmla="*/ 15 w 36"/>
                <a:gd name="T17" fmla="*/ 18 h 25"/>
                <a:gd name="T18" fmla="*/ 19 w 36"/>
                <a:gd name="T19" fmla="*/ 21 h 25"/>
                <a:gd name="T20" fmla="*/ 23 w 36"/>
                <a:gd name="T21" fmla="*/ 21 h 25"/>
                <a:gd name="T22" fmla="*/ 25 w 36"/>
                <a:gd name="T23" fmla="*/ 24 h 25"/>
                <a:gd name="T24" fmla="*/ 27 w 36"/>
                <a:gd name="T25" fmla="*/ 25 h 25"/>
                <a:gd name="T26" fmla="*/ 31 w 36"/>
                <a:gd name="T27" fmla="*/ 24 h 25"/>
                <a:gd name="T28" fmla="*/ 32 w 36"/>
                <a:gd name="T29" fmla="*/ 22 h 25"/>
                <a:gd name="T30" fmla="*/ 34 w 36"/>
                <a:gd name="T31" fmla="*/ 19 h 25"/>
                <a:gd name="T32" fmla="*/ 33 w 36"/>
                <a:gd name="T33" fmla="*/ 13 h 25"/>
                <a:gd name="T34" fmla="*/ 34 w 36"/>
                <a:gd name="T35" fmla="*/ 10 h 25"/>
                <a:gd name="T36" fmla="*/ 30 w 36"/>
                <a:gd name="T37" fmla="*/ 8 h 25"/>
                <a:gd name="T38" fmla="*/ 26 w 36"/>
                <a:gd name="T39" fmla="*/ 6 h 25"/>
                <a:gd name="T40" fmla="*/ 22 w 36"/>
                <a:gd name="T41" fmla="*/ 5 h 25"/>
                <a:gd name="T42" fmla="*/ 17 w 36"/>
                <a:gd name="T43" fmla="*/ 6 h 25"/>
                <a:gd name="T44" fmla="*/ 10 w 36"/>
                <a:gd name="T4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5">
                  <a:moveTo>
                    <a:pt x="10" y="0"/>
                  </a:moveTo>
                  <a:cubicBezTo>
                    <a:pt x="9" y="1"/>
                    <a:pt x="7" y="2"/>
                    <a:pt x="6" y="2"/>
                  </a:cubicBezTo>
                  <a:cubicBezTo>
                    <a:pt x="4" y="3"/>
                    <a:pt x="2" y="3"/>
                    <a:pt x="0" y="4"/>
                  </a:cubicBezTo>
                  <a:cubicBezTo>
                    <a:pt x="2" y="7"/>
                    <a:pt x="2" y="7"/>
                    <a:pt x="2" y="7"/>
                  </a:cubicBezTo>
                  <a:cubicBezTo>
                    <a:pt x="2" y="7"/>
                    <a:pt x="4" y="6"/>
                    <a:pt x="4" y="8"/>
                  </a:cubicBezTo>
                  <a:cubicBezTo>
                    <a:pt x="5" y="10"/>
                    <a:pt x="5" y="11"/>
                    <a:pt x="5" y="11"/>
                  </a:cubicBezTo>
                  <a:cubicBezTo>
                    <a:pt x="5" y="11"/>
                    <a:pt x="7" y="11"/>
                    <a:pt x="9" y="14"/>
                  </a:cubicBezTo>
                  <a:cubicBezTo>
                    <a:pt x="12" y="17"/>
                    <a:pt x="13" y="15"/>
                    <a:pt x="13" y="15"/>
                  </a:cubicBezTo>
                  <a:cubicBezTo>
                    <a:pt x="13" y="15"/>
                    <a:pt x="13" y="16"/>
                    <a:pt x="15" y="18"/>
                  </a:cubicBezTo>
                  <a:cubicBezTo>
                    <a:pt x="17" y="20"/>
                    <a:pt x="18" y="20"/>
                    <a:pt x="19" y="21"/>
                  </a:cubicBezTo>
                  <a:cubicBezTo>
                    <a:pt x="21" y="22"/>
                    <a:pt x="23" y="18"/>
                    <a:pt x="23" y="21"/>
                  </a:cubicBezTo>
                  <a:cubicBezTo>
                    <a:pt x="23" y="24"/>
                    <a:pt x="23" y="24"/>
                    <a:pt x="25" y="24"/>
                  </a:cubicBezTo>
                  <a:cubicBezTo>
                    <a:pt x="27" y="24"/>
                    <a:pt x="27" y="25"/>
                    <a:pt x="27" y="25"/>
                  </a:cubicBezTo>
                  <a:cubicBezTo>
                    <a:pt x="31" y="24"/>
                    <a:pt x="31" y="24"/>
                    <a:pt x="31" y="24"/>
                  </a:cubicBezTo>
                  <a:cubicBezTo>
                    <a:pt x="31" y="23"/>
                    <a:pt x="31" y="23"/>
                    <a:pt x="32" y="22"/>
                  </a:cubicBezTo>
                  <a:cubicBezTo>
                    <a:pt x="32" y="21"/>
                    <a:pt x="30" y="19"/>
                    <a:pt x="34" y="19"/>
                  </a:cubicBezTo>
                  <a:cubicBezTo>
                    <a:pt x="34" y="19"/>
                    <a:pt x="36" y="14"/>
                    <a:pt x="33" y="13"/>
                  </a:cubicBezTo>
                  <a:cubicBezTo>
                    <a:pt x="30" y="11"/>
                    <a:pt x="35" y="10"/>
                    <a:pt x="34" y="10"/>
                  </a:cubicBezTo>
                  <a:cubicBezTo>
                    <a:pt x="32" y="10"/>
                    <a:pt x="30" y="8"/>
                    <a:pt x="30" y="8"/>
                  </a:cubicBezTo>
                  <a:cubicBezTo>
                    <a:pt x="30" y="8"/>
                    <a:pt x="26" y="8"/>
                    <a:pt x="26" y="6"/>
                  </a:cubicBezTo>
                  <a:cubicBezTo>
                    <a:pt x="26" y="4"/>
                    <a:pt x="25" y="5"/>
                    <a:pt x="22" y="5"/>
                  </a:cubicBezTo>
                  <a:cubicBezTo>
                    <a:pt x="20" y="5"/>
                    <a:pt x="20" y="7"/>
                    <a:pt x="17" y="6"/>
                  </a:cubicBezTo>
                  <a:cubicBezTo>
                    <a:pt x="12" y="6"/>
                    <a:pt x="10" y="0"/>
                    <a:pt x="10"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90" name="Freeform 326">
              <a:extLst>
                <a:ext uri="{FF2B5EF4-FFF2-40B4-BE49-F238E27FC236}">
                  <a16:creationId xmlns:a16="http://schemas.microsoft.com/office/drawing/2014/main" id="{EDDE31F5-D08C-DBF6-6C21-6C4F25DBF8A6}"/>
                </a:ext>
              </a:extLst>
            </p:cNvPr>
            <p:cNvSpPr>
              <a:spLocks/>
            </p:cNvSpPr>
            <p:nvPr/>
          </p:nvSpPr>
          <p:spPr bwMode="auto">
            <a:xfrm>
              <a:off x="6721370" y="1923639"/>
              <a:ext cx="229940" cy="226350"/>
            </a:xfrm>
            <a:custGeom>
              <a:avLst/>
              <a:gdLst>
                <a:gd name="T0" fmla="*/ 18 w 65"/>
                <a:gd name="T1" fmla="*/ 15 h 64"/>
                <a:gd name="T2" fmla="*/ 24 w 65"/>
                <a:gd name="T3" fmla="*/ 11 h 64"/>
                <a:gd name="T4" fmla="*/ 28 w 65"/>
                <a:gd name="T5" fmla="*/ 8 h 64"/>
                <a:gd name="T6" fmla="*/ 30 w 65"/>
                <a:gd name="T7" fmla="*/ 3 h 64"/>
                <a:gd name="T8" fmla="*/ 36 w 65"/>
                <a:gd name="T9" fmla="*/ 3 h 64"/>
                <a:gd name="T10" fmla="*/ 38 w 65"/>
                <a:gd name="T11" fmla="*/ 5 h 64"/>
                <a:gd name="T12" fmla="*/ 42 w 65"/>
                <a:gd name="T13" fmla="*/ 4 h 64"/>
                <a:gd name="T14" fmla="*/ 46 w 65"/>
                <a:gd name="T15" fmla="*/ 5 h 64"/>
                <a:gd name="T16" fmla="*/ 51 w 65"/>
                <a:gd name="T17" fmla="*/ 9 h 64"/>
                <a:gd name="T18" fmla="*/ 54 w 65"/>
                <a:gd name="T19" fmla="*/ 13 h 64"/>
                <a:gd name="T20" fmla="*/ 56 w 65"/>
                <a:gd name="T21" fmla="*/ 20 h 64"/>
                <a:gd name="T22" fmla="*/ 57 w 65"/>
                <a:gd name="T23" fmla="*/ 27 h 64"/>
                <a:gd name="T24" fmla="*/ 63 w 65"/>
                <a:gd name="T25" fmla="*/ 32 h 64"/>
                <a:gd name="T26" fmla="*/ 63 w 65"/>
                <a:gd name="T27" fmla="*/ 39 h 64"/>
                <a:gd name="T28" fmla="*/ 57 w 65"/>
                <a:gd name="T29" fmla="*/ 39 h 64"/>
                <a:gd name="T30" fmla="*/ 60 w 65"/>
                <a:gd name="T31" fmla="*/ 44 h 64"/>
                <a:gd name="T32" fmla="*/ 60 w 65"/>
                <a:gd name="T33" fmla="*/ 55 h 64"/>
                <a:gd name="T34" fmla="*/ 57 w 65"/>
                <a:gd name="T35" fmla="*/ 55 h 64"/>
                <a:gd name="T36" fmla="*/ 55 w 65"/>
                <a:gd name="T37" fmla="*/ 58 h 64"/>
                <a:gd name="T38" fmla="*/ 52 w 65"/>
                <a:gd name="T39" fmla="*/ 61 h 64"/>
                <a:gd name="T40" fmla="*/ 45 w 65"/>
                <a:gd name="T41" fmla="*/ 61 h 64"/>
                <a:gd name="T42" fmla="*/ 41 w 65"/>
                <a:gd name="T43" fmla="*/ 61 h 64"/>
                <a:gd name="T44" fmla="*/ 37 w 65"/>
                <a:gd name="T45" fmla="*/ 59 h 64"/>
                <a:gd name="T46" fmla="*/ 36 w 65"/>
                <a:gd name="T47" fmla="*/ 62 h 64"/>
                <a:gd name="T48" fmla="*/ 35 w 65"/>
                <a:gd name="T49" fmla="*/ 60 h 64"/>
                <a:gd name="T50" fmla="*/ 32 w 65"/>
                <a:gd name="T51" fmla="*/ 60 h 64"/>
                <a:gd name="T52" fmla="*/ 24 w 65"/>
                <a:gd name="T53" fmla="*/ 60 h 64"/>
                <a:gd name="T54" fmla="*/ 15 w 65"/>
                <a:gd name="T55" fmla="*/ 58 h 64"/>
                <a:gd name="T56" fmla="*/ 9 w 65"/>
                <a:gd name="T57" fmla="*/ 59 h 64"/>
                <a:gd name="T58" fmla="*/ 5 w 65"/>
                <a:gd name="T59" fmla="*/ 61 h 64"/>
                <a:gd name="T60" fmla="*/ 1 w 65"/>
                <a:gd name="T61" fmla="*/ 60 h 64"/>
                <a:gd name="T62" fmla="*/ 0 w 65"/>
                <a:gd name="T63" fmla="*/ 53 h 64"/>
                <a:gd name="T64" fmla="*/ 2 w 65"/>
                <a:gd name="T65" fmla="*/ 45 h 64"/>
                <a:gd name="T66" fmla="*/ 0 w 65"/>
                <a:gd name="T67" fmla="*/ 38 h 64"/>
                <a:gd name="T68" fmla="*/ 4 w 65"/>
                <a:gd name="T69" fmla="*/ 36 h 64"/>
                <a:gd name="T70" fmla="*/ 9 w 65"/>
                <a:gd name="T71" fmla="*/ 36 h 64"/>
                <a:gd name="T72" fmla="*/ 10 w 65"/>
                <a:gd name="T73" fmla="*/ 33 h 64"/>
                <a:gd name="T74" fmla="*/ 14 w 65"/>
                <a:gd name="T75" fmla="*/ 33 h 64"/>
                <a:gd name="T76" fmla="*/ 14 w 65"/>
                <a:gd name="T77" fmla="*/ 28 h 64"/>
                <a:gd name="T78" fmla="*/ 17 w 65"/>
                <a:gd name="T79" fmla="*/ 20 h 64"/>
                <a:gd name="T80" fmla="*/ 18 w 65"/>
                <a:gd name="T81"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 h="64">
                  <a:moveTo>
                    <a:pt x="18" y="15"/>
                  </a:moveTo>
                  <a:cubicBezTo>
                    <a:pt x="18" y="15"/>
                    <a:pt x="21" y="9"/>
                    <a:pt x="24" y="11"/>
                  </a:cubicBezTo>
                  <a:cubicBezTo>
                    <a:pt x="28" y="13"/>
                    <a:pt x="28" y="12"/>
                    <a:pt x="28" y="8"/>
                  </a:cubicBezTo>
                  <a:cubicBezTo>
                    <a:pt x="28" y="4"/>
                    <a:pt x="30" y="3"/>
                    <a:pt x="30" y="3"/>
                  </a:cubicBezTo>
                  <a:cubicBezTo>
                    <a:pt x="30" y="3"/>
                    <a:pt x="34" y="5"/>
                    <a:pt x="36" y="3"/>
                  </a:cubicBezTo>
                  <a:cubicBezTo>
                    <a:pt x="37" y="0"/>
                    <a:pt x="36" y="7"/>
                    <a:pt x="38" y="5"/>
                  </a:cubicBezTo>
                  <a:cubicBezTo>
                    <a:pt x="40" y="4"/>
                    <a:pt x="42" y="4"/>
                    <a:pt x="42" y="4"/>
                  </a:cubicBezTo>
                  <a:cubicBezTo>
                    <a:pt x="42" y="4"/>
                    <a:pt x="44" y="4"/>
                    <a:pt x="46" y="5"/>
                  </a:cubicBezTo>
                  <a:cubicBezTo>
                    <a:pt x="48" y="6"/>
                    <a:pt x="51" y="6"/>
                    <a:pt x="51" y="9"/>
                  </a:cubicBezTo>
                  <a:cubicBezTo>
                    <a:pt x="51" y="11"/>
                    <a:pt x="54" y="9"/>
                    <a:pt x="54" y="13"/>
                  </a:cubicBezTo>
                  <a:cubicBezTo>
                    <a:pt x="54" y="16"/>
                    <a:pt x="56" y="16"/>
                    <a:pt x="56" y="20"/>
                  </a:cubicBezTo>
                  <a:cubicBezTo>
                    <a:pt x="56" y="24"/>
                    <a:pt x="55" y="26"/>
                    <a:pt x="57" y="27"/>
                  </a:cubicBezTo>
                  <a:cubicBezTo>
                    <a:pt x="59" y="29"/>
                    <a:pt x="62" y="29"/>
                    <a:pt x="63" y="32"/>
                  </a:cubicBezTo>
                  <a:cubicBezTo>
                    <a:pt x="64" y="35"/>
                    <a:pt x="65" y="38"/>
                    <a:pt x="63" y="39"/>
                  </a:cubicBezTo>
                  <a:cubicBezTo>
                    <a:pt x="60" y="39"/>
                    <a:pt x="59" y="36"/>
                    <a:pt x="57" y="39"/>
                  </a:cubicBezTo>
                  <a:cubicBezTo>
                    <a:pt x="56" y="42"/>
                    <a:pt x="60" y="42"/>
                    <a:pt x="60" y="44"/>
                  </a:cubicBezTo>
                  <a:cubicBezTo>
                    <a:pt x="60" y="55"/>
                    <a:pt x="60" y="55"/>
                    <a:pt x="60" y="55"/>
                  </a:cubicBezTo>
                  <a:cubicBezTo>
                    <a:pt x="60" y="55"/>
                    <a:pt x="59" y="55"/>
                    <a:pt x="57" y="55"/>
                  </a:cubicBezTo>
                  <a:cubicBezTo>
                    <a:pt x="55" y="55"/>
                    <a:pt x="55" y="55"/>
                    <a:pt x="55" y="58"/>
                  </a:cubicBezTo>
                  <a:cubicBezTo>
                    <a:pt x="54" y="61"/>
                    <a:pt x="55" y="62"/>
                    <a:pt x="52" y="61"/>
                  </a:cubicBezTo>
                  <a:cubicBezTo>
                    <a:pt x="50" y="61"/>
                    <a:pt x="47" y="60"/>
                    <a:pt x="45" y="61"/>
                  </a:cubicBezTo>
                  <a:cubicBezTo>
                    <a:pt x="43" y="61"/>
                    <a:pt x="43" y="59"/>
                    <a:pt x="41" y="61"/>
                  </a:cubicBezTo>
                  <a:cubicBezTo>
                    <a:pt x="39" y="62"/>
                    <a:pt x="38" y="59"/>
                    <a:pt x="37" y="59"/>
                  </a:cubicBezTo>
                  <a:cubicBezTo>
                    <a:pt x="37" y="60"/>
                    <a:pt x="36" y="62"/>
                    <a:pt x="36" y="62"/>
                  </a:cubicBezTo>
                  <a:cubicBezTo>
                    <a:pt x="35" y="60"/>
                    <a:pt x="35" y="60"/>
                    <a:pt x="35" y="60"/>
                  </a:cubicBezTo>
                  <a:cubicBezTo>
                    <a:pt x="35" y="60"/>
                    <a:pt x="34" y="60"/>
                    <a:pt x="32" y="60"/>
                  </a:cubicBezTo>
                  <a:cubicBezTo>
                    <a:pt x="29" y="60"/>
                    <a:pt x="27" y="61"/>
                    <a:pt x="24" y="60"/>
                  </a:cubicBezTo>
                  <a:cubicBezTo>
                    <a:pt x="22" y="59"/>
                    <a:pt x="18" y="59"/>
                    <a:pt x="15" y="58"/>
                  </a:cubicBezTo>
                  <a:cubicBezTo>
                    <a:pt x="13" y="58"/>
                    <a:pt x="9" y="59"/>
                    <a:pt x="9" y="59"/>
                  </a:cubicBezTo>
                  <a:cubicBezTo>
                    <a:pt x="9" y="59"/>
                    <a:pt x="6" y="64"/>
                    <a:pt x="5" y="61"/>
                  </a:cubicBezTo>
                  <a:cubicBezTo>
                    <a:pt x="4" y="57"/>
                    <a:pt x="1" y="60"/>
                    <a:pt x="1" y="60"/>
                  </a:cubicBezTo>
                  <a:cubicBezTo>
                    <a:pt x="1" y="60"/>
                    <a:pt x="0" y="55"/>
                    <a:pt x="0" y="53"/>
                  </a:cubicBezTo>
                  <a:cubicBezTo>
                    <a:pt x="0" y="51"/>
                    <a:pt x="4" y="47"/>
                    <a:pt x="2" y="45"/>
                  </a:cubicBezTo>
                  <a:cubicBezTo>
                    <a:pt x="0" y="43"/>
                    <a:pt x="0" y="38"/>
                    <a:pt x="0" y="38"/>
                  </a:cubicBezTo>
                  <a:cubicBezTo>
                    <a:pt x="4" y="36"/>
                    <a:pt x="4" y="36"/>
                    <a:pt x="4" y="36"/>
                  </a:cubicBezTo>
                  <a:cubicBezTo>
                    <a:pt x="9" y="36"/>
                    <a:pt x="9" y="36"/>
                    <a:pt x="9" y="36"/>
                  </a:cubicBezTo>
                  <a:cubicBezTo>
                    <a:pt x="10" y="36"/>
                    <a:pt x="10" y="33"/>
                    <a:pt x="10" y="33"/>
                  </a:cubicBezTo>
                  <a:cubicBezTo>
                    <a:pt x="14" y="33"/>
                    <a:pt x="14" y="33"/>
                    <a:pt x="14" y="33"/>
                  </a:cubicBezTo>
                  <a:cubicBezTo>
                    <a:pt x="14" y="33"/>
                    <a:pt x="14" y="31"/>
                    <a:pt x="14" y="28"/>
                  </a:cubicBezTo>
                  <a:cubicBezTo>
                    <a:pt x="13" y="25"/>
                    <a:pt x="15" y="22"/>
                    <a:pt x="17" y="20"/>
                  </a:cubicBezTo>
                  <a:cubicBezTo>
                    <a:pt x="19" y="18"/>
                    <a:pt x="18" y="15"/>
                    <a:pt x="18" y="1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91" name="Freeform 327">
              <a:extLst>
                <a:ext uri="{FF2B5EF4-FFF2-40B4-BE49-F238E27FC236}">
                  <a16:creationId xmlns:a16="http://schemas.microsoft.com/office/drawing/2014/main" id="{565A8FE3-311D-F5F0-C4E5-FD8F1214D4CC}"/>
                </a:ext>
              </a:extLst>
            </p:cNvPr>
            <p:cNvSpPr>
              <a:spLocks/>
            </p:cNvSpPr>
            <p:nvPr/>
          </p:nvSpPr>
          <p:spPr bwMode="auto">
            <a:xfrm>
              <a:off x="6721370" y="1923639"/>
              <a:ext cx="229940" cy="226350"/>
            </a:xfrm>
            <a:custGeom>
              <a:avLst/>
              <a:gdLst>
                <a:gd name="T0" fmla="*/ 18 w 65"/>
                <a:gd name="T1" fmla="*/ 15 h 64"/>
                <a:gd name="T2" fmla="*/ 24 w 65"/>
                <a:gd name="T3" fmla="*/ 11 h 64"/>
                <a:gd name="T4" fmla="*/ 28 w 65"/>
                <a:gd name="T5" fmla="*/ 8 h 64"/>
                <a:gd name="T6" fmla="*/ 30 w 65"/>
                <a:gd name="T7" fmla="*/ 3 h 64"/>
                <a:gd name="T8" fmla="*/ 36 w 65"/>
                <a:gd name="T9" fmla="*/ 3 h 64"/>
                <a:gd name="T10" fmla="*/ 38 w 65"/>
                <a:gd name="T11" fmla="*/ 5 h 64"/>
                <a:gd name="T12" fmla="*/ 42 w 65"/>
                <a:gd name="T13" fmla="*/ 4 h 64"/>
                <a:gd name="T14" fmla="*/ 46 w 65"/>
                <a:gd name="T15" fmla="*/ 5 h 64"/>
                <a:gd name="T16" fmla="*/ 51 w 65"/>
                <a:gd name="T17" fmla="*/ 9 h 64"/>
                <a:gd name="T18" fmla="*/ 54 w 65"/>
                <a:gd name="T19" fmla="*/ 13 h 64"/>
                <a:gd name="T20" fmla="*/ 56 w 65"/>
                <a:gd name="T21" fmla="*/ 20 h 64"/>
                <a:gd name="T22" fmla="*/ 57 w 65"/>
                <a:gd name="T23" fmla="*/ 27 h 64"/>
                <a:gd name="T24" fmla="*/ 63 w 65"/>
                <a:gd name="T25" fmla="*/ 32 h 64"/>
                <a:gd name="T26" fmla="*/ 63 w 65"/>
                <a:gd name="T27" fmla="*/ 39 h 64"/>
                <a:gd name="T28" fmla="*/ 57 w 65"/>
                <a:gd name="T29" fmla="*/ 39 h 64"/>
                <a:gd name="T30" fmla="*/ 60 w 65"/>
                <a:gd name="T31" fmla="*/ 44 h 64"/>
                <a:gd name="T32" fmla="*/ 60 w 65"/>
                <a:gd name="T33" fmla="*/ 55 h 64"/>
                <a:gd name="T34" fmla="*/ 57 w 65"/>
                <a:gd name="T35" fmla="*/ 55 h 64"/>
                <a:gd name="T36" fmla="*/ 55 w 65"/>
                <a:gd name="T37" fmla="*/ 58 h 64"/>
                <a:gd name="T38" fmla="*/ 52 w 65"/>
                <a:gd name="T39" fmla="*/ 61 h 64"/>
                <a:gd name="T40" fmla="*/ 45 w 65"/>
                <a:gd name="T41" fmla="*/ 61 h 64"/>
                <a:gd name="T42" fmla="*/ 41 w 65"/>
                <a:gd name="T43" fmla="*/ 61 h 64"/>
                <a:gd name="T44" fmla="*/ 37 w 65"/>
                <a:gd name="T45" fmla="*/ 59 h 64"/>
                <a:gd name="T46" fmla="*/ 36 w 65"/>
                <a:gd name="T47" fmla="*/ 62 h 64"/>
                <a:gd name="T48" fmla="*/ 35 w 65"/>
                <a:gd name="T49" fmla="*/ 60 h 64"/>
                <a:gd name="T50" fmla="*/ 32 w 65"/>
                <a:gd name="T51" fmla="*/ 60 h 64"/>
                <a:gd name="T52" fmla="*/ 24 w 65"/>
                <a:gd name="T53" fmla="*/ 60 h 64"/>
                <a:gd name="T54" fmla="*/ 15 w 65"/>
                <a:gd name="T55" fmla="*/ 58 h 64"/>
                <a:gd name="T56" fmla="*/ 9 w 65"/>
                <a:gd name="T57" fmla="*/ 59 h 64"/>
                <a:gd name="T58" fmla="*/ 5 w 65"/>
                <a:gd name="T59" fmla="*/ 61 h 64"/>
                <a:gd name="T60" fmla="*/ 1 w 65"/>
                <a:gd name="T61" fmla="*/ 60 h 64"/>
                <a:gd name="T62" fmla="*/ 0 w 65"/>
                <a:gd name="T63" fmla="*/ 53 h 64"/>
                <a:gd name="T64" fmla="*/ 2 w 65"/>
                <a:gd name="T65" fmla="*/ 45 h 64"/>
                <a:gd name="T66" fmla="*/ 0 w 65"/>
                <a:gd name="T67" fmla="*/ 38 h 64"/>
                <a:gd name="T68" fmla="*/ 4 w 65"/>
                <a:gd name="T69" fmla="*/ 36 h 64"/>
                <a:gd name="T70" fmla="*/ 9 w 65"/>
                <a:gd name="T71" fmla="*/ 36 h 64"/>
                <a:gd name="T72" fmla="*/ 10 w 65"/>
                <a:gd name="T73" fmla="*/ 33 h 64"/>
                <a:gd name="T74" fmla="*/ 14 w 65"/>
                <a:gd name="T75" fmla="*/ 33 h 64"/>
                <a:gd name="T76" fmla="*/ 14 w 65"/>
                <a:gd name="T77" fmla="*/ 28 h 64"/>
                <a:gd name="T78" fmla="*/ 17 w 65"/>
                <a:gd name="T79" fmla="*/ 20 h 64"/>
                <a:gd name="T80" fmla="*/ 18 w 65"/>
                <a:gd name="T81" fmla="*/ 1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 h="64">
                  <a:moveTo>
                    <a:pt x="18" y="15"/>
                  </a:moveTo>
                  <a:cubicBezTo>
                    <a:pt x="18" y="15"/>
                    <a:pt x="21" y="9"/>
                    <a:pt x="24" y="11"/>
                  </a:cubicBezTo>
                  <a:cubicBezTo>
                    <a:pt x="28" y="13"/>
                    <a:pt x="28" y="12"/>
                    <a:pt x="28" y="8"/>
                  </a:cubicBezTo>
                  <a:cubicBezTo>
                    <a:pt x="28" y="4"/>
                    <a:pt x="30" y="3"/>
                    <a:pt x="30" y="3"/>
                  </a:cubicBezTo>
                  <a:cubicBezTo>
                    <a:pt x="30" y="3"/>
                    <a:pt x="34" y="5"/>
                    <a:pt x="36" y="3"/>
                  </a:cubicBezTo>
                  <a:cubicBezTo>
                    <a:pt x="37" y="0"/>
                    <a:pt x="36" y="7"/>
                    <a:pt x="38" y="5"/>
                  </a:cubicBezTo>
                  <a:cubicBezTo>
                    <a:pt x="40" y="4"/>
                    <a:pt x="42" y="4"/>
                    <a:pt x="42" y="4"/>
                  </a:cubicBezTo>
                  <a:cubicBezTo>
                    <a:pt x="42" y="4"/>
                    <a:pt x="44" y="4"/>
                    <a:pt x="46" y="5"/>
                  </a:cubicBezTo>
                  <a:cubicBezTo>
                    <a:pt x="48" y="6"/>
                    <a:pt x="51" y="6"/>
                    <a:pt x="51" y="9"/>
                  </a:cubicBezTo>
                  <a:cubicBezTo>
                    <a:pt x="51" y="11"/>
                    <a:pt x="54" y="9"/>
                    <a:pt x="54" y="13"/>
                  </a:cubicBezTo>
                  <a:cubicBezTo>
                    <a:pt x="54" y="16"/>
                    <a:pt x="56" y="16"/>
                    <a:pt x="56" y="20"/>
                  </a:cubicBezTo>
                  <a:cubicBezTo>
                    <a:pt x="56" y="24"/>
                    <a:pt x="55" y="26"/>
                    <a:pt x="57" y="27"/>
                  </a:cubicBezTo>
                  <a:cubicBezTo>
                    <a:pt x="59" y="29"/>
                    <a:pt x="62" y="29"/>
                    <a:pt x="63" y="32"/>
                  </a:cubicBezTo>
                  <a:cubicBezTo>
                    <a:pt x="64" y="35"/>
                    <a:pt x="65" y="38"/>
                    <a:pt x="63" y="39"/>
                  </a:cubicBezTo>
                  <a:cubicBezTo>
                    <a:pt x="60" y="39"/>
                    <a:pt x="59" y="36"/>
                    <a:pt x="57" y="39"/>
                  </a:cubicBezTo>
                  <a:cubicBezTo>
                    <a:pt x="56" y="42"/>
                    <a:pt x="60" y="42"/>
                    <a:pt x="60" y="44"/>
                  </a:cubicBezTo>
                  <a:cubicBezTo>
                    <a:pt x="60" y="55"/>
                    <a:pt x="60" y="55"/>
                    <a:pt x="60" y="55"/>
                  </a:cubicBezTo>
                  <a:cubicBezTo>
                    <a:pt x="60" y="55"/>
                    <a:pt x="59" y="55"/>
                    <a:pt x="57" y="55"/>
                  </a:cubicBezTo>
                  <a:cubicBezTo>
                    <a:pt x="55" y="55"/>
                    <a:pt x="55" y="55"/>
                    <a:pt x="55" y="58"/>
                  </a:cubicBezTo>
                  <a:cubicBezTo>
                    <a:pt x="54" y="61"/>
                    <a:pt x="55" y="62"/>
                    <a:pt x="52" y="61"/>
                  </a:cubicBezTo>
                  <a:cubicBezTo>
                    <a:pt x="50" y="61"/>
                    <a:pt x="47" y="60"/>
                    <a:pt x="45" y="61"/>
                  </a:cubicBezTo>
                  <a:cubicBezTo>
                    <a:pt x="43" y="61"/>
                    <a:pt x="43" y="59"/>
                    <a:pt x="41" y="61"/>
                  </a:cubicBezTo>
                  <a:cubicBezTo>
                    <a:pt x="39" y="62"/>
                    <a:pt x="38" y="59"/>
                    <a:pt x="37" y="59"/>
                  </a:cubicBezTo>
                  <a:cubicBezTo>
                    <a:pt x="37" y="60"/>
                    <a:pt x="36" y="62"/>
                    <a:pt x="36" y="62"/>
                  </a:cubicBezTo>
                  <a:cubicBezTo>
                    <a:pt x="35" y="60"/>
                    <a:pt x="35" y="60"/>
                    <a:pt x="35" y="60"/>
                  </a:cubicBezTo>
                  <a:cubicBezTo>
                    <a:pt x="35" y="60"/>
                    <a:pt x="34" y="60"/>
                    <a:pt x="32" y="60"/>
                  </a:cubicBezTo>
                  <a:cubicBezTo>
                    <a:pt x="29" y="60"/>
                    <a:pt x="27" y="61"/>
                    <a:pt x="24" y="60"/>
                  </a:cubicBezTo>
                  <a:cubicBezTo>
                    <a:pt x="22" y="59"/>
                    <a:pt x="18" y="59"/>
                    <a:pt x="15" y="58"/>
                  </a:cubicBezTo>
                  <a:cubicBezTo>
                    <a:pt x="13" y="58"/>
                    <a:pt x="9" y="59"/>
                    <a:pt x="9" y="59"/>
                  </a:cubicBezTo>
                  <a:cubicBezTo>
                    <a:pt x="9" y="59"/>
                    <a:pt x="6" y="64"/>
                    <a:pt x="5" y="61"/>
                  </a:cubicBezTo>
                  <a:cubicBezTo>
                    <a:pt x="4" y="57"/>
                    <a:pt x="1" y="60"/>
                    <a:pt x="1" y="60"/>
                  </a:cubicBezTo>
                  <a:cubicBezTo>
                    <a:pt x="1" y="60"/>
                    <a:pt x="0" y="55"/>
                    <a:pt x="0" y="53"/>
                  </a:cubicBezTo>
                  <a:cubicBezTo>
                    <a:pt x="0" y="51"/>
                    <a:pt x="4" y="47"/>
                    <a:pt x="2" y="45"/>
                  </a:cubicBezTo>
                  <a:cubicBezTo>
                    <a:pt x="0" y="43"/>
                    <a:pt x="0" y="38"/>
                    <a:pt x="0" y="38"/>
                  </a:cubicBezTo>
                  <a:cubicBezTo>
                    <a:pt x="4" y="36"/>
                    <a:pt x="4" y="36"/>
                    <a:pt x="4" y="36"/>
                  </a:cubicBezTo>
                  <a:cubicBezTo>
                    <a:pt x="9" y="36"/>
                    <a:pt x="9" y="36"/>
                    <a:pt x="9" y="36"/>
                  </a:cubicBezTo>
                  <a:cubicBezTo>
                    <a:pt x="10" y="36"/>
                    <a:pt x="10" y="33"/>
                    <a:pt x="10" y="33"/>
                  </a:cubicBezTo>
                  <a:cubicBezTo>
                    <a:pt x="14" y="33"/>
                    <a:pt x="14" y="33"/>
                    <a:pt x="14" y="33"/>
                  </a:cubicBezTo>
                  <a:cubicBezTo>
                    <a:pt x="14" y="33"/>
                    <a:pt x="14" y="31"/>
                    <a:pt x="14" y="28"/>
                  </a:cubicBezTo>
                  <a:cubicBezTo>
                    <a:pt x="13" y="25"/>
                    <a:pt x="15" y="22"/>
                    <a:pt x="17" y="20"/>
                  </a:cubicBezTo>
                  <a:cubicBezTo>
                    <a:pt x="19" y="18"/>
                    <a:pt x="18" y="15"/>
                    <a:pt x="18" y="1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92" name="Freeform 328">
              <a:extLst>
                <a:ext uri="{FF2B5EF4-FFF2-40B4-BE49-F238E27FC236}">
                  <a16:creationId xmlns:a16="http://schemas.microsoft.com/office/drawing/2014/main" id="{0A4C21C3-527E-57D0-6B5F-736E189007B4}"/>
                </a:ext>
              </a:extLst>
            </p:cNvPr>
            <p:cNvSpPr>
              <a:spLocks/>
            </p:cNvSpPr>
            <p:nvPr/>
          </p:nvSpPr>
          <p:spPr bwMode="auto">
            <a:xfrm>
              <a:off x="3586638" y="3278148"/>
              <a:ext cx="25150" cy="19762"/>
            </a:xfrm>
            <a:custGeom>
              <a:avLst/>
              <a:gdLst>
                <a:gd name="T0" fmla="*/ 1 w 7"/>
                <a:gd name="T1" fmla="*/ 0 h 6"/>
                <a:gd name="T2" fmla="*/ 0 w 7"/>
                <a:gd name="T3" fmla="*/ 4 h 6"/>
                <a:gd name="T4" fmla="*/ 4 w 7"/>
                <a:gd name="T5" fmla="*/ 0 h 6"/>
                <a:gd name="T6" fmla="*/ 1 w 7"/>
                <a:gd name="T7" fmla="*/ 0 h 6"/>
              </a:gdLst>
              <a:ahLst/>
              <a:cxnLst>
                <a:cxn ang="0">
                  <a:pos x="T0" y="T1"/>
                </a:cxn>
                <a:cxn ang="0">
                  <a:pos x="T2" y="T3"/>
                </a:cxn>
                <a:cxn ang="0">
                  <a:pos x="T4" y="T5"/>
                </a:cxn>
                <a:cxn ang="0">
                  <a:pos x="T6" y="T7"/>
                </a:cxn>
              </a:cxnLst>
              <a:rect l="0" t="0" r="r" b="b"/>
              <a:pathLst>
                <a:path w="7" h="6">
                  <a:moveTo>
                    <a:pt x="1" y="0"/>
                  </a:moveTo>
                  <a:cubicBezTo>
                    <a:pt x="1" y="2"/>
                    <a:pt x="0" y="2"/>
                    <a:pt x="0" y="4"/>
                  </a:cubicBezTo>
                  <a:cubicBezTo>
                    <a:pt x="6" y="6"/>
                    <a:pt x="7" y="6"/>
                    <a:pt x="4" y="0"/>
                  </a:cubicBezTo>
                  <a:cubicBezTo>
                    <a:pt x="3" y="0"/>
                    <a:pt x="2" y="0"/>
                    <a:pt x="1"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93" name="Freeform 329">
              <a:extLst>
                <a:ext uri="{FF2B5EF4-FFF2-40B4-BE49-F238E27FC236}">
                  <a16:creationId xmlns:a16="http://schemas.microsoft.com/office/drawing/2014/main" id="{D969CEA2-0138-8D0F-2172-A4174DB6DDEF}"/>
                </a:ext>
              </a:extLst>
            </p:cNvPr>
            <p:cNvSpPr>
              <a:spLocks/>
            </p:cNvSpPr>
            <p:nvPr/>
          </p:nvSpPr>
          <p:spPr bwMode="auto">
            <a:xfrm>
              <a:off x="3586638" y="3278148"/>
              <a:ext cx="25150" cy="19762"/>
            </a:xfrm>
            <a:custGeom>
              <a:avLst/>
              <a:gdLst>
                <a:gd name="T0" fmla="*/ 1 w 7"/>
                <a:gd name="T1" fmla="*/ 0 h 6"/>
                <a:gd name="T2" fmla="*/ 0 w 7"/>
                <a:gd name="T3" fmla="*/ 4 h 6"/>
                <a:gd name="T4" fmla="*/ 4 w 7"/>
                <a:gd name="T5" fmla="*/ 0 h 6"/>
                <a:gd name="T6" fmla="*/ 1 w 7"/>
                <a:gd name="T7" fmla="*/ 0 h 6"/>
              </a:gdLst>
              <a:ahLst/>
              <a:cxnLst>
                <a:cxn ang="0">
                  <a:pos x="T0" y="T1"/>
                </a:cxn>
                <a:cxn ang="0">
                  <a:pos x="T2" y="T3"/>
                </a:cxn>
                <a:cxn ang="0">
                  <a:pos x="T4" y="T5"/>
                </a:cxn>
                <a:cxn ang="0">
                  <a:pos x="T6" y="T7"/>
                </a:cxn>
              </a:cxnLst>
              <a:rect l="0" t="0" r="r" b="b"/>
              <a:pathLst>
                <a:path w="7" h="6">
                  <a:moveTo>
                    <a:pt x="1" y="0"/>
                  </a:moveTo>
                  <a:cubicBezTo>
                    <a:pt x="1" y="2"/>
                    <a:pt x="0" y="2"/>
                    <a:pt x="0" y="4"/>
                  </a:cubicBezTo>
                  <a:cubicBezTo>
                    <a:pt x="6" y="6"/>
                    <a:pt x="7" y="6"/>
                    <a:pt x="4" y="0"/>
                  </a:cubicBezTo>
                  <a:cubicBezTo>
                    <a:pt x="3" y="0"/>
                    <a:pt x="2" y="0"/>
                    <a:pt x="1"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94" name="Freeform 330">
              <a:extLst>
                <a:ext uri="{FF2B5EF4-FFF2-40B4-BE49-F238E27FC236}">
                  <a16:creationId xmlns:a16="http://schemas.microsoft.com/office/drawing/2014/main" id="{1ED23B98-5A4F-B091-AACF-DE32FE09C1E8}"/>
                </a:ext>
              </a:extLst>
            </p:cNvPr>
            <p:cNvSpPr>
              <a:spLocks/>
            </p:cNvSpPr>
            <p:nvPr/>
          </p:nvSpPr>
          <p:spPr bwMode="auto">
            <a:xfrm>
              <a:off x="8638140" y="3235033"/>
              <a:ext cx="165269" cy="240721"/>
            </a:xfrm>
            <a:custGeom>
              <a:avLst/>
              <a:gdLst>
                <a:gd name="T0" fmla="*/ 8 w 47"/>
                <a:gd name="T1" fmla="*/ 55 h 68"/>
                <a:gd name="T2" fmla="*/ 16 w 47"/>
                <a:gd name="T3" fmla="*/ 53 h 68"/>
                <a:gd name="T4" fmla="*/ 19 w 47"/>
                <a:gd name="T5" fmla="*/ 51 h 68"/>
                <a:gd name="T6" fmla="*/ 21 w 47"/>
                <a:gd name="T7" fmla="*/ 52 h 68"/>
                <a:gd name="T8" fmla="*/ 25 w 47"/>
                <a:gd name="T9" fmla="*/ 47 h 68"/>
                <a:gd name="T10" fmla="*/ 24 w 47"/>
                <a:gd name="T11" fmla="*/ 44 h 68"/>
                <a:gd name="T12" fmla="*/ 26 w 47"/>
                <a:gd name="T13" fmla="*/ 41 h 68"/>
                <a:gd name="T14" fmla="*/ 24 w 47"/>
                <a:gd name="T15" fmla="*/ 35 h 68"/>
                <a:gd name="T16" fmla="*/ 32 w 47"/>
                <a:gd name="T17" fmla="*/ 41 h 68"/>
                <a:gd name="T18" fmla="*/ 37 w 47"/>
                <a:gd name="T19" fmla="*/ 47 h 68"/>
                <a:gd name="T20" fmla="*/ 38 w 47"/>
                <a:gd name="T21" fmla="*/ 50 h 68"/>
                <a:gd name="T22" fmla="*/ 41 w 47"/>
                <a:gd name="T23" fmla="*/ 62 h 68"/>
                <a:gd name="T24" fmla="*/ 43 w 47"/>
                <a:gd name="T25" fmla="*/ 64 h 68"/>
                <a:gd name="T26" fmla="*/ 47 w 47"/>
                <a:gd name="T27" fmla="*/ 63 h 68"/>
                <a:gd name="T28" fmla="*/ 46 w 47"/>
                <a:gd name="T29" fmla="*/ 56 h 68"/>
                <a:gd name="T30" fmla="*/ 44 w 47"/>
                <a:gd name="T31" fmla="*/ 48 h 68"/>
                <a:gd name="T32" fmla="*/ 40 w 47"/>
                <a:gd name="T33" fmla="*/ 37 h 68"/>
                <a:gd name="T34" fmla="*/ 35 w 47"/>
                <a:gd name="T35" fmla="*/ 41 h 68"/>
                <a:gd name="T36" fmla="*/ 36 w 47"/>
                <a:gd name="T37" fmla="*/ 32 h 68"/>
                <a:gd name="T38" fmla="*/ 40 w 47"/>
                <a:gd name="T39" fmla="*/ 23 h 68"/>
                <a:gd name="T40" fmla="*/ 44 w 47"/>
                <a:gd name="T41" fmla="*/ 16 h 68"/>
                <a:gd name="T42" fmla="*/ 33 w 47"/>
                <a:gd name="T43" fmla="*/ 17 h 68"/>
                <a:gd name="T44" fmla="*/ 22 w 47"/>
                <a:gd name="T45" fmla="*/ 18 h 68"/>
                <a:gd name="T46" fmla="*/ 19 w 47"/>
                <a:gd name="T47" fmla="*/ 11 h 68"/>
                <a:gd name="T48" fmla="*/ 16 w 47"/>
                <a:gd name="T49" fmla="*/ 3 h 68"/>
                <a:gd name="T50" fmla="*/ 7 w 47"/>
                <a:gd name="T51" fmla="*/ 0 h 68"/>
                <a:gd name="T52" fmla="*/ 9 w 47"/>
                <a:gd name="T53" fmla="*/ 9 h 68"/>
                <a:gd name="T54" fmla="*/ 3 w 47"/>
                <a:gd name="T55" fmla="*/ 14 h 68"/>
                <a:gd name="T56" fmla="*/ 1 w 47"/>
                <a:gd name="T57" fmla="*/ 23 h 68"/>
                <a:gd name="T58" fmla="*/ 7 w 47"/>
                <a:gd name="T59" fmla="*/ 28 h 68"/>
                <a:gd name="T60" fmla="*/ 7 w 47"/>
                <a:gd name="T61" fmla="*/ 37 h 68"/>
                <a:gd name="T62" fmla="*/ 10 w 47"/>
                <a:gd name="T63" fmla="*/ 47 h 68"/>
                <a:gd name="T64" fmla="*/ 8 w 47"/>
                <a:gd name="T65"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68">
                  <a:moveTo>
                    <a:pt x="8" y="53"/>
                  </a:moveTo>
                  <a:cubicBezTo>
                    <a:pt x="8" y="53"/>
                    <a:pt x="8" y="55"/>
                    <a:pt x="8" y="55"/>
                  </a:cubicBezTo>
                  <a:cubicBezTo>
                    <a:pt x="13" y="56"/>
                    <a:pt x="12" y="53"/>
                    <a:pt x="14" y="53"/>
                  </a:cubicBezTo>
                  <a:cubicBezTo>
                    <a:pt x="14" y="52"/>
                    <a:pt x="16" y="53"/>
                    <a:pt x="16" y="53"/>
                  </a:cubicBezTo>
                  <a:cubicBezTo>
                    <a:pt x="16" y="51"/>
                    <a:pt x="16" y="51"/>
                    <a:pt x="16" y="51"/>
                  </a:cubicBezTo>
                  <a:cubicBezTo>
                    <a:pt x="17" y="51"/>
                    <a:pt x="17" y="52"/>
                    <a:pt x="19" y="51"/>
                  </a:cubicBezTo>
                  <a:cubicBezTo>
                    <a:pt x="19" y="50"/>
                    <a:pt x="19" y="50"/>
                    <a:pt x="19" y="50"/>
                  </a:cubicBezTo>
                  <a:cubicBezTo>
                    <a:pt x="21" y="50"/>
                    <a:pt x="20" y="51"/>
                    <a:pt x="21" y="52"/>
                  </a:cubicBezTo>
                  <a:cubicBezTo>
                    <a:pt x="22" y="51"/>
                    <a:pt x="24" y="51"/>
                    <a:pt x="24" y="51"/>
                  </a:cubicBezTo>
                  <a:cubicBezTo>
                    <a:pt x="24" y="50"/>
                    <a:pt x="26" y="48"/>
                    <a:pt x="25" y="47"/>
                  </a:cubicBezTo>
                  <a:cubicBezTo>
                    <a:pt x="24" y="46"/>
                    <a:pt x="24" y="47"/>
                    <a:pt x="24" y="45"/>
                  </a:cubicBezTo>
                  <a:cubicBezTo>
                    <a:pt x="23" y="46"/>
                    <a:pt x="24" y="44"/>
                    <a:pt x="24" y="44"/>
                  </a:cubicBezTo>
                  <a:cubicBezTo>
                    <a:pt x="22" y="45"/>
                    <a:pt x="23" y="43"/>
                    <a:pt x="23" y="43"/>
                  </a:cubicBezTo>
                  <a:cubicBezTo>
                    <a:pt x="24" y="42"/>
                    <a:pt x="25" y="42"/>
                    <a:pt x="26" y="41"/>
                  </a:cubicBezTo>
                  <a:cubicBezTo>
                    <a:pt x="25" y="39"/>
                    <a:pt x="25" y="38"/>
                    <a:pt x="24" y="37"/>
                  </a:cubicBezTo>
                  <a:cubicBezTo>
                    <a:pt x="23" y="37"/>
                    <a:pt x="24" y="35"/>
                    <a:pt x="24" y="35"/>
                  </a:cubicBezTo>
                  <a:cubicBezTo>
                    <a:pt x="26" y="36"/>
                    <a:pt x="27" y="40"/>
                    <a:pt x="29" y="41"/>
                  </a:cubicBezTo>
                  <a:cubicBezTo>
                    <a:pt x="30" y="41"/>
                    <a:pt x="31" y="40"/>
                    <a:pt x="32" y="41"/>
                  </a:cubicBezTo>
                  <a:cubicBezTo>
                    <a:pt x="33" y="41"/>
                    <a:pt x="32" y="42"/>
                    <a:pt x="33" y="43"/>
                  </a:cubicBezTo>
                  <a:cubicBezTo>
                    <a:pt x="34" y="43"/>
                    <a:pt x="37" y="46"/>
                    <a:pt x="37" y="47"/>
                  </a:cubicBezTo>
                  <a:cubicBezTo>
                    <a:pt x="37" y="47"/>
                    <a:pt x="37" y="48"/>
                    <a:pt x="37" y="49"/>
                  </a:cubicBezTo>
                  <a:cubicBezTo>
                    <a:pt x="38" y="50"/>
                    <a:pt x="38" y="50"/>
                    <a:pt x="38" y="50"/>
                  </a:cubicBezTo>
                  <a:cubicBezTo>
                    <a:pt x="39" y="54"/>
                    <a:pt x="38" y="57"/>
                    <a:pt x="39" y="60"/>
                  </a:cubicBezTo>
                  <a:cubicBezTo>
                    <a:pt x="39" y="61"/>
                    <a:pt x="41" y="62"/>
                    <a:pt x="41" y="62"/>
                  </a:cubicBezTo>
                  <a:cubicBezTo>
                    <a:pt x="42" y="64"/>
                    <a:pt x="43" y="66"/>
                    <a:pt x="43" y="68"/>
                  </a:cubicBezTo>
                  <a:cubicBezTo>
                    <a:pt x="43" y="64"/>
                    <a:pt x="43" y="64"/>
                    <a:pt x="43" y="64"/>
                  </a:cubicBezTo>
                  <a:cubicBezTo>
                    <a:pt x="44" y="61"/>
                    <a:pt x="44" y="61"/>
                    <a:pt x="44" y="61"/>
                  </a:cubicBezTo>
                  <a:cubicBezTo>
                    <a:pt x="47" y="63"/>
                    <a:pt x="47" y="63"/>
                    <a:pt x="47" y="63"/>
                  </a:cubicBezTo>
                  <a:cubicBezTo>
                    <a:pt x="47" y="59"/>
                    <a:pt x="47" y="59"/>
                    <a:pt x="47" y="59"/>
                  </a:cubicBezTo>
                  <a:cubicBezTo>
                    <a:pt x="46" y="56"/>
                    <a:pt x="46" y="56"/>
                    <a:pt x="46" y="56"/>
                  </a:cubicBezTo>
                  <a:cubicBezTo>
                    <a:pt x="45" y="52"/>
                    <a:pt x="45" y="52"/>
                    <a:pt x="45" y="52"/>
                  </a:cubicBezTo>
                  <a:cubicBezTo>
                    <a:pt x="44" y="48"/>
                    <a:pt x="44" y="48"/>
                    <a:pt x="44" y="48"/>
                  </a:cubicBezTo>
                  <a:cubicBezTo>
                    <a:pt x="44" y="43"/>
                    <a:pt x="44" y="43"/>
                    <a:pt x="44" y="43"/>
                  </a:cubicBezTo>
                  <a:cubicBezTo>
                    <a:pt x="40" y="37"/>
                    <a:pt x="40" y="37"/>
                    <a:pt x="40" y="37"/>
                  </a:cubicBezTo>
                  <a:cubicBezTo>
                    <a:pt x="39" y="41"/>
                    <a:pt x="39" y="41"/>
                    <a:pt x="39" y="41"/>
                  </a:cubicBezTo>
                  <a:cubicBezTo>
                    <a:pt x="35" y="41"/>
                    <a:pt x="35" y="41"/>
                    <a:pt x="35" y="41"/>
                  </a:cubicBezTo>
                  <a:cubicBezTo>
                    <a:pt x="34" y="38"/>
                    <a:pt x="34" y="38"/>
                    <a:pt x="34" y="38"/>
                  </a:cubicBezTo>
                  <a:cubicBezTo>
                    <a:pt x="36" y="32"/>
                    <a:pt x="36" y="32"/>
                    <a:pt x="36" y="32"/>
                  </a:cubicBezTo>
                  <a:cubicBezTo>
                    <a:pt x="38" y="28"/>
                    <a:pt x="38" y="28"/>
                    <a:pt x="38" y="28"/>
                  </a:cubicBezTo>
                  <a:cubicBezTo>
                    <a:pt x="38" y="28"/>
                    <a:pt x="39" y="24"/>
                    <a:pt x="40" y="23"/>
                  </a:cubicBezTo>
                  <a:cubicBezTo>
                    <a:pt x="39" y="19"/>
                    <a:pt x="39" y="19"/>
                    <a:pt x="39" y="19"/>
                  </a:cubicBezTo>
                  <a:cubicBezTo>
                    <a:pt x="44" y="16"/>
                    <a:pt x="44" y="16"/>
                    <a:pt x="44" y="16"/>
                  </a:cubicBezTo>
                  <a:cubicBezTo>
                    <a:pt x="38" y="16"/>
                    <a:pt x="38" y="16"/>
                    <a:pt x="38" y="16"/>
                  </a:cubicBezTo>
                  <a:cubicBezTo>
                    <a:pt x="33" y="17"/>
                    <a:pt x="33" y="17"/>
                    <a:pt x="33" y="17"/>
                  </a:cubicBezTo>
                  <a:cubicBezTo>
                    <a:pt x="28" y="18"/>
                    <a:pt x="28" y="18"/>
                    <a:pt x="28" y="18"/>
                  </a:cubicBezTo>
                  <a:cubicBezTo>
                    <a:pt x="22" y="18"/>
                    <a:pt x="22" y="18"/>
                    <a:pt x="22" y="18"/>
                  </a:cubicBezTo>
                  <a:cubicBezTo>
                    <a:pt x="19" y="18"/>
                    <a:pt x="19" y="18"/>
                    <a:pt x="19" y="18"/>
                  </a:cubicBezTo>
                  <a:cubicBezTo>
                    <a:pt x="19" y="11"/>
                    <a:pt x="19" y="11"/>
                    <a:pt x="19" y="11"/>
                  </a:cubicBezTo>
                  <a:cubicBezTo>
                    <a:pt x="20" y="5"/>
                    <a:pt x="20" y="5"/>
                    <a:pt x="20" y="5"/>
                  </a:cubicBezTo>
                  <a:cubicBezTo>
                    <a:pt x="16" y="3"/>
                    <a:pt x="16" y="3"/>
                    <a:pt x="16" y="3"/>
                  </a:cubicBezTo>
                  <a:cubicBezTo>
                    <a:pt x="12" y="4"/>
                    <a:pt x="12" y="4"/>
                    <a:pt x="12" y="4"/>
                  </a:cubicBezTo>
                  <a:cubicBezTo>
                    <a:pt x="7" y="0"/>
                    <a:pt x="7" y="0"/>
                    <a:pt x="7" y="0"/>
                  </a:cubicBezTo>
                  <a:cubicBezTo>
                    <a:pt x="5" y="4"/>
                    <a:pt x="5" y="4"/>
                    <a:pt x="5" y="4"/>
                  </a:cubicBezTo>
                  <a:cubicBezTo>
                    <a:pt x="9" y="9"/>
                    <a:pt x="9" y="9"/>
                    <a:pt x="9" y="9"/>
                  </a:cubicBezTo>
                  <a:cubicBezTo>
                    <a:pt x="7" y="12"/>
                    <a:pt x="7" y="12"/>
                    <a:pt x="7" y="12"/>
                  </a:cubicBezTo>
                  <a:cubicBezTo>
                    <a:pt x="3" y="14"/>
                    <a:pt x="3" y="14"/>
                    <a:pt x="3" y="14"/>
                  </a:cubicBezTo>
                  <a:cubicBezTo>
                    <a:pt x="0" y="16"/>
                    <a:pt x="0" y="16"/>
                    <a:pt x="0" y="16"/>
                  </a:cubicBezTo>
                  <a:cubicBezTo>
                    <a:pt x="1" y="23"/>
                    <a:pt x="1" y="23"/>
                    <a:pt x="1" y="23"/>
                  </a:cubicBezTo>
                  <a:cubicBezTo>
                    <a:pt x="1" y="25"/>
                    <a:pt x="1" y="25"/>
                    <a:pt x="1" y="25"/>
                  </a:cubicBezTo>
                  <a:cubicBezTo>
                    <a:pt x="7" y="28"/>
                    <a:pt x="7" y="28"/>
                    <a:pt x="7" y="28"/>
                  </a:cubicBezTo>
                  <a:cubicBezTo>
                    <a:pt x="9" y="31"/>
                    <a:pt x="9" y="31"/>
                    <a:pt x="9" y="31"/>
                  </a:cubicBezTo>
                  <a:cubicBezTo>
                    <a:pt x="7" y="37"/>
                    <a:pt x="7" y="37"/>
                    <a:pt x="7" y="37"/>
                  </a:cubicBezTo>
                  <a:cubicBezTo>
                    <a:pt x="10" y="41"/>
                    <a:pt x="10" y="41"/>
                    <a:pt x="10" y="41"/>
                  </a:cubicBezTo>
                  <a:cubicBezTo>
                    <a:pt x="10" y="47"/>
                    <a:pt x="10" y="47"/>
                    <a:pt x="10" y="47"/>
                  </a:cubicBezTo>
                  <a:cubicBezTo>
                    <a:pt x="8" y="50"/>
                    <a:pt x="8" y="50"/>
                    <a:pt x="8" y="50"/>
                  </a:cubicBezTo>
                  <a:cubicBezTo>
                    <a:pt x="8" y="53"/>
                    <a:pt x="8" y="53"/>
                    <a:pt x="8" y="5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95" name="Freeform 331">
              <a:extLst>
                <a:ext uri="{FF2B5EF4-FFF2-40B4-BE49-F238E27FC236}">
                  <a16:creationId xmlns:a16="http://schemas.microsoft.com/office/drawing/2014/main" id="{812035CF-19EC-2673-B5A4-0D89354F4190}"/>
                </a:ext>
              </a:extLst>
            </p:cNvPr>
            <p:cNvSpPr>
              <a:spLocks/>
            </p:cNvSpPr>
            <p:nvPr/>
          </p:nvSpPr>
          <p:spPr bwMode="auto">
            <a:xfrm>
              <a:off x="8638140" y="3235033"/>
              <a:ext cx="165269" cy="240721"/>
            </a:xfrm>
            <a:custGeom>
              <a:avLst/>
              <a:gdLst>
                <a:gd name="T0" fmla="*/ 8 w 47"/>
                <a:gd name="T1" fmla="*/ 55 h 68"/>
                <a:gd name="T2" fmla="*/ 16 w 47"/>
                <a:gd name="T3" fmla="*/ 53 h 68"/>
                <a:gd name="T4" fmla="*/ 19 w 47"/>
                <a:gd name="T5" fmla="*/ 51 h 68"/>
                <a:gd name="T6" fmla="*/ 21 w 47"/>
                <a:gd name="T7" fmla="*/ 52 h 68"/>
                <a:gd name="T8" fmla="*/ 25 w 47"/>
                <a:gd name="T9" fmla="*/ 47 h 68"/>
                <a:gd name="T10" fmla="*/ 24 w 47"/>
                <a:gd name="T11" fmla="*/ 44 h 68"/>
                <a:gd name="T12" fmla="*/ 26 w 47"/>
                <a:gd name="T13" fmla="*/ 41 h 68"/>
                <a:gd name="T14" fmla="*/ 24 w 47"/>
                <a:gd name="T15" fmla="*/ 35 h 68"/>
                <a:gd name="T16" fmla="*/ 32 w 47"/>
                <a:gd name="T17" fmla="*/ 41 h 68"/>
                <a:gd name="T18" fmla="*/ 37 w 47"/>
                <a:gd name="T19" fmla="*/ 47 h 68"/>
                <a:gd name="T20" fmla="*/ 38 w 47"/>
                <a:gd name="T21" fmla="*/ 50 h 68"/>
                <a:gd name="T22" fmla="*/ 41 w 47"/>
                <a:gd name="T23" fmla="*/ 62 h 68"/>
                <a:gd name="T24" fmla="*/ 43 w 47"/>
                <a:gd name="T25" fmla="*/ 64 h 68"/>
                <a:gd name="T26" fmla="*/ 47 w 47"/>
                <a:gd name="T27" fmla="*/ 63 h 68"/>
                <a:gd name="T28" fmla="*/ 46 w 47"/>
                <a:gd name="T29" fmla="*/ 56 h 68"/>
                <a:gd name="T30" fmla="*/ 44 w 47"/>
                <a:gd name="T31" fmla="*/ 48 h 68"/>
                <a:gd name="T32" fmla="*/ 40 w 47"/>
                <a:gd name="T33" fmla="*/ 37 h 68"/>
                <a:gd name="T34" fmla="*/ 35 w 47"/>
                <a:gd name="T35" fmla="*/ 41 h 68"/>
                <a:gd name="T36" fmla="*/ 36 w 47"/>
                <a:gd name="T37" fmla="*/ 32 h 68"/>
                <a:gd name="T38" fmla="*/ 40 w 47"/>
                <a:gd name="T39" fmla="*/ 23 h 68"/>
                <a:gd name="T40" fmla="*/ 44 w 47"/>
                <a:gd name="T41" fmla="*/ 16 h 68"/>
                <a:gd name="T42" fmla="*/ 33 w 47"/>
                <a:gd name="T43" fmla="*/ 17 h 68"/>
                <a:gd name="T44" fmla="*/ 22 w 47"/>
                <a:gd name="T45" fmla="*/ 18 h 68"/>
                <a:gd name="T46" fmla="*/ 19 w 47"/>
                <a:gd name="T47" fmla="*/ 11 h 68"/>
                <a:gd name="T48" fmla="*/ 16 w 47"/>
                <a:gd name="T49" fmla="*/ 3 h 68"/>
                <a:gd name="T50" fmla="*/ 7 w 47"/>
                <a:gd name="T51" fmla="*/ 0 h 68"/>
                <a:gd name="T52" fmla="*/ 9 w 47"/>
                <a:gd name="T53" fmla="*/ 9 h 68"/>
                <a:gd name="T54" fmla="*/ 3 w 47"/>
                <a:gd name="T55" fmla="*/ 14 h 68"/>
                <a:gd name="T56" fmla="*/ 1 w 47"/>
                <a:gd name="T57" fmla="*/ 23 h 68"/>
                <a:gd name="T58" fmla="*/ 7 w 47"/>
                <a:gd name="T59" fmla="*/ 28 h 68"/>
                <a:gd name="T60" fmla="*/ 7 w 47"/>
                <a:gd name="T61" fmla="*/ 37 h 68"/>
                <a:gd name="T62" fmla="*/ 10 w 47"/>
                <a:gd name="T63" fmla="*/ 47 h 68"/>
                <a:gd name="T64" fmla="*/ 8 w 47"/>
                <a:gd name="T65"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68">
                  <a:moveTo>
                    <a:pt x="8" y="53"/>
                  </a:moveTo>
                  <a:cubicBezTo>
                    <a:pt x="8" y="53"/>
                    <a:pt x="8" y="55"/>
                    <a:pt x="8" y="55"/>
                  </a:cubicBezTo>
                  <a:cubicBezTo>
                    <a:pt x="13" y="56"/>
                    <a:pt x="12" y="53"/>
                    <a:pt x="14" y="53"/>
                  </a:cubicBezTo>
                  <a:cubicBezTo>
                    <a:pt x="14" y="52"/>
                    <a:pt x="16" y="53"/>
                    <a:pt x="16" y="53"/>
                  </a:cubicBezTo>
                  <a:cubicBezTo>
                    <a:pt x="16" y="51"/>
                    <a:pt x="16" y="51"/>
                    <a:pt x="16" y="51"/>
                  </a:cubicBezTo>
                  <a:cubicBezTo>
                    <a:pt x="17" y="51"/>
                    <a:pt x="17" y="52"/>
                    <a:pt x="19" y="51"/>
                  </a:cubicBezTo>
                  <a:cubicBezTo>
                    <a:pt x="19" y="50"/>
                    <a:pt x="19" y="50"/>
                    <a:pt x="19" y="50"/>
                  </a:cubicBezTo>
                  <a:cubicBezTo>
                    <a:pt x="21" y="50"/>
                    <a:pt x="20" y="51"/>
                    <a:pt x="21" y="52"/>
                  </a:cubicBezTo>
                  <a:cubicBezTo>
                    <a:pt x="22" y="51"/>
                    <a:pt x="24" y="51"/>
                    <a:pt x="24" y="51"/>
                  </a:cubicBezTo>
                  <a:cubicBezTo>
                    <a:pt x="24" y="50"/>
                    <a:pt x="26" y="48"/>
                    <a:pt x="25" y="47"/>
                  </a:cubicBezTo>
                  <a:cubicBezTo>
                    <a:pt x="24" y="46"/>
                    <a:pt x="24" y="47"/>
                    <a:pt x="24" y="45"/>
                  </a:cubicBezTo>
                  <a:cubicBezTo>
                    <a:pt x="23" y="46"/>
                    <a:pt x="24" y="44"/>
                    <a:pt x="24" y="44"/>
                  </a:cubicBezTo>
                  <a:cubicBezTo>
                    <a:pt x="22" y="45"/>
                    <a:pt x="23" y="43"/>
                    <a:pt x="23" y="43"/>
                  </a:cubicBezTo>
                  <a:cubicBezTo>
                    <a:pt x="24" y="42"/>
                    <a:pt x="25" y="42"/>
                    <a:pt x="26" y="41"/>
                  </a:cubicBezTo>
                  <a:cubicBezTo>
                    <a:pt x="25" y="39"/>
                    <a:pt x="25" y="38"/>
                    <a:pt x="24" y="37"/>
                  </a:cubicBezTo>
                  <a:cubicBezTo>
                    <a:pt x="23" y="37"/>
                    <a:pt x="24" y="35"/>
                    <a:pt x="24" y="35"/>
                  </a:cubicBezTo>
                  <a:cubicBezTo>
                    <a:pt x="26" y="36"/>
                    <a:pt x="27" y="40"/>
                    <a:pt x="29" y="41"/>
                  </a:cubicBezTo>
                  <a:cubicBezTo>
                    <a:pt x="30" y="41"/>
                    <a:pt x="31" y="40"/>
                    <a:pt x="32" y="41"/>
                  </a:cubicBezTo>
                  <a:cubicBezTo>
                    <a:pt x="33" y="41"/>
                    <a:pt x="32" y="42"/>
                    <a:pt x="33" y="43"/>
                  </a:cubicBezTo>
                  <a:cubicBezTo>
                    <a:pt x="34" y="43"/>
                    <a:pt x="37" y="46"/>
                    <a:pt x="37" y="47"/>
                  </a:cubicBezTo>
                  <a:cubicBezTo>
                    <a:pt x="37" y="47"/>
                    <a:pt x="37" y="48"/>
                    <a:pt x="37" y="49"/>
                  </a:cubicBezTo>
                  <a:cubicBezTo>
                    <a:pt x="38" y="50"/>
                    <a:pt x="38" y="50"/>
                    <a:pt x="38" y="50"/>
                  </a:cubicBezTo>
                  <a:cubicBezTo>
                    <a:pt x="39" y="54"/>
                    <a:pt x="38" y="57"/>
                    <a:pt x="39" y="60"/>
                  </a:cubicBezTo>
                  <a:cubicBezTo>
                    <a:pt x="39" y="61"/>
                    <a:pt x="41" y="62"/>
                    <a:pt x="41" y="62"/>
                  </a:cubicBezTo>
                  <a:cubicBezTo>
                    <a:pt x="42" y="64"/>
                    <a:pt x="43" y="66"/>
                    <a:pt x="43" y="68"/>
                  </a:cubicBezTo>
                  <a:cubicBezTo>
                    <a:pt x="43" y="64"/>
                    <a:pt x="43" y="64"/>
                    <a:pt x="43" y="64"/>
                  </a:cubicBezTo>
                  <a:cubicBezTo>
                    <a:pt x="44" y="61"/>
                    <a:pt x="44" y="61"/>
                    <a:pt x="44" y="61"/>
                  </a:cubicBezTo>
                  <a:cubicBezTo>
                    <a:pt x="47" y="63"/>
                    <a:pt x="47" y="63"/>
                    <a:pt x="47" y="63"/>
                  </a:cubicBezTo>
                  <a:cubicBezTo>
                    <a:pt x="47" y="59"/>
                    <a:pt x="47" y="59"/>
                    <a:pt x="47" y="59"/>
                  </a:cubicBezTo>
                  <a:cubicBezTo>
                    <a:pt x="46" y="56"/>
                    <a:pt x="46" y="56"/>
                    <a:pt x="46" y="56"/>
                  </a:cubicBezTo>
                  <a:cubicBezTo>
                    <a:pt x="45" y="52"/>
                    <a:pt x="45" y="52"/>
                    <a:pt x="45" y="52"/>
                  </a:cubicBezTo>
                  <a:cubicBezTo>
                    <a:pt x="44" y="48"/>
                    <a:pt x="44" y="48"/>
                    <a:pt x="44" y="48"/>
                  </a:cubicBezTo>
                  <a:cubicBezTo>
                    <a:pt x="44" y="43"/>
                    <a:pt x="44" y="43"/>
                    <a:pt x="44" y="43"/>
                  </a:cubicBezTo>
                  <a:cubicBezTo>
                    <a:pt x="40" y="37"/>
                    <a:pt x="40" y="37"/>
                    <a:pt x="40" y="37"/>
                  </a:cubicBezTo>
                  <a:cubicBezTo>
                    <a:pt x="39" y="41"/>
                    <a:pt x="39" y="41"/>
                    <a:pt x="39" y="41"/>
                  </a:cubicBezTo>
                  <a:cubicBezTo>
                    <a:pt x="35" y="41"/>
                    <a:pt x="35" y="41"/>
                    <a:pt x="35" y="41"/>
                  </a:cubicBezTo>
                  <a:cubicBezTo>
                    <a:pt x="34" y="38"/>
                    <a:pt x="34" y="38"/>
                    <a:pt x="34" y="38"/>
                  </a:cubicBezTo>
                  <a:cubicBezTo>
                    <a:pt x="36" y="32"/>
                    <a:pt x="36" y="32"/>
                    <a:pt x="36" y="32"/>
                  </a:cubicBezTo>
                  <a:cubicBezTo>
                    <a:pt x="38" y="28"/>
                    <a:pt x="38" y="28"/>
                    <a:pt x="38" y="28"/>
                  </a:cubicBezTo>
                  <a:cubicBezTo>
                    <a:pt x="38" y="28"/>
                    <a:pt x="39" y="24"/>
                    <a:pt x="40" y="23"/>
                  </a:cubicBezTo>
                  <a:cubicBezTo>
                    <a:pt x="39" y="19"/>
                    <a:pt x="39" y="19"/>
                    <a:pt x="39" y="19"/>
                  </a:cubicBezTo>
                  <a:cubicBezTo>
                    <a:pt x="44" y="16"/>
                    <a:pt x="44" y="16"/>
                    <a:pt x="44" y="16"/>
                  </a:cubicBezTo>
                  <a:cubicBezTo>
                    <a:pt x="38" y="16"/>
                    <a:pt x="38" y="16"/>
                    <a:pt x="38" y="16"/>
                  </a:cubicBezTo>
                  <a:cubicBezTo>
                    <a:pt x="33" y="17"/>
                    <a:pt x="33" y="17"/>
                    <a:pt x="33" y="17"/>
                  </a:cubicBezTo>
                  <a:cubicBezTo>
                    <a:pt x="28" y="18"/>
                    <a:pt x="28" y="18"/>
                    <a:pt x="28" y="18"/>
                  </a:cubicBezTo>
                  <a:cubicBezTo>
                    <a:pt x="22" y="18"/>
                    <a:pt x="22" y="18"/>
                    <a:pt x="22" y="18"/>
                  </a:cubicBezTo>
                  <a:cubicBezTo>
                    <a:pt x="19" y="18"/>
                    <a:pt x="19" y="18"/>
                    <a:pt x="19" y="18"/>
                  </a:cubicBezTo>
                  <a:cubicBezTo>
                    <a:pt x="19" y="11"/>
                    <a:pt x="19" y="11"/>
                    <a:pt x="19" y="11"/>
                  </a:cubicBezTo>
                  <a:cubicBezTo>
                    <a:pt x="20" y="5"/>
                    <a:pt x="20" y="5"/>
                    <a:pt x="20" y="5"/>
                  </a:cubicBezTo>
                  <a:cubicBezTo>
                    <a:pt x="16" y="3"/>
                    <a:pt x="16" y="3"/>
                    <a:pt x="16" y="3"/>
                  </a:cubicBezTo>
                  <a:cubicBezTo>
                    <a:pt x="12" y="4"/>
                    <a:pt x="12" y="4"/>
                    <a:pt x="12" y="4"/>
                  </a:cubicBezTo>
                  <a:cubicBezTo>
                    <a:pt x="7" y="0"/>
                    <a:pt x="7" y="0"/>
                    <a:pt x="7" y="0"/>
                  </a:cubicBezTo>
                  <a:cubicBezTo>
                    <a:pt x="5" y="4"/>
                    <a:pt x="5" y="4"/>
                    <a:pt x="5" y="4"/>
                  </a:cubicBezTo>
                  <a:cubicBezTo>
                    <a:pt x="9" y="9"/>
                    <a:pt x="9" y="9"/>
                    <a:pt x="9" y="9"/>
                  </a:cubicBezTo>
                  <a:cubicBezTo>
                    <a:pt x="7" y="12"/>
                    <a:pt x="7" y="12"/>
                    <a:pt x="7" y="12"/>
                  </a:cubicBezTo>
                  <a:cubicBezTo>
                    <a:pt x="3" y="14"/>
                    <a:pt x="3" y="14"/>
                    <a:pt x="3" y="14"/>
                  </a:cubicBezTo>
                  <a:cubicBezTo>
                    <a:pt x="0" y="16"/>
                    <a:pt x="0" y="16"/>
                    <a:pt x="0" y="16"/>
                  </a:cubicBezTo>
                  <a:cubicBezTo>
                    <a:pt x="1" y="23"/>
                    <a:pt x="1" y="23"/>
                    <a:pt x="1" y="23"/>
                  </a:cubicBezTo>
                  <a:cubicBezTo>
                    <a:pt x="1" y="25"/>
                    <a:pt x="1" y="25"/>
                    <a:pt x="1" y="25"/>
                  </a:cubicBezTo>
                  <a:cubicBezTo>
                    <a:pt x="7" y="28"/>
                    <a:pt x="7" y="28"/>
                    <a:pt x="7" y="28"/>
                  </a:cubicBezTo>
                  <a:cubicBezTo>
                    <a:pt x="9" y="31"/>
                    <a:pt x="9" y="31"/>
                    <a:pt x="9" y="31"/>
                  </a:cubicBezTo>
                  <a:cubicBezTo>
                    <a:pt x="7" y="37"/>
                    <a:pt x="7" y="37"/>
                    <a:pt x="7" y="37"/>
                  </a:cubicBezTo>
                  <a:cubicBezTo>
                    <a:pt x="10" y="41"/>
                    <a:pt x="10" y="41"/>
                    <a:pt x="10" y="41"/>
                  </a:cubicBezTo>
                  <a:cubicBezTo>
                    <a:pt x="10" y="47"/>
                    <a:pt x="10" y="47"/>
                    <a:pt x="10" y="47"/>
                  </a:cubicBezTo>
                  <a:cubicBezTo>
                    <a:pt x="8" y="50"/>
                    <a:pt x="8" y="50"/>
                    <a:pt x="8" y="50"/>
                  </a:cubicBezTo>
                  <a:cubicBezTo>
                    <a:pt x="8" y="53"/>
                    <a:pt x="8" y="53"/>
                    <a:pt x="8" y="5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96" name="Freeform 332">
              <a:extLst>
                <a:ext uri="{FF2B5EF4-FFF2-40B4-BE49-F238E27FC236}">
                  <a16:creationId xmlns:a16="http://schemas.microsoft.com/office/drawing/2014/main" id="{749F0F49-9E40-D409-2968-1D7FC61BE0EE}"/>
                </a:ext>
              </a:extLst>
            </p:cNvPr>
            <p:cNvSpPr>
              <a:spLocks noEditPoints="1"/>
            </p:cNvSpPr>
            <p:nvPr/>
          </p:nvSpPr>
          <p:spPr bwMode="auto">
            <a:xfrm>
              <a:off x="7344725" y="2586521"/>
              <a:ext cx="154492" cy="138326"/>
            </a:xfrm>
            <a:custGeom>
              <a:avLst/>
              <a:gdLst>
                <a:gd name="T0" fmla="*/ 33 w 44"/>
                <a:gd name="T1" fmla="*/ 5 h 39"/>
                <a:gd name="T2" fmla="*/ 29 w 44"/>
                <a:gd name="T3" fmla="*/ 11 h 39"/>
                <a:gd name="T4" fmla="*/ 25 w 44"/>
                <a:gd name="T5" fmla="*/ 7 h 39"/>
                <a:gd name="T6" fmla="*/ 21 w 44"/>
                <a:gd name="T7" fmla="*/ 3 h 39"/>
                <a:gd name="T8" fmla="*/ 18 w 44"/>
                <a:gd name="T9" fmla="*/ 0 h 39"/>
                <a:gd name="T10" fmla="*/ 15 w 44"/>
                <a:gd name="T11" fmla="*/ 3 h 39"/>
                <a:gd name="T12" fmla="*/ 17 w 44"/>
                <a:gd name="T13" fmla="*/ 7 h 39"/>
                <a:gd name="T14" fmla="*/ 12 w 44"/>
                <a:gd name="T15" fmla="*/ 5 h 39"/>
                <a:gd name="T16" fmla="*/ 8 w 44"/>
                <a:gd name="T17" fmla="*/ 2 h 39"/>
                <a:gd name="T18" fmla="*/ 5 w 44"/>
                <a:gd name="T19" fmla="*/ 3 h 39"/>
                <a:gd name="T20" fmla="*/ 2 w 44"/>
                <a:gd name="T21" fmla="*/ 7 h 39"/>
                <a:gd name="T22" fmla="*/ 2 w 44"/>
                <a:gd name="T23" fmla="*/ 10 h 39"/>
                <a:gd name="T24" fmla="*/ 5 w 44"/>
                <a:gd name="T25" fmla="*/ 10 h 39"/>
                <a:gd name="T26" fmla="*/ 8 w 44"/>
                <a:gd name="T27" fmla="*/ 13 h 39"/>
                <a:gd name="T28" fmla="*/ 7 w 44"/>
                <a:gd name="T29" fmla="*/ 17 h 39"/>
                <a:gd name="T30" fmla="*/ 11 w 44"/>
                <a:gd name="T31" fmla="*/ 19 h 39"/>
                <a:gd name="T32" fmla="*/ 13 w 44"/>
                <a:gd name="T33" fmla="*/ 21 h 39"/>
                <a:gd name="T34" fmla="*/ 11 w 44"/>
                <a:gd name="T35" fmla="*/ 23 h 39"/>
                <a:gd name="T36" fmla="*/ 14 w 44"/>
                <a:gd name="T37" fmla="*/ 26 h 39"/>
                <a:gd name="T38" fmla="*/ 17 w 44"/>
                <a:gd name="T39" fmla="*/ 27 h 39"/>
                <a:gd name="T40" fmla="*/ 18 w 44"/>
                <a:gd name="T41" fmla="*/ 32 h 39"/>
                <a:gd name="T42" fmla="*/ 22 w 44"/>
                <a:gd name="T43" fmla="*/ 28 h 39"/>
                <a:gd name="T44" fmla="*/ 25 w 44"/>
                <a:gd name="T45" fmla="*/ 27 h 39"/>
                <a:gd name="T46" fmla="*/ 26 w 44"/>
                <a:gd name="T47" fmla="*/ 31 h 39"/>
                <a:gd name="T48" fmla="*/ 26 w 44"/>
                <a:gd name="T49" fmla="*/ 34 h 39"/>
                <a:gd name="T50" fmla="*/ 28 w 44"/>
                <a:gd name="T51" fmla="*/ 37 h 39"/>
                <a:gd name="T52" fmla="*/ 31 w 44"/>
                <a:gd name="T53" fmla="*/ 39 h 39"/>
                <a:gd name="T54" fmla="*/ 31 w 44"/>
                <a:gd name="T55" fmla="*/ 34 h 39"/>
                <a:gd name="T56" fmla="*/ 34 w 44"/>
                <a:gd name="T57" fmla="*/ 32 h 39"/>
                <a:gd name="T58" fmla="*/ 33 w 44"/>
                <a:gd name="T59" fmla="*/ 30 h 39"/>
                <a:gd name="T60" fmla="*/ 36 w 44"/>
                <a:gd name="T61" fmla="*/ 26 h 39"/>
                <a:gd name="T62" fmla="*/ 36 w 44"/>
                <a:gd name="T63" fmla="*/ 20 h 39"/>
                <a:gd name="T64" fmla="*/ 44 w 44"/>
                <a:gd name="T65" fmla="*/ 16 h 39"/>
                <a:gd name="T66" fmla="*/ 42 w 44"/>
                <a:gd name="T67" fmla="*/ 14 h 39"/>
                <a:gd name="T68" fmla="*/ 40 w 44"/>
                <a:gd name="T69" fmla="*/ 14 h 39"/>
                <a:gd name="T70" fmla="*/ 35 w 44"/>
                <a:gd name="T71" fmla="*/ 9 h 39"/>
                <a:gd name="T72" fmla="*/ 33 w 44"/>
                <a:gd name="T73" fmla="*/ 5 h 39"/>
                <a:gd name="T74" fmla="*/ 0 w 44"/>
                <a:gd name="T75" fmla="*/ 28 h 39"/>
                <a:gd name="T76" fmla="*/ 2 w 44"/>
                <a:gd name="T77" fmla="*/ 31 h 39"/>
                <a:gd name="T78" fmla="*/ 6 w 44"/>
                <a:gd name="T79" fmla="*/ 35 h 39"/>
                <a:gd name="T80" fmla="*/ 9 w 44"/>
                <a:gd name="T81" fmla="*/ 36 h 39"/>
                <a:gd name="T82" fmla="*/ 13 w 44"/>
                <a:gd name="T83" fmla="*/ 35 h 39"/>
                <a:gd name="T84" fmla="*/ 10 w 44"/>
                <a:gd name="T85" fmla="*/ 31 h 39"/>
                <a:gd name="T86" fmla="*/ 7 w 44"/>
                <a:gd name="T87" fmla="*/ 28 h 39"/>
                <a:gd name="T88" fmla="*/ 3 w 44"/>
                <a:gd name="T89" fmla="*/ 27 h 39"/>
                <a:gd name="T90" fmla="*/ 0 w 44"/>
                <a:gd name="T91" fmla="*/ 28 h 39"/>
                <a:gd name="T92" fmla="*/ 21 w 44"/>
                <a:gd name="T93" fmla="*/ 27 h 39"/>
                <a:gd name="T94" fmla="*/ 15 w 44"/>
                <a:gd name="T95" fmla="*/ 19 h 39"/>
                <a:gd name="T96" fmla="*/ 19 w 44"/>
                <a:gd name="T97" fmla="*/ 18 h 39"/>
                <a:gd name="T98" fmla="*/ 20 w 44"/>
                <a:gd name="T99" fmla="*/ 20 h 39"/>
                <a:gd name="T100" fmla="*/ 19 w 44"/>
                <a:gd name="T101" fmla="*/ 20 h 39"/>
                <a:gd name="T102" fmla="*/ 20 w 44"/>
                <a:gd name="T103" fmla="*/ 23 h 39"/>
                <a:gd name="T104" fmla="*/ 23 w 44"/>
                <a:gd name="T105" fmla="*/ 25 h 39"/>
                <a:gd name="T106" fmla="*/ 21 w 44"/>
                <a:gd name="T10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39">
                  <a:moveTo>
                    <a:pt x="33" y="5"/>
                  </a:moveTo>
                  <a:cubicBezTo>
                    <a:pt x="33" y="5"/>
                    <a:pt x="30" y="11"/>
                    <a:pt x="29" y="11"/>
                  </a:cubicBezTo>
                  <a:cubicBezTo>
                    <a:pt x="27" y="11"/>
                    <a:pt x="26" y="10"/>
                    <a:pt x="25" y="7"/>
                  </a:cubicBezTo>
                  <a:cubicBezTo>
                    <a:pt x="24" y="5"/>
                    <a:pt x="23" y="5"/>
                    <a:pt x="21" y="3"/>
                  </a:cubicBezTo>
                  <a:cubicBezTo>
                    <a:pt x="20" y="1"/>
                    <a:pt x="18" y="0"/>
                    <a:pt x="18" y="0"/>
                  </a:cubicBezTo>
                  <a:cubicBezTo>
                    <a:pt x="18" y="0"/>
                    <a:pt x="14" y="1"/>
                    <a:pt x="15" y="3"/>
                  </a:cubicBezTo>
                  <a:cubicBezTo>
                    <a:pt x="17" y="4"/>
                    <a:pt x="18" y="6"/>
                    <a:pt x="17" y="7"/>
                  </a:cubicBezTo>
                  <a:cubicBezTo>
                    <a:pt x="16" y="9"/>
                    <a:pt x="12" y="5"/>
                    <a:pt x="12" y="5"/>
                  </a:cubicBezTo>
                  <a:cubicBezTo>
                    <a:pt x="12" y="5"/>
                    <a:pt x="11" y="2"/>
                    <a:pt x="8" y="2"/>
                  </a:cubicBezTo>
                  <a:cubicBezTo>
                    <a:pt x="6" y="2"/>
                    <a:pt x="6" y="1"/>
                    <a:pt x="5" y="3"/>
                  </a:cubicBezTo>
                  <a:cubicBezTo>
                    <a:pt x="4" y="5"/>
                    <a:pt x="2" y="7"/>
                    <a:pt x="2" y="7"/>
                  </a:cubicBezTo>
                  <a:cubicBezTo>
                    <a:pt x="2" y="10"/>
                    <a:pt x="2" y="10"/>
                    <a:pt x="2" y="10"/>
                  </a:cubicBezTo>
                  <a:cubicBezTo>
                    <a:pt x="2" y="10"/>
                    <a:pt x="4" y="12"/>
                    <a:pt x="5" y="10"/>
                  </a:cubicBezTo>
                  <a:cubicBezTo>
                    <a:pt x="6" y="8"/>
                    <a:pt x="7" y="12"/>
                    <a:pt x="8" y="13"/>
                  </a:cubicBezTo>
                  <a:cubicBezTo>
                    <a:pt x="10" y="13"/>
                    <a:pt x="7" y="17"/>
                    <a:pt x="7" y="17"/>
                  </a:cubicBezTo>
                  <a:cubicBezTo>
                    <a:pt x="7" y="17"/>
                    <a:pt x="9" y="18"/>
                    <a:pt x="11" y="19"/>
                  </a:cubicBezTo>
                  <a:cubicBezTo>
                    <a:pt x="12" y="20"/>
                    <a:pt x="13" y="21"/>
                    <a:pt x="13" y="21"/>
                  </a:cubicBezTo>
                  <a:cubicBezTo>
                    <a:pt x="11" y="23"/>
                    <a:pt x="11" y="23"/>
                    <a:pt x="11" y="23"/>
                  </a:cubicBezTo>
                  <a:cubicBezTo>
                    <a:pt x="11" y="23"/>
                    <a:pt x="12" y="26"/>
                    <a:pt x="14" y="26"/>
                  </a:cubicBezTo>
                  <a:cubicBezTo>
                    <a:pt x="16" y="27"/>
                    <a:pt x="17" y="26"/>
                    <a:pt x="17" y="27"/>
                  </a:cubicBezTo>
                  <a:cubicBezTo>
                    <a:pt x="16" y="29"/>
                    <a:pt x="18" y="32"/>
                    <a:pt x="18" y="32"/>
                  </a:cubicBezTo>
                  <a:cubicBezTo>
                    <a:pt x="18" y="32"/>
                    <a:pt x="20" y="29"/>
                    <a:pt x="22" y="28"/>
                  </a:cubicBezTo>
                  <a:cubicBezTo>
                    <a:pt x="24" y="28"/>
                    <a:pt x="23" y="25"/>
                    <a:pt x="25" y="27"/>
                  </a:cubicBezTo>
                  <a:cubicBezTo>
                    <a:pt x="26" y="29"/>
                    <a:pt x="27" y="31"/>
                    <a:pt x="26" y="31"/>
                  </a:cubicBezTo>
                  <a:cubicBezTo>
                    <a:pt x="23" y="31"/>
                    <a:pt x="27" y="32"/>
                    <a:pt x="26" y="34"/>
                  </a:cubicBezTo>
                  <a:cubicBezTo>
                    <a:pt x="27" y="36"/>
                    <a:pt x="26" y="36"/>
                    <a:pt x="28" y="37"/>
                  </a:cubicBezTo>
                  <a:cubicBezTo>
                    <a:pt x="29" y="38"/>
                    <a:pt x="31" y="39"/>
                    <a:pt x="31" y="39"/>
                  </a:cubicBezTo>
                  <a:cubicBezTo>
                    <a:pt x="31" y="37"/>
                    <a:pt x="31" y="36"/>
                    <a:pt x="31" y="34"/>
                  </a:cubicBezTo>
                  <a:cubicBezTo>
                    <a:pt x="33" y="33"/>
                    <a:pt x="33" y="33"/>
                    <a:pt x="34" y="32"/>
                  </a:cubicBezTo>
                  <a:cubicBezTo>
                    <a:pt x="34" y="31"/>
                    <a:pt x="34" y="30"/>
                    <a:pt x="33" y="30"/>
                  </a:cubicBezTo>
                  <a:cubicBezTo>
                    <a:pt x="33" y="30"/>
                    <a:pt x="35" y="26"/>
                    <a:pt x="36" y="26"/>
                  </a:cubicBezTo>
                  <a:cubicBezTo>
                    <a:pt x="36" y="24"/>
                    <a:pt x="35" y="22"/>
                    <a:pt x="36" y="20"/>
                  </a:cubicBezTo>
                  <a:cubicBezTo>
                    <a:pt x="36" y="18"/>
                    <a:pt x="41" y="16"/>
                    <a:pt x="44" y="16"/>
                  </a:cubicBezTo>
                  <a:cubicBezTo>
                    <a:pt x="43" y="15"/>
                    <a:pt x="43" y="14"/>
                    <a:pt x="42" y="14"/>
                  </a:cubicBezTo>
                  <a:cubicBezTo>
                    <a:pt x="42" y="14"/>
                    <a:pt x="41" y="14"/>
                    <a:pt x="40" y="14"/>
                  </a:cubicBezTo>
                  <a:cubicBezTo>
                    <a:pt x="39" y="13"/>
                    <a:pt x="36" y="11"/>
                    <a:pt x="35" y="9"/>
                  </a:cubicBezTo>
                  <a:cubicBezTo>
                    <a:pt x="34" y="8"/>
                    <a:pt x="34" y="6"/>
                    <a:pt x="33" y="5"/>
                  </a:cubicBezTo>
                  <a:close/>
                  <a:moveTo>
                    <a:pt x="0" y="28"/>
                  </a:moveTo>
                  <a:cubicBezTo>
                    <a:pt x="0" y="28"/>
                    <a:pt x="0" y="29"/>
                    <a:pt x="2" y="31"/>
                  </a:cubicBezTo>
                  <a:cubicBezTo>
                    <a:pt x="4" y="32"/>
                    <a:pt x="4" y="34"/>
                    <a:pt x="6" y="35"/>
                  </a:cubicBezTo>
                  <a:cubicBezTo>
                    <a:pt x="7" y="36"/>
                    <a:pt x="7" y="36"/>
                    <a:pt x="9" y="36"/>
                  </a:cubicBezTo>
                  <a:cubicBezTo>
                    <a:pt x="10" y="36"/>
                    <a:pt x="13" y="35"/>
                    <a:pt x="13" y="35"/>
                  </a:cubicBezTo>
                  <a:cubicBezTo>
                    <a:pt x="13" y="35"/>
                    <a:pt x="13" y="33"/>
                    <a:pt x="10" y="31"/>
                  </a:cubicBezTo>
                  <a:cubicBezTo>
                    <a:pt x="8" y="29"/>
                    <a:pt x="7" y="28"/>
                    <a:pt x="7" y="28"/>
                  </a:cubicBezTo>
                  <a:cubicBezTo>
                    <a:pt x="7" y="28"/>
                    <a:pt x="6" y="27"/>
                    <a:pt x="3" y="27"/>
                  </a:cubicBezTo>
                  <a:cubicBezTo>
                    <a:pt x="1" y="27"/>
                    <a:pt x="0" y="28"/>
                    <a:pt x="0" y="28"/>
                  </a:cubicBezTo>
                  <a:close/>
                  <a:moveTo>
                    <a:pt x="21" y="27"/>
                  </a:moveTo>
                  <a:cubicBezTo>
                    <a:pt x="19" y="25"/>
                    <a:pt x="16" y="22"/>
                    <a:pt x="15" y="19"/>
                  </a:cubicBezTo>
                  <a:cubicBezTo>
                    <a:pt x="19" y="18"/>
                    <a:pt x="19" y="18"/>
                    <a:pt x="19" y="18"/>
                  </a:cubicBezTo>
                  <a:cubicBezTo>
                    <a:pt x="20" y="20"/>
                    <a:pt x="20" y="20"/>
                    <a:pt x="20" y="20"/>
                  </a:cubicBezTo>
                  <a:cubicBezTo>
                    <a:pt x="19" y="20"/>
                    <a:pt x="19" y="20"/>
                    <a:pt x="19" y="20"/>
                  </a:cubicBezTo>
                  <a:cubicBezTo>
                    <a:pt x="20" y="23"/>
                    <a:pt x="20" y="23"/>
                    <a:pt x="20" y="23"/>
                  </a:cubicBezTo>
                  <a:cubicBezTo>
                    <a:pt x="22" y="23"/>
                    <a:pt x="23" y="24"/>
                    <a:pt x="23" y="25"/>
                  </a:cubicBezTo>
                  <a:cubicBezTo>
                    <a:pt x="23" y="26"/>
                    <a:pt x="22" y="27"/>
                    <a:pt x="21" y="27"/>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97" name="Freeform 333">
              <a:extLst>
                <a:ext uri="{FF2B5EF4-FFF2-40B4-BE49-F238E27FC236}">
                  <a16:creationId xmlns:a16="http://schemas.microsoft.com/office/drawing/2014/main" id="{B3174BEA-2A7A-F0F8-5199-835698672C83}"/>
                </a:ext>
              </a:extLst>
            </p:cNvPr>
            <p:cNvSpPr>
              <a:spLocks noEditPoints="1"/>
            </p:cNvSpPr>
            <p:nvPr/>
          </p:nvSpPr>
          <p:spPr bwMode="auto">
            <a:xfrm>
              <a:off x="7344725" y="2586521"/>
              <a:ext cx="154492" cy="138326"/>
            </a:xfrm>
            <a:custGeom>
              <a:avLst/>
              <a:gdLst>
                <a:gd name="T0" fmla="*/ 33 w 44"/>
                <a:gd name="T1" fmla="*/ 5 h 39"/>
                <a:gd name="T2" fmla="*/ 29 w 44"/>
                <a:gd name="T3" fmla="*/ 11 h 39"/>
                <a:gd name="T4" fmla="*/ 25 w 44"/>
                <a:gd name="T5" fmla="*/ 7 h 39"/>
                <a:gd name="T6" fmla="*/ 21 w 44"/>
                <a:gd name="T7" fmla="*/ 3 h 39"/>
                <a:gd name="T8" fmla="*/ 18 w 44"/>
                <a:gd name="T9" fmla="*/ 0 h 39"/>
                <a:gd name="T10" fmla="*/ 15 w 44"/>
                <a:gd name="T11" fmla="*/ 3 h 39"/>
                <a:gd name="T12" fmla="*/ 17 w 44"/>
                <a:gd name="T13" fmla="*/ 7 h 39"/>
                <a:gd name="T14" fmla="*/ 12 w 44"/>
                <a:gd name="T15" fmla="*/ 5 h 39"/>
                <a:gd name="T16" fmla="*/ 8 w 44"/>
                <a:gd name="T17" fmla="*/ 2 h 39"/>
                <a:gd name="T18" fmla="*/ 5 w 44"/>
                <a:gd name="T19" fmla="*/ 3 h 39"/>
                <a:gd name="T20" fmla="*/ 2 w 44"/>
                <a:gd name="T21" fmla="*/ 7 h 39"/>
                <a:gd name="T22" fmla="*/ 2 w 44"/>
                <a:gd name="T23" fmla="*/ 10 h 39"/>
                <a:gd name="T24" fmla="*/ 5 w 44"/>
                <a:gd name="T25" fmla="*/ 10 h 39"/>
                <a:gd name="T26" fmla="*/ 8 w 44"/>
                <a:gd name="T27" fmla="*/ 13 h 39"/>
                <a:gd name="T28" fmla="*/ 7 w 44"/>
                <a:gd name="T29" fmla="*/ 17 h 39"/>
                <a:gd name="T30" fmla="*/ 11 w 44"/>
                <a:gd name="T31" fmla="*/ 19 h 39"/>
                <a:gd name="T32" fmla="*/ 13 w 44"/>
                <a:gd name="T33" fmla="*/ 21 h 39"/>
                <a:gd name="T34" fmla="*/ 11 w 44"/>
                <a:gd name="T35" fmla="*/ 23 h 39"/>
                <a:gd name="T36" fmla="*/ 14 w 44"/>
                <a:gd name="T37" fmla="*/ 26 h 39"/>
                <a:gd name="T38" fmla="*/ 17 w 44"/>
                <a:gd name="T39" fmla="*/ 27 h 39"/>
                <a:gd name="T40" fmla="*/ 18 w 44"/>
                <a:gd name="T41" fmla="*/ 32 h 39"/>
                <a:gd name="T42" fmla="*/ 22 w 44"/>
                <a:gd name="T43" fmla="*/ 28 h 39"/>
                <a:gd name="T44" fmla="*/ 25 w 44"/>
                <a:gd name="T45" fmla="*/ 27 h 39"/>
                <a:gd name="T46" fmla="*/ 26 w 44"/>
                <a:gd name="T47" fmla="*/ 31 h 39"/>
                <a:gd name="T48" fmla="*/ 26 w 44"/>
                <a:gd name="T49" fmla="*/ 34 h 39"/>
                <a:gd name="T50" fmla="*/ 28 w 44"/>
                <a:gd name="T51" fmla="*/ 37 h 39"/>
                <a:gd name="T52" fmla="*/ 31 w 44"/>
                <a:gd name="T53" fmla="*/ 39 h 39"/>
                <a:gd name="T54" fmla="*/ 31 w 44"/>
                <a:gd name="T55" fmla="*/ 34 h 39"/>
                <a:gd name="T56" fmla="*/ 34 w 44"/>
                <a:gd name="T57" fmla="*/ 32 h 39"/>
                <a:gd name="T58" fmla="*/ 33 w 44"/>
                <a:gd name="T59" fmla="*/ 30 h 39"/>
                <a:gd name="T60" fmla="*/ 36 w 44"/>
                <a:gd name="T61" fmla="*/ 26 h 39"/>
                <a:gd name="T62" fmla="*/ 36 w 44"/>
                <a:gd name="T63" fmla="*/ 20 h 39"/>
                <a:gd name="T64" fmla="*/ 44 w 44"/>
                <a:gd name="T65" fmla="*/ 16 h 39"/>
                <a:gd name="T66" fmla="*/ 42 w 44"/>
                <a:gd name="T67" fmla="*/ 14 h 39"/>
                <a:gd name="T68" fmla="*/ 40 w 44"/>
                <a:gd name="T69" fmla="*/ 14 h 39"/>
                <a:gd name="T70" fmla="*/ 35 w 44"/>
                <a:gd name="T71" fmla="*/ 9 h 39"/>
                <a:gd name="T72" fmla="*/ 33 w 44"/>
                <a:gd name="T73" fmla="*/ 5 h 39"/>
                <a:gd name="T74" fmla="*/ 0 w 44"/>
                <a:gd name="T75" fmla="*/ 28 h 39"/>
                <a:gd name="T76" fmla="*/ 2 w 44"/>
                <a:gd name="T77" fmla="*/ 31 h 39"/>
                <a:gd name="T78" fmla="*/ 6 w 44"/>
                <a:gd name="T79" fmla="*/ 35 h 39"/>
                <a:gd name="T80" fmla="*/ 9 w 44"/>
                <a:gd name="T81" fmla="*/ 36 h 39"/>
                <a:gd name="T82" fmla="*/ 13 w 44"/>
                <a:gd name="T83" fmla="*/ 35 h 39"/>
                <a:gd name="T84" fmla="*/ 10 w 44"/>
                <a:gd name="T85" fmla="*/ 31 h 39"/>
                <a:gd name="T86" fmla="*/ 7 w 44"/>
                <a:gd name="T87" fmla="*/ 28 h 39"/>
                <a:gd name="T88" fmla="*/ 3 w 44"/>
                <a:gd name="T89" fmla="*/ 27 h 39"/>
                <a:gd name="T90" fmla="*/ 0 w 44"/>
                <a:gd name="T91" fmla="*/ 28 h 39"/>
                <a:gd name="T92" fmla="*/ 21 w 44"/>
                <a:gd name="T93" fmla="*/ 27 h 39"/>
                <a:gd name="T94" fmla="*/ 15 w 44"/>
                <a:gd name="T95" fmla="*/ 19 h 39"/>
                <a:gd name="T96" fmla="*/ 19 w 44"/>
                <a:gd name="T97" fmla="*/ 18 h 39"/>
                <a:gd name="T98" fmla="*/ 20 w 44"/>
                <a:gd name="T99" fmla="*/ 20 h 39"/>
                <a:gd name="T100" fmla="*/ 19 w 44"/>
                <a:gd name="T101" fmla="*/ 20 h 39"/>
                <a:gd name="T102" fmla="*/ 20 w 44"/>
                <a:gd name="T103" fmla="*/ 23 h 39"/>
                <a:gd name="T104" fmla="*/ 23 w 44"/>
                <a:gd name="T105" fmla="*/ 25 h 39"/>
                <a:gd name="T106" fmla="*/ 21 w 44"/>
                <a:gd name="T107"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 h="39">
                  <a:moveTo>
                    <a:pt x="33" y="5"/>
                  </a:moveTo>
                  <a:cubicBezTo>
                    <a:pt x="33" y="5"/>
                    <a:pt x="30" y="11"/>
                    <a:pt x="29" y="11"/>
                  </a:cubicBezTo>
                  <a:cubicBezTo>
                    <a:pt x="27" y="11"/>
                    <a:pt x="26" y="10"/>
                    <a:pt x="25" y="7"/>
                  </a:cubicBezTo>
                  <a:cubicBezTo>
                    <a:pt x="24" y="5"/>
                    <a:pt x="23" y="5"/>
                    <a:pt x="21" y="3"/>
                  </a:cubicBezTo>
                  <a:cubicBezTo>
                    <a:pt x="20" y="1"/>
                    <a:pt x="18" y="0"/>
                    <a:pt x="18" y="0"/>
                  </a:cubicBezTo>
                  <a:cubicBezTo>
                    <a:pt x="18" y="0"/>
                    <a:pt x="14" y="1"/>
                    <a:pt x="15" y="3"/>
                  </a:cubicBezTo>
                  <a:cubicBezTo>
                    <a:pt x="17" y="4"/>
                    <a:pt x="18" y="6"/>
                    <a:pt x="17" y="7"/>
                  </a:cubicBezTo>
                  <a:cubicBezTo>
                    <a:pt x="16" y="9"/>
                    <a:pt x="12" y="5"/>
                    <a:pt x="12" y="5"/>
                  </a:cubicBezTo>
                  <a:cubicBezTo>
                    <a:pt x="12" y="5"/>
                    <a:pt x="11" y="2"/>
                    <a:pt x="8" y="2"/>
                  </a:cubicBezTo>
                  <a:cubicBezTo>
                    <a:pt x="6" y="2"/>
                    <a:pt x="6" y="1"/>
                    <a:pt x="5" y="3"/>
                  </a:cubicBezTo>
                  <a:cubicBezTo>
                    <a:pt x="4" y="5"/>
                    <a:pt x="2" y="7"/>
                    <a:pt x="2" y="7"/>
                  </a:cubicBezTo>
                  <a:cubicBezTo>
                    <a:pt x="2" y="10"/>
                    <a:pt x="2" y="10"/>
                    <a:pt x="2" y="10"/>
                  </a:cubicBezTo>
                  <a:cubicBezTo>
                    <a:pt x="2" y="10"/>
                    <a:pt x="4" y="12"/>
                    <a:pt x="5" y="10"/>
                  </a:cubicBezTo>
                  <a:cubicBezTo>
                    <a:pt x="6" y="8"/>
                    <a:pt x="7" y="12"/>
                    <a:pt x="8" y="13"/>
                  </a:cubicBezTo>
                  <a:cubicBezTo>
                    <a:pt x="10" y="13"/>
                    <a:pt x="7" y="17"/>
                    <a:pt x="7" y="17"/>
                  </a:cubicBezTo>
                  <a:cubicBezTo>
                    <a:pt x="7" y="17"/>
                    <a:pt x="9" y="18"/>
                    <a:pt x="11" y="19"/>
                  </a:cubicBezTo>
                  <a:cubicBezTo>
                    <a:pt x="12" y="20"/>
                    <a:pt x="13" y="21"/>
                    <a:pt x="13" y="21"/>
                  </a:cubicBezTo>
                  <a:cubicBezTo>
                    <a:pt x="11" y="23"/>
                    <a:pt x="11" y="23"/>
                    <a:pt x="11" y="23"/>
                  </a:cubicBezTo>
                  <a:cubicBezTo>
                    <a:pt x="11" y="23"/>
                    <a:pt x="12" y="26"/>
                    <a:pt x="14" y="26"/>
                  </a:cubicBezTo>
                  <a:cubicBezTo>
                    <a:pt x="16" y="27"/>
                    <a:pt x="17" y="26"/>
                    <a:pt x="17" y="27"/>
                  </a:cubicBezTo>
                  <a:cubicBezTo>
                    <a:pt x="16" y="29"/>
                    <a:pt x="18" y="32"/>
                    <a:pt x="18" y="32"/>
                  </a:cubicBezTo>
                  <a:cubicBezTo>
                    <a:pt x="18" y="32"/>
                    <a:pt x="20" y="29"/>
                    <a:pt x="22" y="28"/>
                  </a:cubicBezTo>
                  <a:cubicBezTo>
                    <a:pt x="24" y="28"/>
                    <a:pt x="23" y="25"/>
                    <a:pt x="25" y="27"/>
                  </a:cubicBezTo>
                  <a:cubicBezTo>
                    <a:pt x="26" y="29"/>
                    <a:pt x="27" y="31"/>
                    <a:pt x="26" y="31"/>
                  </a:cubicBezTo>
                  <a:cubicBezTo>
                    <a:pt x="23" y="31"/>
                    <a:pt x="27" y="32"/>
                    <a:pt x="26" y="34"/>
                  </a:cubicBezTo>
                  <a:cubicBezTo>
                    <a:pt x="27" y="36"/>
                    <a:pt x="26" y="36"/>
                    <a:pt x="28" y="37"/>
                  </a:cubicBezTo>
                  <a:cubicBezTo>
                    <a:pt x="29" y="38"/>
                    <a:pt x="31" y="39"/>
                    <a:pt x="31" y="39"/>
                  </a:cubicBezTo>
                  <a:cubicBezTo>
                    <a:pt x="31" y="37"/>
                    <a:pt x="31" y="36"/>
                    <a:pt x="31" y="34"/>
                  </a:cubicBezTo>
                  <a:cubicBezTo>
                    <a:pt x="33" y="33"/>
                    <a:pt x="33" y="33"/>
                    <a:pt x="34" y="32"/>
                  </a:cubicBezTo>
                  <a:cubicBezTo>
                    <a:pt x="34" y="31"/>
                    <a:pt x="34" y="30"/>
                    <a:pt x="33" y="30"/>
                  </a:cubicBezTo>
                  <a:cubicBezTo>
                    <a:pt x="33" y="30"/>
                    <a:pt x="35" y="26"/>
                    <a:pt x="36" y="26"/>
                  </a:cubicBezTo>
                  <a:cubicBezTo>
                    <a:pt x="36" y="24"/>
                    <a:pt x="35" y="22"/>
                    <a:pt x="36" y="20"/>
                  </a:cubicBezTo>
                  <a:cubicBezTo>
                    <a:pt x="36" y="18"/>
                    <a:pt x="41" y="16"/>
                    <a:pt x="44" y="16"/>
                  </a:cubicBezTo>
                  <a:cubicBezTo>
                    <a:pt x="43" y="15"/>
                    <a:pt x="43" y="14"/>
                    <a:pt x="42" y="14"/>
                  </a:cubicBezTo>
                  <a:cubicBezTo>
                    <a:pt x="42" y="14"/>
                    <a:pt x="41" y="14"/>
                    <a:pt x="40" y="14"/>
                  </a:cubicBezTo>
                  <a:cubicBezTo>
                    <a:pt x="39" y="13"/>
                    <a:pt x="36" y="11"/>
                    <a:pt x="35" y="9"/>
                  </a:cubicBezTo>
                  <a:cubicBezTo>
                    <a:pt x="34" y="8"/>
                    <a:pt x="34" y="6"/>
                    <a:pt x="33" y="5"/>
                  </a:cubicBezTo>
                  <a:close/>
                  <a:moveTo>
                    <a:pt x="0" y="28"/>
                  </a:moveTo>
                  <a:cubicBezTo>
                    <a:pt x="0" y="28"/>
                    <a:pt x="0" y="29"/>
                    <a:pt x="2" y="31"/>
                  </a:cubicBezTo>
                  <a:cubicBezTo>
                    <a:pt x="4" y="32"/>
                    <a:pt x="4" y="34"/>
                    <a:pt x="6" y="35"/>
                  </a:cubicBezTo>
                  <a:cubicBezTo>
                    <a:pt x="7" y="36"/>
                    <a:pt x="7" y="36"/>
                    <a:pt x="9" y="36"/>
                  </a:cubicBezTo>
                  <a:cubicBezTo>
                    <a:pt x="10" y="36"/>
                    <a:pt x="13" y="35"/>
                    <a:pt x="13" y="35"/>
                  </a:cubicBezTo>
                  <a:cubicBezTo>
                    <a:pt x="13" y="35"/>
                    <a:pt x="13" y="33"/>
                    <a:pt x="10" y="31"/>
                  </a:cubicBezTo>
                  <a:cubicBezTo>
                    <a:pt x="8" y="29"/>
                    <a:pt x="7" y="28"/>
                    <a:pt x="7" y="28"/>
                  </a:cubicBezTo>
                  <a:cubicBezTo>
                    <a:pt x="7" y="28"/>
                    <a:pt x="6" y="27"/>
                    <a:pt x="3" y="27"/>
                  </a:cubicBezTo>
                  <a:cubicBezTo>
                    <a:pt x="1" y="27"/>
                    <a:pt x="0" y="28"/>
                    <a:pt x="0" y="28"/>
                  </a:cubicBezTo>
                  <a:close/>
                  <a:moveTo>
                    <a:pt x="21" y="27"/>
                  </a:moveTo>
                  <a:cubicBezTo>
                    <a:pt x="19" y="25"/>
                    <a:pt x="16" y="22"/>
                    <a:pt x="15" y="19"/>
                  </a:cubicBezTo>
                  <a:cubicBezTo>
                    <a:pt x="19" y="18"/>
                    <a:pt x="19" y="18"/>
                    <a:pt x="19" y="18"/>
                  </a:cubicBezTo>
                  <a:cubicBezTo>
                    <a:pt x="20" y="20"/>
                    <a:pt x="20" y="20"/>
                    <a:pt x="20" y="20"/>
                  </a:cubicBezTo>
                  <a:cubicBezTo>
                    <a:pt x="19" y="20"/>
                    <a:pt x="19" y="20"/>
                    <a:pt x="19" y="20"/>
                  </a:cubicBezTo>
                  <a:cubicBezTo>
                    <a:pt x="20" y="23"/>
                    <a:pt x="20" y="23"/>
                    <a:pt x="20" y="23"/>
                  </a:cubicBezTo>
                  <a:cubicBezTo>
                    <a:pt x="22" y="23"/>
                    <a:pt x="23" y="24"/>
                    <a:pt x="23" y="25"/>
                  </a:cubicBezTo>
                  <a:cubicBezTo>
                    <a:pt x="23" y="26"/>
                    <a:pt x="22" y="27"/>
                    <a:pt x="21" y="27"/>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98" name="Freeform 334">
              <a:extLst>
                <a:ext uri="{FF2B5EF4-FFF2-40B4-BE49-F238E27FC236}">
                  <a16:creationId xmlns:a16="http://schemas.microsoft.com/office/drawing/2014/main" id="{3075F12F-3A29-0C1C-81EE-740EA347EE47}"/>
                </a:ext>
              </a:extLst>
            </p:cNvPr>
            <p:cNvSpPr>
              <a:spLocks/>
            </p:cNvSpPr>
            <p:nvPr/>
          </p:nvSpPr>
          <p:spPr bwMode="auto">
            <a:xfrm>
              <a:off x="6281251" y="2263163"/>
              <a:ext cx="211976" cy="114972"/>
            </a:xfrm>
            <a:custGeom>
              <a:avLst/>
              <a:gdLst>
                <a:gd name="T0" fmla="*/ 0 w 60"/>
                <a:gd name="T1" fmla="*/ 25 h 33"/>
                <a:gd name="T2" fmla="*/ 2 w 60"/>
                <a:gd name="T3" fmla="*/ 29 h 33"/>
                <a:gd name="T4" fmla="*/ 8 w 60"/>
                <a:gd name="T5" fmla="*/ 30 h 33"/>
                <a:gd name="T6" fmla="*/ 10 w 60"/>
                <a:gd name="T7" fmla="*/ 30 h 33"/>
                <a:gd name="T8" fmla="*/ 14 w 60"/>
                <a:gd name="T9" fmla="*/ 31 h 33"/>
                <a:gd name="T10" fmla="*/ 17 w 60"/>
                <a:gd name="T11" fmla="*/ 33 h 33"/>
                <a:gd name="T12" fmla="*/ 21 w 60"/>
                <a:gd name="T13" fmla="*/ 32 h 33"/>
                <a:gd name="T14" fmla="*/ 27 w 60"/>
                <a:gd name="T15" fmla="*/ 32 h 33"/>
                <a:gd name="T16" fmla="*/ 30 w 60"/>
                <a:gd name="T17" fmla="*/ 31 h 33"/>
                <a:gd name="T18" fmla="*/ 34 w 60"/>
                <a:gd name="T19" fmla="*/ 30 h 33"/>
                <a:gd name="T20" fmla="*/ 40 w 60"/>
                <a:gd name="T21" fmla="*/ 28 h 33"/>
                <a:gd name="T22" fmla="*/ 44 w 60"/>
                <a:gd name="T23" fmla="*/ 26 h 33"/>
                <a:gd name="T24" fmla="*/ 50 w 60"/>
                <a:gd name="T25" fmla="*/ 27 h 33"/>
                <a:gd name="T26" fmla="*/ 53 w 60"/>
                <a:gd name="T27" fmla="*/ 25 h 33"/>
                <a:gd name="T28" fmla="*/ 56 w 60"/>
                <a:gd name="T29" fmla="*/ 22 h 33"/>
                <a:gd name="T30" fmla="*/ 58 w 60"/>
                <a:gd name="T31" fmla="*/ 16 h 33"/>
                <a:gd name="T32" fmla="*/ 60 w 60"/>
                <a:gd name="T33" fmla="*/ 13 h 33"/>
                <a:gd name="T34" fmla="*/ 58 w 60"/>
                <a:gd name="T35" fmla="*/ 9 h 33"/>
                <a:gd name="T36" fmla="*/ 58 w 60"/>
                <a:gd name="T37" fmla="*/ 4 h 33"/>
                <a:gd name="T38" fmla="*/ 52 w 60"/>
                <a:gd name="T39" fmla="*/ 4 h 33"/>
                <a:gd name="T40" fmla="*/ 46 w 60"/>
                <a:gd name="T41" fmla="*/ 2 h 33"/>
                <a:gd name="T42" fmla="*/ 41 w 60"/>
                <a:gd name="T43" fmla="*/ 1 h 33"/>
                <a:gd name="T44" fmla="*/ 38 w 60"/>
                <a:gd name="T45" fmla="*/ 6 h 33"/>
                <a:gd name="T46" fmla="*/ 31 w 60"/>
                <a:gd name="T47" fmla="*/ 4 h 33"/>
                <a:gd name="T48" fmla="*/ 27 w 60"/>
                <a:gd name="T49" fmla="*/ 8 h 33"/>
                <a:gd name="T50" fmla="*/ 24 w 60"/>
                <a:gd name="T51" fmla="*/ 11 h 33"/>
                <a:gd name="T52" fmla="*/ 21 w 60"/>
                <a:gd name="T53" fmla="*/ 13 h 33"/>
                <a:gd name="T54" fmla="*/ 24 w 60"/>
                <a:gd name="T55" fmla="*/ 17 h 33"/>
                <a:gd name="T56" fmla="*/ 22 w 60"/>
                <a:gd name="T57" fmla="*/ 20 h 33"/>
                <a:gd name="T58" fmla="*/ 18 w 60"/>
                <a:gd name="T59" fmla="*/ 18 h 33"/>
                <a:gd name="T60" fmla="*/ 12 w 60"/>
                <a:gd name="T61" fmla="*/ 17 h 33"/>
                <a:gd name="T62" fmla="*/ 9 w 60"/>
                <a:gd name="T63" fmla="*/ 20 h 33"/>
                <a:gd name="T64" fmla="*/ 4 w 60"/>
                <a:gd name="T65" fmla="*/ 21 h 33"/>
                <a:gd name="T66" fmla="*/ 0 w 60"/>
                <a:gd name="T67"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33">
                  <a:moveTo>
                    <a:pt x="0" y="25"/>
                  </a:moveTo>
                  <a:cubicBezTo>
                    <a:pt x="3" y="24"/>
                    <a:pt x="3" y="26"/>
                    <a:pt x="2" y="29"/>
                  </a:cubicBezTo>
                  <a:cubicBezTo>
                    <a:pt x="2" y="29"/>
                    <a:pt x="8" y="32"/>
                    <a:pt x="8" y="30"/>
                  </a:cubicBezTo>
                  <a:cubicBezTo>
                    <a:pt x="8" y="29"/>
                    <a:pt x="7" y="29"/>
                    <a:pt x="10" y="30"/>
                  </a:cubicBezTo>
                  <a:cubicBezTo>
                    <a:pt x="13" y="31"/>
                    <a:pt x="10" y="31"/>
                    <a:pt x="14" y="31"/>
                  </a:cubicBezTo>
                  <a:cubicBezTo>
                    <a:pt x="17" y="31"/>
                    <a:pt x="15" y="33"/>
                    <a:pt x="17" y="33"/>
                  </a:cubicBezTo>
                  <a:cubicBezTo>
                    <a:pt x="19" y="33"/>
                    <a:pt x="19" y="33"/>
                    <a:pt x="21" y="32"/>
                  </a:cubicBezTo>
                  <a:cubicBezTo>
                    <a:pt x="23" y="32"/>
                    <a:pt x="27" y="32"/>
                    <a:pt x="27" y="32"/>
                  </a:cubicBezTo>
                  <a:cubicBezTo>
                    <a:pt x="27" y="32"/>
                    <a:pt x="30" y="33"/>
                    <a:pt x="30" y="31"/>
                  </a:cubicBezTo>
                  <a:cubicBezTo>
                    <a:pt x="30" y="29"/>
                    <a:pt x="31" y="29"/>
                    <a:pt x="34" y="30"/>
                  </a:cubicBezTo>
                  <a:cubicBezTo>
                    <a:pt x="37" y="31"/>
                    <a:pt x="39" y="30"/>
                    <a:pt x="40" y="28"/>
                  </a:cubicBezTo>
                  <a:cubicBezTo>
                    <a:pt x="41" y="26"/>
                    <a:pt x="42" y="26"/>
                    <a:pt x="44" y="26"/>
                  </a:cubicBezTo>
                  <a:cubicBezTo>
                    <a:pt x="46" y="26"/>
                    <a:pt x="48" y="28"/>
                    <a:pt x="50" y="27"/>
                  </a:cubicBezTo>
                  <a:cubicBezTo>
                    <a:pt x="52" y="25"/>
                    <a:pt x="53" y="25"/>
                    <a:pt x="53" y="25"/>
                  </a:cubicBezTo>
                  <a:cubicBezTo>
                    <a:pt x="53" y="25"/>
                    <a:pt x="54" y="21"/>
                    <a:pt x="56" y="22"/>
                  </a:cubicBezTo>
                  <a:cubicBezTo>
                    <a:pt x="58" y="23"/>
                    <a:pt x="58" y="16"/>
                    <a:pt x="58" y="16"/>
                  </a:cubicBezTo>
                  <a:cubicBezTo>
                    <a:pt x="58" y="16"/>
                    <a:pt x="57" y="12"/>
                    <a:pt x="60" y="13"/>
                  </a:cubicBezTo>
                  <a:cubicBezTo>
                    <a:pt x="58" y="9"/>
                    <a:pt x="58" y="9"/>
                    <a:pt x="58" y="9"/>
                  </a:cubicBezTo>
                  <a:cubicBezTo>
                    <a:pt x="55" y="8"/>
                    <a:pt x="58" y="4"/>
                    <a:pt x="58" y="4"/>
                  </a:cubicBezTo>
                  <a:cubicBezTo>
                    <a:pt x="58" y="4"/>
                    <a:pt x="55" y="4"/>
                    <a:pt x="52" y="4"/>
                  </a:cubicBezTo>
                  <a:cubicBezTo>
                    <a:pt x="50" y="5"/>
                    <a:pt x="48" y="4"/>
                    <a:pt x="46" y="2"/>
                  </a:cubicBezTo>
                  <a:cubicBezTo>
                    <a:pt x="44" y="0"/>
                    <a:pt x="41" y="1"/>
                    <a:pt x="41" y="1"/>
                  </a:cubicBezTo>
                  <a:cubicBezTo>
                    <a:pt x="41" y="1"/>
                    <a:pt x="39" y="2"/>
                    <a:pt x="38" y="6"/>
                  </a:cubicBezTo>
                  <a:cubicBezTo>
                    <a:pt x="36" y="9"/>
                    <a:pt x="31" y="4"/>
                    <a:pt x="31" y="4"/>
                  </a:cubicBezTo>
                  <a:cubicBezTo>
                    <a:pt x="31" y="4"/>
                    <a:pt x="27" y="5"/>
                    <a:pt x="27" y="8"/>
                  </a:cubicBezTo>
                  <a:cubicBezTo>
                    <a:pt x="28" y="11"/>
                    <a:pt x="27" y="11"/>
                    <a:pt x="24" y="11"/>
                  </a:cubicBezTo>
                  <a:cubicBezTo>
                    <a:pt x="22" y="12"/>
                    <a:pt x="21" y="13"/>
                    <a:pt x="21" y="13"/>
                  </a:cubicBezTo>
                  <a:cubicBezTo>
                    <a:pt x="21" y="13"/>
                    <a:pt x="24" y="14"/>
                    <a:pt x="24" y="17"/>
                  </a:cubicBezTo>
                  <a:cubicBezTo>
                    <a:pt x="24" y="20"/>
                    <a:pt x="24" y="21"/>
                    <a:pt x="22" y="20"/>
                  </a:cubicBezTo>
                  <a:cubicBezTo>
                    <a:pt x="20" y="19"/>
                    <a:pt x="20" y="17"/>
                    <a:pt x="18" y="18"/>
                  </a:cubicBezTo>
                  <a:cubicBezTo>
                    <a:pt x="16" y="18"/>
                    <a:pt x="13" y="16"/>
                    <a:pt x="12" y="17"/>
                  </a:cubicBezTo>
                  <a:cubicBezTo>
                    <a:pt x="11" y="18"/>
                    <a:pt x="11" y="20"/>
                    <a:pt x="9" y="20"/>
                  </a:cubicBezTo>
                  <a:cubicBezTo>
                    <a:pt x="7" y="20"/>
                    <a:pt x="7" y="21"/>
                    <a:pt x="4" y="21"/>
                  </a:cubicBezTo>
                  <a:cubicBezTo>
                    <a:pt x="2" y="21"/>
                    <a:pt x="1" y="24"/>
                    <a:pt x="0" y="2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499" name="Freeform 335">
              <a:extLst>
                <a:ext uri="{FF2B5EF4-FFF2-40B4-BE49-F238E27FC236}">
                  <a16:creationId xmlns:a16="http://schemas.microsoft.com/office/drawing/2014/main" id="{B0BA3F6E-1255-BD0C-C769-7C018A0D645D}"/>
                </a:ext>
              </a:extLst>
            </p:cNvPr>
            <p:cNvSpPr>
              <a:spLocks/>
            </p:cNvSpPr>
            <p:nvPr/>
          </p:nvSpPr>
          <p:spPr bwMode="auto">
            <a:xfrm>
              <a:off x="6281251" y="2263163"/>
              <a:ext cx="211976" cy="114972"/>
            </a:xfrm>
            <a:custGeom>
              <a:avLst/>
              <a:gdLst>
                <a:gd name="T0" fmla="*/ 0 w 60"/>
                <a:gd name="T1" fmla="*/ 25 h 33"/>
                <a:gd name="T2" fmla="*/ 2 w 60"/>
                <a:gd name="T3" fmla="*/ 29 h 33"/>
                <a:gd name="T4" fmla="*/ 8 w 60"/>
                <a:gd name="T5" fmla="*/ 30 h 33"/>
                <a:gd name="T6" fmla="*/ 10 w 60"/>
                <a:gd name="T7" fmla="*/ 30 h 33"/>
                <a:gd name="T8" fmla="*/ 14 w 60"/>
                <a:gd name="T9" fmla="*/ 31 h 33"/>
                <a:gd name="T10" fmla="*/ 17 w 60"/>
                <a:gd name="T11" fmla="*/ 33 h 33"/>
                <a:gd name="T12" fmla="*/ 21 w 60"/>
                <a:gd name="T13" fmla="*/ 32 h 33"/>
                <a:gd name="T14" fmla="*/ 27 w 60"/>
                <a:gd name="T15" fmla="*/ 32 h 33"/>
                <a:gd name="T16" fmla="*/ 30 w 60"/>
                <a:gd name="T17" fmla="*/ 31 h 33"/>
                <a:gd name="T18" fmla="*/ 34 w 60"/>
                <a:gd name="T19" fmla="*/ 30 h 33"/>
                <a:gd name="T20" fmla="*/ 40 w 60"/>
                <a:gd name="T21" fmla="*/ 28 h 33"/>
                <a:gd name="T22" fmla="*/ 44 w 60"/>
                <a:gd name="T23" fmla="*/ 26 h 33"/>
                <a:gd name="T24" fmla="*/ 50 w 60"/>
                <a:gd name="T25" fmla="*/ 27 h 33"/>
                <a:gd name="T26" fmla="*/ 53 w 60"/>
                <a:gd name="T27" fmla="*/ 25 h 33"/>
                <a:gd name="T28" fmla="*/ 56 w 60"/>
                <a:gd name="T29" fmla="*/ 22 h 33"/>
                <a:gd name="T30" fmla="*/ 58 w 60"/>
                <a:gd name="T31" fmla="*/ 16 h 33"/>
                <a:gd name="T32" fmla="*/ 60 w 60"/>
                <a:gd name="T33" fmla="*/ 13 h 33"/>
                <a:gd name="T34" fmla="*/ 58 w 60"/>
                <a:gd name="T35" fmla="*/ 9 h 33"/>
                <a:gd name="T36" fmla="*/ 58 w 60"/>
                <a:gd name="T37" fmla="*/ 4 h 33"/>
                <a:gd name="T38" fmla="*/ 52 w 60"/>
                <a:gd name="T39" fmla="*/ 4 h 33"/>
                <a:gd name="T40" fmla="*/ 46 w 60"/>
                <a:gd name="T41" fmla="*/ 2 h 33"/>
                <a:gd name="T42" fmla="*/ 41 w 60"/>
                <a:gd name="T43" fmla="*/ 1 h 33"/>
                <a:gd name="T44" fmla="*/ 38 w 60"/>
                <a:gd name="T45" fmla="*/ 6 h 33"/>
                <a:gd name="T46" fmla="*/ 31 w 60"/>
                <a:gd name="T47" fmla="*/ 4 h 33"/>
                <a:gd name="T48" fmla="*/ 27 w 60"/>
                <a:gd name="T49" fmla="*/ 8 h 33"/>
                <a:gd name="T50" fmla="*/ 24 w 60"/>
                <a:gd name="T51" fmla="*/ 11 h 33"/>
                <a:gd name="T52" fmla="*/ 21 w 60"/>
                <a:gd name="T53" fmla="*/ 13 h 33"/>
                <a:gd name="T54" fmla="*/ 24 w 60"/>
                <a:gd name="T55" fmla="*/ 17 h 33"/>
                <a:gd name="T56" fmla="*/ 22 w 60"/>
                <a:gd name="T57" fmla="*/ 20 h 33"/>
                <a:gd name="T58" fmla="*/ 18 w 60"/>
                <a:gd name="T59" fmla="*/ 18 h 33"/>
                <a:gd name="T60" fmla="*/ 12 w 60"/>
                <a:gd name="T61" fmla="*/ 17 h 33"/>
                <a:gd name="T62" fmla="*/ 9 w 60"/>
                <a:gd name="T63" fmla="*/ 20 h 33"/>
                <a:gd name="T64" fmla="*/ 4 w 60"/>
                <a:gd name="T65" fmla="*/ 21 h 33"/>
                <a:gd name="T66" fmla="*/ 0 w 60"/>
                <a:gd name="T67"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33">
                  <a:moveTo>
                    <a:pt x="0" y="25"/>
                  </a:moveTo>
                  <a:cubicBezTo>
                    <a:pt x="3" y="24"/>
                    <a:pt x="3" y="26"/>
                    <a:pt x="2" y="29"/>
                  </a:cubicBezTo>
                  <a:cubicBezTo>
                    <a:pt x="2" y="29"/>
                    <a:pt x="8" y="32"/>
                    <a:pt x="8" y="30"/>
                  </a:cubicBezTo>
                  <a:cubicBezTo>
                    <a:pt x="8" y="29"/>
                    <a:pt x="7" y="29"/>
                    <a:pt x="10" y="30"/>
                  </a:cubicBezTo>
                  <a:cubicBezTo>
                    <a:pt x="13" y="31"/>
                    <a:pt x="10" y="31"/>
                    <a:pt x="14" y="31"/>
                  </a:cubicBezTo>
                  <a:cubicBezTo>
                    <a:pt x="17" y="31"/>
                    <a:pt x="15" y="33"/>
                    <a:pt x="17" y="33"/>
                  </a:cubicBezTo>
                  <a:cubicBezTo>
                    <a:pt x="19" y="33"/>
                    <a:pt x="19" y="33"/>
                    <a:pt x="21" y="32"/>
                  </a:cubicBezTo>
                  <a:cubicBezTo>
                    <a:pt x="23" y="32"/>
                    <a:pt x="27" y="32"/>
                    <a:pt x="27" y="32"/>
                  </a:cubicBezTo>
                  <a:cubicBezTo>
                    <a:pt x="27" y="32"/>
                    <a:pt x="30" y="33"/>
                    <a:pt x="30" y="31"/>
                  </a:cubicBezTo>
                  <a:cubicBezTo>
                    <a:pt x="30" y="29"/>
                    <a:pt x="31" y="29"/>
                    <a:pt x="34" y="30"/>
                  </a:cubicBezTo>
                  <a:cubicBezTo>
                    <a:pt x="37" y="31"/>
                    <a:pt x="39" y="30"/>
                    <a:pt x="40" y="28"/>
                  </a:cubicBezTo>
                  <a:cubicBezTo>
                    <a:pt x="41" y="26"/>
                    <a:pt x="42" y="26"/>
                    <a:pt x="44" y="26"/>
                  </a:cubicBezTo>
                  <a:cubicBezTo>
                    <a:pt x="46" y="26"/>
                    <a:pt x="48" y="28"/>
                    <a:pt x="50" y="27"/>
                  </a:cubicBezTo>
                  <a:cubicBezTo>
                    <a:pt x="52" y="25"/>
                    <a:pt x="53" y="25"/>
                    <a:pt x="53" y="25"/>
                  </a:cubicBezTo>
                  <a:cubicBezTo>
                    <a:pt x="53" y="25"/>
                    <a:pt x="54" y="21"/>
                    <a:pt x="56" y="22"/>
                  </a:cubicBezTo>
                  <a:cubicBezTo>
                    <a:pt x="58" y="23"/>
                    <a:pt x="58" y="16"/>
                    <a:pt x="58" y="16"/>
                  </a:cubicBezTo>
                  <a:cubicBezTo>
                    <a:pt x="58" y="16"/>
                    <a:pt x="57" y="12"/>
                    <a:pt x="60" y="13"/>
                  </a:cubicBezTo>
                  <a:cubicBezTo>
                    <a:pt x="58" y="9"/>
                    <a:pt x="58" y="9"/>
                    <a:pt x="58" y="9"/>
                  </a:cubicBezTo>
                  <a:cubicBezTo>
                    <a:pt x="55" y="8"/>
                    <a:pt x="58" y="4"/>
                    <a:pt x="58" y="4"/>
                  </a:cubicBezTo>
                  <a:cubicBezTo>
                    <a:pt x="58" y="4"/>
                    <a:pt x="55" y="4"/>
                    <a:pt x="52" y="4"/>
                  </a:cubicBezTo>
                  <a:cubicBezTo>
                    <a:pt x="50" y="5"/>
                    <a:pt x="48" y="4"/>
                    <a:pt x="46" y="2"/>
                  </a:cubicBezTo>
                  <a:cubicBezTo>
                    <a:pt x="44" y="0"/>
                    <a:pt x="41" y="1"/>
                    <a:pt x="41" y="1"/>
                  </a:cubicBezTo>
                  <a:cubicBezTo>
                    <a:pt x="41" y="1"/>
                    <a:pt x="39" y="2"/>
                    <a:pt x="38" y="6"/>
                  </a:cubicBezTo>
                  <a:cubicBezTo>
                    <a:pt x="36" y="9"/>
                    <a:pt x="31" y="4"/>
                    <a:pt x="31" y="4"/>
                  </a:cubicBezTo>
                  <a:cubicBezTo>
                    <a:pt x="31" y="4"/>
                    <a:pt x="27" y="5"/>
                    <a:pt x="27" y="8"/>
                  </a:cubicBezTo>
                  <a:cubicBezTo>
                    <a:pt x="28" y="11"/>
                    <a:pt x="27" y="11"/>
                    <a:pt x="24" y="11"/>
                  </a:cubicBezTo>
                  <a:cubicBezTo>
                    <a:pt x="22" y="12"/>
                    <a:pt x="21" y="13"/>
                    <a:pt x="21" y="13"/>
                  </a:cubicBezTo>
                  <a:cubicBezTo>
                    <a:pt x="21" y="13"/>
                    <a:pt x="24" y="14"/>
                    <a:pt x="24" y="17"/>
                  </a:cubicBezTo>
                  <a:cubicBezTo>
                    <a:pt x="24" y="20"/>
                    <a:pt x="24" y="21"/>
                    <a:pt x="22" y="20"/>
                  </a:cubicBezTo>
                  <a:cubicBezTo>
                    <a:pt x="20" y="19"/>
                    <a:pt x="20" y="17"/>
                    <a:pt x="18" y="18"/>
                  </a:cubicBezTo>
                  <a:cubicBezTo>
                    <a:pt x="16" y="18"/>
                    <a:pt x="13" y="16"/>
                    <a:pt x="12" y="17"/>
                  </a:cubicBezTo>
                  <a:cubicBezTo>
                    <a:pt x="11" y="18"/>
                    <a:pt x="11" y="20"/>
                    <a:pt x="9" y="20"/>
                  </a:cubicBezTo>
                  <a:cubicBezTo>
                    <a:pt x="7" y="20"/>
                    <a:pt x="7" y="21"/>
                    <a:pt x="4" y="21"/>
                  </a:cubicBezTo>
                  <a:cubicBezTo>
                    <a:pt x="2" y="21"/>
                    <a:pt x="1" y="24"/>
                    <a:pt x="0" y="2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00" name="Freeform 336">
              <a:extLst>
                <a:ext uri="{FF2B5EF4-FFF2-40B4-BE49-F238E27FC236}">
                  <a16:creationId xmlns:a16="http://schemas.microsoft.com/office/drawing/2014/main" id="{7FE9E0CC-40A3-5622-97A8-E2E7D1583843}"/>
                </a:ext>
              </a:extLst>
            </p:cNvPr>
            <p:cNvSpPr>
              <a:spLocks noEditPoints="1"/>
            </p:cNvSpPr>
            <p:nvPr/>
          </p:nvSpPr>
          <p:spPr bwMode="auto">
            <a:xfrm>
              <a:off x="9398020" y="4670381"/>
              <a:ext cx="1223355" cy="1304208"/>
            </a:xfrm>
            <a:custGeom>
              <a:avLst/>
              <a:gdLst>
                <a:gd name="T0" fmla="*/ 264 w 347"/>
                <a:gd name="T1" fmla="*/ 309 h 370"/>
                <a:gd name="T2" fmla="*/ 275 w 347"/>
                <a:gd name="T3" fmla="*/ 302 h 370"/>
                <a:gd name="T4" fmla="*/ 279 w 347"/>
                <a:gd name="T5" fmla="*/ 310 h 370"/>
                <a:gd name="T6" fmla="*/ 295 w 347"/>
                <a:gd name="T7" fmla="*/ 304 h 370"/>
                <a:gd name="T8" fmla="*/ 313 w 347"/>
                <a:gd name="T9" fmla="*/ 291 h 370"/>
                <a:gd name="T10" fmla="*/ 323 w 347"/>
                <a:gd name="T11" fmla="*/ 262 h 370"/>
                <a:gd name="T12" fmla="*/ 333 w 347"/>
                <a:gd name="T13" fmla="*/ 238 h 370"/>
                <a:gd name="T14" fmla="*/ 343 w 347"/>
                <a:gd name="T15" fmla="*/ 215 h 370"/>
                <a:gd name="T16" fmla="*/ 341 w 347"/>
                <a:gd name="T17" fmla="*/ 165 h 370"/>
                <a:gd name="T18" fmla="*/ 329 w 347"/>
                <a:gd name="T19" fmla="*/ 143 h 370"/>
                <a:gd name="T20" fmla="*/ 311 w 347"/>
                <a:gd name="T21" fmla="*/ 110 h 370"/>
                <a:gd name="T22" fmla="*/ 290 w 347"/>
                <a:gd name="T23" fmla="*/ 90 h 370"/>
                <a:gd name="T24" fmla="*/ 277 w 347"/>
                <a:gd name="T25" fmla="*/ 42 h 370"/>
                <a:gd name="T26" fmla="*/ 262 w 347"/>
                <a:gd name="T27" fmla="*/ 19 h 370"/>
                <a:gd name="T28" fmla="*/ 248 w 347"/>
                <a:gd name="T29" fmla="*/ 1 h 370"/>
                <a:gd name="T30" fmla="*/ 244 w 347"/>
                <a:gd name="T31" fmla="*/ 48 h 370"/>
                <a:gd name="T32" fmla="*/ 225 w 347"/>
                <a:gd name="T33" fmla="*/ 65 h 370"/>
                <a:gd name="T34" fmla="*/ 193 w 347"/>
                <a:gd name="T35" fmla="*/ 44 h 370"/>
                <a:gd name="T36" fmla="*/ 203 w 347"/>
                <a:gd name="T37" fmla="*/ 14 h 370"/>
                <a:gd name="T38" fmla="*/ 181 w 347"/>
                <a:gd name="T39" fmla="*/ 10 h 370"/>
                <a:gd name="T40" fmla="*/ 170 w 347"/>
                <a:gd name="T41" fmla="*/ 14 h 370"/>
                <a:gd name="T42" fmla="*/ 147 w 347"/>
                <a:gd name="T43" fmla="*/ 20 h 370"/>
                <a:gd name="T44" fmla="*/ 139 w 347"/>
                <a:gd name="T45" fmla="*/ 44 h 370"/>
                <a:gd name="T46" fmla="*/ 125 w 347"/>
                <a:gd name="T47" fmla="*/ 35 h 370"/>
                <a:gd name="T48" fmla="*/ 107 w 347"/>
                <a:gd name="T49" fmla="*/ 38 h 370"/>
                <a:gd name="T50" fmla="*/ 95 w 347"/>
                <a:gd name="T51" fmla="*/ 55 h 370"/>
                <a:gd name="T52" fmla="*/ 87 w 347"/>
                <a:gd name="T53" fmla="*/ 64 h 370"/>
                <a:gd name="T54" fmla="*/ 79 w 347"/>
                <a:gd name="T55" fmla="*/ 75 h 370"/>
                <a:gd name="T56" fmla="*/ 47 w 347"/>
                <a:gd name="T57" fmla="*/ 100 h 370"/>
                <a:gd name="T58" fmla="*/ 20 w 347"/>
                <a:gd name="T59" fmla="*/ 114 h 370"/>
                <a:gd name="T60" fmla="*/ 6 w 347"/>
                <a:gd name="T61" fmla="*/ 128 h 370"/>
                <a:gd name="T62" fmla="*/ 7 w 347"/>
                <a:gd name="T63" fmla="*/ 155 h 370"/>
                <a:gd name="T64" fmla="*/ 0 w 347"/>
                <a:gd name="T65" fmla="*/ 159 h 370"/>
                <a:gd name="T66" fmla="*/ 16 w 347"/>
                <a:gd name="T67" fmla="*/ 189 h 370"/>
                <a:gd name="T68" fmla="*/ 22 w 347"/>
                <a:gd name="T69" fmla="*/ 230 h 370"/>
                <a:gd name="T70" fmla="*/ 24 w 347"/>
                <a:gd name="T71" fmla="*/ 257 h 370"/>
                <a:gd name="T72" fmla="*/ 49 w 347"/>
                <a:gd name="T73" fmla="*/ 255 h 370"/>
                <a:gd name="T74" fmla="*/ 64 w 347"/>
                <a:gd name="T75" fmla="*/ 252 h 370"/>
                <a:gd name="T76" fmla="*/ 86 w 347"/>
                <a:gd name="T77" fmla="*/ 251 h 370"/>
                <a:gd name="T78" fmla="*/ 109 w 347"/>
                <a:gd name="T79" fmla="*/ 232 h 370"/>
                <a:gd name="T80" fmla="*/ 151 w 347"/>
                <a:gd name="T81" fmla="*/ 226 h 370"/>
                <a:gd name="T82" fmla="*/ 177 w 347"/>
                <a:gd name="T83" fmla="*/ 232 h 370"/>
                <a:gd name="T84" fmla="*/ 189 w 347"/>
                <a:gd name="T85" fmla="*/ 256 h 370"/>
                <a:gd name="T86" fmla="*/ 210 w 347"/>
                <a:gd name="T87" fmla="*/ 249 h 370"/>
                <a:gd name="T88" fmla="*/ 209 w 347"/>
                <a:gd name="T89" fmla="*/ 265 h 370"/>
                <a:gd name="T90" fmla="*/ 224 w 347"/>
                <a:gd name="T91" fmla="*/ 270 h 370"/>
                <a:gd name="T92" fmla="*/ 248 w 347"/>
                <a:gd name="T93" fmla="*/ 304 h 370"/>
                <a:gd name="T94" fmla="*/ 275 w 347"/>
                <a:gd name="T95" fmla="*/ 359 h 370"/>
                <a:gd name="T96" fmla="*/ 291 w 347"/>
                <a:gd name="T97" fmla="*/ 369 h 370"/>
                <a:gd name="T98" fmla="*/ 293 w 347"/>
                <a:gd name="T99" fmla="*/ 363 h 370"/>
                <a:gd name="T100" fmla="*/ 275 w 347"/>
                <a:gd name="T101" fmla="*/ 336 h 370"/>
                <a:gd name="T102" fmla="*/ 301 w 347"/>
                <a:gd name="T103" fmla="*/ 330 h 370"/>
                <a:gd name="T104" fmla="*/ 190 w 347"/>
                <a:gd name="T105" fmla="*/ 222 h 370"/>
                <a:gd name="T106" fmla="*/ 194 w 347"/>
                <a:gd name="T107" fmla="*/ 221 h 370"/>
                <a:gd name="T108" fmla="*/ 226 w 347"/>
                <a:gd name="T109" fmla="*/ 63 h 370"/>
                <a:gd name="T110" fmla="*/ 202 w 347"/>
                <a:gd name="T111" fmla="*/ 30 h 370"/>
                <a:gd name="T112" fmla="*/ 152 w 347"/>
                <a:gd name="T113" fmla="*/ 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7" h="370">
                  <a:moveTo>
                    <a:pt x="248" y="304"/>
                  </a:moveTo>
                  <a:cubicBezTo>
                    <a:pt x="248" y="304"/>
                    <a:pt x="249" y="306"/>
                    <a:pt x="249" y="306"/>
                  </a:cubicBezTo>
                  <a:cubicBezTo>
                    <a:pt x="249" y="307"/>
                    <a:pt x="251" y="306"/>
                    <a:pt x="252" y="306"/>
                  </a:cubicBezTo>
                  <a:cubicBezTo>
                    <a:pt x="252" y="308"/>
                    <a:pt x="251" y="310"/>
                    <a:pt x="253" y="311"/>
                  </a:cubicBezTo>
                  <a:cubicBezTo>
                    <a:pt x="253" y="311"/>
                    <a:pt x="254" y="310"/>
                    <a:pt x="255" y="310"/>
                  </a:cubicBezTo>
                  <a:cubicBezTo>
                    <a:pt x="256" y="310"/>
                    <a:pt x="257" y="313"/>
                    <a:pt x="258" y="314"/>
                  </a:cubicBezTo>
                  <a:cubicBezTo>
                    <a:pt x="259" y="313"/>
                    <a:pt x="261" y="313"/>
                    <a:pt x="262" y="312"/>
                  </a:cubicBezTo>
                  <a:cubicBezTo>
                    <a:pt x="263" y="311"/>
                    <a:pt x="263" y="309"/>
                    <a:pt x="264" y="309"/>
                  </a:cubicBezTo>
                  <a:cubicBezTo>
                    <a:pt x="265" y="309"/>
                    <a:pt x="265" y="309"/>
                    <a:pt x="265" y="309"/>
                  </a:cubicBezTo>
                  <a:cubicBezTo>
                    <a:pt x="266" y="308"/>
                    <a:pt x="265" y="306"/>
                    <a:pt x="266" y="306"/>
                  </a:cubicBezTo>
                  <a:cubicBezTo>
                    <a:pt x="267" y="305"/>
                    <a:pt x="268" y="305"/>
                    <a:pt x="269" y="304"/>
                  </a:cubicBezTo>
                  <a:cubicBezTo>
                    <a:pt x="270" y="302"/>
                    <a:pt x="266" y="304"/>
                    <a:pt x="269" y="302"/>
                  </a:cubicBezTo>
                  <a:cubicBezTo>
                    <a:pt x="270" y="301"/>
                    <a:pt x="270" y="301"/>
                    <a:pt x="271" y="300"/>
                  </a:cubicBezTo>
                  <a:cubicBezTo>
                    <a:pt x="271" y="299"/>
                    <a:pt x="271" y="299"/>
                    <a:pt x="271" y="299"/>
                  </a:cubicBezTo>
                  <a:cubicBezTo>
                    <a:pt x="272" y="299"/>
                    <a:pt x="274" y="300"/>
                    <a:pt x="274" y="300"/>
                  </a:cubicBezTo>
                  <a:cubicBezTo>
                    <a:pt x="274" y="301"/>
                    <a:pt x="274" y="301"/>
                    <a:pt x="275" y="302"/>
                  </a:cubicBezTo>
                  <a:cubicBezTo>
                    <a:pt x="274" y="303"/>
                    <a:pt x="271" y="304"/>
                    <a:pt x="271" y="304"/>
                  </a:cubicBezTo>
                  <a:cubicBezTo>
                    <a:pt x="271" y="305"/>
                    <a:pt x="272" y="306"/>
                    <a:pt x="271" y="306"/>
                  </a:cubicBezTo>
                  <a:cubicBezTo>
                    <a:pt x="272" y="306"/>
                    <a:pt x="273" y="307"/>
                    <a:pt x="274" y="306"/>
                  </a:cubicBezTo>
                  <a:cubicBezTo>
                    <a:pt x="275" y="306"/>
                    <a:pt x="276" y="305"/>
                    <a:pt x="277" y="304"/>
                  </a:cubicBezTo>
                  <a:cubicBezTo>
                    <a:pt x="277" y="304"/>
                    <a:pt x="277" y="306"/>
                    <a:pt x="277" y="306"/>
                  </a:cubicBezTo>
                  <a:cubicBezTo>
                    <a:pt x="276" y="307"/>
                    <a:pt x="275" y="307"/>
                    <a:pt x="275" y="307"/>
                  </a:cubicBezTo>
                  <a:cubicBezTo>
                    <a:pt x="275" y="308"/>
                    <a:pt x="275" y="308"/>
                    <a:pt x="275" y="308"/>
                  </a:cubicBezTo>
                  <a:cubicBezTo>
                    <a:pt x="275" y="309"/>
                    <a:pt x="279" y="310"/>
                    <a:pt x="279" y="310"/>
                  </a:cubicBezTo>
                  <a:cubicBezTo>
                    <a:pt x="281" y="314"/>
                    <a:pt x="281" y="314"/>
                    <a:pt x="281" y="314"/>
                  </a:cubicBezTo>
                  <a:cubicBezTo>
                    <a:pt x="281" y="313"/>
                    <a:pt x="282" y="312"/>
                    <a:pt x="283" y="313"/>
                  </a:cubicBezTo>
                  <a:cubicBezTo>
                    <a:pt x="283" y="313"/>
                    <a:pt x="283" y="315"/>
                    <a:pt x="283" y="316"/>
                  </a:cubicBezTo>
                  <a:cubicBezTo>
                    <a:pt x="284" y="317"/>
                    <a:pt x="285" y="317"/>
                    <a:pt x="285" y="317"/>
                  </a:cubicBezTo>
                  <a:cubicBezTo>
                    <a:pt x="287" y="313"/>
                    <a:pt x="285" y="315"/>
                    <a:pt x="287" y="313"/>
                  </a:cubicBezTo>
                  <a:cubicBezTo>
                    <a:pt x="288" y="312"/>
                    <a:pt x="289" y="313"/>
                    <a:pt x="290" y="312"/>
                  </a:cubicBezTo>
                  <a:cubicBezTo>
                    <a:pt x="290" y="312"/>
                    <a:pt x="291" y="310"/>
                    <a:pt x="291" y="310"/>
                  </a:cubicBezTo>
                  <a:cubicBezTo>
                    <a:pt x="292" y="308"/>
                    <a:pt x="295" y="306"/>
                    <a:pt x="295" y="304"/>
                  </a:cubicBezTo>
                  <a:cubicBezTo>
                    <a:pt x="296" y="303"/>
                    <a:pt x="294" y="303"/>
                    <a:pt x="295" y="302"/>
                  </a:cubicBezTo>
                  <a:cubicBezTo>
                    <a:pt x="295" y="301"/>
                    <a:pt x="296" y="300"/>
                    <a:pt x="297" y="299"/>
                  </a:cubicBezTo>
                  <a:cubicBezTo>
                    <a:pt x="303" y="299"/>
                    <a:pt x="307" y="298"/>
                    <a:pt x="311" y="300"/>
                  </a:cubicBezTo>
                  <a:cubicBezTo>
                    <a:pt x="312" y="297"/>
                    <a:pt x="312" y="297"/>
                    <a:pt x="312" y="297"/>
                  </a:cubicBezTo>
                  <a:cubicBezTo>
                    <a:pt x="312" y="297"/>
                    <a:pt x="314" y="297"/>
                    <a:pt x="315" y="297"/>
                  </a:cubicBezTo>
                  <a:cubicBezTo>
                    <a:pt x="315" y="296"/>
                    <a:pt x="314" y="294"/>
                    <a:pt x="314" y="294"/>
                  </a:cubicBezTo>
                  <a:cubicBezTo>
                    <a:pt x="316" y="293"/>
                    <a:pt x="315" y="294"/>
                    <a:pt x="316" y="292"/>
                  </a:cubicBezTo>
                  <a:cubicBezTo>
                    <a:pt x="315" y="291"/>
                    <a:pt x="314" y="291"/>
                    <a:pt x="313" y="291"/>
                  </a:cubicBezTo>
                  <a:cubicBezTo>
                    <a:pt x="313" y="290"/>
                    <a:pt x="313" y="289"/>
                    <a:pt x="312" y="288"/>
                  </a:cubicBezTo>
                  <a:cubicBezTo>
                    <a:pt x="314" y="285"/>
                    <a:pt x="316" y="282"/>
                    <a:pt x="317" y="278"/>
                  </a:cubicBezTo>
                  <a:cubicBezTo>
                    <a:pt x="317" y="278"/>
                    <a:pt x="317" y="273"/>
                    <a:pt x="317" y="271"/>
                  </a:cubicBezTo>
                  <a:cubicBezTo>
                    <a:pt x="318" y="271"/>
                    <a:pt x="318" y="271"/>
                    <a:pt x="318" y="271"/>
                  </a:cubicBezTo>
                  <a:cubicBezTo>
                    <a:pt x="319" y="270"/>
                    <a:pt x="319" y="268"/>
                    <a:pt x="320" y="266"/>
                  </a:cubicBezTo>
                  <a:cubicBezTo>
                    <a:pt x="321" y="266"/>
                    <a:pt x="321" y="266"/>
                    <a:pt x="321" y="266"/>
                  </a:cubicBezTo>
                  <a:cubicBezTo>
                    <a:pt x="322" y="266"/>
                    <a:pt x="322" y="263"/>
                    <a:pt x="321" y="262"/>
                  </a:cubicBezTo>
                  <a:cubicBezTo>
                    <a:pt x="323" y="262"/>
                    <a:pt x="323" y="262"/>
                    <a:pt x="323" y="262"/>
                  </a:cubicBezTo>
                  <a:cubicBezTo>
                    <a:pt x="323" y="261"/>
                    <a:pt x="322" y="259"/>
                    <a:pt x="323" y="258"/>
                  </a:cubicBezTo>
                  <a:cubicBezTo>
                    <a:pt x="324" y="257"/>
                    <a:pt x="324" y="257"/>
                    <a:pt x="324" y="257"/>
                  </a:cubicBezTo>
                  <a:cubicBezTo>
                    <a:pt x="325" y="253"/>
                    <a:pt x="325" y="251"/>
                    <a:pt x="324" y="248"/>
                  </a:cubicBezTo>
                  <a:cubicBezTo>
                    <a:pt x="325" y="247"/>
                    <a:pt x="326" y="247"/>
                    <a:pt x="327" y="246"/>
                  </a:cubicBezTo>
                  <a:cubicBezTo>
                    <a:pt x="327" y="246"/>
                    <a:pt x="327" y="244"/>
                    <a:pt x="327" y="243"/>
                  </a:cubicBezTo>
                  <a:cubicBezTo>
                    <a:pt x="328" y="242"/>
                    <a:pt x="330" y="242"/>
                    <a:pt x="331" y="241"/>
                  </a:cubicBezTo>
                  <a:cubicBezTo>
                    <a:pt x="332" y="241"/>
                    <a:pt x="332" y="239"/>
                    <a:pt x="333" y="238"/>
                  </a:cubicBezTo>
                  <a:cubicBezTo>
                    <a:pt x="333" y="238"/>
                    <a:pt x="333" y="238"/>
                    <a:pt x="333" y="238"/>
                  </a:cubicBezTo>
                  <a:cubicBezTo>
                    <a:pt x="335" y="237"/>
                    <a:pt x="335" y="238"/>
                    <a:pt x="337" y="237"/>
                  </a:cubicBezTo>
                  <a:cubicBezTo>
                    <a:pt x="337" y="236"/>
                    <a:pt x="336" y="233"/>
                    <a:pt x="337" y="232"/>
                  </a:cubicBezTo>
                  <a:cubicBezTo>
                    <a:pt x="337" y="231"/>
                    <a:pt x="338" y="230"/>
                    <a:pt x="339" y="230"/>
                  </a:cubicBezTo>
                  <a:cubicBezTo>
                    <a:pt x="340" y="230"/>
                    <a:pt x="340" y="230"/>
                    <a:pt x="340" y="230"/>
                  </a:cubicBezTo>
                  <a:cubicBezTo>
                    <a:pt x="340" y="229"/>
                    <a:pt x="340" y="227"/>
                    <a:pt x="340" y="227"/>
                  </a:cubicBezTo>
                  <a:cubicBezTo>
                    <a:pt x="340" y="225"/>
                    <a:pt x="342" y="223"/>
                    <a:pt x="342" y="222"/>
                  </a:cubicBezTo>
                  <a:cubicBezTo>
                    <a:pt x="342" y="220"/>
                    <a:pt x="341" y="218"/>
                    <a:pt x="341" y="217"/>
                  </a:cubicBezTo>
                  <a:cubicBezTo>
                    <a:pt x="341" y="217"/>
                    <a:pt x="342" y="215"/>
                    <a:pt x="343" y="215"/>
                  </a:cubicBezTo>
                  <a:cubicBezTo>
                    <a:pt x="341" y="210"/>
                    <a:pt x="342" y="208"/>
                    <a:pt x="343" y="204"/>
                  </a:cubicBezTo>
                  <a:cubicBezTo>
                    <a:pt x="342" y="203"/>
                    <a:pt x="342" y="204"/>
                    <a:pt x="341" y="202"/>
                  </a:cubicBezTo>
                  <a:cubicBezTo>
                    <a:pt x="343" y="200"/>
                    <a:pt x="347" y="200"/>
                    <a:pt x="343" y="197"/>
                  </a:cubicBezTo>
                  <a:cubicBezTo>
                    <a:pt x="344" y="195"/>
                    <a:pt x="347" y="194"/>
                    <a:pt x="345" y="189"/>
                  </a:cubicBezTo>
                  <a:cubicBezTo>
                    <a:pt x="345" y="187"/>
                    <a:pt x="343" y="186"/>
                    <a:pt x="342" y="185"/>
                  </a:cubicBezTo>
                  <a:cubicBezTo>
                    <a:pt x="341" y="184"/>
                    <a:pt x="340" y="179"/>
                    <a:pt x="340" y="179"/>
                  </a:cubicBezTo>
                  <a:cubicBezTo>
                    <a:pt x="340" y="175"/>
                    <a:pt x="340" y="169"/>
                    <a:pt x="341" y="167"/>
                  </a:cubicBezTo>
                  <a:cubicBezTo>
                    <a:pt x="341" y="165"/>
                    <a:pt x="341" y="165"/>
                    <a:pt x="341" y="165"/>
                  </a:cubicBezTo>
                  <a:cubicBezTo>
                    <a:pt x="340" y="165"/>
                    <a:pt x="341" y="161"/>
                    <a:pt x="341" y="161"/>
                  </a:cubicBezTo>
                  <a:cubicBezTo>
                    <a:pt x="339" y="160"/>
                    <a:pt x="339" y="160"/>
                    <a:pt x="339" y="160"/>
                  </a:cubicBezTo>
                  <a:cubicBezTo>
                    <a:pt x="339" y="159"/>
                    <a:pt x="340" y="158"/>
                    <a:pt x="339" y="157"/>
                  </a:cubicBezTo>
                  <a:cubicBezTo>
                    <a:pt x="339" y="156"/>
                    <a:pt x="338" y="156"/>
                    <a:pt x="337" y="156"/>
                  </a:cubicBezTo>
                  <a:cubicBezTo>
                    <a:pt x="336" y="155"/>
                    <a:pt x="336" y="153"/>
                    <a:pt x="335" y="152"/>
                  </a:cubicBezTo>
                  <a:cubicBezTo>
                    <a:pt x="335" y="151"/>
                    <a:pt x="332" y="151"/>
                    <a:pt x="332" y="150"/>
                  </a:cubicBezTo>
                  <a:cubicBezTo>
                    <a:pt x="331" y="149"/>
                    <a:pt x="332" y="148"/>
                    <a:pt x="332" y="147"/>
                  </a:cubicBezTo>
                  <a:cubicBezTo>
                    <a:pt x="332" y="146"/>
                    <a:pt x="330" y="144"/>
                    <a:pt x="329" y="143"/>
                  </a:cubicBezTo>
                  <a:cubicBezTo>
                    <a:pt x="328" y="142"/>
                    <a:pt x="324" y="140"/>
                    <a:pt x="323" y="139"/>
                  </a:cubicBezTo>
                  <a:cubicBezTo>
                    <a:pt x="322" y="136"/>
                    <a:pt x="324" y="130"/>
                    <a:pt x="322" y="127"/>
                  </a:cubicBezTo>
                  <a:cubicBezTo>
                    <a:pt x="321" y="127"/>
                    <a:pt x="321" y="127"/>
                    <a:pt x="321" y="127"/>
                  </a:cubicBezTo>
                  <a:cubicBezTo>
                    <a:pt x="318" y="123"/>
                    <a:pt x="318" y="123"/>
                    <a:pt x="318" y="123"/>
                  </a:cubicBezTo>
                  <a:cubicBezTo>
                    <a:pt x="317" y="123"/>
                    <a:pt x="315" y="126"/>
                    <a:pt x="313" y="123"/>
                  </a:cubicBezTo>
                  <a:cubicBezTo>
                    <a:pt x="311" y="119"/>
                    <a:pt x="314" y="118"/>
                    <a:pt x="313" y="114"/>
                  </a:cubicBezTo>
                  <a:cubicBezTo>
                    <a:pt x="312" y="113"/>
                    <a:pt x="312" y="113"/>
                    <a:pt x="312" y="113"/>
                  </a:cubicBezTo>
                  <a:cubicBezTo>
                    <a:pt x="311" y="112"/>
                    <a:pt x="312" y="111"/>
                    <a:pt x="311" y="110"/>
                  </a:cubicBezTo>
                  <a:cubicBezTo>
                    <a:pt x="309" y="105"/>
                    <a:pt x="304" y="110"/>
                    <a:pt x="307" y="100"/>
                  </a:cubicBezTo>
                  <a:cubicBezTo>
                    <a:pt x="306" y="99"/>
                    <a:pt x="304" y="97"/>
                    <a:pt x="302" y="96"/>
                  </a:cubicBezTo>
                  <a:cubicBezTo>
                    <a:pt x="302" y="96"/>
                    <a:pt x="302" y="94"/>
                    <a:pt x="302" y="94"/>
                  </a:cubicBezTo>
                  <a:cubicBezTo>
                    <a:pt x="297" y="92"/>
                    <a:pt x="297" y="92"/>
                    <a:pt x="297" y="92"/>
                  </a:cubicBezTo>
                  <a:cubicBezTo>
                    <a:pt x="297" y="92"/>
                    <a:pt x="298" y="93"/>
                    <a:pt x="296" y="94"/>
                  </a:cubicBezTo>
                  <a:cubicBezTo>
                    <a:pt x="296" y="93"/>
                    <a:pt x="295" y="93"/>
                    <a:pt x="294" y="92"/>
                  </a:cubicBezTo>
                  <a:cubicBezTo>
                    <a:pt x="294" y="92"/>
                    <a:pt x="294" y="90"/>
                    <a:pt x="294" y="90"/>
                  </a:cubicBezTo>
                  <a:cubicBezTo>
                    <a:pt x="293" y="89"/>
                    <a:pt x="291" y="90"/>
                    <a:pt x="290" y="90"/>
                  </a:cubicBezTo>
                  <a:cubicBezTo>
                    <a:pt x="289" y="89"/>
                    <a:pt x="288" y="88"/>
                    <a:pt x="287" y="88"/>
                  </a:cubicBezTo>
                  <a:cubicBezTo>
                    <a:pt x="285" y="87"/>
                    <a:pt x="285" y="87"/>
                    <a:pt x="285" y="87"/>
                  </a:cubicBezTo>
                  <a:cubicBezTo>
                    <a:pt x="284" y="85"/>
                    <a:pt x="285" y="82"/>
                    <a:pt x="285" y="82"/>
                  </a:cubicBezTo>
                  <a:cubicBezTo>
                    <a:pt x="284" y="77"/>
                    <a:pt x="285" y="74"/>
                    <a:pt x="284" y="68"/>
                  </a:cubicBezTo>
                  <a:cubicBezTo>
                    <a:pt x="284" y="68"/>
                    <a:pt x="282" y="66"/>
                    <a:pt x="282" y="66"/>
                  </a:cubicBezTo>
                  <a:cubicBezTo>
                    <a:pt x="282" y="65"/>
                    <a:pt x="282" y="63"/>
                    <a:pt x="282" y="62"/>
                  </a:cubicBezTo>
                  <a:cubicBezTo>
                    <a:pt x="282" y="61"/>
                    <a:pt x="277" y="58"/>
                    <a:pt x="277" y="56"/>
                  </a:cubicBezTo>
                  <a:cubicBezTo>
                    <a:pt x="276" y="54"/>
                    <a:pt x="277" y="45"/>
                    <a:pt x="277" y="42"/>
                  </a:cubicBezTo>
                  <a:cubicBezTo>
                    <a:pt x="276" y="42"/>
                    <a:pt x="277" y="41"/>
                    <a:pt x="277" y="41"/>
                  </a:cubicBezTo>
                  <a:cubicBezTo>
                    <a:pt x="276" y="41"/>
                    <a:pt x="275" y="41"/>
                    <a:pt x="275" y="42"/>
                  </a:cubicBezTo>
                  <a:cubicBezTo>
                    <a:pt x="273" y="39"/>
                    <a:pt x="272" y="37"/>
                    <a:pt x="270" y="34"/>
                  </a:cubicBezTo>
                  <a:cubicBezTo>
                    <a:pt x="268" y="36"/>
                    <a:pt x="266" y="37"/>
                    <a:pt x="265" y="39"/>
                  </a:cubicBezTo>
                  <a:cubicBezTo>
                    <a:pt x="264" y="38"/>
                    <a:pt x="263" y="37"/>
                    <a:pt x="262" y="37"/>
                  </a:cubicBezTo>
                  <a:cubicBezTo>
                    <a:pt x="262" y="33"/>
                    <a:pt x="263" y="30"/>
                    <a:pt x="264" y="28"/>
                  </a:cubicBezTo>
                  <a:cubicBezTo>
                    <a:pt x="264" y="26"/>
                    <a:pt x="264" y="26"/>
                    <a:pt x="264" y="26"/>
                  </a:cubicBezTo>
                  <a:cubicBezTo>
                    <a:pt x="262" y="25"/>
                    <a:pt x="263" y="21"/>
                    <a:pt x="262" y="19"/>
                  </a:cubicBezTo>
                  <a:cubicBezTo>
                    <a:pt x="261" y="18"/>
                    <a:pt x="259" y="17"/>
                    <a:pt x="258" y="16"/>
                  </a:cubicBezTo>
                  <a:cubicBezTo>
                    <a:pt x="258" y="15"/>
                    <a:pt x="259" y="13"/>
                    <a:pt x="258" y="12"/>
                  </a:cubicBezTo>
                  <a:cubicBezTo>
                    <a:pt x="258" y="11"/>
                    <a:pt x="256" y="11"/>
                    <a:pt x="256" y="10"/>
                  </a:cubicBezTo>
                  <a:cubicBezTo>
                    <a:pt x="255" y="10"/>
                    <a:pt x="256" y="8"/>
                    <a:pt x="256" y="7"/>
                  </a:cubicBezTo>
                  <a:cubicBezTo>
                    <a:pt x="255" y="6"/>
                    <a:pt x="253" y="6"/>
                    <a:pt x="253" y="5"/>
                  </a:cubicBezTo>
                  <a:cubicBezTo>
                    <a:pt x="252" y="4"/>
                    <a:pt x="252" y="2"/>
                    <a:pt x="252" y="0"/>
                  </a:cubicBezTo>
                  <a:cubicBezTo>
                    <a:pt x="250" y="0"/>
                    <a:pt x="250" y="0"/>
                    <a:pt x="250" y="0"/>
                  </a:cubicBezTo>
                  <a:cubicBezTo>
                    <a:pt x="250" y="2"/>
                    <a:pt x="249" y="1"/>
                    <a:pt x="248" y="1"/>
                  </a:cubicBezTo>
                  <a:cubicBezTo>
                    <a:pt x="248" y="5"/>
                    <a:pt x="249" y="7"/>
                    <a:pt x="248" y="11"/>
                  </a:cubicBezTo>
                  <a:cubicBezTo>
                    <a:pt x="247" y="12"/>
                    <a:pt x="245" y="14"/>
                    <a:pt x="245" y="15"/>
                  </a:cubicBezTo>
                  <a:cubicBezTo>
                    <a:pt x="245" y="16"/>
                    <a:pt x="246" y="16"/>
                    <a:pt x="246" y="16"/>
                  </a:cubicBezTo>
                  <a:cubicBezTo>
                    <a:pt x="246" y="26"/>
                    <a:pt x="246" y="26"/>
                    <a:pt x="246" y="26"/>
                  </a:cubicBezTo>
                  <a:cubicBezTo>
                    <a:pt x="246" y="28"/>
                    <a:pt x="244" y="28"/>
                    <a:pt x="244" y="32"/>
                  </a:cubicBezTo>
                  <a:cubicBezTo>
                    <a:pt x="243" y="34"/>
                    <a:pt x="244" y="40"/>
                    <a:pt x="245" y="43"/>
                  </a:cubicBezTo>
                  <a:cubicBezTo>
                    <a:pt x="245" y="43"/>
                    <a:pt x="246" y="45"/>
                    <a:pt x="246" y="46"/>
                  </a:cubicBezTo>
                  <a:cubicBezTo>
                    <a:pt x="246" y="46"/>
                    <a:pt x="244" y="47"/>
                    <a:pt x="244" y="48"/>
                  </a:cubicBezTo>
                  <a:cubicBezTo>
                    <a:pt x="244" y="50"/>
                    <a:pt x="245" y="52"/>
                    <a:pt x="244" y="54"/>
                  </a:cubicBezTo>
                  <a:cubicBezTo>
                    <a:pt x="244" y="55"/>
                    <a:pt x="242" y="57"/>
                    <a:pt x="241" y="58"/>
                  </a:cubicBezTo>
                  <a:cubicBezTo>
                    <a:pt x="244" y="61"/>
                    <a:pt x="239" y="65"/>
                    <a:pt x="239" y="66"/>
                  </a:cubicBezTo>
                  <a:cubicBezTo>
                    <a:pt x="239" y="68"/>
                    <a:pt x="239" y="70"/>
                    <a:pt x="239" y="72"/>
                  </a:cubicBezTo>
                  <a:cubicBezTo>
                    <a:pt x="237" y="72"/>
                    <a:pt x="232" y="74"/>
                    <a:pt x="229" y="73"/>
                  </a:cubicBezTo>
                  <a:cubicBezTo>
                    <a:pt x="229" y="72"/>
                    <a:pt x="229" y="72"/>
                    <a:pt x="229" y="72"/>
                  </a:cubicBezTo>
                  <a:cubicBezTo>
                    <a:pt x="228" y="72"/>
                    <a:pt x="228" y="72"/>
                    <a:pt x="228" y="72"/>
                  </a:cubicBezTo>
                  <a:cubicBezTo>
                    <a:pt x="228" y="70"/>
                    <a:pt x="226" y="66"/>
                    <a:pt x="225" y="65"/>
                  </a:cubicBezTo>
                  <a:cubicBezTo>
                    <a:pt x="224" y="64"/>
                    <a:pt x="222" y="64"/>
                    <a:pt x="220" y="64"/>
                  </a:cubicBezTo>
                  <a:cubicBezTo>
                    <a:pt x="218" y="62"/>
                    <a:pt x="216" y="57"/>
                    <a:pt x="214" y="56"/>
                  </a:cubicBezTo>
                  <a:cubicBezTo>
                    <a:pt x="212" y="55"/>
                    <a:pt x="211" y="56"/>
                    <a:pt x="210" y="55"/>
                  </a:cubicBezTo>
                  <a:cubicBezTo>
                    <a:pt x="208" y="54"/>
                    <a:pt x="208" y="52"/>
                    <a:pt x="206" y="52"/>
                  </a:cubicBezTo>
                  <a:cubicBezTo>
                    <a:pt x="205" y="51"/>
                    <a:pt x="203" y="52"/>
                    <a:pt x="202" y="52"/>
                  </a:cubicBezTo>
                  <a:cubicBezTo>
                    <a:pt x="202" y="51"/>
                    <a:pt x="201" y="48"/>
                    <a:pt x="200" y="48"/>
                  </a:cubicBezTo>
                  <a:cubicBezTo>
                    <a:pt x="199" y="47"/>
                    <a:pt x="198" y="47"/>
                    <a:pt x="197" y="47"/>
                  </a:cubicBezTo>
                  <a:cubicBezTo>
                    <a:pt x="196" y="46"/>
                    <a:pt x="194" y="45"/>
                    <a:pt x="193" y="44"/>
                  </a:cubicBezTo>
                  <a:cubicBezTo>
                    <a:pt x="194" y="40"/>
                    <a:pt x="193" y="38"/>
                    <a:pt x="194" y="34"/>
                  </a:cubicBezTo>
                  <a:cubicBezTo>
                    <a:pt x="194" y="34"/>
                    <a:pt x="196" y="33"/>
                    <a:pt x="196" y="33"/>
                  </a:cubicBezTo>
                  <a:cubicBezTo>
                    <a:pt x="197" y="31"/>
                    <a:pt x="196" y="28"/>
                    <a:pt x="196" y="25"/>
                  </a:cubicBezTo>
                  <a:cubicBezTo>
                    <a:pt x="203" y="27"/>
                    <a:pt x="202" y="26"/>
                    <a:pt x="200" y="20"/>
                  </a:cubicBezTo>
                  <a:cubicBezTo>
                    <a:pt x="202" y="19"/>
                    <a:pt x="204" y="18"/>
                    <a:pt x="206" y="17"/>
                  </a:cubicBezTo>
                  <a:cubicBezTo>
                    <a:pt x="206" y="17"/>
                    <a:pt x="205" y="15"/>
                    <a:pt x="206" y="14"/>
                  </a:cubicBezTo>
                  <a:cubicBezTo>
                    <a:pt x="205" y="14"/>
                    <a:pt x="204" y="15"/>
                    <a:pt x="204" y="15"/>
                  </a:cubicBezTo>
                  <a:cubicBezTo>
                    <a:pt x="203" y="14"/>
                    <a:pt x="204" y="14"/>
                    <a:pt x="203" y="14"/>
                  </a:cubicBezTo>
                  <a:cubicBezTo>
                    <a:pt x="203" y="12"/>
                    <a:pt x="204" y="12"/>
                    <a:pt x="204" y="10"/>
                  </a:cubicBezTo>
                  <a:cubicBezTo>
                    <a:pt x="202" y="12"/>
                    <a:pt x="201" y="12"/>
                    <a:pt x="198" y="13"/>
                  </a:cubicBezTo>
                  <a:cubicBezTo>
                    <a:pt x="198" y="13"/>
                    <a:pt x="198" y="15"/>
                    <a:pt x="198" y="15"/>
                  </a:cubicBezTo>
                  <a:cubicBezTo>
                    <a:pt x="198" y="14"/>
                    <a:pt x="195" y="11"/>
                    <a:pt x="194" y="11"/>
                  </a:cubicBezTo>
                  <a:cubicBezTo>
                    <a:pt x="192" y="11"/>
                    <a:pt x="191" y="12"/>
                    <a:pt x="190" y="12"/>
                  </a:cubicBezTo>
                  <a:cubicBezTo>
                    <a:pt x="188" y="13"/>
                    <a:pt x="188" y="11"/>
                    <a:pt x="187" y="11"/>
                  </a:cubicBezTo>
                  <a:cubicBezTo>
                    <a:pt x="185" y="11"/>
                    <a:pt x="184" y="12"/>
                    <a:pt x="182" y="12"/>
                  </a:cubicBezTo>
                  <a:cubicBezTo>
                    <a:pt x="181" y="10"/>
                    <a:pt x="181" y="10"/>
                    <a:pt x="181" y="10"/>
                  </a:cubicBezTo>
                  <a:cubicBezTo>
                    <a:pt x="179" y="9"/>
                    <a:pt x="178" y="11"/>
                    <a:pt x="177" y="10"/>
                  </a:cubicBezTo>
                  <a:cubicBezTo>
                    <a:pt x="176" y="10"/>
                    <a:pt x="176" y="8"/>
                    <a:pt x="175" y="7"/>
                  </a:cubicBezTo>
                  <a:cubicBezTo>
                    <a:pt x="173" y="8"/>
                    <a:pt x="172" y="8"/>
                    <a:pt x="170" y="9"/>
                  </a:cubicBezTo>
                  <a:cubicBezTo>
                    <a:pt x="167" y="2"/>
                    <a:pt x="168" y="7"/>
                    <a:pt x="162" y="4"/>
                  </a:cubicBezTo>
                  <a:cubicBezTo>
                    <a:pt x="162" y="4"/>
                    <a:pt x="161" y="5"/>
                    <a:pt x="161" y="5"/>
                  </a:cubicBezTo>
                  <a:cubicBezTo>
                    <a:pt x="162" y="6"/>
                    <a:pt x="164" y="8"/>
                    <a:pt x="164" y="8"/>
                  </a:cubicBezTo>
                  <a:cubicBezTo>
                    <a:pt x="165" y="9"/>
                    <a:pt x="166" y="8"/>
                    <a:pt x="167" y="8"/>
                  </a:cubicBezTo>
                  <a:cubicBezTo>
                    <a:pt x="169" y="9"/>
                    <a:pt x="169" y="12"/>
                    <a:pt x="170" y="14"/>
                  </a:cubicBezTo>
                  <a:cubicBezTo>
                    <a:pt x="169" y="14"/>
                    <a:pt x="169" y="14"/>
                    <a:pt x="169" y="14"/>
                  </a:cubicBezTo>
                  <a:cubicBezTo>
                    <a:pt x="169" y="15"/>
                    <a:pt x="168" y="16"/>
                    <a:pt x="168" y="17"/>
                  </a:cubicBezTo>
                  <a:cubicBezTo>
                    <a:pt x="166" y="16"/>
                    <a:pt x="162" y="13"/>
                    <a:pt x="158" y="14"/>
                  </a:cubicBezTo>
                  <a:cubicBezTo>
                    <a:pt x="158" y="15"/>
                    <a:pt x="158" y="16"/>
                    <a:pt x="157" y="16"/>
                  </a:cubicBezTo>
                  <a:cubicBezTo>
                    <a:pt x="156" y="13"/>
                    <a:pt x="157" y="14"/>
                    <a:pt x="156" y="13"/>
                  </a:cubicBezTo>
                  <a:cubicBezTo>
                    <a:pt x="152" y="17"/>
                    <a:pt x="154" y="17"/>
                    <a:pt x="150" y="15"/>
                  </a:cubicBezTo>
                  <a:cubicBezTo>
                    <a:pt x="150" y="16"/>
                    <a:pt x="151" y="18"/>
                    <a:pt x="151" y="18"/>
                  </a:cubicBezTo>
                  <a:cubicBezTo>
                    <a:pt x="150" y="19"/>
                    <a:pt x="147" y="20"/>
                    <a:pt x="147" y="20"/>
                  </a:cubicBezTo>
                  <a:cubicBezTo>
                    <a:pt x="147" y="21"/>
                    <a:pt x="146" y="22"/>
                    <a:pt x="147" y="22"/>
                  </a:cubicBezTo>
                  <a:cubicBezTo>
                    <a:pt x="148" y="23"/>
                    <a:pt x="149" y="25"/>
                    <a:pt x="150" y="26"/>
                  </a:cubicBezTo>
                  <a:cubicBezTo>
                    <a:pt x="144" y="26"/>
                    <a:pt x="145" y="27"/>
                    <a:pt x="144" y="33"/>
                  </a:cubicBezTo>
                  <a:cubicBezTo>
                    <a:pt x="142" y="33"/>
                    <a:pt x="143" y="33"/>
                    <a:pt x="141" y="33"/>
                  </a:cubicBezTo>
                  <a:cubicBezTo>
                    <a:pt x="141" y="33"/>
                    <a:pt x="140" y="40"/>
                    <a:pt x="142" y="41"/>
                  </a:cubicBezTo>
                  <a:cubicBezTo>
                    <a:pt x="143" y="41"/>
                    <a:pt x="144" y="41"/>
                    <a:pt x="144" y="42"/>
                  </a:cubicBezTo>
                  <a:cubicBezTo>
                    <a:pt x="144" y="42"/>
                    <a:pt x="143" y="44"/>
                    <a:pt x="144" y="44"/>
                  </a:cubicBezTo>
                  <a:cubicBezTo>
                    <a:pt x="142" y="44"/>
                    <a:pt x="139" y="44"/>
                    <a:pt x="139" y="44"/>
                  </a:cubicBezTo>
                  <a:cubicBezTo>
                    <a:pt x="138" y="42"/>
                    <a:pt x="138" y="42"/>
                    <a:pt x="138" y="42"/>
                  </a:cubicBezTo>
                  <a:cubicBezTo>
                    <a:pt x="132" y="40"/>
                    <a:pt x="131" y="39"/>
                    <a:pt x="131" y="47"/>
                  </a:cubicBezTo>
                  <a:cubicBezTo>
                    <a:pt x="129" y="47"/>
                    <a:pt x="129" y="46"/>
                    <a:pt x="129" y="48"/>
                  </a:cubicBezTo>
                  <a:cubicBezTo>
                    <a:pt x="126" y="48"/>
                    <a:pt x="129" y="43"/>
                    <a:pt x="129" y="43"/>
                  </a:cubicBezTo>
                  <a:cubicBezTo>
                    <a:pt x="129" y="43"/>
                    <a:pt x="129" y="39"/>
                    <a:pt x="129" y="38"/>
                  </a:cubicBezTo>
                  <a:cubicBezTo>
                    <a:pt x="128" y="38"/>
                    <a:pt x="128" y="38"/>
                    <a:pt x="128" y="38"/>
                  </a:cubicBezTo>
                  <a:cubicBezTo>
                    <a:pt x="127" y="37"/>
                    <a:pt x="127" y="36"/>
                    <a:pt x="127" y="35"/>
                  </a:cubicBezTo>
                  <a:cubicBezTo>
                    <a:pt x="125" y="35"/>
                    <a:pt x="125" y="35"/>
                    <a:pt x="125" y="35"/>
                  </a:cubicBezTo>
                  <a:cubicBezTo>
                    <a:pt x="125" y="34"/>
                    <a:pt x="125" y="33"/>
                    <a:pt x="125" y="32"/>
                  </a:cubicBezTo>
                  <a:cubicBezTo>
                    <a:pt x="122" y="28"/>
                    <a:pt x="117" y="31"/>
                    <a:pt x="114" y="33"/>
                  </a:cubicBezTo>
                  <a:cubicBezTo>
                    <a:pt x="114" y="32"/>
                    <a:pt x="115" y="31"/>
                    <a:pt x="113" y="31"/>
                  </a:cubicBezTo>
                  <a:cubicBezTo>
                    <a:pt x="113" y="34"/>
                    <a:pt x="113" y="35"/>
                    <a:pt x="113" y="38"/>
                  </a:cubicBezTo>
                  <a:cubicBezTo>
                    <a:pt x="112" y="38"/>
                    <a:pt x="111" y="37"/>
                    <a:pt x="111" y="37"/>
                  </a:cubicBezTo>
                  <a:cubicBezTo>
                    <a:pt x="111" y="37"/>
                    <a:pt x="111" y="35"/>
                    <a:pt x="111" y="35"/>
                  </a:cubicBezTo>
                  <a:cubicBezTo>
                    <a:pt x="110" y="35"/>
                    <a:pt x="109" y="38"/>
                    <a:pt x="109" y="38"/>
                  </a:cubicBezTo>
                  <a:cubicBezTo>
                    <a:pt x="109" y="39"/>
                    <a:pt x="108" y="38"/>
                    <a:pt x="107" y="38"/>
                  </a:cubicBezTo>
                  <a:cubicBezTo>
                    <a:pt x="107" y="39"/>
                    <a:pt x="106" y="41"/>
                    <a:pt x="107" y="40"/>
                  </a:cubicBezTo>
                  <a:cubicBezTo>
                    <a:pt x="107" y="42"/>
                    <a:pt x="107" y="41"/>
                    <a:pt x="108" y="41"/>
                  </a:cubicBezTo>
                  <a:cubicBezTo>
                    <a:pt x="108" y="41"/>
                    <a:pt x="108" y="43"/>
                    <a:pt x="108" y="43"/>
                  </a:cubicBezTo>
                  <a:cubicBezTo>
                    <a:pt x="106" y="44"/>
                    <a:pt x="105" y="44"/>
                    <a:pt x="105" y="44"/>
                  </a:cubicBezTo>
                  <a:cubicBezTo>
                    <a:pt x="105" y="44"/>
                    <a:pt x="105" y="44"/>
                    <a:pt x="106" y="47"/>
                  </a:cubicBezTo>
                  <a:cubicBezTo>
                    <a:pt x="102" y="46"/>
                    <a:pt x="104" y="46"/>
                    <a:pt x="99" y="47"/>
                  </a:cubicBezTo>
                  <a:cubicBezTo>
                    <a:pt x="101" y="52"/>
                    <a:pt x="100" y="53"/>
                    <a:pt x="98" y="56"/>
                  </a:cubicBezTo>
                  <a:cubicBezTo>
                    <a:pt x="97" y="55"/>
                    <a:pt x="96" y="56"/>
                    <a:pt x="95" y="55"/>
                  </a:cubicBezTo>
                  <a:cubicBezTo>
                    <a:pt x="95" y="55"/>
                    <a:pt x="95" y="53"/>
                    <a:pt x="95" y="53"/>
                  </a:cubicBezTo>
                  <a:cubicBezTo>
                    <a:pt x="93" y="53"/>
                    <a:pt x="93" y="53"/>
                    <a:pt x="93" y="53"/>
                  </a:cubicBezTo>
                  <a:cubicBezTo>
                    <a:pt x="92" y="54"/>
                    <a:pt x="93" y="54"/>
                    <a:pt x="91" y="54"/>
                  </a:cubicBezTo>
                  <a:cubicBezTo>
                    <a:pt x="91" y="57"/>
                    <a:pt x="90" y="60"/>
                    <a:pt x="91" y="62"/>
                  </a:cubicBezTo>
                  <a:cubicBezTo>
                    <a:pt x="92" y="63"/>
                    <a:pt x="93" y="64"/>
                    <a:pt x="93" y="64"/>
                  </a:cubicBezTo>
                  <a:cubicBezTo>
                    <a:pt x="92" y="65"/>
                    <a:pt x="92" y="65"/>
                    <a:pt x="91" y="65"/>
                  </a:cubicBezTo>
                  <a:cubicBezTo>
                    <a:pt x="91" y="65"/>
                    <a:pt x="91" y="67"/>
                    <a:pt x="91" y="68"/>
                  </a:cubicBezTo>
                  <a:cubicBezTo>
                    <a:pt x="90" y="66"/>
                    <a:pt x="88" y="65"/>
                    <a:pt x="87" y="64"/>
                  </a:cubicBezTo>
                  <a:cubicBezTo>
                    <a:pt x="87" y="62"/>
                    <a:pt x="88" y="60"/>
                    <a:pt x="87" y="58"/>
                  </a:cubicBezTo>
                  <a:cubicBezTo>
                    <a:pt x="86" y="58"/>
                    <a:pt x="85" y="58"/>
                    <a:pt x="85" y="58"/>
                  </a:cubicBezTo>
                  <a:cubicBezTo>
                    <a:pt x="84" y="58"/>
                    <a:pt x="85" y="60"/>
                    <a:pt x="85" y="60"/>
                  </a:cubicBezTo>
                  <a:cubicBezTo>
                    <a:pt x="85" y="60"/>
                    <a:pt x="81" y="62"/>
                    <a:pt x="81" y="62"/>
                  </a:cubicBezTo>
                  <a:cubicBezTo>
                    <a:pt x="78" y="66"/>
                    <a:pt x="81" y="69"/>
                    <a:pt x="80" y="72"/>
                  </a:cubicBezTo>
                  <a:cubicBezTo>
                    <a:pt x="79" y="72"/>
                    <a:pt x="79" y="72"/>
                    <a:pt x="79" y="72"/>
                  </a:cubicBezTo>
                  <a:cubicBezTo>
                    <a:pt x="78" y="73"/>
                    <a:pt x="79" y="74"/>
                    <a:pt x="78" y="75"/>
                  </a:cubicBezTo>
                  <a:cubicBezTo>
                    <a:pt x="79" y="75"/>
                    <a:pt x="79" y="75"/>
                    <a:pt x="79" y="75"/>
                  </a:cubicBezTo>
                  <a:cubicBezTo>
                    <a:pt x="79" y="75"/>
                    <a:pt x="80" y="77"/>
                    <a:pt x="80" y="78"/>
                  </a:cubicBezTo>
                  <a:cubicBezTo>
                    <a:pt x="79" y="79"/>
                    <a:pt x="76" y="79"/>
                    <a:pt x="75" y="81"/>
                  </a:cubicBezTo>
                  <a:cubicBezTo>
                    <a:pt x="74" y="81"/>
                    <a:pt x="75" y="82"/>
                    <a:pt x="75" y="83"/>
                  </a:cubicBezTo>
                  <a:cubicBezTo>
                    <a:pt x="75" y="83"/>
                    <a:pt x="69" y="90"/>
                    <a:pt x="69" y="90"/>
                  </a:cubicBezTo>
                  <a:cubicBezTo>
                    <a:pt x="66" y="92"/>
                    <a:pt x="64" y="91"/>
                    <a:pt x="59" y="92"/>
                  </a:cubicBezTo>
                  <a:cubicBezTo>
                    <a:pt x="58" y="93"/>
                    <a:pt x="56" y="95"/>
                    <a:pt x="55" y="95"/>
                  </a:cubicBezTo>
                  <a:cubicBezTo>
                    <a:pt x="54" y="95"/>
                    <a:pt x="52" y="94"/>
                    <a:pt x="51" y="94"/>
                  </a:cubicBezTo>
                  <a:cubicBezTo>
                    <a:pt x="49" y="95"/>
                    <a:pt x="49" y="99"/>
                    <a:pt x="47" y="100"/>
                  </a:cubicBezTo>
                  <a:cubicBezTo>
                    <a:pt x="46" y="101"/>
                    <a:pt x="44" y="100"/>
                    <a:pt x="43" y="101"/>
                  </a:cubicBezTo>
                  <a:cubicBezTo>
                    <a:pt x="42" y="101"/>
                    <a:pt x="42" y="103"/>
                    <a:pt x="42" y="103"/>
                  </a:cubicBezTo>
                  <a:cubicBezTo>
                    <a:pt x="39" y="105"/>
                    <a:pt x="35" y="103"/>
                    <a:pt x="33" y="102"/>
                  </a:cubicBezTo>
                  <a:cubicBezTo>
                    <a:pt x="32" y="103"/>
                    <a:pt x="32" y="104"/>
                    <a:pt x="32" y="106"/>
                  </a:cubicBezTo>
                  <a:cubicBezTo>
                    <a:pt x="31" y="105"/>
                    <a:pt x="27" y="105"/>
                    <a:pt x="27" y="106"/>
                  </a:cubicBezTo>
                  <a:cubicBezTo>
                    <a:pt x="25" y="106"/>
                    <a:pt x="24" y="111"/>
                    <a:pt x="22" y="112"/>
                  </a:cubicBezTo>
                  <a:cubicBezTo>
                    <a:pt x="21" y="112"/>
                    <a:pt x="21" y="112"/>
                    <a:pt x="21" y="112"/>
                  </a:cubicBezTo>
                  <a:cubicBezTo>
                    <a:pt x="20" y="112"/>
                    <a:pt x="21" y="114"/>
                    <a:pt x="20" y="114"/>
                  </a:cubicBezTo>
                  <a:cubicBezTo>
                    <a:pt x="20" y="114"/>
                    <a:pt x="19" y="114"/>
                    <a:pt x="18" y="114"/>
                  </a:cubicBezTo>
                  <a:cubicBezTo>
                    <a:pt x="16" y="115"/>
                    <a:pt x="15" y="119"/>
                    <a:pt x="14" y="120"/>
                  </a:cubicBezTo>
                  <a:cubicBezTo>
                    <a:pt x="12" y="121"/>
                    <a:pt x="10" y="122"/>
                    <a:pt x="8" y="123"/>
                  </a:cubicBezTo>
                  <a:cubicBezTo>
                    <a:pt x="8" y="122"/>
                    <a:pt x="7" y="121"/>
                    <a:pt x="8" y="121"/>
                  </a:cubicBezTo>
                  <a:cubicBezTo>
                    <a:pt x="9" y="120"/>
                    <a:pt x="8" y="118"/>
                    <a:pt x="8" y="118"/>
                  </a:cubicBezTo>
                  <a:cubicBezTo>
                    <a:pt x="8" y="118"/>
                    <a:pt x="9" y="117"/>
                    <a:pt x="8" y="117"/>
                  </a:cubicBezTo>
                  <a:cubicBezTo>
                    <a:pt x="6" y="119"/>
                    <a:pt x="7" y="123"/>
                    <a:pt x="4" y="124"/>
                  </a:cubicBezTo>
                  <a:cubicBezTo>
                    <a:pt x="4" y="124"/>
                    <a:pt x="6" y="128"/>
                    <a:pt x="6" y="128"/>
                  </a:cubicBezTo>
                  <a:cubicBezTo>
                    <a:pt x="7" y="127"/>
                    <a:pt x="6" y="132"/>
                    <a:pt x="6" y="133"/>
                  </a:cubicBezTo>
                  <a:cubicBezTo>
                    <a:pt x="6" y="132"/>
                    <a:pt x="6" y="134"/>
                    <a:pt x="6" y="134"/>
                  </a:cubicBezTo>
                  <a:cubicBezTo>
                    <a:pt x="7" y="137"/>
                    <a:pt x="5" y="139"/>
                    <a:pt x="4" y="141"/>
                  </a:cubicBezTo>
                  <a:cubicBezTo>
                    <a:pt x="4" y="141"/>
                    <a:pt x="2" y="141"/>
                    <a:pt x="2" y="141"/>
                  </a:cubicBezTo>
                  <a:cubicBezTo>
                    <a:pt x="1" y="143"/>
                    <a:pt x="1" y="143"/>
                    <a:pt x="1" y="143"/>
                  </a:cubicBezTo>
                  <a:cubicBezTo>
                    <a:pt x="1" y="143"/>
                    <a:pt x="2" y="143"/>
                    <a:pt x="2" y="143"/>
                  </a:cubicBezTo>
                  <a:cubicBezTo>
                    <a:pt x="4" y="145"/>
                    <a:pt x="6" y="146"/>
                    <a:pt x="7" y="148"/>
                  </a:cubicBezTo>
                  <a:cubicBezTo>
                    <a:pt x="8" y="151"/>
                    <a:pt x="7" y="152"/>
                    <a:pt x="7" y="155"/>
                  </a:cubicBezTo>
                  <a:cubicBezTo>
                    <a:pt x="7" y="157"/>
                    <a:pt x="8" y="160"/>
                    <a:pt x="9" y="164"/>
                  </a:cubicBezTo>
                  <a:cubicBezTo>
                    <a:pt x="7" y="163"/>
                    <a:pt x="7" y="164"/>
                    <a:pt x="5" y="163"/>
                  </a:cubicBezTo>
                  <a:cubicBezTo>
                    <a:pt x="5" y="162"/>
                    <a:pt x="5" y="159"/>
                    <a:pt x="5" y="159"/>
                  </a:cubicBezTo>
                  <a:cubicBezTo>
                    <a:pt x="4" y="159"/>
                    <a:pt x="4" y="159"/>
                    <a:pt x="4" y="159"/>
                  </a:cubicBezTo>
                  <a:cubicBezTo>
                    <a:pt x="5" y="164"/>
                    <a:pt x="6" y="165"/>
                    <a:pt x="7" y="169"/>
                  </a:cubicBezTo>
                  <a:cubicBezTo>
                    <a:pt x="7" y="169"/>
                    <a:pt x="5" y="170"/>
                    <a:pt x="5" y="169"/>
                  </a:cubicBezTo>
                  <a:cubicBezTo>
                    <a:pt x="3" y="169"/>
                    <a:pt x="3" y="163"/>
                    <a:pt x="2" y="160"/>
                  </a:cubicBezTo>
                  <a:cubicBezTo>
                    <a:pt x="0" y="159"/>
                    <a:pt x="0" y="159"/>
                    <a:pt x="0" y="159"/>
                  </a:cubicBezTo>
                  <a:cubicBezTo>
                    <a:pt x="1" y="162"/>
                    <a:pt x="1" y="165"/>
                    <a:pt x="2" y="168"/>
                  </a:cubicBezTo>
                  <a:cubicBezTo>
                    <a:pt x="2" y="168"/>
                    <a:pt x="3" y="168"/>
                    <a:pt x="3" y="169"/>
                  </a:cubicBezTo>
                  <a:cubicBezTo>
                    <a:pt x="5" y="172"/>
                    <a:pt x="7" y="173"/>
                    <a:pt x="9" y="176"/>
                  </a:cubicBezTo>
                  <a:cubicBezTo>
                    <a:pt x="10" y="177"/>
                    <a:pt x="9" y="178"/>
                    <a:pt x="10" y="180"/>
                  </a:cubicBezTo>
                  <a:cubicBezTo>
                    <a:pt x="11" y="181"/>
                    <a:pt x="11" y="181"/>
                    <a:pt x="11" y="181"/>
                  </a:cubicBezTo>
                  <a:cubicBezTo>
                    <a:pt x="11" y="182"/>
                    <a:pt x="11" y="182"/>
                    <a:pt x="11" y="182"/>
                  </a:cubicBezTo>
                  <a:cubicBezTo>
                    <a:pt x="10" y="181"/>
                    <a:pt x="10" y="185"/>
                    <a:pt x="10" y="185"/>
                  </a:cubicBezTo>
                  <a:cubicBezTo>
                    <a:pt x="11" y="187"/>
                    <a:pt x="14" y="188"/>
                    <a:pt x="16" y="189"/>
                  </a:cubicBezTo>
                  <a:cubicBezTo>
                    <a:pt x="15" y="191"/>
                    <a:pt x="14" y="193"/>
                    <a:pt x="14" y="194"/>
                  </a:cubicBezTo>
                  <a:cubicBezTo>
                    <a:pt x="15" y="195"/>
                    <a:pt x="19" y="198"/>
                    <a:pt x="19" y="201"/>
                  </a:cubicBezTo>
                  <a:cubicBezTo>
                    <a:pt x="19" y="201"/>
                    <a:pt x="18" y="202"/>
                    <a:pt x="18" y="203"/>
                  </a:cubicBezTo>
                  <a:cubicBezTo>
                    <a:pt x="17" y="205"/>
                    <a:pt x="18" y="209"/>
                    <a:pt x="18" y="211"/>
                  </a:cubicBezTo>
                  <a:cubicBezTo>
                    <a:pt x="19" y="213"/>
                    <a:pt x="20" y="215"/>
                    <a:pt x="21" y="217"/>
                  </a:cubicBezTo>
                  <a:cubicBezTo>
                    <a:pt x="22" y="221"/>
                    <a:pt x="21" y="221"/>
                    <a:pt x="22" y="224"/>
                  </a:cubicBezTo>
                  <a:cubicBezTo>
                    <a:pt x="22" y="224"/>
                    <a:pt x="24" y="227"/>
                    <a:pt x="24" y="227"/>
                  </a:cubicBezTo>
                  <a:cubicBezTo>
                    <a:pt x="24" y="228"/>
                    <a:pt x="22" y="230"/>
                    <a:pt x="22" y="230"/>
                  </a:cubicBezTo>
                  <a:cubicBezTo>
                    <a:pt x="22" y="233"/>
                    <a:pt x="24" y="233"/>
                    <a:pt x="24" y="235"/>
                  </a:cubicBezTo>
                  <a:cubicBezTo>
                    <a:pt x="23" y="236"/>
                    <a:pt x="22" y="237"/>
                    <a:pt x="22" y="237"/>
                  </a:cubicBezTo>
                  <a:cubicBezTo>
                    <a:pt x="21" y="242"/>
                    <a:pt x="22" y="244"/>
                    <a:pt x="22" y="249"/>
                  </a:cubicBezTo>
                  <a:cubicBezTo>
                    <a:pt x="21" y="249"/>
                    <a:pt x="21" y="250"/>
                    <a:pt x="20" y="250"/>
                  </a:cubicBezTo>
                  <a:cubicBezTo>
                    <a:pt x="20" y="249"/>
                    <a:pt x="18" y="247"/>
                    <a:pt x="18" y="247"/>
                  </a:cubicBezTo>
                  <a:cubicBezTo>
                    <a:pt x="17" y="247"/>
                    <a:pt x="15" y="247"/>
                    <a:pt x="16" y="248"/>
                  </a:cubicBezTo>
                  <a:cubicBezTo>
                    <a:pt x="16" y="247"/>
                    <a:pt x="16" y="251"/>
                    <a:pt x="17" y="252"/>
                  </a:cubicBezTo>
                  <a:cubicBezTo>
                    <a:pt x="19" y="256"/>
                    <a:pt x="21" y="254"/>
                    <a:pt x="24" y="257"/>
                  </a:cubicBezTo>
                  <a:cubicBezTo>
                    <a:pt x="25" y="258"/>
                    <a:pt x="26" y="261"/>
                    <a:pt x="27" y="262"/>
                  </a:cubicBezTo>
                  <a:cubicBezTo>
                    <a:pt x="28" y="263"/>
                    <a:pt x="32" y="262"/>
                    <a:pt x="32" y="262"/>
                  </a:cubicBezTo>
                  <a:cubicBezTo>
                    <a:pt x="33" y="262"/>
                    <a:pt x="33" y="262"/>
                    <a:pt x="33" y="262"/>
                  </a:cubicBezTo>
                  <a:cubicBezTo>
                    <a:pt x="34" y="262"/>
                    <a:pt x="36" y="261"/>
                    <a:pt x="37" y="262"/>
                  </a:cubicBezTo>
                  <a:cubicBezTo>
                    <a:pt x="37" y="262"/>
                    <a:pt x="40" y="264"/>
                    <a:pt x="41" y="264"/>
                  </a:cubicBezTo>
                  <a:cubicBezTo>
                    <a:pt x="41" y="264"/>
                    <a:pt x="42" y="262"/>
                    <a:pt x="42" y="262"/>
                  </a:cubicBezTo>
                  <a:cubicBezTo>
                    <a:pt x="42" y="262"/>
                    <a:pt x="43" y="262"/>
                    <a:pt x="44" y="262"/>
                  </a:cubicBezTo>
                  <a:cubicBezTo>
                    <a:pt x="44" y="262"/>
                    <a:pt x="48" y="255"/>
                    <a:pt x="49" y="255"/>
                  </a:cubicBezTo>
                  <a:cubicBezTo>
                    <a:pt x="50" y="255"/>
                    <a:pt x="50" y="255"/>
                    <a:pt x="50" y="255"/>
                  </a:cubicBezTo>
                  <a:cubicBezTo>
                    <a:pt x="50" y="255"/>
                    <a:pt x="51" y="258"/>
                    <a:pt x="51" y="258"/>
                  </a:cubicBezTo>
                  <a:cubicBezTo>
                    <a:pt x="51" y="258"/>
                    <a:pt x="53" y="258"/>
                    <a:pt x="53" y="258"/>
                  </a:cubicBezTo>
                  <a:cubicBezTo>
                    <a:pt x="54" y="256"/>
                    <a:pt x="54" y="256"/>
                    <a:pt x="54" y="254"/>
                  </a:cubicBezTo>
                  <a:cubicBezTo>
                    <a:pt x="54" y="252"/>
                    <a:pt x="54" y="252"/>
                    <a:pt x="54" y="252"/>
                  </a:cubicBezTo>
                  <a:cubicBezTo>
                    <a:pt x="56" y="252"/>
                    <a:pt x="57" y="253"/>
                    <a:pt x="59" y="252"/>
                  </a:cubicBezTo>
                  <a:cubicBezTo>
                    <a:pt x="61" y="251"/>
                    <a:pt x="61" y="251"/>
                    <a:pt x="61" y="251"/>
                  </a:cubicBezTo>
                  <a:cubicBezTo>
                    <a:pt x="63" y="251"/>
                    <a:pt x="62" y="252"/>
                    <a:pt x="64" y="252"/>
                  </a:cubicBezTo>
                  <a:cubicBezTo>
                    <a:pt x="64" y="251"/>
                    <a:pt x="64" y="250"/>
                    <a:pt x="65" y="250"/>
                  </a:cubicBezTo>
                  <a:cubicBezTo>
                    <a:pt x="68" y="249"/>
                    <a:pt x="72" y="251"/>
                    <a:pt x="74" y="251"/>
                  </a:cubicBezTo>
                  <a:cubicBezTo>
                    <a:pt x="74" y="251"/>
                    <a:pt x="75" y="250"/>
                    <a:pt x="77" y="250"/>
                  </a:cubicBezTo>
                  <a:cubicBezTo>
                    <a:pt x="77" y="250"/>
                    <a:pt x="78" y="252"/>
                    <a:pt x="78" y="252"/>
                  </a:cubicBezTo>
                  <a:cubicBezTo>
                    <a:pt x="79" y="252"/>
                    <a:pt x="78" y="251"/>
                    <a:pt x="79" y="250"/>
                  </a:cubicBezTo>
                  <a:cubicBezTo>
                    <a:pt x="80" y="250"/>
                    <a:pt x="82" y="251"/>
                    <a:pt x="83" y="250"/>
                  </a:cubicBezTo>
                  <a:cubicBezTo>
                    <a:pt x="83" y="250"/>
                    <a:pt x="83" y="250"/>
                    <a:pt x="83" y="250"/>
                  </a:cubicBezTo>
                  <a:cubicBezTo>
                    <a:pt x="87" y="249"/>
                    <a:pt x="85" y="251"/>
                    <a:pt x="86" y="251"/>
                  </a:cubicBezTo>
                  <a:cubicBezTo>
                    <a:pt x="88" y="251"/>
                    <a:pt x="87" y="250"/>
                    <a:pt x="88" y="250"/>
                  </a:cubicBezTo>
                  <a:cubicBezTo>
                    <a:pt x="89" y="250"/>
                    <a:pt x="90" y="250"/>
                    <a:pt x="89" y="250"/>
                  </a:cubicBezTo>
                  <a:cubicBezTo>
                    <a:pt x="90" y="250"/>
                    <a:pt x="90" y="250"/>
                    <a:pt x="90" y="250"/>
                  </a:cubicBezTo>
                  <a:cubicBezTo>
                    <a:pt x="92" y="249"/>
                    <a:pt x="94" y="242"/>
                    <a:pt x="96" y="241"/>
                  </a:cubicBezTo>
                  <a:cubicBezTo>
                    <a:pt x="98" y="240"/>
                    <a:pt x="100" y="241"/>
                    <a:pt x="102" y="240"/>
                  </a:cubicBezTo>
                  <a:cubicBezTo>
                    <a:pt x="104" y="236"/>
                    <a:pt x="104" y="236"/>
                    <a:pt x="104" y="236"/>
                  </a:cubicBezTo>
                  <a:cubicBezTo>
                    <a:pt x="105" y="236"/>
                    <a:pt x="106" y="237"/>
                    <a:pt x="106" y="237"/>
                  </a:cubicBezTo>
                  <a:cubicBezTo>
                    <a:pt x="107" y="236"/>
                    <a:pt x="108" y="234"/>
                    <a:pt x="109" y="232"/>
                  </a:cubicBezTo>
                  <a:cubicBezTo>
                    <a:pt x="116" y="233"/>
                    <a:pt x="125" y="232"/>
                    <a:pt x="129" y="230"/>
                  </a:cubicBezTo>
                  <a:cubicBezTo>
                    <a:pt x="129" y="229"/>
                    <a:pt x="129" y="229"/>
                    <a:pt x="129" y="229"/>
                  </a:cubicBezTo>
                  <a:cubicBezTo>
                    <a:pt x="131" y="229"/>
                    <a:pt x="132" y="228"/>
                    <a:pt x="133" y="228"/>
                  </a:cubicBezTo>
                  <a:cubicBezTo>
                    <a:pt x="135" y="227"/>
                    <a:pt x="135" y="229"/>
                    <a:pt x="137" y="229"/>
                  </a:cubicBezTo>
                  <a:cubicBezTo>
                    <a:pt x="138" y="227"/>
                    <a:pt x="138" y="227"/>
                    <a:pt x="138" y="227"/>
                  </a:cubicBezTo>
                  <a:cubicBezTo>
                    <a:pt x="141" y="226"/>
                    <a:pt x="142" y="227"/>
                    <a:pt x="145" y="227"/>
                  </a:cubicBezTo>
                  <a:cubicBezTo>
                    <a:pt x="146" y="225"/>
                    <a:pt x="146" y="225"/>
                    <a:pt x="146" y="225"/>
                  </a:cubicBezTo>
                  <a:cubicBezTo>
                    <a:pt x="148" y="225"/>
                    <a:pt x="149" y="226"/>
                    <a:pt x="151" y="226"/>
                  </a:cubicBezTo>
                  <a:cubicBezTo>
                    <a:pt x="153" y="225"/>
                    <a:pt x="153" y="223"/>
                    <a:pt x="155" y="223"/>
                  </a:cubicBezTo>
                  <a:cubicBezTo>
                    <a:pt x="155" y="223"/>
                    <a:pt x="160" y="226"/>
                    <a:pt x="160" y="227"/>
                  </a:cubicBezTo>
                  <a:cubicBezTo>
                    <a:pt x="162" y="227"/>
                    <a:pt x="162" y="227"/>
                    <a:pt x="162" y="227"/>
                  </a:cubicBezTo>
                  <a:cubicBezTo>
                    <a:pt x="162" y="228"/>
                    <a:pt x="162" y="229"/>
                    <a:pt x="162" y="230"/>
                  </a:cubicBezTo>
                  <a:cubicBezTo>
                    <a:pt x="166" y="229"/>
                    <a:pt x="169" y="228"/>
                    <a:pt x="171" y="230"/>
                  </a:cubicBezTo>
                  <a:cubicBezTo>
                    <a:pt x="172" y="231"/>
                    <a:pt x="172" y="231"/>
                    <a:pt x="172" y="231"/>
                  </a:cubicBezTo>
                  <a:cubicBezTo>
                    <a:pt x="173" y="231"/>
                    <a:pt x="174" y="230"/>
                    <a:pt x="176" y="230"/>
                  </a:cubicBezTo>
                  <a:cubicBezTo>
                    <a:pt x="176" y="231"/>
                    <a:pt x="176" y="231"/>
                    <a:pt x="177" y="232"/>
                  </a:cubicBezTo>
                  <a:cubicBezTo>
                    <a:pt x="177" y="232"/>
                    <a:pt x="177" y="236"/>
                    <a:pt x="177" y="236"/>
                  </a:cubicBezTo>
                  <a:cubicBezTo>
                    <a:pt x="178" y="236"/>
                    <a:pt x="180" y="235"/>
                    <a:pt x="181" y="236"/>
                  </a:cubicBezTo>
                  <a:cubicBezTo>
                    <a:pt x="181" y="236"/>
                    <a:pt x="183" y="238"/>
                    <a:pt x="181" y="238"/>
                  </a:cubicBezTo>
                  <a:cubicBezTo>
                    <a:pt x="181" y="239"/>
                    <a:pt x="180" y="240"/>
                    <a:pt x="179" y="241"/>
                  </a:cubicBezTo>
                  <a:cubicBezTo>
                    <a:pt x="181" y="242"/>
                    <a:pt x="184" y="243"/>
                    <a:pt x="186" y="244"/>
                  </a:cubicBezTo>
                  <a:cubicBezTo>
                    <a:pt x="186" y="247"/>
                    <a:pt x="185" y="250"/>
                    <a:pt x="187" y="252"/>
                  </a:cubicBezTo>
                  <a:cubicBezTo>
                    <a:pt x="187" y="253"/>
                    <a:pt x="189" y="253"/>
                    <a:pt x="190" y="254"/>
                  </a:cubicBezTo>
                  <a:cubicBezTo>
                    <a:pt x="190" y="255"/>
                    <a:pt x="189" y="255"/>
                    <a:pt x="189" y="256"/>
                  </a:cubicBezTo>
                  <a:cubicBezTo>
                    <a:pt x="190" y="257"/>
                    <a:pt x="191" y="257"/>
                    <a:pt x="192" y="258"/>
                  </a:cubicBezTo>
                  <a:cubicBezTo>
                    <a:pt x="193" y="258"/>
                    <a:pt x="193" y="258"/>
                    <a:pt x="195" y="258"/>
                  </a:cubicBezTo>
                  <a:cubicBezTo>
                    <a:pt x="196" y="256"/>
                    <a:pt x="197" y="253"/>
                    <a:pt x="200" y="252"/>
                  </a:cubicBezTo>
                  <a:cubicBezTo>
                    <a:pt x="200" y="250"/>
                    <a:pt x="200" y="250"/>
                    <a:pt x="200" y="250"/>
                  </a:cubicBezTo>
                  <a:cubicBezTo>
                    <a:pt x="201" y="249"/>
                    <a:pt x="207" y="247"/>
                    <a:pt x="208" y="246"/>
                  </a:cubicBezTo>
                  <a:cubicBezTo>
                    <a:pt x="208" y="245"/>
                    <a:pt x="208" y="244"/>
                    <a:pt x="208" y="242"/>
                  </a:cubicBezTo>
                  <a:cubicBezTo>
                    <a:pt x="209" y="242"/>
                    <a:pt x="211" y="242"/>
                    <a:pt x="211" y="241"/>
                  </a:cubicBezTo>
                  <a:cubicBezTo>
                    <a:pt x="211" y="244"/>
                    <a:pt x="211" y="246"/>
                    <a:pt x="210" y="249"/>
                  </a:cubicBezTo>
                  <a:cubicBezTo>
                    <a:pt x="210" y="250"/>
                    <a:pt x="209" y="251"/>
                    <a:pt x="208" y="252"/>
                  </a:cubicBezTo>
                  <a:cubicBezTo>
                    <a:pt x="207" y="255"/>
                    <a:pt x="207" y="258"/>
                    <a:pt x="208" y="262"/>
                  </a:cubicBezTo>
                  <a:cubicBezTo>
                    <a:pt x="207" y="262"/>
                    <a:pt x="206" y="264"/>
                    <a:pt x="205" y="264"/>
                  </a:cubicBezTo>
                  <a:cubicBezTo>
                    <a:pt x="204" y="264"/>
                    <a:pt x="203" y="263"/>
                    <a:pt x="202" y="264"/>
                  </a:cubicBezTo>
                  <a:cubicBezTo>
                    <a:pt x="202" y="264"/>
                    <a:pt x="203" y="266"/>
                    <a:pt x="202" y="266"/>
                  </a:cubicBezTo>
                  <a:cubicBezTo>
                    <a:pt x="204" y="266"/>
                    <a:pt x="203" y="267"/>
                    <a:pt x="204" y="267"/>
                  </a:cubicBezTo>
                  <a:cubicBezTo>
                    <a:pt x="205" y="267"/>
                    <a:pt x="206" y="265"/>
                    <a:pt x="206" y="265"/>
                  </a:cubicBezTo>
                  <a:cubicBezTo>
                    <a:pt x="206" y="265"/>
                    <a:pt x="208" y="266"/>
                    <a:pt x="209" y="265"/>
                  </a:cubicBezTo>
                  <a:cubicBezTo>
                    <a:pt x="211" y="263"/>
                    <a:pt x="209" y="259"/>
                    <a:pt x="211" y="256"/>
                  </a:cubicBezTo>
                  <a:cubicBezTo>
                    <a:pt x="212" y="255"/>
                    <a:pt x="213" y="256"/>
                    <a:pt x="214" y="255"/>
                  </a:cubicBezTo>
                  <a:cubicBezTo>
                    <a:pt x="215" y="256"/>
                    <a:pt x="214" y="258"/>
                    <a:pt x="214" y="259"/>
                  </a:cubicBezTo>
                  <a:cubicBezTo>
                    <a:pt x="215" y="260"/>
                    <a:pt x="217" y="261"/>
                    <a:pt x="217" y="262"/>
                  </a:cubicBezTo>
                  <a:cubicBezTo>
                    <a:pt x="217" y="263"/>
                    <a:pt x="217" y="270"/>
                    <a:pt x="216" y="273"/>
                  </a:cubicBezTo>
                  <a:cubicBezTo>
                    <a:pt x="218" y="272"/>
                    <a:pt x="219" y="273"/>
                    <a:pt x="221" y="272"/>
                  </a:cubicBezTo>
                  <a:cubicBezTo>
                    <a:pt x="222" y="270"/>
                    <a:pt x="222" y="270"/>
                    <a:pt x="222" y="270"/>
                  </a:cubicBezTo>
                  <a:cubicBezTo>
                    <a:pt x="222" y="270"/>
                    <a:pt x="224" y="271"/>
                    <a:pt x="224" y="270"/>
                  </a:cubicBezTo>
                  <a:cubicBezTo>
                    <a:pt x="225" y="275"/>
                    <a:pt x="225" y="277"/>
                    <a:pt x="227" y="280"/>
                  </a:cubicBezTo>
                  <a:cubicBezTo>
                    <a:pt x="228" y="281"/>
                    <a:pt x="228" y="281"/>
                    <a:pt x="228" y="281"/>
                  </a:cubicBezTo>
                  <a:cubicBezTo>
                    <a:pt x="229" y="285"/>
                    <a:pt x="226" y="289"/>
                    <a:pt x="228" y="293"/>
                  </a:cubicBezTo>
                  <a:cubicBezTo>
                    <a:pt x="228" y="295"/>
                    <a:pt x="232" y="296"/>
                    <a:pt x="234" y="298"/>
                  </a:cubicBezTo>
                  <a:cubicBezTo>
                    <a:pt x="234" y="299"/>
                    <a:pt x="234" y="301"/>
                    <a:pt x="235" y="302"/>
                  </a:cubicBezTo>
                  <a:cubicBezTo>
                    <a:pt x="235" y="302"/>
                    <a:pt x="237" y="301"/>
                    <a:pt x="238" y="302"/>
                  </a:cubicBezTo>
                  <a:cubicBezTo>
                    <a:pt x="240" y="302"/>
                    <a:pt x="242" y="306"/>
                    <a:pt x="244" y="306"/>
                  </a:cubicBezTo>
                  <a:cubicBezTo>
                    <a:pt x="245" y="306"/>
                    <a:pt x="245" y="304"/>
                    <a:pt x="248" y="304"/>
                  </a:cubicBezTo>
                  <a:close/>
                  <a:moveTo>
                    <a:pt x="268" y="334"/>
                  </a:moveTo>
                  <a:cubicBezTo>
                    <a:pt x="268" y="334"/>
                    <a:pt x="267" y="338"/>
                    <a:pt x="267" y="339"/>
                  </a:cubicBezTo>
                  <a:cubicBezTo>
                    <a:pt x="269" y="342"/>
                    <a:pt x="269" y="342"/>
                    <a:pt x="269" y="342"/>
                  </a:cubicBezTo>
                  <a:cubicBezTo>
                    <a:pt x="269" y="343"/>
                    <a:pt x="274" y="352"/>
                    <a:pt x="275" y="352"/>
                  </a:cubicBezTo>
                  <a:cubicBezTo>
                    <a:pt x="275" y="353"/>
                    <a:pt x="275" y="353"/>
                    <a:pt x="275" y="353"/>
                  </a:cubicBezTo>
                  <a:cubicBezTo>
                    <a:pt x="276" y="353"/>
                    <a:pt x="277" y="353"/>
                    <a:pt x="277" y="353"/>
                  </a:cubicBezTo>
                  <a:cubicBezTo>
                    <a:pt x="277" y="354"/>
                    <a:pt x="276" y="354"/>
                    <a:pt x="275" y="354"/>
                  </a:cubicBezTo>
                  <a:cubicBezTo>
                    <a:pt x="275" y="356"/>
                    <a:pt x="274" y="357"/>
                    <a:pt x="275" y="359"/>
                  </a:cubicBezTo>
                  <a:cubicBezTo>
                    <a:pt x="275" y="360"/>
                    <a:pt x="278" y="362"/>
                    <a:pt x="279" y="363"/>
                  </a:cubicBezTo>
                  <a:cubicBezTo>
                    <a:pt x="279" y="364"/>
                    <a:pt x="279" y="365"/>
                    <a:pt x="279" y="365"/>
                  </a:cubicBezTo>
                  <a:cubicBezTo>
                    <a:pt x="280" y="366"/>
                    <a:pt x="282" y="365"/>
                    <a:pt x="282" y="366"/>
                  </a:cubicBezTo>
                  <a:cubicBezTo>
                    <a:pt x="283" y="367"/>
                    <a:pt x="281" y="368"/>
                    <a:pt x="283" y="369"/>
                  </a:cubicBezTo>
                  <a:cubicBezTo>
                    <a:pt x="283" y="369"/>
                    <a:pt x="283" y="369"/>
                    <a:pt x="283" y="369"/>
                  </a:cubicBezTo>
                  <a:cubicBezTo>
                    <a:pt x="286" y="370"/>
                    <a:pt x="286" y="369"/>
                    <a:pt x="289" y="370"/>
                  </a:cubicBezTo>
                  <a:cubicBezTo>
                    <a:pt x="289" y="369"/>
                    <a:pt x="289" y="368"/>
                    <a:pt x="289" y="368"/>
                  </a:cubicBezTo>
                  <a:cubicBezTo>
                    <a:pt x="290" y="368"/>
                    <a:pt x="290" y="370"/>
                    <a:pt x="291" y="369"/>
                  </a:cubicBezTo>
                  <a:cubicBezTo>
                    <a:pt x="292" y="368"/>
                    <a:pt x="292" y="365"/>
                    <a:pt x="291" y="366"/>
                  </a:cubicBezTo>
                  <a:cubicBezTo>
                    <a:pt x="291" y="367"/>
                    <a:pt x="291" y="367"/>
                    <a:pt x="291" y="367"/>
                  </a:cubicBezTo>
                  <a:cubicBezTo>
                    <a:pt x="291" y="367"/>
                    <a:pt x="290" y="367"/>
                    <a:pt x="290" y="367"/>
                  </a:cubicBezTo>
                  <a:cubicBezTo>
                    <a:pt x="290" y="366"/>
                    <a:pt x="290" y="366"/>
                    <a:pt x="289" y="364"/>
                  </a:cubicBezTo>
                  <a:cubicBezTo>
                    <a:pt x="291" y="364"/>
                    <a:pt x="291" y="364"/>
                    <a:pt x="291" y="363"/>
                  </a:cubicBezTo>
                  <a:cubicBezTo>
                    <a:pt x="291" y="362"/>
                    <a:pt x="291" y="362"/>
                    <a:pt x="291" y="362"/>
                  </a:cubicBezTo>
                  <a:cubicBezTo>
                    <a:pt x="292" y="362"/>
                    <a:pt x="292" y="362"/>
                    <a:pt x="292" y="362"/>
                  </a:cubicBezTo>
                  <a:cubicBezTo>
                    <a:pt x="291" y="361"/>
                    <a:pt x="295" y="362"/>
                    <a:pt x="293" y="363"/>
                  </a:cubicBezTo>
                  <a:cubicBezTo>
                    <a:pt x="294" y="363"/>
                    <a:pt x="294" y="365"/>
                    <a:pt x="295" y="365"/>
                  </a:cubicBezTo>
                  <a:cubicBezTo>
                    <a:pt x="295" y="365"/>
                    <a:pt x="297" y="364"/>
                    <a:pt x="297" y="364"/>
                  </a:cubicBezTo>
                  <a:cubicBezTo>
                    <a:pt x="295" y="359"/>
                    <a:pt x="297" y="357"/>
                    <a:pt x="297" y="351"/>
                  </a:cubicBezTo>
                  <a:cubicBezTo>
                    <a:pt x="298" y="351"/>
                    <a:pt x="299" y="353"/>
                    <a:pt x="299" y="351"/>
                  </a:cubicBezTo>
                  <a:cubicBezTo>
                    <a:pt x="301" y="346"/>
                    <a:pt x="298" y="339"/>
                    <a:pt x="297" y="336"/>
                  </a:cubicBezTo>
                  <a:cubicBezTo>
                    <a:pt x="296" y="337"/>
                    <a:pt x="294" y="338"/>
                    <a:pt x="291" y="339"/>
                  </a:cubicBezTo>
                  <a:cubicBezTo>
                    <a:pt x="291" y="339"/>
                    <a:pt x="290" y="341"/>
                    <a:pt x="290" y="341"/>
                  </a:cubicBezTo>
                  <a:cubicBezTo>
                    <a:pt x="286" y="342"/>
                    <a:pt x="279" y="337"/>
                    <a:pt x="275" y="336"/>
                  </a:cubicBezTo>
                  <a:cubicBezTo>
                    <a:pt x="273" y="335"/>
                    <a:pt x="273" y="336"/>
                    <a:pt x="272" y="336"/>
                  </a:cubicBezTo>
                  <a:cubicBezTo>
                    <a:pt x="272" y="336"/>
                    <a:pt x="270" y="334"/>
                    <a:pt x="270" y="334"/>
                  </a:cubicBezTo>
                  <a:cubicBezTo>
                    <a:pt x="269" y="334"/>
                    <a:pt x="269" y="335"/>
                    <a:pt x="268" y="334"/>
                  </a:cubicBezTo>
                  <a:close/>
                  <a:moveTo>
                    <a:pt x="297" y="324"/>
                  </a:moveTo>
                  <a:cubicBezTo>
                    <a:pt x="296" y="324"/>
                    <a:pt x="296" y="326"/>
                    <a:pt x="296" y="326"/>
                  </a:cubicBezTo>
                  <a:cubicBezTo>
                    <a:pt x="296" y="326"/>
                    <a:pt x="295" y="329"/>
                    <a:pt x="299" y="330"/>
                  </a:cubicBezTo>
                  <a:cubicBezTo>
                    <a:pt x="299" y="331"/>
                    <a:pt x="299" y="331"/>
                    <a:pt x="299" y="331"/>
                  </a:cubicBezTo>
                  <a:cubicBezTo>
                    <a:pt x="299" y="331"/>
                    <a:pt x="301" y="330"/>
                    <a:pt x="301" y="330"/>
                  </a:cubicBezTo>
                  <a:cubicBezTo>
                    <a:pt x="300" y="328"/>
                    <a:pt x="299" y="324"/>
                    <a:pt x="297" y="324"/>
                  </a:cubicBezTo>
                  <a:close/>
                  <a:moveTo>
                    <a:pt x="261" y="322"/>
                  </a:moveTo>
                  <a:cubicBezTo>
                    <a:pt x="261" y="322"/>
                    <a:pt x="259" y="328"/>
                    <a:pt x="262" y="327"/>
                  </a:cubicBezTo>
                  <a:cubicBezTo>
                    <a:pt x="262" y="326"/>
                    <a:pt x="263" y="322"/>
                    <a:pt x="261" y="322"/>
                  </a:cubicBezTo>
                  <a:close/>
                  <a:moveTo>
                    <a:pt x="208" y="273"/>
                  </a:moveTo>
                  <a:cubicBezTo>
                    <a:pt x="202" y="274"/>
                    <a:pt x="204" y="278"/>
                    <a:pt x="210" y="277"/>
                  </a:cubicBezTo>
                  <a:cubicBezTo>
                    <a:pt x="214" y="276"/>
                    <a:pt x="211" y="273"/>
                    <a:pt x="208" y="273"/>
                  </a:cubicBezTo>
                  <a:close/>
                  <a:moveTo>
                    <a:pt x="190" y="222"/>
                  </a:moveTo>
                  <a:cubicBezTo>
                    <a:pt x="193" y="222"/>
                    <a:pt x="189" y="223"/>
                    <a:pt x="189" y="223"/>
                  </a:cubicBezTo>
                  <a:cubicBezTo>
                    <a:pt x="190" y="223"/>
                    <a:pt x="189" y="222"/>
                    <a:pt x="190" y="222"/>
                  </a:cubicBezTo>
                  <a:close/>
                  <a:moveTo>
                    <a:pt x="194" y="221"/>
                  </a:moveTo>
                  <a:cubicBezTo>
                    <a:pt x="197" y="222"/>
                    <a:pt x="195" y="223"/>
                    <a:pt x="197" y="226"/>
                  </a:cubicBezTo>
                  <a:cubicBezTo>
                    <a:pt x="198" y="227"/>
                    <a:pt x="198" y="227"/>
                    <a:pt x="198" y="227"/>
                  </a:cubicBezTo>
                  <a:cubicBezTo>
                    <a:pt x="199" y="228"/>
                    <a:pt x="198" y="228"/>
                    <a:pt x="198" y="230"/>
                  </a:cubicBezTo>
                  <a:cubicBezTo>
                    <a:pt x="197" y="230"/>
                    <a:pt x="197" y="229"/>
                    <a:pt x="195" y="229"/>
                  </a:cubicBezTo>
                  <a:cubicBezTo>
                    <a:pt x="195" y="226"/>
                    <a:pt x="194" y="221"/>
                    <a:pt x="194" y="221"/>
                  </a:cubicBezTo>
                  <a:close/>
                  <a:moveTo>
                    <a:pt x="208" y="215"/>
                  </a:moveTo>
                  <a:cubicBezTo>
                    <a:pt x="213" y="217"/>
                    <a:pt x="212" y="224"/>
                    <a:pt x="211" y="223"/>
                  </a:cubicBezTo>
                  <a:cubicBezTo>
                    <a:pt x="211" y="223"/>
                    <a:pt x="206" y="215"/>
                    <a:pt x="208" y="215"/>
                  </a:cubicBezTo>
                  <a:close/>
                  <a:moveTo>
                    <a:pt x="2" y="151"/>
                  </a:moveTo>
                  <a:cubicBezTo>
                    <a:pt x="2" y="153"/>
                    <a:pt x="2" y="153"/>
                    <a:pt x="2" y="153"/>
                  </a:cubicBezTo>
                  <a:cubicBezTo>
                    <a:pt x="2" y="152"/>
                    <a:pt x="3" y="151"/>
                    <a:pt x="2" y="151"/>
                  </a:cubicBezTo>
                  <a:close/>
                  <a:moveTo>
                    <a:pt x="226" y="59"/>
                  </a:moveTo>
                  <a:cubicBezTo>
                    <a:pt x="226" y="63"/>
                    <a:pt x="226" y="63"/>
                    <a:pt x="226" y="63"/>
                  </a:cubicBezTo>
                  <a:cubicBezTo>
                    <a:pt x="227" y="61"/>
                    <a:pt x="231" y="59"/>
                    <a:pt x="226" y="59"/>
                  </a:cubicBezTo>
                  <a:close/>
                  <a:moveTo>
                    <a:pt x="202" y="30"/>
                  </a:moveTo>
                  <a:cubicBezTo>
                    <a:pt x="202" y="31"/>
                    <a:pt x="202" y="30"/>
                    <a:pt x="201" y="30"/>
                  </a:cubicBezTo>
                  <a:cubicBezTo>
                    <a:pt x="201" y="36"/>
                    <a:pt x="199" y="36"/>
                    <a:pt x="206" y="36"/>
                  </a:cubicBezTo>
                  <a:cubicBezTo>
                    <a:pt x="205" y="35"/>
                    <a:pt x="205" y="34"/>
                    <a:pt x="204" y="34"/>
                  </a:cubicBezTo>
                  <a:cubicBezTo>
                    <a:pt x="204" y="34"/>
                    <a:pt x="204" y="32"/>
                    <a:pt x="204" y="32"/>
                  </a:cubicBezTo>
                  <a:cubicBezTo>
                    <a:pt x="204" y="32"/>
                    <a:pt x="206" y="31"/>
                    <a:pt x="205" y="30"/>
                  </a:cubicBezTo>
                  <a:cubicBezTo>
                    <a:pt x="204" y="30"/>
                    <a:pt x="203" y="30"/>
                    <a:pt x="202" y="30"/>
                  </a:cubicBezTo>
                  <a:close/>
                  <a:moveTo>
                    <a:pt x="148" y="6"/>
                  </a:moveTo>
                  <a:cubicBezTo>
                    <a:pt x="147" y="9"/>
                    <a:pt x="147" y="8"/>
                    <a:pt x="147" y="10"/>
                  </a:cubicBezTo>
                  <a:cubicBezTo>
                    <a:pt x="147" y="10"/>
                    <a:pt x="149" y="10"/>
                    <a:pt x="150" y="10"/>
                  </a:cubicBezTo>
                  <a:cubicBezTo>
                    <a:pt x="150" y="10"/>
                    <a:pt x="150" y="8"/>
                    <a:pt x="150" y="8"/>
                  </a:cubicBezTo>
                  <a:cubicBezTo>
                    <a:pt x="150" y="8"/>
                    <a:pt x="148" y="7"/>
                    <a:pt x="148" y="6"/>
                  </a:cubicBezTo>
                  <a:close/>
                  <a:moveTo>
                    <a:pt x="155" y="5"/>
                  </a:moveTo>
                  <a:cubicBezTo>
                    <a:pt x="155" y="7"/>
                    <a:pt x="155" y="7"/>
                    <a:pt x="155" y="7"/>
                  </a:cubicBezTo>
                  <a:cubicBezTo>
                    <a:pt x="153" y="7"/>
                    <a:pt x="153" y="7"/>
                    <a:pt x="152" y="7"/>
                  </a:cubicBezTo>
                  <a:cubicBezTo>
                    <a:pt x="152" y="7"/>
                    <a:pt x="152" y="9"/>
                    <a:pt x="152" y="9"/>
                  </a:cubicBezTo>
                  <a:cubicBezTo>
                    <a:pt x="152" y="9"/>
                    <a:pt x="153" y="9"/>
                    <a:pt x="154" y="9"/>
                  </a:cubicBezTo>
                  <a:cubicBezTo>
                    <a:pt x="154" y="8"/>
                    <a:pt x="154" y="7"/>
                    <a:pt x="155" y="7"/>
                  </a:cubicBezTo>
                  <a:cubicBezTo>
                    <a:pt x="155" y="7"/>
                    <a:pt x="160" y="8"/>
                    <a:pt x="157" y="6"/>
                  </a:cubicBezTo>
                  <a:cubicBezTo>
                    <a:pt x="156" y="6"/>
                    <a:pt x="157" y="5"/>
                    <a:pt x="155" y="5"/>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01" name="Freeform 337">
              <a:extLst>
                <a:ext uri="{FF2B5EF4-FFF2-40B4-BE49-F238E27FC236}">
                  <a16:creationId xmlns:a16="http://schemas.microsoft.com/office/drawing/2014/main" id="{212463BB-C913-6113-E8CF-878C29F1625A}"/>
                </a:ext>
              </a:extLst>
            </p:cNvPr>
            <p:cNvSpPr>
              <a:spLocks noEditPoints="1"/>
            </p:cNvSpPr>
            <p:nvPr/>
          </p:nvSpPr>
          <p:spPr bwMode="auto">
            <a:xfrm>
              <a:off x="9398020" y="4670381"/>
              <a:ext cx="1223355" cy="1304208"/>
            </a:xfrm>
            <a:custGeom>
              <a:avLst/>
              <a:gdLst>
                <a:gd name="T0" fmla="*/ 264 w 347"/>
                <a:gd name="T1" fmla="*/ 309 h 370"/>
                <a:gd name="T2" fmla="*/ 275 w 347"/>
                <a:gd name="T3" fmla="*/ 302 h 370"/>
                <a:gd name="T4" fmla="*/ 279 w 347"/>
                <a:gd name="T5" fmla="*/ 310 h 370"/>
                <a:gd name="T6" fmla="*/ 295 w 347"/>
                <a:gd name="T7" fmla="*/ 304 h 370"/>
                <a:gd name="T8" fmla="*/ 313 w 347"/>
                <a:gd name="T9" fmla="*/ 291 h 370"/>
                <a:gd name="T10" fmla="*/ 323 w 347"/>
                <a:gd name="T11" fmla="*/ 262 h 370"/>
                <a:gd name="T12" fmla="*/ 333 w 347"/>
                <a:gd name="T13" fmla="*/ 238 h 370"/>
                <a:gd name="T14" fmla="*/ 343 w 347"/>
                <a:gd name="T15" fmla="*/ 215 h 370"/>
                <a:gd name="T16" fmla="*/ 341 w 347"/>
                <a:gd name="T17" fmla="*/ 165 h 370"/>
                <a:gd name="T18" fmla="*/ 329 w 347"/>
                <a:gd name="T19" fmla="*/ 143 h 370"/>
                <a:gd name="T20" fmla="*/ 311 w 347"/>
                <a:gd name="T21" fmla="*/ 110 h 370"/>
                <a:gd name="T22" fmla="*/ 290 w 347"/>
                <a:gd name="T23" fmla="*/ 90 h 370"/>
                <a:gd name="T24" fmla="*/ 277 w 347"/>
                <a:gd name="T25" fmla="*/ 42 h 370"/>
                <a:gd name="T26" fmla="*/ 262 w 347"/>
                <a:gd name="T27" fmla="*/ 19 h 370"/>
                <a:gd name="T28" fmla="*/ 248 w 347"/>
                <a:gd name="T29" fmla="*/ 1 h 370"/>
                <a:gd name="T30" fmla="*/ 244 w 347"/>
                <a:gd name="T31" fmla="*/ 48 h 370"/>
                <a:gd name="T32" fmla="*/ 225 w 347"/>
                <a:gd name="T33" fmla="*/ 65 h 370"/>
                <a:gd name="T34" fmla="*/ 193 w 347"/>
                <a:gd name="T35" fmla="*/ 44 h 370"/>
                <a:gd name="T36" fmla="*/ 203 w 347"/>
                <a:gd name="T37" fmla="*/ 14 h 370"/>
                <a:gd name="T38" fmla="*/ 181 w 347"/>
                <a:gd name="T39" fmla="*/ 10 h 370"/>
                <a:gd name="T40" fmla="*/ 170 w 347"/>
                <a:gd name="T41" fmla="*/ 14 h 370"/>
                <a:gd name="T42" fmla="*/ 147 w 347"/>
                <a:gd name="T43" fmla="*/ 20 h 370"/>
                <a:gd name="T44" fmla="*/ 139 w 347"/>
                <a:gd name="T45" fmla="*/ 44 h 370"/>
                <a:gd name="T46" fmla="*/ 125 w 347"/>
                <a:gd name="T47" fmla="*/ 35 h 370"/>
                <a:gd name="T48" fmla="*/ 107 w 347"/>
                <a:gd name="T49" fmla="*/ 38 h 370"/>
                <a:gd name="T50" fmla="*/ 95 w 347"/>
                <a:gd name="T51" fmla="*/ 55 h 370"/>
                <a:gd name="T52" fmla="*/ 87 w 347"/>
                <a:gd name="T53" fmla="*/ 64 h 370"/>
                <a:gd name="T54" fmla="*/ 79 w 347"/>
                <a:gd name="T55" fmla="*/ 75 h 370"/>
                <a:gd name="T56" fmla="*/ 47 w 347"/>
                <a:gd name="T57" fmla="*/ 100 h 370"/>
                <a:gd name="T58" fmla="*/ 20 w 347"/>
                <a:gd name="T59" fmla="*/ 114 h 370"/>
                <a:gd name="T60" fmla="*/ 6 w 347"/>
                <a:gd name="T61" fmla="*/ 128 h 370"/>
                <a:gd name="T62" fmla="*/ 7 w 347"/>
                <a:gd name="T63" fmla="*/ 155 h 370"/>
                <a:gd name="T64" fmla="*/ 0 w 347"/>
                <a:gd name="T65" fmla="*/ 159 h 370"/>
                <a:gd name="T66" fmla="*/ 16 w 347"/>
                <a:gd name="T67" fmla="*/ 189 h 370"/>
                <a:gd name="T68" fmla="*/ 22 w 347"/>
                <a:gd name="T69" fmla="*/ 230 h 370"/>
                <a:gd name="T70" fmla="*/ 24 w 347"/>
                <a:gd name="T71" fmla="*/ 257 h 370"/>
                <a:gd name="T72" fmla="*/ 49 w 347"/>
                <a:gd name="T73" fmla="*/ 255 h 370"/>
                <a:gd name="T74" fmla="*/ 64 w 347"/>
                <a:gd name="T75" fmla="*/ 252 h 370"/>
                <a:gd name="T76" fmla="*/ 86 w 347"/>
                <a:gd name="T77" fmla="*/ 251 h 370"/>
                <a:gd name="T78" fmla="*/ 109 w 347"/>
                <a:gd name="T79" fmla="*/ 232 h 370"/>
                <a:gd name="T80" fmla="*/ 151 w 347"/>
                <a:gd name="T81" fmla="*/ 226 h 370"/>
                <a:gd name="T82" fmla="*/ 177 w 347"/>
                <a:gd name="T83" fmla="*/ 232 h 370"/>
                <a:gd name="T84" fmla="*/ 189 w 347"/>
                <a:gd name="T85" fmla="*/ 256 h 370"/>
                <a:gd name="T86" fmla="*/ 210 w 347"/>
                <a:gd name="T87" fmla="*/ 249 h 370"/>
                <a:gd name="T88" fmla="*/ 209 w 347"/>
                <a:gd name="T89" fmla="*/ 265 h 370"/>
                <a:gd name="T90" fmla="*/ 224 w 347"/>
                <a:gd name="T91" fmla="*/ 270 h 370"/>
                <a:gd name="T92" fmla="*/ 248 w 347"/>
                <a:gd name="T93" fmla="*/ 304 h 370"/>
                <a:gd name="T94" fmla="*/ 275 w 347"/>
                <a:gd name="T95" fmla="*/ 359 h 370"/>
                <a:gd name="T96" fmla="*/ 291 w 347"/>
                <a:gd name="T97" fmla="*/ 369 h 370"/>
                <a:gd name="T98" fmla="*/ 293 w 347"/>
                <a:gd name="T99" fmla="*/ 363 h 370"/>
                <a:gd name="T100" fmla="*/ 275 w 347"/>
                <a:gd name="T101" fmla="*/ 336 h 370"/>
                <a:gd name="T102" fmla="*/ 301 w 347"/>
                <a:gd name="T103" fmla="*/ 330 h 370"/>
                <a:gd name="T104" fmla="*/ 190 w 347"/>
                <a:gd name="T105" fmla="*/ 222 h 370"/>
                <a:gd name="T106" fmla="*/ 194 w 347"/>
                <a:gd name="T107" fmla="*/ 221 h 370"/>
                <a:gd name="T108" fmla="*/ 226 w 347"/>
                <a:gd name="T109" fmla="*/ 63 h 370"/>
                <a:gd name="T110" fmla="*/ 202 w 347"/>
                <a:gd name="T111" fmla="*/ 30 h 370"/>
                <a:gd name="T112" fmla="*/ 152 w 347"/>
                <a:gd name="T113" fmla="*/ 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7" h="370">
                  <a:moveTo>
                    <a:pt x="248" y="304"/>
                  </a:moveTo>
                  <a:cubicBezTo>
                    <a:pt x="248" y="304"/>
                    <a:pt x="249" y="306"/>
                    <a:pt x="249" y="306"/>
                  </a:cubicBezTo>
                  <a:cubicBezTo>
                    <a:pt x="249" y="307"/>
                    <a:pt x="251" y="306"/>
                    <a:pt x="252" y="306"/>
                  </a:cubicBezTo>
                  <a:cubicBezTo>
                    <a:pt x="252" y="308"/>
                    <a:pt x="251" y="310"/>
                    <a:pt x="253" y="311"/>
                  </a:cubicBezTo>
                  <a:cubicBezTo>
                    <a:pt x="253" y="311"/>
                    <a:pt x="254" y="310"/>
                    <a:pt x="255" y="310"/>
                  </a:cubicBezTo>
                  <a:cubicBezTo>
                    <a:pt x="256" y="310"/>
                    <a:pt x="257" y="313"/>
                    <a:pt x="258" y="314"/>
                  </a:cubicBezTo>
                  <a:cubicBezTo>
                    <a:pt x="259" y="313"/>
                    <a:pt x="261" y="313"/>
                    <a:pt x="262" y="312"/>
                  </a:cubicBezTo>
                  <a:cubicBezTo>
                    <a:pt x="263" y="311"/>
                    <a:pt x="263" y="309"/>
                    <a:pt x="264" y="309"/>
                  </a:cubicBezTo>
                  <a:cubicBezTo>
                    <a:pt x="265" y="309"/>
                    <a:pt x="265" y="309"/>
                    <a:pt x="265" y="309"/>
                  </a:cubicBezTo>
                  <a:cubicBezTo>
                    <a:pt x="266" y="308"/>
                    <a:pt x="265" y="306"/>
                    <a:pt x="266" y="306"/>
                  </a:cubicBezTo>
                  <a:cubicBezTo>
                    <a:pt x="267" y="305"/>
                    <a:pt x="268" y="305"/>
                    <a:pt x="269" y="304"/>
                  </a:cubicBezTo>
                  <a:cubicBezTo>
                    <a:pt x="270" y="302"/>
                    <a:pt x="266" y="304"/>
                    <a:pt x="269" y="302"/>
                  </a:cubicBezTo>
                  <a:cubicBezTo>
                    <a:pt x="270" y="301"/>
                    <a:pt x="270" y="301"/>
                    <a:pt x="271" y="300"/>
                  </a:cubicBezTo>
                  <a:cubicBezTo>
                    <a:pt x="271" y="299"/>
                    <a:pt x="271" y="299"/>
                    <a:pt x="271" y="299"/>
                  </a:cubicBezTo>
                  <a:cubicBezTo>
                    <a:pt x="272" y="299"/>
                    <a:pt x="274" y="300"/>
                    <a:pt x="274" y="300"/>
                  </a:cubicBezTo>
                  <a:cubicBezTo>
                    <a:pt x="274" y="301"/>
                    <a:pt x="274" y="301"/>
                    <a:pt x="275" y="302"/>
                  </a:cubicBezTo>
                  <a:cubicBezTo>
                    <a:pt x="274" y="303"/>
                    <a:pt x="271" y="304"/>
                    <a:pt x="271" y="304"/>
                  </a:cubicBezTo>
                  <a:cubicBezTo>
                    <a:pt x="271" y="305"/>
                    <a:pt x="272" y="306"/>
                    <a:pt x="271" y="306"/>
                  </a:cubicBezTo>
                  <a:cubicBezTo>
                    <a:pt x="272" y="306"/>
                    <a:pt x="273" y="307"/>
                    <a:pt x="274" y="306"/>
                  </a:cubicBezTo>
                  <a:cubicBezTo>
                    <a:pt x="275" y="306"/>
                    <a:pt x="276" y="305"/>
                    <a:pt x="277" y="304"/>
                  </a:cubicBezTo>
                  <a:cubicBezTo>
                    <a:pt x="277" y="304"/>
                    <a:pt x="277" y="306"/>
                    <a:pt x="277" y="306"/>
                  </a:cubicBezTo>
                  <a:cubicBezTo>
                    <a:pt x="276" y="307"/>
                    <a:pt x="275" y="307"/>
                    <a:pt x="275" y="307"/>
                  </a:cubicBezTo>
                  <a:cubicBezTo>
                    <a:pt x="275" y="308"/>
                    <a:pt x="275" y="308"/>
                    <a:pt x="275" y="308"/>
                  </a:cubicBezTo>
                  <a:cubicBezTo>
                    <a:pt x="275" y="309"/>
                    <a:pt x="279" y="310"/>
                    <a:pt x="279" y="310"/>
                  </a:cubicBezTo>
                  <a:cubicBezTo>
                    <a:pt x="281" y="314"/>
                    <a:pt x="281" y="314"/>
                    <a:pt x="281" y="314"/>
                  </a:cubicBezTo>
                  <a:cubicBezTo>
                    <a:pt x="281" y="313"/>
                    <a:pt x="282" y="312"/>
                    <a:pt x="283" y="313"/>
                  </a:cubicBezTo>
                  <a:cubicBezTo>
                    <a:pt x="283" y="313"/>
                    <a:pt x="283" y="315"/>
                    <a:pt x="283" y="316"/>
                  </a:cubicBezTo>
                  <a:cubicBezTo>
                    <a:pt x="284" y="317"/>
                    <a:pt x="285" y="317"/>
                    <a:pt x="285" y="317"/>
                  </a:cubicBezTo>
                  <a:cubicBezTo>
                    <a:pt x="287" y="313"/>
                    <a:pt x="285" y="315"/>
                    <a:pt x="287" y="313"/>
                  </a:cubicBezTo>
                  <a:cubicBezTo>
                    <a:pt x="288" y="312"/>
                    <a:pt x="289" y="313"/>
                    <a:pt x="290" y="312"/>
                  </a:cubicBezTo>
                  <a:cubicBezTo>
                    <a:pt x="290" y="312"/>
                    <a:pt x="291" y="310"/>
                    <a:pt x="291" y="310"/>
                  </a:cubicBezTo>
                  <a:cubicBezTo>
                    <a:pt x="292" y="308"/>
                    <a:pt x="295" y="306"/>
                    <a:pt x="295" y="304"/>
                  </a:cubicBezTo>
                  <a:cubicBezTo>
                    <a:pt x="296" y="303"/>
                    <a:pt x="294" y="303"/>
                    <a:pt x="295" y="302"/>
                  </a:cubicBezTo>
                  <a:cubicBezTo>
                    <a:pt x="295" y="301"/>
                    <a:pt x="296" y="300"/>
                    <a:pt x="297" y="299"/>
                  </a:cubicBezTo>
                  <a:cubicBezTo>
                    <a:pt x="303" y="299"/>
                    <a:pt x="307" y="298"/>
                    <a:pt x="311" y="300"/>
                  </a:cubicBezTo>
                  <a:cubicBezTo>
                    <a:pt x="312" y="297"/>
                    <a:pt x="312" y="297"/>
                    <a:pt x="312" y="297"/>
                  </a:cubicBezTo>
                  <a:cubicBezTo>
                    <a:pt x="312" y="297"/>
                    <a:pt x="314" y="297"/>
                    <a:pt x="315" y="297"/>
                  </a:cubicBezTo>
                  <a:cubicBezTo>
                    <a:pt x="315" y="296"/>
                    <a:pt x="314" y="294"/>
                    <a:pt x="314" y="294"/>
                  </a:cubicBezTo>
                  <a:cubicBezTo>
                    <a:pt x="316" y="293"/>
                    <a:pt x="315" y="294"/>
                    <a:pt x="316" y="292"/>
                  </a:cubicBezTo>
                  <a:cubicBezTo>
                    <a:pt x="315" y="291"/>
                    <a:pt x="314" y="291"/>
                    <a:pt x="313" y="291"/>
                  </a:cubicBezTo>
                  <a:cubicBezTo>
                    <a:pt x="313" y="290"/>
                    <a:pt x="313" y="289"/>
                    <a:pt x="312" y="288"/>
                  </a:cubicBezTo>
                  <a:cubicBezTo>
                    <a:pt x="314" y="285"/>
                    <a:pt x="316" y="282"/>
                    <a:pt x="317" y="278"/>
                  </a:cubicBezTo>
                  <a:cubicBezTo>
                    <a:pt x="317" y="278"/>
                    <a:pt x="317" y="273"/>
                    <a:pt x="317" y="271"/>
                  </a:cubicBezTo>
                  <a:cubicBezTo>
                    <a:pt x="318" y="271"/>
                    <a:pt x="318" y="271"/>
                    <a:pt x="318" y="271"/>
                  </a:cubicBezTo>
                  <a:cubicBezTo>
                    <a:pt x="319" y="270"/>
                    <a:pt x="319" y="268"/>
                    <a:pt x="320" y="266"/>
                  </a:cubicBezTo>
                  <a:cubicBezTo>
                    <a:pt x="321" y="266"/>
                    <a:pt x="321" y="266"/>
                    <a:pt x="321" y="266"/>
                  </a:cubicBezTo>
                  <a:cubicBezTo>
                    <a:pt x="322" y="266"/>
                    <a:pt x="322" y="263"/>
                    <a:pt x="321" y="262"/>
                  </a:cubicBezTo>
                  <a:cubicBezTo>
                    <a:pt x="323" y="262"/>
                    <a:pt x="323" y="262"/>
                    <a:pt x="323" y="262"/>
                  </a:cubicBezTo>
                  <a:cubicBezTo>
                    <a:pt x="323" y="261"/>
                    <a:pt x="322" y="259"/>
                    <a:pt x="323" y="258"/>
                  </a:cubicBezTo>
                  <a:cubicBezTo>
                    <a:pt x="324" y="257"/>
                    <a:pt x="324" y="257"/>
                    <a:pt x="324" y="257"/>
                  </a:cubicBezTo>
                  <a:cubicBezTo>
                    <a:pt x="325" y="253"/>
                    <a:pt x="325" y="251"/>
                    <a:pt x="324" y="248"/>
                  </a:cubicBezTo>
                  <a:cubicBezTo>
                    <a:pt x="325" y="247"/>
                    <a:pt x="326" y="247"/>
                    <a:pt x="327" y="246"/>
                  </a:cubicBezTo>
                  <a:cubicBezTo>
                    <a:pt x="327" y="246"/>
                    <a:pt x="327" y="244"/>
                    <a:pt x="327" y="243"/>
                  </a:cubicBezTo>
                  <a:cubicBezTo>
                    <a:pt x="328" y="242"/>
                    <a:pt x="330" y="242"/>
                    <a:pt x="331" y="241"/>
                  </a:cubicBezTo>
                  <a:cubicBezTo>
                    <a:pt x="332" y="241"/>
                    <a:pt x="332" y="239"/>
                    <a:pt x="333" y="238"/>
                  </a:cubicBezTo>
                  <a:cubicBezTo>
                    <a:pt x="333" y="238"/>
                    <a:pt x="333" y="238"/>
                    <a:pt x="333" y="238"/>
                  </a:cubicBezTo>
                  <a:cubicBezTo>
                    <a:pt x="335" y="237"/>
                    <a:pt x="335" y="238"/>
                    <a:pt x="337" y="237"/>
                  </a:cubicBezTo>
                  <a:cubicBezTo>
                    <a:pt x="337" y="236"/>
                    <a:pt x="336" y="233"/>
                    <a:pt x="337" y="232"/>
                  </a:cubicBezTo>
                  <a:cubicBezTo>
                    <a:pt x="337" y="231"/>
                    <a:pt x="338" y="230"/>
                    <a:pt x="339" y="230"/>
                  </a:cubicBezTo>
                  <a:cubicBezTo>
                    <a:pt x="340" y="230"/>
                    <a:pt x="340" y="230"/>
                    <a:pt x="340" y="230"/>
                  </a:cubicBezTo>
                  <a:cubicBezTo>
                    <a:pt x="340" y="229"/>
                    <a:pt x="340" y="227"/>
                    <a:pt x="340" y="227"/>
                  </a:cubicBezTo>
                  <a:cubicBezTo>
                    <a:pt x="340" y="225"/>
                    <a:pt x="342" y="223"/>
                    <a:pt x="342" y="222"/>
                  </a:cubicBezTo>
                  <a:cubicBezTo>
                    <a:pt x="342" y="220"/>
                    <a:pt x="341" y="218"/>
                    <a:pt x="341" y="217"/>
                  </a:cubicBezTo>
                  <a:cubicBezTo>
                    <a:pt x="341" y="217"/>
                    <a:pt x="342" y="215"/>
                    <a:pt x="343" y="215"/>
                  </a:cubicBezTo>
                  <a:cubicBezTo>
                    <a:pt x="341" y="210"/>
                    <a:pt x="342" y="208"/>
                    <a:pt x="343" y="204"/>
                  </a:cubicBezTo>
                  <a:cubicBezTo>
                    <a:pt x="342" y="203"/>
                    <a:pt x="342" y="204"/>
                    <a:pt x="341" y="202"/>
                  </a:cubicBezTo>
                  <a:cubicBezTo>
                    <a:pt x="343" y="200"/>
                    <a:pt x="347" y="200"/>
                    <a:pt x="343" y="197"/>
                  </a:cubicBezTo>
                  <a:cubicBezTo>
                    <a:pt x="344" y="195"/>
                    <a:pt x="347" y="194"/>
                    <a:pt x="345" y="189"/>
                  </a:cubicBezTo>
                  <a:cubicBezTo>
                    <a:pt x="345" y="187"/>
                    <a:pt x="343" y="186"/>
                    <a:pt x="342" y="185"/>
                  </a:cubicBezTo>
                  <a:cubicBezTo>
                    <a:pt x="341" y="184"/>
                    <a:pt x="340" y="179"/>
                    <a:pt x="340" y="179"/>
                  </a:cubicBezTo>
                  <a:cubicBezTo>
                    <a:pt x="340" y="175"/>
                    <a:pt x="340" y="169"/>
                    <a:pt x="341" y="167"/>
                  </a:cubicBezTo>
                  <a:cubicBezTo>
                    <a:pt x="341" y="165"/>
                    <a:pt x="341" y="165"/>
                    <a:pt x="341" y="165"/>
                  </a:cubicBezTo>
                  <a:cubicBezTo>
                    <a:pt x="340" y="165"/>
                    <a:pt x="341" y="161"/>
                    <a:pt x="341" y="161"/>
                  </a:cubicBezTo>
                  <a:cubicBezTo>
                    <a:pt x="339" y="160"/>
                    <a:pt x="339" y="160"/>
                    <a:pt x="339" y="160"/>
                  </a:cubicBezTo>
                  <a:cubicBezTo>
                    <a:pt x="339" y="159"/>
                    <a:pt x="340" y="158"/>
                    <a:pt x="339" y="157"/>
                  </a:cubicBezTo>
                  <a:cubicBezTo>
                    <a:pt x="339" y="156"/>
                    <a:pt x="338" y="156"/>
                    <a:pt x="337" y="156"/>
                  </a:cubicBezTo>
                  <a:cubicBezTo>
                    <a:pt x="336" y="155"/>
                    <a:pt x="336" y="153"/>
                    <a:pt x="335" y="152"/>
                  </a:cubicBezTo>
                  <a:cubicBezTo>
                    <a:pt x="335" y="151"/>
                    <a:pt x="332" y="151"/>
                    <a:pt x="332" y="150"/>
                  </a:cubicBezTo>
                  <a:cubicBezTo>
                    <a:pt x="331" y="149"/>
                    <a:pt x="332" y="148"/>
                    <a:pt x="332" y="147"/>
                  </a:cubicBezTo>
                  <a:cubicBezTo>
                    <a:pt x="332" y="146"/>
                    <a:pt x="330" y="144"/>
                    <a:pt x="329" y="143"/>
                  </a:cubicBezTo>
                  <a:cubicBezTo>
                    <a:pt x="328" y="142"/>
                    <a:pt x="324" y="140"/>
                    <a:pt x="323" y="139"/>
                  </a:cubicBezTo>
                  <a:cubicBezTo>
                    <a:pt x="322" y="136"/>
                    <a:pt x="324" y="130"/>
                    <a:pt x="322" y="127"/>
                  </a:cubicBezTo>
                  <a:cubicBezTo>
                    <a:pt x="321" y="127"/>
                    <a:pt x="321" y="127"/>
                    <a:pt x="321" y="127"/>
                  </a:cubicBezTo>
                  <a:cubicBezTo>
                    <a:pt x="318" y="123"/>
                    <a:pt x="318" y="123"/>
                    <a:pt x="318" y="123"/>
                  </a:cubicBezTo>
                  <a:cubicBezTo>
                    <a:pt x="317" y="123"/>
                    <a:pt x="315" y="126"/>
                    <a:pt x="313" y="123"/>
                  </a:cubicBezTo>
                  <a:cubicBezTo>
                    <a:pt x="311" y="119"/>
                    <a:pt x="314" y="118"/>
                    <a:pt x="313" y="114"/>
                  </a:cubicBezTo>
                  <a:cubicBezTo>
                    <a:pt x="312" y="113"/>
                    <a:pt x="312" y="113"/>
                    <a:pt x="312" y="113"/>
                  </a:cubicBezTo>
                  <a:cubicBezTo>
                    <a:pt x="311" y="112"/>
                    <a:pt x="312" y="111"/>
                    <a:pt x="311" y="110"/>
                  </a:cubicBezTo>
                  <a:cubicBezTo>
                    <a:pt x="309" y="105"/>
                    <a:pt x="304" y="110"/>
                    <a:pt x="307" y="100"/>
                  </a:cubicBezTo>
                  <a:cubicBezTo>
                    <a:pt x="306" y="99"/>
                    <a:pt x="304" y="97"/>
                    <a:pt x="302" y="96"/>
                  </a:cubicBezTo>
                  <a:cubicBezTo>
                    <a:pt x="302" y="96"/>
                    <a:pt x="302" y="94"/>
                    <a:pt x="302" y="94"/>
                  </a:cubicBezTo>
                  <a:cubicBezTo>
                    <a:pt x="297" y="92"/>
                    <a:pt x="297" y="92"/>
                    <a:pt x="297" y="92"/>
                  </a:cubicBezTo>
                  <a:cubicBezTo>
                    <a:pt x="297" y="92"/>
                    <a:pt x="298" y="93"/>
                    <a:pt x="296" y="94"/>
                  </a:cubicBezTo>
                  <a:cubicBezTo>
                    <a:pt x="296" y="93"/>
                    <a:pt x="295" y="93"/>
                    <a:pt x="294" y="92"/>
                  </a:cubicBezTo>
                  <a:cubicBezTo>
                    <a:pt x="294" y="92"/>
                    <a:pt x="294" y="90"/>
                    <a:pt x="294" y="90"/>
                  </a:cubicBezTo>
                  <a:cubicBezTo>
                    <a:pt x="293" y="89"/>
                    <a:pt x="291" y="90"/>
                    <a:pt x="290" y="90"/>
                  </a:cubicBezTo>
                  <a:cubicBezTo>
                    <a:pt x="289" y="89"/>
                    <a:pt x="288" y="88"/>
                    <a:pt x="287" y="88"/>
                  </a:cubicBezTo>
                  <a:cubicBezTo>
                    <a:pt x="285" y="87"/>
                    <a:pt x="285" y="87"/>
                    <a:pt x="285" y="87"/>
                  </a:cubicBezTo>
                  <a:cubicBezTo>
                    <a:pt x="284" y="85"/>
                    <a:pt x="285" y="82"/>
                    <a:pt x="285" y="82"/>
                  </a:cubicBezTo>
                  <a:cubicBezTo>
                    <a:pt x="284" y="77"/>
                    <a:pt x="285" y="74"/>
                    <a:pt x="284" y="68"/>
                  </a:cubicBezTo>
                  <a:cubicBezTo>
                    <a:pt x="284" y="68"/>
                    <a:pt x="282" y="66"/>
                    <a:pt x="282" y="66"/>
                  </a:cubicBezTo>
                  <a:cubicBezTo>
                    <a:pt x="282" y="65"/>
                    <a:pt x="282" y="63"/>
                    <a:pt x="282" y="62"/>
                  </a:cubicBezTo>
                  <a:cubicBezTo>
                    <a:pt x="282" y="61"/>
                    <a:pt x="277" y="58"/>
                    <a:pt x="277" y="56"/>
                  </a:cubicBezTo>
                  <a:cubicBezTo>
                    <a:pt x="276" y="54"/>
                    <a:pt x="277" y="45"/>
                    <a:pt x="277" y="42"/>
                  </a:cubicBezTo>
                  <a:cubicBezTo>
                    <a:pt x="276" y="42"/>
                    <a:pt x="277" y="41"/>
                    <a:pt x="277" y="41"/>
                  </a:cubicBezTo>
                  <a:cubicBezTo>
                    <a:pt x="276" y="41"/>
                    <a:pt x="275" y="41"/>
                    <a:pt x="275" y="42"/>
                  </a:cubicBezTo>
                  <a:cubicBezTo>
                    <a:pt x="273" y="39"/>
                    <a:pt x="272" y="37"/>
                    <a:pt x="270" y="34"/>
                  </a:cubicBezTo>
                  <a:cubicBezTo>
                    <a:pt x="268" y="36"/>
                    <a:pt x="266" y="37"/>
                    <a:pt x="265" y="39"/>
                  </a:cubicBezTo>
                  <a:cubicBezTo>
                    <a:pt x="264" y="38"/>
                    <a:pt x="263" y="37"/>
                    <a:pt x="262" y="37"/>
                  </a:cubicBezTo>
                  <a:cubicBezTo>
                    <a:pt x="262" y="33"/>
                    <a:pt x="263" y="30"/>
                    <a:pt x="264" y="28"/>
                  </a:cubicBezTo>
                  <a:cubicBezTo>
                    <a:pt x="264" y="26"/>
                    <a:pt x="264" y="26"/>
                    <a:pt x="264" y="26"/>
                  </a:cubicBezTo>
                  <a:cubicBezTo>
                    <a:pt x="262" y="25"/>
                    <a:pt x="263" y="21"/>
                    <a:pt x="262" y="19"/>
                  </a:cubicBezTo>
                  <a:cubicBezTo>
                    <a:pt x="261" y="18"/>
                    <a:pt x="259" y="17"/>
                    <a:pt x="258" y="16"/>
                  </a:cubicBezTo>
                  <a:cubicBezTo>
                    <a:pt x="258" y="15"/>
                    <a:pt x="259" y="13"/>
                    <a:pt x="258" y="12"/>
                  </a:cubicBezTo>
                  <a:cubicBezTo>
                    <a:pt x="258" y="11"/>
                    <a:pt x="256" y="11"/>
                    <a:pt x="256" y="10"/>
                  </a:cubicBezTo>
                  <a:cubicBezTo>
                    <a:pt x="255" y="10"/>
                    <a:pt x="256" y="8"/>
                    <a:pt x="256" y="7"/>
                  </a:cubicBezTo>
                  <a:cubicBezTo>
                    <a:pt x="255" y="6"/>
                    <a:pt x="253" y="6"/>
                    <a:pt x="253" y="5"/>
                  </a:cubicBezTo>
                  <a:cubicBezTo>
                    <a:pt x="252" y="4"/>
                    <a:pt x="252" y="2"/>
                    <a:pt x="252" y="0"/>
                  </a:cubicBezTo>
                  <a:cubicBezTo>
                    <a:pt x="250" y="0"/>
                    <a:pt x="250" y="0"/>
                    <a:pt x="250" y="0"/>
                  </a:cubicBezTo>
                  <a:cubicBezTo>
                    <a:pt x="250" y="2"/>
                    <a:pt x="249" y="1"/>
                    <a:pt x="248" y="1"/>
                  </a:cubicBezTo>
                  <a:cubicBezTo>
                    <a:pt x="248" y="5"/>
                    <a:pt x="249" y="7"/>
                    <a:pt x="248" y="11"/>
                  </a:cubicBezTo>
                  <a:cubicBezTo>
                    <a:pt x="247" y="12"/>
                    <a:pt x="245" y="14"/>
                    <a:pt x="245" y="15"/>
                  </a:cubicBezTo>
                  <a:cubicBezTo>
                    <a:pt x="245" y="16"/>
                    <a:pt x="246" y="16"/>
                    <a:pt x="246" y="16"/>
                  </a:cubicBezTo>
                  <a:cubicBezTo>
                    <a:pt x="246" y="26"/>
                    <a:pt x="246" y="26"/>
                    <a:pt x="246" y="26"/>
                  </a:cubicBezTo>
                  <a:cubicBezTo>
                    <a:pt x="246" y="28"/>
                    <a:pt x="244" y="28"/>
                    <a:pt x="244" y="32"/>
                  </a:cubicBezTo>
                  <a:cubicBezTo>
                    <a:pt x="243" y="34"/>
                    <a:pt x="244" y="40"/>
                    <a:pt x="245" y="43"/>
                  </a:cubicBezTo>
                  <a:cubicBezTo>
                    <a:pt x="245" y="43"/>
                    <a:pt x="246" y="45"/>
                    <a:pt x="246" y="46"/>
                  </a:cubicBezTo>
                  <a:cubicBezTo>
                    <a:pt x="246" y="46"/>
                    <a:pt x="244" y="47"/>
                    <a:pt x="244" y="48"/>
                  </a:cubicBezTo>
                  <a:cubicBezTo>
                    <a:pt x="244" y="50"/>
                    <a:pt x="245" y="52"/>
                    <a:pt x="244" y="54"/>
                  </a:cubicBezTo>
                  <a:cubicBezTo>
                    <a:pt x="244" y="55"/>
                    <a:pt x="242" y="57"/>
                    <a:pt x="241" y="58"/>
                  </a:cubicBezTo>
                  <a:cubicBezTo>
                    <a:pt x="244" y="61"/>
                    <a:pt x="239" y="65"/>
                    <a:pt x="239" y="66"/>
                  </a:cubicBezTo>
                  <a:cubicBezTo>
                    <a:pt x="239" y="68"/>
                    <a:pt x="239" y="70"/>
                    <a:pt x="239" y="72"/>
                  </a:cubicBezTo>
                  <a:cubicBezTo>
                    <a:pt x="237" y="72"/>
                    <a:pt x="232" y="74"/>
                    <a:pt x="229" y="73"/>
                  </a:cubicBezTo>
                  <a:cubicBezTo>
                    <a:pt x="229" y="72"/>
                    <a:pt x="229" y="72"/>
                    <a:pt x="229" y="72"/>
                  </a:cubicBezTo>
                  <a:cubicBezTo>
                    <a:pt x="228" y="72"/>
                    <a:pt x="228" y="72"/>
                    <a:pt x="228" y="72"/>
                  </a:cubicBezTo>
                  <a:cubicBezTo>
                    <a:pt x="228" y="70"/>
                    <a:pt x="226" y="66"/>
                    <a:pt x="225" y="65"/>
                  </a:cubicBezTo>
                  <a:cubicBezTo>
                    <a:pt x="224" y="64"/>
                    <a:pt x="222" y="64"/>
                    <a:pt x="220" y="64"/>
                  </a:cubicBezTo>
                  <a:cubicBezTo>
                    <a:pt x="218" y="62"/>
                    <a:pt x="216" y="57"/>
                    <a:pt x="214" y="56"/>
                  </a:cubicBezTo>
                  <a:cubicBezTo>
                    <a:pt x="212" y="55"/>
                    <a:pt x="211" y="56"/>
                    <a:pt x="210" y="55"/>
                  </a:cubicBezTo>
                  <a:cubicBezTo>
                    <a:pt x="208" y="54"/>
                    <a:pt x="208" y="52"/>
                    <a:pt x="206" y="52"/>
                  </a:cubicBezTo>
                  <a:cubicBezTo>
                    <a:pt x="205" y="51"/>
                    <a:pt x="203" y="52"/>
                    <a:pt x="202" y="52"/>
                  </a:cubicBezTo>
                  <a:cubicBezTo>
                    <a:pt x="202" y="51"/>
                    <a:pt x="201" y="48"/>
                    <a:pt x="200" y="48"/>
                  </a:cubicBezTo>
                  <a:cubicBezTo>
                    <a:pt x="199" y="47"/>
                    <a:pt x="198" y="47"/>
                    <a:pt x="197" y="47"/>
                  </a:cubicBezTo>
                  <a:cubicBezTo>
                    <a:pt x="196" y="46"/>
                    <a:pt x="194" y="45"/>
                    <a:pt x="193" y="44"/>
                  </a:cubicBezTo>
                  <a:cubicBezTo>
                    <a:pt x="194" y="40"/>
                    <a:pt x="193" y="38"/>
                    <a:pt x="194" y="34"/>
                  </a:cubicBezTo>
                  <a:cubicBezTo>
                    <a:pt x="194" y="34"/>
                    <a:pt x="196" y="33"/>
                    <a:pt x="196" y="33"/>
                  </a:cubicBezTo>
                  <a:cubicBezTo>
                    <a:pt x="197" y="31"/>
                    <a:pt x="196" y="28"/>
                    <a:pt x="196" y="25"/>
                  </a:cubicBezTo>
                  <a:cubicBezTo>
                    <a:pt x="203" y="27"/>
                    <a:pt x="202" y="26"/>
                    <a:pt x="200" y="20"/>
                  </a:cubicBezTo>
                  <a:cubicBezTo>
                    <a:pt x="202" y="19"/>
                    <a:pt x="204" y="18"/>
                    <a:pt x="206" y="17"/>
                  </a:cubicBezTo>
                  <a:cubicBezTo>
                    <a:pt x="206" y="17"/>
                    <a:pt x="205" y="15"/>
                    <a:pt x="206" y="14"/>
                  </a:cubicBezTo>
                  <a:cubicBezTo>
                    <a:pt x="205" y="14"/>
                    <a:pt x="204" y="15"/>
                    <a:pt x="204" y="15"/>
                  </a:cubicBezTo>
                  <a:cubicBezTo>
                    <a:pt x="203" y="14"/>
                    <a:pt x="204" y="14"/>
                    <a:pt x="203" y="14"/>
                  </a:cubicBezTo>
                  <a:cubicBezTo>
                    <a:pt x="203" y="12"/>
                    <a:pt x="204" y="12"/>
                    <a:pt x="204" y="10"/>
                  </a:cubicBezTo>
                  <a:cubicBezTo>
                    <a:pt x="202" y="12"/>
                    <a:pt x="201" y="12"/>
                    <a:pt x="198" y="13"/>
                  </a:cubicBezTo>
                  <a:cubicBezTo>
                    <a:pt x="198" y="13"/>
                    <a:pt x="198" y="15"/>
                    <a:pt x="198" y="15"/>
                  </a:cubicBezTo>
                  <a:cubicBezTo>
                    <a:pt x="198" y="14"/>
                    <a:pt x="195" y="11"/>
                    <a:pt x="194" y="11"/>
                  </a:cubicBezTo>
                  <a:cubicBezTo>
                    <a:pt x="192" y="11"/>
                    <a:pt x="191" y="12"/>
                    <a:pt x="190" y="12"/>
                  </a:cubicBezTo>
                  <a:cubicBezTo>
                    <a:pt x="188" y="13"/>
                    <a:pt x="188" y="11"/>
                    <a:pt x="187" y="11"/>
                  </a:cubicBezTo>
                  <a:cubicBezTo>
                    <a:pt x="185" y="11"/>
                    <a:pt x="184" y="12"/>
                    <a:pt x="182" y="12"/>
                  </a:cubicBezTo>
                  <a:cubicBezTo>
                    <a:pt x="181" y="10"/>
                    <a:pt x="181" y="10"/>
                    <a:pt x="181" y="10"/>
                  </a:cubicBezTo>
                  <a:cubicBezTo>
                    <a:pt x="179" y="9"/>
                    <a:pt x="178" y="11"/>
                    <a:pt x="177" y="10"/>
                  </a:cubicBezTo>
                  <a:cubicBezTo>
                    <a:pt x="176" y="10"/>
                    <a:pt x="176" y="8"/>
                    <a:pt x="175" y="7"/>
                  </a:cubicBezTo>
                  <a:cubicBezTo>
                    <a:pt x="173" y="8"/>
                    <a:pt x="172" y="8"/>
                    <a:pt x="170" y="9"/>
                  </a:cubicBezTo>
                  <a:cubicBezTo>
                    <a:pt x="167" y="2"/>
                    <a:pt x="168" y="7"/>
                    <a:pt x="162" y="4"/>
                  </a:cubicBezTo>
                  <a:cubicBezTo>
                    <a:pt x="162" y="4"/>
                    <a:pt x="161" y="5"/>
                    <a:pt x="161" y="5"/>
                  </a:cubicBezTo>
                  <a:cubicBezTo>
                    <a:pt x="162" y="6"/>
                    <a:pt x="164" y="8"/>
                    <a:pt x="164" y="8"/>
                  </a:cubicBezTo>
                  <a:cubicBezTo>
                    <a:pt x="165" y="9"/>
                    <a:pt x="166" y="8"/>
                    <a:pt x="167" y="8"/>
                  </a:cubicBezTo>
                  <a:cubicBezTo>
                    <a:pt x="169" y="9"/>
                    <a:pt x="169" y="12"/>
                    <a:pt x="170" y="14"/>
                  </a:cubicBezTo>
                  <a:cubicBezTo>
                    <a:pt x="169" y="14"/>
                    <a:pt x="169" y="14"/>
                    <a:pt x="169" y="14"/>
                  </a:cubicBezTo>
                  <a:cubicBezTo>
                    <a:pt x="169" y="15"/>
                    <a:pt x="168" y="16"/>
                    <a:pt x="168" y="17"/>
                  </a:cubicBezTo>
                  <a:cubicBezTo>
                    <a:pt x="166" y="16"/>
                    <a:pt x="162" y="13"/>
                    <a:pt x="158" y="14"/>
                  </a:cubicBezTo>
                  <a:cubicBezTo>
                    <a:pt x="158" y="15"/>
                    <a:pt x="158" y="16"/>
                    <a:pt x="157" y="16"/>
                  </a:cubicBezTo>
                  <a:cubicBezTo>
                    <a:pt x="156" y="13"/>
                    <a:pt x="157" y="14"/>
                    <a:pt x="156" y="13"/>
                  </a:cubicBezTo>
                  <a:cubicBezTo>
                    <a:pt x="152" y="17"/>
                    <a:pt x="154" y="17"/>
                    <a:pt x="150" y="15"/>
                  </a:cubicBezTo>
                  <a:cubicBezTo>
                    <a:pt x="150" y="16"/>
                    <a:pt x="151" y="18"/>
                    <a:pt x="151" y="18"/>
                  </a:cubicBezTo>
                  <a:cubicBezTo>
                    <a:pt x="150" y="19"/>
                    <a:pt x="147" y="20"/>
                    <a:pt x="147" y="20"/>
                  </a:cubicBezTo>
                  <a:cubicBezTo>
                    <a:pt x="147" y="21"/>
                    <a:pt x="146" y="22"/>
                    <a:pt x="147" y="22"/>
                  </a:cubicBezTo>
                  <a:cubicBezTo>
                    <a:pt x="148" y="23"/>
                    <a:pt x="149" y="25"/>
                    <a:pt x="150" y="26"/>
                  </a:cubicBezTo>
                  <a:cubicBezTo>
                    <a:pt x="144" y="26"/>
                    <a:pt x="145" y="27"/>
                    <a:pt x="144" y="33"/>
                  </a:cubicBezTo>
                  <a:cubicBezTo>
                    <a:pt x="142" y="33"/>
                    <a:pt x="143" y="33"/>
                    <a:pt x="141" y="33"/>
                  </a:cubicBezTo>
                  <a:cubicBezTo>
                    <a:pt x="141" y="33"/>
                    <a:pt x="140" y="40"/>
                    <a:pt x="142" y="41"/>
                  </a:cubicBezTo>
                  <a:cubicBezTo>
                    <a:pt x="143" y="41"/>
                    <a:pt x="144" y="41"/>
                    <a:pt x="144" y="42"/>
                  </a:cubicBezTo>
                  <a:cubicBezTo>
                    <a:pt x="144" y="42"/>
                    <a:pt x="143" y="44"/>
                    <a:pt x="144" y="44"/>
                  </a:cubicBezTo>
                  <a:cubicBezTo>
                    <a:pt x="142" y="44"/>
                    <a:pt x="139" y="44"/>
                    <a:pt x="139" y="44"/>
                  </a:cubicBezTo>
                  <a:cubicBezTo>
                    <a:pt x="138" y="42"/>
                    <a:pt x="138" y="42"/>
                    <a:pt x="138" y="42"/>
                  </a:cubicBezTo>
                  <a:cubicBezTo>
                    <a:pt x="132" y="40"/>
                    <a:pt x="131" y="39"/>
                    <a:pt x="131" y="47"/>
                  </a:cubicBezTo>
                  <a:cubicBezTo>
                    <a:pt x="129" y="47"/>
                    <a:pt x="129" y="46"/>
                    <a:pt x="129" y="48"/>
                  </a:cubicBezTo>
                  <a:cubicBezTo>
                    <a:pt x="126" y="48"/>
                    <a:pt x="129" y="43"/>
                    <a:pt x="129" y="43"/>
                  </a:cubicBezTo>
                  <a:cubicBezTo>
                    <a:pt x="129" y="43"/>
                    <a:pt x="129" y="39"/>
                    <a:pt x="129" y="38"/>
                  </a:cubicBezTo>
                  <a:cubicBezTo>
                    <a:pt x="128" y="38"/>
                    <a:pt x="128" y="38"/>
                    <a:pt x="128" y="38"/>
                  </a:cubicBezTo>
                  <a:cubicBezTo>
                    <a:pt x="127" y="37"/>
                    <a:pt x="127" y="36"/>
                    <a:pt x="127" y="35"/>
                  </a:cubicBezTo>
                  <a:cubicBezTo>
                    <a:pt x="125" y="35"/>
                    <a:pt x="125" y="35"/>
                    <a:pt x="125" y="35"/>
                  </a:cubicBezTo>
                  <a:cubicBezTo>
                    <a:pt x="125" y="34"/>
                    <a:pt x="125" y="33"/>
                    <a:pt x="125" y="32"/>
                  </a:cubicBezTo>
                  <a:cubicBezTo>
                    <a:pt x="122" y="28"/>
                    <a:pt x="117" y="31"/>
                    <a:pt x="114" y="33"/>
                  </a:cubicBezTo>
                  <a:cubicBezTo>
                    <a:pt x="114" y="32"/>
                    <a:pt x="115" y="31"/>
                    <a:pt x="113" y="31"/>
                  </a:cubicBezTo>
                  <a:cubicBezTo>
                    <a:pt x="113" y="34"/>
                    <a:pt x="113" y="35"/>
                    <a:pt x="113" y="38"/>
                  </a:cubicBezTo>
                  <a:cubicBezTo>
                    <a:pt x="112" y="38"/>
                    <a:pt x="111" y="37"/>
                    <a:pt x="111" y="37"/>
                  </a:cubicBezTo>
                  <a:cubicBezTo>
                    <a:pt x="111" y="37"/>
                    <a:pt x="111" y="35"/>
                    <a:pt x="111" y="35"/>
                  </a:cubicBezTo>
                  <a:cubicBezTo>
                    <a:pt x="110" y="35"/>
                    <a:pt x="109" y="38"/>
                    <a:pt x="109" y="38"/>
                  </a:cubicBezTo>
                  <a:cubicBezTo>
                    <a:pt x="109" y="39"/>
                    <a:pt x="108" y="38"/>
                    <a:pt x="107" y="38"/>
                  </a:cubicBezTo>
                  <a:cubicBezTo>
                    <a:pt x="107" y="39"/>
                    <a:pt x="106" y="41"/>
                    <a:pt x="107" y="40"/>
                  </a:cubicBezTo>
                  <a:cubicBezTo>
                    <a:pt x="107" y="42"/>
                    <a:pt x="107" y="41"/>
                    <a:pt x="108" y="41"/>
                  </a:cubicBezTo>
                  <a:cubicBezTo>
                    <a:pt x="108" y="41"/>
                    <a:pt x="108" y="43"/>
                    <a:pt x="108" y="43"/>
                  </a:cubicBezTo>
                  <a:cubicBezTo>
                    <a:pt x="106" y="44"/>
                    <a:pt x="105" y="44"/>
                    <a:pt x="105" y="44"/>
                  </a:cubicBezTo>
                  <a:cubicBezTo>
                    <a:pt x="105" y="44"/>
                    <a:pt x="105" y="44"/>
                    <a:pt x="106" y="47"/>
                  </a:cubicBezTo>
                  <a:cubicBezTo>
                    <a:pt x="102" y="46"/>
                    <a:pt x="104" y="46"/>
                    <a:pt x="99" y="47"/>
                  </a:cubicBezTo>
                  <a:cubicBezTo>
                    <a:pt x="101" y="52"/>
                    <a:pt x="100" y="53"/>
                    <a:pt x="98" y="56"/>
                  </a:cubicBezTo>
                  <a:cubicBezTo>
                    <a:pt x="97" y="55"/>
                    <a:pt x="96" y="56"/>
                    <a:pt x="95" y="55"/>
                  </a:cubicBezTo>
                  <a:cubicBezTo>
                    <a:pt x="95" y="55"/>
                    <a:pt x="95" y="53"/>
                    <a:pt x="95" y="53"/>
                  </a:cubicBezTo>
                  <a:cubicBezTo>
                    <a:pt x="93" y="53"/>
                    <a:pt x="93" y="53"/>
                    <a:pt x="93" y="53"/>
                  </a:cubicBezTo>
                  <a:cubicBezTo>
                    <a:pt x="92" y="54"/>
                    <a:pt x="93" y="54"/>
                    <a:pt x="91" y="54"/>
                  </a:cubicBezTo>
                  <a:cubicBezTo>
                    <a:pt x="91" y="57"/>
                    <a:pt x="90" y="60"/>
                    <a:pt x="91" y="62"/>
                  </a:cubicBezTo>
                  <a:cubicBezTo>
                    <a:pt x="92" y="63"/>
                    <a:pt x="93" y="64"/>
                    <a:pt x="93" y="64"/>
                  </a:cubicBezTo>
                  <a:cubicBezTo>
                    <a:pt x="92" y="65"/>
                    <a:pt x="92" y="65"/>
                    <a:pt x="91" y="65"/>
                  </a:cubicBezTo>
                  <a:cubicBezTo>
                    <a:pt x="91" y="65"/>
                    <a:pt x="91" y="67"/>
                    <a:pt x="91" y="68"/>
                  </a:cubicBezTo>
                  <a:cubicBezTo>
                    <a:pt x="90" y="66"/>
                    <a:pt x="88" y="65"/>
                    <a:pt x="87" y="64"/>
                  </a:cubicBezTo>
                  <a:cubicBezTo>
                    <a:pt x="87" y="62"/>
                    <a:pt x="88" y="60"/>
                    <a:pt x="87" y="58"/>
                  </a:cubicBezTo>
                  <a:cubicBezTo>
                    <a:pt x="86" y="58"/>
                    <a:pt x="85" y="58"/>
                    <a:pt x="85" y="58"/>
                  </a:cubicBezTo>
                  <a:cubicBezTo>
                    <a:pt x="84" y="58"/>
                    <a:pt x="85" y="60"/>
                    <a:pt x="85" y="60"/>
                  </a:cubicBezTo>
                  <a:cubicBezTo>
                    <a:pt x="85" y="60"/>
                    <a:pt x="81" y="62"/>
                    <a:pt x="81" y="62"/>
                  </a:cubicBezTo>
                  <a:cubicBezTo>
                    <a:pt x="78" y="66"/>
                    <a:pt x="81" y="69"/>
                    <a:pt x="80" y="72"/>
                  </a:cubicBezTo>
                  <a:cubicBezTo>
                    <a:pt x="79" y="72"/>
                    <a:pt x="79" y="72"/>
                    <a:pt x="79" y="72"/>
                  </a:cubicBezTo>
                  <a:cubicBezTo>
                    <a:pt x="78" y="73"/>
                    <a:pt x="79" y="74"/>
                    <a:pt x="78" y="75"/>
                  </a:cubicBezTo>
                  <a:cubicBezTo>
                    <a:pt x="79" y="75"/>
                    <a:pt x="79" y="75"/>
                    <a:pt x="79" y="75"/>
                  </a:cubicBezTo>
                  <a:cubicBezTo>
                    <a:pt x="79" y="75"/>
                    <a:pt x="80" y="77"/>
                    <a:pt x="80" y="78"/>
                  </a:cubicBezTo>
                  <a:cubicBezTo>
                    <a:pt x="79" y="79"/>
                    <a:pt x="76" y="79"/>
                    <a:pt x="75" y="81"/>
                  </a:cubicBezTo>
                  <a:cubicBezTo>
                    <a:pt x="74" y="81"/>
                    <a:pt x="75" y="82"/>
                    <a:pt x="75" y="83"/>
                  </a:cubicBezTo>
                  <a:cubicBezTo>
                    <a:pt x="75" y="83"/>
                    <a:pt x="69" y="90"/>
                    <a:pt x="69" y="90"/>
                  </a:cubicBezTo>
                  <a:cubicBezTo>
                    <a:pt x="66" y="92"/>
                    <a:pt x="64" y="91"/>
                    <a:pt x="59" y="92"/>
                  </a:cubicBezTo>
                  <a:cubicBezTo>
                    <a:pt x="58" y="93"/>
                    <a:pt x="56" y="95"/>
                    <a:pt x="55" y="95"/>
                  </a:cubicBezTo>
                  <a:cubicBezTo>
                    <a:pt x="54" y="95"/>
                    <a:pt x="52" y="94"/>
                    <a:pt x="51" y="94"/>
                  </a:cubicBezTo>
                  <a:cubicBezTo>
                    <a:pt x="49" y="95"/>
                    <a:pt x="49" y="99"/>
                    <a:pt x="47" y="100"/>
                  </a:cubicBezTo>
                  <a:cubicBezTo>
                    <a:pt x="46" y="101"/>
                    <a:pt x="44" y="100"/>
                    <a:pt x="43" y="101"/>
                  </a:cubicBezTo>
                  <a:cubicBezTo>
                    <a:pt x="42" y="101"/>
                    <a:pt x="42" y="103"/>
                    <a:pt x="42" y="103"/>
                  </a:cubicBezTo>
                  <a:cubicBezTo>
                    <a:pt x="39" y="105"/>
                    <a:pt x="35" y="103"/>
                    <a:pt x="33" y="102"/>
                  </a:cubicBezTo>
                  <a:cubicBezTo>
                    <a:pt x="32" y="103"/>
                    <a:pt x="32" y="104"/>
                    <a:pt x="32" y="106"/>
                  </a:cubicBezTo>
                  <a:cubicBezTo>
                    <a:pt x="31" y="105"/>
                    <a:pt x="27" y="105"/>
                    <a:pt x="27" y="106"/>
                  </a:cubicBezTo>
                  <a:cubicBezTo>
                    <a:pt x="25" y="106"/>
                    <a:pt x="24" y="111"/>
                    <a:pt x="22" y="112"/>
                  </a:cubicBezTo>
                  <a:cubicBezTo>
                    <a:pt x="21" y="112"/>
                    <a:pt x="21" y="112"/>
                    <a:pt x="21" y="112"/>
                  </a:cubicBezTo>
                  <a:cubicBezTo>
                    <a:pt x="20" y="112"/>
                    <a:pt x="21" y="114"/>
                    <a:pt x="20" y="114"/>
                  </a:cubicBezTo>
                  <a:cubicBezTo>
                    <a:pt x="20" y="114"/>
                    <a:pt x="19" y="114"/>
                    <a:pt x="18" y="114"/>
                  </a:cubicBezTo>
                  <a:cubicBezTo>
                    <a:pt x="16" y="115"/>
                    <a:pt x="15" y="119"/>
                    <a:pt x="14" y="120"/>
                  </a:cubicBezTo>
                  <a:cubicBezTo>
                    <a:pt x="12" y="121"/>
                    <a:pt x="10" y="122"/>
                    <a:pt x="8" y="123"/>
                  </a:cubicBezTo>
                  <a:cubicBezTo>
                    <a:pt x="8" y="122"/>
                    <a:pt x="7" y="121"/>
                    <a:pt x="8" y="121"/>
                  </a:cubicBezTo>
                  <a:cubicBezTo>
                    <a:pt x="9" y="120"/>
                    <a:pt x="8" y="118"/>
                    <a:pt x="8" y="118"/>
                  </a:cubicBezTo>
                  <a:cubicBezTo>
                    <a:pt x="8" y="118"/>
                    <a:pt x="9" y="117"/>
                    <a:pt x="8" y="117"/>
                  </a:cubicBezTo>
                  <a:cubicBezTo>
                    <a:pt x="6" y="119"/>
                    <a:pt x="7" y="123"/>
                    <a:pt x="4" y="124"/>
                  </a:cubicBezTo>
                  <a:cubicBezTo>
                    <a:pt x="4" y="124"/>
                    <a:pt x="6" y="128"/>
                    <a:pt x="6" y="128"/>
                  </a:cubicBezTo>
                  <a:cubicBezTo>
                    <a:pt x="7" y="127"/>
                    <a:pt x="6" y="132"/>
                    <a:pt x="6" y="133"/>
                  </a:cubicBezTo>
                  <a:cubicBezTo>
                    <a:pt x="6" y="132"/>
                    <a:pt x="6" y="134"/>
                    <a:pt x="6" y="134"/>
                  </a:cubicBezTo>
                  <a:cubicBezTo>
                    <a:pt x="7" y="137"/>
                    <a:pt x="5" y="139"/>
                    <a:pt x="4" y="141"/>
                  </a:cubicBezTo>
                  <a:cubicBezTo>
                    <a:pt x="4" y="141"/>
                    <a:pt x="2" y="141"/>
                    <a:pt x="2" y="141"/>
                  </a:cubicBezTo>
                  <a:cubicBezTo>
                    <a:pt x="1" y="143"/>
                    <a:pt x="1" y="143"/>
                    <a:pt x="1" y="143"/>
                  </a:cubicBezTo>
                  <a:cubicBezTo>
                    <a:pt x="1" y="143"/>
                    <a:pt x="2" y="143"/>
                    <a:pt x="2" y="143"/>
                  </a:cubicBezTo>
                  <a:cubicBezTo>
                    <a:pt x="4" y="145"/>
                    <a:pt x="6" y="146"/>
                    <a:pt x="7" y="148"/>
                  </a:cubicBezTo>
                  <a:cubicBezTo>
                    <a:pt x="8" y="151"/>
                    <a:pt x="7" y="152"/>
                    <a:pt x="7" y="155"/>
                  </a:cubicBezTo>
                  <a:cubicBezTo>
                    <a:pt x="7" y="157"/>
                    <a:pt x="8" y="160"/>
                    <a:pt x="9" y="164"/>
                  </a:cubicBezTo>
                  <a:cubicBezTo>
                    <a:pt x="7" y="163"/>
                    <a:pt x="7" y="164"/>
                    <a:pt x="5" y="163"/>
                  </a:cubicBezTo>
                  <a:cubicBezTo>
                    <a:pt x="5" y="162"/>
                    <a:pt x="5" y="159"/>
                    <a:pt x="5" y="159"/>
                  </a:cubicBezTo>
                  <a:cubicBezTo>
                    <a:pt x="4" y="159"/>
                    <a:pt x="4" y="159"/>
                    <a:pt x="4" y="159"/>
                  </a:cubicBezTo>
                  <a:cubicBezTo>
                    <a:pt x="5" y="164"/>
                    <a:pt x="6" y="165"/>
                    <a:pt x="7" y="169"/>
                  </a:cubicBezTo>
                  <a:cubicBezTo>
                    <a:pt x="7" y="169"/>
                    <a:pt x="5" y="170"/>
                    <a:pt x="5" y="169"/>
                  </a:cubicBezTo>
                  <a:cubicBezTo>
                    <a:pt x="3" y="169"/>
                    <a:pt x="3" y="163"/>
                    <a:pt x="2" y="160"/>
                  </a:cubicBezTo>
                  <a:cubicBezTo>
                    <a:pt x="0" y="159"/>
                    <a:pt x="0" y="159"/>
                    <a:pt x="0" y="159"/>
                  </a:cubicBezTo>
                  <a:cubicBezTo>
                    <a:pt x="1" y="162"/>
                    <a:pt x="1" y="165"/>
                    <a:pt x="2" y="168"/>
                  </a:cubicBezTo>
                  <a:cubicBezTo>
                    <a:pt x="2" y="168"/>
                    <a:pt x="3" y="168"/>
                    <a:pt x="3" y="169"/>
                  </a:cubicBezTo>
                  <a:cubicBezTo>
                    <a:pt x="5" y="172"/>
                    <a:pt x="7" y="173"/>
                    <a:pt x="9" y="176"/>
                  </a:cubicBezTo>
                  <a:cubicBezTo>
                    <a:pt x="10" y="177"/>
                    <a:pt x="9" y="178"/>
                    <a:pt x="10" y="180"/>
                  </a:cubicBezTo>
                  <a:cubicBezTo>
                    <a:pt x="11" y="181"/>
                    <a:pt x="11" y="181"/>
                    <a:pt x="11" y="181"/>
                  </a:cubicBezTo>
                  <a:cubicBezTo>
                    <a:pt x="11" y="182"/>
                    <a:pt x="11" y="182"/>
                    <a:pt x="11" y="182"/>
                  </a:cubicBezTo>
                  <a:cubicBezTo>
                    <a:pt x="10" y="181"/>
                    <a:pt x="10" y="185"/>
                    <a:pt x="10" y="185"/>
                  </a:cubicBezTo>
                  <a:cubicBezTo>
                    <a:pt x="11" y="187"/>
                    <a:pt x="14" y="188"/>
                    <a:pt x="16" y="189"/>
                  </a:cubicBezTo>
                  <a:cubicBezTo>
                    <a:pt x="15" y="191"/>
                    <a:pt x="14" y="193"/>
                    <a:pt x="14" y="194"/>
                  </a:cubicBezTo>
                  <a:cubicBezTo>
                    <a:pt x="15" y="195"/>
                    <a:pt x="19" y="198"/>
                    <a:pt x="19" y="201"/>
                  </a:cubicBezTo>
                  <a:cubicBezTo>
                    <a:pt x="19" y="201"/>
                    <a:pt x="18" y="202"/>
                    <a:pt x="18" y="203"/>
                  </a:cubicBezTo>
                  <a:cubicBezTo>
                    <a:pt x="17" y="205"/>
                    <a:pt x="18" y="209"/>
                    <a:pt x="18" y="211"/>
                  </a:cubicBezTo>
                  <a:cubicBezTo>
                    <a:pt x="19" y="213"/>
                    <a:pt x="20" y="215"/>
                    <a:pt x="21" y="217"/>
                  </a:cubicBezTo>
                  <a:cubicBezTo>
                    <a:pt x="22" y="221"/>
                    <a:pt x="21" y="221"/>
                    <a:pt x="22" y="224"/>
                  </a:cubicBezTo>
                  <a:cubicBezTo>
                    <a:pt x="22" y="224"/>
                    <a:pt x="24" y="227"/>
                    <a:pt x="24" y="227"/>
                  </a:cubicBezTo>
                  <a:cubicBezTo>
                    <a:pt x="24" y="228"/>
                    <a:pt x="22" y="230"/>
                    <a:pt x="22" y="230"/>
                  </a:cubicBezTo>
                  <a:cubicBezTo>
                    <a:pt x="22" y="233"/>
                    <a:pt x="24" y="233"/>
                    <a:pt x="24" y="235"/>
                  </a:cubicBezTo>
                  <a:cubicBezTo>
                    <a:pt x="23" y="236"/>
                    <a:pt x="22" y="237"/>
                    <a:pt x="22" y="237"/>
                  </a:cubicBezTo>
                  <a:cubicBezTo>
                    <a:pt x="21" y="242"/>
                    <a:pt x="22" y="244"/>
                    <a:pt x="22" y="249"/>
                  </a:cubicBezTo>
                  <a:cubicBezTo>
                    <a:pt x="21" y="249"/>
                    <a:pt x="21" y="250"/>
                    <a:pt x="20" y="250"/>
                  </a:cubicBezTo>
                  <a:cubicBezTo>
                    <a:pt x="20" y="249"/>
                    <a:pt x="18" y="247"/>
                    <a:pt x="18" y="247"/>
                  </a:cubicBezTo>
                  <a:cubicBezTo>
                    <a:pt x="17" y="247"/>
                    <a:pt x="15" y="247"/>
                    <a:pt x="16" y="248"/>
                  </a:cubicBezTo>
                  <a:cubicBezTo>
                    <a:pt x="16" y="247"/>
                    <a:pt x="16" y="251"/>
                    <a:pt x="17" y="252"/>
                  </a:cubicBezTo>
                  <a:cubicBezTo>
                    <a:pt x="19" y="256"/>
                    <a:pt x="21" y="254"/>
                    <a:pt x="24" y="257"/>
                  </a:cubicBezTo>
                  <a:cubicBezTo>
                    <a:pt x="25" y="258"/>
                    <a:pt x="26" y="261"/>
                    <a:pt x="27" y="262"/>
                  </a:cubicBezTo>
                  <a:cubicBezTo>
                    <a:pt x="28" y="263"/>
                    <a:pt x="32" y="262"/>
                    <a:pt x="32" y="262"/>
                  </a:cubicBezTo>
                  <a:cubicBezTo>
                    <a:pt x="33" y="262"/>
                    <a:pt x="33" y="262"/>
                    <a:pt x="33" y="262"/>
                  </a:cubicBezTo>
                  <a:cubicBezTo>
                    <a:pt x="34" y="262"/>
                    <a:pt x="36" y="261"/>
                    <a:pt x="37" y="262"/>
                  </a:cubicBezTo>
                  <a:cubicBezTo>
                    <a:pt x="37" y="262"/>
                    <a:pt x="40" y="264"/>
                    <a:pt x="41" y="264"/>
                  </a:cubicBezTo>
                  <a:cubicBezTo>
                    <a:pt x="41" y="264"/>
                    <a:pt x="42" y="262"/>
                    <a:pt x="42" y="262"/>
                  </a:cubicBezTo>
                  <a:cubicBezTo>
                    <a:pt x="42" y="262"/>
                    <a:pt x="43" y="262"/>
                    <a:pt x="44" y="262"/>
                  </a:cubicBezTo>
                  <a:cubicBezTo>
                    <a:pt x="44" y="262"/>
                    <a:pt x="48" y="255"/>
                    <a:pt x="49" y="255"/>
                  </a:cubicBezTo>
                  <a:cubicBezTo>
                    <a:pt x="50" y="255"/>
                    <a:pt x="50" y="255"/>
                    <a:pt x="50" y="255"/>
                  </a:cubicBezTo>
                  <a:cubicBezTo>
                    <a:pt x="50" y="255"/>
                    <a:pt x="51" y="258"/>
                    <a:pt x="51" y="258"/>
                  </a:cubicBezTo>
                  <a:cubicBezTo>
                    <a:pt x="51" y="258"/>
                    <a:pt x="53" y="258"/>
                    <a:pt x="53" y="258"/>
                  </a:cubicBezTo>
                  <a:cubicBezTo>
                    <a:pt x="54" y="256"/>
                    <a:pt x="54" y="256"/>
                    <a:pt x="54" y="254"/>
                  </a:cubicBezTo>
                  <a:cubicBezTo>
                    <a:pt x="54" y="252"/>
                    <a:pt x="54" y="252"/>
                    <a:pt x="54" y="252"/>
                  </a:cubicBezTo>
                  <a:cubicBezTo>
                    <a:pt x="56" y="252"/>
                    <a:pt x="57" y="253"/>
                    <a:pt x="59" y="252"/>
                  </a:cubicBezTo>
                  <a:cubicBezTo>
                    <a:pt x="61" y="251"/>
                    <a:pt x="61" y="251"/>
                    <a:pt x="61" y="251"/>
                  </a:cubicBezTo>
                  <a:cubicBezTo>
                    <a:pt x="63" y="251"/>
                    <a:pt x="62" y="252"/>
                    <a:pt x="64" y="252"/>
                  </a:cubicBezTo>
                  <a:cubicBezTo>
                    <a:pt x="64" y="251"/>
                    <a:pt x="64" y="250"/>
                    <a:pt x="65" y="250"/>
                  </a:cubicBezTo>
                  <a:cubicBezTo>
                    <a:pt x="68" y="249"/>
                    <a:pt x="72" y="251"/>
                    <a:pt x="74" y="251"/>
                  </a:cubicBezTo>
                  <a:cubicBezTo>
                    <a:pt x="74" y="251"/>
                    <a:pt x="75" y="250"/>
                    <a:pt x="77" y="250"/>
                  </a:cubicBezTo>
                  <a:cubicBezTo>
                    <a:pt x="77" y="250"/>
                    <a:pt x="78" y="252"/>
                    <a:pt x="78" y="252"/>
                  </a:cubicBezTo>
                  <a:cubicBezTo>
                    <a:pt x="79" y="252"/>
                    <a:pt x="78" y="251"/>
                    <a:pt x="79" y="250"/>
                  </a:cubicBezTo>
                  <a:cubicBezTo>
                    <a:pt x="80" y="250"/>
                    <a:pt x="82" y="251"/>
                    <a:pt x="83" y="250"/>
                  </a:cubicBezTo>
                  <a:cubicBezTo>
                    <a:pt x="83" y="250"/>
                    <a:pt x="83" y="250"/>
                    <a:pt x="83" y="250"/>
                  </a:cubicBezTo>
                  <a:cubicBezTo>
                    <a:pt x="87" y="249"/>
                    <a:pt x="85" y="251"/>
                    <a:pt x="86" y="251"/>
                  </a:cubicBezTo>
                  <a:cubicBezTo>
                    <a:pt x="88" y="251"/>
                    <a:pt x="87" y="250"/>
                    <a:pt x="88" y="250"/>
                  </a:cubicBezTo>
                  <a:cubicBezTo>
                    <a:pt x="89" y="250"/>
                    <a:pt x="90" y="250"/>
                    <a:pt x="89" y="250"/>
                  </a:cubicBezTo>
                  <a:cubicBezTo>
                    <a:pt x="90" y="250"/>
                    <a:pt x="90" y="250"/>
                    <a:pt x="90" y="250"/>
                  </a:cubicBezTo>
                  <a:cubicBezTo>
                    <a:pt x="92" y="249"/>
                    <a:pt x="94" y="242"/>
                    <a:pt x="96" y="241"/>
                  </a:cubicBezTo>
                  <a:cubicBezTo>
                    <a:pt x="98" y="240"/>
                    <a:pt x="100" y="241"/>
                    <a:pt x="102" y="240"/>
                  </a:cubicBezTo>
                  <a:cubicBezTo>
                    <a:pt x="104" y="236"/>
                    <a:pt x="104" y="236"/>
                    <a:pt x="104" y="236"/>
                  </a:cubicBezTo>
                  <a:cubicBezTo>
                    <a:pt x="105" y="236"/>
                    <a:pt x="106" y="237"/>
                    <a:pt x="106" y="237"/>
                  </a:cubicBezTo>
                  <a:cubicBezTo>
                    <a:pt x="107" y="236"/>
                    <a:pt x="108" y="234"/>
                    <a:pt x="109" y="232"/>
                  </a:cubicBezTo>
                  <a:cubicBezTo>
                    <a:pt x="116" y="233"/>
                    <a:pt x="125" y="232"/>
                    <a:pt x="129" y="230"/>
                  </a:cubicBezTo>
                  <a:cubicBezTo>
                    <a:pt x="129" y="229"/>
                    <a:pt x="129" y="229"/>
                    <a:pt x="129" y="229"/>
                  </a:cubicBezTo>
                  <a:cubicBezTo>
                    <a:pt x="131" y="229"/>
                    <a:pt x="132" y="228"/>
                    <a:pt x="133" y="228"/>
                  </a:cubicBezTo>
                  <a:cubicBezTo>
                    <a:pt x="135" y="227"/>
                    <a:pt x="135" y="229"/>
                    <a:pt x="137" y="229"/>
                  </a:cubicBezTo>
                  <a:cubicBezTo>
                    <a:pt x="138" y="227"/>
                    <a:pt x="138" y="227"/>
                    <a:pt x="138" y="227"/>
                  </a:cubicBezTo>
                  <a:cubicBezTo>
                    <a:pt x="141" y="226"/>
                    <a:pt x="142" y="227"/>
                    <a:pt x="145" y="227"/>
                  </a:cubicBezTo>
                  <a:cubicBezTo>
                    <a:pt x="146" y="225"/>
                    <a:pt x="146" y="225"/>
                    <a:pt x="146" y="225"/>
                  </a:cubicBezTo>
                  <a:cubicBezTo>
                    <a:pt x="148" y="225"/>
                    <a:pt x="149" y="226"/>
                    <a:pt x="151" y="226"/>
                  </a:cubicBezTo>
                  <a:cubicBezTo>
                    <a:pt x="153" y="225"/>
                    <a:pt x="153" y="223"/>
                    <a:pt x="155" y="223"/>
                  </a:cubicBezTo>
                  <a:cubicBezTo>
                    <a:pt x="155" y="223"/>
                    <a:pt x="160" y="226"/>
                    <a:pt x="160" y="227"/>
                  </a:cubicBezTo>
                  <a:cubicBezTo>
                    <a:pt x="162" y="227"/>
                    <a:pt x="162" y="227"/>
                    <a:pt x="162" y="227"/>
                  </a:cubicBezTo>
                  <a:cubicBezTo>
                    <a:pt x="162" y="228"/>
                    <a:pt x="162" y="229"/>
                    <a:pt x="162" y="230"/>
                  </a:cubicBezTo>
                  <a:cubicBezTo>
                    <a:pt x="166" y="229"/>
                    <a:pt x="169" y="228"/>
                    <a:pt x="171" y="230"/>
                  </a:cubicBezTo>
                  <a:cubicBezTo>
                    <a:pt x="172" y="231"/>
                    <a:pt x="172" y="231"/>
                    <a:pt x="172" y="231"/>
                  </a:cubicBezTo>
                  <a:cubicBezTo>
                    <a:pt x="173" y="231"/>
                    <a:pt x="174" y="230"/>
                    <a:pt x="176" y="230"/>
                  </a:cubicBezTo>
                  <a:cubicBezTo>
                    <a:pt x="176" y="231"/>
                    <a:pt x="176" y="231"/>
                    <a:pt x="177" y="232"/>
                  </a:cubicBezTo>
                  <a:cubicBezTo>
                    <a:pt x="177" y="232"/>
                    <a:pt x="177" y="236"/>
                    <a:pt x="177" y="236"/>
                  </a:cubicBezTo>
                  <a:cubicBezTo>
                    <a:pt x="178" y="236"/>
                    <a:pt x="180" y="235"/>
                    <a:pt x="181" y="236"/>
                  </a:cubicBezTo>
                  <a:cubicBezTo>
                    <a:pt x="181" y="236"/>
                    <a:pt x="183" y="238"/>
                    <a:pt x="181" y="238"/>
                  </a:cubicBezTo>
                  <a:cubicBezTo>
                    <a:pt x="181" y="239"/>
                    <a:pt x="180" y="240"/>
                    <a:pt x="179" y="241"/>
                  </a:cubicBezTo>
                  <a:cubicBezTo>
                    <a:pt x="181" y="242"/>
                    <a:pt x="184" y="243"/>
                    <a:pt x="186" y="244"/>
                  </a:cubicBezTo>
                  <a:cubicBezTo>
                    <a:pt x="186" y="247"/>
                    <a:pt x="185" y="250"/>
                    <a:pt x="187" y="252"/>
                  </a:cubicBezTo>
                  <a:cubicBezTo>
                    <a:pt x="187" y="253"/>
                    <a:pt x="189" y="253"/>
                    <a:pt x="190" y="254"/>
                  </a:cubicBezTo>
                  <a:cubicBezTo>
                    <a:pt x="190" y="255"/>
                    <a:pt x="189" y="255"/>
                    <a:pt x="189" y="256"/>
                  </a:cubicBezTo>
                  <a:cubicBezTo>
                    <a:pt x="190" y="257"/>
                    <a:pt x="191" y="257"/>
                    <a:pt x="192" y="258"/>
                  </a:cubicBezTo>
                  <a:cubicBezTo>
                    <a:pt x="193" y="258"/>
                    <a:pt x="193" y="258"/>
                    <a:pt x="195" y="258"/>
                  </a:cubicBezTo>
                  <a:cubicBezTo>
                    <a:pt x="196" y="256"/>
                    <a:pt x="197" y="253"/>
                    <a:pt x="200" y="252"/>
                  </a:cubicBezTo>
                  <a:cubicBezTo>
                    <a:pt x="200" y="250"/>
                    <a:pt x="200" y="250"/>
                    <a:pt x="200" y="250"/>
                  </a:cubicBezTo>
                  <a:cubicBezTo>
                    <a:pt x="201" y="249"/>
                    <a:pt x="207" y="247"/>
                    <a:pt x="208" y="246"/>
                  </a:cubicBezTo>
                  <a:cubicBezTo>
                    <a:pt x="208" y="245"/>
                    <a:pt x="208" y="244"/>
                    <a:pt x="208" y="242"/>
                  </a:cubicBezTo>
                  <a:cubicBezTo>
                    <a:pt x="209" y="242"/>
                    <a:pt x="211" y="242"/>
                    <a:pt x="211" y="241"/>
                  </a:cubicBezTo>
                  <a:cubicBezTo>
                    <a:pt x="211" y="244"/>
                    <a:pt x="211" y="246"/>
                    <a:pt x="210" y="249"/>
                  </a:cubicBezTo>
                  <a:cubicBezTo>
                    <a:pt x="210" y="250"/>
                    <a:pt x="209" y="251"/>
                    <a:pt x="208" y="252"/>
                  </a:cubicBezTo>
                  <a:cubicBezTo>
                    <a:pt x="207" y="255"/>
                    <a:pt x="207" y="258"/>
                    <a:pt x="208" y="262"/>
                  </a:cubicBezTo>
                  <a:cubicBezTo>
                    <a:pt x="207" y="262"/>
                    <a:pt x="206" y="264"/>
                    <a:pt x="205" y="264"/>
                  </a:cubicBezTo>
                  <a:cubicBezTo>
                    <a:pt x="204" y="264"/>
                    <a:pt x="203" y="263"/>
                    <a:pt x="202" y="264"/>
                  </a:cubicBezTo>
                  <a:cubicBezTo>
                    <a:pt x="202" y="264"/>
                    <a:pt x="203" y="266"/>
                    <a:pt x="202" y="266"/>
                  </a:cubicBezTo>
                  <a:cubicBezTo>
                    <a:pt x="204" y="266"/>
                    <a:pt x="203" y="267"/>
                    <a:pt x="204" y="267"/>
                  </a:cubicBezTo>
                  <a:cubicBezTo>
                    <a:pt x="205" y="267"/>
                    <a:pt x="206" y="265"/>
                    <a:pt x="206" y="265"/>
                  </a:cubicBezTo>
                  <a:cubicBezTo>
                    <a:pt x="206" y="265"/>
                    <a:pt x="208" y="266"/>
                    <a:pt x="209" y="265"/>
                  </a:cubicBezTo>
                  <a:cubicBezTo>
                    <a:pt x="211" y="263"/>
                    <a:pt x="209" y="259"/>
                    <a:pt x="211" y="256"/>
                  </a:cubicBezTo>
                  <a:cubicBezTo>
                    <a:pt x="212" y="255"/>
                    <a:pt x="213" y="256"/>
                    <a:pt x="214" y="255"/>
                  </a:cubicBezTo>
                  <a:cubicBezTo>
                    <a:pt x="215" y="256"/>
                    <a:pt x="214" y="258"/>
                    <a:pt x="214" y="259"/>
                  </a:cubicBezTo>
                  <a:cubicBezTo>
                    <a:pt x="215" y="260"/>
                    <a:pt x="217" y="261"/>
                    <a:pt x="217" y="262"/>
                  </a:cubicBezTo>
                  <a:cubicBezTo>
                    <a:pt x="217" y="263"/>
                    <a:pt x="217" y="270"/>
                    <a:pt x="216" y="273"/>
                  </a:cubicBezTo>
                  <a:cubicBezTo>
                    <a:pt x="218" y="272"/>
                    <a:pt x="219" y="273"/>
                    <a:pt x="221" y="272"/>
                  </a:cubicBezTo>
                  <a:cubicBezTo>
                    <a:pt x="222" y="270"/>
                    <a:pt x="222" y="270"/>
                    <a:pt x="222" y="270"/>
                  </a:cubicBezTo>
                  <a:cubicBezTo>
                    <a:pt x="222" y="270"/>
                    <a:pt x="224" y="271"/>
                    <a:pt x="224" y="270"/>
                  </a:cubicBezTo>
                  <a:cubicBezTo>
                    <a:pt x="225" y="275"/>
                    <a:pt x="225" y="277"/>
                    <a:pt x="227" y="280"/>
                  </a:cubicBezTo>
                  <a:cubicBezTo>
                    <a:pt x="228" y="281"/>
                    <a:pt x="228" y="281"/>
                    <a:pt x="228" y="281"/>
                  </a:cubicBezTo>
                  <a:cubicBezTo>
                    <a:pt x="229" y="285"/>
                    <a:pt x="226" y="289"/>
                    <a:pt x="228" y="293"/>
                  </a:cubicBezTo>
                  <a:cubicBezTo>
                    <a:pt x="228" y="295"/>
                    <a:pt x="232" y="296"/>
                    <a:pt x="234" y="298"/>
                  </a:cubicBezTo>
                  <a:cubicBezTo>
                    <a:pt x="234" y="299"/>
                    <a:pt x="234" y="301"/>
                    <a:pt x="235" y="302"/>
                  </a:cubicBezTo>
                  <a:cubicBezTo>
                    <a:pt x="235" y="302"/>
                    <a:pt x="237" y="301"/>
                    <a:pt x="238" y="302"/>
                  </a:cubicBezTo>
                  <a:cubicBezTo>
                    <a:pt x="240" y="302"/>
                    <a:pt x="242" y="306"/>
                    <a:pt x="244" y="306"/>
                  </a:cubicBezTo>
                  <a:cubicBezTo>
                    <a:pt x="245" y="306"/>
                    <a:pt x="245" y="304"/>
                    <a:pt x="248" y="304"/>
                  </a:cubicBezTo>
                  <a:close/>
                  <a:moveTo>
                    <a:pt x="268" y="334"/>
                  </a:moveTo>
                  <a:cubicBezTo>
                    <a:pt x="268" y="334"/>
                    <a:pt x="267" y="338"/>
                    <a:pt x="267" y="339"/>
                  </a:cubicBezTo>
                  <a:cubicBezTo>
                    <a:pt x="269" y="342"/>
                    <a:pt x="269" y="342"/>
                    <a:pt x="269" y="342"/>
                  </a:cubicBezTo>
                  <a:cubicBezTo>
                    <a:pt x="269" y="343"/>
                    <a:pt x="274" y="352"/>
                    <a:pt x="275" y="352"/>
                  </a:cubicBezTo>
                  <a:cubicBezTo>
                    <a:pt x="275" y="353"/>
                    <a:pt x="275" y="353"/>
                    <a:pt x="275" y="353"/>
                  </a:cubicBezTo>
                  <a:cubicBezTo>
                    <a:pt x="276" y="353"/>
                    <a:pt x="277" y="353"/>
                    <a:pt x="277" y="353"/>
                  </a:cubicBezTo>
                  <a:cubicBezTo>
                    <a:pt x="277" y="354"/>
                    <a:pt x="276" y="354"/>
                    <a:pt x="275" y="354"/>
                  </a:cubicBezTo>
                  <a:cubicBezTo>
                    <a:pt x="275" y="356"/>
                    <a:pt x="274" y="357"/>
                    <a:pt x="275" y="359"/>
                  </a:cubicBezTo>
                  <a:cubicBezTo>
                    <a:pt x="275" y="360"/>
                    <a:pt x="278" y="362"/>
                    <a:pt x="279" y="363"/>
                  </a:cubicBezTo>
                  <a:cubicBezTo>
                    <a:pt x="279" y="364"/>
                    <a:pt x="279" y="365"/>
                    <a:pt x="279" y="365"/>
                  </a:cubicBezTo>
                  <a:cubicBezTo>
                    <a:pt x="280" y="366"/>
                    <a:pt x="282" y="365"/>
                    <a:pt x="282" y="366"/>
                  </a:cubicBezTo>
                  <a:cubicBezTo>
                    <a:pt x="283" y="367"/>
                    <a:pt x="281" y="368"/>
                    <a:pt x="283" y="369"/>
                  </a:cubicBezTo>
                  <a:cubicBezTo>
                    <a:pt x="283" y="369"/>
                    <a:pt x="283" y="369"/>
                    <a:pt x="283" y="369"/>
                  </a:cubicBezTo>
                  <a:cubicBezTo>
                    <a:pt x="286" y="370"/>
                    <a:pt x="286" y="369"/>
                    <a:pt x="289" y="370"/>
                  </a:cubicBezTo>
                  <a:cubicBezTo>
                    <a:pt x="289" y="369"/>
                    <a:pt x="289" y="368"/>
                    <a:pt x="289" y="368"/>
                  </a:cubicBezTo>
                  <a:cubicBezTo>
                    <a:pt x="290" y="368"/>
                    <a:pt x="290" y="370"/>
                    <a:pt x="291" y="369"/>
                  </a:cubicBezTo>
                  <a:cubicBezTo>
                    <a:pt x="292" y="368"/>
                    <a:pt x="292" y="365"/>
                    <a:pt x="291" y="366"/>
                  </a:cubicBezTo>
                  <a:cubicBezTo>
                    <a:pt x="291" y="367"/>
                    <a:pt x="291" y="367"/>
                    <a:pt x="291" y="367"/>
                  </a:cubicBezTo>
                  <a:cubicBezTo>
                    <a:pt x="291" y="367"/>
                    <a:pt x="290" y="367"/>
                    <a:pt x="290" y="367"/>
                  </a:cubicBezTo>
                  <a:cubicBezTo>
                    <a:pt x="290" y="366"/>
                    <a:pt x="290" y="366"/>
                    <a:pt x="289" y="364"/>
                  </a:cubicBezTo>
                  <a:cubicBezTo>
                    <a:pt x="291" y="364"/>
                    <a:pt x="291" y="364"/>
                    <a:pt x="291" y="363"/>
                  </a:cubicBezTo>
                  <a:cubicBezTo>
                    <a:pt x="291" y="362"/>
                    <a:pt x="291" y="362"/>
                    <a:pt x="291" y="362"/>
                  </a:cubicBezTo>
                  <a:cubicBezTo>
                    <a:pt x="292" y="362"/>
                    <a:pt x="292" y="362"/>
                    <a:pt x="292" y="362"/>
                  </a:cubicBezTo>
                  <a:cubicBezTo>
                    <a:pt x="291" y="361"/>
                    <a:pt x="295" y="362"/>
                    <a:pt x="293" y="363"/>
                  </a:cubicBezTo>
                  <a:cubicBezTo>
                    <a:pt x="294" y="363"/>
                    <a:pt x="294" y="365"/>
                    <a:pt x="295" y="365"/>
                  </a:cubicBezTo>
                  <a:cubicBezTo>
                    <a:pt x="295" y="365"/>
                    <a:pt x="297" y="364"/>
                    <a:pt x="297" y="364"/>
                  </a:cubicBezTo>
                  <a:cubicBezTo>
                    <a:pt x="295" y="359"/>
                    <a:pt x="297" y="357"/>
                    <a:pt x="297" y="351"/>
                  </a:cubicBezTo>
                  <a:cubicBezTo>
                    <a:pt x="298" y="351"/>
                    <a:pt x="299" y="353"/>
                    <a:pt x="299" y="351"/>
                  </a:cubicBezTo>
                  <a:cubicBezTo>
                    <a:pt x="301" y="346"/>
                    <a:pt x="298" y="339"/>
                    <a:pt x="297" y="336"/>
                  </a:cubicBezTo>
                  <a:cubicBezTo>
                    <a:pt x="296" y="337"/>
                    <a:pt x="294" y="338"/>
                    <a:pt x="291" y="339"/>
                  </a:cubicBezTo>
                  <a:cubicBezTo>
                    <a:pt x="291" y="339"/>
                    <a:pt x="290" y="341"/>
                    <a:pt x="290" y="341"/>
                  </a:cubicBezTo>
                  <a:cubicBezTo>
                    <a:pt x="286" y="342"/>
                    <a:pt x="279" y="337"/>
                    <a:pt x="275" y="336"/>
                  </a:cubicBezTo>
                  <a:cubicBezTo>
                    <a:pt x="273" y="335"/>
                    <a:pt x="273" y="336"/>
                    <a:pt x="272" y="336"/>
                  </a:cubicBezTo>
                  <a:cubicBezTo>
                    <a:pt x="272" y="336"/>
                    <a:pt x="270" y="334"/>
                    <a:pt x="270" y="334"/>
                  </a:cubicBezTo>
                  <a:cubicBezTo>
                    <a:pt x="269" y="334"/>
                    <a:pt x="269" y="335"/>
                    <a:pt x="268" y="334"/>
                  </a:cubicBezTo>
                  <a:close/>
                  <a:moveTo>
                    <a:pt x="297" y="324"/>
                  </a:moveTo>
                  <a:cubicBezTo>
                    <a:pt x="296" y="324"/>
                    <a:pt x="296" y="326"/>
                    <a:pt x="296" y="326"/>
                  </a:cubicBezTo>
                  <a:cubicBezTo>
                    <a:pt x="296" y="326"/>
                    <a:pt x="295" y="329"/>
                    <a:pt x="299" y="330"/>
                  </a:cubicBezTo>
                  <a:cubicBezTo>
                    <a:pt x="299" y="331"/>
                    <a:pt x="299" y="331"/>
                    <a:pt x="299" y="331"/>
                  </a:cubicBezTo>
                  <a:cubicBezTo>
                    <a:pt x="299" y="331"/>
                    <a:pt x="301" y="330"/>
                    <a:pt x="301" y="330"/>
                  </a:cubicBezTo>
                  <a:cubicBezTo>
                    <a:pt x="300" y="328"/>
                    <a:pt x="299" y="324"/>
                    <a:pt x="297" y="324"/>
                  </a:cubicBezTo>
                  <a:close/>
                  <a:moveTo>
                    <a:pt x="261" y="322"/>
                  </a:moveTo>
                  <a:cubicBezTo>
                    <a:pt x="261" y="322"/>
                    <a:pt x="259" y="328"/>
                    <a:pt x="262" y="327"/>
                  </a:cubicBezTo>
                  <a:cubicBezTo>
                    <a:pt x="262" y="326"/>
                    <a:pt x="263" y="322"/>
                    <a:pt x="261" y="322"/>
                  </a:cubicBezTo>
                  <a:close/>
                  <a:moveTo>
                    <a:pt x="208" y="273"/>
                  </a:moveTo>
                  <a:cubicBezTo>
                    <a:pt x="202" y="274"/>
                    <a:pt x="204" y="278"/>
                    <a:pt x="210" y="277"/>
                  </a:cubicBezTo>
                  <a:cubicBezTo>
                    <a:pt x="214" y="276"/>
                    <a:pt x="211" y="273"/>
                    <a:pt x="208" y="273"/>
                  </a:cubicBezTo>
                  <a:close/>
                  <a:moveTo>
                    <a:pt x="190" y="222"/>
                  </a:moveTo>
                  <a:cubicBezTo>
                    <a:pt x="193" y="222"/>
                    <a:pt x="189" y="223"/>
                    <a:pt x="189" y="223"/>
                  </a:cubicBezTo>
                  <a:cubicBezTo>
                    <a:pt x="190" y="223"/>
                    <a:pt x="189" y="222"/>
                    <a:pt x="190" y="222"/>
                  </a:cubicBezTo>
                  <a:close/>
                  <a:moveTo>
                    <a:pt x="194" y="221"/>
                  </a:moveTo>
                  <a:cubicBezTo>
                    <a:pt x="197" y="222"/>
                    <a:pt x="195" y="223"/>
                    <a:pt x="197" y="226"/>
                  </a:cubicBezTo>
                  <a:cubicBezTo>
                    <a:pt x="198" y="227"/>
                    <a:pt x="198" y="227"/>
                    <a:pt x="198" y="227"/>
                  </a:cubicBezTo>
                  <a:cubicBezTo>
                    <a:pt x="199" y="228"/>
                    <a:pt x="198" y="228"/>
                    <a:pt x="198" y="230"/>
                  </a:cubicBezTo>
                  <a:cubicBezTo>
                    <a:pt x="197" y="230"/>
                    <a:pt x="197" y="229"/>
                    <a:pt x="195" y="229"/>
                  </a:cubicBezTo>
                  <a:cubicBezTo>
                    <a:pt x="195" y="226"/>
                    <a:pt x="194" y="221"/>
                    <a:pt x="194" y="221"/>
                  </a:cubicBezTo>
                  <a:close/>
                  <a:moveTo>
                    <a:pt x="208" y="215"/>
                  </a:moveTo>
                  <a:cubicBezTo>
                    <a:pt x="213" y="217"/>
                    <a:pt x="212" y="224"/>
                    <a:pt x="211" y="223"/>
                  </a:cubicBezTo>
                  <a:cubicBezTo>
                    <a:pt x="211" y="223"/>
                    <a:pt x="206" y="215"/>
                    <a:pt x="208" y="215"/>
                  </a:cubicBezTo>
                  <a:close/>
                  <a:moveTo>
                    <a:pt x="2" y="151"/>
                  </a:moveTo>
                  <a:cubicBezTo>
                    <a:pt x="2" y="153"/>
                    <a:pt x="2" y="153"/>
                    <a:pt x="2" y="153"/>
                  </a:cubicBezTo>
                  <a:cubicBezTo>
                    <a:pt x="2" y="152"/>
                    <a:pt x="3" y="151"/>
                    <a:pt x="2" y="151"/>
                  </a:cubicBezTo>
                  <a:close/>
                  <a:moveTo>
                    <a:pt x="226" y="59"/>
                  </a:moveTo>
                  <a:cubicBezTo>
                    <a:pt x="226" y="63"/>
                    <a:pt x="226" y="63"/>
                    <a:pt x="226" y="63"/>
                  </a:cubicBezTo>
                  <a:cubicBezTo>
                    <a:pt x="227" y="61"/>
                    <a:pt x="231" y="59"/>
                    <a:pt x="226" y="59"/>
                  </a:cubicBezTo>
                  <a:close/>
                  <a:moveTo>
                    <a:pt x="202" y="30"/>
                  </a:moveTo>
                  <a:cubicBezTo>
                    <a:pt x="202" y="31"/>
                    <a:pt x="202" y="30"/>
                    <a:pt x="201" y="30"/>
                  </a:cubicBezTo>
                  <a:cubicBezTo>
                    <a:pt x="201" y="36"/>
                    <a:pt x="199" y="36"/>
                    <a:pt x="206" y="36"/>
                  </a:cubicBezTo>
                  <a:cubicBezTo>
                    <a:pt x="205" y="35"/>
                    <a:pt x="205" y="34"/>
                    <a:pt x="204" y="34"/>
                  </a:cubicBezTo>
                  <a:cubicBezTo>
                    <a:pt x="204" y="34"/>
                    <a:pt x="204" y="32"/>
                    <a:pt x="204" y="32"/>
                  </a:cubicBezTo>
                  <a:cubicBezTo>
                    <a:pt x="204" y="32"/>
                    <a:pt x="206" y="31"/>
                    <a:pt x="205" y="30"/>
                  </a:cubicBezTo>
                  <a:cubicBezTo>
                    <a:pt x="204" y="30"/>
                    <a:pt x="203" y="30"/>
                    <a:pt x="202" y="30"/>
                  </a:cubicBezTo>
                  <a:close/>
                  <a:moveTo>
                    <a:pt x="148" y="6"/>
                  </a:moveTo>
                  <a:cubicBezTo>
                    <a:pt x="147" y="9"/>
                    <a:pt x="147" y="8"/>
                    <a:pt x="147" y="10"/>
                  </a:cubicBezTo>
                  <a:cubicBezTo>
                    <a:pt x="147" y="10"/>
                    <a:pt x="149" y="10"/>
                    <a:pt x="150" y="10"/>
                  </a:cubicBezTo>
                  <a:cubicBezTo>
                    <a:pt x="150" y="10"/>
                    <a:pt x="150" y="8"/>
                    <a:pt x="150" y="8"/>
                  </a:cubicBezTo>
                  <a:cubicBezTo>
                    <a:pt x="150" y="8"/>
                    <a:pt x="148" y="7"/>
                    <a:pt x="148" y="6"/>
                  </a:cubicBezTo>
                  <a:close/>
                  <a:moveTo>
                    <a:pt x="155" y="5"/>
                  </a:moveTo>
                  <a:cubicBezTo>
                    <a:pt x="155" y="7"/>
                    <a:pt x="155" y="7"/>
                    <a:pt x="155" y="7"/>
                  </a:cubicBezTo>
                  <a:cubicBezTo>
                    <a:pt x="153" y="7"/>
                    <a:pt x="153" y="7"/>
                    <a:pt x="152" y="7"/>
                  </a:cubicBezTo>
                  <a:cubicBezTo>
                    <a:pt x="152" y="7"/>
                    <a:pt x="152" y="9"/>
                    <a:pt x="152" y="9"/>
                  </a:cubicBezTo>
                  <a:cubicBezTo>
                    <a:pt x="152" y="9"/>
                    <a:pt x="153" y="9"/>
                    <a:pt x="154" y="9"/>
                  </a:cubicBezTo>
                  <a:cubicBezTo>
                    <a:pt x="154" y="8"/>
                    <a:pt x="154" y="7"/>
                    <a:pt x="155" y="7"/>
                  </a:cubicBezTo>
                  <a:cubicBezTo>
                    <a:pt x="155" y="7"/>
                    <a:pt x="160" y="8"/>
                    <a:pt x="157" y="6"/>
                  </a:cubicBezTo>
                  <a:cubicBezTo>
                    <a:pt x="156" y="6"/>
                    <a:pt x="157" y="5"/>
                    <a:pt x="155" y="5"/>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02" name="Freeform 338">
              <a:extLst>
                <a:ext uri="{FF2B5EF4-FFF2-40B4-BE49-F238E27FC236}">
                  <a16:creationId xmlns:a16="http://schemas.microsoft.com/office/drawing/2014/main" id="{D5B69FD6-868A-2C06-79CE-EEE96F1C7CF9}"/>
                </a:ext>
              </a:extLst>
            </p:cNvPr>
            <p:cNvSpPr>
              <a:spLocks noEditPoints="1"/>
            </p:cNvSpPr>
            <p:nvPr/>
          </p:nvSpPr>
          <p:spPr bwMode="auto">
            <a:xfrm>
              <a:off x="7299814" y="2611672"/>
              <a:ext cx="107784" cy="102397"/>
            </a:xfrm>
            <a:custGeom>
              <a:avLst/>
              <a:gdLst>
                <a:gd name="T0" fmla="*/ 3 w 31"/>
                <a:gd name="T1" fmla="*/ 1 h 29"/>
                <a:gd name="T2" fmla="*/ 3 w 31"/>
                <a:gd name="T3" fmla="*/ 6 h 29"/>
                <a:gd name="T4" fmla="*/ 1 w 31"/>
                <a:gd name="T5" fmla="*/ 11 h 29"/>
                <a:gd name="T6" fmla="*/ 11 w 31"/>
                <a:gd name="T7" fmla="*/ 16 h 29"/>
                <a:gd name="T8" fmla="*/ 13 w 31"/>
                <a:gd name="T9" fmla="*/ 21 h 29"/>
                <a:gd name="T10" fmla="*/ 16 w 31"/>
                <a:gd name="T11" fmla="*/ 20 h 29"/>
                <a:gd name="T12" fmla="*/ 20 w 31"/>
                <a:gd name="T13" fmla="*/ 21 h 29"/>
                <a:gd name="T14" fmla="*/ 23 w 31"/>
                <a:gd name="T15" fmla="*/ 24 h 29"/>
                <a:gd name="T16" fmla="*/ 26 w 31"/>
                <a:gd name="T17" fmla="*/ 29 h 29"/>
                <a:gd name="T18" fmla="*/ 29 w 31"/>
                <a:gd name="T19" fmla="*/ 27 h 29"/>
                <a:gd name="T20" fmla="*/ 31 w 31"/>
                <a:gd name="T21" fmla="*/ 25 h 29"/>
                <a:gd name="T22" fmla="*/ 30 w 31"/>
                <a:gd name="T23" fmla="*/ 20 h 29"/>
                <a:gd name="T24" fmla="*/ 27 w 31"/>
                <a:gd name="T25" fmla="*/ 19 h 29"/>
                <a:gd name="T26" fmla="*/ 24 w 31"/>
                <a:gd name="T27" fmla="*/ 16 h 29"/>
                <a:gd name="T28" fmla="*/ 26 w 31"/>
                <a:gd name="T29" fmla="*/ 14 h 29"/>
                <a:gd name="T30" fmla="*/ 24 w 31"/>
                <a:gd name="T31" fmla="*/ 12 h 29"/>
                <a:gd name="T32" fmla="*/ 20 w 31"/>
                <a:gd name="T33" fmla="*/ 10 h 29"/>
                <a:gd name="T34" fmla="*/ 21 w 31"/>
                <a:gd name="T35" fmla="*/ 6 h 29"/>
                <a:gd name="T36" fmla="*/ 18 w 31"/>
                <a:gd name="T37" fmla="*/ 3 h 29"/>
                <a:gd name="T38" fmla="*/ 15 w 31"/>
                <a:gd name="T39" fmla="*/ 3 h 29"/>
                <a:gd name="T40" fmla="*/ 15 w 31"/>
                <a:gd name="T41" fmla="*/ 0 h 29"/>
                <a:gd name="T42" fmla="*/ 10 w 31"/>
                <a:gd name="T43" fmla="*/ 0 h 29"/>
                <a:gd name="T44" fmla="*/ 3 w 31"/>
                <a:gd name="T45" fmla="*/ 1 h 29"/>
                <a:gd name="T46" fmla="*/ 10 w 31"/>
                <a:gd name="T47" fmla="*/ 11 h 29"/>
                <a:gd name="T48" fmla="*/ 15 w 31"/>
                <a:gd name="T49" fmla="*/ 13 h 29"/>
                <a:gd name="T50" fmla="*/ 12 w 31"/>
                <a:gd name="T51" fmla="*/ 14 h 29"/>
                <a:gd name="T52" fmla="*/ 10 w 31"/>
                <a:gd name="T53" fmla="*/ 1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29">
                  <a:moveTo>
                    <a:pt x="3" y="1"/>
                  </a:moveTo>
                  <a:cubicBezTo>
                    <a:pt x="3" y="1"/>
                    <a:pt x="6" y="5"/>
                    <a:pt x="3" y="6"/>
                  </a:cubicBezTo>
                  <a:cubicBezTo>
                    <a:pt x="1" y="8"/>
                    <a:pt x="3" y="8"/>
                    <a:pt x="1" y="11"/>
                  </a:cubicBezTo>
                  <a:cubicBezTo>
                    <a:pt x="0" y="14"/>
                    <a:pt x="8" y="15"/>
                    <a:pt x="11" y="16"/>
                  </a:cubicBezTo>
                  <a:cubicBezTo>
                    <a:pt x="14" y="18"/>
                    <a:pt x="13" y="21"/>
                    <a:pt x="13" y="21"/>
                  </a:cubicBezTo>
                  <a:cubicBezTo>
                    <a:pt x="13" y="21"/>
                    <a:pt x="14" y="20"/>
                    <a:pt x="16" y="20"/>
                  </a:cubicBezTo>
                  <a:cubicBezTo>
                    <a:pt x="19" y="20"/>
                    <a:pt x="20" y="21"/>
                    <a:pt x="20" y="21"/>
                  </a:cubicBezTo>
                  <a:cubicBezTo>
                    <a:pt x="20" y="21"/>
                    <a:pt x="21" y="22"/>
                    <a:pt x="23" y="24"/>
                  </a:cubicBezTo>
                  <a:cubicBezTo>
                    <a:pt x="26" y="26"/>
                    <a:pt x="26" y="29"/>
                    <a:pt x="26" y="29"/>
                  </a:cubicBezTo>
                  <a:cubicBezTo>
                    <a:pt x="26" y="29"/>
                    <a:pt x="27" y="28"/>
                    <a:pt x="29" y="27"/>
                  </a:cubicBezTo>
                  <a:cubicBezTo>
                    <a:pt x="30" y="26"/>
                    <a:pt x="31" y="25"/>
                    <a:pt x="31" y="25"/>
                  </a:cubicBezTo>
                  <a:cubicBezTo>
                    <a:pt x="31" y="25"/>
                    <a:pt x="29" y="22"/>
                    <a:pt x="30" y="20"/>
                  </a:cubicBezTo>
                  <a:cubicBezTo>
                    <a:pt x="30" y="19"/>
                    <a:pt x="28" y="20"/>
                    <a:pt x="27" y="19"/>
                  </a:cubicBezTo>
                  <a:cubicBezTo>
                    <a:pt x="25" y="19"/>
                    <a:pt x="24" y="16"/>
                    <a:pt x="24" y="16"/>
                  </a:cubicBezTo>
                  <a:cubicBezTo>
                    <a:pt x="26" y="14"/>
                    <a:pt x="26" y="14"/>
                    <a:pt x="26" y="14"/>
                  </a:cubicBezTo>
                  <a:cubicBezTo>
                    <a:pt x="26" y="14"/>
                    <a:pt x="25" y="13"/>
                    <a:pt x="24" y="12"/>
                  </a:cubicBezTo>
                  <a:cubicBezTo>
                    <a:pt x="22" y="11"/>
                    <a:pt x="20" y="10"/>
                    <a:pt x="20" y="10"/>
                  </a:cubicBezTo>
                  <a:cubicBezTo>
                    <a:pt x="20" y="10"/>
                    <a:pt x="23" y="6"/>
                    <a:pt x="21" y="6"/>
                  </a:cubicBezTo>
                  <a:cubicBezTo>
                    <a:pt x="20" y="5"/>
                    <a:pt x="19" y="1"/>
                    <a:pt x="18" y="3"/>
                  </a:cubicBezTo>
                  <a:cubicBezTo>
                    <a:pt x="17" y="5"/>
                    <a:pt x="15" y="3"/>
                    <a:pt x="15" y="3"/>
                  </a:cubicBezTo>
                  <a:cubicBezTo>
                    <a:pt x="15" y="0"/>
                    <a:pt x="15" y="0"/>
                    <a:pt x="15" y="0"/>
                  </a:cubicBezTo>
                  <a:cubicBezTo>
                    <a:pt x="15" y="0"/>
                    <a:pt x="11" y="0"/>
                    <a:pt x="10" y="0"/>
                  </a:cubicBezTo>
                  <a:cubicBezTo>
                    <a:pt x="8" y="0"/>
                    <a:pt x="3" y="1"/>
                    <a:pt x="3" y="1"/>
                  </a:cubicBezTo>
                  <a:close/>
                  <a:moveTo>
                    <a:pt x="10" y="11"/>
                  </a:moveTo>
                  <a:cubicBezTo>
                    <a:pt x="14" y="11"/>
                    <a:pt x="13" y="12"/>
                    <a:pt x="15" y="13"/>
                  </a:cubicBezTo>
                  <a:cubicBezTo>
                    <a:pt x="14" y="14"/>
                    <a:pt x="13" y="14"/>
                    <a:pt x="12" y="14"/>
                  </a:cubicBezTo>
                  <a:cubicBezTo>
                    <a:pt x="12" y="14"/>
                    <a:pt x="9" y="11"/>
                    <a:pt x="10" y="11"/>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03" name="Freeform 339">
              <a:extLst>
                <a:ext uri="{FF2B5EF4-FFF2-40B4-BE49-F238E27FC236}">
                  <a16:creationId xmlns:a16="http://schemas.microsoft.com/office/drawing/2014/main" id="{B720886A-5BBE-9AEB-A999-8E9DFDC527BE}"/>
                </a:ext>
              </a:extLst>
            </p:cNvPr>
            <p:cNvSpPr>
              <a:spLocks noEditPoints="1"/>
            </p:cNvSpPr>
            <p:nvPr/>
          </p:nvSpPr>
          <p:spPr bwMode="auto">
            <a:xfrm>
              <a:off x="7299814" y="2611672"/>
              <a:ext cx="107784" cy="102397"/>
            </a:xfrm>
            <a:custGeom>
              <a:avLst/>
              <a:gdLst>
                <a:gd name="T0" fmla="*/ 3 w 31"/>
                <a:gd name="T1" fmla="*/ 1 h 29"/>
                <a:gd name="T2" fmla="*/ 3 w 31"/>
                <a:gd name="T3" fmla="*/ 6 h 29"/>
                <a:gd name="T4" fmla="*/ 1 w 31"/>
                <a:gd name="T5" fmla="*/ 11 h 29"/>
                <a:gd name="T6" fmla="*/ 11 w 31"/>
                <a:gd name="T7" fmla="*/ 16 h 29"/>
                <a:gd name="T8" fmla="*/ 13 w 31"/>
                <a:gd name="T9" fmla="*/ 21 h 29"/>
                <a:gd name="T10" fmla="*/ 16 w 31"/>
                <a:gd name="T11" fmla="*/ 20 h 29"/>
                <a:gd name="T12" fmla="*/ 20 w 31"/>
                <a:gd name="T13" fmla="*/ 21 h 29"/>
                <a:gd name="T14" fmla="*/ 23 w 31"/>
                <a:gd name="T15" fmla="*/ 24 h 29"/>
                <a:gd name="T16" fmla="*/ 26 w 31"/>
                <a:gd name="T17" fmla="*/ 29 h 29"/>
                <a:gd name="T18" fmla="*/ 29 w 31"/>
                <a:gd name="T19" fmla="*/ 27 h 29"/>
                <a:gd name="T20" fmla="*/ 31 w 31"/>
                <a:gd name="T21" fmla="*/ 25 h 29"/>
                <a:gd name="T22" fmla="*/ 30 w 31"/>
                <a:gd name="T23" fmla="*/ 20 h 29"/>
                <a:gd name="T24" fmla="*/ 27 w 31"/>
                <a:gd name="T25" fmla="*/ 19 h 29"/>
                <a:gd name="T26" fmla="*/ 24 w 31"/>
                <a:gd name="T27" fmla="*/ 16 h 29"/>
                <a:gd name="T28" fmla="*/ 26 w 31"/>
                <a:gd name="T29" fmla="*/ 14 h 29"/>
                <a:gd name="T30" fmla="*/ 24 w 31"/>
                <a:gd name="T31" fmla="*/ 12 h 29"/>
                <a:gd name="T32" fmla="*/ 20 w 31"/>
                <a:gd name="T33" fmla="*/ 10 h 29"/>
                <a:gd name="T34" fmla="*/ 21 w 31"/>
                <a:gd name="T35" fmla="*/ 6 h 29"/>
                <a:gd name="T36" fmla="*/ 18 w 31"/>
                <a:gd name="T37" fmla="*/ 3 h 29"/>
                <a:gd name="T38" fmla="*/ 15 w 31"/>
                <a:gd name="T39" fmla="*/ 3 h 29"/>
                <a:gd name="T40" fmla="*/ 15 w 31"/>
                <a:gd name="T41" fmla="*/ 0 h 29"/>
                <a:gd name="T42" fmla="*/ 10 w 31"/>
                <a:gd name="T43" fmla="*/ 0 h 29"/>
                <a:gd name="T44" fmla="*/ 3 w 31"/>
                <a:gd name="T45" fmla="*/ 1 h 29"/>
                <a:gd name="T46" fmla="*/ 10 w 31"/>
                <a:gd name="T47" fmla="*/ 11 h 29"/>
                <a:gd name="T48" fmla="*/ 15 w 31"/>
                <a:gd name="T49" fmla="*/ 13 h 29"/>
                <a:gd name="T50" fmla="*/ 12 w 31"/>
                <a:gd name="T51" fmla="*/ 14 h 29"/>
                <a:gd name="T52" fmla="*/ 10 w 31"/>
                <a:gd name="T53" fmla="*/ 1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29">
                  <a:moveTo>
                    <a:pt x="3" y="1"/>
                  </a:moveTo>
                  <a:cubicBezTo>
                    <a:pt x="3" y="1"/>
                    <a:pt x="6" y="5"/>
                    <a:pt x="3" y="6"/>
                  </a:cubicBezTo>
                  <a:cubicBezTo>
                    <a:pt x="1" y="8"/>
                    <a:pt x="3" y="8"/>
                    <a:pt x="1" y="11"/>
                  </a:cubicBezTo>
                  <a:cubicBezTo>
                    <a:pt x="0" y="14"/>
                    <a:pt x="8" y="15"/>
                    <a:pt x="11" y="16"/>
                  </a:cubicBezTo>
                  <a:cubicBezTo>
                    <a:pt x="14" y="18"/>
                    <a:pt x="13" y="21"/>
                    <a:pt x="13" y="21"/>
                  </a:cubicBezTo>
                  <a:cubicBezTo>
                    <a:pt x="13" y="21"/>
                    <a:pt x="14" y="20"/>
                    <a:pt x="16" y="20"/>
                  </a:cubicBezTo>
                  <a:cubicBezTo>
                    <a:pt x="19" y="20"/>
                    <a:pt x="20" y="21"/>
                    <a:pt x="20" y="21"/>
                  </a:cubicBezTo>
                  <a:cubicBezTo>
                    <a:pt x="20" y="21"/>
                    <a:pt x="21" y="22"/>
                    <a:pt x="23" y="24"/>
                  </a:cubicBezTo>
                  <a:cubicBezTo>
                    <a:pt x="26" y="26"/>
                    <a:pt x="26" y="29"/>
                    <a:pt x="26" y="29"/>
                  </a:cubicBezTo>
                  <a:cubicBezTo>
                    <a:pt x="26" y="29"/>
                    <a:pt x="27" y="28"/>
                    <a:pt x="29" y="27"/>
                  </a:cubicBezTo>
                  <a:cubicBezTo>
                    <a:pt x="30" y="26"/>
                    <a:pt x="31" y="25"/>
                    <a:pt x="31" y="25"/>
                  </a:cubicBezTo>
                  <a:cubicBezTo>
                    <a:pt x="31" y="25"/>
                    <a:pt x="29" y="22"/>
                    <a:pt x="30" y="20"/>
                  </a:cubicBezTo>
                  <a:cubicBezTo>
                    <a:pt x="30" y="19"/>
                    <a:pt x="28" y="20"/>
                    <a:pt x="27" y="19"/>
                  </a:cubicBezTo>
                  <a:cubicBezTo>
                    <a:pt x="25" y="19"/>
                    <a:pt x="24" y="16"/>
                    <a:pt x="24" y="16"/>
                  </a:cubicBezTo>
                  <a:cubicBezTo>
                    <a:pt x="26" y="14"/>
                    <a:pt x="26" y="14"/>
                    <a:pt x="26" y="14"/>
                  </a:cubicBezTo>
                  <a:cubicBezTo>
                    <a:pt x="26" y="14"/>
                    <a:pt x="25" y="13"/>
                    <a:pt x="24" y="12"/>
                  </a:cubicBezTo>
                  <a:cubicBezTo>
                    <a:pt x="22" y="11"/>
                    <a:pt x="20" y="10"/>
                    <a:pt x="20" y="10"/>
                  </a:cubicBezTo>
                  <a:cubicBezTo>
                    <a:pt x="20" y="10"/>
                    <a:pt x="23" y="6"/>
                    <a:pt x="21" y="6"/>
                  </a:cubicBezTo>
                  <a:cubicBezTo>
                    <a:pt x="20" y="5"/>
                    <a:pt x="19" y="1"/>
                    <a:pt x="18" y="3"/>
                  </a:cubicBezTo>
                  <a:cubicBezTo>
                    <a:pt x="17" y="5"/>
                    <a:pt x="15" y="3"/>
                    <a:pt x="15" y="3"/>
                  </a:cubicBezTo>
                  <a:cubicBezTo>
                    <a:pt x="15" y="0"/>
                    <a:pt x="15" y="0"/>
                    <a:pt x="15" y="0"/>
                  </a:cubicBezTo>
                  <a:cubicBezTo>
                    <a:pt x="15" y="0"/>
                    <a:pt x="11" y="0"/>
                    <a:pt x="10" y="0"/>
                  </a:cubicBezTo>
                  <a:cubicBezTo>
                    <a:pt x="8" y="0"/>
                    <a:pt x="3" y="1"/>
                    <a:pt x="3" y="1"/>
                  </a:cubicBezTo>
                  <a:close/>
                  <a:moveTo>
                    <a:pt x="10" y="11"/>
                  </a:moveTo>
                  <a:cubicBezTo>
                    <a:pt x="14" y="11"/>
                    <a:pt x="13" y="12"/>
                    <a:pt x="15" y="13"/>
                  </a:cubicBezTo>
                  <a:cubicBezTo>
                    <a:pt x="14" y="14"/>
                    <a:pt x="13" y="14"/>
                    <a:pt x="12" y="14"/>
                  </a:cubicBezTo>
                  <a:cubicBezTo>
                    <a:pt x="12" y="14"/>
                    <a:pt x="9" y="11"/>
                    <a:pt x="10" y="11"/>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04" name="Freeform 340">
              <a:extLst>
                <a:ext uri="{FF2B5EF4-FFF2-40B4-BE49-F238E27FC236}">
                  <a16:creationId xmlns:a16="http://schemas.microsoft.com/office/drawing/2014/main" id="{EC2D13FE-236B-4D85-4DB5-D36C49AECC57}"/>
                </a:ext>
              </a:extLst>
            </p:cNvPr>
            <p:cNvSpPr>
              <a:spLocks noEditPoints="1"/>
            </p:cNvSpPr>
            <p:nvPr/>
          </p:nvSpPr>
          <p:spPr bwMode="auto">
            <a:xfrm>
              <a:off x="3733943" y="5058410"/>
              <a:ext cx="600000" cy="1420977"/>
            </a:xfrm>
            <a:custGeom>
              <a:avLst/>
              <a:gdLst>
                <a:gd name="T0" fmla="*/ 75 w 170"/>
                <a:gd name="T1" fmla="*/ 9 h 403"/>
                <a:gd name="T2" fmla="*/ 52 w 170"/>
                <a:gd name="T3" fmla="*/ 7 h 403"/>
                <a:gd name="T4" fmla="*/ 44 w 170"/>
                <a:gd name="T5" fmla="*/ 33 h 403"/>
                <a:gd name="T6" fmla="*/ 43 w 170"/>
                <a:gd name="T7" fmla="*/ 64 h 403"/>
                <a:gd name="T8" fmla="*/ 33 w 170"/>
                <a:gd name="T9" fmla="*/ 101 h 403"/>
                <a:gd name="T10" fmla="*/ 29 w 170"/>
                <a:gd name="T11" fmla="*/ 133 h 403"/>
                <a:gd name="T12" fmla="*/ 26 w 170"/>
                <a:gd name="T13" fmla="*/ 167 h 403"/>
                <a:gd name="T14" fmla="*/ 20 w 170"/>
                <a:gd name="T15" fmla="*/ 190 h 403"/>
                <a:gd name="T16" fmla="*/ 13 w 170"/>
                <a:gd name="T17" fmla="*/ 221 h 403"/>
                <a:gd name="T18" fmla="*/ 12 w 170"/>
                <a:gd name="T19" fmla="*/ 249 h 403"/>
                <a:gd name="T20" fmla="*/ 15 w 170"/>
                <a:gd name="T21" fmla="*/ 273 h 403"/>
                <a:gd name="T22" fmla="*/ 14 w 170"/>
                <a:gd name="T23" fmla="*/ 292 h 403"/>
                <a:gd name="T24" fmla="*/ 9 w 170"/>
                <a:gd name="T25" fmla="*/ 313 h 403"/>
                <a:gd name="T26" fmla="*/ 1 w 170"/>
                <a:gd name="T27" fmla="*/ 339 h 403"/>
                <a:gd name="T28" fmla="*/ 8 w 170"/>
                <a:gd name="T29" fmla="*/ 357 h 403"/>
                <a:gd name="T30" fmla="*/ 40 w 170"/>
                <a:gd name="T31" fmla="*/ 360 h 403"/>
                <a:gd name="T32" fmla="*/ 34 w 170"/>
                <a:gd name="T33" fmla="*/ 352 h 403"/>
                <a:gd name="T34" fmla="*/ 42 w 170"/>
                <a:gd name="T35" fmla="*/ 345 h 403"/>
                <a:gd name="T36" fmla="*/ 40 w 170"/>
                <a:gd name="T37" fmla="*/ 336 h 403"/>
                <a:gd name="T38" fmla="*/ 50 w 170"/>
                <a:gd name="T39" fmla="*/ 332 h 403"/>
                <a:gd name="T40" fmla="*/ 54 w 170"/>
                <a:gd name="T41" fmla="*/ 321 h 403"/>
                <a:gd name="T42" fmla="*/ 67 w 170"/>
                <a:gd name="T43" fmla="*/ 313 h 403"/>
                <a:gd name="T44" fmla="*/ 55 w 170"/>
                <a:gd name="T45" fmla="*/ 297 h 403"/>
                <a:gd name="T46" fmla="*/ 52 w 170"/>
                <a:gd name="T47" fmla="*/ 285 h 403"/>
                <a:gd name="T48" fmla="*/ 68 w 170"/>
                <a:gd name="T49" fmla="*/ 272 h 403"/>
                <a:gd name="T50" fmla="*/ 78 w 170"/>
                <a:gd name="T51" fmla="*/ 249 h 403"/>
                <a:gd name="T52" fmla="*/ 80 w 170"/>
                <a:gd name="T53" fmla="*/ 244 h 403"/>
                <a:gd name="T54" fmla="*/ 86 w 170"/>
                <a:gd name="T55" fmla="*/ 241 h 403"/>
                <a:gd name="T56" fmla="*/ 80 w 170"/>
                <a:gd name="T57" fmla="*/ 242 h 403"/>
                <a:gd name="T58" fmla="*/ 71 w 170"/>
                <a:gd name="T59" fmla="*/ 232 h 403"/>
                <a:gd name="T60" fmla="*/ 76 w 170"/>
                <a:gd name="T61" fmla="*/ 224 h 403"/>
                <a:gd name="T62" fmla="*/ 92 w 170"/>
                <a:gd name="T63" fmla="*/ 225 h 403"/>
                <a:gd name="T64" fmla="*/ 98 w 170"/>
                <a:gd name="T65" fmla="*/ 205 h 403"/>
                <a:gd name="T66" fmla="*/ 96 w 170"/>
                <a:gd name="T67" fmla="*/ 198 h 403"/>
                <a:gd name="T68" fmla="*/ 108 w 170"/>
                <a:gd name="T69" fmla="*/ 198 h 403"/>
                <a:gd name="T70" fmla="*/ 131 w 170"/>
                <a:gd name="T71" fmla="*/ 193 h 403"/>
                <a:gd name="T72" fmla="*/ 139 w 170"/>
                <a:gd name="T73" fmla="*/ 166 h 403"/>
                <a:gd name="T74" fmla="*/ 139 w 170"/>
                <a:gd name="T75" fmla="*/ 160 h 403"/>
                <a:gd name="T76" fmla="*/ 129 w 170"/>
                <a:gd name="T77" fmla="*/ 146 h 403"/>
                <a:gd name="T78" fmla="*/ 129 w 170"/>
                <a:gd name="T79" fmla="*/ 138 h 403"/>
                <a:gd name="T80" fmla="*/ 132 w 170"/>
                <a:gd name="T81" fmla="*/ 113 h 403"/>
                <a:gd name="T82" fmla="*/ 142 w 170"/>
                <a:gd name="T83" fmla="*/ 89 h 403"/>
                <a:gd name="T84" fmla="*/ 159 w 170"/>
                <a:gd name="T85" fmla="*/ 68 h 403"/>
                <a:gd name="T86" fmla="*/ 168 w 170"/>
                <a:gd name="T87" fmla="*/ 45 h 403"/>
                <a:gd name="T88" fmla="*/ 159 w 170"/>
                <a:gd name="T89" fmla="*/ 57 h 403"/>
                <a:gd name="T90" fmla="*/ 141 w 170"/>
                <a:gd name="T91" fmla="*/ 64 h 403"/>
                <a:gd name="T92" fmla="*/ 129 w 170"/>
                <a:gd name="T93" fmla="*/ 55 h 403"/>
                <a:gd name="T94" fmla="*/ 124 w 170"/>
                <a:gd name="T95" fmla="*/ 31 h 403"/>
                <a:gd name="T96" fmla="*/ 105 w 170"/>
                <a:gd name="T97" fmla="*/ 15 h 403"/>
                <a:gd name="T98" fmla="*/ 47 w 170"/>
                <a:gd name="T99" fmla="*/ 400 h 403"/>
                <a:gd name="T100" fmla="*/ 53 w 170"/>
                <a:gd name="T101" fmla="*/ 401 h 403"/>
                <a:gd name="T102" fmla="*/ 67 w 170"/>
                <a:gd name="T103" fmla="*/ 401 h 403"/>
                <a:gd name="T104" fmla="*/ 56 w 170"/>
                <a:gd name="T105" fmla="*/ 396 h 403"/>
                <a:gd name="T106" fmla="*/ 46 w 170"/>
                <a:gd name="T107" fmla="*/ 386 h 403"/>
                <a:gd name="T108" fmla="*/ 40 w 170"/>
                <a:gd name="T109" fmla="*/ 372 h 403"/>
                <a:gd name="T110" fmla="*/ 78 w 170"/>
                <a:gd name="T111" fmla="*/ 396 h 403"/>
                <a:gd name="T112" fmla="*/ 83 w 170"/>
                <a:gd name="T113" fmla="*/ 399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403">
                  <a:moveTo>
                    <a:pt x="95" y="3"/>
                  </a:moveTo>
                  <a:cubicBezTo>
                    <a:pt x="82" y="3"/>
                    <a:pt x="82" y="3"/>
                    <a:pt x="82" y="3"/>
                  </a:cubicBezTo>
                  <a:cubicBezTo>
                    <a:pt x="82" y="3"/>
                    <a:pt x="80" y="0"/>
                    <a:pt x="78" y="5"/>
                  </a:cubicBezTo>
                  <a:cubicBezTo>
                    <a:pt x="76" y="11"/>
                    <a:pt x="76" y="10"/>
                    <a:pt x="75" y="9"/>
                  </a:cubicBezTo>
                  <a:cubicBezTo>
                    <a:pt x="75" y="7"/>
                    <a:pt x="73" y="4"/>
                    <a:pt x="73" y="4"/>
                  </a:cubicBezTo>
                  <a:cubicBezTo>
                    <a:pt x="67" y="4"/>
                    <a:pt x="67" y="4"/>
                    <a:pt x="67" y="4"/>
                  </a:cubicBezTo>
                  <a:cubicBezTo>
                    <a:pt x="64" y="4"/>
                    <a:pt x="59" y="1"/>
                    <a:pt x="59" y="1"/>
                  </a:cubicBezTo>
                  <a:cubicBezTo>
                    <a:pt x="52" y="7"/>
                    <a:pt x="52" y="7"/>
                    <a:pt x="52" y="7"/>
                  </a:cubicBezTo>
                  <a:cubicBezTo>
                    <a:pt x="52" y="7"/>
                    <a:pt x="51" y="13"/>
                    <a:pt x="55" y="14"/>
                  </a:cubicBezTo>
                  <a:cubicBezTo>
                    <a:pt x="58" y="15"/>
                    <a:pt x="57" y="20"/>
                    <a:pt x="56" y="23"/>
                  </a:cubicBezTo>
                  <a:cubicBezTo>
                    <a:pt x="55" y="26"/>
                    <a:pt x="51" y="25"/>
                    <a:pt x="50" y="28"/>
                  </a:cubicBezTo>
                  <a:cubicBezTo>
                    <a:pt x="49" y="31"/>
                    <a:pt x="44" y="31"/>
                    <a:pt x="44" y="33"/>
                  </a:cubicBezTo>
                  <a:cubicBezTo>
                    <a:pt x="44" y="36"/>
                    <a:pt x="44" y="41"/>
                    <a:pt x="44" y="44"/>
                  </a:cubicBezTo>
                  <a:cubicBezTo>
                    <a:pt x="44" y="47"/>
                    <a:pt x="48" y="49"/>
                    <a:pt x="45" y="51"/>
                  </a:cubicBezTo>
                  <a:cubicBezTo>
                    <a:pt x="43" y="52"/>
                    <a:pt x="44" y="53"/>
                    <a:pt x="44" y="56"/>
                  </a:cubicBezTo>
                  <a:cubicBezTo>
                    <a:pt x="45" y="60"/>
                    <a:pt x="44" y="61"/>
                    <a:pt x="43" y="64"/>
                  </a:cubicBezTo>
                  <a:cubicBezTo>
                    <a:pt x="42" y="67"/>
                    <a:pt x="41" y="67"/>
                    <a:pt x="40" y="71"/>
                  </a:cubicBezTo>
                  <a:cubicBezTo>
                    <a:pt x="38" y="76"/>
                    <a:pt x="35" y="74"/>
                    <a:pt x="35" y="80"/>
                  </a:cubicBezTo>
                  <a:cubicBezTo>
                    <a:pt x="34" y="86"/>
                    <a:pt x="33" y="88"/>
                    <a:pt x="33" y="92"/>
                  </a:cubicBezTo>
                  <a:cubicBezTo>
                    <a:pt x="33" y="96"/>
                    <a:pt x="35" y="98"/>
                    <a:pt x="33" y="101"/>
                  </a:cubicBezTo>
                  <a:cubicBezTo>
                    <a:pt x="32" y="104"/>
                    <a:pt x="31" y="103"/>
                    <a:pt x="31" y="108"/>
                  </a:cubicBezTo>
                  <a:cubicBezTo>
                    <a:pt x="31" y="114"/>
                    <a:pt x="30" y="114"/>
                    <a:pt x="31" y="118"/>
                  </a:cubicBezTo>
                  <a:cubicBezTo>
                    <a:pt x="31" y="122"/>
                    <a:pt x="32" y="123"/>
                    <a:pt x="30" y="126"/>
                  </a:cubicBezTo>
                  <a:cubicBezTo>
                    <a:pt x="29" y="129"/>
                    <a:pt x="28" y="130"/>
                    <a:pt x="29" y="133"/>
                  </a:cubicBezTo>
                  <a:cubicBezTo>
                    <a:pt x="30" y="136"/>
                    <a:pt x="30" y="137"/>
                    <a:pt x="30" y="141"/>
                  </a:cubicBezTo>
                  <a:cubicBezTo>
                    <a:pt x="30" y="145"/>
                    <a:pt x="27" y="151"/>
                    <a:pt x="26" y="154"/>
                  </a:cubicBezTo>
                  <a:cubicBezTo>
                    <a:pt x="24" y="157"/>
                    <a:pt x="25" y="158"/>
                    <a:pt x="25" y="161"/>
                  </a:cubicBezTo>
                  <a:cubicBezTo>
                    <a:pt x="26" y="164"/>
                    <a:pt x="27" y="165"/>
                    <a:pt x="26" y="167"/>
                  </a:cubicBezTo>
                  <a:cubicBezTo>
                    <a:pt x="25" y="169"/>
                    <a:pt x="22" y="169"/>
                    <a:pt x="22" y="169"/>
                  </a:cubicBezTo>
                  <a:cubicBezTo>
                    <a:pt x="22" y="169"/>
                    <a:pt x="18" y="172"/>
                    <a:pt x="18" y="175"/>
                  </a:cubicBezTo>
                  <a:cubicBezTo>
                    <a:pt x="19" y="178"/>
                    <a:pt x="18" y="180"/>
                    <a:pt x="18" y="183"/>
                  </a:cubicBezTo>
                  <a:cubicBezTo>
                    <a:pt x="17" y="186"/>
                    <a:pt x="20" y="187"/>
                    <a:pt x="20" y="190"/>
                  </a:cubicBezTo>
                  <a:cubicBezTo>
                    <a:pt x="20" y="193"/>
                    <a:pt x="20" y="190"/>
                    <a:pt x="17" y="193"/>
                  </a:cubicBezTo>
                  <a:cubicBezTo>
                    <a:pt x="15" y="196"/>
                    <a:pt x="15" y="203"/>
                    <a:pt x="14" y="206"/>
                  </a:cubicBezTo>
                  <a:cubicBezTo>
                    <a:pt x="14" y="209"/>
                    <a:pt x="14" y="210"/>
                    <a:pt x="12" y="212"/>
                  </a:cubicBezTo>
                  <a:cubicBezTo>
                    <a:pt x="9" y="215"/>
                    <a:pt x="13" y="217"/>
                    <a:pt x="13" y="221"/>
                  </a:cubicBezTo>
                  <a:cubicBezTo>
                    <a:pt x="13" y="224"/>
                    <a:pt x="11" y="227"/>
                    <a:pt x="13" y="229"/>
                  </a:cubicBezTo>
                  <a:cubicBezTo>
                    <a:pt x="15" y="230"/>
                    <a:pt x="15" y="229"/>
                    <a:pt x="15" y="232"/>
                  </a:cubicBezTo>
                  <a:cubicBezTo>
                    <a:pt x="15" y="235"/>
                    <a:pt x="16" y="236"/>
                    <a:pt x="15" y="239"/>
                  </a:cubicBezTo>
                  <a:cubicBezTo>
                    <a:pt x="15" y="243"/>
                    <a:pt x="11" y="246"/>
                    <a:pt x="12" y="249"/>
                  </a:cubicBezTo>
                  <a:cubicBezTo>
                    <a:pt x="13" y="251"/>
                    <a:pt x="16" y="253"/>
                    <a:pt x="15" y="255"/>
                  </a:cubicBezTo>
                  <a:cubicBezTo>
                    <a:pt x="15" y="257"/>
                    <a:pt x="16" y="258"/>
                    <a:pt x="16" y="261"/>
                  </a:cubicBezTo>
                  <a:cubicBezTo>
                    <a:pt x="16" y="264"/>
                    <a:pt x="18" y="266"/>
                    <a:pt x="17" y="267"/>
                  </a:cubicBezTo>
                  <a:cubicBezTo>
                    <a:pt x="15" y="269"/>
                    <a:pt x="15" y="271"/>
                    <a:pt x="15" y="273"/>
                  </a:cubicBezTo>
                  <a:cubicBezTo>
                    <a:pt x="15" y="274"/>
                    <a:pt x="18" y="276"/>
                    <a:pt x="16" y="276"/>
                  </a:cubicBezTo>
                  <a:cubicBezTo>
                    <a:pt x="14" y="277"/>
                    <a:pt x="14" y="279"/>
                    <a:pt x="13" y="280"/>
                  </a:cubicBezTo>
                  <a:cubicBezTo>
                    <a:pt x="12" y="281"/>
                    <a:pt x="13" y="283"/>
                    <a:pt x="14" y="285"/>
                  </a:cubicBezTo>
                  <a:cubicBezTo>
                    <a:pt x="15" y="288"/>
                    <a:pt x="15" y="288"/>
                    <a:pt x="14" y="292"/>
                  </a:cubicBezTo>
                  <a:cubicBezTo>
                    <a:pt x="13" y="295"/>
                    <a:pt x="13" y="298"/>
                    <a:pt x="13" y="300"/>
                  </a:cubicBezTo>
                  <a:cubicBezTo>
                    <a:pt x="13" y="302"/>
                    <a:pt x="13" y="303"/>
                    <a:pt x="13" y="303"/>
                  </a:cubicBezTo>
                  <a:cubicBezTo>
                    <a:pt x="13" y="303"/>
                    <a:pt x="12" y="305"/>
                    <a:pt x="10" y="307"/>
                  </a:cubicBezTo>
                  <a:cubicBezTo>
                    <a:pt x="8" y="309"/>
                    <a:pt x="9" y="310"/>
                    <a:pt x="9" y="313"/>
                  </a:cubicBezTo>
                  <a:cubicBezTo>
                    <a:pt x="10" y="316"/>
                    <a:pt x="10" y="318"/>
                    <a:pt x="8" y="319"/>
                  </a:cubicBezTo>
                  <a:cubicBezTo>
                    <a:pt x="6" y="321"/>
                    <a:pt x="0" y="321"/>
                    <a:pt x="2" y="325"/>
                  </a:cubicBezTo>
                  <a:cubicBezTo>
                    <a:pt x="3" y="329"/>
                    <a:pt x="4" y="330"/>
                    <a:pt x="3" y="333"/>
                  </a:cubicBezTo>
                  <a:cubicBezTo>
                    <a:pt x="2" y="336"/>
                    <a:pt x="1" y="336"/>
                    <a:pt x="1" y="339"/>
                  </a:cubicBezTo>
                  <a:cubicBezTo>
                    <a:pt x="1" y="342"/>
                    <a:pt x="1" y="345"/>
                    <a:pt x="3" y="345"/>
                  </a:cubicBezTo>
                  <a:cubicBezTo>
                    <a:pt x="5" y="345"/>
                    <a:pt x="5" y="342"/>
                    <a:pt x="7" y="344"/>
                  </a:cubicBezTo>
                  <a:cubicBezTo>
                    <a:pt x="9" y="346"/>
                    <a:pt x="9" y="348"/>
                    <a:pt x="7" y="350"/>
                  </a:cubicBezTo>
                  <a:cubicBezTo>
                    <a:pt x="5" y="352"/>
                    <a:pt x="7" y="354"/>
                    <a:pt x="8" y="357"/>
                  </a:cubicBezTo>
                  <a:cubicBezTo>
                    <a:pt x="9" y="360"/>
                    <a:pt x="15" y="365"/>
                    <a:pt x="15" y="365"/>
                  </a:cubicBezTo>
                  <a:cubicBezTo>
                    <a:pt x="15" y="365"/>
                    <a:pt x="24" y="365"/>
                    <a:pt x="27" y="365"/>
                  </a:cubicBezTo>
                  <a:cubicBezTo>
                    <a:pt x="30" y="365"/>
                    <a:pt x="42" y="366"/>
                    <a:pt x="42" y="366"/>
                  </a:cubicBezTo>
                  <a:cubicBezTo>
                    <a:pt x="41" y="364"/>
                    <a:pt x="41" y="363"/>
                    <a:pt x="40" y="360"/>
                  </a:cubicBezTo>
                  <a:cubicBezTo>
                    <a:pt x="37" y="361"/>
                    <a:pt x="37" y="361"/>
                    <a:pt x="35" y="360"/>
                  </a:cubicBezTo>
                  <a:cubicBezTo>
                    <a:pt x="39" y="358"/>
                    <a:pt x="37" y="358"/>
                    <a:pt x="36" y="353"/>
                  </a:cubicBezTo>
                  <a:cubicBezTo>
                    <a:pt x="36" y="353"/>
                    <a:pt x="34" y="354"/>
                    <a:pt x="34" y="354"/>
                  </a:cubicBezTo>
                  <a:cubicBezTo>
                    <a:pt x="34" y="352"/>
                    <a:pt x="34" y="352"/>
                    <a:pt x="34" y="352"/>
                  </a:cubicBezTo>
                  <a:cubicBezTo>
                    <a:pt x="35" y="352"/>
                    <a:pt x="37" y="352"/>
                    <a:pt x="37" y="351"/>
                  </a:cubicBezTo>
                  <a:cubicBezTo>
                    <a:pt x="38" y="349"/>
                    <a:pt x="37" y="347"/>
                    <a:pt x="40" y="346"/>
                  </a:cubicBezTo>
                  <a:cubicBezTo>
                    <a:pt x="40" y="345"/>
                    <a:pt x="40" y="345"/>
                    <a:pt x="40" y="345"/>
                  </a:cubicBezTo>
                  <a:cubicBezTo>
                    <a:pt x="40" y="345"/>
                    <a:pt x="42" y="345"/>
                    <a:pt x="42" y="345"/>
                  </a:cubicBezTo>
                  <a:cubicBezTo>
                    <a:pt x="42" y="344"/>
                    <a:pt x="43" y="342"/>
                    <a:pt x="42" y="342"/>
                  </a:cubicBezTo>
                  <a:cubicBezTo>
                    <a:pt x="42" y="341"/>
                    <a:pt x="40" y="341"/>
                    <a:pt x="39" y="341"/>
                  </a:cubicBezTo>
                  <a:cubicBezTo>
                    <a:pt x="39" y="340"/>
                    <a:pt x="39" y="338"/>
                    <a:pt x="39" y="338"/>
                  </a:cubicBezTo>
                  <a:cubicBezTo>
                    <a:pt x="39" y="337"/>
                    <a:pt x="40" y="337"/>
                    <a:pt x="40" y="336"/>
                  </a:cubicBezTo>
                  <a:cubicBezTo>
                    <a:pt x="41" y="336"/>
                    <a:pt x="42" y="337"/>
                    <a:pt x="42" y="337"/>
                  </a:cubicBezTo>
                  <a:cubicBezTo>
                    <a:pt x="43" y="339"/>
                    <a:pt x="43" y="340"/>
                    <a:pt x="44" y="341"/>
                  </a:cubicBezTo>
                  <a:cubicBezTo>
                    <a:pt x="46" y="340"/>
                    <a:pt x="49" y="340"/>
                    <a:pt x="50" y="338"/>
                  </a:cubicBezTo>
                  <a:cubicBezTo>
                    <a:pt x="50" y="337"/>
                    <a:pt x="51" y="332"/>
                    <a:pt x="50" y="332"/>
                  </a:cubicBezTo>
                  <a:cubicBezTo>
                    <a:pt x="48" y="331"/>
                    <a:pt x="49" y="333"/>
                    <a:pt x="48" y="333"/>
                  </a:cubicBezTo>
                  <a:cubicBezTo>
                    <a:pt x="48" y="331"/>
                    <a:pt x="48" y="331"/>
                    <a:pt x="48" y="331"/>
                  </a:cubicBezTo>
                  <a:cubicBezTo>
                    <a:pt x="49" y="329"/>
                    <a:pt x="52" y="327"/>
                    <a:pt x="54" y="325"/>
                  </a:cubicBezTo>
                  <a:cubicBezTo>
                    <a:pt x="54" y="324"/>
                    <a:pt x="54" y="322"/>
                    <a:pt x="54" y="321"/>
                  </a:cubicBezTo>
                  <a:cubicBezTo>
                    <a:pt x="55" y="321"/>
                    <a:pt x="56" y="321"/>
                    <a:pt x="56" y="321"/>
                  </a:cubicBezTo>
                  <a:cubicBezTo>
                    <a:pt x="57" y="321"/>
                    <a:pt x="58" y="319"/>
                    <a:pt x="59" y="318"/>
                  </a:cubicBezTo>
                  <a:cubicBezTo>
                    <a:pt x="60" y="317"/>
                    <a:pt x="60" y="318"/>
                    <a:pt x="61" y="318"/>
                  </a:cubicBezTo>
                  <a:cubicBezTo>
                    <a:pt x="62" y="317"/>
                    <a:pt x="66" y="314"/>
                    <a:pt x="67" y="313"/>
                  </a:cubicBezTo>
                  <a:cubicBezTo>
                    <a:pt x="66" y="312"/>
                    <a:pt x="65" y="311"/>
                    <a:pt x="64" y="310"/>
                  </a:cubicBezTo>
                  <a:cubicBezTo>
                    <a:pt x="61" y="312"/>
                    <a:pt x="67" y="307"/>
                    <a:pt x="64" y="303"/>
                  </a:cubicBezTo>
                  <a:cubicBezTo>
                    <a:pt x="63" y="300"/>
                    <a:pt x="59" y="302"/>
                    <a:pt x="57" y="301"/>
                  </a:cubicBezTo>
                  <a:cubicBezTo>
                    <a:pt x="56" y="300"/>
                    <a:pt x="56" y="298"/>
                    <a:pt x="55" y="297"/>
                  </a:cubicBezTo>
                  <a:cubicBezTo>
                    <a:pt x="54" y="297"/>
                    <a:pt x="53" y="297"/>
                    <a:pt x="52" y="297"/>
                  </a:cubicBezTo>
                  <a:cubicBezTo>
                    <a:pt x="51" y="296"/>
                    <a:pt x="51" y="293"/>
                    <a:pt x="50" y="292"/>
                  </a:cubicBezTo>
                  <a:cubicBezTo>
                    <a:pt x="49" y="288"/>
                    <a:pt x="49" y="289"/>
                    <a:pt x="51" y="285"/>
                  </a:cubicBezTo>
                  <a:cubicBezTo>
                    <a:pt x="52" y="285"/>
                    <a:pt x="52" y="285"/>
                    <a:pt x="52" y="285"/>
                  </a:cubicBezTo>
                  <a:cubicBezTo>
                    <a:pt x="53" y="285"/>
                    <a:pt x="52" y="284"/>
                    <a:pt x="53" y="283"/>
                  </a:cubicBezTo>
                  <a:cubicBezTo>
                    <a:pt x="53" y="283"/>
                    <a:pt x="56" y="281"/>
                    <a:pt x="56" y="281"/>
                  </a:cubicBezTo>
                  <a:cubicBezTo>
                    <a:pt x="61" y="277"/>
                    <a:pt x="59" y="274"/>
                    <a:pt x="68" y="275"/>
                  </a:cubicBezTo>
                  <a:cubicBezTo>
                    <a:pt x="68" y="275"/>
                    <a:pt x="68" y="273"/>
                    <a:pt x="68" y="272"/>
                  </a:cubicBezTo>
                  <a:cubicBezTo>
                    <a:pt x="63" y="271"/>
                    <a:pt x="71" y="267"/>
                    <a:pt x="71" y="266"/>
                  </a:cubicBezTo>
                  <a:cubicBezTo>
                    <a:pt x="71" y="265"/>
                    <a:pt x="70" y="261"/>
                    <a:pt x="70" y="261"/>
                  </a:cubicBezTo>
                  <a:cubicBezTo>
                    <a:pt x="70" y="257"/>
                    <a:pt x="72" y="251"/>
                    <a:pt x="75" y="249"/>
                  </a:cubicBezTo>
                  <a:cubicBezTo>
                    <a:pt x="76" y="249"/>
                    <a:pt x="77" y="249"/>
                    <a:pt x="78" y="249"/>
                  </a:cubicBezTo>
                  <a:cubicBezTo>
                    <a:pt x="78" y="249"/>
                    <a:pt x="78" y="246"/>
                    <a:pt x="78" y="246"/>
                  </a:cubicBezTo>
                  <a:cubicBezTo>
                    <a:pt x="76" y="246"/>
                    <a:pt x="74" y="246"/>
                    <a:pt x="74" y="246"/>
                  </a:cubicBezTo>
                  <a:cubicBezTo>
                    <a:pt x="72" y="247"/>
                    <a:pt x="73" y="246"/>
                    <a:pt x="74" y="245"/>
                  </a:cubicBezTo>
                  <a:cubicBezTo>
                    <a:pt x="75" y="245"/>
                    <a:pt x="77" y="243"/>
                    <a:pt x="80" y="244"/>
                  </a:cubicBezTo>
                  <a:cubicBezTo>
                    <a:pt x="80" y="244"/>
                    <a:pt x="80" y="245"/>
                    <a:pt x="81" y="245"/>
                  </a:cubicBezTo>
                  <a:cubicBezTo>
                    <a:pt x="81" y="246"/>
                    <a:pt x="81" y="248"/>
                    <a:pt x="81" y="248"/>
                  </a:cubicBezTo>
                  <a:cubicBezTo>
                    <a:pt x="84" y="247"/>
                    <a:pt x="86" y="248"/>
                    <a:pt x="86" y="244"/>
                  </a:cubicBezTo>
                  <a:cubicBezTo>
                    <a:pt x="86" y="243"/>
                    <a:pt x="86" y="242"/>
                    <a:pt x="86" y="241"/>
                  </a:cubicBezTo>
                  <a:cubicBezTo>
                    <a:pt x="85" y="241"/>
                    <a:pt x="85" y="240"/>
                    <a:pt x="85" y="239"/>
                  </a:cubicBezTo>
                  <a:cubicBezTo>
                    <a:pt x="84" y="240"/>
                    <a:pt x="82" y="239"/>
                    <a:pt x="82" y="239"/>
                  </a:cubicBezTo>
                  <a:cubicBezTo>
                    <a:pt x="81" y="240"/>
                    <a:pt x="82" y="242"/>
                    <a:pt x="82" y="242"/>
                  </a:cubicBezTo>
                  <a:cubicBezTo>
                    <a:pt x="81" y="242"/>
                    <a:pt x="80" y="242"/>
                    <a:pt x="80" y="242"/>
                  </a:cubicBezTo>
                  <a:cubicBezTo>
                    <a:pt x="78" y="241"/>
                    <a:pt x="77" y="240"/>
                    <a:pt x="76" y="239"/>
                  </a:cubicBezTo>
                  <a:cubicBezTo>
                    <a:pt x="76" y="239"/>
                    <a:pt x="75" y="239"/>
                    <a:pt x="74" y="239"/>
                  </a:cubicBezTo>
                  <a:cubicBezTo>
                    <a:pt x="74" y="238"/>
                    <a:pt x="74" y="235"/>
                    <a:pt x="74" y="232"/>
                  </a:cubicBezTo>
                  <a:cubicBezTo>
                    <a:pt x="73" y="232"/>
                    <a:pt x="72" y="232"/>
                    <a:pt x="71" y="232"/>
                  </a:cubicBezTo>
                  <a:cubicBezTo>
                    <a:pt x="71" y="231"/>
                    <a:pt x="70" y="231"/>
                    <a:pt x="70" y="231"/>
                  </a:cubicBezTo>
                  <a:cubicBezTo>
                    <a:pt x="73" y="230"/>
                    <a:pt x="73" y="226"/>
                    <a:pt x="73" y="224"/>
                  </a:cubicBezTo>
                  <a:cubicBezTo>
                    <a:pt x="74" y="224"/>
                    <a:pt x="74" y="222"/>
                    <a:pt x="76" y="222"/>
                  </a:cubicBezTo>
                  <a:cubicBezTo>
                    <a:pt x="76" y="222"/>
                    <a:pt x="76" y="224"/>
                    <a:pt x="76" y="224"/>
                  </a:cubicBezTo>
                  <a:cubicBezTo>
                    <a:pt x="77" y="224"/>
                    <a:pt x="78" y="224"/>
                    <a:pt x="79" y="224"/>
                  </a:cubicBezTo>
                  <a:cubicBezTo>
                    <a:pt x="81" y="228"/>
                    <a:pt x="81" y="229"/>
                    <a:pt x="86" y="229"/>
                  </a:cubicBezTo>
                  <a:cubicBezTo>
                    <a:pt x="88" y="229"/>
                    <a:pt x="90" y="227"/>
                    <a:pt x="92" y="227"/>
                  </a:cubicBezTo>
                  <a:cubicBezTo>
                    <a:pt x="92" y="227"/>
                    <a:pt x="91" y="225"/>
                    <a:pt x="92" y="225"/>
                  </a:cubicBezTo>
                  <a:cubicBezTo>
                    <a:pt x="92" y="224"/>
                    <a:pt x="95" y="223"/>
                    <a:pt x="96" y="222"/>
                  </a:cubicBezTo>
                  <a:cubicBezTo>
                    <a:pt x="98" y="218"/>
                    <a:pt x="95" y="213"/>
                    <a:pt x="96" y="210"/>
                  </a:cubicBezTo>
                  <a:cubicBezTo>
                    <a:pt x="96" y="210"/>
                    <a:pt x="96" y="210"/>
                    <a:pt x="96" y="210"/>
                  </a:cubicBezTo>
                  <a:cubicBezTo>
                    <a:pt x="97" y="208"/>
                    <a:pt x="97" y="207"/>
                    <a:pt x="98" y="205"/>
                  </a:cubicBezTo>
                  <a:cubicBezTo>
                    <a:pt x="96" y="204"/>
                    <a:pt x="94" y="204"/>
                    <a:pt x="94" y="202"/>
                  </a:cubicBezTo>
                  <a:cubicBezTo>
                    <a:pt x="93" y="201"/>
                    <a:pt x="94" y="200"/>
                    <a:pt x="94" y="199"/>
                  </a:cubicBezTo>
                  <a:cubicBezTo>
                    <a:pt x="94" y="199"/>
                    <a:pt x="94" y="198"/>
                    <a:pt x="95" y="198"/>
                  </a:cubicBezTo>
                  <a:cubicBezTo>
                    <a:pt x="96" y="198"/>
                    <a:pt x="96" y="198"/>
                    <a:pt x="96" y="198"/>
                  </a:cubicBezTo>
                  <a:cubicBezTo>
                    <a:pt x="99" y="202"/>
                    <a:pt x="99" y="202"/>
                    <a:pt x="99" y="202"/>
                  </a:cubicBezTo>
                  <a:cubicBezTo>
                    <a:pt x="102" y="200"/>
                    <a:pt x="99" y="200"/>
                    <a:pt x="99" y="200"/>
                  </a:cubicBezTo>
                  <a:cubicBezTo>
                    <a:pt x="100" y="199"/>
                    <a:pt x="101" y="200"/>
                    <a:pt x="102" y="200"/>
                  </a:cubicBezTo>
                  <a:cubicBezTo>
                    <a:pt x="104" y="199"/>
                    <a:pt x="107" y="198"/>
                    <a:pt x="108" y="198"/>
                  </a:cubicBezTo>
                  <a:cubicBezTo>
                    <a:pt x="111" y="197"/>
                    <a:pt x="113" y="198"/>
                    <a:pt x="116" y="198"/>
                  </a:cubicBezTo>
                  <a:cubicBezTo>
                    <a:pt x="116" y="198"/>
                    <a:pt x="121" y="197"/>
                    <a:pt x="122" y="196"/>
                  </a:cubicBezTo>
                  <a:cubicBezTo>
                    <a:pt x="122" y="196"/>
                    <a:pt x="123" y="195"/>
                    <a:pt x="123" y="195"/>
                  </a:cubicBezTo>
                  <a:cubicBezTo>
                    <a:pt x="126" y="194"/>
                    <a:pt x="129" y="194"/>
                    <a:pt x="131" y="193"/>
                  </a:cubicBezTo>
                  <a:cubicBezTo>
                    <a:pt x="137" y="190"/>
                    <a:pt x="143" y="177"/>
                    <a:pt x="145" y="170"/>
                  </a:cubicBezTo>
                  <a:cubicBezTo>
                    <a:pt x="144" y="169"/>
                    <a:pt x="144" y="168"/>
                    <a:pt x="144" y="168"/>
                  </a:cubicBezTo>
                  <a:cubicBezTo>
                    <a:pt x="142" y="168"/>
                    <a:pt x="141" y="168"/>
                    <a:pt x="139" y="167"/>
                  </a:cubicBezTo>
                  <a:cubicBezTo>
                    <a:pt x="139" y="166"/>
                    <a:pt x="140" y="166"/>
                    <a:pt x="139" y="166"/>
                  </a:cubicBezTo>
                  <a:cubicBezTo>
                    <a:pt x="139" y="165"/>
                    <a:pt x="139" y="165"/>
                    <a:pt x="139" y="165"/>
                  </a:cubicBezTo>
                  <a:cubicBezTo>
                    <a:pt x="137" y="165"/>
                    <a:pt x="137" y="165"/>
                    <a:pt x="137" y="165"/>
                  </a:cubicBezTo>
                  <a:cubicBezTo>
                    <a:pt x="137" y="164"/>
                    <a:pt x="137" y="162"/>
                    <a:pt x="137" y="161"/>
                  </a:cubicBezTo>
                  <a:cubicBezTo>
                    <a:pt x="137" y="161"/>
                    <a:pt x="139" y="160"/>
                    <a:pt x="139" y="160"/>
                  </a:cubicBezTo>
                  <a:cubicBezTo>
                    <a:pt x="139" y="159"/>
                    <a:pt x="138" y="158"/>
                    <a:pt x="139" y="158"/>
                  </a:cubicBezTo>
                  <a:cubicBezTo>
                    <a:pt x="137" y="156"/>
                    <a:pt x="136" y="154"/>
                    <a:pt x="135" y="153"/>
                  </a:cubicBezTo>
                  <a:cubicBezTo>
                    <a:pt x="134" y="152"/>
                    <a:pt x="132" y="152"/>
                    <a:pt x="131" y="150"/>
                  </a:cubicBezTo>
                  <a:cubicBezTo>
                    <a:pt x="130" y="149"/>
                    <a:pt x="131" y="147"/>
                    <a:pt x="129" y="146"/>
                  </a:cubicBezTo>
                  <a:cubicBezTo>
                    <a:pt x="127" y="145"/>
                    <a:pt x="127" y="145"/>
                    <a:pt x="127" y="145"/>
                  </a:cubicBezTo>
                  <a:cubicBezTo>
                    <a:pt x="127" y="143"/>
                    <a:pt x="128" y="144"/>
                    <a:pt x="128" y="142"/>
                  </a:cubicBezTo>
                  <a:cubicBezTo>
                    <a:pt x="128" y="142"/>
                    <a:pt x="126" y="140"/>
                    <a:pt x="127" y="139"/>
                  </a:cubicBezTo>
                  <a:cubicBezTo>
                    <a:pt x="129" y="138"/>
                    <a:pt x="129" y="138"/>
                    <a:pt x="129" y="138"/>
                  </a:cubicBezTo>
                  <a:cubicBezTo>
                    <a:pt x="129" y="135"/>
                    <a:pt x="129" y="132"/>
                    <a:pt x="129" y="128"/>
                  </a:cubicBezTo>
                  <a:cubicBezTo>
                    <a:pt x="130" y="128"/>
                    <a:pt x="130" y="128"/>
                    <a:pt x="130" y="128"/>
                  </a:cubicBezTo>
                  <a:cubicBezTo>
                    <a:pt x="130" y="128"/>
                    <a:pt x="131" y="123"/>
                    <a:pt x="130" y="121"/>
                  </a:cubicBezTo>
                  <a:cubicBezTo>
                    <a:pt x="129" y="119"/>
                    <a:pt x="133" y="117"/>
                    <a:pt x="132" y="113"/>
                  </a:cubicBezTo>
                  <a:cubicBezTo>
                    <a:pt x="131" y="109"/>
                    <a:pt x="135" y="110"/>
                    <a:pt x="134" y="106"/>
                  </a:cubicBezTo>
                  <a:cubicBezTo>
                    <a:pt x="133" y="103"/>
                    <a:pt x="136" y="100"/>
                    <a:pt x="136" y="100"/>
                  </a:cubicBezTo>
                  <a:cubicBezTo>
                    <a:pt x="136" y="100"/>
                    <a:pt x="138" y="95"/>
                    <a:pt x="138" y="93"/>
                  </a:cubicBezTo>
                  <a:cubicBezTo>
                    <a:pt x="138" y="91"/>
                    <a:pt x="140" y="90"/>
                    <a:pt x="142" y="89"/>
                  </a:cubicBezTo>
                  <a:cubicBezTo>
                    <a:pt x="144" y="88"/>
                    <a:pt x="145" y="85"/>
                    <a:pt x="145" y="82"/>
                  </a:cubicBezTo>
                  <a:cubicBezTo>
                    <a:pt x="145" y="79"/>
                    <a:pt x="150" y="80"/>
                    <a:pt x="151" y="78"/>
                  </a:cubicBezTo>
                  <a:cubicBezTo>
                    <a:pt x="151" y="76"/>
                    <a:pt x="153" y="76"/>
                    <a:pt x="155" y="74"/>
                  </a:cubicBezTo>
                  <a:cubicBezTo>
                    <a:pt x="157" y="72"/>
                    <a:pt x="158" y="70"/>
                    <a:pt x="159" y="68"/>
                  </a:cubicBezTo>
                  <a:cubicBezTo>
                    <a:pt x="160" y="65"/>
                    <a:pt x="165" y="66"/>
                    <a:pt x="166" y="64"/>
                  </a:cubicBezTo>
                  <a:cubicBezTo>
                    <a:pt x="167" y="63"/>
                    <a:pt x="170" y="63"/>
                    <a:pt x="169" y="61"/>
                  </a:cubicBezTo>
                  <a:cubicBezTo>
                    <a:pt x="169" y="60"/>
                    <a:pt x="169" y="55"/>
                    <a:pt x="169" y="52"/>
                  </a:cubicBezTo>
                  <a:cubicBezTo>
                    <a:pt x="168" y="49"/>
                    <a:pt x="168" y="45"/>
                    <a:pt x="168" y="45"/>
                  </a:cubicBezTo>
                  <a:cubicBezTo>
                    <a:pt x="168" y="45"/>
                    <a:pt x="165" y="43"/>
                    <a:pt x="165" y="45"/>
                  </a:cubicBezTo>
                  <a:cubicBezTo>
                    <a:pt x="166" y="47"/>
                    <a:pt x="161" y="44"/>
                    <a:pt x="161" y="44"/>
                  </a:cubicBezTo>
                  <a:cubicBezTo>
                    <a:pt x="161" y="44"/>
                    <a:pt x="158" y="47"/>
                    <a:pt x="159" y="49"/>
                  </a:cubicBezTo>
                  <a:cubicBezTo>
                    <a:pt x="160" y="50"/>
                    <a:pt x="160" y="56"/>
                    <a:pt x="159" y="57"/>
                  </a:cubicBezTo>
                  <a:cubicBezTo>
                    <a:pt x="157" y="59"/>
                    <a:pt x="155" y="60"/>
                    <a:pt x="154" y="62"/>
                  </a:cubicBezTo>
                  <a:cubicBezTo>
                    <a:pt x="154" y="64"/>
                    <a:pt x="153" y="64"/>
                    <a:pt x="153" y="64"/>
                  </a:cubicBezTo>
                  <a:cubicBezTo>
                    <a:pt x="153" y="64"/>
                    <a:pt x="151" y="65"/>
                    <a:pt x="148" y="65"/>
                  </a:cubicBezTo>
                  <a:cubicBezTo>
                    <a:pt x="146" y="64"/>
                    <a:pt x="143" y="64"/>
                    <a:pt x="141" y="64"/>
                  </a:cubicBezTo>
                  <a:cubicBezTo>
                    <a:pt x="139" y="64"/>
                    <a:pt x="137" y="65"/>
                    <a:pt x="135" y="63"/>
                  </a:cubicBezTo>
                  <a:cubicBezTo>
                    <a:pt x="133" y="62"/>
                    <a:pt x="131" y="62"/>
                    <a:pt x="129" y="62"/>
                  </a:cubicBezTo>
                  <a:cubicBezTo>
                    <a:pt x="127" y="63"/>
                    <a:pt x="126" y="62"/>
                    <a:pt x="126" y="62"/>
                  </a:cubicBezTo>
                  <a:cubicBezTo>
                    <a:pt x="126" y="62"/>
                    <a:pt x="128" y="58"/>
                    <a:pt x="129" y="55"/>
                  </a:cubicBezTo>
                  <a:cubicBezTo>
                    <a:pt x="131" y="53"/>
                    <a:pt x="133" y="50"/>
                    <a:pt x="133" y="47"/>
                  </a:cubicBezTo>
                  <a:cubicBezTo>
                    <a:pt x="133" y="44"/>
                    <a:pt x="136" y="42"/>
                    <a:pt x="133" y="41"/>
                  </a:cubicBezTo>
                  <a:cubicBezTo>
                    <a:pt x="130" y="39"/>
                    <a:pt x="129" y="35"/>
                    <a:pt x="127" y="34"/>
                  </a:cubicBezTo>
                  <a:cubicBezTo>
                    <a:pt x="126" y="34"/>
                    <a:pt x="126" y="33"/>
                    <a:pt x="124" y="31"/>
                  </a:cubicBezTo>
                  <a:cubicBezTo>
                    <a:pt x="122" y="29"/>
                    <a:pt x="120" y="32"/>
                    <a:pt x="118" y="29"/>
                  </a:cubicBezTo>
                  <a:cubicBezTo>
                    <a:pt x="115" y="26"/>
                    <a:pt x="115" y="25"/>
                    <a:pt x="113" y="25"/>
                  </a:cubicBezTo>
                  <a:cubicBezTo>
                    <a:pt x="110" y="25"/>
                    <a:pt x="110" y="20"/>
                    <a:pt x="109" y="18"/>
                  </a:cubicBezTo>
                  <a:cubicBezTo>
                    <a:pt x="107" y="17"/>
                    <a:pt x="107" y="15"/>
                    <a:pt x="105" y="15"/>
                  </a:cubicBezTo>
                  <a:cubicBezTo>
                    <a:pt x="103" y="14"/>
                    <a:pt x="103" y="12"/>
                    <a:pt x="102" y="10"/>
                  </a:cubicBezTo>
                  <a:cubicBezTo>
                    <a:pt x="101" y="9"/>
                    <a:pt x="100" y="6"/>
                    <a:pt x="100" y="6"/>
                  </a:cubicBezTo>
                  <a:lnTo>
                    <a:pt x="95" y="3"/>
                  </a:lnTo>
                  <a:close/>
                  <a:moveTo>
                    <a:pt x="47" y="400"/>
                  </a:moveTo>
                  <a:cubicBezTo>
                    <a:pt x="48" y="400"/>
                    <a:pt x="48" y="400"/>
                    <a:pt x="48" y="400"/>
                  </a:cubicBezTo>
                  <a:cubicBezTo>
                    <a:pt x="50" y="400"/>
                    <a:pt x="50" y="401"/>
                    <a:pt x="51" y="401"/>
                  </a:cubicBezTo>
                  <a:cubicBezTo>
                    <a:pt x="53" y="402"/>
                    <a:pt x="53" y="402"/>
                    <a:pt x="53" y="402"/>
                  </a:cubicBezTo>
                  <a:cubicBezTo>
                    <a:pt x="53" y="401"/>
                    <a:pt x="53" y="401"/>
                    <a:pt x="53" y="401"/>
                  </a:cubicBezTo>
                  <a:cubicBezTo>
                    <a:pt x="53" y="401"/>
                    <a:pt x="56" y="403"/>
                    <a:pt x="56" y="403"/>
                  </a:cubicBezTo>
                  <a:cubicBezTo>
                    <a:pt x="56" y="403"/>
                    <a:pt x="59" y="403"/>
                    <a:pt x="60" y="402"/>
                  </a:cubicBezTo>
                  <a:cubicBezTo>
                    <a:pt x="61" y="401"/>
                    <a:pt x="61" y="401"/>
                    <a:pt x="61" y="401"/>
                  </a:cubicBezTo>
                  <a:cubicBezTo>
                    <a:pt x="63" y="401"/>
                    <a:pt x="65" y="401"/>
                    <a:pt x="67" y="401"/>
                  </a:cubicBezTo>
                  <a:cubicBezTo>
                    <a:pt x="66" y="402"/>
                    <a:pt x="68" y="402"/>
                    <a:pt x="68" y="402"/>
                  </a:cubicBezTo>
                  <a:cubicBezTo>
                    <a:pt x="68" y="401"/>
                    <a:pt x="68" y="400"/>
                    <a:pt x="69" y="399"/>
                  </a:cubicBezTo>
                  <a:cubicBezTo>
                    <a:pt x="66" y="398"/>
                    <a:pt x="63" y="397"/>
                    <a:pt x="60" y="396"/>
                  </a:cubicBezTo>
                  <a:cubicBezTo>
                    <a:pt x="59" y="396"/>
                    <a:pt x="57" y="397"/>
                    <a:pt x="56" y="396"/>
                  </a:cubicBezTo>
                  <a:cubicBezTo>
                    <a:pt x="55" y="396"/>
                    <a:pt x="54" y="393"/>
                    <a:pt x="53" y="392"/>
                  </a:cubicBezTo>
                  <a:cubicBezTo>
                    <a:pt x="52" y="392"/>
                    <a:pt x="51" y="392"/>
                    <a:pt x="50" y="391"/>
                  </a:cubicBezTo>
                  <a:cubicBezTo>
                    <a:pt x="49" y="390"/>
                    <a:pt x="49" y="389"/>
                    <a:pt x="48" y="388"/>
                  </a:cubicBezTo>
                  <a:cubicBezTo>
                    <a:pt x="48" y="387"/>
                    <a:pt x="47" y="387"/>
                    <a:pt x="46" y="386"/>
                  </a:cubicBezTo>
                  <a:cubicBezTo>
                    <a:pt x="44" y="385"/>
                    <a:pt x="42" y="382"/>
                    <a:pt x="42" y="380"/>
                  </a:cubicBezTo>
                  <a:cubicBezTo>
                    <a:pt x="41" y="380"/>
                    <a:pt x="41" y="380"/>
                    <a:pt x="41" y="380"/>
                  </a:cubicBezTo>
                  <a:cubicBezTo>
                    <a:pt x="41" y="379"/>
                    <a:pt x="42" y="378"/>
                    <a:pt x="43" y="378"/>
                  </a:cubicBezTo>
                  <a:cubicBezTo>
                    <a:pt x="42" y="376"/>
                    <a:pt x="42" y="374"/>
                    <a:pt x="40" y="372"/>
                  </a:cubicBezTo>
                  <a:cubicBezTo>
                    <a:pt x="39" y="373"/>
                    <a:pt x="41" y="371"/>
                    <a:pt x="39" y="372"/>
                  </a:cubicBezTo>
                  <a:cubicBezTo>
                    <a:pt x="41" y="401"/>
                    <a:pt x="41" y="401"/>
                    <a:pt x="41" y="401"/>
                  </a:cubicBezTo>
                  <a:cubicBezTo>
                    <a:pt x="41" y="401"/>
                    <a:pt x="44" y="400"/>
                    <a:pt x="47" y="400"/>
                  </a:cubicBezTo>
                  <a:close/>
                  <a:moveTo>
                    <a:pt x="78" y="396"/>
                  </a:moveTo>
                  <a:cubicBezTo>
                    <a:pt x="78" y="398"/>
                    <a:pt x="78" y="398"/>
                    <a:pt x="78" y="398"/>
                  </a:cubicBezTo>
                  <a:cubicBezTo>
                    <a:pt x="72" y="398"/>
                    <a:pt x="79" y="401"/>
                    <a:pt x="80" y="401"/>
                  </a:cubicBezTo>
                  <a:cubicBezTo>
                    <a:pt x="81" y="400"/>
                    <a:pt x="81" y="400"/>
                    <a:pt x="81" y="400"/>
                  </a:cubicBezTo>
                  <a:cubicBezTo>
                    <a:pt x="82" y="399"/>
                    <a:pt x="82" y="399"/>
                    <a:pt x="83" y="399"/>
                  </a:cubicBezTo>
                  <a:cubicBezTo>
                    <a:pt x="86" y="397"/>
                    <a:pt x="81" y="398"/>
                    <a:pt x="80" y="398"/>
                  </a:cubicBezTo>
                  <a:cubicBezTo>
                    <a:pt x="79" y="398"/>
                    <a:pt x="79" y="396"/>
                    <a:pt x="78" y="396"/>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05" name="Freeform 341">
              <a:extLst>
                <a:ext uri="{FF2B5EF4-FFF2-40B4-BE49-F238E27FC236}">
                  <a16:creationId xmlns:a16="http://schemas.microsoft.com/office/drawing/2014/main" id="{5BFAF72D-97F6-4795-6650-C2736ED34DAA}"/>
                </a:ext>
              </a:extLst>
            </p:cNvPr>
            <p:cNvSpPr>
              <a:spLocks noEditPoints="1"/>
            </p:cNvSpPr>
            <p:nvPr/>
          </p:nvSpPr>
          <p:spPr bwMode="auto">
            <a:xfrm>
              <a:off x="3733943" y="5058410"/>
              <a:ext cx="600000" cy="1420977"/>
            </a:xfrm>
            <a:custGeom>
              <a:avLst/>
              <a:gdLst>
                <a:gd name="T0" fmla="*/ 75 w 170"/>
                <a:gd name="T1" fmla="*/ 9 h 403"/>
                <a:gd name="T2" fmla="*/ 52 w 170"/>
                <a:gd name="T3" fmla="*/ 7 h 403"/>
                <a:gd name="T4" fmla="*/ 44 w 170"/>
                <a:gd name="T5" fmla="*/ 33 h 403"/>
                <a:gd name="T6" fmla="*/ 43 w 170"/>
                <a:gd name="T7" fmla="*/ 64 h 403"/>
                <a:gd name="T8" fmla="*/ 33 w 170"/>
                <a:gd name="T9" fmla="*/ 101 h 403"/>
                <a:gd name="T10" fmla="*/ 29 w 170"/>
                <a:gd name="T11" fmla="*/ 133 h 403"/>
                <a:gd name="T12" fmla="*/ 26 w 170"/>
                <a:gd name="T13" fmla="*/ 167 h 403"/>
                <a:gd name="T14" fmla="*/ 20 w 170"/>
                <a:gd name="T15" fmla="*/ 190 h 403"/>
                <a:gd name="T16" fmla="*/ 13 w 170"/>
                <a:gd name="T17" fmla="*/ 221 h 403"/>
                <a:gd name="T18" fmla="*/ 12 w 170"/>
                <a:gd name="T19" fmla="*/ 249 h 403"/>
                <a:gd name="T20" fmla="*/ 15 w 170"/>
                <a:gd name="T21" fmla="*/ 273 h 403"/>
                <a:gd name="T22" fmla="*/ 14 w 170"/>
                <a:gd name="T23" fmla="*/ 292 h 403"/>
                <a:gd name="T24" fmla="*/ 9 w 170"/>
                <a:gd name="T25" fmla="*/ 313 h 403"/>
                <a:gd name="T26" fmla="*/ 1 w 170"/>
                <a:gd name="T27" fmla="*/ 339 h 403"/>
                <a:gd name="T28" fmla="*/ 8 w 170"/>
                <a:gd name="T29" fmla="*/ 357 h 403"/>
                <a:gd name="T30" fmla="*/ 40 w 170"/>
                <a:gd name="T31" fmla="*/ 360 h 403"/>
                <a:gd name="T32" fmla="*/ 34 w 170"/>
                <a:gd name="T33" fmla="*/ 352 h 403"/>
                <a:gd name="T34" fmla="*/ 42 w 170"/>
                <a:gd name="T35" fmla="*/ 345 h 403"/>
                <a:gd name="T36" fmla="*/ 40 w 170"/>
                <a:gd name="T37" fmla="*/ 336 h 403"/>
                <a:gd name="T38" fmla="*/ 50 w 170"/>
                <a:gd name="T39" fmla="*/ 332 h 403"/>
                <a:gd name="T40" fmla="*/ 54 w 170"/>
                <a:gd name="T41" fmla="*/ 321 h 403"/>
                <a:gd name="T42" fmla="*/ 67 w 170"/>
                <a:gd name="T43" fmla="*/ 313 h 403"/>
                <a:gd name="T44" fmla="*/ 55 w 170"/>
                <a:gd name="T45" fmla="*/ 297 h 403"/>
                <a:gd name="T46" fmla="*/ 52 w 170"/>
                <a:gd name="T47" fmla="*/ 285 h 403"/>
                <a:gd name="T48" fmla="*/ 68 w 170"/>
                <a:gd name="T49" fmla="*/ 272 h 403"/>
                <a:gd name="T50" fmla="*/ 78 w 170"/>
                <a:gd name="T51" fmla="*/ 249 h 403"/>
                <a:gd name="T52" fmla="*/ 80 w 170"/>
                <a:gd name="T53" fmla="*/ 244 h 403"/>
                <a:gd name="T54" fmla="*/ 86 w 170"/>
                <a:gd name="T55" fmla="*/ 241 h 403"/>
                <a:gd name="T56" fmla="*/ 80 w 170"/>
                <a:gd name="T57" fmla="*/ 242 h 403"/>
                <a:gd name="T58" fmla="*/ 71 w 170"/>
                <a:gd name="T59" fmla="*/ 232 h 403"/>
                <a:gd name="T60" fmla="*/ 76 w 170"/>
                <a:gd name="T61" fmla="*/ 224 h 403"/>
                <a:gd name="T62" fmla="*/ 92 w 170"/>
                <a:gd name="T63" fmla="*/ 225 h 403"/>
                <a:gd name="T64" fmla="*/ 98 w 170"/>
                <a:gd name="T65" fmla="*/ 205 h 403"/>
                <a:gd name="T66" fmla="*/ 96 w 170"/>
                <a:gd name="T67" fmla="*/ 198 h 403"/>
                <a:gd name="T68" fmla="*/ 108 w 170"/>
                <a:gd name="T69" fmla="*/ 198 h 403"/>
                <a:gd name="T70" fmla="*/ 131 w 170"/>
                <a:gd name="T71" fmla="*/ 193 h 403"/>
                <a:gd name="T72" fmla="*/ 139 w 170"/>
                <a:gd name="T73" fmla="*/ 166 h 403"/>
                <a:gd name="T74" fmla="*/ 139 w 170"/>
                <a:gd name="T75" fmla="*/ 160 h 403"/>
                <a:gd name="T76" fmla="*/ 129 w 170"/>
                <a:gd name="T77" fmla="*/ 146 h 403"/>
                <a:gd name="T78" fmla="*/ 129 w 170"/>
                <a:gd name="T79" fmla="*/ 138 h 403"/>
                <a:gd name="T80" fmla="*/ 132 w 170"/>
                <a:gd name="T81" fmla="*/ 113 h 403"/>
                <a:gd name="T82" fmla="*/ 142 w 170"/>
                <a:gd name="T83" fmla="*/ 89 h 403"/>
                <a:gd name="T84" fmla="*/ 159 w 170"/>
                <a:gd name="T85" fmla="*/ 68 h 403"/>
                <a:gd name="T86" fmla="*/ 168 w 170"/>
                <a:gd name="T87" fmla="*/ 45 h 403"/>
                <a:gd name="T88" fmla="*/ 159 w 170"/>
                <a:gd name="T89" fmla="*/ 57 h 403"/>
                <a:gd name="T90" fmla="*/ 141 w 170"/>
                <a:gd name="T91" fmla="*/ 64 h 403"/>
                <a:gd name="T92" fmla="*/ 129 w 170"/>
                <a:gd name="T93" fmla="*/ 55 h 403"/>
                <a:gd name="T94" fmla="*/ 124 w 170"/>
                <a:gd name="T95" fmla="*/ 31 h 403"/>
                <a:gd name="T96" fmla="*/ 105 w 170"/>
                <a:gd name="T97" fmla="*/ 15 h 403"/>
                <a:gd name="T98" fmla="*/ 47 w 170"/>
                <a:gd name="T99" fmla="*/ 400 h 403"/>
                <a:gd name="T100" fmla="*/ 53 w 170"/>
                <a:gd name="T101" fmla="*/ 401 h 403"/>
                <a:gd name="T102" fmla="*/ 67 w 170"/>
                <a:gd name="T103" fmla="*/ 401 h 403"/>
                <a:gd name="T104" fmla="*/ 56 w 170"/>
                <a:gd name="T105" fmla="*/ 396 h 403"/>
                <a:gd name="T106" fmla="*/ 46 w 170"/>
                <a:gd name="T107" fmla="*/ 386 h 403"/>
                <a:gd name="T108" fmla="*/ 40 w 170"/>
                <a:gd name="T109" fmla="*/ 372 h 403"/>
                <a:gd name="T110" fmla="*/ 78 w 170"/>
                <a:gd name="T111" fmla="*/ 396 h 403"/>
                <a:gd name="T112" fmla="*/ 83 w 170"/>
                <a:gd name="T113" fmla="*/ 399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403">
                  <a:moveTo>
                    <a:pt x="95" y="3"/>
                  </a:moveTo>
                  <a:cubicBezTo>
                    <a:pt x="82" y="3"/>
                    <a:pt x="82" y="3"/>
                    <a:pt x="82" y="3"/>
                  </a:cubicBezTo>
                  <a:cubicBezTo>
                    <a:pt x="82" y="3"/>
                    <a:pt x="80" y="0"/>
                    <a:pt x="78" y="5"/>
                  </a:cubicBezTo>
                  <a:cubicBezTo>
                    <a:pt x="76" y="11"/>
                    <a:pt x="76" y="10"/>
                    <a:pt x="75" y="9"/>
                  </a:cubicBezTo>
                  <a:cubicBezTo>
                    <a:pt x="75" y="7"/>
                    <a:pt x="73" y="4"/>
                    <a:pt x="73" y="4"/>
                  </a:cubicBezTo>
                  <a:cubicBezTo>
                    <a:pt x="67" y="4"/>
                    <a:pt x="67" y="4"/>
                    <a:pt x="67" y="4"/>
                  </a:cubicBezTo>
                  <a:cubicBezTo>
                    <a:pt x="64" y="4"/>
                    <a:pt x="59" y="1"/>
                    <a:pt x="59" y="1"/>
                  </a:cubicBezTo>
                  <a:cubicBezTo>
                    <a:pt x="52" y="7"/>
                    <a:pt x="52" y="7"/>
                    <a:pt x="52" y="7"/>
                  </a:cubicBezTo>
                  <a:cubicBezTo>
                    <a:pt x="52" y="7"/>
                    <a:pt x="51" y="13"/>
                    <a:pt x="55" y="14"/>
                  </a:cubicBezTo>
                  <a:cubicBezTo>
                    <a:pt x="58" y="15"/>
                    <a:pt x="57" y="20"/>
                    <a:pt x="56" y="23"/>
                  </a:cubicBezTo>
                  <a:cubicBezTo>
                    <a:pt x="55" y="26"/>
                    <a:pt x="51" y="25"/>
                    <a:pt x="50" y="28"/>
                  </a:cubicBezTo>
                  <a:cubicBezTo>
                    <a:pt x="49" y="31"/>
                    <a:pt x="44" y="31"/>
                    <a:pt x="44" y="33"/>
                  </a:cubicBezTo>
                  <a:cubicBezTo>
                    <a:pt x="44" y="36"/>
                    <a:pt x="44" y="41"/>
                    <a:pt x="44" y="44"/>
                  </a:cubicBezTo>
                  <a:cubicBezTo>
                    <a:pt x="44" y="47"/>
                    <a:pt x="48" y="49"/>
                    <a:pt x="45" y="51"/>
                  </a:cubicBezTo>
                  <a:cubicBezTo>
                    <a:pt x="43" y="52"/>
                    <a:pt x="44" y="53"/>
                    <a:pt x="44" y="56"/>
                  </a:cubicBezTo>
                  <a:cubicBezTo>
                    <a:pt x="45" y="60"/>
                    <a:pt x="44" y="61"/>
                    <a:pt x="43" y="64"/>
                  </a:cubicBezTo>
                  <a:cubicBezTo>
                    <a:pt x="42" y="67"/>
                    <a:pt x="41" y="67"/>
                    <a:pt x="40" y="71"/>
                  </a:cubicBezTo>
                  <a:cubicBezTo>
                    <a:pt x="38" y="76"/>
                    <a:pt x="35" y="74"/>
                    <a:pt x="35" y="80"/>
                  </a:cubicBezTo>
                  <a:cubicBezTo>
                    <a:pt x="34" y="86"/>
                    <a:pt x="33" y="88"/>
                    <a:pt x="33" y="92"/>
                  </a:cubicBezTo>
                  <a:cubicBezTo>
                    <a:pt x="33" y="96"/>
                    <a:pt x="35" y="98"/>
                    <a:pt x="33" y="101"/>
                  </a:cubicBezTo>
                  <a:cubicBezTo>
                    <a:pt x="32" y="104"/>
                    <a:pt x="31" y="103"/>
                    <a:pt x="31" y="108"/>
                  </a:cubicBezTo>
                  <a:cubicBezTo>
                    <a:pt x="31" y="114"/>
                    <a:pt x="30" y="114"/>
                    <a:pt x="31" y="118"/>
                  </a:cubicBezTo>
                  <a:cubicBezTo>
                    <a:pt x="31" y="122"/>
                    <a:pt x="32" y="123"/>
                    <a:pt x="30" y="126"/>
                  </a:cubicBezTo>
                  <a:cubicBezTo>
                    <a:pt x="29" y="129"/>
                    <a:pt x="28" y="130"/>
                    <a:pt x="29" y="133"/>
                  </a:cubicBezTo>
                  <a:cubicBezTo>
                    <a:pt x="30" y="136"/>
                    <a:pt x="30" y="137"/>
                    <a:pt x="30" y="141"/>
                  </a:cubicBezTo>
                  <a:cubicBezTo>
                    <a:pt x="30" y="145"/>
                    <a:pt x="27" y="151"/>
                    <a:pt x="26" y="154"/>
                  </a:cubicBezTo>
                  <a:cubicBezTo>
                    <a:pt x="24" y="157"/>
                    <a:pt x="25" y="158"/>
                    <a:pt x="25" y="161"/>
                  </a:cubicBezTo>
                  <a:cubicBezTo>
                    <a:pt x="26" y="164"/>
                    <a:pt x="27" y="165"/>
                    <a:pt x="26" y="167"/>
                  </a:cubicBezTo>
                  <a:cubicBezTo>
                    <a:pt x="25" y="169"/>
                    <a:pt x="22" y="169"/>
                    <a:pt x="22" y="169"/>
                  </a:cubicBezTo>
                  <a:cubicBezTo>
                    <a:pt x="22" y="169"/>
                    <a:pt x="18" y="172"/>
                    <a:pt x="18" y="175"/>
                  </a:cubicBezTo>
                  <a:cubicBezTo>
                    <a:pt x="19" y="178"/>
                    <a:pt x="18" y="180"/>
                    <a:pt x="18" y="183"/>
                  </a:cubicBezTo>
                  <a:cubicBezTo>
                    <a:pt x="17" y="186"/>
                    <a:pt x="20" y="187"/>
                    <a:pt x="20" y="190"/>
                  </a:cubicBezTo>
                  <a:cubicBezTo>
                    <a:pt x="20" y="193"/>
                    <a:pt x="20" y="190"/>
                    <a:pt x="17" y="193"/>
                  </a:cubicBezTo>
                  <a:cubicBezTo>
                    <a:pt x="15" y="196"/>
                    <a:pt x="15" y="203"/>
                    <a:pt x="14" y="206"/>
                  </a:cubicBezTo>
                  <a:cubicBezTo>
                    <a:pt x="14" y="209"/>
                    <a:pt x="14" y="210"/>
                    <a:pt x="12" y="212"/>
                  </a:cubicBezTo>
                  <a:cubicBezTo>
                    <a:pt x="9" y="215"/>
                    <a:pt x="13" y="217"/>
                    <a:pt x="13" y="221"/>
                  </a:cubicBezTo>
                  <a:cubicBezTo>
                    <a:pt x="13" y="224"/>
                    <a:pt x="11" y="227"/>
                    <a:pt x="13" y="229"/>
                  </a:cubicBezTo>
                  <a:cubicBezTo>
                    <a:pt x="15" y="230"/>
                    <a:pt x="15" y="229"/>
                    <a:pt x="15" y="232"/>
                  </a:cubicBezTo>
                  <a:cubicBezTo>
                    <a:pt x="15" y="235"/>
                    <a:pt x="16" y="236"/>
                    <a:pt x="15" y="239"/>
                  </a:cubicBezTo>
                  <a:cubicBezTo>
                    <a:pt x="15" y="243"/>
                    <a:pt x="11" y="246"/>
                    <a:pt x="12" y="249"/>
                  </a:cubicBezTo>
                  <a:cubicBezTo>
                    <a:pt x="13" y="251"/>
                    <a:pt x="16" y="253"/>
                    <a:pt x="15" y="255"/>
                  </a:cubicBezTo>
                  <a:cubicBezTo>
                    <a:pt x="15" y="257"/>
                    <a:pt x="16" y="258"/>
                    <a:pt x="16" y="261"/>
                  </a:cubicBezTo>
                  <a:cubicBezTo>
                    <a:pt x="16" y="264"/>
                    <a:pt x="18" y="266"/>
                    <a:pt x="17" y="267"/>
                  </a:cubicBezTo>
                  <a:cubicBezTo>
                    <a:pt x="15" y="269"/>
                    <a:pt x="15" y="271"/>
                    <a:pt x="15" y="273"/>
                  </a:cubicBezTo>
                  <a:cubicBezTo>
                    <a:pt x="15" y="274"/>
                    <a:pt x="18" y="276"/>
                    <a:pt x="16" y="276"/>
                  </a:cubicBezTo>
                  <a:cubicBezTo>
                    <a:pt x="14" y="277"/>
                    <a:pt x="14" y="279"/>
                    <a:pt x="13" y="280"/>
                  </a:cubicBezTo>
                  <a:cubicBezTo>
                    <a:pt x="12" y="281"/>
                    <a:pt x="13" y="283"/>
                    <a:pt x="14" y="285"/>
                  </a:cubicBezTo>
                  <a:cubicBezTo>
                    <a:pt x="15" y="288"/>
                    <a:pt x="15" y="288"/>
                    <a:pt x="14" y="292"/>
                  </a:cubicBezTo>
                  <a:cubicBezTo>
                    <a:pt x="13" y="295"/>
                    <a:pt x="13" y="298"/>
                    <a:pt x="13" y="300"/>
                  </a:cubicBezTo>
                  <a:cubicBezTo>
                    <a:pt x="13" y="302"/>
                    <a:pt x="13" y="303"/>
                    <a:pt x="13" y="303"/>
                  </a:cubicBezTo>
                  <a:cubicBezTo>
                    <a:pt x="13" y="303"/>
                    <a:pt x="12" y="305"/>
                    <a:pt x="10" y="307"/>
                  </a:cubicBezTo>
                  <a:cubicBezTo>
                    <a:pt x="8" y="309"/>
                    <a:pt x="9" y="310"/>
                    <a:pt x="9" y="313"/>
                  </a:cubicBezTo>
                  <a:cubicBezTo>
                    <a:pt x="10" y="316"/>
                    <a:pt x="10" y="318"/>
                    <a:pt x="8" y="319"/>
                  </a:cubicBezTo>
                  <a:cubicBezTo>
                    <a:pt x="6" y="321"/>
                    <a:pt x="0" y="321"/>
                    <a:pt x="2" y="325"/>
                  </a:cubicBezTo>
                  <a:cubicBezTo>
                    <a:pt x="3" y="329"/>
                    <a:pt x="4" y="330"/>
                    <a:pt x="3" y="333"/>
                  </a:cubicBezTo>
                  <a:cubicBezTo>
                    <a:pt x="2" y="336"/>
                    <a:pt x="1" y="336"/>
                    <a:pt x="1" y="339"/>
                  </a:cubicBezTo>
                  <a:cubicBezTo>
                    <a:pt x="1" y="342"/>
                    <a:pt x="1" y="345"/>
                    <a:pt x="3" y="345"/>
                  </a:cubicBezTo>
                  <a:cubicBezTo>
                    <a:pt x="5" y="345"/>
                    <a:pt x="5" y="342"/>
                    <a:pt x="7" y="344"/>
                  </a:cubicBezTo>
                  <a:cubicBezTo>
                    <a:pt x="9" y="346"/>
                    <a:pt x="9" y="348"/>
                    <a:pt x="7" y="350"/>
                  </a:cubicBezTo>
                  <a:cubicBezTo>
                    <a:pt x="5" y="352"/>
                    <a:pt x="7" y="354"/>
                    <a:pt x="8" y="357"/>
                  </a:cubicBezTo>
                  <a:cubicBezTo>
                    <a:pt x="9" y="360"/>
                    <a:pt x="15" y="365"/>
                    <a:pt x="15" y="365"/>
                  </a:cubicBezTo>
                  <a:cubicBezTo>
                    <a:pt x="15" y="365"/>
                    <a:pt x="24" y="365"/>
                    <a:pt x="27" y="365"/>
                  </a:cubicBezTo>
                  <a:cubicBezTo>
                    <a:pt x="30" y="365"/>
                    <a:pt x="42" y="366"/>
                    <a:pt x="42" y="366"/>
                  </a:cubicBezTo>
                  <a:cubicBezTo>
                    <a:pt x="41" y="364"/>
                    <a:pt x="41" y="363"/>
                    <a:pt x="40" y="360"/>
                  </a:cubicBezTo>
                  <a:cubicBezTo>
                    <a:pt x="37" y="361"/>
                    <a:pt x="37" y="361"/>
                    <a:pt x="35" y="360"/>
                  </a:cubicBezTo>
                  <a:cubicBezTo>
                    <a:pt x="39" y="358"/>
                    <a:pt x="37" y="358"/>
                    <a:pt x="36" y="353"/>
                  </a:cubicBezTo>
                  <a:cubicBezTo>
                    <a:pt x="36" y="353"/>
                    <a:pt x="34" y="354"/>
                    <a:pt x="34" y="354"/>
                  </a:cubicBezTo>
                  <a:cubicBezTo>
                    <a:pt x="34" y="352"/>
                    <a:pt x="34" y="352"/>
                    <a:pt x="34" y="352"/>
                  </a:cubicBezTo>
                  <a:cubicBezTo>
                    <a:pt x="35" y="352"/>
                    <a:pt x="37" y="352"/>
                    <a:pt x="37" y="351"/>
                  </a:cubicBezTo>
                  <a:cubicBezTo>
                    <a:pt x="38" y="349"/>
                    <a:pt x="37" y="347"/>
                    <a:pt x="40" y="346"/>
                  </a:cubicBezTo>
                  <a:cubicBezTo>
                    <a:pt x="40" y="345"/>
                    <a:pt x="40" y="345"/>
                    <a:pt x="40" y="345"/>
                  </a:cubicBezTo>
                  <a:cubicBezTo>
                    <a:pt x="40" y="345"/>
                    <a:pt x="42" y="345"/>
                    <a:pt x="42" y="345"/>
                  </a:cubicBezTo>
                  <a:cubicBezTo>
                    <a:pt x="42" y="344"/>
                    <a:pt x="43" y="342"/>
                    <a:pt x="42" y="342"/>
                  </a:cubicBezTo>
                  <a:cubicBezTo>
                    <a:pt x="42" y="341"/>
                    <a:pt x="40" y="341"/>
                    <a:pt x="39" y="341"/>
                  </a:cubicBezTo>
                  <a:cubicBezTo>
                    <a:pt x="39" y="340"/>
                    <a:pt x="39" y="338"/>
                    <a:pt x="39" y="338"/>
                  </a:cubicBezTo>
                  <a:cubicBezTo>
                    <a:pt x="39" y="337"/>
                    <a:pt x="40" y="337"/>
                    <a:pt x="40" y="336"/>
                  </a:cubicBezTo>
                  <a:cubicBezTo>
                    <a:pt x="41" y="336"/>
                    <a:pt x="42" y="337"/>
                    <a:pt x="42" y="337"/>
                  </a:cubicBezTo>
                  <a:cubicBezTo>
                    <a:pt x="43" y="339"/>
                    <a:pt x="43" y="340"/>
                    <a:pt x="44" y="341"/>
                  </a:cubicBezTo>
                  <a:cubicBezTo>
                    <a:pt x="46" y="340"/>
                    <a:pt x="49" y="340"/>
                    <a:pt x="50" y="338"/>
                  </a:cubicBezTo>
                  <a:cubicBezTo>
                    <a:pt x="50" y="337"/>
                    <a:pt x="51" y="332"/>
                    <a:pt x="50" y="332"/>
                  </a:cubicBezTo>
                  <a:cubicBezTo>
                    <a:pt x="48" y="331"/>
                    <a:pt x="49" y="333"/>
                    <a:pt x="48" y="333"/>
                  </a:cubicBezTo>
                  <a:cubicBezTo>
                    <a:pt x="48" y="331"/>
                    <a:pt x="48" y="331"/>
                    <a:pt x="48" y="331"/>
                  </a:cubicBezTo>
                  <a:cubicBezTo>
                    <a:pt x="49" y="329"/>
                    <a:pt x="52" y="327"/>
                    <a:pt x="54" y="325"/>
                  </a:cubicBezTo>
                  <a:cubicBezTo>
                    <a:pt x="54" y="324"/>
                    <a:pt x="54" y="322"/>
                    <a:pt x="54" y="321"/>
                  </a:cubicBezTo>
                  <a:cubicBezTo>
                    <a:pt x="55" y="321"/>
                    <a:pt x="56" y="321"/>
                    <a:pt x="56" y="321"/>
                  </a:cubicBezTo>
                  <a:cubicBezTo>
                    <a:pt x="57" y="321"/>
                    <a:pt x="58" y="319"/>
                    <a:pt x="59" y="318"/>
                  </a:cubicBezTo>
                  <a:cubicBezTo>
                    <a:pt x="60" y="317"/>
                    <a:pt x="60" y="318"/>
                    <a:pt x="61" y="318"/>
                  </a:cubicBezTo>
                  <a:cubicBezTo>
                    <a:pt x="62" y="317"/>
                    <a:pt x="66" y="314"/>
                    <a:pt x="67" y="313"/>
                  </a:cubicBezTo>
                  <a:cubicBezTo>
                    <a:pt x="66" y="312"/>
                    <a:pt x="65" y="311"/>
                    <a:pt x="64" y="310"/>
                  </a:cubicBezTo>
                  <a:cubicBezTo>
                    <a:pt x="61" y="312"/>
                    <a:pt x="67" y="307"/>
                    <a:pt x="64" y="303"/>
                  </a:cubicBezTo>
                  <a:cubicBezTo>
                    <a:pt x="63" y="300"/>
                    <a:pt x="59" y="302"/>
                    <a:pt x="57" y="301"/>
                  </a:cubicBezTo>
                  <a:cubicBezTo>
                    <a:pt x="56" y="300"/>
                    <a:pt x="56" y="298"/>
                    <a:pt x="55" y="297"/>
                  </a:cubicBezTo>
                  <a:cubicBezTo>
                    <a:pt x="54" y="297"/>
                    <a:pt x="53" y="297"/>
                    <a:pt x="52" y="297"/>
                  </a:cubicBezTo>
                  <a:cubicBezTo>
                    <a:pt x="51" y="296"/>
                    <a:pt x="51" y="293"/>
                    <a:pt x="50" y="292"/>
                  </a:cubicBezTo>
                  <a:cubicBezTo>
                    <a:pt x="49" y="288"/>
                    <a:pt x="49" y="289"/>
                    <a:pt x="51" y="285"/>
                  </a:cubicBezTo>
                  <a:cubicBezTo>
                    <a:pt x="52" y="285"/>
                    <a:pt x="52" y="285"/>
                    <a:pt x="52" y="285"/>
                  </a:cubicBezTo>
                  <a:cubicBezTo>
                    <a:pt x="53" y="285"/>
                    <a:pt x="52" y="284"/>
                    <a:pt x="53" y="283"/>
                  </a:cubicBezTo>
                  <a:cubicBezTo>
                    <a:pt x="53" y="283"/>
                    <a:pt x="56" y="281"/>
                    <a:pt x="56" y="281"/>
                  </a:cubicBezTo>
                  <a:cubicBezTo>
                    <a:pt x="61" y="277"/>
                    <a:pt x="59" y="274"/>
                    <a:pt x="68" y="275"/>
                  </a:cubicBezTo>
                  <a:cubicBezTo>
                    <a:pt x="68" y="275"/>
                    <a:pt x="68" y="273"/>
                    <a:pt x="68" y="272"/>
                  </a:cubicBezTo>
                  <a:cubicBezTo>
                    <a:pt x="63" y="271"/>
                    <a:pt x="71" y="267"/>
                    <a:pt x="71" y="266"/>
                  </a:cubicBezTo>
                  <a:cubicBezTo>
                    <a:pt x="71" y="265"/>
                    <a:pt x="70" y="261"/>
                    <a:pt x="70" y="261"/>
                  </a:cubicBezTo>
                  <a:cubicBezTo>
                    <a:pt x="70" y="257"/>
                    <a:pt x="72" y="251"/>
                    <a:pt x="75" y="249"/>
                  </a:cubicBezTo>
                  <a:cubicBezTo>
                    <a:pt x="76" y="249"/>
                    <a:pt x="77" y="249"/>
                    <a:pt x="78" y="249"/>
                  </a:cubicBezTo>
                  <a:cubicBezTo>
                    <a:pt x="78" y="249"/>
                    <a:pt x="78" y="246"/>
                    <a:pt x="78" y="246"/>
                  </a:cubicBezTo>
                  <a:cubicBezTo>
                    <a:pt x="76" y="246"/>
                    <a:pt x="74" y="246"/>
                    <a:pt x="74" y="246"/>
                  </a:cubicBezTo>
                  <a:cubicBezTo>
                    <a:pt x="72" y="247"/>
                    <a:pt x="73" y="246"/>
                    <a:pt x="74" y="245"/>
                  </a:cubicBezTo>
                  <a:cubicBezTo>
                    <a:pt x="75" y="245"/>
                    <a:pt x="77" y="243"/>
                    <a:pt x="80" y="244"/>
                  </a:cubicBezTo>
                  <a:cubicBezTo>
                    <a:pt x="80" y="244"/>
                    <a:pt x="80" y="245"/>
                    <a:pt x="81" y="245"/>
                  </a:cubicBezTo>
                  <a:cubicBezTo>
                    <a:pt x="81" y="246"/>
                    <a:pt x="81" y="248"/>
                    <a:pt x="81" y="248"/>
                  </a:cubicBezTo>
                  <a:cubicBezTo>
                    <a:pt x="84" y="247"/>
                    <a:pt x="86" y="248"/>
                    <a:pt x="86" y="244"/>
                  </a:cubicBezTo>
                  <a:cubicBezTo>
                    <a:pt x="86" y="243"/>
                    <a:pt x="86" y="242"/>
                    <a:pt x="86" y="241"/>
                  </a:cubicBezTo>
                  <a:cubicBezTo>
                    <a:pt x="85" y="241"/>
                    <a:pt x="85" y="240"/>
                    <a:pt x="85" y="239"/>
                  </a:cubicBezTo>
                  <a:cubicBezTo>
                    <a:pt x="84" y="240"/>
                    <a:pt x="82" y="239"/>
                    <a:pt x="82" y="239"/>
                  </a:cubicBezTo>
                  <a:cubicBezTo>
                    <a:pt x="81" y="240"/>
                    <a:pt x="82" y="242"/>
                    <a:pt x="82" y="242"/>
                  </a:cubicBezTo>
                  <a:cubicBezTo>
                    <a:pt x="81" y="242"/>
                    <a:pt x="80" y="242"/>
                    <a:pt x="80" y="242"/>
                  </a:cubicBezTo>
                  <a:cubicBezTo>
                    <a:pt x="78" y="241"/>
                    <a:pt x="77" y="240"/>
                    <a:pt x="76" y="239"/>
                  </a:cubicBezTo>
                  <a:cubicBezTo>
                    <a:pt x="76" y="239"/>
                    <a:pt x="75" y="239"/>
                    <a:pt x="74" y="239"/>
                  </a:cubicBezTo>
                  <a:cubicBezTo>
                    <a:pt x="74" y="238"/>
                    <a:pt x="74" y="235"/>
                    <a:pt x="74" y="232"/>
                  </a:cubicBezTo>
                  <a:cubicBezTo>
                    <a:pt x="73" y="232"/>
                    <a:pt x="72" y="232"/>
                    <a:pt x="71" y="232"/>
                  </a:cubicBezTo>
                  <a:cubicBezTo>
                    <a:pt x="71" y="231"/>
                    <a:pt x="70" y="231"/>
                    <a:pt x="70" y="231"/>
                  </a:cubicBezTo>
                  <a:cubicBezTo>
                    <a:pt x="73" y="230"/>
                    <a:pt x="73" y="226"/>
                    <a:pt x="73" y="224"/>
                  </a:cubicBezTo>
                  <a:cubicBezTo>
                    <a:pt x="74" y="224"/>
                    <a:pt x="74" y="222"/>
                    <a:pt x="76" y="222"/>
                  </a:cubicBezTo>
                  <a:cubicBezTo>
                    <a:pt x="76" y="222"/>
                    <a:pt x="76" y="224"/>
                    <a:pt x="76" y="224"/>
                  </a:cubicBezTo>
                  <a:cubicBezTo>
                    <a:pt x="77" y="224"/>
                    <a:pt x="78" y="224"/>
                    <a:pt x="79" y="224"/>
                  </a:cubicBezTo>
                  <a:cubicBezTo>
                    <a:pt x="81" y="228"/>
                    <a:pt x="81" y="229"/>
                    <a:pt x="86" y="229"/>
                  </a:cubicBezTo>
                  <a:cubicBezTo>
                    <a:pt x="88" y="229"/>
                    <a:pt x="90" y="227"/>
                    <a:pt x="92" y="227"/>
                  </a:cubicBezTo>
                  <a:cubicBezTo>
                    <a:pt x="92" y="227"/>
                    <a:pt x="91" y="225"/>
                    <a:pt x="92" y="225"/>
                  </a:cubicBezTo>
                  <a:cubicBezTo>
                    <a:pt x="92" y="224"/>
                    <a:pt x="95" y="223"/>
                    <a:pt x="96" y="222"/>
                  </a:cubicBezTo>
                  <a:cubicBezTo>
                    <a:pt x="98" y="218"/>
                    <a:pt x="95" y="213"/>
                    <a:pt x="96" y="210"/>
                  </a:cubicBezTo>
                  <a:cubicBezTo>
                    <a:pt x="96" y="210"/>
                    <a:pt x="96" y="210"/>
                    <a:pt x="96" y="210"/>
                  </a:cubicBezTo>
                  <a:cubicBezTo>
                    <a:pt x="97" y="208"/>
                    <a:pt x="97" y="207"/>
                    <a:pt x="98" y="205"/>
                  </a:cubicBezTo>
                  <a:cubicBezTo>
                    <a:pt x="96" y="204"/>
                    <a:pt x="94" y="204"/>
                    <a:pt x="94" y="202"/>
                  </a:cubicBezTo>
                  <a:cubicBezTo>
                    <a:pt x="93" y="201"/>
                    <a:pt x="94" y="200"/>
                    <a:pt x="94" y="199"/>
                  </a:cubicBezTo>
                  <a:cubicBezTo>
                    <a:pt x="94" y="199"/>
                    <a:pt x="94" y="198"/>
                    <a:pt x="95" y="198"/>
                  </a:cubicBezTo>
                  <a:cubicBezTo>
                    <a:pt x="96" y="198"/>
                    <a:pt x="96" y="198"/>
                    <a:pt x="96" y="198"/>
                  </a:cubicBezTo>
                  <a:cubicBezTo>
                    <a:pt x="99" y="202"/>
                    <a:pt x="99" y="202"/>
                    <a:pt x="99" y="202"/>
                  </a:cubicBezTo>
                  <a:cubicBezTo>
                    <a:pt x="102" y="200"/>
                    <a:pt x="99" y="200"/>
                    <a:pt x="99" y="200"/>
                  </a:cubicBezTo>
                  <a:cubicBezTo>
                    <a:pt x="100" y="199"/>
                    <a:pt x="101" y="200"/>
                    <a:pt x="102" y="200"/>
                  </a:cubicBezTo>
                  <a:cubicBezTo>
                    <a:pt x="104" y="199"/>
                    <a:pt x="107" y="198"/>
                    <a:pt x="108" y="198"/>
                  </a:cubicBezTo>
                  <a:cubicBezTo>
                    <a:pt x="111" y="197"/>
                    <a:pt x="113" y="198"/>
                    <a:pt x="116" y="198"/>
                  </a:cubicBezTo>
                  <a:cubicBezTo>
                    <a:pt x="116" y="198"/>
                    <a:pt x="121" y="197"/>
                    <a:pt x="122" y="196"/>
                  </a:cubicBezTo>
                  <a:cubicBezTo>
                    <a:pt x="122" y="196"/>
                    <a:pt x="123" y="195"/>
                    <a:pt x="123" y="195"/>
                  </a:cubicBezTo>
                  <a:cubicBezTo>
                    <a:pt x="126" y="194"/>
                    <a:pt x="129" y="194"/>
                    <a:pt x="131" y="193"/>
                  </a:cubicBezTo>
                  <a:cubicBezTo>
                    <a:pt x="137" y="190"/>
                    <a:pt x="143" y="177"/>
                    <a:pt x="145" y="170"/>
                  </a:cubicBezTo>
                  <a:cubicBezTo>
                    <a:pt x="144" y="169"/>
                    <a:pt x="144" y="168"/>
                    <a:pt x="144" y="168"/>
                  </a:cubicBezTo>
                  <a:cubicBezTo>
                    <a:pt x="142" y="168"/>
                    <a:pt x="141" y="168"/>
                    <a:pt x="139" y="167"/>
                  </a:cubicBezTo>
                  <a:cubicBezTo>
                    <a:pt x="139" y="166"/>
                    <a:pt x="140" y="166"/>
                    <a:pt x="139" y="166"/>
                  </a:cubicBezTo>
                  <a:cubicBezTo>
                    <a:pt x="139" y="165"/>
                    <a:pt x="139" y="165"/>
                    <a:pt x="139" y="165"/>
                  </a:cubicBezTo>
                  <a:cubicBezTo>
                    <a:pt x="137" y="165"/>
                    <a:pt x="137" y="165"/>
                    <a:pt x="137" y="165"/>
                  </a:cubicBezTo>
                  <a:cubicBezTo>
                    <a:pt x="137" y="164"/>
                    <a:pt x="137" y="162"/>
                    <a:pt x="137" y="161"/>
                  </a:cubicBezTo>
                  <a:cubicBezTo>
                    <a:pt x="137" y="161"/>
                    <a:pt x="139" y="160"/>
                    <a:pt x="139" y="160"/>
                  </a:cubicBezTo>
                  <a:cubicBezTo>
                    <a:pt x="139" y="159"/>
                    <a:pt x="138" y="158"/>
                    <a:pt x="139" y="158"/>
                  </a:cubicBezTo>
                  <a:cubicBezTo>
                    <a:pt x="137" y="156"/>
                    <a:pt x="136" y="154"/>
                    <a:pt x="135" y="153"/>
                  </a:cubicBezTo>
                  <a:cubicBezTo>
                    <a:pt x="134" y="152"/>
                    <a:pt x="132" y="152"/>
                    <a:pt x="131" y="150"/>
                  </a:cubicBezTo>
                  <a:cubicBezTo>
                    <a:pt x="130" y="149"/>
                    <a:pt x="131" y="147"/>
                    <a:pt x="129" y="146"/>
                  </a:cubicBezTo>
                  <a:cubicBezTo>
                    <a:pt x="127" y="145"/>
                    <a:pt x="127" y="145"/>
                    <a:pt x="127" y="145"/>
                  </a:cubicBezTo>
                  <a:cubicBezTo>
                    <a:pt x="127" y="143"/>
                    <a:pt x="128" y="144"/>
                    <a:pt x="128" y="142"/>
                  </a:cubicBezTo>
                  <a:cubicBezTo>
                    <a:pt x="128" y="142"/>
                    <a:pt x="126" y="140"/>
                    <a:pt x="127" y="139"/>
                  </a:cubicBezTo>
                  <a:cubicBezTo>
                    <a:pt x="129" y="138"/>
                    <a:pt x="129" y="138"/>
                    <a:pt x="129" y="138"/>
                  </a:cubicBezTo>
                  <a:cubicBezTo>
                    <a:pt x="129" y="135"/>
                    <a:pt x="129" y="132"/>
                    <a:pt x="129" y="128"/>
                  </a:cubicBezTo>
                  <a:cubicBezTo>
                    <a:pt x="130" y="128"/>
                    <a:pt x="130" y="128"/>
                    <a:pt x="130" y="128"/>
                  </a:cubicBezTo>
                  <a:cubicBezTo>
                    <a:pt x="130" y="128"/>
                    <a:pt x="131" y="123"/>
                    <a:pt x="130" y="121"/>
                  </a:cubicBezTo>
                  <a:cubicBezTo>
                    <a:pt x="129" y="119"/>
                    <a:pt x="133" y="117"/>
                    <a:pt x="132" y="113"/>
                  </a:cubicBezTo>
                  <a:cubicBezTo>
                    <a:pt x="131" y="109"/>
                    <a:pt x="135" y="110"/>
                    <a:pt x="134" y="106"/>
                  </a:cubicBezTo>
                  <a:cubicBezTo>
                    <a:pt x="133" y="103"/>
                    <a:pt x="136" y="100"/>
                    <a:pt x="136" y="100"/>
                  </a:cubicBezTo>
                  <a:cubicBezTo>
                    <a:pt x="136" y="100"/>
                    <a:pt x="138" y="95"/>
                    <a:pt x="138" y="93"/>
                  </a:cubicBezTo>
                  <a:cubicBezTo>
                    <a:pt x="138" y="91"/>
                    <a:pt x="140" y="90"/>
                    <a:pt x="142" y="89"/>
                  </a:cubicBezTo>
                  <a:cubicBezTo>
                    <a:pt x="144" y="88"/>
                    <a:pt x="145" y="85"/>
                    <a:pt x="145" y="82"/>
                  </a:cubicBezTo>
                  <a:cubicBezTo>
                    <a:pt x="145" y="79"/>
                    <a:pt x="150" y="80"/>
                    <a:pt x="151" y="78"/>
                  </a:cubicBezTo>
                  <a:cubicBezTo>
                    <a:pt x="151" y="76"/>
                    <a:pt x="153" y="76"/>
                    <a:pt x="155" y="74"/>
                  </a:cubicBezTo>
                  <a:cubicBezTo>
                    <a:pt x="157" y="72"/>
                    <a:pt x="158" y="70"/>
                    <a:pt x="159" y="68"/>
                  </a:cubicBezTo>
                  <a:cubicBezTo>
                    <a:pt x="160" y="65"/>
                    <a:pt x="165" y="66"/>
                    <a:pt x="166" y="64"/>
                  </a:cubicBezTo>
                  <a:cubicBezTo>
                    <a:pt x="167" y="63"/>
                    <a:pt x="170" y="63"/>
                    <a:pt x="169" y="61"/>
                  </a:cubicBezTo>
                  <a:cubicBezTo>
                    <a:pt x="169" y="60"/>
                    <a:pt x="169" y="55"/>
                    <a:pt x="169" y="52"/>
                  </a:cubicBezTo>
                  <a:cubicBezTo>
                    <a:pt x="168" y="49"/>
                    <a:pt x="168" y="45"/>
                    <a:pt x="168" y="45"/>
                  </a:cubicBezTo>
                  <a:cubicBezTo>
                    <a:pt x="168" y="45"/>
                    <a:pt x="165" y="43"/>
                    <a:pt x="165" y="45"/>
                  </a:cubicBezTo>
                  <a:cubicBezTo>
                    <a:pt x="166" y="47"/>
                    <a:pt x="161" y="44"/>
                    <a:pt x="161" y="44"/>
                  </a:cubicBezTo>
                  <a:cubicBezTo>
                    <a:pt x="161" y="44"/>
                    <a:pt x="158" y="47"/>
                    <a:pt x="159" y="49"/>
                  </a:cubicBezTo>
                  <a:cubicBezTo>
                    <a:pt x="160" y="50"/>
                    <a:pt x="160" y="56"/>
                    <a:pt x="159" y="57"/>
                  </a:cubicBezTo>
                  <a:cubicBezTo>
                    <a:pt x="157" y="59"/>
                    <a:pt x="155" y="60"/>
                    <a:pt x="154" y="62"/>
                  </a:cubicBezTo>
                  <a:cubicBezTo>
                    <a:pt x="154" y="64"/>
                    <a:pt x="153" y="64"/>
                    <a:pt x="153" y="64"/>
                  </a:cubicBezTo>
                  <a:cubicBezTo>
                    <a:pt x="153" y="64"/>
                    <a:pt x="151" y="65"/>
                    <a:pt x="148" y="65"/>
                  </a:cubicBezTo>
                  <a:cubicBezTo>
                    <a:pt x="146" y="64"/>
                    <a:pt x="143" y="64"/>
                    <a:pt x="141" y="64"/>
                  </a:cubicBezTo>
                  <a:cubicBezTo>
                    <a:pt x="139" y="64"/>
                    <a:pt x="137" y="65"/>
                    <a:pt x="135" y="63"/>
                  </a:cubicBezTo>
                  <a:cubicBezTo>
                    <a:pt x="133" y="62"/>
                    <a:pt x="131" y="62"/>
                    <a:pt x="129" y="62"/>
                  </a:cubicBezTo>
                  <a:cubicBezTo>
                    <a:pt x="127" y="63"/>
                    <a:pt x="126" y="62"/>
                    <a:pt x="126" y="62"/>
                  </a:cubicBezTo>
                  <a:cubicBezTo>
                    <a:pt x="126" y="62"/>
                    <a:pt x="128" y="58"/>
                    <a:pt x="129" y="55"/>
                  </a:cubicBezTo>
                  <a:cubicBezTo>
                    <a:pt x="131" y="53"/>
                    <a:pt x="133" y="50"/>
                    <a:pt x="133" y="47"/>
                  </a:cubicBezTo>
                  <a:cubicBezTo>
                    <a:pt x="133" y="44"/>
                    <a:pt x="136" y="42"/>
                    <a:pt x="133" y="41"/>
                  </a:cubicBezTo>
                  <a:cubicBezTo>
                    <a:pt x="130" y="39"/>
                    <a:pt x="129" y="35"/>
                    <a:pt x="127" y="34"/>
                  </a:cubicBezTo>
                  <a:cubicBezTo>
                    <a:pt x="126" y="34"/>
                    <a:pt x="126" y="33"/>
                    <a:pt x="124" y="31"/>
                  </a:cubicBezTo>
                  <a:cubicBezTo>
                    <a:pt x="122" y="29"/>
                    <a:pt x="120" y="32"/>
                    <a:pt x="118" y="29"/>
                  </a:cubicBezTo>
                  <a:cubicBezTo>
                    <a:pt x="115" y="26"/>
                    <a:pt x="115" y="25"/>
                    <a:pt x="113" y="25"/>
                  </a:cubicBezTo>
                  <a:cubicBezTo>
                    <a:pt x="110" y="25"/>
                    <a:pt x="110" y="20"/>
                    <a:pt x="109" y="18"/>
                  </a:cubicBezTo>
                  <a:cubicBezTo>
                    <a:pt x="107" y="17"/>
                    <a:pt x="107" y="15"/>
                    <a:pt x="105" y="15"/>
                  </a:cubicBezTo>
                  <a:cubicBezTo>
                    <a:pt x="103" y="14"/>
                    <a:pt x="103" y="12"/>
                    <a:pt x="102" y="10"/>
                  </a:cubicBezTo>
                  <a:cubicBezTo>
                    <a:pt x="101" y="9"/>
                    <a:pt x="100" y="6"/>
                    <a:pt x="100" y="6"/>
                  </a:cubicBezTo>
                  <a:lnTo>
                    <a:pt x="95" y="3"/>
                  </a:lnTo>
                  <a:close/>
                  <a:moveTo>
                    <a:pt x="47" y="400"/>
                  </a:moveTo>
                  <a:cubicBezTo>
                    <a:pt x="48" y="400"/>
                    <a:pt x="48" y="400"/>
                    <a:pt x="48" y="400"/>
                  </a:cubicBezTo>
                  <a:cubicBezTo>
                    <a:pt x="50" y="400"/>
                    <a:pt x="50" y="401"/>
                    <a:pt x="51" y="401"/>
                  </a:cubicBezTo>
                  <a:cubicBezTo>
                    <a:pt x="53" y="402"/>
                    <a:pt x="53" y="402"/>
                    <a:pt x="53" y="402"/>
                  </a:cubicBezTo>
                  <a:cubicBezTo>
                    <a:pt x="53" y="401"/>
                    <a:pt x="53" y="401"/>
                    <a:pt x="53" y="401"/>
                  </a:cubicBezTo>
                  <a:cubicBezTo>
                    <a:pt x="53" y="401"/>
                    <a:pt x="56" y="403"/>
                    <a:pt x="56" y="403"/>
                  </a:cubicBezTo>
                  <a:cubicBezTo>
                    <a:pt x="56" y="403"/>
                    <a:pt x="59" y="403"/>
                    <a:pt x="60" y="402"/>
                  </a:cubicBezTo>
                  <a:cubicBezTo>
                    <a:pt x="61" y="401"/>
                    <a:pt x="61" y="401"/>
                    <a:pt x="61" y="401"/>
                  </a:cubicBezTo>
                  <a:cubicBezTo>
                    <a:pt x="63" y="401"/>
                    <a:pt x="65" y="401"/>
                    <a:pt x="67" y="401"/>
                  </a:cubicBezTo>
                  <a:cubicBezTo>
                    <a:pt x="66" y="402"/>
                    <a:pt x="68" y="402"/>
                    <a:pt x="68" y="402"/>
                  </a:cubicBezTo>
                  <a:cubicBezTo>
                    <a:pt x="68" y="401"/>
                    <a:pt x="68" y="400"/>
                    <a:pt x="69" y="399"/>
                  </a:cubicBezTo>
                  <a:cubicBezTo>
                    <a:pt x="66" y="398"/>
                    <a:pt x="63" y="397"/>
                    <a:pt x="60" y="396"/>
                  </a:cubicBezTo>
                  <a:cubicBezTo>
                    <a:pt x="59" y="396"/>
                    <a:pt x="57" y="397"/>
                    <a:pt x="56" y="396"/>
                  </a:cubicBezTo>
                  <a:cubicBezTo>
                    <a:pt x="55" y="396"/>
                    <a:pt x="54" y="393"/>
                    <a:pt x="53" y="392"/>
                  </a:cubicBezTo>
                  <a:cubicBezTo>
                    <a:pt x="52" y="392"/>
                    <a:pt x="51" y="392"/>
                    <a:pt x="50" y="391"/>
                  </a:cubicBezTo>
                  <a:cubicBezTo>
                    <a:pt x="49" y="390"/>
                    <a:pt x="49" y="389"/>
                    <a:pt x="48" y="388"/>
                  </a:cubicBezTo>
                  <a:cubicBezTo>
                    <a:pt x="48" y="387"/>
                    <a:pt x="47" y="387"/>
                    <a:pt x="46" y="386"/>
                  </a:cubicBezTo>
                  <a:cubicBezTo>
                    <a:pt x="44" y="385"/>
                    <a:pt x="42" y="382"/>
                    <a:pt x="42" y="380"/>
                  </a:cubicBezTo>
                  <a:cubicBezTo>
                    <a:pt x="41" y="380"/>
                    <a:pt x="41" y="380"/>
                    <a:pt x="41" y="380"/>
                  </a:cubicBezTo>
                  <a:cubicBezTo>
                    <a:pt x="41" y="379"/>
                    <a:pt x="42" y="378"/>
                    <a:pt x="43" y="378"/>
                  </a:cubicBezTo>
                  <a:cubicBezTo>
                    <a:pt x="42" y="376"/>
                    <a:pt x="42" y="374"/>
                    <a:pt x="40" y="372"/>
                  </a:cubicBezTo>
                  <a:cubicBezTo>
                    <a:pt x="39" y="373"/>
                    <a:pt x="41" y="371"/>
                    <a:pt x="39" y="372"/>
                  </a:cubicBezTo>
                  <a:cubicBezTo>
                    <a:pt x="41" y="401"/>
                    <a:pt x="41" y="401"/>
                    <a:pt x="41" y="401"/>
                  </a:cubicBezTo>
                  <a:cubicBezTo>
                    <a:pt x="41" y="401"/>
                    <a:pt x="44" y="400"/>
                    <a:pt x="47" y="400"/>
                  </a:cubicBezTo>
                  <a:close/>
                  <a:moveTo>
                    <a:pt x="78" y="396"/>
                  </a:moveTo>
                  <a:cubicBezTo>
                    <a:pt x="78" y="398"/>
                    <a:pt x="78" y="398"/>
                    <a:pt x="78" y="398"/>
                  </a:cubicBezTo>
                  <a:cubicBezTo>
                    <a:pt x="72" y="398"/>
                    <a:pt x="79" y="401"/>
                    <a:pt x="80" y="401"/>
                  </a:cubicBezTo>
                  <a:cubicBezTo>
                    <a:pt x="81" y="400"/>
                    <a:pt x="81" y="400"/>
                    <a:pt x="81" y="400"/>
                  </a:cubicBezTo>
                  <a:cubicBezTo>
                    <a:pt x="82" y="399"/>
                    <a:pt x="82" y="399"/>
                    <a:pt x="83" y="399"/>
                  </a:cubicBezTo>
                  <a:cubicBezTo>
                    <a:pt x="86" y="397"/>
                    <a:pt x="81" y="398"/>
                    <a:pt x="80" y="398"/>
                  </a:cubicBezTo>
                  <a:cubicBezTo>
                    <a:pt x="79" y="398"/>
                    <a:pt x="79" y="396"/>
                    <a:pt x="78" y="396"/>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06" name="Freeform 342">
              <a:extLst>
                <a:ext uri="{FF2B5EF4-FFF2-40B4-BE49-F238E27FC236}">
                  <a16:creationId xmlns:a16="http://schemas.microsoft.com/office/drawing/2014/main" id="{70BC8ECC-13B1-CD09-E6D0-6A743517CFC1}"/>
                </a:ext>
              </a:extLst>
            </p:cNvPr>
            <p:cNvSpPr>
              <a:spLocks noEditPoints="1"/>
            </p:cNvSpPr>
            <p:nvPr/>
          </p:nvSpPr>
          <p:spPr bwMode="auto">
            <a:xfrm>
              <a:off x="6326160" y="4381156"/>
              <a:ext cx="384432" cy="538930"/>
            </a:xfrm>
            <a:custGeom>
              <a:avLst/>
              <a:gdLst>
                <a:gd name="T0" fmla="*/ 8 w 109"/>
                <a:gd name="T1" fmla="*/ 10 h 153"/>
                <a:gd name="T2" fmla="*/ 11 w 109"/>
                <a:gd name="T3" fmla="*/ 3 h 153"/>
                <a:gd name="T4" fmla="*/ 7 w 109"/>
                <a:gd name="T5" fmla="*/ 4 h 153"/>
                <a:gd name="T6" fmla="*/ 2 w 109"/>
                <a:gd name="T7" fmla="*/ 5 h 153"/>
                <a:gd name="T8" fmla="*/ 5 w 109"/>
                <a:gd name="T9" fmla="*/ 11 h 153"/>
                <a:gd name="T10" fmla="*/ 7 w 109"/>
                <a:gd name="T11" fmla="*/ 23 h 153"/>
                <a:gd name="T12" fmla="*/ 10 w 109"/>
                <a:gd name="T13" fmla="*/ 33 h 153"/>
                <a:gd name="T14" fmla="*/ 13 w 109"/>
                <a:gd name="T15" fmla="*/ 41 h 153"/>
                <a:gd name="T16" fmla="*/ 14 w 109"/>
                <a:gd name="T17" fmla="*/ 47 h 153"/>
                <a:gd name="T18" fmla="*/ 15 w 109"/>
                <a:gd name="T19" fmla="*/ 51 h 153"/>
                <a:gd name="T20" fmla="*/ 14 w 109"/>
                <a:gd name="T21" fmla="*/ 54 h 153"/>
                <a:gd name="T22" fmla="*/ 15 w 109"/>
                <a:gd name="T23" fmla="*/ 64 h 153"/>
                <a:gd name="T24" fmla="*/ 18 w 109"/>
                <a:gd name="T25" fmla="*/ 72 h 153"/>
                <a:gd name="T26" fmla="*/ 13 w 109"/>
                <a:gd name="T27" fmla="*/ 96 h 153"/>
                <a:gd name="T28" fmla="*/ 8 w 109"/>
                <a:gd name="T29" fmla="*/ 104 h 153"/>
                <a:gd name="T30" fmla="*/ 6 w 109"/>
                <a:gd name="T31" fmla="*/ 117 h 153"/>
                <a:gd name="T32" fmla="*/ 0 w 109"/>
                <a:gd name="T33" fmla="*/ 129 h 153"/>
                <a:gd name="T34" fmla="*/ 0 w 109"/>
                <a:gd name="T35" fmla="*/ 140 h 153"/>
                <a:gd name="T36" fmla="*/ 7 w 109"/>
                <a:gd name="T37" fmla="*/ 144 h 153"/>
                <a:gd name="T38" fmla="*/ 17 w 109"/>
                <a:gd name="T39" fmla="*/ 144 h 153"/>
                <a:gd name="T40" fmla="*/ 59 w 109"/>
                <a:gd name="T41" fmla="*/ 148 h 153"/>
                <a:gd name="T42" fmla="*/ 70 w 109"/>
                <a:gd name="T43" fmla="*/ 152 h 153"/>
                <a:gd name="T44" fmla="*/ 80 w 109"/>
                <a:gd name="T45" fmla="*/ 153 h 153"/>
                <a:gd name="T46" fmla="*/ 95 w 109"/>
                <a:gd name="T47" fmla="*/ 143 h 153"/>
                <a:gd name="T48" fmla="*/ 89 w 109"/>
                <a:gd name="T49" fmla="*/ 132 h 153"/>
                <a:gd name="T50" fmla="*/ 108 w 109"/>
                <a:gd name="T51" fmla="*/ 93 h 153"/>
                <a:gd name="T52" fmla="*/ 108 w 109"/>
                <a:gd name="T53" fmla="*/ 86 h 153"/>
                <a:gd name="T54" fmla="*/ 108 w 109"/>
                <a:gd name="T55" fmla="*/ 74 h 153"/>
                <a:gd name="T56" fmla="*/ 98 w 109"/>
                <a:gd name="T57" fmla="*/ 75 h 153"/>
                <a:gd name="T58" fmla="*/ 92 w 109"/>
                <a:gd name="T59" fmla="*/ 68 h 153"/>
                <a:gd name="T60" fmla="*/ 92 w 109"/>
                <a:gd name="T61" fmla="*/ 58 h 153"/>
                <a:gd name="T62" fmla="*/ 89 w 109"/>
                <a:gd name="T63" fmla="*/ 48 h 153"/>
                <a:gd name="T64" fmla="*/ 87 w 109"/>
                <a:gd name="T65" fmla="*/ 36 h 153"/>
                <a:gd name="T66" fmla="*/ 79 w 109"/>
                <a:gd name="T67" fmla="*/ 32 h 153"/>
                <a:gd name="T68" fmla="*/ 69 w 109"/>
                <a:gd name="T69" fmla="*/ 31 h 153"/>
                <a:gd name="T70" fmla="*/ 66 w 109"/>
                <a:gd name="T71" fmla="*/ 39 h 153"/>
                <a:gd name="T72" fmla="*/ 55 w 109"/>
                <a:gd name="T73" fmla="*/ 40 h 153"/>
                <a:gd name="T74" fmla="*/ 52 w 109"/>
                <a:gd name="T75" fmla="*/ 29 h 153"/>
                <a:gd name="T76" fmla="*/ 49 w 109"/>
                <a:gd name="T77" fmla="*/ 18 h 153"/>
                <a:gd name="T78" fmla="*/ 21 w 109"/>
                <a:gd name="T79" fmla="*/ 17 h 153"/>
                <a:gd name="T80" fmla="*/ 7 w 109"/>
                <a:gd name="T81"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9" h="153">
                  <a:moveTo>
                    <a:pt x="5" y="12"/>
                  </a:moveTo>
                  <a:cubicBezTo>
                    <a:pt x="8" y="10"/>
                    <a:pt x="8" y="10"/>
                    <a:pt x="8" y="10"/>
                  </a:cubicBezTo>
                  <a:cubicBezTo>
                    <a:pt x="8" y="10"/>
                    <a:pt x="10" y="10"/>
                    <a:pt x="8" y="7"/>
                  </a:cubicBezTo>
                  <a:cubicBezTo>
                    <a:pt x="7" y="4"/>
                    <a:pt x="11" y="3"/>
                    <a:pt x="11" y="3"/>
                  </a:cubicBezTo>
                  <a:cubicBezTo>
                    <a:pt x="11" y="3"/>
                    <a:pt x="10" y="0"/>
                    <a:pt x="7" y="2"/>
                  </a:cubicBezTo>
                  <a:cubicBezTo>
                    <a:pt x="6" y="4"/>
                    <a:pt x="7" y="4"/>
                    <a:pt x="7" y="4"/>
                  </a:cubicBezTo>
                  <a:cubicBezTo>
                    <a:pt x="7" y="4"/>
                    <a:pt x="6" y="4"/>
                    <a:pt x="5" y="4"/>
                  </a:cubicBezTo>
                  <a:cubicBezTo>
                    <a:pt x="3" y="4"/>
                    <a:pt x="2" y="4"/>
                    <a:pt x="2" y="5"/>
                  </a:cubicBezTo>
                  <a:cubicBezTo>
                    <a:pt x="2" y="7"/>
                    <a:pt x="1" y="8"/>
                    <a:pt x="2" y="10"/>
                  </a:cubicBezTo>
                  <a:cubicBezTo>
                    <a:pt x="2" y="10"/>
                    <a:pt x="5" y="11"/>
                    <a:pt x="5" y="11"/>
                  </a:cubicBezTo>
                  <a:lnTo>
                    <a:pt x="5" y="12"/>
                  </a:lnTo>
                  <a:close/>
                  <a:moveTo>
                    <a:pt x="7" y="23"/>
                  </a:moveTo>
                  <a:cubicBezTo>
                    <a:pt x="7" y="24"/>
                    <a:pt x="7" y="25"/>
                    <a:pt x="8" y="26"/>
                  </a:cubicBezTo>
                  <a:cubicBezTo>
                    <a:pt x="8" y="28"/>
                    <a:pt x="9" y="31"/>
                    <a:pt x="10" y="33"/>
                  </a:cubicBezTo>
                  <a:cubicBezTo>
                    <a:pt x="10" y="33"/>
                    <a:pt x="12" y="34"/>
                    <a:pt x="12" y="35"/>
                  </a:cubicBezTo>
                  <a:cubicBezTo>
                    <a:pt x="13" y="37"/>
                    <a:pt x="12" y="39"/>
                    <a:pt x="13" y="41"/>
                  </a:cubicBezTo>
                  <a:cubicBezTo>
                    <a:pt x="13" y="41"/>
                    <a:pt x="15" y="42"/>
                    <a:pt x="15" y="43"/>
                  </a:cubicBezTo>
                  <a:cubicBezTo>
                    <a:pt x="15" y="44"/>
                    <a:pt x="14" y="44"/>
                    <a:pt x="14" y="47"/>
                  </a:cubicBezTo>
                  <a:cubicBezTo>
                    <a:pt x="14" y="47"/>
                    <a:pt x="16" y="49"/>
                    <a:pt x="16" y="49"/>
                  </a:cubicBezTo>
                  <a:cubicBezTo>
                    <a:pt x="16" y="50"/>
                    <a:pt x="15" y="50"/>
                    <a:pt x="15" y="51"/>
                  </a:cubicBezTo>
                  <a:cubicBezTo>
                    <a:pt x="14" y="52"/>
                    <a:pt x="16" y="51"/>
                    <a:pt x="16" y="53"/>
                  </a:cubicBezTo>
                  <a:cubicBezTo>
                    <a:pt x="15" y="53"/>
                    <a:pt x="14" y="54"/>
                    <a:pt x="14" y="54"/>
                  </a:cubicBezTo>
                  <a:cubicBezTo>
                    <a:pt x="13" y="55"/>
                    <a:pt x="13" y="59"/>
                    <a:pt x="14" y="61"/>
                  </a:cubicBezTo>
                  <a:cubicBezTo>
                    <a:pt x="15" y="64"/>
                    <a:pt x="15" y="64"/>
                    <a:pt x="15" y="64"/>
                  </a:cubicBezTo>
                  <a:cubicBezTo>
                    <a:pt x="15" y="65"/>
                    <a:pt x="14" y="66"/>
                    <a:pt x="14" y="68"/>
                  </a:cubicBezTo>
                  <a:cubicBezTo>
                    <a:pt x="14" y="69"/>
                    <a:pt x="17" y="71"/>
                    <a:pt x="18" y="72"/>
                  </a:cubicBezTo>
                  <a:cubicBezTo>
                    <a:pt x="19" y="77"/>
                    <a:pt x="19" y="86"/>
                    <a:pt x="18" y="91"/>
                  </a:cubicBezTo>
                  <a:cubicBezTo>
                    <a:pt x="17" y="93"/>
                    <a:pt x="13" y="95"/>
                    <a:pt x="13" y="96"/>
                  </a:cubicBezTo>
                  <a:cubicBezTo>
                    <a:pt x="12" y="97"/>
                    <a:pt x="13" y="99"/>
                    <a:pt x="13" y="100"/>
                  </a:cubicBezTo>
                  <a:cubicBezTo>
                    <a:pt x="12" y="101"/>
                    <a:pt x="9" y="102"/>
                    <a:pt x="8" y="104"/>
                  </a:cubicBezTo>
                  <a:cubicBezTo>
                    <a:pt x="7" y="108"/>
                    <a:pt x="8" y="112"/>
                    <a:pt x="8" y="116"/>
                  </a:cubicBezTo>
                  <a:cubicBezTo>
                    <a:pt x="7" y="116"/>
                    <a:pt x="6" y="117"/>
                    <a:pt x="6" y="117"/>
                  </a:cubicBezTo>
                  <a:cubicBezTo>
                    <a:pt x="5" y="118"/>
                    <a:pt x="6" y="120"/>
                    <a:pt x="5" y="122"/>
                  </a:cubicBezTo>
                  <a:cubicBezTo>
                    <a:pt x="4" y="123"/>
                    <a:pt x="1" y="127"/>
                    <a:pt x="0" y="129"/>
                  </a:cubicBezTo>
                  <a:cubicBezTo>
                    <a:pt x="0" y="132"/>
                    <a:pt x="1" y="135"/>
                    <a:pt x="2" y="137"/>
                  </a:cubicBezTo>
                  <a:cubicBezTo>
                    <a:pt x="2" y="139"/>
                    <a:pt x="0" y="139"/>
                    <a:pt x="0" y="140"/>
                  </a:cubicBezTo>
                  <a:cubicBezTo>
                    <a:pt x="0" y="140"/>
                    <a:pt x="1" y="142"/>
                    <a:pt x="1" y="143"/>
                  </a:cubicBezTo>
                  <a:cubicBezTo>
                    <a:pt x="1" y="143"/>
                    <a:pt x="4" y="143"/>
                    <a:pt x="7" y="144"/>
                  </a:cubicBezTo>
                  <a:cubicBezTo>
                    <a:pt x="10" y="145"/>
                    <a:pt x="10" y="141"/>
                    <a:pt x="12" y="141"/>
                  </a:cubicBezTo>
                  <a:cubicBezTo>
                    <a:pt x="14" y="141"/>
                    <a:pt x="17" y="144"/>
                    <a:pt x="17" y="144"/>
                  </a:cubicBezTo>
                  <a:cubicBezTo>
                    <a:pt x="55" y="145"/>
                    <a:pt x="55" y="145"/>
                    <a:pt x="55" y="145"/>
                  </a:cubicBezTo>
                  <a:cubicBezTo>
                    <a:pt x="55" y="145"/>
                    <a:pt x="57" y="148"/>
                    <a:pt x="59" y="148"/>
                  </a:cubicBezTo>
                  <a:cubicBezTo>
                    <a:pt x="61" y="148"/>
                    <a:pt x="60" y="151"/>
                    <a:pt x="63" y="150"/>
                  </a:cubicBezTo>
                  <a:cubicBezTo>
                    <a:pt x="66" y="149"/>
                    <a:pt x="67" y="153"/>
                    <a:pt x="70" y="152"/>
                  </a:cubicBezTo>
                  <a:cubicBezTo>
                    <a:pt x="72" y="150"/>
                    <a:pt x="71" y="152"/>
                    <a:pt x="73" y="152"/>
                  </a:cubicBezTo>
                  <a:cubicBezTo>
                    <a:pt x="75" y="151"/>
                    <a:pt x="80" y="153"/>
                    <a:pt x="80" y="153"/>
                  </a:cubicBezTo>
                  <a:cubicBezTo>
                    <a:pt x="80" y="153"/>
                    <a:pt x="95" y="150"/>
                    <a:pt x="101" y="150"/>
                  </a:cubicBezTo>
                  <a:cubicBezTo>
                    <a:pt x="96" y="150"/>
                    <a:pt x="99" y="146"/>
                    <a:pt x="95" y="143"/>
                  </a:cubicBezTo>
                  <a:cubicBezTo>
                    <a:pt x="91" y="139"/>
                    <a:pt x="92" y="141"/>
                    <a:pt x="91" y="137"/>
                  </a:cubicBezTo>
                  <a:cubicBezTo>
                    <a:pt x="90" y="133"/>
                    <a:pt x="89" y="132"/>
                    <a:pt x="89" y="132"/>
                  </a:cubicBezTo>
                  <a:cubicBezTo>
                    <a:pt x="89" y="93"/>
                    <a:pt x="89" y="93"/>
                    <a:pt x="89" y="93"/>
                  </a:cubicBezTo>
                  <a:cubicBezTo>
                    <a:pt x="108" y="93"/>
                    <a:pt x="108" y="93"/>
                    <a:pt x="108" y="93"/>
                  </a:cubicBezTo>
                  <a:cubicBezTo>
                    <a:pt x="108" y="93"/>
                    <a:pt x="108" y="92"/>
                    <a:pt x="108" y="90"/>
                  </a:cubicBezTo>
                  <a:cubicBezTo>
                    <a:pt x="108" y="88"/>
                    <a:pt x="108" y="87"/>
                    <a:pt x="108" y="86"/>
                  </a:cubicBezTo>
                  <a:cubicBezTo>
                    <a:pt x="107" y="84"/>
                    <a:pt x="109" y="83"/>
                    <a:pt x="109" y="81"/>
                  </a:cubicBezTo>
                  <a:cubicBezTo>
                    <a:pt x="109" y="78"/>
                    <a:pt x="108" y="74"/>
                    <a:pt x="108" y="74"/>
                  </a:cubicBezTo>
                  <a:cubicBezTo>
                    <a:pt x="108" y="74"/>
                    <a:pt x="103" y="74"/>
                    <a:pt x="102" y="74"/>
                  </a:cubicBezTo>
                  <a:cubicBezTo>
                    <a:pt x="100" y="74"/>
                    <a:pt x="99" y="73"/>
                    <a:pt x="98" y="75"/>
                  </a:cubicBezTo>
                  <a:cubicBezTo>
                    <a:pt x="97" y="76"/>
                    <a:pt x="96" y="76"/>
                    <a:pt x="94" y="74"/>
                  </a:cubicBezTo>
                  <a:cubicBezTo>
                    <a:pt x="92" y="73"/>
                    <a:pt x="93" y="71"/>
                    <a:pt x="92" y="68"/>
                  </a:cubicBezTo>
                  <a:cubicBezTo>
                    <a:pt x="92" y="66"/>
                    <a:pt x="92" y="65"/>
                    <a:pt x="93" y="64"/>
                  </a:cubicBezTo>
                  <a:cubicBezTo>
                    <a:pt x="94" y="62"/>
                    <a:pt x="94" y="60"/>
                    <a:pt x="92" y="58"/>
                  </a:cubicBezTo>
                  <a:cubicBezTo>
                    <a:pt x="90" y="57"/>
                    <a:pt x="92" y="56"/>
                    <a:pt x="90" y="53"/>
                  </a:cubicBezTo>
                  <a:cubicBezTo>
                    <a:pt x="89" y="51"/>
                    <a:pt x="89" y="50"/>
                    <a:pt x="89" y="48"/>
                  </a:cubicBezTo>
                  <a:cubicBezTo>
                    <a:pt x="88" y="45"/>
                    <a:pt x="90" y="43"/>
                    <a:pt x="88" y="42"/>
                  </a:cubicBezTo>
                  <a:cubicBezTo>
                    <a:pt x="86" y="41"/>
                    <a:pt x="88" y="38"/>
                    <a:pt x="87" y="36"/>
                  </a:cubicBezTo>
                  <a:cubicBezTo>
                    <a:pt x="86" y="32"/>
                    <a:pt x="79" y="34"/>
                    <a:pt x="79" y="34"/>
                  </a:cubicBezTo>
                  <a:cubicBezTo>
                    <a:pt x="79" y="32"/>
                    <a:pt x="79" y="32"/>
                    <a:pt x="79" y="32"/>
                  </a:cubicBezTo>
                  <a:cubicBezTo>
                    <a:pt x="79" y="29"/>
                    <a:pt x="78" y="31"/>
                    <a:pt x="74" y="31"/>
                  </a:cubicBezTo>
                  <a:cubicBezTo>
                    <a:pt x="71" y="31"/>
                    <a:pt x="70" y="30"/>
                    <a:pt x="69" y="31"/>
                  </a:cubicBezTo>
                  <a:cubicBezTo>
                    <a:pt x="67" y="33"/>
                    <a:pt x="68" y="37"/>
                    <a:pt x="69" y="38"/>
                  </a:cubicBezTo>
                  <a:cubicBezTo>
                    <a:pt x="70" y="39"/>
                    <a:pt x="67" y="41"/>
                    <a:pt x="66" y="39"/>
                  </a:cubicBezTo>
                  <a:cubicBezTo>
                    <a:pt x="64" y="38"/>
                    <a:pt x="63" y="41"/>
                    <a:pt x="61" y="41"/>
                  </a:cubicBezTo>
                  <a:cubicBezTo>
                    <a:pt x="59" y="41"/>
                    <a:pt x="57" y="42"/>
                    <a:pt x="55" y="40"/>
                  </a:cubicBezTo>
                  <a:cubicBezTo>
                    <a:pt x="54" y="38"/>
                    <a:pt x="53" y="39"/>
                    <a:pt x="53" y="36"/>
                  </a:cubicBezTo>
                  <a:cubicBezTo>
                    <a:pt x="52" y="32"/>
                    <a:pt x="53" y="31"/>
                    <a:pt x="52" y="29"/>
                  </a:cubicBezTo>
                  <a:cubicBezTo>
                    <a:pt x="51" y="26"/>
                    <a:pt x="52" y="25"/>
                    <a:pt x="51" y="23"/>
                  </a:cubicBezTo>
                  <a:cubicBezTo>
                    <a:pt x="51" y="22"/>
                    <a:pt x="49" y="18"/>
                    <a:pt x="49" y="18"/>
                  </a:cubicBezTo>
                  <a:cubicBezTo>
                    <a:pt x="32" y="18"/>
                    <a:pt x="32" y="18"/>
                    <a:pt x="32" y="18"/>
                  </a:cubicBezTo>
                  <a:cubicBezTo>
                    <a:pt x="32" y="18"/>
                    <a:pt x="25" y="18"/>
                    <a:pt x="21" y="17"/>
                  </a:cubicBezTo>
                  <a:cubicBezTo>
                    <a:pt x="17" y="17"/>
                    <a:pt x="14" y="18"/>
                    <a:pt x="12" y="20"/>
                  </a:cubicBezTo>
                  <a:cubicBezTo>
                    <a:pt x="10" y="22"/>
                    <a:pt x="7" y="23"/>
                    <a:pt x="7" y="23"/>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07" name="Freeform 343">
              <a:extLst>
                <a:ext uri="{FF2B5EF4-FFF2-40B4-BE49-F238E27FC236}">
                  <a16:creationId xmlns:a16="http://schemas.microsoft.com/office/drawing/2014/main" id="{DEF82E2B-CF3C-C2AA-8FCE-5361794637D9}"/>
                </a:ext>
              </a:extLst>
            </p:cNvPr>
            <p:cNvSpPr>
              <a:spLocks noEditPoints="1"/>
            </p:cNvSpPr>
            <p:nvPr/>
          </p:nvSpPr>
          <p:spPr bwMode="auto">
            <a:xfrm>
              <a:off x="6326160" y="4381156"/>
              <a:ext cx="384432" cy="538930"/>
            </a:xfrm>
            <a:custGeom>
              <a:avLst/>
              <a:gdLst>
                <a:gd name="T0" fmla="*/ 8 w 109"/>
                <a:gd name="T1" fmla="*/ 10 h 153"/>
                <a:gd name="T2" fmla="*/ 11 w 109"/>
                <a:gd name="T3" fmla="*/ 3 h 153"/>
                <a:gd name="T4" fmla="*/ 7 w 109"/>
                <a:gd name="T5" fmla="*/ 4 h 153"/>
                <a:gd name="T6" fmla="*/ 2 w 109"/>
                <a:gd name="T7" fmla="*/ 5 h 153"/>
                <a:gd name="T8" fmla="*/ 5 w 109"/>
                <a:gd name="T9" fmla="*/ 11 h 153"/>
                <a:gd name="T10" fmla="*/ 7 w 109"/>
                <a:gd name="T11" fmla="*/ 23 h 153"/>
                <a:gd name="T12" fmla="*/ 10 w 109"/>
                <a:gd name="T13" fmla="*/ 33 h 153"/>
                <a:gd name="T14" fmla="*/ 13 w 109"/>
                <a:gd name="T15" fmla="*/ 41 h 153"/>
                <a:gd name="T16" fmla="*/ 14 w 109"/>
                <a:gd name="T17" fmla="*/ 47 h 153"/>
                <a:gd name="T18" fmla="*/ 15 w 109"/>
                <a:gd name="T19" fmla="*/ 51 h 153"/>
                <a:gd name="T20" fmla="*/ 14 w 109"/>
                <a:gd name="T21" fmla="*/ 54 h 153"/>
                <a:gd name="T22" fmla="*/ 15 w 109"/>
                <a:gd name="T23" fmla="*/ 64 h 153"/>
                <a:gd name="T24" fmla="*/ 18 w 109"/>
                <a:gd name="T25" fmla="*/ 72 h 153"/>
                <a:gd name="T26" fmla="*/ 13 w 109"/>
                <a:gd name="T27" fmla="*/ 96 h 153"/>
                <a:gd name="T28" fmla="*/ 8 w 109"/>
                <a:gd name="T29" fmla="*/ 104 h 153"/>
                <a:gd name="T30" fmla="*/ 6 w 109"/>
                <a:gd name="T31" fmla="*/ 117 h 153"/>
                <a:gd name="T32" fmla="*/ 0 w 109"/>
                <a:gd name="T33" fmla="*/ 129 h 153"/>
                <a:gd name="T34" fmla="*/ 0 w 109"/>
                <a:gd name="T35" fmla="*/ 140 h 153"/>
                <a:gd name="T36" fmla="*/ 7 w 109"/>
                <a:gd name="T37" fmla="*/ 144 h 153"/>
                <a:gd name="T38" fmla="*/ 17 w 109"/>
                <a:gd name="T39" fmla="*/ 144 h 153"/>
                <a:gd name="T40" fmla="*/ 59 w 109"/>
                <a:gd name="T41" fmla="*/ 148 h 153"/>
                <a:gd name="T42" fmla="*/ 70 w 109"/>
                <a:gd name="T43" fmla="*/ 152 h 153"/>
                <a:gd name="T44" fmla="*/ 80 w 109"/>
                <a:gd name="T45" fmla="*/ 153 h 153"/>
                <a:gd name="T46" fmla="*/ 95 w 109"/>
                <a:gd name="T47" fmla="*/ 143 h 153"/>
                <a:gd name="T48" fmla="*/ 89 w 109"/>
                <a:gd name="T49" fmla="*/ 132 h 153"/>
                <a:gd name="T50" fmla="*/ 108 w 109"/>
                <a:gd name="T51" fmla="*/ 93 h 153"/>
                <a:gd name="T52" fmla="*/ 108 w 109"/>
                <a:gd name="T53" fmla="*/ 86 h 153"/>
                <a:gd name="T54" fmla="*/ 108 w 109"/>
                <a:gd name="T55" fmla="*/ 74 h 153"/>
                <a:gd name="T56" fmla="*/ 98 w 109"/>
                <a:gd name="T57" fmla="*/ 75 h 153"/>
                <a:gd name="T58" fmla="*/ 92 w 109"/>
                <a:gd name="T59" fmla="*/ 68 h 153"/>
                <a:gd name="T60" fmla="*/ 92 w 109"/>
                <a:gd name="T61" fmla="*/ 58 h 153"/>
                <a:gd name="T62" fmla="*/ 89 w 109"/>
                <a:gd name="T63" fmla="*/ 48 h 153"/>
                <a:gd name="T64" fmla="*/ 87 w 109"/>
                <a:gd name="T65" fmla="*/ 36 h 153"/>
                <a:gd name="T66" fmla="*/ 79 w 109"/>
                <a:gd name="T67" fmla="*/ 32 h 153"/>
                <a:gd name="T68" fmla="*/ 69 w 109"/>
                <a:gd name="T69" fmla="*/ 31 h 153"/>
                <a:gd name="T70" fmla="*/ 66 w 109"/>
                <a:gd name="T71" fmla="*/ 39 h 153"/>
                <a:gd name="T72" fmla="*/ 55 w 109"/>
                <a:gd name="T73" fmla="*/ 40 h 153"/>
                <a:gd name="T74" fmla="*/ 52 w 109"/>
                <a:gd name="T75" fmla="*/ 29 h 153"/>
                <a:gd name="T76" fmla="*/ 49 w 109"/>
                <a:gd name="T77" fmla="*/ 18 h 153"/>
                <a:gd name="T78" fmla="*/ 21 w 109"/>
                <a:gd name="T79" fmla="*/ 17 h 153"/>
                <a:gd name="T80" fmla="*/ 7 w 109"/>
                <a:gd name="T81" fmla="*/ 2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9" h="153">
                  <a:moveTo>
                    <a:pt x="5" y="12"/>
                  </a:moveTo>
                  <a:cubicBezTo>
                    <a:pt x="8" y="10"/>
                    <a:pt x="8" y="10"/>
                    <a:pt x="8" y="10"/>
                  </a:cubicBezTo>
                  <a:cubicBezTo>
                    <a:pt x="8" y="10"/>
                    <a:pt x="10" y="10"/>
                    <a:pt x="8" y="7"/>
                  </a:cubicBezTo>
                  <a:cubicBezTo>
                    <a:pt x="7" y="4"/>
                    <a:pt x="11" y="3"/>
                    <a:pt x="11" y="3"/>
                  </a:cubicBezTo>
                  <a:cubicBezTo>
                    <a:pt x="11" y="3"/>
                    <a:pt x="10" y="0"/>
                    <a:pt x="7" y="2"/>
                  </a:cubicBezTo>
                  <a:cubicBezTo>
                    <a:pt x="6" y="4"/>
                    <a:pt x="7" y="4"/>
                    <a:pt x="7" y="4"/>
                  </a:cubicBezTo>
                  <a:cubicBezTo>
                    <a:pt x="7" y="4"/>
                    <a:pt x="6" y="4"/>
                    <a:pt x="5" y="4"/>
                  </a:cubicBezTo>
                  <a:cubicBezTo>
                    <a:pt x="3" y="4"/>
                    <a:pt x="2" y="4"/>
                    <a:pt x="2" y="5"/>
                  </a:cubicBezTo>
                  <a:cubicBezTo>
                    <a:pt x="2" y="7"/>
                    <a:pt x="1" y="8"/>
                    <a:pt x="2" y="10"/>
                  </a:cubicBezTo>
                  <a:cubicBezTo>
                    <a:pt x="2" y="10"/>
                    <a:pt x="5" y="11"/>
                    <a:pt x="5" y="11"/>
                  </a:cubicBezTo>
                  <a:lnTo>
                    <a:pt x="5" y="12"/>
                  </a:lnTo>
                  <a:close/>
                  <a:moveTo>
                    <a:pt x="7" y="23"/>
                  </a:moveTo>
                  <a:cubicBezTo>
                    <a:pt x="7" y="24"/>
                    <a:pt x="7" y="25"/>
                    <a:pt x="8" y="26"/>
                  </a:cubicBezTo>
                  <a:cubicBezTo>
                    <a:pt x="8" y="28"/>
                    <a:pt x="9" y="31"/>
                    <a:pt x="10" y="33"/>
                  </a:cubicBezTo>
                  <a:cubicBezTo>
                    <a:pt x="10" y="33"/>
                    <a:pt x="12" y="34"/>
                    <a:pt x="12" y="35"/>
                  </a:cubicBezTo>
                  <a:cubicBezTo>
                    <a:pt x="13" y="37"/>
                    <a:pt x="12" y="39"/>
                    <a:pt x="13" y="41"/>
                  </a:cubicBezTo>
                  <a:cubicBezTo>
                    <a:pt x="13" y="41"/>
                    <a:pt x="15" y="42"/>
                    <a:pt x="15" y="43"/>
                  </a:cubicBezTo>
                  <a:cubicBezTo>
                    <a:pt x="15" y="44"/>
                    <a:pt x="14" y="44"/>
                    <a:pt x="14" y="47"/>
                  </a:cubicBezTo>
                  <a:cubicBezTo>
                    <a:pt x="14" y="47"/>
                    <a:pt x="16" y="49"/>
                    <a:pt x="16" y="49"/>
                  </a:cubicBezTo>
                  <a:cubicBezTo>
                    <a:pt x="16" y="50"/>
                    <a:pt x="15" y="50"/>
                    <a:pt x="15" y="51"/>
                  </a:cubicBezTo>
                  <a:cubicBezTo>
                    <a:pt x="14" y="52"/>
                    <a:pt x="16" y="51"/>
                    <a:pt x="16" y="53"/>
                  </a:cubicBezTo>
                  <a:cubicBezTo>
                    <a:pt x="15" y="53"/>
                    <a:pt x="14" y="54"/>
                    <a:pt x="14" y="54"/>
                  </a:cubicBezTo>
                  <a:cubicBezTo>
                    <a:pt x="13" y="55"/>
                    <a:pt x="13" y="59"/>
                    <a:pt x="14" y="61"/>
                  </a:cubicBezTo>
                  <a:cubicBezTo>
                    <a:pt x="15" y="64"/>
                    <a:pt x="15" y="64"/>
                    <a:pt x="15" y="64"/>
                  </a:cubicBezTo>
                  <a:cubicBezTo>
                    <a:pt x="15" y="65"/>
                    <a:pt x="14" y="66"/>
                    <a:pt x="14" y="68"/>
                  </a:cubicBezTo>
                  <a:cubicBezTo>
                    <a:pt x="14" y="69"/>
                    <a:pt x="17" y="71"/>
                    <a:pt x="18" y="72"/>
                  </a:cubicBezTo>
                  <a:cubicBezTo>
                    <a:pt x="19" y="77"/>
                    <a:pt x="19" y="86"/>
                    <a:pt x="18" y="91"/>
                  </a:cubicBezTo>
                  <a:cubicBezTo>
                    <a:pt x="17" y="93"/>
                    <a:pt x="13" y="95"/>
                    <a:pt x="13" y="96"/>
                  </a:cubicBezTo>
                  <a:cubicBezTo>
                    <a:pt x="12" y="97"/>
                    <a:pt x="13" y="99"/>
                    <a:pt x="13" y="100"/>
                  </a:cubicBezTo>
                  <a:cubicBezTo>
                    <a:pt x="12" y="101"/>
                    <a:pt x="9" y="102"/>
                    <a:pt x="8" y="104"/>
                  </a:cubicBezTo>
                  <a:cubicBezTo>
                    <a:pt x="7" y="108"/>
                    <a:pt x="8" y="112"/>
                    <a:pt x="8" y="116"/>
                  </a:cubicBezTo>
                  <a:cubicBezTo>
                    <a:pt x="7" y="116"/>
                    <a:pt x="6" y="117"/>
                    <a:pt x="6" y="117"/>
                  </a:cubicBezTo>
                  <a:cubicBezTo>
                    <a:pt x="5" y="118"/>
                    <a:pt x="6" y="120"/>
                    <a:pt x="5" y="122"/>
                  </a:cubicBezTo>
                  <a:cubicBezTo>
                    <a:pt x="4" y="123"/>
                    <a:pt x="1" y="127"/>
                    <a:pt x="0" y="129"/>
                  </a:cubicBezTo>
                  <a:cubicBezTo>
                    <a:pt x="0" y="132"/>
                    <a:pt x="1" y="135"/>
                    <a:pt x="2" y="137"/>
                  </a:cubicBezTo>
                  <a:cubicBezTo>
                    <a:pt x="2" y="139"/>
                    <a:pt x="0" y="139"/>
                    <a:pt x="0" y="140"/>
                  </a:cubicBezTo>
                  <a:cubicBezTo>
                    <a:pt x="0" y="140"/>
                    <a:pt x="1" y="142"/>
                    <a:pt x="1" y="143"/>
                  </a:cubicBezTo>
                  <a:cubicBezTo>
                    <a:pt x="1" y="143"/>
                    <a:pt x="4" y="143"/>
                    <a:pt x="7" y="144"/>
                  </a:cubicBezTo>
                  <a:cubicBezTo>
                    <a:pt x="10" y="145"/>
                    <a:pt x="10" y="141"/>
                    <a:pt x="12" y="141"/>
                  </a:cubicBezTo>
                  <a:cubicBezTo>
                    <a:pt x="14" y="141"/>
                    <a:pt x="17" y="144"/>
                    <a:pt x="17" y="144"/>
                  </a:cubicBezTo>
                  <a:cubicBezTo>
                    <a:pt x="55" y="145"/>
                    <a:pt x="55" y="145"/>
                    <a:pt x="55" y="145"/>
                  </a:cubicBezTo>
                  <a:cubicBezTo>
                    <a:pt x="55" y="145"/>
                    <a:pt x="57" y="148"/>
                    <a:pt x="59" y="148"/>
                  </a:cubicBezTo>
                  <a:cubicBezTo>
                    <a:pt x="61" y="148"/>
                    <a:pt x="60" y="151"/>
                    <a:pt x="63" y="150"/>
                  </a:cubicBezTo>
                  <a:cubicBezTo>
                    <a:pt x="66" y="149"/>
                    <a:pt x="67" y="153"/>
                    <a:pt x="70" y="152"/>
                  </a:cubicBezTo>
                  <a:cubicBezTo>
                    <a:pt x="72" y="150"/>
                    <a:pt x="71" y="152"/>
                    <a:pt x="73" y="152"/>
                  </a:cubicBezTo>
                  <a:cubicBezTo>
                    <a:pt x="75" y="151"/>
                    <a:pt x="80" y="153"/>
                    <a:pt x="80" y="153"/>
                  </a:cubicBezTo>
                  <a:cubicBezTo>
                    <a:pt x="80" y="153"/>
                    <a:pt x="95" y="150"/>
                    <a:pt x="101" y="150"/>
                  </a:cubicBezTo>
                  <a:cubicBezTo>
                    <a:pt x="96" y="150"/>
                    <a:pt x="99" y="146"/>
                    <a:pt x="95" y="143"/>
                  </a:cubicBezTo>
                  <a:cubicBezTo>
                    <a:pt x="91" y="139"/>
                    <a:pt x="92" y="141"/>
                    <a:pt x="91" y="137"/>
                  </a:cubicBezTo>
                  <a:cubicBezTo>
                    <a:pt x="90" y="133"/>
                    <a:pt x="89" y="132"/>
                    <a:pt x="89" y="132"/>
                  </a:cubicBezTo>
                  <a:cubicBezTo>
                    <a:pt x="89" y="93"/>
                    <a:pt x="89" y="93"/>
                    <a:pt x="89" y="93"/>
                  </a:cubicBezTo>
                  <a:cubicBezTo>
                    <a:pt x="108" y="93"/>
                    <a:pt x="108" y="93"/>
                    <a:pt x="108" y="93"/>
                  </a:cubicBezTo>
                  <a:cubicBezTo>
                    <a:pt x="108" y="93"/>
                    <a:pt x="108" y="92"/>
                    <a:pt x="108" y="90"/>
                  </a:cubicBezTo>
                  <a:cubicBezTo>
                    <a:pt x="108" y="88"/>
                    <a:pt x="108" y="87"/>
                    <a:pt x="108" y="86"/>
                  </a:cubicBezTo>
                  <a:cubicBezTo>
                    <a:pt x="107" y="84"/>
                    <a:pt x="109" y="83"/>
                    <a:pt x="109" y="81"/>
                  </a:cubicBezTo>
                  <a:cubicBezTo>
                    <a:pt x="109" y="78"/>
                    <a:pt x="108" y="74"/>
                    <a:pt x="108" y="74"/>
                  </a:cubicBezTo>
                  <a:cubicBezTo>
                    <a:pt x="108" y="74"/>
                    <a:pt x="103" y="74"/>
                    <a:pt x="102" y="74"/>
                  </a:cubicBezTo>
                  <a:cubicBezTo>
                    <a:pt x="100" y="74"/>
                    <a:pt x="99" y="73"/>
                    <a:pt x="98" y="75"/>
                  </a:cubicBezTo>
                  <a:cubicBezTo>
                    <a:pt x="97" y="76"/>
                    <a:pt x="96" y="76"/>
                    <a:pt x="94" y="74"/>
                  </a:cubicBezTo>
                  <a:cubicBezTo>
                    <a:pt x="92" y="73"/>
                    <a:pt x="93" y="71"/>
                    <a:pt x="92" y="68"/>
                  </a:cubicBezTo>
                  <a:cubicBezTo>
                    <a:pt x="92" y="66"/>
                    <a:pt x="92" y="65"/>
                    <a:pt x="93" y="64"/>
                  </a:cubicBezTo>
                  <a:cubicBezTo>
                    <a:pt x="94" y="62"/>
                    <a:pt x="94" y="60"/>
                    <a:pt x="92" y="58"/>
                  </a:cubicBezTo>
                  <a:cubicBezTo>
                    <a:pt x="90" y="57"/>
                    <a:pt x="92" y="56"/>
                    <a:pt x="90" y="53"/>
                  </a:cubicBezTo>
                  <a:cubicBezTo>
                    <a:pt x="89" y="51"/>
                    <a:pt x="89" y="50"/>
                    <a:pt x="89" y="48"/>
                  </a:cubicBezTo>
                  <a:cubicBezTo>
                    <a:pt x="88" y="45"/>
                    <a:pt x="90" y="43"/>
                    <a:pt x="88" y="42"/>
                  </a:cubicBezTo>
                  <a:cubicBezTo>
                    <a:pt x="86" y="41"/>
                    <a:pt x="88" y="38"/>
                    <a:pt x="87" y="36"/>
                  </a:cubicBezTo>
                  <a:cubicBezTo>
                    <a:pt x="86" y="32"/>
                    <a:pt x="79" y="34"/>
                    <a:pt x="79" y="34"/>
                  </a:cubicBezTo>
                  <a:cubicBezTo>
                    <a:pt x="79" y="32"/>
                    <a:pt x="79" y="32"/>
                    <a:pt x="79" y="32"/>
                  </a:cubicBezTo>
                  <a:cubicBezTo>
                    <a:pt x="79" y="29"/>
                    <a:pt x="78" y="31"/>
                    <a:pt x="74" y="31"/>
                  </a:cubicBezTo>
                  <a:cubicBezTo>
                    <a:pt x="71" y="31"/>
                    <a:pt x="70" y="30"/>
                    <a:pt x="69" y="31"/>
                  </a:cubicBezTo>
                  <a:cubicBezTo>
                    <a:pt x="67" y="33"/>
                    <a:pt x="68" y="37"/>
                    <a:pt x="69" y="38"/>
                  </a:cubicBezTo>
                  <a:cubicBezTo>
                    <a:pt x="70" y="39"/>
                    <a:pt x="67" y="41"/>
                    <a:pt x="66" y="39"/>
                  </a:cubicBezTo>
                  <a:cubicBezTo>
                    <a:pt x="64" y="38"/>
                    <a:pt x="63" y="41"/>
                    <a:pt x="61" y="41"/>
                  </a:cubicBezTo>
                  <a:cubicBezTo>
                    <a:pt x="59" y="41"/>
                    <a:pt x="57" y="42"/>
                    <a:pt x="55" y="40"/>
                  </a:cubicBezTo>
                  <a:cubicBezTo>
                    <a:pt x="54" y="38"/>
                    <a:pt x="53" y="39"/>
                    <a:pt x="53" y="36"/>
                  </a:cubicBezTo>
                  <a:cubicBezTo>
                    <a:pt x="52" y="32"/>
                    <a:pt x="53" y="31"/>
                    <a:pt x="52" y="29"/>
                  </a:cubicBezTo>
                  <a:cubicBezTo>
                    <a:pt x="51" y="26"/>
                    <a:pt x="52" y="25"/>
                    <a:pt x="51" y="23"/>
                  </a:cubicBezTo>
                  <a:cubicBezTo>
                    <a:pt x="51" y="22"/>
                    <a:pt x="49" y="18"/>
                    <a:pt x="49" y="18"/>
                  </a:cubicBezTo>
                  <a:cubicBezTo>
                    <a:pt x="32" y="18"/>
                    <a:pt x="32" y="18"/>
                    <a:pt x="32" y="18"/>
                  </a:cubicBezTo>
                  <a:cubicBezTo>
                    <a:pt x="32" y="18"/>
                    <a:pt x="25" y="18"/>
                    <a:pt x="21" y="17"/>
                  </a:cubicBezTo>
                  <a:cubicBezTo>
                    <a:pt x="17" y="17"/>
                    <a:pt x="14" y="18"/>
                    <a:pt x="12" y="20"/>
                  </a:cubicBezTo>
                  <a:cubicBezTo>
                    <a:pt x="10" y="22"/>
                    <a:pt x="7" y="23"/>
                    <a:pt x="7" y="23"/>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08" name="Freeform 344">
              <a:extLst>
                <a:ext uri="{FF2B5EF4-FFF2-40B4-BE49-F238E27FC236}">
                  <a16:creationId xmlns:a16="http://schemas.microsoft.com/office/drawing/2014/main" id="{860E18BB-61CB-6DF6-7410-F8DDC9629B9F}"/>
                </a:ext>
              </a:extLst>
            </p:cNvPr>
            <p:cNvSpPr>
              <a:spLocks/>
            </p:cNvSpPr>
            <p:nvPr/>
          </p:nvSpPr>
          <p:spPr bwMode="auto">
            <a:xfrm>
              <a:off x="6020770" y="2554186"/>
              <a:ext cx="10778" cy="14371"/>
            </a:xfrm>
            <a:custGeom>
              <a:avLst/>
              <a:gdLst>
                <a:gd name="T0" fmla="*/ 3 w 3"/>
                <a:gd name="T1" fmla="*/ 3 h 4"/>
                <a:gd name="T2" fmla="*/ 1 w 3"/>
                <a:gd name="T3" fmla="*/ 4 h 4"/>
                <a:gd name="T4" fmla="*/ 0 w 3"/>
                <a:gd name="T5" fmla="*/ 2 h 4"/>
                <a:gd name="T6" fmla="*/ 3 w 3"/>
                <a:gd name="T7" fmla="*/ 2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cubicBezTo>
                    <a:pt x="1" y="4"/>
                    <a:pt x="1" y="4"/>
                    <a:pt x="1" y="4"/>
                  </a:cubicBezTo>
                  <a:cubicBezTo>
                    <a:pt x="0" y="2"/>
                    <a:pt x="0" y="2"/>
                    <a:pt x="0" y="2"/>
                  </a:cubicBezTo>
                  <a:cubicBezTo>
                    <a:pt x="0" y="2"/>
                    <a:pt x="2" y="0"/>
                    <a:pt x="3" y="2"/>
                  </a:cubicBezTo>
                  <a:lnTo>
                    <a:pt x="3" y="3"/>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09" name="Freeform 345">
              <a:extLst>
                <a:ext uri="{FF2B5EF4-FFF2-40B4-BE49-F238E27FC236}">
                  <a16:creationId xmlns:a16="http://schemas.microsoft.com/office/drawing/2014/main" id="{870EA39D-223B-8E88-8800-4AB7E73360C6}"/>
                </a:ext>
              </a:extLst>
            </p:cNvPr>
            <p:cNvSpPr>
              <a:spLocks/>
            </p:cNvSpPr>
            <p:nvPr/>
          </p:nvSpPr>
          <p:spPr bwMode="auto">
            <a:xfrm>
              <a:off x="6020770" y="2554186"/>
              <a:ext cx="10778" cy="14371"/>
            </a:xfrm>
            <a:custGeom>
              <a:avLst/>
              <a:gdLst>
                <a:gd name="T0" fmla="*/ 3 w 3"/>
                <a:gd name="T1" fmla="*/ 3 h 4"/>
                <a:gd name="T2" fmla="*/ 1 w 3"/>
                <a:gd name="T3" fmla="*/ 4 h 4"/>
                <a:gd name="T4" fmla="*/ 0 w 3"/>
                <a:gd name="T5" fmla="*/ 2 h 4"/>
                <a:gd name="T6" fmla="*/ 3 w 3"/>
                <a:gd name="T7" fmla="*/ 2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cubicBezTo>
                    <a:pt x="1" y="4"/>
                    <a:pt x="1" y="4"/>
                    <a:pt x="1" y="4"/>
                  </a:cubicBezTo>
                  <a:cubicBezTo>
                    <a:pt x="0" y="2"/>
                    <a:pt x="0" y="2"/>
                    <a:pt x="0" y="2"/>
                  </a:cubicBezTo>
                  <a:cubicBezTo>
                    <a:pt x="0" y="2"/>
                    <a:pt x="2" y="0"/>
                    <a:pt x="3" y="2"/>
                  </a:cubicBezTo>
                  <a:lnTo>
                    <a:pt x="3" y="3"/>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10" name="Freeform 346">
              <a:extLst>
                <a:ext uri="{FF2B5EF4-FFF2-40B4-BE49-F238E27FC236}">
                  <a16:creationId xmlns:a16="http://schemas.microsoft.com/office/drawing/2014/main" id="{420D1256-F0A3-E9C8-CEB9-3E73999C55A9}"/>
                </a:ext>
              </a:extLst>
            </p:cNvPr>
            <p:cNvSpPr>
              <a:spLocks/>
            </p:cNvSpPr>
            <p:nvPr/>
          </p:nvSpPr>
          <p:spPr bwMode="auto">
            <a:xfrm>
              <a:off x="5724364" y="2787722"/>
              <a:ext cx="596408" cy="714979"/>
            </a:xfrm>
            <a:custGeom>
              <a:avLst/>
              <a:gdLst>
                <a:gd name="T0" fmla="*/ 122 w 169"/>
                <a:gd name="T1" fmla="*/ 189 h 203"/>
                <a:gd name="T2" fmla="*/ 105 w 169"/>
                <a:gd name="T3" fmla="*/ 200 h 203"/>
                <a:gd name="T4" fmla="*/ 96 w 169"/>
                <a:gd name="T5" fmla="*/ 197 h 203"/>
                <a:gd name="T6" fmla="*/ 93 w 169"/>
                <a:gd name="T7" fmla="*/ 187 h 203"/>
                <a:gd name="T8" fmla="*/ 84 w 169"/>
                <a:gd name="T9" fmla="*/ 180 h 203"/>
                <a:gd name="T10" fmla="*/ 0 w 169"/>
                <a:gd name="T11" fmla="*/ 116 h 203"/>
                <a:gd name="T12" fmla="*/ 0 w 169"/>
                <a:gd name="T13" fmla="*/ 100 h 203"/>
                <a:gd name="T14" fmla="*/ 7 w 169"/>
                <a:gd name="T15" fmla="*/ 93 h 203"/>
                <a:gd name="T16" fmla="*/ 22 w 169"/>
                <a:gd name="T17" fmla="*/ 86 h 203"/>
                <a:gd name="T18" fmla="*/ 34 w 169"/>
                <a:gd name="T19" fmla="*/ 80 h 203"/>
                <a:gd name="T20" fmla="*/ 46 w 169"/>
                <a:gd name="T21" fmla="*/ 68 h 203"/>
                <a:gd name="T22" fmla="*/ 52 w 169"/>
                <a:gd name="T23" fmla="*/ 58 h 203"/>
                <a:gd name="T24" fmla="*/ 56 w 169"/>
                <a:gd name="T25" fmla="*/ 47 h 203"/>
                <a:gd name="T26" fmla="*/ 52 w 169"/>
                <a:gd name="T27" fmla="*/ 36 h 203"/>
                <a:gd name="T28" fmla="*/ 51 w 169"/>
                <a:gd name="T29" fmla="*/ 22 h 203"/>
                <a:gd name="T30" fmla="*/ 57 w 169"/>
                <a:gd name="T31" fmla="*/ 21 h 203"/>
                <a:gd name="T32" fmla="*/ 70 w 169"/>
                <a:gd name="T33" fmla="*/ 13 h 203"/>
                <a:gd name="T34" fmla="*/ 79 w 169"/>
                <a:gd name="T35" fmla="*/ 9 h 203"/>
                <a:gd name="T36" fmla="*/ 85 w 169"/>
                <a:gd name="T37" fmla="*/ 5 h 203"/>
                <a:gd name="T38" fmla="*/ 94 w 169"/>
                <a:gd name="T39" fmla="*/ 5 h 203"/>
                <a:gd name="T40" fmla="*/ 115 w 169"/>
                <a:gd name="T41" fmla="*/ 2 h 203"/>
                <a:gd name="T42" fmla="*/ 119 w 169"/>
                <a:gd name="T43" fmla="*/ 2 h 203"/>
                <a:gd name="T44" fmla="*/ 124 w 169"/>
                <a:gd name="T45" fmla="*/ 1 h 203"/>
                <a:gd name="T46" fmla="*/ 132 w 169"/>
                <a:gd name="T47" fmla="*/ 5 h 203"/>
                <a:gd name="T48" fmla="*/ 135 w 169"/>
                <a:gd name="T49" fmla="*/ 1 h 203"/>
                <a:gd name="T50" fmla="*/ 139 w 169"/>
                <a:gd name="T51" fmla="*/ 10 h 203"/>
                <a:gd name="T52" fmla="*/ 142 w 169"/>
                <a:gd name="T53" fmla="*/ 24 h 203"/>
                <a:gd name="T54" fmla="*/ 136 w 169"/>
                <a:gd name="T55" fmla="*/ 34 h 203"/>
                <a:gd name="T56" fmla="*/ 134 w 169"/>
                <a:gd name="T57" fmla="*/ 46 h 203"/>
                <a:gd name="T58" fmla="*/ 140 w 169"/>
                <a:gd name="T59" fmla="*/ 55 h 203"/>
                <a:gd name="T60" fmla="*/ 148 w 169"/>
                <a:gd name="T61" fmla="*/ 76 h 203"/>
                <a:gd name="T62" fmla="*/ 148 w 169"/>
                <a:gd name="T63" fmla="*/ 81 h 203"/>
                <a:gd name="T64" fmla="*/ 150 w 169"/>
                <a:gd name="T65" fmla="*/ 102 h 203"/>
                <a:gd name="T66" fmla="*/ 148 w 169"/>
                <a:gd name="T67" fmla="*/ 108 h 203"/>
                <a:gd name="T68" fmla="*/ 142 w 169"/>
                <a:gd name="T69" fmla="*/ 124 h 203"/>
                <a:gd name="T70" fmla="*/ 148 w 169"/>
                <a:gd name="T71" fmla="*/ 134 h 203"/>
                <a:gd name="T72" fmla="*/ 154 w 169"/>
                <a:gd name="T73" fmla="*/ 145 h 203"/>
                <a:gd name="T74" fmla="*/ 164 w 169"/>
                <a:gd name="T75"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9" h="203">
                  <a:moveTo>
                    <a:pt x="169" y="154"/>
                  </a:moveTo>
                  <a:cubicBezTo>
                    <a:pt x="122" y="189"/>
                    <a:pt x="122" y="189"/>
                    <a:pt x="122" y="189"/>
                  </a:cubicBezTo>
                  <a:cubicBezTo>
                    <a:pt x="117" y="198"/>
                    <a:pt x="117" y="198"/>
                    <a:pt x="117" y="198"/>
                  </a:cubicBezTo>
                  <a:cubicBezTo>
                    <a:pt x="105" y="200"/>
                    <a:pt x="105" y="200"/>
                    <a:pt x="105" y="200"/>
                  </a:cubicBezTo>
                  <a:cubicBezTo>
                    <a:pt x="105" y="200"/>
                    <a:pt x="96" y="203"/>
                    <a:pt x="96" y="202"/>
                  </a:cubicBezTo>
                  <a:cubicBezTo>
                    <a:pt x="97" y="201"/>
                    <a:pt x="97" y="199"/>
                    <a:pt x="96" y="197"/>
                  </a:cubicBezTo>
                  <a:cubicBezTo>
                    <a:pt x="95" y="195"/>
                    <a:pt x="95" y="196"/>
                    <a:pt x="96" y="192"/>
                  </a:cubicBezTo>
                  <a:cubicBezTo>
                    <a:pt x="97" y="188"/>
                    <a:pt x="95" y="189"/>
                    <a:pt x="93" y="187"/>
                  </a:cubicBezTo>
                  <a:cubicBezTo>
                    <a:pt x="91" y="186"/>
                    <a:pt x="89" y="186"/>
                    <a:pt x="87" y="184"/>
                  </a:cubicBezTo>
                  <a:cubicBezTo>
                    <a:pt x="84" y="183"/>
                    <a:pt x="84" y="180"/>
                    <a:pt x="84" y="180"/>
                  </a:cubicBezTo>
                  <a:cubicBezTo>
                    <a:pt x="29" y="138"/>
                    <a:pt x="29" y="138"/>
                    <a:pt x="29" y="138"/>
                  </a:cubicBezTo>
                  <a:cubicBezTo>
                    <a:pt x="0" y="116"/>
                    <a:pt x="0" y="116"/>
                    <a:pt x="0" y="116"/>
                  </a:cubicBezTo>
                  <a:cubicBezTo>
                    <a:pt x="0" y="109"/>
                    <a:pt x="0" y="109"/>
                    <a:pt x="0" y="109"/>
                  </a:cubicBezTo>
                  <a:cubicBezTo>
                    <a:pt x="0" y="100"/>
                    <a:pt x="0" y="100"/>
                    <a:pt x="0" y="100"/>
                  </a:cubicBezTo>
                  <a:cubicBezTo>
                    <a:pt x="0" y="100"/>
                    <a:pt x="1" y="99"/>
                    <a:pt x="2" y="97"/>
                  </a:cubicBezTo>
                  <a:cubicBezTo>
                    <a:pt x="4" y="96"/>
                    <a:pt x="5" y="94"/>
                    <a:pt x="7" y="93"/>
                  </a:cubicBezTo>
                  <a:cubicBezTo>
                    <a:pt x="8" y="91"/>
                    <a:pt x="10" y="90"/>
                    <a:pt x="13" y="89"/>
                  </a:cubicBezTo>
                  <a:cubicBezTo>
                    <a:pt x="17" y="89"/>
                    <a:pt x="20" y="89"/>
                    <a:pt x="22" y="86"/>
                  </a:cubicBezTo>
                  <a:cubicBezTo>
                    <a:pt x="25" y="82"/>
                    <a:pt x="25" y="84"/>
                    <a:pt x="28" y="84"/>
                  </a:cubicBezTo>
                  <a:cubicBezTo>
                    <a:pt x="30" y="83"/>
                    <a:pt x="30" y="82"/>
                    <a:pt x="34" y="80"/>
                  </a:cubicBezTo>
                  <a:cubicBezTo>
                    <a:pt x="37" y="78"/>
                    <a:pt x="40" y="70"/>
                    <a:pt x="40" y="70"/>
                  </a:cubicBezTo>
                  <a:cubicBezTo>
                    <a:pt x="40" y="70"/>
                    <a:pt x="43" y="70"/>
                    <a:pt x="46" y="68"/>
                  </a:cubicBezTo>
                  <a:cubicBezTo>
                    <a:pt x="48" y="66"/>
                    <a:pt x="47" y="66"/>
                    <a:pt x="47" y="63"/>
                  </a:cubicBezTo>
                  <a:cubicBezTo>
                    <a:pt x="47" y="60"/>
                    <a:pt x="52" y="60"/>
                    <a:pt x="52" y="58"/>
                  </a:cubicBezTo>
                  <a:cubicBezTo>
                    <a:pt x="52" y="55"/>
                    <a:pt x="57" y="54"/>
                    <a:pt x="58" y="52"/>
                  </a:cubicBezTo>
                  <a:cubicBezTo>
                    <a:pt x="60" y="51"/>
                    <a:pt x="58" y="49"/>
                    <a:pt x="56" y="47"/>
                  </a:cubicBezTo>
                  <a:cubicBezTo>
                    <a:pt x="55" y="44"/>
                    <a:pt x="55" y="44"/>
                    <a:pt x="55" y="41"/>
                  </a:cubicBezTo>
                  <a:cubicBezTo>
                    <a:pt x="55" y="38"/>
                    <a:pt x="52" y="39"/>
                    <a:pt x="52" y="36"/>
                  </a:cubicBezTo>
                  <a:cubicBezTo>
                    <a:pt x="52" y="33"/>
                    <a:pt x="53" y="31"/>
                    <a:pt x="54" y="28"/>
                  </a:cubicBezTo>
                  <a:cubicBezTo>
                    <a:pt x="54" y="26"/>
                    <a:pt x="51" y="22"/>
                    <a:pt x="51" y="22"/>
                  </a:cubicBezTo>
                  <a:cubicBezTo>
                    <a:pt x="52" y="22"/>
                    <a:pt x="53" y="21"/>
                    <a:pt x="54" y="21"/>
                  </a:cubicBezTo>
                  <a:cubicBezTo>
                    <a:pt x="55" y="20"/>
                    <a:pt x="56" y="21"/>
                    <a:pt x="57" y="21"/>
                  </a:cubicBezTo>
                  <a:cubicBezTo>
                    <a:pt x="59" y="19"/>
                    <a:pt x="60" y="15"/>
                    <a:pt x="63" y="14"/>
                  </a:cubicBezTo>
                  <a:cubicBezTo>
                    <a:pt x="66" y="13"/>
                    <a:pt x="68" y="14"/>
                    <a:pt x="70" y="13"/>
                  </a:cubicBezTo>
                  <a:cubicBezTo>
                    <a:pt x="72" y="13"/>
                    <a:pt x="73" y="10"/>
                    <a:pt x="74" y="9"/>
                  </a:cubicBezTo>
                  <a:cubicBezTo>
                    <a:pt x="76" y="9"/>
                    <a:pt x="78" y="10"/>
                    <a:pt x="79" y="9"/>
                  </a:cubicBezTo>
                  <a:cubicBezTo>
                    <a:pt x="79" y="9"/>
                    <a:pt x="79" y="7"/>
                    <a:pt x="80" y="7"/>
                  </a:cubicBezTo>
                  <a:cubicBezTo>
                    <a:pt x="81" y="6"/>
                    <a:pt x="83" y="6"/>
                    <a:pt x="85" y="5"/>
                  </a:cubicBezTo>
                  <a:cubicBezTo>
                    <a:pt x="85" y="5"/>
                    <a:pt x="86" y="3"/>
                    <a:pt x="86" y="3"/>
                  </a:cubicBezTo>
                  <a:cubicBezTo>
                    <a:pt x="88" y="3"/>
                    <a:pt x="92" y="5"/>
                    <a:pt x="94" y="5"/>
                  </a:cubicBezTo>
                  <a:cubicBezTo>
                    <a:pt x="99" y="5"/>
                    <a:pt x="101" y="2"/>
                    <a:pt x="105" y="2"/>
                  </a:cubicBezTo>
                  <a:cubicBezTo>
                    <a:pt x="109" y="2"/>
                    <a:pt x="111" y="3"/>
                    <a:pt x="115" y="2"/>
                  </a:cubicBezTo>
                  <a:cubicBezTo>
                    <a:pt x="115" y="2"/>
                    <a:pt x="115" y="3"/>
                    <a:pt x="115" y="3"/>
                  </a:cubicBezTo>
                  <a:cubicBezTo>
                    <a:pt x="117" y="4"/>
                    <a:pt x="118" y="2"/>
                    <a:pt x="119" y="2"/>
                  </a:cubicBezTo>
                  <a:cubicBezTo>
                    <a:pt x="122" y="2"/>
                    <a:pt x="122" y="3"/>
                    <a:pt x="124" y="3"/>
                  </a:cubicBezTo>
                  <a:cubicBezTo>
                    <a:pt x="124" y="1"/>
                    <a:pt x="124" y="1"/>
                    <a:pt x="124" y="1"/>
                  </a:cubicBezTo>
                  <a:cubicBezTo>
                    <a:pt x="126" y="1"/>
                    <a:pt x="127" y="1"/>
                    <a:pt x="128" y="0"/>
                  </a:cubicBezTo>
                  <a:cubicBezTo>
                    <a:pt x="130" y="2"/>
                    <a:pt x="131" y="2"/>
                    <a:pt x="132" y="5"/>
                  </a:cubicBezTo>
                  <a:cubicBezTo>
                    <a:pt x="133" y="5"/>
                    <a:pt x="133" y="5"/>
                    <a:pt x="133" y="5"/>
                  </a:cubicBezTo>
                  <a:cubicBezTo>
                    <a:pt x="134" y="3"/>
                    <a:pt x="134" y="2"/>
                    <a:pt x="135" y="1"/>
                  </a:cubicBezTo>
                  <a:cubicBezTo>
                    <a:pt x="136" y="1"/>
                    <a:pt x="137" y="1"/>
                    <a:pt x="138" y="2"/>
                  </a:cubicBezTo>
                  <a:cubicBezTo>
                    <a:pt x="138" y="2"/>
                    <a:pt x="137" y="9"/>
                    <a:pt x="139" y="10"/>
                  </a:cubicBezTo>
                  <a:cubicBezTo>
                    <a:pt x="141" y="11"/>
                    <a:pt x="140" y="13"/>
                    <a:pt x="140" y="15"/>
                  </a:cubicBezTo>
                  <a:cubicBezTo>
                    <a:pt x="140" y="17"/>
                    <a:pt x="142" y="20"/>
                    <a:pt x="142" y="24"/>
                  </a:cubicBezTo>
                  <a:cubicBezTo>
                    <a:pt x="143" y="27"/>
                    <a:pt x="140" y="26"/>
                    <a:pt x="140" y="28"/>
                  </a:cubicBezTo>
                  <a:cubicBezTo>
                    <a:pt x="140" y="30"/>
                    <a:pt x="138" y="33"/>
                    <a:pt x="136" y="34"/>
                  </a:cubicBezTo>
                  <a:cubicBezTo>
                    <a:pt x="134" y="34"/>
                    <a:pt x="133" y="33"/>
                    <a:pt x="133" y="36"/>
                  </a:cubicBezTo>
                  <a:cubicBezTo>
                    <a:pt x="133" y="39"/>
                    <a:pt x="134" y="46"/>
                    <a:pt x="134" y="46"/>
                  </a:cubicBezTo>
                  <a:cubicBezTo>
                    <a:pt x="134" y="46"/>
                    <a:pt x="137" y="45"/>
                    <a:pt x="138" y="47"/>
                  </a:cubicBezTo>
                  <a:cubicBezTo>
                    <a:pt x="139" y="49"/>
                    <a:pt x="140" y="55"/>
                    <a:pt x="140" y="55"/>
                  </a:cubicBezTo>
                  <a:cubicBezTo>
                    <a:pt x="145" y="56"/>
                    <a:pt x="145" y="56"/>
                    <a:pt x="145" y="56"/>
                  </a:cubicBezTo>
                  <a:cubicBezTo>
                    <a:pt x="148" y="76"/>
                    <a:pt x="148" y="76"/>
                    <a:pt x="148" y="76"/>
                  </a:cubicBezTo>
                  <a:cubicBezTo>
                    <a:pt x="147" y="76"/>
                    <a:pt x="147" y="76"/>
                    <a:pt x="146" y="77"/>
                  </a:cubicBezTo>
                  <a:cubicBezTo>
                    <a:pt x="145" y="78"/>
                    <a:pt x="148" y="81"/>
                    <a:pt x="148" y="81"/>
                  </a:cubicBezTo>
                  <a:cubicBezTo>
                    <a:pt x="147" y="98"/>
                    <a:pt x="147" y="98"/>
                    <a:pt x="147" y="98"/>
                  </a:cubicBezTo>
                  <a:cubicBezTo>
                    <a:pt x="150" y="102"/>
                    <a:pt x="150" y="102"/>
                    <a:pt x="150" y="102"/>
                  </a:cubicBezTo>
                  <a:cubicBezTo>
                    <a:pt x="150" y="102"/>
                    <a:pt x="146" y="105"/>
                    <a:pt x="147" y="105"/>
                  </a:cubicBezTo>
                  <a:cubicBezTo>
                    <a:pt x="149" y="105"/>
                    <a:pt x="148" y="108"/>
                    <a:pt x="148" y="108"/>
                  </a:cubicBezTo>
                  <a:cubicBezTo>
                    <a:pt x="148" y="108"/>
                    <a:pt x="148" y="116"/>
                    <a:pt x="147" y="120"/>
                  </a:cubicBezTo>
                  <a:cubicBezTo>
                    <a:pt x="147" y="123"/>
                    <a:pt x="142" y="124"/>
                    <a:pt x="142" y="124"/>
                  </a:cubicBezTo>
                  <a:cubicBezTo>
                    <a:pt x="142" y="124"/>
                    <a:pt x="143" y="126"/>
                    <a:pt x="145" y="128"/>
                  </a:cubicBezTo>
                  <a:cubicBezTo>
                    <a:pt x="146" y="130"/>
                    <a:pt x="146" y="133"/>
                    <a:pt x="148" y="134"/>
                  </a:cubicBezTo>
                  <a:cubicBezTo>
                    <a:pt x="150" y="136"/>
                    <a:pt x="150" y="137"/>
                    <a:pt x="150" y="140"/>
                  </a:cubicBezTo>
                  <a:cubicBezTo>
                    <a:pt x="150" y="142"/>
                    <a:pt x="152" y="145"/>
                    <a:pt x="154" y="145"/>
                  </a:cubicBezTo>
                  <a:cubicBezTo>
                    <a:pt x="156" y="145"/>
                    <a:pt x="158" y="146"/>
                    <a:pt x="160" y="147"/>
                  </a:cubicBezTo>
                  <a:cubicBezTo>
                    <a:pt x="162" y="147"/>
                    <a:pt x="162" y="150"/>
                    <a:pt x="164" y="150"/>
                  </a:cubicBezTo>
                  <a:cubicBezTo>
                    <a:pt x="166" y="150"/>
                    <a:pt x="169" y="154"/>
                    <a:pt x="169" y="154"/>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11" name="Freeform 347">
              <a:extLst>
                <a:ext uri="{FF2B5EF4-FFF2-40B4-BE49-F238E27FC236}">
                  <a16:creationId xmlns:a16="http://schemas.microsoft.com/office/drawing/2014/main" id="{B20D61E2-BEE5-3AF0-1A12-4ED3F2BF76E1}"/>
                </a:ext>
              </a:extLst>
            </p:cNvPr>
            <p:cNvSpPr>
              <a:spLocks/>
            </p:cNvSpPr>
            <p:nvPr/>
          </p:nvSpPr>
          <p:spPr bwMode="auto">
            <a:xfrm>
              <a:off x="5724364" y="2787722"/>
              <a:ext cx="596408" cy="714979"/>
            </a:xfrm>
            <a:custGeom>
              <a:avLst/>
              <a:gdLst>
                <a:gd name="T0" fmla="*/ 122 w 169"/>
                <a:gd name="T1" fmla="*/ 189 h 203"/>
                <a:gd name="T2" fmla="*/ 105 w 169"/>
                <a:gd name="T3" fmla="*/ 200 h 203"/>
                <a:gd name="T4" fmla="*/ 96 w 169"/>
                <a:gd name="T5" fmla="*/ 197 h 203"/>
                <a:gd name="T6" fmla="*/ 93 w 169"/>
                <a:gd name="T7" fmla="*/ 187 h 203"/>
                <a:gd name="T8" fmla="*/ 84 w 169"/>
                <a:gd name="T9" fmla="*/ 180 h 203"/>
                <a:gd name="T10" fmla="*/ 0 w 169"/>
                <a:gd name="T11" fmla="*/ 116 h 203"/>
                <a:gd name="T12" fmla="*/ 0 w 169"/>
                <a:gd name="T13" fmla="*/ 100 h 203"/>
                <a:gd name="T14" fmla="*/ 7 w 169"/>
                <a:gd name="T15" fmla="*/ 93 h 203"/>
                <a:gd name="T16" fmla="*/ 22 w 169"/>
                <a:gd name="T17" fmla="*/ 86 h 203"/>
                <a:gd name="T18" fmla="*/ 34 w 169"/>
                <a:gd name="T19" fmla="*/ 80 h 203"/>
                <a:gd name="T20" fmla="*/ 46 w 169"/>
                <a:gd name="T21" fmla="*/ 68 h 203"/>
                <a:gd name="T22" fmla="*/ 52 w 169"/>
                <a:gd name="T23" fmla="*/ 58 h 203"/>
                <a:gd name="T24" fmla="*/ 56 w 169"/>
                <a:gd name="T25" fmla="*/ 47 h 203"/>
                <a:gd name="T26" fmla="*/ 52 w 169"/>
                <a:gd name="T27" fmla="*/ 36 h 203"/>
                <a:gd name="T28" fmla="*/ 51 w 169"/>
                <a:gd name="T29" fmla="*/ 22 h 203"/>
                <a:gd name="T30" fmla="*/ 57 w 169"/>
                <a:gd name="T31" fmla="*/ 21 h 203"/>
                <a:gd name="T32" fmla="*/ 70 w 169"/>
                <a:gd name="T33" fmla="*/ 13 h 203"/>
                <a:gd name="T34" fmla="*/ 79 w 169"/>
                <a:gd name="T35" fmla="*/ 9 h 203"/>
                <a:gd name="T36" fmla="*/ 85 w 169"/>
                <a:gd name="T37" fmla="*/ 5 h 203"/>
                <a:gd name="T38" fmla="*/ 94 w 169"/>
                <a:gd name="T39" fmla="*/ 5 h 203"/>
                <a:gd name="T40" fmla="*/ 115 w 169"/>
                <a:gd name="T41" fmla="*/ 2 h 203"/>
                <a:gd name="T42" fmla="*/ 119 w 169"/>
                <a:gd name="T43" fmla="*/ 2 h 203"/>
                <a:gd name="T44" fmla="*/ 124 w 169"/>
                <a:gd name="T45" fmla="*/ 1 h 203"/>
                <a:gd name="T46" fmla="*/ 132 w 169"/>
                <a:gd name="T47" fmla="*/ 5 h 203"/>
                <a:gd name="T48" fmla="*/ 135 w 169"/>
                <a:gd name="T49" fmla="*/ 1 h 203"/>
                <a:gd name="T50" fmla="*/ 139 w 169"/>
                <a:gd name="T51" fmla="*/ 10 h 203"/>
                <a:gd name="T52" fmla="*/ 142 w 169"/>
                <a:gd name="T53" fmla="*/ 24 h 203"/>
                <a:gd name="T54" fmla="*/ 136 w 169"/>
                <a:gd name="T55" fmla="*/ 34 h 203"/>
                <a:gd name="T56" fmla="*/ 134 w 169"/>
                <a:gd name="T57" fmla="*/ 46 h 203"/>
                <a:gd name="T58" fmla="*/ 140 w 169"/>
                <a:gd name="T59" fmla="*/ 55 h 203"/>
                <a:gd name="T60" fmla="*/ 148 w 169"/>
                <a:gd name="T61" fmla="*/ 76 h 203"/>
                <a:gd name="T62" fmla="*/ 148 w 169"/>
                <a:gd name="T63" fmla="*/ 81 h 203"/>
                <a:gd name="T64" fmla="*/ 150 w 169"/>
                <a:gd name="T65" fmla="*/ 102 h 203"/>
                <a:gd name="T66" fmla="*/ 148 w 169"/>
                <a:gd name="T67" fmla="*/ 108 h 203"/>
                <a:gd name="T68" fmla="*/ 142 w 169"/>
                <a:gd name="T69" fmla="*/ 124 h 203"/>
                <a:gd name="T70" fmla="*/ 148 w 169"/>
                <a:gd name="T71" fmla="*/ 134 h 203"/>
                <a:gd name="T72" fmla="*/ 154 w 169"/>
                <a:gd name="T73" fmla="*/ 145 h 203"/>
                <a:gd name="T74" fmla="*/ 164 w 169"/>
                <a:gd name="T75" fmla="*/ 15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9" h="203">
                  <a:moveTo>
                    <a:pt x="169" y="154"/>
                  </a:moveTo>
                  <a:cubicBezTo>
                    <a:pt x="122" y="189"/>
                    <a:pt x="122" y="189"/>
                    <a:pt x="122" y="189"/>
                  </a:cubicBezTo>
                  <a:cubicBezTo>
                    <a:pt x="117" y="198"/>
                    <a:pt x="117" y="198"/>
                    <a:pt x="117" y="198"/>
                  </a:cubicBezTo>
                  <a:cubicBezTo>
                    <a:pt x="105" y="200"/>
                    <a:pt x="105" y="200"/>
                    <a:pt x="105" y="200"/>
                  </a:cubicBezTo>
                  <a:cubicBezTo>
                    <a:pt x="105" y="200"/>
                    <a:pt x="96" y="203"/>
                    <a:pt x="96" y="202"/>
                  </a:cubicBezTo>
                  <a:cubicBezTo>
                    <a:pt x="97" y="201"/>
                    <a:pt x="97" y="199"/>
                    <a:pt x="96" y="197"/>
                  </a:cubicBezTo>
                  <a:cubicBezTo>
                    <a:pt x="95" y="195"/>
                    <a:pt x="95" y="196"/>
                    <a:pt x="96" y="192"/>
                  </a:cubicBezTo>
                  <a:cubicBezTo>
                    <a:pt x="97" y="188"/>
                    <a:pt x="95" y="189"/>
                    <a:pt x="93" y="187"/>
                  </a:cubicBezTo>
                  <a:cubicBezTo>
                    <a:pt x="91" y="186"/>
                    <a:pt x="89" y="186"/>
                    <a:pt x="87" y="184"/>
                  </a:cubicBezTo>
                  <a:cubicBezTo>
                    <a:pt x="84" y="183"/>
                    <a:pt x="84" y="180"/>
                    <a:pt x="84" y="180"/>
                  </a:cubicBezTo>
                  <a:cubicBezTo>
                    <a:pt x="29" y="138"/>
                    <a:pt x="29" y="138"/>
                    <a:pt x="29" y="138"/>
                  </a:cubicBezTo>
                  <a:cubicBezTo>
                    <a:pt x="0" y="116"/>
                    <a:pt x="0" y="116"/>
                    <a:pt x="0" y="116"/>
                  </a:cubicBezTo>
                  <a:cubicBezTo>
                    <a:pt x="0" y="109"/>
                    <a:pt x="0" y="109"/>
                    <a:pt x="0" y="109"/>
                  </a:cubicBezTo>
                  <a:cubicBezTo>
                    <a:pt x="0" y="100"/>
                    <a:pt x="0" y="100"/>
                    <a:pt x="0" y="100"/>
                  </a:cubicBezTo>
                  <a:cubicBezTo>
                    <a:pt x="0" y="100"/>
                    <a:pt x="1" y="99"/>
                    <a:pt x="2" y="97"/>
                  </a:cubicBezTo>
                  <a:cubicBezTo>
                    <a:pt x="4" y="96"/>
                    <a:pt x="5" y="94"/>
                    <a:pt x="7" y="93"/>
                  </a:cubicBezTo>
                  <a:cubicBezTo>
                    <a:pt x="8" y="91"/>
                    <a:pt x="10" y="90"/>
                    <a:pt x="13" y="89"/>
                  </a:cubicBezTo>
                  <a:cubicBezTo>
                    <a:pt x="17" y="89"/>
                    <a:pt x="20" y="89"/>
                    <a:pt x="22" y="86"/>
                  </a:cubicBezTo>
                  <a:cubicBezTo>
                    <a:pt x="25" y="82"/>
                    <a:pt x="25" y="84"/>
                    <a:pt x="28" y="84"/>
                  </a:cubicBezTo>
                  <a:cubicBezTo>
                    <a:pt x="30" y="83"/>
                    <a:pt x="30" y="82"/>
                    <a:pt x="34" y="80"/>
                  </a:cubicBezTo>
                  <a:cubicBezTo>
                    <a:pt x="37" y="78"/>
                    <a:pt x="40" y="70"/>
                    <a:pt x="40" y="70"/>
                  </a:cubicBezTo>
                  <a:cubicBezTo>
                    <a:pt x="40" y="70"/>
                    <a:pt x="43" y="70"/>
                    <a:pt x="46" y="68"/>
                  </a:cubicBezTo>
                  <a:cubicBezTo>
                    <a:pt x="48" y="66"/>
                    <a:pt x="47" y="66"/>
                    <a:pt x="47" y="63"/>
                  </a:cubicBezTo>
                  <a:cubicBezTo>
                    <a:pt x="47" y="60"/>
                    <a:pt x="52" y="60"/>
                    <a:pt x="52" y="58"/>
                  </a:cubicBezTo>
                  <a:cubicBezTo>
                    <a:pt x="52" y="55"/>
                    <a:pt x="57" y="54"/>
                    <a:pt x="58" y="52"/>
                  </a:cubicBezTo>
                  <a:cubicBezTo>
                    <a:pt x="60" y="51"/>
                    <a:pt x="58" y="49"/>
                    <a:pt x="56" y="47"/>
                  </a:cubicBezTo>
                  <a:cubicBezTo>
                    <a:pt x="55" y="44"/>
                    <a:pt x="55" y="44"/>
                    <a:pt x="55" y="41"/>
                  </a:cubicBezTo>
                  <a:cubicBezTo>
                    <a:pt x="55" y="38"/>
                    <a:pt x="52" y="39"/>
                    <a:pt x="52" y="36"/>
                  </a:cubicBezTo>
                  <a:cubicBezTo>
                    <a:pt x="52" y="33"/>
                    <a:pt x="53" y="31"/>
                    <a:pt x="54" y="28"/>
                  </a:cubicBezTo>
                  <a:cubicBezTo>
                    <a:pt x="54" y="26"/>
                    <a:pt x="51" y="22"/>
                    <a:pt x="51" y="22"/>
                  </a:cubicBezTo>
                  <a:cubicBezTo>
                    <a:pt x="52" y="22"/>
                    <a:pt x="53" y="21"/>
                    <a:pt x="54" y="21"/>
                  </a:cubicBezTo>
                  <a:cubicBezTo>
                    <a:pt x="55" y="20"/>
                    <a:pt x="56" y="21"/>
                    <a:pt x="57" y="21"/>
                  </a:cubicBezTo>
                  <a:cubicBezTo>
                    <a:pt x="59" y="19"/>
                    <a:pt x="60" y="15"/>
                    <a:pt x="63" y="14"/>
                  </a:cubicBezTo>
                  <a:cubicBezTo>
                    <a:pt x="66" y="13"/>
                    <a:pt x="68" y="14"/>
                    <a:pt x="70" y="13"/>
                  </a:cubicBezTo>
                  <a:cubicBezTo>
                    <a:pt x="72" y="13"/>
                    <a:pt x="73" y="10"/>
                    <a:pt x="74" y="9"/>
                  </a:cubicBezTo>
                  <a:cubicBezTo>
                    <a:pt x="76" y="9"/>
                    <a:pt x="78" y="10"/>
                    <a:pt x="79" y="9"/>
                  </a:cubicBezTo>
                  <a:cubicBezTo>
                    <a:pt x="79" y="9"/>
                    <a:pt x="79" y="7"/>
                    <a:pt x="80" y="7"/>
                  </a:cubicBezTo>
                  <a:cubicBezTo>
                    <a:pt x="81" y="6"/>
                    <a:pt x="83" y="6"/>
                    <a:pt x="85" y="5"/>
                  </a:cubicBezTo>
                  <a:cubicBezTo>
                    <a:pt x="85" y="5"/>
                    <a:pt x="86" y="3"/>
                    <a:pt x="86" y="3"/>
                  </a:cubicBezTo>
                  <a:cubicBezTo>
                    <a:pt x="88" y="3"/>
                    <a:pt x="92" y="5"/>
                    <a:pt x="94" y="5"/>
                  </a:cubicBezTo>
                  <a:cubicBezTo>
                    <a:pt x="99" y="5"/>
                    <a:pt x="101" y="2"/>
                    <a:pt x="105" y="2"/>
                  </a:cubicBezTo>
                  <a:cubicBezTo>
                    <a:pt x="109" y="2"/>
                    <a:pt x="111" y="3"/>
                    <a:pt x="115" y="2"/>
                  </a:cubicBezTo>
                  <a:cubicBezTo>
                    <a:pt x="115" y="2"/>
                    <a:pt x="115" y="3"/>
                    <a:pt x="115" y="3"/>
                  </a:cubicBezTo>
                  <a:cubicBezTo>
                    <a:pt x="117" y="4"/>
                    <a:pt x="118" y="2"/>
                    <a:pt x="119" y="2"/>
                  </a:cubicBezTo>
                  <a:cubicBezTo>
                    <a:pt x="122" y="2"/>
                    <a:pt x="122" y="3"/>
                    <a:pt x="124" y="3"/>
                  </a:cubicBezTo>
                  <a:cubicBezTo>
                    <a:pt x="124" y="1"/>
                    <a:pt x="124" y="1"/>
                    <a:pt x="124" y="1"/>
                  </a:cubicBezTo>
                  <a:cubicBezTo>
                    <a:pt x="126" y="1"/>
                    <a:pt x="127" y="1"/>
                    <a:pt x="128" y="0"/>
                  </a:cubicBezTo>
                  <a:cubicBezTo>
                    <a:pt x="130" y="2"/>
                    <a:pt x="131" y="2"/>
                    <a:pt x="132" y="5"/>
                  </a:cubicBezTo>
                  <a:cubicBezTo>
                    <a:pt x="133" y="5"/>
                    <a:pt x="133" y="5"/>
                    <a:pt x="133" y="5"/>
                  </a:cubicBezTo>
                  <a:cubicBezTo>
                    <a:pt x="134" y="3"/>
                    <a:pt x="134" y="2"/>
                    <a:pt x="135" y="1"/>
                  </a:cubicBezTo>
                  <a:cubicBezTo>
                    <a:pt x="136" y="1"/>
                    <a:pt x="137" y="1"/>
                    <a:pt x="138" y="2"/>
                  </a:cubicBezTo>
                  <a:cubicBezTo>
                    <a:pt x="138" y="2"/>
                    <a:pt x="137" y="9"/>
                    <a:pt x="139" y="10"/>
                  </a:cubicBezTo>
                  <a:cubicBezTo>
                    <a:pt x="141" y="11"/>
                    <a:pt x="140" y="13"/>
                    <a:pt x="140" y="15"/>
                  </a:cubicBezTo>
                  <a:cubicBezTo>
                    <a:pt x="140" y="17"/>
                    <a:pt x="142" y="20"/>
                    <a:pt x="142" y="24"/>
                  </a:cubicBezTo>
                  <a:cubicBezTo>
                    <a:pt x="143" y="27"/>
                    <a:pt x="140" y="26"/>
                    <a:pt x="140" y="28"/>
                  </a:cubicBezTo>
                  <a:cubicBezTo>
                    <a:pt x="140" y="30"/>
                    <a:pt x="138" y="33"/>
                    <a:pt x="136" y="34"/>
                  </a:cubicBezTo>
                  <a:cubicBezTo>
                    <a:pt x="134" y="34"/>
                    <a:pt x="133" y="33"/>
                    <a:pt x="133" y="36"/>
                  </a:cubicBezTo>
                  <a:cubicBezTo>
                    <a:pt x="133" y="39"/>
                    <a:pt x="134" y="46"/>
                    <a:pt x="134" y="46"/>
                  </a:cubicBezTo>
                  <a:cubicBezTo>
                    <a:pt x="134" y="46"/>
                    <a:pt x="137" y="45"/>
                    <a:pt x="138" y="47"/>
                  </a:cubicBezTo>
                  <a:cubicBezTo>
                    <a:pt x="139" y="49"/>
                    <a:pt x="140" y="55"/>
                    <a:pt x="140" y="55"/>
                  </a:cubicBezTo>
                  <a:cubicBezTo>
                    <a:pt x="145" y="56"/>
                    <a:pt x="145" y="56"/>
                    <a:pt x="145" y="56"/>
                  </a:cubicBezTo>
                  <a:cubicBezTo>
                    <a:pt x="148" y="76"/>
                    <a:pt x="148" y="76"/>
                    <a:pt x="148" y="76"/>
                  </a:cubicBezTo>
                  <a:cubicBezTo>
                    <a:pt x="147" y="76"/>
                    <a:pt x="147" y="76"/>
                    <a:pt x="146" y="77"/>
                  </a:cubicBezTo>
                  <a:cubicBezTo>
                    <a:pt x="145" y="78"/>
                    <a:pt x="148" y="81"/>
                    <a:pt x="148" y="81"/>
                  </a:cubicBezTo>
                  <a:cubicBezTo>
                    <a:pt x="147" y="98"/>
                    <a:pt x="147" y="98"/>
                    <a:pt x="147" y="98"/>
                  </a:cubicBezTo>
                  <a:cubicBezTo>
                    <a:pt x="150" y="102"/>
                    <a:pt x="150" y="102"/>
                    <a:pt x="150" y="102"/>
                  </a:cubicBezTo>
                  <a:cubicBezTo>
                    <a:pt x="150" y="102"/>
                    <a:pt x="146" y="105"/>
                    <a:pt x="147" y="105"/>
                  </a:cubicBezTo>
                  <a:cubicBezTo>
                    <a:pt x="149" y="105"/>
                    <a:pt x="148" y="108"/>
                    <a:pt x="148" y="108"/>
                  </a:cubicBezTo>
                  <a:cubicBezTo>
                    <a:pt x="148" y="108"/>
                    <a:pt x="148" y="116"/>
                    <a:pt x="147" y="120"/>
                  </a:cubicBezTo>
                  <a:cubicBezTo>
                    <a:pt x="147" y="123"/>
                    <a:pt x="142" y="124"/>
                    <a:pt x="142" y="124"/>
                  </a:cubicBezTo>
                  <a:cubicBezTo>
                    <a:pt x="142" y="124"/>
                    <a:pt x="143" y="126"/>
                    <a:pt x="145" y="128"/>
                  </a:cubicBezTo>
                  <a:cubicBezTo>
                    <a:pt x="146" y="130"/>
                    <a:pt x="146" y="133"/>
                    <a:pt x="148" y="134"/>
                  </a:cubicBezTo>
                  <a:cubicBezTo>
                    <a:pt x="150" y="136"/>
                    <a:pt x="150" y="137"/>
                    <a:pt x="150" y="140"/>
                  </a:cubicBezTo>
                  <a:cubicBezTo>
                    <a:pt x="150" y="142"/>
                    <a:pt x="152" y="145"/>
                    <a:pt x="154" y="145"/>
                  </a:cubicBezTo>
                  <a:cubicBezTo>
                    <a:pt x="156" y="145"/>
                    <a:pt x="158" y="146"/>
                    <a:pt x="160" y="147"/>
                  </a:cubicBezTo>
                  <a:cubicBezTo>
                    <a:pt x="162" y="147"/>
                    <a:pt x="162" y="150"/>
                    <a:pt x="164" y="150"/>
                  </a:cubicBezTo>
                  <a:cubicBezTo>
                    <a:pt x="166" y="150"/>
                    <a:pt x="169" y="154"/>
                    <a:pt x="169" y="154"/>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12" name="Freeform 348">
              <a:extLst>
                <a:ext uri="{FF2B5EF4-FFF2-40B4-BE49-F238E27FC236}">
                  <a16:creationId xmlns:a16="http://schemas.microsoft.com/office/drawing/2014/main" id="{ED53DFC1-E73A-E0F2-F3AF-F9B155EA4565}"/>
                </a:ext>
              </a:extLst>
            </p:cNvPr>
            <p:cNvSpPr>
              <a:spLocks/>
            </p:cNvSpPr>
            <p:nvPr/>
          </p:nvSpPr>
          <p:spPr bwMode="auto">
            <a:xfrm>
              <a:off x="6556100" y="2561372"/>
              <a:ext cx="59282" cy="120362"/>
            </a:xfrm>
            <a:custGeom>
              <a:avLst/>
              <a:gdLst>
                <a:gd name="T0" fmla="*/ 0 w 17"/>
                <a:gd name="T1" fmla="*/ 6 h 34"/>
                <a:gd name="T2" fmla="*/ 1 w 17"/>
                <a:gd name="T3" fmla="*/ 8 h 34"/>
                <a:gd name="T4" fmla="*/ 4 w 17"/>
                <a:gd name="T5" fmla="*/ 8 h 34"/>
                <a:gd name="T6" fmla="*/ 4 w 17"/>
                <a:gd name="T7" fmla="*/ 15 h 34"/>
                <a:gd name="T8" fmla="*/ 2 w 17"/>
                <a:gd name="T9" fmla="*/ 24 h 34"/>
                <a:gd name="T10" fmla="*/ 9 w 17"/>
                <a:gd name="T11" fmla="*/ 31 h 34"/>
                <a:gd name="T12" fmla="*/ 10 w 17"/>
                <a:gd name="T13" fmla="*/ 34 h 34"/>
                <a:gd name="T14" fmla="*/ 12 w 17"/>
                <a:gd name="T15" fmla="*/ 34 h 34"/>
                <a:gd name="T16" fmla="*/ 13 w 17"/>
                <a:gd name="T17" fmla="*/ 32 h 34"/>
                <a:gd name="T18" fmla="*/ 15 w 17"/>
                <a:gd name="T19" fmla="*/ 31 h 34"/>
                <a:gd name="T20" fmla="*/ 17 w 17"/>
                <a:gd name="T21" fmla="*/ 27 h 34"/>
                <a:gd name="T22" fmla="*/ 17 w 17"/>
                <a:gd name="T23" fmla="*/ 23 h 34"/>
                <a:gd name="T24" fmla="*/ 15 w 17"/>
                <a:gd name="T25" fmla="*/ 19 h 34"/>
                <a:gd name="T26" fmla="*/ 14 w 17"/>
                <a:gd name="T27" fmla="*/ 15 h 34"/>
                <a:gd name="T28" fmla="*/ 15 w 17"/>
                <a:gd name="T29" fmla="*/ 10 h 34"/>
                <a:gd name="T30" fmla="*/ 14 w 17"/>
                <a:gd name="T31" fmla="*/ 5 h 34"/>
                <a:gd name="T32" fmla="*/ 10 w 17"/>
                <a:gd name="T33" fmla="*/ 1 h 34"/>
                <a:gd name="T34" fmla="*/ 8 w 17"/>
                <a:gd name="T35" fmla="*/ 3 h 34"/>
                <a:gd name="T36" fmla="*/ 6 w 17"/>
                <a:gd name="T37" fmla="*/ 0 h 34"/>
                <a:gd name="T38" fmla="*/ 1 w 17"/>
                <a:gd name="T39" fmla="*/ 3 h 34"/>
                <a:gd name="T40" fmla="*/ 0 w 17"/>
                <a:gd name="T41"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4">
                  <a:moveTo>
                    <a:pt x="0" y="6"/>
                  </a:moveTo>
                  <a:cubicBezTo>
                    <a:pt x="0" y="7"/>
                    <a:pt x="1" y="7"/>
                    <a:pt x="1" y="8"/>
                  </a:cubicBezTo>
                  <a:cubicBezTo>
                    <a:pt x="2" y="8"/>
                    <a:pt x="4" y="8"/>
                    <a:pt x="4" y="8"/>
                  </a:cubicBezTo>
                  <a:cubicBezTo>
                    <a:pt x="4" y="11"/>
                    <a:pt x="3" y="15"/>
                    <a:pt x="4" y="15"/>
                  </a:cubicBezTo>
                  <a:cubicBezTo>
                    <a:pt x="4" y="18"/>
                    <a:pt x="2" y="20"/>
                    <a:pt x="2" y="24"/>
                  </a:cubicBezTo>
                  <a:cubicBezTo>
                    <a:pt x="3" y="28"/>
                    <a:pt x="7" y="29"/>
                    <a:pt x="9" y="31"/>
                  </a:cubicBezTo>
                  <a:cubicBezTo>
                    <a:pt x="10" y="32"/>
                    <a:pt x="10" y="33"/>
                    <a:pt x="10" y="34"/>
                  </a:cubicBezTo>
                  <a:cubicBezTo>
                    <a:pt x="10" y="34"/>
                    <a:pt x="11" y="34"/>
                    <a:pt x="12" y="34"/>
                  </a:cubicBezTo>
                  <a:cubicBezTo>
                    <a:pt x="14" y="34"/>
                    <a:pt x="13" y="32"/>
                    <a:pt x="13" y="32"/>
                  </a:cubicBezTo>
                  <a:cubicBezTo>
                    <a:pt x="13" y="32"/>
                    <a:pt x="15" y="32"/>
                    <a:pt x="15" y="31"/>
                  </a:cubicBezTo>
                  <a:cubicBezTo>
                    <a:pt x="16" y="29"/>
                    <a:pt x="17" y="27"/>
                    <a:pt x="17" y="27"/>
                  </a:cubicBezTo>
                  <a:cubicBezTo>
                    <a:pt x="17" y="23"/>
                    <a:pt x="17" y="23"/>
                    <a:pt x="17" y="23"/>
                  </a:cubicBezTo>
                  <a:cubicBezTo>
                    <a:pt x="17" y="23"/>
                    <a:pt x="16" y="21"/>
                    <a:pt x="15" y="19"/>
                  </a:cubicBezTo>
                  <a:cubicBezTo>
                    <a:pt x="13" y="17"/>
                    <a:pt x="13" y="17"/>
                    <a:pt x="14" y="15"/>
                  </a:cubicBezTo>
                  <a:cubicBezTo>
                    <a:pt x="15" y="13"/>
                    <a:pt x="15" y="10"/>
                    <a:pt x="15" y="10"/>
                  </a:cubicBezTo>
                  <a:cubicBezTo>
                    <a:pt x="14" y="5"/>
                    <a:pt x="14" y="5"/>
                    <a:pt x="14" y="5"/>
                  </a:cubicBezTo>
                  <a:cubicBezTo>
                    <a:pt x="10" y="1"/>
                    <a:pt x="10" y="1"/>
                    <a:pt x="10" y="1"/>
                  </a:cubicBezTo>
                  <a:cubicBezTo>
                    <a:pt x="8" y="3"/>
                    <a:pt x="8" y="3"/>
                    <a:pt x="8" y="3"/>
                  </a:cubicBezTo>
                  <a:cubicBezTo>
                    <a:pt x="6" y="0"/>
                    <a:pt x="6" y="0"/>
                    <a:pt x="6" y="0"/>
                  </a:cubicBezTo>
                  <a:cubicBezTo>
                    <a:pt x="1" y="3"/>
                    <a:pt x="1" y="3"/>
                    <a:pt x="1" y="3"/>
                  </a:cubicBezTo>
                  <a:lnTo>
                    <a:pt x="0" y="6"/>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13" name="Freeform 349">
              <a:extLst>
                <a:ext uri="{FF2B5EF4-FFF2-40B4-BE49-F238E27FC236}">
                  <a16:creationId xmlns:a16="http://schemas.microsoft.com/office/drawing/2014/main" id="{7BBF7E48-C217-2721-1B8C-60D71DE357B2}"/>
                </a:ext>
              </a:extLst>
            </p:cNvPr>
            <p:cNvSpPr>
              <a:spLocks/>
            </p:cNvSpPr>
            <p:nvPr/>
          </p:nvSpPr>
          <p:spPr bwMode="auto">
            <a:xfrm>
              <a:off x="6556100" y="2561372"/>
              <a:ext cx="59282" cy="120362"/>
            </a:xfrm>
            <a:custGeom>
              <a:avLst/>
              <a:gdLst>
                <a:gd name="T0" fmla="*/ 0 w 17"/>
                <a:gd name="T1" fmla="*/ 6 h 34"/>
                <a:gd name="T2" fmla="*/ 1 w 17"/>
                <a:gd name="T3" fmla="*/ 8 h 34"/>
                <a:gd name="T4" fmla="*/ 4 w 17"/>
                <a:gd name="T5" fmla="*/ 8 h 34"/>
                <a:gd name="T6" fmla="*/ 4 w 17"/>
                <a:gd name="T7" fmla="*/ 15 h 34"/>
                <a:gd name="T8" fmla="*/ 2 w 17"/>
                <a:gd name="T9" fmla="*/ 24 h 34"/>
                <a:gd name="T10" fmla="*/ 9 w 17"/>
                <a:gd name="T11" fmla="*/ 31 h 34"/>
                <a:gd name="T12" fmla="*/ 10 w 17"/>
                <a:gd name="T13" fmla="*/ 34 h 34"/>
                <a:gd name="T14" fmla="*/ 12 w 17"/>
                <a:gd name="T15" fmla="*/ 34 h 34"/>
                <a:gd name="T16" fmla="*/ 13 w 17"/>
                <a:gd name="T17" fmla="*/ 32 h 34"/>
                <a:gd name="T18" fmla="*/ 15 w 17"/>
                <a:gd name="T19" fmla="*/ 31 h 34"/>
                <a:gd name="T20" fmla="*/ 17 w 17"/>
                <a:gd name="T21" fmla="*/ 27 h 34"/>
                <a:gd name="T22" fmla="*/ 17 w 17"/>
                <a:gd name="T23" fmla="*/ 23 h 34"/>
                <a:gd name="T24" fmla="*/ 15 w 17"/>
                <a:gd name="T25" fmla="*/ 19 h 34"/>
                <a:gd name="T26" fmla="*/ 14 w 17"/>
                <a:gd name="T27" fmla="*/ 15 h 34"/>
                <a:gd name="T28" fmla="*/ 15 w 17"/>
                <a:gd name="T29" fmla="*/ 10 h 34"/>
                <a:gd name="T30" fmla="*/ 14 w 17"/>
                <a:gd name="T31" fmla="*/ 5 h 34"/>
                <a:gd name="T32" fmla="*/ 10 w 17"/>
                <a:gd name="T33" fmla="*/ 1 h 34"/>
                <a:gd name="T34" fmla="*/ 8 w 17"/>
                <a:gd name="T35" fmla="*/ 3 h 34"/>
                <a:gd name="T36" fmla="*/ 6 w 17"/>
                <a:gd name="T37" fmla="*/ 0 h 34"/>
                <a:gd name="T38" fmla="*/ 1 w 17"/>
                <a:gd name="T39" fmla="*/ 3 h 34"/>
                <a:gd name="T40" fmla="*/ 0 w 17"/>
                <a:gd name="T41"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4">
                  <a:moveTo>
                    <a:pt x="0" y="6"/>
                  </a:moveTo>
                  <a:cubicBezTo>
                    <a:pt x="0" y="7"/>
                    <a:pt x="1" y="7"/>
                    <a:pt x="1" y="8"/>
                  </a:cubicBezTo>
                  <a:cubicBezTo>
                    <a:pt x="2" y="8"/>
                    <a:pt x="4" y="8"/>
                    <a:pt x="4" y="8"/>
                  </a:cubicBezTo>
                  <a:cubicBezTo>
                    <a:pt x="4" y="11"/>
                    <a:pt x="3" y="15"/>
                    <a:pt x="4" y="15"/>
                  </a:cubicBezTo>
                  <a:cubicBezTo>
                    <a:pt x="4" y="18"/>
                    <a:pt x="2" y="20"/>
                    <a:pt x="2" y="24"/>
                  </a:cubicBezTo>
                  <a:cubicBezTo>
                    <a:pt x="3" y="28"/>
                    <a:pt x="7" y="29"/>
                    <a:pt x="9" y="31"/>
                  </a:cubicBezTo>
                  <a:cubicBezTo>
                    <a:pt x="10" y="32"/>
                    <a:pt x="10" y="33"/>
                    <a:pt x="10" y="34"/>
                  </a:cubicBezTo>
                  <a:cubicBezTo>
                    <a:pt x="10" y="34"/>
                    <a:pt x="11" y="34"/>
                    <a:pt x="12" y="34"/>
                  </a:cubicBezTo>
                  <a:cubicBezTo>
                    <a:pt x="14" y="34"/>
                    <a:pt x="13" y="32"/>
                    <a:pt x="13" y="32"/>
                  </a:cubicBezTo>
                  <a:cubicBezTo>
                    <a:pt x="13" y="32"/>
                    <a:pt x="15" y="32"/>
                    <a:pt x="15" y="31"/>
                  </a:cubicBezTo>
                  <a:cubicBezTo>
                    <a:pt x="16" y="29"/>
                    <a:pt x="17" y="27"/>
                    <a:pt x="17" y="27"/>
                  </a:cubicBezTo>
                  <a:cubicBezTo>
                    <a:pt x="17" y="23"/>
                    <a:pt x="17" y="23"/>
                    <a:pt x="17" y="23"/>
                  </a:cubicBezTo>
                  <a:cubicBezTo>
                    <a:pt x="17" y="23"/>
                    <a:pt x="16" y="21"/>
                    <a:pt x="15" y="19"/>
                  </a:cubicBezTo>
                  <a:cubicBezTo>
                    <a:pt x="13" y="17"/>
                    <a:pt x="13" y="17"/>
                    <a:pt x="14" y="15"/>
                  </a:cubicBezTo>
                  <a:cubicBezTo>
                    <a:pt x="15" y="13"/>
                    <a:pt x="15" y="10"/>
                    <a:pt x="15" y="10"/>
                  </a:cubicBezTo>
                  <a:cubicBezTo>
                    <a:pt x="14" y="5"/>
                    <a:pt x="14" y="5"/>
                    <a:pt x="14" y="5"/>
                  </a:cubicBezTo>
                  <a:cubicBezTo>
                    <a:pt x="10" y="1"/>
                    <a:pt x="10" y="1"/>
                    <a:pt x="10" y="1"/>
                  </a:cubicBezTo>
                  <a:cubicBezTo>
                    <a:pt x="8" y="3"/>
                    <a:pt x="8" y="3"/>
                    <a:pt x="8" y="3"/>
                  </a:cubicBezTo>
                  <a:cubicBezTo>
                    <a:pt x="6" y="0"/>
                    <a:pt x="6" y="0"/>
                    <a:pt x="6" y="0"/>
                  </a:cubicBezTo>
                  <a:cubicBezTo>
                    <a:pt x="1" y="3"/>
                    <a:pt x="1" y="3"/>
                    <a:pt x="1" y="3"/>
                  </a:cubicBezTo>
                  <a:lnTo>
                    <a:pt x="0" y="6"/>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14" name="Freeform 350">
              <a:extLst>
                <a:ext uri="{FF2B5EF4-FFF2-40B4-BE49-F238E27FC236}">
                  <a16:creationId xmlns:a16="http://schemas.microsoft.com/office/drawing/2014/main" id="{48509525-BD84-57A3-A357-EF327AA428C5}"/>
                </a:ext>
              </a:extLst>
            </p:cNvPr>
            <p:cNvSpPr>
              <a:spLocks noEditPoints="1"/>
            </p:cNvSpPr>
            <p:nvPr/>
          </p:nvSpPr>
          <p:spPr bwMode="auto">
            <a:xfrm>
              <a:off x="405196" y="1113449"/>
              <a:ext cx="11378455" cy="1029356"/>
            </a:xfrm>
            <a:custGeom>
              <a:avLst/>
              <a:gdLst>
                <a:gd name="T0" fmla="*/ 3206 w 3230"/>
                <a:gd name="T1" fmla="*/ 128 h 292"/>
                <a:gd name="T2" fmla="*/ 3227 w 3230"/>
                <a:gd name="T3" fmla="*/ 139 h 292"/>
                <a:gd name="T4" fmla="*/ 422 w 3230"/>
                <a:gd name="T5" fmla="*/ 230 h 292"/>
                <a:gd name="T6" fmla="*/ 435 w 3230"/>
                <a:gd name="T7" fmla="*/ 226 h 292"/>
                <a:gd name="T8" fmla="*/ 419 w 3230"/>
                <a:gd name="T9" fmla="*/ 204 h 292"/>
                <a:gd name="T10" fmla="*/ 407 w 3230"/>
                <a:gd name="T11" fmla="*/ 193 h 292"/>
                <a:gd name="T12" fmla="*/ 198 w 3230"/>
                <a:gd name="T13" fmla="*/ 242 h 292"/>
                <a:gd name="T14" fmla="*/ 215 w 3230"/>
                <a:gd name="T15" fmla="*/ 183 h 292"/>
                <a:gd name="T16" fmla="*/ 306 w 3230"/>
                <a:gd name="T17" fmla="*/ 164 h 292"/>
                <a:gd name="T18" fmla="*/ 14 w 3230"/>
                <a:gd name="T19" fmla="*/ 288 h 292"/>
                <a:gd name="T20" fmla="*/ 53 w 3230"/>
                <a:gd name="T21" fmla="*/ 284 h 292"/>
                <a:gd name="T22" fmla="*/ 20 w 3230"/>
                <a:gd name="T23" fmla="*/ 282 h 292"/>
                <a:gd name="T24" fmla="*/ 71 w 3230"/>
                <a:gd name="T25" fmla="*/ 283 h 292"/>
                <a:gd name="T26" fmla="*/ 122 w 3230"/>
                <a:gd name="T27" fmla="*/ 270 h 292"/>
                <a:gd name="T28" fmla="*/ 132 w 3230"/>
                <a:gd name="T29" fmla="*/ 270 h 292"/>
                <a:gd name="T30" fmla="*/ 167 w 3230"/>
                <a:gd name="T31" fmla="*/ 248 h 292"/>
                <a:gd name="T32" fmla="*/ 441 w 3230"/>
                <a:gd name="T33" fmla="*/ 244 h 292"/>
                <a:gd name="T34" fmla="*/ 440 w 3230"/>
                <a:gd name="T35" fmla="*/ 236 h 292"/>
                <a:gd name="T36" fmla="*/ 421 w 3230"/>
                <a:gd name="T37" fmla="*/ 222 h 292"/>
                <a:gd name="T38" fmla="*/ 424 w 3230"/>
                <a:gd name="T39" fmla="*/ 216 h 292"/>
                <a:gd name="T40" fmla="*/ 252 w 3230"/>
                <a:gd name="T41" fmla="*/ 204 h 292"/>
                <a:gd name="T42" fmla="*/ 254 w 3230"/>
                <a:gd name="T43" fmla="*/ 216 h 292"/>
                <a:gd name="T44" fmla="*/ 263 w 3230"/>
                <a:gd name="T45" fmla="*/ 196 h 292"/>
                <a:gd name="T46" fmla="*/ 150 w 3230"/>
                <a:gd name="T47" fmla="*/ 171 h 292"/>
                <a:gd name="T48" fmla="*/ 119 w 3230"/>
                <a:gd name="T49" fmla="*/ 129 h 292"/>
                <a:gd name="T50" fmla="*/ 351 w 3230"/>
                <a:gd name="T51" fmla="*/ 17 h 292"/>
                <a:gd name="T52" fmla="*/ 301 w 3230"/>
                <a:gd name="T53" fmla="*/ 15 h 292"/>
                <a:gd name="T54" fmla="*/ 260 w 3230"/>
                <a:gd name="T55" fmla="*/ 10 h 292"/>
                <a:gd name="T56" fmla="*/ 212 w 3230"/>
                <a:gd name="T57" fmla="*/ 8 h 292"/>
                <a:gd name="T58" fmla="*/ 178 w 3230"/>
                <a:gd name="T59" fmla="*/ 22 h 292"/>
                <a:gd name="T60" fmla="*/ 147 w 3230"/>
                <a:gd name="T61" fmla="*/ 53 h 292"/>
                <a:gd name="T62" fmla="*/ 182 w 3230"/>
                <a:gd name="T63" fmla="*/ 68 h 292"/>
                <a:gd name="T64" fmla="*/ 180 w 3230"/>
                <a:gd name="T65" fmla="*/ 85 h 292"/>
                <a:gd name="T66" fmla="*/ 134 w 3230"/>
                <a:gd name="T67" fmla="*/ 85 h 292"/>
                <a:gd name="T68" fmla="*/ 168 w 3230"/>
                <a:gd name="T69" fmla="*/ 104 h 292"/>
                <a:gd name="T70" fmla="*/ 179 w 3230"/>
                <a:gd name="T71" fmla="*/ 123 h 292"/>
                <a:gd name="T72" fmla="*/ 149 w 3230"/>
                <a:gd name="T73" fmla="*/ 142 h 292"/>
                <a:gd name="T74" fmla="*/ 165 w 3230"/>
                <a:gd name="T75" fmla="*/ 157 h 292"/>
                <a:gd name="T76" fmla="*/ 176 w 3230"/>
                <a:gd name="T77" fmla="*/ 165 h 292"/>
                <a:gd name="T78" fmla="*/ 189 w 3230"/>
                <a:gd name="T79" fmla="*/ 186 h 292"/>
                <a:gd name="T80" fmla="*/ 214 w 3230"/>
                <a:gd name="T81" fmla="*/ 190 h 292"/>
                <a:gd name="T82" fmla="*/ 211 w 3230"/>
                <a:gd name="T83" fmla="*/ 214 h 292"/>
                <a:gd name="T84" fmla="*/ 170 w 3230"/>
                <a:gd name="T85" fmla="*/ 242 h 292"/>
                <a:gd name="T86" fmla="*/ 190 w 3230"/>
                <a:gd name="T87" fmla="*/ 234 h 292"/>
                <a:gd name="T88" fmla="*/ 218 w 3230"/>
                <a:gd name="T89" fmla="*/ 219 h 292"/>
                <a:gd name="T90" fmla="*/ 246 w 3230"/>
                <a:gd name="T91" fmla="*/ 195 h 292"/>
                <a:gd name="T92" fmla="*/ 256 w 3230"/>
                <a:gd name="T93" fmla="*/ 171 h 292"/>
                <a:gd name="T94" fmla="*/ 287 w 3230"/>
                <a:gd name="T95" fmla="*/ 148 h 292"/>
                <a:gd name="T96" fmla="*/ 273 w 3230"/>
                <a:gd name="T97" fmla="*/ 178 h 292"/>
                <a:gd name="T98" fmla="*/ 289 w 3230"/>
                <a:gd name="T99" fmla="*/ 170 h 292"/>
                <a:gd name="T100" fmla="*/ 308 w 3230"/>
                <a:gd name="T101" fmla="*/ 156 h 292"/>
                <a:gd name="T102" fmla="*/ 321 w 3230"/>
                <a:gd name="T103" fmla="*/ 163 h 292"/>
                <a:gd name="T104" fmla="*/ 359 w 3230"/>
                <a:gd name="T105" fmla="*/ 172 h 292"/>
                <a:gd name="T106" fmla="*/ 384 w 3230"/>
                <a:gd name="T107" fmla="*/ 181 h 292"/>
                <a:gd name="T108" fmla="*/ 411 w 3230"/>
                <a:gd name="T109" fmla="*/ 207 h 292"/>
                <a:gd name="T110" fmla="*/ 416 w 3230"/>
                <a:gd name="T111" fmla="*/ 189 h 292"/>
                <a:gd name="T112" fmla="*/ 433 w 3230"/>
                <a:gd name="T113" fmla="*/ 223 h 292"/>
                <a:gd name="T114" fmla="*/ 443 w 3230"/>
                <a:gd name="T115" fmla="*/ 226 h 292"/>
                <a:gd name="T116" fmla="*/ 453 w 3230"/>
                <a:gd name="T117" fmla="*/ 242 h 292"/>
                <a:gd name="T118" fmla="*/ 463 w 3230"/>
                <a:gd name="T119" fmla="*/ 232 h 292"/>
                <a:gd name="T120" fmla="*/ 402 w 3230"/>
                <a:gd name="T121" fmla="*/ 17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30" h="292">
                  <a:moveTo>
                    <a:pt x="87" y="160"/>
                  </a:moveTo>
                  <a:cubicBezTo>
                    <a:pt x="85" y="163"/>
                    <a:pt x="86" y="161"/>
                    <a:pt x="87" y="164"/>
                  </a:cubicBezTo>
                  <a:cubicBezTo>
                    <a:pt x="88" y="165"/>
                    <a:pt x="90" y="165"/>
                    <a:pt x="90" y="165"/>
                  </a:cubicBezTo>
                  <a:cubicBezTo>
                    <a:pt x="91" y="166"/>
                    <a:pt x="93" y="165"/>
                    <a:pt x="93" y="164"/>
                  </a:cubicBezTo>
                  <a:cubicBezTo>
                    <a:pt x="89" y="163"/>
                    <a:pt x="89" y="163"/>
                    <a:pt x="89" y="163"/>
                  </a:cubicBezTo>
                  <a:cubicBezTo>
                    <a:pt x="87" y="162"/>
                    <a:pt x="89" y="161"/>
                    <a:pt x="87" y="160"/>
                  </a:cubicBezTo>
                  <a:close/>
                  <a:moveTo>
                    <a:pt x="3214" y="127"/>
                  </a:moveTo>
                  <a:cubicBezTo>
                    <a:pt x="3213" y="130"/>
                    <a:pt x="3213" y="130"/>
                    <a:pt x="3213" y="130"/>
                  </a:cubicBezTo>
                  <a:cubicBezTo>
                    <a:pt x="3212" y="130"/>
                    <a:pt x="3211" y="130"/>
                    <a:pt x="3210" y="130"/>
                  </a:cubicBezTo>
                  <a:cubicBezTo>
                    <a:pt x="3209" y="131"/>
                    <a:pt x="3209" y="131"/>
                    <a:pt x="3209" y="131"/>
                  </a:cubicBezTo>
                  <a:cubicBezTo>
                    <a:pt x="3206" y="131"/>
                    <a:pt x="3206" y="131"/>
                    <a:pt x="3206" y="131"/>
                  </a:cubicBezTo>
                  <a:cubicBezTo>
                    <a:pt x="3206" y="130"/>
                    <a:pt x="3206" y="128"/>
                    <a:pt x="3206" y="128"/>
                  </a:cubicBezTo>
                  <a:cubicBezTo>
                    <a:pt x="3205" y="127"/>
                    <a:pt x="3205" y="129"/>
                    <a:pt x="3205" y="129"/>
                  </a:cubicBezTo>
                  <a:cubicBezTo>
                    <a:pt x="3203" y="129"/>
                    <a:pt x="3205" y="132"/>
                    <a:pt x="3204" y="133"/>
                  </a:cubicBezTo>
                  <a:cubicBezTo>
                    <a:pt x="3203" y="133"/>
                    <a:pt x="3203" y="133"/>
                    <a:pt x="3203" y="133"/>
                  </a:cubicBezTo>
                  <a:cubicBezTo>
                    <a:pt x="3203" y="133"/>
                    <a:pt x="3203" y="134"/>
                    <a:pt x="3203" y="135"/>
                  </a:cubicBezTo>
                  <a:cubicBezTo>
                    <a:pt x="3204" y="135"/>
                    <a:pt x="3205" y="135"/>
                    <a:pt x="3205" y="135"/>
                  </a:cubicBezTo>
                  <a:cubicBezTo>
                    <a:pt x="3205" y="135"/>
                    <a:pt x="3206" y="136"/>
                    <a:pt x="3207" y="135"/>
                  </a:cubicBezTo>
                  <a:cubicBezTo>
                    <a:pt x="3210" y="135"/>
                    <a:pt x="3213" y="131"/>
                    <a:pt x="3217" y="133"/>
                  </a:cubicBezTo>
                  <a:cubicBezTo>
                    <a:pt x="3217" y="134"/>
                    <a:pt x="3217" y="134"/>
                    <a:pt x="3217" y="134"/>
                  </a:cubicBezTo>
                  <a:cubicBezTo>
                    <a:pt x="3218" y="135"/>
                    <a:pt x="3223" y="139"/>
                    <a:pt x="3223" y="139"/>
                  </a:cubicBezTo>
                  <a:cubicBezTo>
                    <a:pt x="3224" y="140"/>
                    <a:pt x="3223" y="142"/>
                    <a:pt x="3224" y="142"/>
                  </a:cubicBezTo>
                  <a:cubicBezTo>
                    <a:pt x="3225" y="142"/>
                    <a:pt x="3226" y="142"/>
                    <a:pt x="3227" y="142"/>
                  </a:cubicBezTo>
                  <a:cubicBezTo>
                    <a:pt x="3227" y="142"/>
                    <a:pt x="3227" y="139"/>
                    <a:pt x="3227" y="139"/>
                  </a:cubicBezTo>
                  <a:cubicBezTo>
                    <a:pt x="3227" y="138"/>
                    <a:pt x="3228" y="138"/>
                    <a:pt x="3229" y="138"/>
                  </a:cubicBezTo>
                  <a:cubicBezTo>
                    <a:pt x="3230" y="137"/>
                    <a:pt x="3230" y="137"/>
                    <a:pt x="3230" y="137"/>
                  </a:cubicBezTo>
                  <a:cubicBezTo>
                    <a:pt x="3228" y="136"/>
                    <a:pt x="3225" y="136"/>
                    <a:pt x="3223" y="135"/>
                  </a:cubicBezTo>
                  <a:cubicBezTo>
                    <a:pt x="3221" y="133"/>
                    <a:pt x="3218" y="126"/>
                    <a:pt x="3214" y="127"/>
                  </a:cubicBezTo>
                  <a:close/>
                  <a:moveTo>
                    <a:pt x="408" y="193"/>
                  </a:moveTo>
                  <a:cubicBezTo>
                    <a:pt x="409" y="194"/>
                    <a:pt x="407" y="195"/>
                    <a:pt x="407" y="195"/>
                  </a:cubicBezTo>
                  <a:cubicBezTo>
                    <a:pt x="407" y="195"/>
                    <a:pt x="407" y="193"/>
                    <a:pt x="408" y="193"/>
                  </a:cubicBezTo>
                  <a:close/>
                  <a:moveTo>
                    <a:pt x="435" y="242"/>
                  </a:moveTo>
                  <a:cubicBezTo>
                    <a:pt x="436" y="243"/>
                    <a:pt x="436" y="244"/>
                    <a:pt x="436" y="244"/>
                  </a:cubicBezTo>
                  <a:cubicBezTo>
                    <a:pt x="438" y="245"/>
                    <a:pt x="436" y="244"/>
                    <a:pt x="437" y="244"/>
                  </a:cubicBezTo>
                  <a:cubicBezTo>
                    <a:pt x="437" y="243"/>
                    <a:pt x="436" y="243"/>
                    <a:pt x="435" y="242"/>
                  </a:cubicBezTo>
                  <a:close/>
                  <a:moveTo>
                    <a:pt x="422" y="230"/>
                  </a:moveTo>
                  <a:cubicBezTo>
                    <a:pt x="422" y="231"/>
                    <a:pt x="422" y="231"/>
                    <a:pt x="422" y="231"/>
                  </a:cubicBezTo>
                  <a:cubicBezTo>
                    <a:pt x="425" y="232"/>
                    <a:pt x="423" y="230"/>
                    <a:pt x="422" y="230"/>
                  </a:cubicBezTo>
                  <a:close/>
                  <a:moveTo>
                    <a:pt x="435" y="226"/>
                  </a:moveTo>
                  <a:cubicBezTo>
                    <a:pt x="435" y="227"/>
                    <a:pt x="435" y="227"/>
                    <a:pt x="435" y="227"/>
                  </a:cubicBezTo>
                  <a:cubicBezTo>
                    <a:pt x="435" y="228"/>
                    <a:pt x="439" y="229"/>
                    <a:pt x="440" y="230"/>
                  </a:cubicBezTo>
                  <a:cubicBezTo>
                    <a:pt x="440" y="230"/>
                    <a:pt x="440" y="231"/>
                    <a:pt x="440" y="232"/>
                  </a:cubicBezTo>
                  <a:cubicBezTo>
                    <a:pt x="440" y="232"/>
                    <a:pt x="441" y="232"/>
                    <a:pt x="440" y="231"/>
                  </a:cubicBezTo>
                  <a:cubicBezTo>
                    <a:pt x="442" y="231"/>
                    <a:pt x="440" y="230"/>
                    <a:pt x="440" y="230"/>
                  </a:cubicBezTo>
                  <a:cubicBezTo>
                    <a:pt x="440" y="229"/>
                    <a:pt x="440" y="228"/>
                    <a:pt x="440" y="228"/>
                  </a:cubicBezTo>
                  <a:cubicBezTo>
                    <a:pt x="438" y="227"/>
                    <a:pt x="438" y="228"/>
                    <a:pt x="437" y="228"/>
                  </a:cubicBezTo>
                  <a:cubicBezTo>
                    <a:pt x="437" y="226"/>
                    <a:pt x="437" y="226"/>
                    <a:pt x="437" y="226"/>
                  </a:cubicBezTo>
                  <a:cubicBezTo>
                    <a:pt x="436" y="226"/>
                    <a:pt x="436" y="226"/>
                    <a:pt x="435" y="226"/>
                  </a:cubicBezTo>
                  <a:close/>
                  <a:moveTo>
                    <a:pt x="408" y="212"/>
                  </a:moveTo>
                  <a:cubicBezTo>
                    <a:pt x="408" y="213"/>
                    <a:pt x="408" y="214"/>
                    <a:pt x="408" y="214"/>
                  </a:cubicBezTo>
                  <a:cubicBezTo>
                    <a:pt x="407" y="214"/>
                    <a:pt x="407" y="217"/>
                    <a:pt x="409" y="216"/>
                  </a:cubicBezTo>
                  <a:cubicBezTo>
                    <a:pt x="409" y="215"/>
                    <a:pt x="409" y="212"/>
                    <a:pt x="408" y="212"/>
                  </a:cubicBezTo>
                  <a:close/>
                  <a:moveTo>
                    <a:pt x="425" y="206"/>
                  </a:moveTo>
                  <a:cubicBezTo>
                    <a:pt x="426" y="207"/>
                    <a:pt x="426" y="207"/>
                    <a:pt x="426" y="207"/>
                  </a:cubicBezTo>
                  <a:cubicBezTo>
                    <a:pt x="425" y="206"/>
                    <a:pt x="426" y="206"/>
                    <a:pt x="425" y="206"/>
                  </a:cubicBezTo>
                  <a:close/>
                  <a:moveTo>
                    <a:pt x="401" y="201"/>
                  </a:moveTo>
                  <a:cubicBezTo>
                    <a:pt x="402" y="203"/>
                    <a:pt x="402" y="203"/>
                    <a:pt x="402" y="203"/>
                  </a:cubicBezTo>
                  <a:cubicBezTo>
                    <a:pt x="402" y="202"/>
                    <a:pt x="402" y="201"/>
                    <a:pt x="401" y="201"/>
                  </a:cubicBezTo>
                  <a:close/>
                  <a:moveTo>
                    <a:pt x="416" y="199"/>
                  </a:moveTo>
                  <a:cubicBezTo>
                    <a:pt x="417" y="201"/>
                    <a:pt x="419" y="203"/>
                    <a:pt x="419" y="204"/>
                  </a:cubicBezTo>
                  <a:cubicBezTo>
                    <a:pt x="419" y="205"/>
                    <a:pt x="419" y="207"/>
                    <a:pt x="419" y="208"/>
                  </a:cubicBezTo>
                  <a:cubicBezTo>
                    <a:pt x="419" y="209"/>
                    <a:pt x="421" y="209"/>
                    <a:pt x="421" y="210"/>
                  </a:cubicBezTo>
                  <a:cubicBezTo>
                    <a:pt x="421" y="210"/>
                    <a:pt x="421" y="213"/>
                    <a:pt x="420" y="212"/>
                  </a:cubicBezTo>
                  <a:cubicBezTo>
                    <a:pt x="421" y="215"/>
                    <a:pt x="421" y="215"/>
                    <a:pt x="421" y="215"/>
                  </a:cubicBezTo>
                  <a:cubicBezTo>
                    <a:pt x="423" y="213"/>
                    <a:pt x="427" y="212"/>
                    <a:pt x="425" y="208"/>
                  </a:cubicBezTo>
                  <a:cubicBezTo>
                    <a:pt x="425" y="207"/>
                    <a:pt x="423" y="206"/>
                    <a:pt x="423" y="206"/>
                  </a:cubicBezTo>
                  <a:cubicBezTo>
                    <a:pt x="423" y="204"/>
                    <a:pt x="423" y="204"/>
                    <a:pt x="423" y="204"/>
                  </a:cubicBezTo>
                  <a:cubicBezTo>
                    <a:pt x="424" y="205"/>
                    <a:pt x="424" y="203"/>
                    <a:pt x="424" y="202"/>
                  </a:cubicBezTo>
                  <a:cubicBezTo>
                    <a:pt x="421" y="200"/>
                    <a:pt x="422" y="200"/>
                    <a:pt x="416" y="199"/>
                  </a:cubicBezTo>
                  <a:close/>
                  <a:moveTo>
                    <a:pt x="402" y="187"/>
                  </a:moveTo>
                  <a:cubicBezTo>
                    <a:pt x="403" y="189"/>
                    <a:pt x="403" y="189"/>
                    <a:pt x="403" y="189"/>
                  </a:cubicBezTo>
                  <a:cubicBezTo>
                    <a:pt x="407" y="190"/>
                    <a:pt x="406" y="189"/>
                    <a:pt x="407" y="193"/>
                  </a:cubicBezTo>
                  <a:cubicBezTo>
                    <a:pt x="405" y="193"/>
                    <a:pt x="404" y="192"/>
                    <a:pt x="401" y="192"/>
                  </a:cubicBezTo>
                  <a:cubicBezTo>
                    <a:pt x="401" y="190"/>
                    <a:pt x="401" y="190"/>
                    <a:pt x="400" y="189"/>
                  </a:cubicBezTo>
                  <a:cubicBezTo>
                    <a:pt x="401" y="188"/>
                    <a:pt x="400" y="187"/>
                    <a:pt x="402" y="187"/>
                  </a:cubicBezTo>
                  <a:close/>
                  <a:moveTo>
                    <a:pt x="413" y="183"/>
                  </a:moveTo>
                  <a:cubicBezTo>
                    <a:pt x="413" y="183"/>
                    <a:pt x="413" y="185"/>
                    <a:pt x="413" y="185"/>
                  </a:cubicBezTo>
                  <a:cubicBezTo>
                    <a:pt x="411" y="186"/>
                    <a:pt x="412" y="183"/>
                    <a:pt x="413" y="183"/>
                  </a:cubicBezTo>
                  <a:close/>
                  <a:moveTo>
                    <a:pt x="176" y="246"/>
                  </a:moveTo>
                  <a:cubicBezTo>
                    <a:pt x="175" y="246"/>
                    <a:pt x="172" y="250"/>
                    <a:pt x="176" y="248"/>
                  </a:cubicBezTo>
                  <a:cubicBezTo>
                    <a:pt x="176" y="248"/>
                    <a:pt x="178" y="245"/>
                    <a:pt x="176" y="246"/>
                  </a:cubicBezTo>
                  <a:close/>
                  <a:moveTo>
                    <a:pt x="198" y="242"/>
                  </a:moveTo>
                  <a:cubicBezTo>
                    <a:pt x="197" y="243"/>
                    <a:pt x="194" y="248"/>
                    <a:pt x="197" y="246"/>
                  </a:cubicBezTo>
                  <a:cubicBezTo>
                    <a:pt x="198" y="246"/>
                    <a:pt x="199" y="242"/>
                    <a:pt x="198" y="242"/>
                  </a:cubicBezTo>
                  <a:close/>
                  <a:moveTo>
                    <a:pt x="192" y="239"/>
                  </a:moveTo>
                  <a:cubicBezTo>
                    <a:pt x="192" y="239"/>
                    <a:pt x="191" y="241"/>
                    <a:pt x="191" y="242"/>
                  </a:cubicBezTo>
                  <a:cubicBezTo>
                    <a:pt x="192" y="241"/>
                    <a:pt x="195" y="241"/>
                    <a:pt x="193" y="240"/>
                  </a:cubicBezTo>
                  <a:cubicBezTo>
                    <a:pt x="193" y="239"/>
                    <a:pt x="193" y="239"/>
                    <a:pt x="192" y="239"/>
                  </a:cubicBezTo>
                  <a:close/>
                  <a:moveTo>
                    <a:pt x="257" y="214"/>
                  </a:moveTo>
                  <a:cubicBezTo>
                    <a:pt x="256" y="216"/>
                    <a:pt x="256" y="216"/>
                    <a:pt x="256" y="216"/>
                  </a:cubicBezTo>
                  <a:cubicBezTo>
                    <a:pt x="257" y="216"/>
                    <a:pt x="258" y="216"/>
                    <a:pt x="258" y="216"/>
                  </a:cubicBezTo>
                  <a:cubicBezTo>
                    <a:pt x="258" y="216"/>
                    <a:pt x="260" y="213"/>
                    <a:pt x="257" y="214"/>
                  </a:cubicBezTo>
                  <a:close/>
                  <a:moveTo>
                    <a:pt x="257" y="198"/>
                  </a:moveTo>
                  <a:cubicBezTo>
                    <a:pt x="257" y="200"/>
                    <a:pt x="257" y="200"/>
                    <a:pt x="257" y="200"/>
                  </a:cubicBezTo>
                  <a:cubicBezTo>
                    <a:pt x="260" y="200"/>
                    <a:pt x="259" y="199"/>
                    <a:pt x="257" y="198"/>
                  </a:cubicBezTo>
                  <a:close/>
                  <a:moveTo>
                    <a:pt x="215" y="183"/>
                  </a:moveTo>
                  <a:cubicBezTo>
                    <a:pt x="216" y="182"/>
                    <a:pt x="216" y="185"/>
                    <a:pt x="215" y="185"/>
                  </a:cubicBezTo>
                  <a:cubicBezTo>
                    <a:pt x="214" y="184"/>
                    <a:pt x="214" y="183"/>
                    <a:pt x="215" y="183"/>
                  </a:cubicBezTo>
                  <a:close/>
                  <a:moveTo>
                    <a:pt x="309" y="167"/>
                  </a:moveTo>
                  <a:cubicBezTo>
                    <a:pt x="309" y="169"/>
                    <a:pt x="309" y="170"/>
                    <a:pt x="308" y="171"/>
                  </a:cubicBezTo>
                  <a:cubicBezTo>
                    <a:pt x="308" y="172"/>
                    <a:pt x="307" y="172"/>
                    <a:pt x="307" y="173"/>
                  </a:cubicBezTo>
                  <a:cubicBezTo>
                    <a:pt x="309" y="171"/>
                    <a:pt x="313" y="169"/>
                    <a:pt x="309" y="167"/>
                  </a:cubicBezTo>
                  <a:close/>
                  <a:moveTo>
                    <a:pt x="315" y="165"/>
                  </a:moveTo>
                  <a:cubicBezTo>
                    <a:pt x="315" y="167"/>
                    <a:pt x="315" y="167"/>
                    <a:pt x="315" y="167"/>
                  </a:cubicBezTo>
                  <a:cubicBezTo>
                    <a:pt x="317" y="167"/>
                    <a:pt x="317" y="165"/>
                    <a:pt x="315" y="165"/>
                  </a:cubicBezTo>
                  <a:close/>
                  <a:moveTo>
                    <a:pt x="306" y="164"/>
                  </a:moveTo>
                  <a:cubicBezTo>
                    <a:pt x="306" y="165"/>
                    <a:pt x="306" y="165"/>
                    <a:pt x="306" y="165"/>
                  </a:cubicBezTo>
                  <a:cubicBezTo>
                    <a:pt x="308" y="166"/>
                    <a:pt x="307" y="164"/>
                    <a:pt x="306" y="164"/>
                  </a:cubicBezTo>
                  <a:close/>
                  <a:moveTo>
                    <a:pt x="155" y="158"/>
                  </a:moveTo>
                  <a:cubicBezTo>
                    <a:pt x="155" y="159"/>
                    <a:pt x="153" y="159"/>
                    <a:pt x="154" y="161"/>
                  </a:cubicBezTo>
                  <a:cubicBezTo>
                    <a:pt x="155" y="161"/>
                    <a:pt x="155" y="161"/>
                    <a:pt x="155" y="161"/>
                  </a:cubicBezTo>
                  <a:cubicBezTo>
                    <a:pt x="156" y="161"/>
                    <a:pt x="155" y="162"/>
                    <a:pt x="157" y="163"/>
                  </a:cubicBezTo>
                  <a:cubicBezTo>
                    <a:pt x="157" y="164"/>
                    <a:pt x="157" y="164"/>
                    <a:pt x="157" y="164"/>
                  </a:cubicBezTo>
                  <a:cubicBezTo>
                    <a:pt x="159" y="163"/>
                    <a:pt x="164" y="162"/>
                    <a:pt x="159" y="159"/>
                  </a:cubicBezTo>
                  <a:cubicBezTo>
                    <a:pt x="158" y="158"/>
                    <a:pt x="157" y="159"/>
                    <a:pt x="155" y="158"/>
                  </a:cubicBezTo>
                  <a:close/>
                  <a:moveTo>
                    <a:pt x="157" y="129"/>
                  </a:moveTo>
                  <a:cubicBezTo>
                    <a:pt x="158" y="130"/>
                    <a:pt x="156" y="130"/>
                    <a:pt x="156" y="130"/>
                  </a:cubicBezTo>
                  <a:cubicBezTo>
                    <a:pt x="156" y="130"/>
                    <a:pt x="156" y="132"/>
                    <a:pt x="156" y="132"/>
                  </a:cubicBezTo>
                  <a:cubicBezTo>
                    <a:pt x="160" y="131"/>
                    <a:pt x="161" y="132"/>
                    <a:pt x="157" y="129"/>
                  </a:cubicBezTo>
                  <a:close/>
                  <a:moveTo>
                    <a:pt x="14" y="288"/>
                  </a:moveTo>
                  <a:cubicBezTo>
                    <a:pt x="13" y="290"/>
                    <a:pt x="13" y="290"/>
                    <a:pt x="13" y="290"/>
                  </a:cubicBezTo>
                  <a:cubicBezTo>
                    <a:pt x="14" y="290"/>
                    <a:pt x="16" y="292"/>
                    <a:pt x="16" y="292"/>
                  </a:cubicBezTo>
                  <a:cubicBezTo>
                    <a:pt x="18" y="292"/>
                    <a:pt x="18" y="292"/>
                    <a:pt x="18" y="292"/>
                  </a:cubicBezTo>
                  <a:cubicBezTo>
                    <a:pt x="18" y="292"/>
                    <a:pt x="18" y="291"/>
                    <a:pt x="18" y="290"/>
                  </a:cubicBezTo>
                  <a:cubicBezTo>
                    <a:pt x="17" y="289"/>
                    <a:pt x="15" y="288"/>
                    <a:pt x="14" y="288"/>
                  </a:cubicBezTo>
                  <a:close/>
                  <a:moveTo>
                    <a:pt x="42" y="284"/>
                  </a:moveTo>
                  <a:cubicBezTo>
                    <a:pt x="43" y="285"/>
                    <a:pt x="43" y="287"/>
                    <a:pt x="44" y="288"/>
                  </a:cubicBezTo>
                  <a:cubicBezTo>
                    <a:pt x="45" y="288"/>
                    <a:pt x="45" y="288"/>
                    <a:pt x="45" y="288"/>
                  </a:cubicBezTo>
                  <a:cubicBezTo>
                    <a:pt x="44" y="286"/>
                    <a:pt x="44" y="286"/>
                    <a:pt x="44" y="286"/>
                  </a:cubicBezTo>
                  <a:cubicBezTo>
                    <a:pt x="45" y="286"/>
                    <a:pt x="45" y="285"/>
                    <a:pt x="45" y="284"/>
                  </a:cubicBezTo>
                  <a:cubicBezTo>
                    <a:pt x="45" y="284"/>
                    <a:pt x="43" y="284"/>
                    <a:pt x="42" y="284"/>
                  </a:cubicBezTo>
                  <a:close/>
                  <a:moveTo>
                    <a:pt x="53" y="284"/>
                  </a:moveTo>
                  <a:cubicBezTo>
                    <a:pt x="52" y="284"/>
                    <a:pt x="52" y="287"/>
                    <a:pt x="52" y="288"/>
                  </a:cubicBezTo>
                  <a:cubicBezTo>
                    <a:pt x="52" y="287"/>
                    <a:pt x="54" y="285"/>
                    <a:pt x="54" y="285"/>
                  </a:cubicBezTo>
                  <a:cubicBezTo>
                    <a:pt x="54" y="285"/>
                    <a:pt x="53" y="282"/>
                    <a:pt x="53" y="284"/>
                  </a:cubicBezTo>
                  <a:close/>
                  <a:moveTo>
                    <a:pt x="49" y="284"/>
                  </a:moveTo>
                  <a:cubicBezTo>
                    <a:pt x="49" y="284"/>
                    <a:pt x="48" y="288"/>
                    <a:pt x="49" y="287"/>
                  </a:cubicBezTo>
                  <a:cubicBezTo>
                    <a:pt x="50" y="287"/>
                    <a:pt x="52" y="282"/>
                    <a:pt x="49" y="284"/>
                  </a:cubicBezTo>
                  <a:close/>
                  <a:moveTo>
                    <a:pt x="83" y="283"/>
                  </a:moveTo>
                  <a:cubicBezTo>
                    <a:pt x="83" y="283"/>
                    <a:pt x="82" y="284"/>
                    <a:pt x="82" y="284"/>
                  </a:cubicBezTo>
                  <a:cubicBezTo>
                    <a:pt x="83" y="284"/>
                    <a:pt x="84" y="284"/>
                    <a:pt x="85" y="284"/>
                  </a:cubicBezTo>
                  <a:cubicBezTo>
                    <a:pt x="85" y="284"/>
                    <a:pt x="85" y="283"/>
                    <a:pt x="85" y="283"/>
                  </a:cubicBezTo>
                  <a:cubicBezTo>
                    <a:pt x="84" y="283"/>
                    <a:pt x="83" y="283"/>
                    <a:pt x="83" y="283"/>
                  </a:cubicBezTo>
                  <a:close/>
                  <a:moveTo>
                    <a:pt x="20" y="282"/>
                  </a:moveTo>
                  <a:cubicBezTo>
                    <a:pt x="20" y="283"/>
                    <a:pt x="19" y="284"/>
                    <a:pt x="20" y="286"/>
                  </a:cubicBezTo>
                  <a:cubicBezTo>
                    <a:pt x="20" y="285"/>
                    <a:pt x="22" y="286"/>
                    <a:pt x="22" y="286"/>
                  </a:cubicBezTo>
                  <a:cubicBezTo>
                    <a:pt x="22" y="285"/>
                    <a:pt x="22" y="283"/>
                    <a:pt x="22" y="283"/>
                  </a:cubicBezTo>
                  <a:cubicBezTo>
                    <a:pt x="22" y="283"/>
                    <a:pt x="20" y="282"/>
                    <a:pt x="20" y="282"/>
                  </a:cubicBezTo>
                  <a:close/>
                  <a:moveTo>
                    <a:pt x="4" y="282"/>
                  </a:moveTo>
                  <a:cubicBezTo>
                    <a:pt x="3" y="282"/>
                    <a:pt x="0" y="287"/>
                    <a:pt x="4" y="286"/>
                  </a:cubicBezTo>
                  <a:cubicBezTo>
                    <a:pt x="4" y="285"/>
                    <a:pt x="4" y="282"/>
                    <a:pt x="4" y="282"/>
                  </a:cubicBezTo>
                  <a:close/>
                  <a:moveTo>
                    <a:pt x="71" y="278"/>
                  </a:moveTo>
                  <a:cubicBezTo>
                    <a:pt x="71" y="278"/>
                    <a:pt x="71" y="281"/>
                    <a:pt x="71" y="281"/>
                  </a:cubicBezTo>
                  <a:cubicBezTo>
                    <a:pt x="70" y="282"/>
                    <a:pt x="69" y="281"/>
                    <a:pt x="68" y="282"/>
                  </a:cubicBezTo>
                  <a:cubicBezTo>
                    <a:pt x="68" y="282"/>
                    <a:pt x="68" y="282"/>
                    <a:pt x="68" y="282"/>
                  </a:cubicBezTo>
                  <a:cubicBezTo>
                    <a:pt x="68" y="282"/>
                    <a:pt x="70" y="283"/>
                    <a:pt x="71" y="283"/>
                  </a:cubicBezTo>
                  <a:cubicBezTo>
                    <a:pt x="71" y="283"/>
                    <a:pt x="78" y="275"/>
                    <a:pt x="71" y="278"/>
                  </a:cubicBezTo>
                  <a:close/>
                  <a:moveTo>
                    <a:pt x="103" y="277"/>
                  </a:moveTo>
                  <a:cubicBezTo>
                    <a:pt x="101" y="277"/>
                    <a:pt x="104" y="278"/>
                    <a:pt x="105" y="278"/>
                  </a:cubicBezTo>
                  <a:cubicBezTo>
                    <a:pt x="104" y="278"/>
                    <a:pt x="105" y="277"/>
                    <a:pt x="103" y="277"/>
                  </a:cubicBezTo>
                  <a:close/>
                  <a:moveTo>
                    <a:pt x="109" y="275"/>
                  </a:moveTo>
                  <a:cubicBezTo>
                    <a:pt x="108" y="275"/>
                    <a:pt x="110" y="276"/>
                    <a:pt x="110" y="276"/>
                  </a:cubicBezTo>
                  <a:cubicBezTo>
                    <a:pt x="110" y="276"/>
                    <a:pt x="112" y="274"/>
                    <a:pt x="109" y="275"/>
                  </a:cubicBezTo>
                  <a:close/>
                  <a:moveTo>
                    <a:pt x="126" y="266"/>
                  </a:moveTo>
                  <a:cubicBezTo>
                    <a:pt x="126" y="266"/>
                    <a:pt x="126" y="266"/>
                    <a:pt x="126" y="266"/>
                  </a:cubicBezTo>
                  <a:cubicBezTo>
                    <a:pt x="123" y="268"/>
                    <a:pt x="125" y="268"/>
                    <a:pt x="125" y="268"/>
                  </a:cubicBezTo>
                  <a:cubicBezTo>
                    <a:pt x="124" y="269"/>
                    <a:pt x="123" y="268"/>
                    <a:pt x="122" y="269"/>
                  </a:cubicBezTo>
                  <a:cubicBezTo>
                    <a:pt x="122" y="270"/>
                    <a:pt x="122" y="270"/>
                    <a:pt x="122" y="270"/>
                  </a:cubicBezTo>
                  <a:cubicBezTo>
                    <a:pt x="121" y="270"/>
                    <a:pt x="121" y="270"/>
                    <a:pt x="121" y="270"/>
                  </a:cubicBezTo>
                  <a:cubicBezTo>
                    <a:pt x="121" y="271"/>
                    <a:pt x="122" y="272"/>
                    <a:pt x="121" y="273"/>
                  </a:cubicBezTo>
                  <a:cubicBezTo>
                    <a:pt x="123" y="273"/>
                    <a:pt x="123" y="273"/>
                    <a:pt x="123" y="273"/>
                  </a:cubicBezTo>
                  <a:cubicBezTo>
                    <a:pt x="124" y="273"/>
                    <a:pt x="125" y="269"/>
                    <a:pt x="127" y="268"/>
                  </a:cubicBezTo>
                  <a:cubicBezTo>
                    <a:pt x="128" y="268"/>
                    <a:pt x="128" y="268"/>
                    <a:pt x="128" y="268"/>
                  </a:cubicBezTo>
                  <a:cubicBezTo>
                    <a:pt x="128" y="268"/>
                    <a:pt x="128" y="266"/>
                    <a:pt x="128" y="266"/>
                  </a:cubicBezTo>
                  <a:cubicBezTo>
                    <a:pt x="127" y="266"/>
                    <a:pt x="126" y="265"/>
                    <a:pt x="126" y="266"/>
                  </a:cubicBezTo>
                  <a:close/>
                  <a:moveTo>
                    <a:pt x="137" y="262"/>
                  </a:moveTo>
                  <a:cubicBezTo>
                    <a:pt x="136" y="263"/>
                    <a:pt x="133" y="264"/>
                    <a:pt x="137" y="265"/>
                  </a:cubicBezTo>
                  <a:cubicBezTo>
                    <a:pt x="136" y="265"/>
                    <a:pt x="135" y="267"/>
                    <a:pt x="134" y="268"/>
                  </a:cubicBezTo>
                  <a:cubicBezTo>
                    <a:pt x="133" y="268"/>
                    <a:pt x="132" y="267"/>
                    <a:pt x="131" y="268"/>
                  </a:cubicBezTo>
                  <a:cubicBezTo>
                    <a:pt x="132" y="270"/>
                    <a:pt x="132" y="270"/>
                    <a:pt x="132" y="270"/>
                  </a:cubicBezTo>
                  <a:cubicBezTo>
                    <a:pt x="133" y="270"/>
                    <a:pt x="134" y="269"/>
                    <a:pt x="135" y="270"/>
                  </a:cubicBezTo>
                  <a:cubicBezTo>
                    <a:pt x="137" y="268"/>
                    <a:pt x="139" y="265"/>
                    <a:pt x="141" y="263"/>
                  </a:cubicBezTo>
                  <a:cubicBezTo>
                    <a:pt x="139" y="262"/>
                    <a:pt x="138" y="262"/>
                    <a:pt x="137" y="262"/>
                  </a:cubicBezTo>
                  <a:close/>
                  <a:moveTo>
                    <a:pt x="162" y="245"/>
                  </a:moveTo>
                  <a:cubicBezTo>
                    <a:pt x="161" y="246"/>
                    <a:pt x="161" y="246"/>
                    <a:pt x="161" y="246"/>
                  </a:cubicBezTo>
                  <a:cubicBezTo>
                    <a:pt x="160" y="247"/>
                    <a:pt x="158" y="246"/>
                    <a:pt x="157" y="246"/>
                  </a:cubicBezTo>
                  <a:cubicBezTo>
                    <a:pt x="156" y="248"/>
                    <a:pt x="156" y="250"/>
                    <a:pt x="155" y="251"/>
                  </a:cubicBezTo>
                  <a:cubicBezTo>
                    <a:pt x="154" y="251"/>
                    <a:pt x="154" y="251"/>
                    <a:pt x="154" y="251"/>
                  </a:cubicBezTo>
                  <a:cubicBezTo>
                    <a:pt x="154" y="252"/>
                    <a:pt x="154" y="252"/>
                    <a:pt x="154" y="253"/>
                  </a:cubicBezTo>
                  <a:cubicBezTo>
                    <a:pt x="155" y="253"/>
                    <a:pt x="156" y="253"/>
                    <a:pt x="156" y="253"/>
                  </a:cubicBezTo>
                  <a:cubicBezTo>
                    <a:pt x="157" y="253"/>
                    <a:pt x="160" y="250"/>
                    <a:pt x="161" y="250"/>
                  </a:cubicBezTo>
                  <a:cubicBezTo>
                    <a:pt x="165" y="249"/>
                    <a:pt x="166" y="250"/>
                    <a:pt x="167" y="248"/>
                  </a:cubicBezTo>
                  <a:cubicBezTo>
                    <a:pt x="167" y="247"/>
                    <a:pt x="169" y="248"/>
                    <a:pt x="167" y="247"/>
                  </a:cubicBezTo>
                  <a:cubicBezTo>
                    <a:pt x="166" y="246"/>
                    <a:pt x="166" y="245"/>
                    <a:pt x="162" y="245"/>
                  </a:cubicBezTo>
                  <a:close/>
                  <a:moveTo>
                    <a:pt x="430" y="226"/>
                  </a:moveTo>
                  <a:cubicBezTo>
                    <a:pt x="429" y="228"/>
                    <a:pt x="429" y="230"/>
                    <a:pt x="428" y="231"/>
                  </a:cubicBezTo>
                  <a:cubicBezTo>
                    <a:pt x="429" y="231"/>
                    <a:pt x="431" y="231"/>
                    <a:pt x="432" y="231"/>
                  </a:cubicBezTo>
                  <a:cubicBezTo>
                    <a:pt x="432" y="233"/>
                    <a:pt x="432" y="233"/>
                    <a:pt x="433" y="235"/>
                  </a:cubicBezTo>
                  <a:cubicBezTo>
                    <a:pt x="434" y="235"/>
                    <a:pt x="434" y="235"/>
                    <a:pt x="434" y="235"/>
                  </a:cubicBezTo>
                  <a:cubicBezTo>
                    <a:pt x="434" y="235"/>
                    <a:pt x="435" y="234"/>
                    <a:pt x="436" y="234"/>
                  </a:cubicBezTo>
                  <a:cubicBezTo>
                    <a:pt x="436" y="235"/>
                    <a:pt x="435" y="238"/>
                    <a:pt x="436" y="238"/>
                  </a:cubicBezTo>
                  <a:cubicBezTo>
                    <a:pt x="435" y="239"/>
                    <a:pt x="435" y="239"/>
                    <a:pt x="435" y="239"/>
                  </a:cubicBezTo>
                  <a:cubicBezTo>
                    <a:pt x="437" y="239"/>
                    <a:pt x="440" y="240"/>
                    <a:pt x="441" y="241"/>
                  </a:cubicBezTo>
                  <a:cubicBezTo>
                    <a:pt x="441" y="241"/>
                    <a:pt x="440" y="243"/>
                    <a:pt x="441" y="244"/>
                  </a:cubicBezTo>
                  <a:cubicBezTo>
                    <a:pt x="443" y="244"/>
                    <a:pt x="443" y="244"/>
                    <a:pt x="443" y="244"/>
                  </a:cubicBezTo>
                  <a:cubicBezTo>
                    <a:pt x="443" y="245"/>
                    <a:pt x="443" y="246"/>
                    <a:pt x="443" y="248"/>
                  </a:cubicBezTo>
                  <a:cubicBezTo>
                    <a:pt x="443" y="248"/>
                    <a:pt x="444" y="248"/>
                    <a:pt x="444" y="249"/>
                  </a:cubicBezTo>
                  <a:cubicBezTo>
                    <a:pt x="445" y="249"/>
                    <a:pt x="447" y="249"/>
                    <a:pt x="448" y="249"/>
                  </a:cubicBezTo>
                  <a:cubicBezTo>
                    <a:pt x="447" y="242"/>
                    <a:pt x="449" y="243"/>
                    <a:pt x="445" y="244"/>
                  </a:cubicBezTo>
                  <a:cubicBezTo>
                    <a:pt x="446" y="242"/>
                    <a:pt x="446" y="242"/>
                    <a:pt x="446" y="240"/>
                  </a:cubicBezTo>
                  <a:cubicBezTo>
                    <a:pt x="446" y="240"/>
                    <a:pt x="446" y="238"/>
                    <a:pt x="446" y="238"/>
                  </a:cubicBezTo>
                  <a:cubicBezTo>
                    <a:pt x="445" y="238"/>
                    <a:pt x="443" y="239"/>
                    <a:pt x="442" y="238"/>
                  </a:cubicBezTo>
                  <a:cubicBezTo>
                    <a:pt x="442" y="238"/>
                    <a:pt x="442" y="238"/>
                    <a:pt x="442" y="238"/>
                  </a:cubicBezTo>
                  <a:cubicBezTo>
                    <a:pt x="442" y="238"/>
                    <a:pt x="442" y="238"/>
                    <a:pt x="442" y="238"/>
                  </a:cubicBezTo>
                  <a:cubicBezTo>
                    <a:pt x="441" y="236"/>
                    <a:pt x="441" y="236"/>
                    <a:pt x="441" y="236"/>
                  </a:cubicBezTo>
                  <a:cubicBezTo>
                    <a:pt x="440" y="236"/>
                    <a:pt x="440" y="236"/>
                    <a:pt x="440" y="236"/>
                  </a:cubicBezTo>
                  <a:cubicBezTo>
                    <a:pt x="439" y="234"/>
                    <a:pt x="440" y="233"/>
                    <a:pt x="439" y="232"/>
                  </a:cubicBezTo>
                  <a:cubicBezTo>
                    <a:pt x="438" y="231"/>
                    <a:pt x="436" y="231"/>
                    <a:pt x="435" y="230"/>
                  </a:cubicBezTo>
                  <a:cubicBezTo>
                    <a:pt x="434" y="230"/>
                    <a:pt x="435" y="228"/>
                    <a:pt x="434" y="228"/>
                  </a:cubicBezTo>
                  <a:cubicBezTo>
                    <a:pt x="434" y="227"/>
                    <a:pt x="430" y="227"/>
                    <a:pt x="430" y="226"/>
                  </a:cubicBezTo>
                  <a:close/>
                  <a:moveTo>
                    <a:pt x="412" y="210"/>
                  </a:moveTo>
                  <a:cubicBezTo>
                    <a:pt x="412" y="210"/>
                    <a:pt x="411" y="213"/>
                    <a:pt x="411" y="214"/>
                  </a:cubicBezTo>
                  <a:cubicBezTo>
                    <a:pt x="411" y="215"/>
                    <a:pt x="413" y="217"/>
                    <a:pt x="414" y="218"/>
                  </a:cubicBezTo>
                  <a:cubicBezTo>
                    <a:pt x="414" y="218"/>
                    <a:pt x="414" y="219"/>
                    <a:pt x="414" y="220"/>
                  </a:cubicBezTo>
                  <a:cubicBezTo>
                    <a:pt x="414" y="220"/>
                    <a:pt x="417" y="221"/>
                    <a:pt x="417" y="221"/>
                  </a:cubicBezTo>
                  <a:cubicBezTo>
                    <a:pt x="418" y="222"/>
                    <a:pt x="417" y="223"/>
                    <a:pt x="418" y="224"/>
                  </a:cubicBezTo>
                  <a:cubicBezTo>
                    <a:pt x="418" y="225"/>
                    <a:pt x="420" y="225"/>
                    <a:pt x="420" y="226"/>
                  </a:cubicBezTo>
                  <a:cubicBezTo>
                    <a:pt x="421" y="224"/>
                    <a:pt x="421" y="224"/>
                    <a:pt x="421" y="222"/>
                  </a:cubicBezTo>
                  <a:cubicBezTo>
                    <a:pt x="422" y="223"/>
                    <a:pt x="422" y="223"/>
                    <a:pt x="422" y="225"/>
                  </a:cubicBezTo>
                  <a:cubicBezTo>
                    <a:pt x="423" y="225"/>
                    <a:pt x="425" y="225"/>
                    <a:pt x="425" y="225"/>
                  </a:cubicBezTo>
                  <a:cubicBezTo>
                    <a:pt x="423" y="226"/>
                    <a:pt x="424" y="229"/>
                    <a:pt x="425" y="230"/>
                  </a:cubicBezTo>
                  <a:cubicBezTo>
                    <a:pt x="425" y="230"/>
                    <a:pt x="427" y="229"/>
                    <a:pt x="427" y="228"/>
                  </a:cubicBezTo>
                  <a:cubicBezTo>
                    <a:pt x="427" y="227"/>
                    <a:pt x="427" y="224"/>
                    <a:pt x="427" y="224"/>
                  </a:cubicBezTo>
                  <a:cubicBezTo>
                    <a:pt x="427" y="224"/>
                    <a:pt x="427" y="224"/>
                    <a:pt x="427" y="224"/>
                  </a:cubicBezTo>
                  <a:cubicBezTo>
                    <a:pt x="429" y="224"/>
                    <a:pt x="428" y="226"/>
                    <a:pt x="430" y="225"/>
                  </a:cubicBezTo>
                  <a:cubicBezTo>
                    <a:pt x="430" y="225"/>
                    <a:pt x="432" y="224"/>
                    <a:pt x="430" y="224"/>
                  </a:cubicBezTo>
                  <a:cubicBezTo>
                    <a:pt x="431" y="223"/>
                    <a:pt x="430" y="222"/>
                    <a:pt x="430" y="222"/>
                  </a:cubicBezTo>
                  <a:cubicBezTo>
                    <a:pt x="430" y="222"/>
                    <a:pt x="431" y="222"/>
                    <a:pt x="432" y="222"/>
                  </a:cubicBezTo>
                  <a:cubicBezTo>
                    <a:pt x="431" y="221"/>
                    <a:pt x="432" y="220"/>
                    <a:pt x="432" y="218"/>
                  </a:cubicBezTo>
                  <a:cubicBezTo>
                    <a:pt x="431" y="215"/>
                    <a:pt x="427" y="216"/>
                    <a:pt x="424" y="216"/>
                  </a:cubicBezTo>
                  <a:cubicBezTo>
                    <a:pt x="425" y="216"/>
                    <a:pt x="425" y="220"/>
                    <a:pt x="424" y="220"/>
                  </a:cubicBezTo>
                  <a:cubicBezTo>
                    <a:pt x="425" y="221"/>
                    <a:pt x="426" y="221"/>
                    <a:pt x="426" y="221"/>
                  </a:cubicBezTo>
                  <a:cubicBezTo>
                    <a:pt x="429" y="223"/>
                    <a:pt x="424" y="222"/>
                    <a:pt x="424" y="222"/>
                  </a:cubicBezTo>
                  <a:cubicBezTo>
                    <a:pt x="424" y="221"/>
                    <a:pt x="424" y="220"/>
                    <a:pt x="423" y="219"/>
                  </a:cubicBezTo>
                  <a:cubicBezTo>
                    <a:pt x="423" y="219"/>
                    <a:pt x="421" y="221"/>
                    <a:pt x="421" y="220"/>
                  </a:cubicBezTo>
                  <a:cubicBezTo>
                    <a:pt x="419" y="219"/>
                    <a:pt x="420" y="215"/>
                    <a:pt x="418" y="213"/>
                  </a:cubicBezTo>
                  <a:cubicBezTo>
                    <a:pt x="418" y="213"/>
                    <a:pt x="417" y="213"/>
                    <a:pt x="416" y="213"/>
                  </a:cubicBezTo>
                  <a:cubicBezTo>
                    <a:pt x="416" y="212"/>
                    <a:pt x="416" y="212"/>
                    <a:pt x="416" y="212"/>
                  </a:cubicBezTo>
                  <a:cubicBezTo>
                    <a:pt x="415" y="212"/>
                    <a:pt x="413" y="211"/>
                    <a:pt x="412" y="210"/>
                  </a:cubicBezTo>
                  <a:close/>
                  <a:moveTo>
                    <a:pt x="258" y="202"/>
                  </a:moveTo>
                  <a:cubicBezTo>
                    <a:pt x="257" y="202"/>
                    <a:pt x="258" y="204"/>
                    <a:pt x="258" y="204"/>
                  </a:cubicBezTo>
                  <a:cubicBezTo>
                    <a:pt x="256" y="204"/>
                    <a:pt x="254" y="204"/>
                    <a:pt x="252" y="204"/>
                  </a:cubicBezTo>
                  <a:cubicBezTo>
                    <a:pt x="252" y="204"/>
                    <a:pt x="252" y="203"/>
                    <a:pt x="252" y="202"/>
                  </a:cubicBezTo>
                  <a:cubicBezTo>
                    <a:pt x="251" y="202"/>
                    <a:pt x="250" y="203"/>
                    <a:pt x="250" y="202"/>
                  </a:cubicBezTo>
                  <a:cubicBezTo>
                    <a:pt x="250" y="204"/>
                    <a:pt x="250" y="204"/>
                    <a:pt x="250" y="204"/>
                  </a:cubicBezTo>
                  <a:cubicBezTo>
                    <a:pt x="248" y="203"/>
                    <a:pt x="250" y="206"/>
                    <a:pt x="250" y="206"/>
                  </a:cubicBezTo>
                  <a:cubicBezTo>
                    <a:pt x="251" y="205"/>
                    <a:pt x="250" y="208"/>
                    <a:pt x="250" y="208"/>
                  </a:cubicBezTo>
                  <a:cubicBezTo>
                    <a:pt x="247" y="208"/>
                    <a:pt x="239" y="206"/>
                    <a:pt x="245" y="211"/>
                  </a:cubicBezTo>
                  <a:cubicBezTo>
                    <a:pt x="245" y="212"/>
                    <a:pt x="244" y="214"/>
                    <a:pt x="244" y="214"/>
                  </a:cubicBezTo>
                  <a:cubicBezTo>
                    <a:pt x="245" y="214"/>
                    <a:pt x="245" y="216"/>
                    <a:pt x="247" y="215"/>
                  </a:cubicBezTo>
                  <a:cubicBezTo>
                    <a:pt x="247" y="215"/>
                    <a:pt x="248" y="213"/>
                    <a:pt x="248" y="213"/>
                  </a:cubicBezTo>
                  <a:cubicBezTo>
                    <a:pt x="249" y="214"/>
                    <a:pt x="250" y="214"/>
                    <a:pt x="252" y="214"/>
                  </a:cubicBezTo>
                  <a:cubicBezTo>
                    <a:pt x="252" y="215"/>
                    <a:pt x="251" y="216"/>
                    <a:pt x="252" y="216"/>
                  </a:cubicBezTo>
                  <a:cubicBezTo>
                    <a:pt x="252" y="217"/>
                    <a:pt x="253" y="216"/>
                    <a:pt x="254" y="216"/>
                  </a:cubicBezTo>
                  <a:cubicBezTo>
                    <a:pt x="254" y="216"/>
                    <a:pt x="254" y="214"/>
                    <a:pt x="254" y="214"/>
                  </a:cubicBezTo>
                  <a:cubicBezTo>
                    <a:pt x="256" y="212"/>
                    <a:pt x="259" y="212"/>
                    <a:pt x="262" y="212"/>
                  </a:cubicBezTo>
                  <a:cubicBezTo>
                    <a:pt x="262" y="210"/>
                    <a:pt x="262" y="210"/>
                    <a:pt x="262" y="210"/>
                  </a:cubicBezTo>
                  <a:cubicBezTo>
                    <a:pt x="258" y="210"/>
                    <a:pt x="262" y="210"/>
                    <a:pt x="260" y="209"/>
                  </a:cubicBezTo>
                  <a:cubicBezTo>
                    <a:pt x="261" y="209"/>
                    <a:pt x="269" y="210"/>
                    <a:pt x="266" y="208"/>
                  </a:cubicBezTo>
                  <a:cubicBezTo>
                    <a:pt x="263" y="207"/>
                    <a:pt x="263" y="207"/>
                    <a:pt x="263" y="204"/>
                  </a:cubicBezTo>
                  <a:cubicBezTo>
                    <a:pt x="261" y="203"/>
                    <a:pt x="262" y="205"/>
                    <a:pt x="260" y="204"/>
                  </a:cubicBezTo>
                  <a:cubicBezTo>
                    <a:pt x="260" y="204"/>
                    <a:pt x="259" y="202"/>
                    <a:pt x="258" y="202"/>
                  </a:cubicBezTo>
                  <a:close/>
                  <a:moveTo>
                    <a:pt x="260" y="192"/>
                  </a:moveTo>
                  <a:cubicBezTo>
                    <a:pt x="259" y="194"/>
                    <a:pt x="256" y="199"/>
                    <a:pt x="260" y="198"/>
                  </a:cubicBezTo>
                  <a:cubicBezTo>
                    <a:pt x="260" y="198"/>
                    <a:pt x="261" y="197"/>
                    <a:pt x="261" y="196"/>
                  </a:cubicBezTo>
                  <a:cubicBezTo>
                    <a:pt x="262" y="196"/>
                    <a:pt x="262" y="197"/>
                    <a:pt x="263" y="196"/>
                  </a:cubicBezTo>
                  <a:cubicBezTo>
                    <a:pt x="262" y="197"/>
                    <a:pt x="264" y="198"/>
                    <a:pt x="264" y="198"/>
                  </a:cubicBezTo>
                  <a:cubicBezTo>
                    <a:pt x="265" y="198"/>
                    <a:pt x="265" y="197"/>
                    <a:pt x="266" y="197"/>
                  </a:cubicBezTo>
                  <a:cubicBezTo>
                    <a:pt x="263" y="194"/>
                    <a:pt x="263" y="194"/>
                    <a:pt x="263" y="194"/>
                  </a:cubicBezTo>
                  <a:cubicBezTo>
                    <a:pt x="263" y="194"/>
                    <a:pt x="263" y="193"/>
                    <a:pt x="263" y="192"/>
                  </a:cubicBezTo>
                  <a:cubicBezTo>
                    <a:pt x="262" y="192"/>
                    <a:pt x="261" y="193"/>
                    <a:pt x="260" y="192"/>
                  </a:cubicBezTo>
                  <a:close/>
                  <a:moveTo>
                    <a:pt x="145" y="166"/>
                  </a:moveTo>
                  <a:cubicBezTo>
                    <a:pt x="144" y="166"/>
                    <a:pt x="142" y="168"/>
                    <a:pt x="142" y="169"/>
                  </a:cubicBezTo>
                  <a:cubicBezTo>
                    <a:pt x="140" y="169"/>
                    <a:pt x="137" y="169"/>
                    <a:pt x="135" y="169"/>
                  </a:cubicBezTo>
                  <a:cubicBezTo>
                    <a:pt x="135" y="170"/>
                    <a:pt x="135" y="171"/>
                    <a:pt x="136" y="172"/>
                  </a:cubicBezTo>
                  <a:cubicBezTo>
                    <a:pt x="136" y="172"/>
                    <a:pt x="144" y="175"/>
                    <a:pt x="144" y="175"/>
                  </a:cubicBezTo>
                  <a:cubicBezTo>
                    <a:pt x="145" y="173"/>
                    <a:pt x="145" y="173"/>
                    <a:pt x="145" y="173"/>
                  </a:cubicBezTo>
                  <a:cubicBezTo>
                    <a:pt x="147" y="172"/>
                    <a:pt x="148" y="172"/>
                    <a:pt x="150" y="171"/>
                  </a:cubicBezTo>
                  <a:cubicBezTo>
                    <a:pt x="149" y="168"/>
                    <a:pt x="149" y="165"/>
                    <a:pt x="145" y="166"/>
                  </a:cubicBezTo>
                  <a:close/>
                  <a:moveTo>
                    <a:pt x="107" y="116"/>
                  </a:moveTo>
                  <a:cubicBezTo>
                    <a:pt x="106" y="116"/>
                    <a:pt x="105" y="119"/>
                    <a:pt x="105" y="119"/>
                  </a:cubicBezTo>
                  <a:cubicBezTo>
                    <a:pt x="104" y="119"/>
                    <a:pt x="99" y="118"/>
                    <a:pt x="99" y="118"/>
                  </a:cubicBezTo>
                  <a:cubicBezTo>
                    <a:pt x="98" y="118"/>
                    <a:pt x="98" y="118"/>
                    <a:pt x="97" y="117"/>
                  </a:cubicBezTo>
                  <a:cubicBezTo>
                    <a:pt x="97" y="118"/>
                    <a:pt x="96" y="119"/>
                    <a:pt x="96" y="119"/>
                  </a:cubicBezTo>
                  <a:cubicBezTo>
                    <a:pt x="96" y="120"/>
                    <a:pt x="97" y="123"/>
                    <a:pt x="97" y="123"/>
                  </a:cubicBezTo>
                  <a:cubicBezTo>
                    <a:pt x="101" y="122"/>
                    <a:pt x="107" y="120"/>
                    <a:pt x="111" y="123"/>
                  </a:cubicBezTo>
                  <a:cubicBezTo>
                    <a:pt x="112" y="123"/>
                    <a:pt x="112" y="125"/>
                    <a:pt x="113" y="125"/>
                  </a:cubicBezTo>
                  <a:cubicBezTo>
                    <a:pt x="114" y="126"/>
                    <a:pt x="115" y="125"/>
                    <a:pt x="116" y="127"/>
                  </a:cubicBezTo>
                  <a:cubicBezTo>
                    <a:pt x="116" y="127"/>
                    <a:pt x="116" y="129"/>
                    <a:pt x="116" y="129"/>
                  </a:cubicBezTo>
                  <a:cubicBezTo>
                    <a:pt x="116" y="129"/>
                    <a:pt x="118" y="129"/>
                    <a:pt x="119" y="129"/>
                  </a:cubicBezTo>
                  <a:cubicBezTo>
                    <a:pt x="119" y="129"/>
                    <a:pt x="119" y="127"/>
                    <a:pt x="119" y="126"/>
                  </a:cubicBezTo>
                  <a:cubicBezTo>
                    <a:pt x="119" y="126"/>
                    <a:pt x="120" y="126"/>
                    <a:pt x="121" y="126"/>
                  </a:cubicBezTo>
                  <a:cubicBezTo>
                    <a:pt x="121" y="126"/>
                    <a:pt x="121" y="124"/>
                    <a:pt x="122" y="124"/>
                  </a:cubicBezTo>
                  <a:cubicBezTo>
                    <a:pt x="118" y="123"/>
                    <a:pt x="115" y="123"/>
                    <a:pt x="113" y="121"/>
                  </a:cubicBezTo>
                  <a:cubicBezTo>
                    <a:pt x="112" y="119"/>
                    <a:pt x="110" y="115"/>
                    <a:pt x="107" y="116"/>
                  </a:cubicBezTo>
                  <a:close/>
                  <a:moveTo>
                    <a:pt x="176" y="74"/>
                  </a:moveTo>
                  <a:cubicBezTo>
                    <a:pt x="176" y="74"/>
                    <a:pt x="176" y="75"/>
                    <a:pt x="176" y="75"/>
                  </a:cubicBezTo>
                  <a:cubicBezTo>
                    <a:pt x="178" y="76"/>
                    <a:pt x="177" y="74"/>
                    <a:pt x="176" y="74"/>
                  </a:cubicBezTo>
                  <a:close/>
                  <a:moveTo>
                    <a:pt x="358" y="22"/>
                  </a:moveTo>
                  <a:cubicBezTo>
                    <a:pt x="358" y="22"/>
                    <a:pt x="357" y="20"/>
                    <a:pt x="357" y="20"/>
                  </a:cubicBezTo>
                  <a:cubicBezTo>
                    <a:pt x="355" y="19"/>
                    <a:pt x="354" y="19"/>
                    <a:pt x="351" y="18"/>
                  </a:cubicBezTo>
                  <a:cubicBezTo>
                    <a:pt x="351" y="17"/>
                    <a:pt x="351" y="17"/>
                    <a:pt x="351" y="17"/>
                  </a:cubicBezTo>
                  <a:cubicBezTo>
                    <a:pt x="348" y="17"/>
                    <a:pt x="347" y="19"/>
                    <a:pt x="344" y="18"/>
                  </a:cubicBezTo>
                  <a:cubicBezTo>
                    <a:pt x="343" y="18"/>
                    <a:pt x="342" y="16"/>
                    <a:pt x="342" y="16"/>
                  </a:cubicBezTo>
                  <a:cubicBezTo>
                    <a:pt x="342" y="16"/>
                    <a:pt x="340" y="16"/>
                    <a:pt x="340" y="16"/>
                  </a:cubicBezTo>
                  <a:cubicBezTo>
                    <a:pt x="340" y="17"/>
                    <a:pt x="339" y="18"/>
                    <a:pt x="339" y="19"/>
                  </a:cubicBezTo>
                  <a:cubicBezTo>
                    <a:pt x="340" y="20"/>
                    <a:pt x="337" y="20"/>
                    <a:pt x="337" y="20"/>
                  </a:cubicBezTo>
                  <a:cubicBezTo>
                    <a:pt x="337" y="20"/>
                    <a:pt x="336" y="18"/>
                    <a:pt x="335" y="18"/>
                  </a:cubicBezTo>
                  <a:cubicBezTo>
                    <a:pt x="334" y="18"/>
                    <a:pt x="334" y="20"/>
                    <a:pt x="333" y="20"/>
                  </a:cubicBezTo>
                  <a:cubicBezTo>
                    <a:pt x="332" y="20"/>
                    <a:pt x="332" y="18"/>
                    <a:pt x="332" y="18"/>
                  </a:cubicBezTo>
                  <a:cubicBezTo>
                    <a:pt x="327" y="17"/>
                    <a:pt x="325" y="17"/>
                    <a:pt x="321" y="17"/>
                  </a:cubicBezTo>
                  <a:cubicBezTo>
                    <a:pt x="320" y="15"/>
                    <a:pt x="320" y="15"/>
                    <a:pt x="320" y="15"/>
                  </a:cubicBezTo>
                  <a:cubicBezTo>
                    <a:pt x="317" y="14"/>
                    <a:pt x="316" y="16"/>
                    <a:pt x="314" y="16"/>
                  </a:cubicBezTo>
                  <a:cubicBezTo>
                    <a:pt x="309" y="16"/>
                    <a:pt x="306" y="14"/>
                    <a:pt x="301" y="15"/>
                  </a:cubicBezTo>
                  <a:cubicBezTo>
                    <a:pt x="300" y="14"/>
                    <a:pt x="300" y="14"/>
                    <a:pt x="300" y="14"/>
                  </a:cubicBezTo>
                  <a:cubicBezTo>
                    <a:pt x="298" y="13"/>
                    <a:pt x="298" y="15"/>
                    <a:pt x="296" y="14"/>
                  </a:cubicBezTo>
                  <a:cubicBezTo>
                    <a:pt x="295" y="14"/>
                    <a:pt x="293" y="11"/>
                    <a:pt x="292" y="11"/>
                  </a:cubicBezTo>
                  <a:cubicBezTo>
                    <a:pt x="291" y="11"/>
                    <a:pt x="291" y="12"/>
                    <a:pt x="289" y="12"/>
                  </a:cubicBezTo>
                  <a:cubicBezTo>
                    <a:pt x="289" y="10"/>
                    <a:pt x="289" y="10"/>
                    <a:pt x="289" y="10"/>
                  </a:cubicBezTo>
                  <a:cubicBezTo>
                    <a:pt x="286" y="10"/>
                    <a:pt x="285" y="12"/>
                    <a:pt x="283" y="12"/>
                  </a:cubicBezTo>
                  <a:cubicBezTo>
                    <a:pt x="282" y="13"/>
                    <a:pt x="281" y="12"/>
                    <a:pt x="279" y="12"/>
                  </a:cubicBezTo>
                  <a:cubicBezTo>
                    <a:pt x="279" y="12"/>
                    <a:pt x="278" y="14"/>
                    <a:pt x="277" y="14"/>
                  </a:cubicBezTo>
                  <a:cubicBezTo>
                    <a:pt x="276" y="14"/>
                    <a:pt x="272" y="11"/>
                    <a:pt x="270" y="11"/>
                  </a:cubicBezTo>
                  <a:cubicBezTo>
                    <a:pt x="269" y="11"/>
                    <a:pt x="267" y="11"/>
                    <a:pt x="266" y="11"/>
                  </a:cubicBezTo>
                  <a:cubicBezTo>
                    <a:pt x="265" y="10"/>
                    <a:pt x="265" y="10"/>
                    <a:pt x="265" y="10"/>
                  </a:cubicBezTo>
                  <a:cubicBezTo>
                    <a:pt x="263" y="9"/>
                    <a:pt x="261" y="10"/>
                    <a:pt x="260" y="10"/>
                  </a:cubicBezTo>
                  <a:cubicBezTo>
                    <a:pt x="260" y="8"/>
                    <a:pt x="260" y="8"/>
                    <a:pt x="260" y="8"/>
                  </a:cubicBezTo>
                  <a:cubicBezTo>
                    <a:pt x="262" y="9"/>
                    <a:pt x="260" y="7"/>
                    <a:pt x="260" y="7"/>
                  </a:cubicBezTo>
                  <a:cubicBezTo>
                    <a:pt x="260" y="7"/>
                    <a:pt x="256" y="6"/>
                    <a:pt x="256" y="6"/>
                  </a:cubicBezTo>
                  <a:cubicBezTo>
                    <a:pt x="253" y="6"/>
                    <a:pt x="248" y="9"/>
                    <a:pt x="245" y="8"/>
                  </a:cubicBezTo>
                  <a:cubicBezTo>
                    <a:pt x="242" y="8"/>
                    <a:pt x="243" y="6"/>
                    <a:pt x="242" y="4"/>
                  </a:cubicBezTo>
                  <a:cubicBezTo>
                    <a:pt x="240" y="4"/>
                    <a:pt x="240" y="5"/>
                    <a:pt x="240" y="6"/>
                  </a:cubicBezTo>
                  <a:cubicBezTo>
                    <a:pt x="239" y="6"/>
                    <a:pt x="238" y="5"/>
                    <a:pt x="237" y="6"/>
                  </a:cubicBezTo>
                  <a:cubicBezTo>
                    <a:pt x="236" y="6"/>
                    <a:pt x="234" y="8"/>
                    <a:pt x="233" y="8"/>
                  </a:cubicBezTo>
                  <a:cubicBezTo>
                    <a:pt x="233" y="6"/>
                    <a:pt x="233" y="5"/>
                    <a:pt x="234" y="3"/>
                  </a:cubicBezTo>
                  <a:cubicBezTo>
                    <a:pt x="231" y="2"/>
                    <a:pt x="226" y="0"/>
                    <a:pt x="223" y="0"/>
                  </a:cubicBezTo>
                  <a:cubicBezTo>
                    <a:pt x="222" y="2"/>
                    <a:pt x="222" y="2"/>
                    <a:pt x="222" y="2"/>
                  </a:cubicBezTo>
                  <a:cubicBezTo>
                    <a:pt x="220" y="3"/>
                    <a:pt x="215" y="7"/>
                    <a:pt x="212" y="8"/>
                  </a:cubicBezTo>
                  <a:cubicBezTo>
                    <a:pt x="210" y="8"/>
                    <a:pt x="208" y="7"/>
                    <a:pt x="206" y="8"/>
                  </a:cubicBezTo>
                  <a:cubicBezTo>
                    <a:pt x="205" y="8"/>
                    <a:pt x="204" y="9"/>
                    <a:pt x="204" y="10"/>
                  </a:cubicBezTo>
                  <a:cubicBezTo>
                    <a:pt x="203" y="8"/>
                    <a:pt x="203" y="8"/>
                    <a:pt x="202" y="7"/>
                  </a:cubicBezTo>
                  <a:cubicBezTo>
                    <a:pt x="201" y="8"/>
                    <a:pt x="201" y="9"/>
                    <a:pt x="200" y="10"/>
                  </a:cubicBezTo>
                  <a:cubicBezTo>
                    <a:pt x="199" y="10"/>
                    <a:pt x="199" y="10"/>
                    <a:pt x="199" y="10"/>
                  </a:cubicBezTo>
                  <a:cubicBezTo>
                    <a:pt x="199" y="10"/>
                    <a:pt x="198" y="9"/>
                    <a:pt x="197" y="10"/>
                  </a:cubicBezTo>
                  <a:cubicBezTo>
                    <a:pt x="197" y="10"/>
                    <a:pt x="197" y="12"/>
                    <a:pt x="197" y="12"/>
                  </a:cubicBezTo>
                  <a:cubicBezTo>
                    <a:pt x="196" y="12"/>
                    <a:pt x="195" y="13"/>
                    <a:pt x="194" y="13"/>
                  </a:cubicBezTo>
                  <a:cubicBezTo>
                    <a:pt x="192" y="14"/>
                    <a:pt x="189" y="12"/>
                    <a:pt x="187" y="13"/>
                  </a:cubicBezTo>
                  <a:cubicBezTo>
                    <a:pt x="186" y="13"/>
                    <a:pt x="185" y="15"/>
                    <a:pt x="184" y="16"/>
                  </a:cubicBezTo>
                  <a:cubicBezTo>
                    <a:pt x="183" y="16"/>
                    <a:pt x="182" y="15"/>
                    <a:pt x="182" y="16"/>
                  </a:cubicBezTo>
                  <a:cubicBezTo>
                    <a:pt x="180" y="17"/>
                    <a:pt x="180" y="20"/>
                    <a:pt x="178" y="22"/>
                  </a:cubicBezTo>
                  <a:cubicBezTo>
                    <a:pt x="177" y="23"/>
                    <a:pt x="175" y="22"/>
                    <a:pt x="174" y="24"/>
                  </a:cubicBezTo>
                  <a:cubicBezTo>
                    <a:pt x="174" y="25"/>
                    <a:pt x="174" y="27"/>
                    <a:pt x="174" y="29"/>
                  </a:cubicBezTo>
                  <a:cubicBezTo>
                    <a:pt x="173" y="30"/>
                    <a:pt x="171" y="31"/>
                    <a:pt x="171" y="32"/>
                  </a:cubicBezTo>
                  <a:cubicBezTo>
                    <a:pt x="170" y="34"/>
                    <a:pt x="170" y="37"/>
                    <a:pt x="170" y="39"/>
                  </a:cubicBezTo>
                  <a:cubicBezTo>
                    <a:pt x="166" y="39"/>
                    <a:pt x="163" y="41"/>
                    <a:pt x="160" y="42"/>
                  </a:cubicBezTo>
                  <a:cubicBezTo>
                    <a:pt x="158" y="42"/>
                    <a:pt x="157" y="40"/>
                    <a:pt x="155" y="41"/>
                  </a:cubicBezTo>
                  <a:cubicBezTo>
                    <a:pt x="154" y="42"/>
                    <a:pt x="154" y="42"/>
                    <a:pt x="154" y="42"/>
                  </a:cubicBezTo>
                  <a:cubicBezTo>
                    <a:pt x="150" y="43"/>
                    <a:pt x="147" y="42"/>
                    <a:pt x="144" y="42"/>
                  </a:cubicBezTo>
                  <a:cubicBezTo>
                    <a:pt x="144" y="45"/>
                    <a:pt x="145" y="47"/>
                    <a:pt x="145" y="50"/>
                  </a:cubicBezTo>
                  <a:cubicBezTo>
                    <a:pt x="144" y="51"/>
                    <a:pt x="144" y="50"/>
                    <a:pt x="143" y="52"/>
                  </a:cubicBezTo>
                  <a:cubicBezTo>
                    <a:pt x="142" y="51"/>
                    <a:pt x="143" y="51"/>
                    <a:pt x="141" y="52"/>
                  </a:cubicBezTo>
                  <a:cubicBezTo>
                    <a:pt x="143" y="52"/>
                    <a:pt x="145" y="52"/>
                    <a:pt x="147" y="53"/>
                  </a:cubicBezTo>
                  <a:cubicBezTo>
                    <a:pt x="148" y="53"/>
                    <a:pt x="148" y="56"/>
                    <a:pt x="150" y="56"/>
                  </a:cubicBezTo>
                  <a:cubicBezTo>
                    <a:pt x="152" y="57"/>
                    <a:pt x="152" y="56"/>
                    <a:pt x="154" y="57"/>
                  </a:cubicBezTo>
                  <a:cubicBezTo>
                    <a:pt x="155" y="58"/>
                    <a:pt x="159" y="62"/>
                    <a:pt x="160" y="63"/>
                  </a:cubicBezTo>
                  <a:cubicBezTo>
                    <a:pt x="162" y="63"/>
                    <a:pt x="163" y="62"/>
                    <a:pt x="164" y="63"/>
                  </a:cubicBezTo>
                  <a:cubicBezTo>
                    <a:pt x="164" y="63"/>
                    <a:pt x="166" y="65"/>
                    <a:pt x="164" y="64"/>
                  </a:cubicBezTo>
                  <a:cubicBezTo>
                    <a:pt x="165" y="65"/>
                    <a:pt x="165" y="69"/>
                    <a:pt x="165" y="69"/>
                  </a:cubicBezTo>
                  <a:cubicBezTo>
                    <a:pt x="167" y="69"/>
                    <a:pt x="168" y="70"/>
                    <a:pt x="170" y="70"/>
                  </a:cubicBezTo>
                  <a:cubicBezTo>
                    <a:pt x="170" y="68"/>
                    <a:pt x="170" y="68"/>
                    <a:pt x="170" y="68"/>
                  </a:cubicBezTo>
                  <a:cubicBezTo>
                    <a:pt x="171" y="68"/>
                    <a:pt x="173" y="67"/>
                    <a:pt x="174" y="67"/>
                  </a:cubicBezTo>
                  <a:cubicBezTo>
                    <a:pt x="174" y="68"/>
                    <a:pt x="174" y="68"/>
                    <a:pt x="174" y="68"/>
                  </a:cubicBezTo>
                  <a:cubicBezTo>
                    <a:pt x="175" y="68"/>
                    <a:pt x="175" y="69"/>
                    <a:pt x="176" y="70"/>
                  </a:cubicBezTo>
                  <a:cubicBezTo>
                    <a:pt x="178" y="70"/>
                    <a:pt x="181" y="69"/>
                    <a:pt x="182" y="68"/>
                  </a:cubicBezTo>
                  <a:cubicBezTo>
                    <a:pt x="182" y="68"/>
                    <a:pt x="183" y="72"/>
                    <a:pt x="182" y="71"/>
                  </a:cubicBezTo>
                  <a:cubicBezTo>
                    <a:pt x="181" y="71"/>
                    <a:pt x="181" y="72"/>
                    <a:pt x="180" y="72"/>
                  </a:cubicBezTo>
                  <a:cubicBezTo>
                    <a:pt x="180" y="74"/>
                    <a:pt x="180" y="74"/>
                    <a:pt x="180" y="74"/>
                  </a:cubicBezTo>
                  <a:cubicBezTo>
                    <a:pt x="182" y="75"/>
                    <a:pt x="182" y="74"/>
                    <a:pt x="183" y="74"/>
                  </a:cubicBezTo>
                  <a:cubicBezTo>
                    <a:pt x="184" y="75"/>
                    <a:pt x="184" y="75"/>
                    <a:pt x="184" y="75"/>
                  </a:cubicBezTo>
                  <a:cubicBezTo>
                    <a:pt x="186" y="76"/>
                    <a:pt x="189" y="75"/>
                    <a:pt x="192" y="75"/>
                  </a:cubicBezTo>
                  <a:cubicBezTo>
                    <a:pt x="192" y="75"/>
                    <a:pt x="191" y="78"/>
                    <a:pt x="192" y="78"/>
                  </a:cubicBezTo>
                  <a:cubicBezTo>
                    <a:pt x="189" y="78"/>
                    <a:pt x="175" y="78"/>
                    <a:pt x="182" y="81"/>
                  </a:cubicBezTo>
                  <a:cubicBezTo>
                    <a:pt x="182" y="81"/>
                    <a:pt x="183" y="80"/>
                    <a:pt x="184" y="80"/>
                  </a:cubicBezTo>
                  <a:cubicBezTo>
                    <a:pt x="187" y="81"/>
                    <a:pt x="185" y="82"/>
                    <a:pt x="186" y="85"/>
                  </a:cubicBezTo>
                  <a:cubicBezTo>
                    <a:pt x="182" y="84"/>
                    <a:pt x="182" y="83"/>
                    <a:pt x="180" y="87"/>
                  </a:cubicBezTo>
                  <a:cubicBezTo>
                    <a:pt x="180" y="85"/>
                    <a:pt x="180" y="85"/>
                    <a:pt x="180" y="85"/>
                  </a:cubicBezTo>
                  <a:cubicBezTo>
                    <a:pt x="176" y="85"/>
                    <a:pt x="171" y="86"/>
                    <a:pt x="166" y="85"/>
                  </a:cubicBezTo>
                  <a:cubicBezTo>
                    <a:pt x="166" y="85"/>
                    <a:pt x="166" y="83"/>
                    <a:pt x="165" y="83"/>
                  </a:cubicBezTo>
                  <a:cubicBezTo>
                    <a:pt x="164" y="82"/>
                    <a:pt x="163" y="83"/>
                    <a:pt x="162" y="83"/>
                  </a:cubicBezTo>
                  <a:cubicBezTo>
                    <a:pt x="162" y="81"/>
                    <a:pt x="162" y="82"/>
                    <a:pt x="164" y="81"/>
                  </a:cubicBezTo>
                  <a:cubicBezTo>
                    <a:pt x="163" y="79"/>
                    <a:pt x="164" y="77"/>
                    <a:pt x="163" y="75"/>
                  </a:cubicBezTo>
                  <a:cubicBezTo>
                    <a:pt x="163" y="75"/>
                    <a:pt x="162" y="74"/>
                    <a:pt x="162" y="74"/>
                  </a:cubicBezTo>
                  <a:cubicBezTo>
                    <a:pt x="161" y="74"/>
                    <a:pt x="159" y="73"/>
                    <a:pt x="158" y="74"/>
                  </a:cubicBezTo>
                  <a:cubicBezTo>
                    <a:pt x="157" y="74"/>
                    <a:pt x="157" y="75"/>
                    <a:pt x="156" y="75"/>
                  </a:cubicBezTo>
                  <a:cubicBezTo>
                    <a:pt x="154" y="77"/>
                    <a:pt x="149" y="78"/>
                    <a:pt x="147" y="79"/>
                  </a:cubicBezTo>
                  <a:cubicBezTo>
                    <a:pt x="147" y="80"/>
                    <a:pt x="147" y="83"/>
                    <a:pt x="147" y="83"/>
                  </a:cubicBezTo>
                  <a:cubicBezTo>
                    <a:pt x="146" y="84"/>
                    <a:pt x="146" y="83"/>
                    <a:pt x="145" y="84"/>
                  </a:cubicBezTo>
                  <a:cubicBezTo>
                    <a:pt x="141" y="83"/>
                    <a:pt x="138" y="83"/>
                    <a:pt x="134" y="85"/>
                  </a:cubicBezTo>
                  <a:cubicBezTo>
                    <a:pt x="133" y="86"/>
                    <a:pt x="131" y="88"/>
                    <a:pt x="130" y="89"/>
                  </a:cubicBezTo>
                  <a:cubicBezTo>
                    <a:pt x="130" y="91"/>
                    <a:pt x="130" y="91"/>
                    <a:pt x="130" y="91"/>
                  </a:cubicBezTo>
                  <a:cubicBezTo>
                    <a:pt x="135" y="91"/>
                    <a:pt x="135" y="92"/>
                    <a:pt x="139" y="93"/>
                  </a:cubicBezTo>
                  <a:cubicBezTo>
                    <a:pt x="140" y="93"/>
                    <a:pt x="142" y="93"/>
                    <a:pt x="143" y="93"/>
                  </a:cubicBezTo>
                  <a:cubicBezTo>
                    <a:pt x="143" y="95"/>
                    <a:pt x="143" y="95"/>
                    <a:pt x="143" y="95"/>
                  </a:cubicBezTo>
                  <a:cubicBezTo>
                    <a:pt x="140" y="95"/>
                    <a:pt x="139" y="95"/>
                    <a:pt x="137" y="96"/>
                  </a:cubicBezTo>
                  <a:cubicBezTo>
                    <a:pt x="137" y="96"/>
                    <a:pt x="137" y="98"/>
                    <a:pt x="138" y="97"/>
                  </a:cubicBezTo>
                  <a:cubicBezTo>
                    <a:pt x="139" y="98"/>
                    <a:pt x="141" y="99"/>
                    <a:pt x="141" y="100"/>
                  </a:cubicBezTo>
                  <a:cubicBezTo>
                    <a:pt x="142" y="101"/>
                    <a:pt x="142" y="103"/>
                    <a:pt x="143" y="104"/>
                  </a:cubicBezTo>
                  <a:cubicBezTo>
                    <a:pt x="152" y="107"/>
                    <a:pt x="152" y="107"/>
                    <a:pt x="152" y="107"/>
                  </a:cubicBezTo>
                  <a:cubicBezTo>
                    <a:pt x="154" y="107"/>
                    <a:pt x="154" y="105"/>
                    <a:pt x="155" y="105"/>
                  </a:cubicBezTo>
                  <a:cubicBezTo>
                    <a:pt x="159" y="104"/>
                    <a:pt x="165" y="104"/>
                    <a:pt x="168" y="104"/>
                  </a:cubicBezTo>
                  <a:cubicBezTo>
                    <a:pt x="169" y="103"/>
                    <a:pt x="168" y="103"/>
                    <a:pt x="169" y="102"/>
                  </a:cubicBezTo>
                  <a:cubicBezTo>
                    <a:pt x="170" y="103"/>
                    <a:pt x="172" y="105"/>
                    <a:pt x="172" y="105"/>
                  </a:cubicBezTo>
                  <a:cubicBezTo>
                    <a:pt x="173" y="106"/>
                    <a:pt x="172" y="107"/>
                    <a:pt x="172" y="107"/>
                  </a:cubicBezTo>
                  <a:cubicBezTo>
                    <a:pt x="173" y="108"/>
                    <a:pt x="174" y="108"/>
                    <a:pt x="174" y="108"/>
                  </a:cubicBezTo>
                  <a:cubicBezTo>
                    <a:pt x="175" y="108"/>
                    <a:pt x="177" y="104"/>
                    <a:pt x="178" y="104"/>
                  </a:cubicBezTo>
                  <a:cubicBezTo>
                    <a:pt x="182" y="103"/>
                    <a:pt x="188" y="103"/>
                    <a:pt x="191" y="103"/>
                  </a:cubicBezTo>
                  <a:cubicBezTo>
                    <a:pt x="191" y="104"/>
                    <a:pt x="191" y="105"/>
                    <a:pt x="191" y="106"/>
                  </a:cubicBezTo>
                  <a:cubicBezTo>
                    <a:pt x="191" y="107"/>
                    <a:pt x="189" y="107"/>
                    <a:pt x="188" y="108"/>
                  </a:cubicBezTo>
                  <a:cubicBezTo>
                    <a:pt x="188" y="110"/>
                    <a:pt x="190" y="113"/>
                    <a:pt x="190" y="115"/>
                  </a:cubicBezTo>
                  <a:cubicBezTo>
                    <a:pt x="191" y="117"/>
                    <a:pt x="190" y="119"/>
                    <a:pt x="190" y="121"/>
                  </a:cubicBezTo>
                  <a:cubicBezTo>
                    <a:pt x="188" y="121"/>
                    <a:pt x="185" y="123"/>
                    <a:pt x="183" y="123"/>
                  </a:cubicBezTo>
                  <a:cubicBezTo>
                    <a:pt x="181" y="123"/>
                    <a:pt x="181" y="122"/>
                    <a:pt x="179" y="123"/>
                  </a:cubicBezTo>
                  <a:cubicBezTo>
                    <a:pt x="179" y="123"/>
                    <a:pt x="179" y="124"/>
                    <a:pt x="178" y="125"/>
                  </a:cubicBezTo>
                  <a:cubicBezTo>
                    <a:pt x="177" y="126"/>
                    <a:pt x="172" y="129"/>
                    <a:pt x="168" y="128"/>
                  </a:cubicBezTo>
                  <a:cubicBezTo>
                    <a:pt x="166" y="127"/>
                    <a:pt x="166" y="124"/>
                    <a:pt x="162" y="124"/>
                  </a:cubicBezTo>
                  <a:cubicBezTo>
                    <a:pt x="161" y="124"/>
                    <a:pt x="159" y="126"/>
                    <a:pt x="158" y="127"/>
                  </a:cubicBezTo>
                  <a:cubicBezTo>
                    <a:pt x="158" y="127"/>
                    <a:pt x="158" y="129"/>
                    <a:pt x="158" y="128"/>
                  </a:cubicBezTo>
                  <a:cubicBezTo>
                    <a:pt x="159" y="128"/>
                    <a:pt x="158" y="129"/>
                    <a:pt x="159" y="129"/>
                  </a:cubicBezTo>
                  <a:cubicBezTo>
                    <a:pt x="160" y="131"/>
                    <a:pt x="161" y="132"/>
                    <a:pt x="161" y="136"/>
                  </a:cubicBezTo>
                  <a:cubicBezTo>
                    <a:pt x="160" y="135"/>
                    <a:pt x="161" y="135"/>
                    <a:pt x="160" y="134"/>
                  </a:cubicBezTo>
                  <a:cubicBezTo>
                    <a:pt x="159" y="134"/>
                    <a:pt x="158" y="134"/>
                    <a:pt x="157" y="133"/>
                  </a:cubicBezTo>
                  <a:cubicBezTo>
                    <a:pt x="156" y="138"/>
                    <a:pt x="156" y="138"/>
                    <a:pt x="156" y="138"/>
                  </a:cubicBezTo>
                  <a:cubicBezTo>
                    <a:pt x="156" y="138"/>
                    <a:pt x="154" y="138"/>
                    <a:pt x="154" y="138"/>
                  </a:cubicBezTo>
                  <a:cubicBezTo>
                    <a:pt x="153" y="138"/>
                    <a:pt x="149" y="141"/>
                    <a:pt x="149" y="142"/>
                  </a:cubicBezTo>
                  <a:cubicBezTo>
                    <a:pt x="149" y="143"/>
                    <a:pt x="150" y="145"/>
                    <a:pt x="149" y="146"/>
                  </a:cubicBezTo>
                  <a:cubicBezTo>
                    <a:pt x="149" y="146"/>
                    <a:pt x="146" y="147"/>
                    <a:pt x="146" y="147"/>
                  </a:cubicBezTo>
                  <a:cubicBezTo>
                    <a:pt x="146" y="147"/>
                    <a:pt x="145" y="150"/>
                    <a:pt x="145" y="150"/>
                  </a:cubicBezTo>
                  <a:cubicBezTo>
                    <a:pt x="146" y="150"/>
                    <a:pt x="147" y="150"/>
                    <a:pt x="148" y="150"/>
                  </a:cubicBezTo>
                  <a:cubicBezTo>
                    <a:pt x="148" y="150"/>
                    <a:pt x="147" y="152"/>
                    <a:pt x="147" y="153"/>
                  </a:cubicBezTo>
                  <a:cubicBezTo>
                    <a:pt x="149" y="153"/>
                    <a:pt x="150" y="152"/>
                    <a:pt x="151" y="153"/>
                  </a:cubicBezTo>
                  <a:cubicBezTo>
                    <a:pt x="152" y="153"/>
                    <a:pt x="152" y="154"/>
                    <a:pt x="152" y="155"/>
                  </a:cubicBezTo>
                  <a:cubicBezTo>
                    <a:pt x="153" y="155"/>
                    <a:pt x="152" y="155"/>
                    <a:pt x="153" y="156"/>
                  </a:cubicBezTo>
                  <a:cubicBezTo>
                    <a:pt x="157" y="156"/>
                    <a:pt x="159" y="156"/>
                    <a:pt x="162" y="157"/>
                  </a:cubicBezTo>
                  <a:cubicBezTo>
                    <a:pt x="162" y="157"/>
                    <a:pt x="162" y="156"/>
                    <a:pt x="162" y="156"/>
                  </a:cubicBezTo>
                  <a:cubicBezTo>
                    <a:pt x="163" y="156"/>
                    <a:pt x="164" y="156"/>
                    <a:pt x="165" y="156"/>
                  </a:cubicBezTo>
                  <a:cubicBezTo>
                    <a:pt x="165" y="157"/>
                    <a:pt x="165" y="157"/>
                    <a:pt x="165" y="157"/>
                  </a:cubicBezTo>
                  <a:cubicBezTo>
                    <a:pt x="166" y="156"/>
                    <a:pt x="164" y="159"/>
                    <a:pt x="164" y="159"/>
                  </a:cubicBezTo>
                  <a:cubicBezTo>
                    <a:pt x="163" y="160"/>
                    <a:pt x="163" y="161"/>
                    <a:pt x="162" y="162"/>
                  </a:cubicBezTo>
                  <a:cubicBezTo>
                    <a:pt x="162" y="162"/>
                    <a:pt x="160" y="163"/>
                    <a:pt x="160" y="163"/>
                  </a:cubicBezTo>
                  <a:cubicBezTo>
                    <a:pt x="161" y="164"/>
                    <a:pt x="161" y="164"/>
                    <a:pt x="160" y="165"/>
                  </a:cubicBezTo>
                  <a:cubicBezTo>
                    <a:pt x="160" y="166"/>
                    <a:pt x="160" y="167"/>
                    <a:pt x="160" y="167"/>
                  </a:cubicBezTo>
                  <a:cubicBezTo>
                    <a:pt x="161" y="168"/>
                    <a:pt x="160" y="168"/>
                    <a:pt x="161" y="169"/>
                  </a:cubicBezTo>
                  <a:cubicBezTo>
                    <a:pt x="161" y="169"/>
                    <a:pt x="163" y="169"/>
                    <a:pt x="163" y="169"/>
                  </a:cubicBezTo>
                  <a:cubicBezTo>
                    <a:pt x="164" y="170"/>
                    <a:pt x="163" y="171"/>
                    <a:pt x="163" y="172"/>
                  </a:cubicBezTo>
                  <a:cubicBezTo>
                    <a:pt x="163" y="172"/>
                    <a:pt x="165" y="173"/>
                    <a:pt x="165" y="174"/>
                  </a:cubicBezTo>
                  <a:cubicBezTo>
                    <a:pt x="170" y="173"/>
                    <a:pt x="174" y="173"/>
                    <a:pt x="175" y="170"/>
                  </a:cubicBezTo>
                  <a:cubicBezTo>
                    <a:pt x="176" y="168"/>
                    <a:pt x="175" y="166"/>
                    <a:pt x="175" y="166"/>
                  </a:cubicBezTo>
                  <a:cubicBezTo>
                    <a:pt x="176" y="165"/>
                    <a:pt x="176" y="165"/>
                    <a:pt x="176" y="165"/>
                  </a:cubicBezTo>
                  <a:cubicBezTo>
                    <a:pt x="178" y="164"/>
                    <a:pt x="178" y="164"/>
                    <a:pt x="178" y="164"/>
                  </a:cubicBezTo>
                  <a:cubicBezTo>
                    <a:pt x="178" y="164"/>
                    <a:pt x="180" y="169"/>
                    <a:pt x="177" y="168"/>
                  </a:cubicBezTo>
                  <a:cubicBezTo>
                    <a:pt x="178" y="169"/>
                    <a:pt x="177" y="170"/>
                    <a:pt x="177" y="171"/>
                  </a:cubicBezTo>
                  <a:cubicBezTo>
                    <a:pt x="177" y="172"/>
                    <a:pt x="179" y="172"/>
                    <a:pt x="180" y="173"/>
                  </a:cubicBezTo>
                  <a:cubicBezTo>
                    <a:pt x="181" y="175"/>
                    <a:pt x="181" y="177"/>
                    <a:pt x="182" y="180"/>
                  </a:cubicBezTo>
                  <a:cubicBezTo>
                    <a:pt x="180" y="181"/>
                    <a:pt x="181" y="182"/>
                    <a:pt x="180" y="184"/>
                  </a:cubicBezTo>
                  <a:cubicBezTo>
                    <a:pt x="182" y="184"/>
                    <a:pt x="182" y="183"/>
                    <a:pt x="184" y="183"/>
                  </a:cubicBezTo>
                  <a:cubicBezTo>
                    <a:pt x="184" y="183"/>
                    <a:pt x="183" y="185"/>
                    <a:pt x="183" y="185"/>
                  </a:cubicBezTo>
                  <a:cubicBezTo>
                    <a:pt x="182" y="185"/>
                    <a:pt x="181" y="188"/>
                    <a:pt x="183" y="187"/>
                  </a:cubicBezTo>
                  <a:cubicBezTo>
                    <a:pt x="183" y="187"/>
                    <a:pt x="183" y="189"/>
                    <a:pt x="182" y="189"/>
                  </a:cubicBezTo>
                  <a:cubicBezTo>
                    <a:pt x="182" y="189"/>
                    <a:pt x="182" y="190"/>
                    <a:pt x="182" y="191"/>
                  </a:cubicBezTo>
                  <a:cubicBezTo>
                    <a:pt x="186" y="191"/>
                    <a:pt x="187" y="187"/>
                    <a:pt x="189" y="186"/>
                  </a:cubicBezTo>
                  <a:cubicBezTo>
                    <a:pt x="191" y="185"/>
                    <a:pt x="194" y="183"/>
                    <a:pt x="196" y="183"/>
                  </a:cubicBezTo>
                  <a:cubicBezTo>
                    <a:pt x="197" y="183"/>
                    <a:pt x="197" y="183"/>
                    <a:pt x="197" y="183"/>
                  </a:cubicBezTo>
                  <a:cubicBezTo>
                    <a:pt x="197" y="183"/>
                    <a:pt x="198" y="185"/>
                    <a:pt x="199" y="186"/>
                  </a:cubicBezTo>
                  <a:cubicBezTo>
                    <a:pt x="199" y="187"/>
                    <a:pt x="199" y="187"/>
                    <a:pt x="199" y="187"/>
                  </a:cubicBezTo>
                  <a:cubicBezTo>
                    <a:pt x="200" y="186"/>
                    <a:pt x="202" y="185"/>
                    <a:pt x="203" y="185"/>
                  </a:cubicBezTo>
                  <a:cubicBezTo>
                    <a:pt x="204" y="186"/>
                    <a:pt x="204" y="188"/>
                    <a:pt x="206" y="190"/>
                  </a:cubicBezTo>
                  <a:cubicBezTo>
                    <a:pt x="206" y="190"/>
                    <a:pt x="207" y="191"/>
                    <a:pt x="207" y="191"/>
                  </a:cubicBezTo>
                  <a:cubicBezTo>
                    <a:pt x="208" y="192"/>
                    <a:pt x="208" y="192"/>
                    <a:pt x="208" y="192"/>
                  </a:cubicBezTo>
                  <a:cubicBezTo>
                    <a:pt x="212" y="192"/>
                    <a:pt x="207" y="190"/>
                    <a:pt x="209" y="188"/>
                  </a:cubicBezTo>
                  <a:cubicBezTo>
                    <a:pt x="209" y="188"/>
                    <a:pt x="211" y="188"/>
                    <a:pt x="212" y="189"/>
                  </a:cubicBezTo>
                  <a:cubicBezTo>
                    <a:pt x="212" y="187"/>
                    <a:pt x="213" y="187"/>
                    <a:pt x="214" y="186"/>
                  </a:cubicBezTo>
                  <a:cubicBezTo>
                    <a:pt x="214" y="187"/>
                    <a:pt x="214" y="189"/>
                    <a:pt x="214" y="190"/>
                  </a:cubicBezTo>
                  <a:cubicBezTo>
                    <a:pt x="218" y="189"/>
                    <a:pt x="220" y="189"/>
                    <a:pt x="223" y="187"/>
                  </a:cubicBezTo>
                  <a:cubicBezTo>
                    <a:pt x="223" y="187"/>
                    <a:pt x="223" y="185"/>
                    <a:pt x="224" y="185"/>
                  </a:cubicBezTo>
                  <a:cubicBezTo>
                    <a:pt x="224" y="185"/>
                    <a:pt x="225" y="185"/>
                    <a:pt x="226" y="185"/>
                  </a:cubicBezTo>
                  <a:cubicBezTo>
                    <a:pt x="226" y="186"/>
                    <a:pt x="225" y="190"/>
                    <a:pt x="224" y="191"/>
                  </a:cubicBezTo>
                  <a:cubicBezTo>
                    <a:pt x="223" y="193"/>
                    <a:pt x="220" y="193"/>
                    <a:pt x="220" y="194"/>
                  </a:cubicBezTo>
                  <a:cubicBezTo>
                    <a:pt x="219" y="195"/>
                    <a:pt x="220" y="197"/>
                    <a:pt x="220" y="198"/>
                  </a:cubicBezTo>
                  <a:cubicBezTo>
                    <a:pt x="218" y="199"/>
                    <a:pt x="218" y="199"/>
                    <a:pt x="218" y="199"/>
                  </a:cubicBezTo>
                  <a:cubicBezTo>
                    <a:pt x="217" y="201"/>
                    <a:pt x="218" y="206"/>
                    <a:pt x="218" y="206"/>
                  </a:cubicBezTo>
                  <a:cubicBezTo>
                    <a:pt x="217" y="207"/>
                    <a:pt x="216" y="207"/>
                    <a:pt x="216" y="207"/>
                  </a:cubicBezTo>
                  <a:cubicBezTo>
                    <a:pt x="215" y="208"/>
                    <a:pt x="216" y="209"/>
                    <a:pt x="215" y="210"/>
                  </a:cubicBezTo>
                  <a:cubicBezTo>
                    <a:pt x="215" y="211"/>
                    <a:pt x="212" y="212"/>
                    <a:pt x="212" y="213"/>
                  </a:cubicBezTo>
                  <a:cubicBezTo>
                    <a:pt x="211" y="214"/>
                    <a:pt x="211" y="214"/>
                    <a:pt x="211" y="214"/>
                  </a:cubicBezTo>
                  <a:cubicBezTo>
                    <a:pt x="211" y="214"/>
                    <a:pt x="211" y="216"/>
                    <a:pt x="211" y="216"/>
                  </a:cubicBezTo>
                  <a:cubicBezTo>
                    <a:pt x="211" y="217"/>
                    <a:pt x="209" y="216"/>
                    <a:pt x="208" y="216"/>
                  </a:cubicBezTo>
                  <a:cubicBezTo>
                    <a:pt x="207" y="217"/>
                    <a:pt x="206" y="220"/>
                    <a:pt x="205" y="220"/>
                  </a:cubicBezTo>
                  <a:cubicBezTo>
                    <a:pt x="204" y="221"/>
                    <a:pt x="204" y="220"/>
                    <a:pt x="203" y="220"/>
                  </a:cubicBezTo>
                  <a:cubicBezTo>
                    <a:pt x="197" y="222"/>
                    <a:pt x="196" y="224"/>
                    <a:pt x="195" y="230"/>
                  </a:cubicBezTo>
                  <a:cubicBezTo>
                    <a:pt x="193" y="231"/>
                    <a:pt x="191" y="231"/>
                    <a:pt x="190" y="231"/>
                  </a:cubicBezTo>
                  <a:cubicBezTo>
                    <a:pt x="190" y="231"/>
                    <a:pt x="191" y="230"/>
                    <a:pt x="191" y="229"/>
                  </a:cubicBezTo>
                  <a:cubicBezTo>
                    <a:pt x="188" y="230"/>
                    <a:pt x="183" y="230"/>
                    <a:pt x="180" y="231"/>
                  </a:cubicBezTo>
                  <a:cubicBezTo>
                    <a:pt x="180" y="232"/>
                    <a:pt x="180" y="234"/>
                    <a:pt x="180" y="234"/>
                  </a:cubicBezTo>
                  <a:cubicBezTo>
                    <a:pt x="179" y="235"/>
                    <a:pt x="178" y="235"/>
                    <a:pt x="177" y="236"/>
                  </a:cubicBezTo>
                  <a:cubicBezTo>
                    <a:pt x="176" y="237"/>
                    <a:pt x="177" y="238"/>
                    <a:pt x="176" y="239"/>
                  </a:cubicBezTo>
                  <a:cubicBezTo>
                    <a:pt x="176" y="240"/>
                    <a:pt x="172" y="242"/>
                    <a:pt x="170" y="242"/>
                  </a:cubicBezTo>
                  <a:cubicBezTo>
                    <a:pt x="170" y="243"/>
                    <a:pt x="171" y="244"/>
                    <a:pt x="170" y="244"/>
                  </a:cubicBezTo>
                  <a:cubicBezTo>
                    <a:pt x="171" y="244"/>
                    <a:pt x="172" y="243"/>
                    <a:pt x="172" y="243"/>
                  </a:cubicBezTo>
                  <a:cubicBezTo>
                    <a:pt x="172" y="243"/>
                    <a:pt x="173" y="244"/>
                    <a:pt x="174" y="244"/>
                  </a:cubicBezTo>
                  <a:cubicBezTo>
                    <a:pt x="175" y="242"/>
                    <a:pt x="175" y="242"/>
                    <a:pt x="175" y="242"/>
                  </a:cubicBezTo>
                  <a:cubicBezTo>
                    <a:pt x="176" y="242"/>
                    <a:pt x="176" y="242"/>
                    <a:pt x="176" y="242"/>
                  </a:cubicBezTo>
                  <a:cubicBezTo>
                    <a:pt x="177" y="242"/>
                    <a:pt x="176" y="243"/>
                    <a:pt x="178" y="244"/>
                  </a:cubicBezTo>
                  <a:cubicBezTo>
                    <a:pt x="180" y="240"/>
                    <a:pt x="182" y="237"/>
                    <a:pt x="184" y="233"/>
                  </a:cubicBezTo>
                  <a:cubicBezTo>
                    <a:pt x="185" y="233"/>
                    <a:pt x="186" y="233"/>
                    <a:pt x="187" y="233"/>
                  </a:cubicBezTo>
                  <a:cubicBezTo>
                    <a:pt x="187" y="234"/>
                    <a:pt x="188" y="235"/>
                    <a:pt x="186" y="234"/>
                  </a:cubicBezTo>
                  <a:cubicBezTo>
                    <a:pt x="186" y="236"/>
                    <a:pt x="186" y="236"/>
                    <a:pt x="186" y="236"/>
                  </a:cubicBezTo>
                  <a:cubicBezTo>
                    <a:pt x="187" y="236"/>
                    <a:pt x="189" y="237"/>
                    <a:pt x="190" y="236"/>
                  </a:cubicBezTo>
                  <a:cubicBezTo>
                    <a:pt x="190" y="234"/>
                    <a:pt x="190" y="234"/>
                    <a:pt x="190" y="234"/>
                  </a:cubicBezTo>
                  <a:cubicBezTo>
                    <a:pt x="196" y="234"/>
                    <a:pt x="194" y="235"/>
                    <a:pt x="198" y="231"/>
                  </a:cubicBezTo>
                  <a:cubicBezTo>
                    <a:pt x="199" y="231"/>
                    <a:pt x="200" y="231"/>
                    <a:pt x="200" y="231"/>
                  </a:cubicBezTo>
                  <a:cubicBezTo>
                    <a:pt x="200" y="231"/>
                    <a:pt x="200" y="233"/>
                    <a:pt x="200" y="233"/>
                  </a:cubicBezTo>
                  <a:cubicBezTo>
                    <a:pt x="202" y="232"/>
                    <a:pt x="201" y="232"/>
                    <a:pt x="202" y="230"/>
                  </a:cubicBezTo>
                  <a:cubicBezTo>
                    <a:pt x="202" y="231"/>
                    <a:pt x="204" y="232"/>
                    <a:pt x="205" y="231"/>
                  </a:cubicBezTo>
                  <a:cubicBezTo>
                    <a:pt x="206" y="230"/>
                    <a:pt x="206" y="228"/>
                    <a:pt x="206" y="226"/>
                  </a:cubicBezTo>
                  <a:cubicBezTo>
                    <a:pt x="210" y="228"/>
                    <a:pt x="209" y="230"/>
                    <a:pt x="210" y="224"/>
                  </a:cubicBezTo>
                  <a:cubicBezTo>
                    <a:pt x="209" y="224"/>
                    <a:pt x="209" y="225"/>
                    <a:pt x="208" y="224"/>
                  </a:cubicBezTo>
                  <a:cubicBezTo>
                    <a:pt x="208" y="224"/>
                    <a:pt x="210" y="224"/>
                    <a:pt x="209" y="223"/>
                  </a:cubicBezTo>
                  <a:cubicBezTo>
                    <a:pt x="211" y="223"/>
                    <a:pt x="213" y="221"/>
                    <a:pt x="214" y="221"/>
                  </a:cubicBezTo>
                  <a:cubicBezTo>
                    <a:pt x="214" y="221"/>
                    <a:pt x="213" y="220"/>
                    <a:pt x="214" y="220"/>
                  </a:cubicBezTo>
                  <a:cubicBezTo>
                    <a:pt x="215" y="219"/>
                    <a:pt x="217" y="220"/>
                    <a:pt x="218" y="219"/>
                  </a:cubicBezTo>
                  <a:cubicBezTo>
                    <a:pt x="218" y="219"/>
                    <a:pt x="218" y="216"/>
                    <a:pt x="218" y="216"/>
                  </a:cubicBezTo>
                  <a:cubicBezTo>
                    <a:pt x="219" y="216"/>
                    <a:pt x="220" y="217"/>
                    <a:pt x="221" y="216"/>
                  </a:cubicBezTo>
                  <a:cubicBezTo>
                    <a:pt x="222" y="216"/>
                    <a:pt x="225" y="214"/>
                    <a:pt x="226" y="213"/>
                  </a:cubicBezTo>
                  <a:cubicBezTo>
                    <a:pt x="225" y="212"/>
                    <a:pt x="225" y="209"/>
                    <a:pt x="225" y="209"/>
                  </a:cubicBezTo>
                  <a:cubicBezTo>
                    <a:pt x="226" y="208"/>
                    <a:pt x="227" y="208"/>
                    <a:pt x="229" y="208"/>
                  </a:cubicBezTo>
                  <a:cubicBezTo>
                    <a:pt x="229" y="206"/>
                    <a:pt x="229" y="206"/>
                    <a:pt x="229" y="206"/>
                  </a:cubicBezTo>
                  <a:cubicBezTo>
                    <a:pt x="229" y="206"/>
                    <a:pt x="231" y="207"/>
                    <a:pt x="231" y="206"/>
                  </a:cubicBezTo>
                  <a:cubicBezTo>
                    <a:pt x="233" y="205"/>
                    <a:pt x="233" y="202"/>
                    <a:pt x="235" y="201"/>
                  </a:cubicBezTo>
                  <a:cubicBezTo>
                    <a:pt x="236" y="201"/>
                    <a:pt x="237" y="201"/>
                    <a:pt x="238" y="200"/>
                  </a:cubicBezTo>
                  <a:cubicBezTo>
                    <a:pt x="238" y="200"/>
                    <a:pt x="237" y="199"/>
                    <a:pt x="238" y="198"/>
                  </a:cubicBezTo>
                  <a:cubicBezTo>
                    <a:pt x="240" y="196"/>
                    <a:pt x="240" y="196"/>
                    <a:pt x="240" y="196"/>
                  </a:cubicBezTo>
                  <a:cubicBezTo>
                    <a:pt x="242" y="196"/>
                    <a:pt x="245" y="196"/>
                    <a:pt x="246" y="195"/>
                  </a:cubicBezTo>
                  <a:cubicBezTo>
                    <a:pt x="246" y="194"/>
                    <a:pt x="247" y="194"/>
                    <a:pt x="248" y="193"/>
                  </a:cubicBezTo>
                  <a:cubicBezTo>
                    <a:pt x="248" y="192"/>
                    <a:pt x="247" y="191"/>
                    <a:pt x="247" y="191"/>
                  </a:cubicBezTo>
                  <a:cubicBezTo>
                    <a:pt x="247" y="189"/>
                    <a:pt x="250" y="189"/>
                    <a:pt x="250" y="189"/>
                  </a:cubicBezTo>
                  <a:cubicBezTo>
                    <a:pt x="250" y="187"/>
                    <a:pt x="250" y="187"/>
                    <a:pt x="250" y="187"/>
                  </a:cubicBezTo>
                  <a:cubicBezTo>
                    <a:pt x="251" y="186"/>
                    <a:pt x="252" y="187"/>
                    <a:pt x="253" y="187"/>
                  </a:cubicBezTo>
                  <a:cubicBezTo>
                    <a:pt x="253" y="186"/>
                    <a:pt x="253" y="184"/>
                    <a:pt x="253" y="184"/>
                  </a:cubicBezTo>
                  <a:cubicBezTo>
                    <a:pt x="251" y="184"/>
                    <a:pt x="249" y="184"/>
                    <a:pt x="248" y="184"/>
                  </a:cubicBezTo>
                  <a:cubicBezTo>
                    <a:pt x="248" y="182"/>
                    <a:pt x="247" y="180"/>
                    <a:pt x="248" y="178"/>
                  </a:cubicBezTo>
                  <a:cubicBezTo>
                    <a:pt x="248" y="177"/>
                    <a:pt x="249" y="176"/>
                    <a:pt x="250" y="176"/>
                  </a:cubicBezTo>
                  <a:cubicBezTo>
                    <a:pt x="250" y="175"/>
                    <a:pt x="249" y="174"/>
                    <a:pt x="250" y="173"/>
                  </a:cubicBezTo>
                  <a:cubicBezTo>
                    <a:pt x="252" y="173"/>
                    <a:pt x="253" y="173"/>
                    <a:pt x="255" y="173"/>
                  </a:cubicBezTo>
                  <a:cubicBezTo>
                    <a:pt x="255" y="172"/>
                    <a:pt x="255" y="171"/>
                    <a:pt x="256" y="171"/>
                  </a:cubicBezTo>
                  <a:cubicBezTo>
                    <a:pt x="256" y="170"/>
                    <a:pt x="258" y="170"/>
                    <a:pt x="258" y="169"/>
                  </a:cubicBezTo>
                  <a:cubicBezTo>
                    <a:pt x="258" y="168"/>
                    <a:pt x="257" y="167"/>
                    <a:pt x="258" y="166"/>
                  </a:cubicBezTo>
                  <a:cubicBezTo>
                    <a:pt x="258" y="166"/>
                    <a:pt x="260" y="167"/>
                    <a:pt x="260" y="167"/>
                  </a:cubicBezTo>
                  <a:cubicBezTo>
                    <a:pt x="261" y="167"/>
                    <a:pt x="261" y="166"/>
                    <a:pt x="262" y="167"/>
                  </a:cubicBezTo>
                  <a:cubicBezTo>
                    <a:pt x="263" y="163"/>
                    <a:pt x="263" y="161"/>
                    <a:pt x="266" y="159"/>
                  </a:cubicBezTo>
                  <a:cubicBezTo>
                    <a:pt x="268" y="159"/>
                    <a:pt x="268" y="159"/>
                    <a:pt x="269" y="159"/>
                  </a:cubicBezTo>
                  <a:cubicBezTo>
                    <a:pt x="270" y="158"/>
                    <a:pt x="270" y="156"/>
                    <a:pt x="270" y="155"/>
                  </a:cubicBezTo>
                  <a:cubicBezTo>
                    <a:pt x="271" y="154"/>
                    <a:pt x="273" y="154"/>
                    <a:pt x="274" y="153"/>
                  </a:cubicBezTo>
                  <a:cubicBezTo>
                    <a:pt x="276" y="152"/>
                    <a:pt x="277" y="149"/>
                    <a:pt x="279" y="148"/>
                  </a:cubicBezTo>
                  <a:cubicBezTo>
                    <a:pt x="279" y="148"/>
                    <a:pt x="280" y="150"/>
                    <a:pt x="280" y="151"/>
                  </a:cubicBezTo>
                  <a:cubicBezTo>
                    <a:pt x="282" y="150"/>
                    <a:pt x="283" y="151"/>
                    <a:pt x="285" y="150"/>
                  </a:cubicBezTo>
                  <a:cubicBezTo>
                    <a:pt x="286" y="150"/>
                    <a:pt x="286" y="148"/>
                    <a:pt x="287" y="148"/>
                  </a:cubicBezTo>
                  <a:cubicBezTo>
                    <a:pt x="288" y="148"/>
                    <a:pt x="288" y="148"/>
                    <a:pt x="289" y="148"/>
                  </a:cubicBezTo>
                  <a:cubicBezTo>
                    <a:pt x="287" y="151"/>
                    <a:pt x="287" y="151"/>
                    <a:pt x="287" y="151"/>
                  </a:cubicBezTo>
                  <a:cubicBezTo>
                    <a:pt x="286" y="150"/>
                    <a:pt x="286" y="154"/>
                    <a:pt x="286" y="153"/>
                  </a:cubicBezTo>
                  <a:cubicBezTo>
                    <a:pt x="287" y="154"/>
                    <a:pt x="288" y="154"/>
                    <a:pt x="288" y="155"/>
                  </a:cubicBezTo>
                  <a:cubicBezTo>
                    <a:pt x="290" y="158"/>
                    <a:pt x="282" y="154"/>
                    <a:pt x="279" y="155"/>
                  </a:cubicBezTo>
                  <a:cubicBezTo>
                    <a:pt x="279" y="155"/>
                    <a:pt x="278" y="156"/>
                    <a:pt x="278" y="157"/>
                  </a:cubicBezTo>
                  <a:cubicBezTo>
                    <a:pt x="276" y="158"/>
                    <a:pt x="274" y="158"/>
                    <a:pt x="272" y="159"/>
                  </a:cubicBezTo>
                  <a:cubicBezTo>
                    <a:pt x="272" y="162"/>
                    <a:pt x="273" y="167"/>
                    <a:pt x="273" y="169"/>
                  </a:cubicBezTo>
                  <a:cubicBezTo>
                    <a:pt x="273" y="169"/>
                    <a:pt x="270" y="171"/>
                    <a:pt x="269" y="172"/>
                  </a:cubicBezTo>
                  <a:cubicBezTo>
                    <a:pt x="270" y="173"/>
                    <a:pt x="270" y="174"/>
                    <a:pt x="271" y="175"/>
                  </a:cubicBezTo>
                  <a:cubicBezTo>
                    <a:pt x="271" y="175"/>
                    <a:pt x="274" y="176"/>
                    <a:pt x="273" y="175"/>
                  </a:cubicBezTo>
                  <a:cubicBezTo>
                    <a:pt x="274" y="174"/>
                    <a:pt x="274" y="177"/>
                    <a:pt x="273" y="178"/>
                  </a:cubicBezTo>
                  <a:cubicBezTo>
                    <a:pt x="272" y="178"/>
                    <a:pt x="269" y="179"/>
                    <a:pt x="269" y="179"/>
                  </a:cubicBezTo>
                  <a:cubicBezTo>
                    <a:pt x="268" y="179"/>
                    <a:pt x="269" y="181"/>
                    <a:pt x="268" y="182"/>
                  </a:cubicBezTo>
                  <a:cubicBezTo>
                    <a:pt x="270" y="182"/>
                    <a:pt x="271" y="183"/>
                    <a:pt x="273" y="183"/>
                  </a:cubicBezTo>
                  <a:cubicBezTo>
                    <a:pt x="273" y="182"/>
                    <a:pt x="275" y="181"/>
                    <a:pt x="275" y="181"/>
                  </a:cubicBezTo>
                  <a:cubicBezTo>
                    <a:pt x="276" y="180"/>
                    <a:pt x="276" y="182"/>
                    <a:pt x="278" y="181"/>
                  </a:cubicBezTo>
                  <a:cubicBezTo>
                    <a:pt x="278" y="180"/>
                    <a:pt x="278" y="180"/>
                    <a:pt x="278" y="180"/>
                  </a:cubicBezTo>
                  <a:cubicBezTo>
                    <a:pt x="278" y="179"/>
                    <a:pt x="281" y="179"/>
                    <a:pt x="281" y="178"/>
                  </a:cubicBezTo>
                  <a:cubicBezTo>
                    <a:pt x="282" y="177"/>
                    <a:pt x="281" y="176"/>
                    <a:pt x="281" y="176"/>
                  </a:cubicBezTo>
                  <a:cubicBezTo>
                    <a:pt x="283" y="175"/>
                    <a:pt x="285" y="175"/>
                    <a:pt x="287" y="175"/>
                  </a:cubicBezTo>
                  <a:cubicBezTo>
                    <a:pt x="287" y="173"/>
                    <a:pt x="286" y="172"/>
                    <a:pt x="287" y="171"/>
                  </a:cubicBezTo>
                  <a:cubicBezTo>
                    <a:pt x="287" y="171"/>
                    <a:pt x="289" y="172"/>
                    <a:pt x="289" y="173"/>
                  </a:cubicBezTo>
                  <a:cubicBezTo>
                    <a:pt x="289" y="172"/>
                    <a:pt x="289" y="170"/>
                    <a:pt x="289" y="170"/>
                  </a:cubicBezTo>
                  <a:cubicBezTo>
                    <a:pt x="290" y="169"/>
                    <a:pt x="291" y="169"/>
                    <a:pt x="291" y="168"/>
                  </a:cubicBezTo>
                  <a:cubicBezTo>
                    <a:pt x="293" y="168"/>
                    <a:pt x="292" y="169"/>
                    <a:pt x="292" y="170"/>
                  </a:cubicBezTo>
                  <a:cubicBezTo>
                    <a:pt x="293" y="170"/>
                    <a:pt x="294" y="169"/>
                    <a:pt x="294" y="169"/>
                  </a:cubicBezTo>
                  <a:cubicBezTo>
                    <a:pt x="295" y="168"/>
                    <a:pt x="299" y="170"/>
                    <a:pt x="301" y="170"/>
                  </a:cubicBezTo>
                  <a:cubicBezTo>
                    <a:pt x="301" y="169"/>
                    <a:pt x="301" y="167"/>
                    <a:pt x="301" y="167"/>
                  </a:cubicBezTo>
                  <a:cubicBezTo>
                    <a:pt x="302" y="166"/>
                    <a:pt x="303" y="167"/>
                    <a:pt x="304" y="167"/>
                  </a:cubicBezTo>
                  <a:cubicBezTo>
                    <a:pt x="303" y="163"/>
                    <a:pt x="303" y="164"/>
                    <a:pt x="304" y="161"/>
                  </a:cubicBezTo>
                  <a:cubicBezTo>
                    <a:pt x="303" y="160"/>
                    <a:pt x="303" y="162"/>
                    <a:pt x="301" y="161"/>
                  </a:cubicBezTo>
                  <a:cubicBezTo>
                    <a:pt x="301" y="160"/>
                    <a:pt x="301" y="160"/>
                    <a:pt x="301" y="160"/>
                  </a:cubicBezTo>
                  <a:cubicBezTo>
                    <a:pt x="301" y="160"/>
                    <a:pt x="300" y="160"/>
                    <a:pt x="299" y="160"/>
                  </a:cubicBezTo>
                  <a:cubicBezTo>
                    <a:pt x="299" y="159"/>
                    <a:pt x="299" y="156"/>
                    <a:pt x="299" y="154"/>
                  </a:cubicBezTo>
                  <a:cubicBezTo>
                    <a:pt x="303" y="155"/>
                    <a:pt x="304" y="154"/>
                    <a:pt x="308" y="156"/>
                  </a:cubicBezTo>
                  <a:cubicBezTo>
                    <a:pt x="308" y="156"/>
                    <a:pt x="308" y="154"/>
                    <a:pt x="308" y="154"/>
                  </a:cubicBezTo>
                  <a:cubicBezTo>
                    <a:pt x="309" y="154"/>
                    <a:pt x="309" y="155"/>
                    <a:pt x="309" y="155"/>
                  </a:cubicBezTo>
                  <a:cubicBezTo>
                    <a:pt x="311" y="155"/>
                    <a:pt x="312" y="155"/>
                    <a:pt x="313" y="155"/>
                  </a:cubicBezTo>
                  <a:cubicBezTo>
                    <a:pt x="313" y="154"/>
                    <a:pt x="313" y="153"/>
                    <a:pt x="314" y="153"/>
                  </a:cubicBezTo>
                  <a:cubicBezTo>
                    <a:pt x="314" y="153"/>
                    <a:pt x="315" y="155"/>
                    <a:pt x="315" y="155"/>
                  </a:cubicBezTo>
                  <a:cubicBezTo>
                    <a:pt x="314" y="154"/>
                    <a:pt x="314" y="156"/>
                    <a:pt x="314" y="156"/>
                  </a:cubicBezTo>
                  <a:cubicBezTo>
                    <a:pt x="315" y="156"/>
                    <a:pt x="316" y="157"/>
                    <a:pt x="317" y="157"/>
                  </a:cubicBezTo>
                  <a:cubicBezTo>
                    <a:pt x="316" y="158"/>
                    <a:pt x="315" y="158"/>
                    <a:pt x="314" y="159"/>
                  </a:cubicBezTo>
                  <a:cubicBezTo>
                    <a:pt x="315" y="159"/>
                    <a:pt x="317" y="158"/>
                    <a:pt x="319" y="159"/>
                  </a:cubicBezTo>
                  <a:cubicBezTo>
                    <a:pt x="319" y="160"/>
                    <a:pt x="319" y="160"/>
                    <a:pt x="319" y="160"/>
                  </a:cubicBezTo>
                  <a:cubicBezTo>
                    <a:pt x="320" y="160"/>
                    <a:pt x="320" y="160"/>
                    <a:pt x="321" y="161"/>
                  </a:cubicBezTo>
                  <a:cubicBezTo>
                    <a:pt x="321" y="161"/>
                    <a:pt x="321" y="163"/>
                    <a:pt x="321" y="163"/>
                  </a:cubicBezTo>
                  <a:cubicBezTo>
                    <a:pt x="320" y="163"/>
                    <a:pt x="320" y="163"/>
                    <a:pt x="320" y="163"/>
                  </a:cubicBezTo>
                  <a:cubicBezTo>
                    <a:pt x="320" y="164"/>
                    <a:pt x="321" y="165"/>
                    <a:pt x="321" y="165"/>
                  </a:cubicBezTo>
                  <a:cubicBezTo>
                    <a:pt x="323" y="165"/>
                    <a:pt x="324" y="165"/>
                    <a:pt x="325" y="164"/>
                  </a:cubicBezTo>
                  <a:cubicBezTo>
                    <a:pt x="325" y="164"/>
                    <a:pt x="326" y="164"/>
                    <a:pt x="327" y="163"/>
                  </a:cubicBezTo>
                  <a:cubicBezTo>
                    <a:pt x="328" y="164"/>
                    <a:pt x="327" y="165"/>
                    <a:pt x="327" y="166"/>
                  </a:cubicBezTo>
                  <a:cubicBezTo>
                    <a:pt x="328" y="166"/>
                    <a:pt x="329" y="168"/>
                    <a:pt x="329" y="168"/>
                  </a:cubicBezTo>
                  <a:cubicBezTo>
                    <a:pt x="330" y="168"/>
                    <a:pt x="332" y="168"/>
                    <a:pt x="333" y="168"/>
                  </a:cubicBezTo>
                  <a:cubicBezTo>
                    <a:pt x="334" y="168"/>
                    <a:pt x="335" y="170"/>
                    <a:pt x="335" y="171"/>
                  </a:cubicBezTo>
                  <a:cubicBezTo>
                    <a:pt x="336" y="171"/>
                    <a:pt x="343" y="173"/>
                    <a:pt x="343" y="173"/>
                  </a:cubicBezTo>
                  <a:cubicBezTo>
                    <a:pt x="345" y="172"/>
                    <a:pt x="348" y="170"/>
                    <a:pt x="351" y="170"/>
                  </a:cubicBezTo>
                  <a:cubicBezTo>
                    <a:pt x="352" y="170"/>
                    <a:pt x="354" y="172"/>
                    <a:pt x="355" y="173"/>
                  </a:cubicBezTo>
                  <a:cubicBezTo>
                    <a:pt x="357" y="173"/>
                    <a:pt x="357" y="171"/>
                    <a:pt x="359" y="172"/>
                  </a:cubicBezTo>
                  <a:cubicBezTo>
                    <a:pt x="359" y="172"/>
                    <a:pt x="360" y="174"/>
                    <a:pt x="360" y="174"/>
                  </a:cubicBezTo>
                  <a:cubicBezTo>
                    <a:pt x="362" y="175"/>
                    <a:pt x="370" y="177"/>
                    <a:pt x="373" y="176"/>
                  </a:cubicBezTo>
                  <a:cubicBezTo>
                    <a:pt x="374" y="176"/>
                    <a:pt x="375" y="174"/>
                    <a:pt x="376" y="173"/>
                  </a:cubicBezTo>
                  <a:cubicBezTo>
                    <a:pt x="376" y="175"/>
                    <a:pt x="376" y="177"/>
                    <a:pt x="376" y="178"/>
                  </a:cubicBezTo>
                  <a:cubicBezTo>
                    <a:pt x="376" y="178"/>
                    <a:pt x="374" y="179"/>
                    <a:pt x="374" y="180"/>
                  </a:cubicBezTo>
                  <a:cubicBezTo>
                    <a:pt x="374" y="180"/>
                    <a:pt x="376" y="181"/>
                    <a:pt x="376" y="181"/>
                  </a:cubicBezTo>
                  <a:cubicBezTo>
                    <a:pt x="377" y="181"/>
                    <a:pt x="379" y="180"/>
                    <a:pt x="379" y="181"/>
                  </a:cubicBezTo>
                  <a:cubicBezTo>
                    <a:pt x="380" y="181"/>
                    <a:pt x="380" y="183"/>
                    <a:pt x="380" y="183"/>
                  </a:cubicBezTo>
                  <a:cubicBezTo>
                    <a:pt x="381" y="184"/>
                    <a:pt x="383" y="183"/>
                    <a:pt x="383" y="184"/>
                  </a:cubicBezTo>
                  <a:cubicBezTo>
                    <a:pt x="384" y="182"/>
                    <a:pt x="383" y="184"/>
                    <a:pt x="384" y="183"/>
                  </a:cubicBezTo>
                  <a:cubicBezTo>
                    <a:pt x="385" y="183"/>
                    <a:pt x="384" y="182"/>
                    <a:pt x="384" y="182"/>
                  </a:cubicBezTo>
                  <a:cubicBezTo>
                    <a:pt x="384" y="181"/>
                    <a:pt x="384" y="181"/>
                    <a:pt x="384" y="181"/>
                  </a:cubicBezTo>
                  <a:cubicBezTo>
                    <a:pt x="385" y="181"/>
                    <a:pt x="387" y="181"/>
                    <a:pt x="388" y="181"/>
                  </a:cubicBezTo>
                  <a:cubicBezTo>
                    <a:pt x="387" y="183"/>
                    <a:pt x="387" y="185"/>
                    <a:pt x="386" y="187"/>
                  </a:cubicBezTo>
                  <a:cubicBezTo>
                    <a:pt x="387" y="187"/>
                    <a:pt x="393" y="195"/>
                    <a:pt x="393" y="195"/>
                  </a:cubicBezTo>
                  <a:cubicBezTo>
                    <a:pt x="396" y="196"/>
                    <a:pt x="397" y="194"/>
                    <a:pt x="398" y="195"/>
                  </a:cubicBezTo>
                  <a:cubicBezTo>
                    <a:pt x="399" y="195"/>
                    <a:pt x="398" y="198"/>
                    <a:pt x="398" y="198"/>
                  </a:cubicBezTo>
                  <a:cubicBezTo>
                    <a:pt x="399" y="198"/>
                    <a:pt x="400" y="198"/>
                    <a:pt x="400" y="198"/>
                  </a:cubicBezTo>
                  <a:cubicBezTo>
                    <a:pt x="404" y="202"/>
                    <a:pt x="404" y="202"/>
                    <a:pt x="404" y="202"/>
                  </a:cubicBezTo>
                  <a:cubicBezTo>
                    <a:pt x="404" y="204"/>
                    <a:pt x="402" y="204"/>
                    <a:pt x="403" y="205"/>
                  </a:cubicBezTo>
                  <a:cubicBezTo>
                    <a:pt x="404" y="207"/>
                    <a:pt x="406" y="206"/>
                    <a:pt x="408" y="207"/>
                  </a:cubicBezTo>
                  <a:cubicBezTo>
                    <a:pt x="408" y="208"/>
                    <a:pt x="409" y="210"/>
                    <a:pt x="409" y="210"/>
                  </a:cubicBezTo>
                  <a:cubicBezTo>
                    <a:pt x="409" y="210"/>
                    <a:pt x="411" y="210"/>
                    <a:pt x="411" y="210"/>
                  </a:cubicBezTo>
                  <a:cubicBezTo>
                    <a:pt x="411" y="209"/>
                    <a:pt x="411" y="208"/>
                    <a:pt x="411" y="207"/>
                  </a:cubicBezTo>
                  <a:cubicBezTo>
                    <a:pt x="412" y="208"/>
                    <a:pt x="414" y="210"/>
                    <a:pt x="415" y="210"/>
                  </a:cubicBezTo>
                  <a:cubicBezTo>
                    <a:pt x="416" y="211"/>
                    <a:pt x="417" y="210"/>
                    <a:pt x="418" y="210"/>
                  </a:cubicBezTo>
                  <a:cubicBezTo>
                    <a:pt x="418" y="209"/>
                    <a:pt x="417" y="207"/>
                    <a:pt x="417" y="205"/>
                  </a:cubicBezTo>
                  <a:cubicBezTo>
                    <a:pt x="417" y="205"/>
                    <a:pt x="415" y="205"/>
                    <a:pt x="414" y="205"/>
                  </a:cubicBezTo>
                  <a:cubicBezTo>
                    <a:pt x="420" y="202"/>
                    <a:pt x="408" y="200"/>
                    <a:pt x="404" y="200"/>
                  </a:cubicBezTo>
                  <a:cubicBezTo>
                    <a:pt x="404" y="199"/>
                    <a:pt x="403" y="197"/>
                    <a:pt x="403" y="197"/>
                  </a:cubicBezTo>
                  <a:cubicBezTo>
                    <a:pt x="404" y="197"/>
                    <a:pt x="405" y="198"/>
                    <a:pt x="405" y="198"/>
                  </a:cubicBezTo>
                  <a:cubicBezTo>
                    <a:pt x="406" y="199"/>
                    <a:pt x="411" y="196"/>
                    <a:pt x="412" y="195"/>
                  </a:cubicBezTo>
                  <a:cubicBezTo>
                    <a:pt x="413" y="196"/>
                    <a:pt x="413" y="197"/>
                    <a:pt x="413" y="198"/>
                  </a:cubicBezTo>
                  <a:cubicBezTo>
                    <a:pt x="414" y="198"/>
                    <a:pt x="414" y="198"/>
                    <a:pt x="414" y="198"/>
                  </a:cubicBezTo>
                  <a:cubicBezTo>
                    <a:pt x="414" y="194"/>
                    <a:pt x="414" y="192"/>
                    <a:pt x="414" y="189"/>
                  </a:cubicBezTo>
                  <a:cubicBezTo>
                    <a:pt x="414" y="189"/>
                    <a:pt x="416" y="189"/>
                    <a:pt x="416" y="189"/>
                  </a:cubicBezTo>
                  <a:cubicBezTo>
                    <a:pt x="417" y="193"/>
                    <a:pt x="416" y="196"/>
                    <a:pt x="420" y="197"/>
                  </a:cubicBezTo>
                  <a:cubicBezTo>
                    <a:pt x="421" y="197"/>
                    <a:pt x="423" y="196"/>
                    <a:pt x="423" y="196"/>
                  </a:cubicBezTo>
                  <a:cubicBezTo>
                    <a:pt x="424" y="197"/>
                    <a:pt x="424" y="200"/>
                    <a:pt x="424" y="200"/>
                  </a:cubicBezTo>
                  <a:cubicBezTo>
                    <a:pt x="425" y="200"/>
                    <a:pt x="426" y="199"/>
                    <a:pt x="427" y="200"/>
                  </a:cubicBezTo>
                  <a:cubicBezTo>
                    <a:pt x="427" y="201"/>
                    <a:pt x="426" y="203"/>
                    <a:pt x="426" y="204"/>
                  </a:cubicBezTo>
                  <a:cubicBezTo>
                    <a:pt x="430" y="206"/>
                    <a:pt x="430" y="206"/>
                    <a:pt x="430" y="206"/>
                  </a:cubicBezTo>
                  <a:cubicBezTo>
                    <a:pt x="430" y="207"/>
                    <a:pt x="429" y="212"/>
                    <a:pt x="430" y="214"/>
                  </a:cubicBezTo>
                  <a:cubicBezTo>
                    <a:pt x="430" y="214"/>
                    <a:pt x="434" y="215"/>
                    <a:pt x="434" y="215"/>
                  </a:cubicBezTo>
                  <a:cubicBezTo>
                    <a:pt x="435" y="216"/>
                    <a:pt x="434" y="218"/>
                    <a:pt x="434" y="219"/>
                  </a:cubicBezTo>
                  <a:cubicBezTo>
                    <a:pt x="434" y="219"/>
                    <a:pt x="435" y="220"/>
                    <a:pt x="435" y="220"/>
                  </a:cubicBezTo>
                  <a:cubicBezTo>
                    <a:pt x="433" y="221"/>
                    <a:pt x="433" y="221"/>
                    <a:pt x="433" y="221"/>
                  </a:cubicBezTo>
                  <a:cubicBezTo>
                    <a:pt x="433" y="221"/>
                    <a:pt x="433" y="223"/>
                    <a:pt x="433" y="223"/>
                  </a:cubicBezTo>
                  <a:cubicBezTo>
                    <a:pt x="434" y="223"/>
                    <a:pt x="434" y="223"/>
                    <a:pt x="434" y="223"/>
                  </a:cubicBezTo>
                  <a:cubicBezTo>
                    <a:pt x="434" y="224"/>
                    <a:pt x="434" y="224"/>
                    <a:pt x="434" y="224"/>
                  </a:cubicBezTo>
                  <a:cubicBezTo>
                    <a:pt x="434" y="224"/>
                    <a:pt x="435" y="224"/>
                    <a:pt x="436" y="224"/>
                  </a:cubicBezTo>
                  <a:cubicBezTo>
                    <a:pt x="436" y="223"/>
                    <a:pt x="436" y="221"/>
                    <a:pt x="435" y="222"/>
                  </a:cubicBezTo>
                  <a:cubicBezTo>
                    <a:pt x="435" y="220"/>
                    <a:pt x="435" y="220"/>
                    <a:pt x="435" y="220"/>
                  </a:cubicBezTo>
                  <a:cubicBezTo>
                    <a:pt x="435" y="221"/>
                    <a:pt x="436" y="220"/>
                    <a:pt x="437" y="220"/>
                  </a:cubicBezTo>
                  <a:cubicBezTo>
                    <a:pt x="437" y="220"/>
                    <a:pt x="441" y="225"/>
                    <a:pt x="441" y="225"/>
                  </a:cubicBezTo>
                  <a:cubicBezTo>
                    <a:pt x="440" y="225"/>
                    <a:pt x="439" y="225"/>
                    <a:pt x="439" y="225"/>
                  </a:cubicBezTo>
                  <a:cubicBezTo>
                    <a:pt x="439" y="226"/>
                    <a:pt x="439" y="226"/>
                    <a:pt x="439" y="226"/>
                  </a:cubicBezTo>
                  <a:cubicBezTo>
                    <a:pt x="439" y="226"/>
                    <a:pt x="440" y="227"/>
                    <a:pt x="441" y="227"/>
                  </a:cubicBezTo>
                  <a:cubicBezTo>
                    <a:pt x="440" y="227"/>
                    <a:pt x="442" y="225"/>
                    <a:pt x="442" y="225"/>
                  </a:cubicBezTo>
                  <a:cubicBezTo>
                    <a:pt x="442" y="226"/>
                    <a:pt x="442" y="226"/>
                    <a:pt x="443" y="226"/>
                  </a:cubicBezTo>
                  <a:cubicBezTo>
                    <a:pt x="442" y="230"/>
                    <a:pt x="443" y="232"/>
                    <a:pt x="442" y="235"/>
                  </a:cubicBezTo>
                  <a:cubicBezTo>
                    <a:pt x="443" y="234"/>
                    <a:pt x="444" y="235"/>
                    <a:pt x="445" y="234"/>
                  </a:cubicBezTo>
                  <a:cubicBezTo>
                    <a:pt x="445" y="234"/>
                    <a:pt x="445" y="231"/>
                    <a:pt x="445" y="231"/>
                  </a:cubicBezTo>
                  <a:cubicBezTo>
                    <a:pt x="446" y="231"/>
                    <a:pt x="447" y="231"/>
                    <a:pt x="448" y="230"/>
                  </a:cubicBezTo>
                  <a:cubicBezTo>
                    <a:pt x="448" y="231"/>
                    <a:pt x="449" y="231"/>
                    <a:pt x="449" y="232"/>
                  </a:cubicBezTo>
                  <a:cubicBezTo>
                    <a:pt x="449" y="232"/>
                    <a:pt x="447" y="232"/>
                    <a:pt x="447" y="232"/>
                  </a:cubicBezTo>
                  <a:cubicBezTo>
                    <a:pt x="447" y="233"/>
                    <a:pt x="446" y="237"/>
                    <a:pt x="446" y="236"/>
                  </a:cubicBezTo>
                  <a:cubicBezTo>
                    <a:pt x="447" y="238"/>
                    <a:pt x="447" y="238"/>
                    <a:pt x="448" y="240"/>
                  </a:cubicBezTo>
                  <a:cubicBezTo>
                    <a:pt x="453" y="239"/>
                    <a:pt x="451" y="241"/>
                    <a:pt x="451" y="235"/>
                  </a:cubicBezTo>
                  <a:cubicBezTo>
                    <a:pt x="451" y="235"/>
                    <a:pt x="452" y="235"/>
                    <a:pt x="452" y="236"/>
                  </a:cubicBezTo>
                  <a:cubicBezTo>
                    <a:pt x="453" y="238"/>
                    <a:pt x="453" y="239"/>
                    <a:pt x="454" y="240"/>
                  </a:cubicBezTo>
                  <a:cubicBezTo>
                    <a:pt x="453" y="241"/>
                    <a:pt x="453" y="241"/>
                    <a:pt x="453" y="242"/>
                  </a:cubicBezTo>
                  <a:cubicBezTo>
                    <a:pt x="452" y="242"/>
                    <a:pt x="448" y="242"/>
                    <a:pt x="450" y="243"/>
                  </a:cubicBezTo>
                  <a:cubicBezTo>
                    <a:pt x="451" y="244"/>
                    <a:pt x="450" y="244"/>
                    <a:pt x="452" y="244"/>
                  </a:cubicBezTo>
                  <a:cubicBezTo>
                    <a:pt x="450" y="245"/>
                    <a:pt x="453" y="245"/>
                    <a:pt x="453" y="245"/>
                  </a:cubicBezTo>
                  <a:cubicBezTo>
                    <a:pt x="453" y="246"/>
                    <a:pt x="452" y="246"/>
                    <a:pt x="452" y="246"/>
                  </a:cubicBezTo>
                  <a:cubicBezTo>
                    <a:pt x="452" y="248"/>
                    <a:pt x="452" y="248"/>
                    <a:pt x="452" y="248"/>
                  </a:cubicBezTo>
                  <a:cubicBezTo>
                    <a:pt x="454" y="248"/>
                    <a:pt x="454" y="249"/>
                    <a:pt x="456" y="249"/>
                  </a:cubicBezTo>
                  <a:cubicBezTo>
                    <a:pt x="457" y="247"/>
                    <a:pt x="457" y="245"/>
                    <a:pt x="459" y="244"/>
                  </a:cubicBezTo>
                  <a:cubicBezTo>
                    <a:pt x="459" y="244"/>
                    <a:pt x="459" y="244"/>
                    <a:pt x="460" y="243"/>
                  </a:cubicBezTo>
                  <a:cubicBezTo>
                    <a:pt x="460" y="243"/>
                    <a:pt x="460" y="243"/>
                    <a:pt x="459" y="243"/>
                  </a:cubicBezTo>
                  <a:cubicBezTo>
                    <a:pt x="460" y="242"/>
                    <a:pt x="461" y="241"/>
                    <a:pt x="462" y="240"/>
                  </a:cubicBezTo>
                  <a:cubicBezTo>
                    <a:pt x="462" y="239"/>
                    <a:pt x="462" y="238"/>
                    <a:pt x="462" y="236"/>
                  </a:cubicBezTo>
                  <a:cubicBezTo>
                    <a:pt x="461" y="234"/>
                    <a:pt x="465" y="232"/>
                    <a:pt x="463" y="232"/>
                  </a:cubicBezTo>
                  <a:cubicBezTo>
                    <a:pt x="461" y="232"/>
                    <a:pt x="462" y="228"/>
                    <a:pt x="460" y="226"/>
                  </a:cubicBezTo>
                  <a:cubicBezTo>
                    <a:pt x="458" y="225"/>
                    <a:pt x="458" y="227"/>
                    <a:pt x="457" y="224"/>
                  </a:cubicBezTo>
                  <a:cubicBezTo>
                    <a:pt x="456" y="221"/>
                    <a:pt x="455" y="219"/>
                    <a:pt x="455" y="216"/>
                  </a:cubicBezTo>
                  <a:cubicBezTo>
                    <a:pt x="455" y="213"/>
                    <a:pt x="452" y="218"/>
                    <a:pt x="449" y="216"/>
                  </a:cubicBezTo>
                  <a:cubicBezTo>
                    <a:pt x="445" y="214"/>
                    <a:pt x="446" y="211"/>
                    <a:pt x="443" y="209"/>
                  </a:cubicBezTo>
                  <a:cubicBezTo>
                    <a:pt x="439" y="207"/>
                    <a:pt x="439" y="203"/>
                    <a:pt x="437" y="200"/>
                  </a:cubicBezTo>
                  <a:cubicBezTo>
                    <a:pt x="435" y="197"/>
                    <a:pt x="428" y="191"/>
                    <a:pt x="427" y="188"/>
                  </a:cubicBezTo>
                  <a:cubicBezTo>
                    <a:pt x="425" y="186"/>
                    <a:pt x="423" y="182"/>
                    <a:pt x="419" y="181"/>
                  </a:cubicBezTo>
                  <a:cubicBezTo>
                    <a:pt x="416" y="181"/>
                    <a:pt x="416" y="179"/>
                    <a:pt x="416" y="177"/>
                  </a:cubicBezTo>
                  <a:cubicBezTo>
                    <a:pt x="416" y="174"/>
                    <a:pt x="411" y="175"/>
                    <a:pt x="410" y="172"/>
                  </a:cubicBezTo>
                  <a:cubicBezTo>
                    <a:pt x="408" y="169"/>
                    <a:pt x="405" y="172"/>
                    <a:pt x="402" y="172"/>
                  </a:cubicBezTo>
                  <a:cubicBezTo>
                    <a:pt x="400" y="172"/>
                    <a:pt x="403" y="174"/>
                    <a:pt x="402" y="177"/>
                  </a:cubicBezTo>
                  <a:cubicBezTo>
                    <a:pt x="401" y="180"/>
                    <a:pt x="398" y="179"/>
                    <a:pt x="395" y="181"/>
                  </a:cubicBezTo>
                  <a:cubicBezTo>
                    <a:pt x="390" y="186"/>
                    <a:pt x="393" y="182"/>
                    <a:pt x="391" y="179"/>
                  </a:cubicBezTo>
                  <a:cubicBezTo>
                    <a:pt x="389" y="176"/>
                    <a:pt x="383" y="173"/>
                    <a:pt x="381" y="170"/>
                  </a:cubicBezTo>
                  <a:cubicBezTo>
                    <a:pt x="379" y="167"/>
                    <a:pt x="379" y="167"/>
                    <a:pt x="378" y="164"/>
                  </a:cubicBezTo>
                  <a:cubicBezTo>
                    <a:pt x="377" y="161"/>
                    <a:pt x="380" y="155"/>
                    <a:pt x="374" y="161"/>
                  </a:cubicBezTo>
                  <a:cubicBezTo>
                    <a:pt x="373" y="162"/>
                    <a:pt x="370" y="160"/>
                    <a:pt x="369" y="159"/>
                  </a:cubicBezTo>
                  <a:cubicBezTo>
                    <a:pt x="367" y="158"/>
                    <a:pt x="361" y="161"/>
                    <a:pt x="361" y="161"/>
                  </a:cubicBezTo>
                  <a:cubicBezTo>
                    <a:pt x="358" y="22"/>
                    <a:pt x="358" y="22"/>
                    <a:pt x="358" y="22"/>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15" name="Freeform 351">
              <a:extLst>
                <a:ext uri="{FF2B5EF4-FFF2-40B4-BE49-F238E27FC236}">
                  <a16:creationId xmlns:a16="http://schemas.microsoft.com/office/drawing/2014/main" id="{147836FC-0699-7FBA-B3EB-9F91AE019E44}"/>
                </a:ext>
              </a:extLst>
            </p:cNvPr>
            <p:cNvSpPr>
              <a:spLocks noEditPoints="1"/>
            </p:cNvSpPr>
            <p:nvPr/>
          </p:nvSpPr>
          <p:spPr bwMode="auto">
            <a:xfrm>
              <a:off x="405196" y="1113450"/>
              <a:ext cx="11378455" cy="1029356"/>
            </a:xfrm>
            <a:custGeom>
              <a:avLst/>
              <a:gdLst>
                <a:gd name="T0" fmla="*/ 3206 w 3230"/>
                <a:gd name="T1" fmla="*/ 128 h 292"/>
                <a:gd name="T2" fmla="*/ 3227 w 3230"/>
                <a:gd name="T3" fmla="*/ 139 h 292"/>
                <a:gd name="T4" fmla="*/ 422 w 3230"/>
                <a:gd name="T5" fmla="*/ 230 h 292"/>
                <a:gd name="T6" fmla="*/ 435 w 3230"/>
                <a:gd name="T7" fmla="*/ 226 h 292"/>
                <a:gd name="T8" fmla="*/ 419 w 3230"/>
                <a:gd name="T9" fmla="*/ 204 h 292"/>
                <a:gd name="T10" fmla="*/ 407 w 3230"/>
                <a:gd name="T11" fmla="*/ 193 h 292"/>
                <a:gd name="T12" fmla="*/ 198 w 3230"/>
                <a:gd name="T13" fmla="*/ 242 h 292"/>
                <a:gd name="T14" fmla="*/ 215 w 3230"/>
                <a:gd name="T15" fmla="*/ 183 h 292"/>
                <a:gd name="T16" fmla="*/ 306 w 3230"/>
                <a:gd name="T17" fmla="*/ 164 h 292"/>
                <a:gd name="T18" fmla="*/ 14 w 3230"/>
                <a:gd name="T19" fmla="*/ 288 h 292"/>
                <a:gd name="T20" fmla="*/ 53 w 3230"/>
                <a:gd name="T21" fmla="*/ 284 h 292"/>
                <a:gd name="T22" fmla="*/ 20 w 3230"/>
                <a:gd name="T23" fmla="*/ 282 h 292"/>
                <a:gd name="T24" fmla="*/ 71 w 3230"/>
                <a:gd name="T25" fmla="*/ 283 h 292"/>
                <a:gd name="T26" fmla="*/ 122 w 3230"/>
                <a:gd name="T27" fmla="*/ 270 h 292"/>
                <a:gd name="T28" fmla="*/ 132 w 3230"/>
                <a:gd name="T29" fmla="*/ 270 h 292"/>
                <a:gd name="T30" fmla="*/ 167 w 3230"/>
                <a:gd name="T31" fmla="*/ 248 h 292"/>
                <a:gd name="T32" fmla="*/ 441 w 3230"/>
                <a:gd name="T33" fmla="*/ 244 h 292"/>
                <a:gd name="T34" fmla="*/ 440 w 3230"/>
                <a:gd name="T35" fmla="*/ 236 h 292"/>
                <a:gd name="T36" fmla="*/ 421 w 3230"/>
                <a:gd name="T37" fmla="*/ 222 h 292"/>
                <a:gd name="T38" fmla="*/ 424 w 3230"/>
                <a:gd name="T39" fmla="*/ 216 h 292"/>
                <a:gd name="T40" fmla="*/ 252 w 3230"/>
                <a:gd name="T41" fmla="*/ 204 h 292"/>
                <a:gd name="T42" fmla="*/ 254 w 3230"/>
                <a:gd name="T43" fmla="*/ 216 h 292"/>
                <a:gd name="T44" fmla="*/ 263 w 3230"/>
                <a:gd name="T45" fmla="*/ 196 h 292"/>
                <a:gd name="T46" fmla="*/ 150 w 3230"/>
                <a:gd name="T47" fmla="*/ 171 h 292"/>
                <a:gd name="T48" fmla="*/ 119 w 3230"/>
                <a:gd name="T49" fmla="*/ 129 h 292"/>
                <a:gd name="T50" fmla="*/ 351 w 3230"/>
                <a:gd name="T51" fmla="*/ 17 h 292"/>
                <a:gd name="T52" fmla="*/ 301 w 3230"/>
                <a:gd name="T53" fmla="*/ 15 h 292"/>
                <a:gd name="T54" fmla="*/ 260 w 3230"/>
                <a:gd name="T55" fmla="*/ 10 h 292"/>
                <a:gd name="T56" fmla="*/ 212 w 3230"/>
                <a:gd name="T57" fmla="*/ 8 h 292"/>
                <a:gd name="T58" fmla="*/ 178 w 3230"/>
                <a:gd name="T59" fmla="*/ 22 h 292"/>
                <a:gd name="T60" fmla="*/ 147 w 3230"/>
                <a:gd name="T61" fmla="*/ 53 h 292"/>
                <a:gd name="T62" fmla="*/ 182 w 3230"/>
                <a:gd name="T63" fmla="*/ 68 h 292"/>
                <a:gd name="T64" fmla="*/ 180 w 3230"/>
                <a:gd name="T65" fmla="*/ 85 h 292"/>
                <a:gd name="T66" fmla="*/ 134 w 3230"/>
                <a:gd name="T67" fmla="*/ 85 h 292"/>
                <a:gd name="T68" fmla="*/ 168 w 3230"/>
                <a:gd name="T69" fmla="*/ 104 h 292"/>
                <a:gd name="T70" fmla="*/ 179 w 3230"/>
                <a:gd name="T71" fmla="*/ 123 h 292"/>
                <a:gd name="T72" fmla="*/ 149 w 3230"/>
                <a:gd name="T73" fmla="*/ 142 h 292"/>
                <a:gd name="T74" fmla="*/ 165 w 3230"/>
                <a:gd name="T75" fmla="*/ 157 h 292"/>
                <a:gd name="T76" fmla="*/ 176 w 3230"/>
                <a:gd name="T77" fmla="*/ 165 h 292"/>
                <a:gd name="T78" fmla="*/ 189 w 3230"/>
                <a:gd name="T79" fmla="*/ 186 h 292"/>
                <a:gd name="T80" fmla="*/ 214 w 3230"/>
                <a:gd name="T81" fmla="*/ 190 h 292"/>
                <a:gd name="T82" fmla="*/ 211 w 3230"/>
                <a:gd name="T83" fmla="*/ 214 h 292"/>
                <a:gd name="T84" fmla="*/ 170 w 3230"/>
                <a:gd name="T85" fmla="*/ 242 h 292"/>
                <a:gd name="T86" fmla="*/ 190 w 3230"/>
                <a:gd name="T87" fmla="*/ 234 h 292"/>
                <a:gd name="T88" fmla="*/ 218 w 3230"/>
                <a:gd name="T89" fmla="*/ 219 h 292"/>
                <a:gd name="T90" fmla="*/ 246 w 3230"/>
                <a:gd name="T91" fmla="*/ 195 h 292"/>
                <a:gd name="T92" fmla="*/ 256 w 3230"/>
                <a:gd name="T93" fmla="*/ 171 h 292"/>
                <a:gd name="T94" fmla="*/ 287 w 3230"/>
                <a:gd name="T95" fmla="*/ 148 h 292"/>
                <a:gd name="T96" fmla="*/ 273 w 3230"/>
                <a:gd name="T97" fmla="*/ 178 h 292"/>
                <a:gd name="T98" fmla="*/ 289 w 3230"/>
                <a:gd name="T99" fmla="*/ 170 h 292"/>
                <a:gd name="T100" fmla="*/ 308 w 3230"/>
                <a:gd name="T101" fmla="*/ 156 h 292"/>
                <a:gd name="T102" fmla="*/ 321 w 3230"/>
                <a:gd name="T103" fmla="*/ 163 h 292"/>
                <a:gd name="T104" fmla="*/ 359 w 3230"/>
                <a:gd name="T105" fmla="*/ 172 h 292"/>
                <a:gd name="T106" fmla="*/ 384 w 3230"/>
                <a:gd name="T107" fmla="*/ 181 h 292"/>
                <a:gd name="T108" fmla="*/ 411 w 3230"/>
                <a:gd name="T109" fmla="*/ 207 h 292"/>
                <a:gd name="T110" fmla="*/ 416 w 3230"/>
                <a:gd name="T111" fmla="*/ 189 h 292"/>
                <a:gd name="T112" fmla="*/ 433 w 3230"/>
                <a:gd name="T113" fmla="*/ 223 h 292"/>
                <a:gd name="T114" fmla="*/ 443 w 3230"/>
                <a:gd name="T115" fmla="*/ 226 h 292"/>
                <a:gd name="T116" fmla="*/ 453 w 3230"/>
                <a:gd name="T117" fmla="*/ 242 h 292"/>
                <a:gd name="T118" fmla="*/ 463 w 3230"/>
                <a:gd name="T119" fmla="*/ 232 h 292"/>
                <a:gd name="T120" fmla="*/ 402 w 3230"/>
                <a:gd name="T121" fmla="*/ 177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30" h="292">
                  <a:moveTo>
                    <a:pt x="87" y="160"/>
                  </a:moveTo>
                  <a:cubicBezTo>
                    <a:pt x="85" y="163"/>
                    <a:pt x="86" y="161"/>
                    <a:pt x="87" y="164"/>
                  </a:cubicBezTo>
                  <a:cubicBezTo>
                    <a:pt x="88" y="165"/>
                    <a:pt x="90" y="165"/>
                    <a:pt x="90" y="165"/>
                  </a:cubicBezTo>
                  <a:cubicBezTo>
                    <a:pt x="91" y="166"/>
                    <a:pt x="93" y="165"/>
                    <a:pt x="93" y="164"/>
                  </a:cubicBezTo>
                  <a:cubicBezTo>
                    <a:pt x="89" y="163"/>
                    <a:pt x="89" y="163"/>
                    <a:pt x="89" y="163"/>
                  </a:cubicBezTo>
                  <a:cubicBezTo>
                    <a:pt x="87" y="162"/>
                    <a:pt x="89" y="161"/>
                    <a:pt x="87" y="160"/>
                  </a:cubicBezTo>
                  <a:close/>
                  <a:moveTo>
                    <a:pt x="3214" y="127"/>
                  </a:moveTo>
                  <a:cubicBezTo>
                    <a:pt x="3213" y="130"/>
                    <a:pt x="3213" y="130"/>
                    <a:pt x="3213" y="130"/>
                  </a:cubicBezTo>
                  <a:cubicBezTo>
                    <a:pt x="3212" y="130"/>
                    <a:pt x="3211" y="130"/>
                    <a:pt x="3210" y="130"/>
                  </a:cubicBezTo>
                  <a:cubicBezTo>
                    <a:pt x="3209" y="131"/>
                    <a:pt x="3209" y="131"/>
                    <a:pt x="3209" y="131"/>
                  </a:cubicBezTo>
                  <a:cubicBezTo>
                    <a:pt x="3206" y="131"/>
                    <a:pt x="3206" y="131"/>
                    <a:pt x="3206" y="131"/>
                  </a:cubicBezTo>
                  <a:cubicBezTo>
                    <a:pt x="3206" y="130"/>
                    <a:pt x="3206" y="128"/>
                    <a:pt x="3206" y="128"/>
                  </a:cubicBezTo>
                  <a:cubicBezTo>
                    <a:pt x="3205" y="127"/>
                    <a:pt x="3205" y="129"/>
                    <a:pt x="3205" y="129"/>
                  </a:cubicBezTo>
                  <a:cubicBezTo>
                    <a:pt x="3203" y="129"/>
                    <a:pt x="3205" y="132"/>
                    <a:pt x="3204" y="133"/>
                  </a:cubicBezTo>
                  <a:cubicBezTo>
                    <a:pt x="3203" y="133"/>
                    <a:pt x="3203" y="133"/>
                    <a:pt x="3203" y="133"/>
                  </a:cubicBezTo>
                  <a:cubicBezTo>
                    <a:pt x="3203" y="133"/>
                    <a:pt x="3203" y="134"/>
                    <a:pt x="3203" y="135"/>
                  </a:cubicBezTo>
                  <a:cubicBezTo>
                    <a:pt x="3204" y="135"/>
                    <a:pt x="3205" y="135"/>
                    <a:pt x="3205" y="135"/>
                  </a:cubicBezTo>
                  <a:cubicBezTo>
                    <a:pt x="3205" y="135"/>
                    <a:pt x="3206" y="136"/>
                    <a:pt x="3207" y="135"/>
                  </a:cubicBezTo>
                  <a:cubicBezTo>
                    <a:pt x="3210" y="135"/>
                    <a:pt x="3213" y="131"/>
                    <a:pt x="3217" y="133"/>
                  </a:cubicBezTo>
                  <a:cubicBezTo>
                    <a:pt x="3217" y="134"/>
                    <a:pt x="3217" y="134"/>
                    <a:pt x="3217" y="134"/>
                  </a:cubicBezTo>
                  <a:cubicBezTo>
                    <a:pt x="3218" y="135"/>
                    <a:pt x="3223" y="139"/>
                    <a:pt x="3223" y="139"/>
                  </a:cubicBezTo>
                  <a:cubicBezTo>
                    <a:pt x="3224" y="140"/>
                    <a:pt x="3223" y="142"/>
                    <a:pt x="3224" y="142"/>
                  </a:cubicBezTo>
                  <a:cubicBezTo>
                    <a:pt x="3225" y="142"/>
                    <a:pt x="3226" y="142"/>
                    <a:pt x="3227" y="142"/>
                  </a:cubicBezTo>
                  <a:cubicBezTo>
                    <a:pt x="3227" y="142"/>
                    <a:pt x="3227" y="139"/>
                    <a:pt x="3227" y="139"/>
                  </a:cubicBezTo>
                  <a:cubicBezTo>
                    <a:pt x="3227" y="138"/>
                    <a:pt x="3228" y="138"/>
                    <a:pt x="3229" y="138"/>
                  </a:cubicBezTo>
                  <a:cubicBezTo>
                    <a:pt x="3230" y="137"/>
                    <a:pt x="3230" y="137"/>
                    <a:pt x="3230" y="137"/>
                  </a:cubicBezTo>
                  <a:cubicBezTo>
                    <a:pt x="3228" y="136"/>
                    <a:pt x="3225" y="136"/>
                    <a:pt x="3223" y="135"/>
                  </a:cubicBezTo>
                  <a:cubicBezTo>
                    <a:pt x="3221" y="133"/>
                    <a:pt x="3218" y="126"/>
                    <a:pt x="3214" y="127"/>
                  </a:cubicBezTo>
                  <a:close/>
                  <a:moveTo>
                    <a:pt x="408" y="193"/>
                  </a:moveTo>
                  <a:cubicBezTo>
                    <a:pt x="409" y="194"/>
                    <a:pt x="407" y="195"/>
                    <a:pt x="407" y="195"/>
                  </a:cubicBezTo>
                  <a:cubicBezTo>
                    <a:pt x="407" y="195"/>
                    <a:pt x="407" y="193"/>
                    <a:pt x="408" y="193"/>
                  </a:cubicBezTo>
                  <a:close/>
                  <a:moveTo>
                    <a:pt x="435" y="242"/>
                  </a:moveTo>
                  <a:cubicBezTo>
                    <a:pt x="436" y="243"/>
                    <a:pt x="436" y="244"/>
                    <a:pt x="436" y="244"/>
                  </a:cubicBezTo>
                  <a:cubicBezTo>
                    <a:pt x="438" y="245"/>
                    <a:pt x="436" y="244"/>
                    <a:pt x="437" y="244"/>
                  </a:cubicBezTo>
                  <a:cubicBezTo>
                    <a:pt x="437" y="243"/>
                    <a:pt x="436" y="243"/>
                    <a:pt x="435" y="242"/>
                  </a:cubicBezTo>
                  <a:close/>
                  <a:moveTo>
                    <a:pt x="422" y="230"/>
                  </a:moveTo>
                  <a:cubicBezTo>
                    <a:pt x="422" y="231"/>
                    <a:pt x="422" y="231"/>
                    <a:pt x="422" y="231"/>
                  </a:cubicBezTo>
                  <a:cubicBezTo>
                    <a:pt x="425" y="232"/>
                    <a:pt x="423" y="230"/>
                    <a:pt x="422" y="230"/>
                  </a:cubicBezTo>
                  <a:close/>
                  <a:moveTo>
                    <a:pt x="435" y="226"/>
                  </a:moveTo>
                  <a:cubicBezTo>
                    <a:pt x="435" y="227"/>
                    <a:pt x="435" y="227"/>
                    <a:pt x="435" y="227"/>
                  </a:cubicBezTo>
                  <a:cubicBezTo>
                    <a:pt x="435" y="228"/>
                    <a:pt x="439" y="229"/>
                    <a:pt x="440" y="230"/>
                  </a:cubicBezTo>
                  <a:cubicBezTo>
                    <a:pt x="440" y="230"/>
                    <a:pt x="440" y="231"/>
                    <a:pt x="440" y="232"/>
                  </a:cubicBezTo>
                  <a:cubicBezTo>
                    <a:pt x="440" y="232"/>
                    <a:pt x="441" y="232"/>
                    <a:pt x="440" y="231"/>
                  </a:cubicBezTo>
                  <a:cubicBezTo>
                    <a:pt x="442" y="231"/>
                    <a:pt x="440" y="230"/>
                    <a:pt x="440" y="230"/>
                  </a:cubicBezTo>
                  <a:cubicBezTo>
                    <a:pt x="440" y="229"/>
                    <a:pt x="440" y="228"/>
                    <a:pt x="440" y="228"/>
                  </a:cubicBezTo>
                  <a:cubicBezTo>
                    <a:pt x="438" y="227"/>
                    <a:pt x="438" y="228"/>
                    <a:pt x="437" y="228"/>
                  </a:cubicBezTo>
                  <a:cubicBezTo>
                    <a:pt x="437" y="226"/>
                    <a:pt x="437" y="226"/>
                    <a:pt x="437" y="226"/>
                  </a:cubicBezTo>
                  <a:cubicBezTo>
                    <a:pt x="436" y="226"/>
                    <a:pt x="436" y="226"/>
                    <a:pt x="435" y="226"/>
                  </a:cubicBezTo>
                  <a:close/>
                  <a:moveTo>
                    <a:pt x="408" y="212"/>
                  </a:moveTo>
                  <a:cubicBezTo>
                    <a:pt x="408" y="213"/>
                    <a:pt x="408" y="214"/>
                    <a:pt x="408" y="214"/>
                  </a:cubicBezTo>
                  <a:cubicBezTo>
                    <a:pt x="407" y="214"/>
                    <a:pt x="407" y="217"/>
                    <a:pt x="409" y="216"/>
                  </a:cubicBezTo>
                  <a:cubicBezTo>
                    <a:pt x="409" y="215"/>
                    <a:pt x="409" y="212"/>
                    <a:pt x="408" y="212"/>
                  </a:cubicBezTo>
                  <a:close/>
                  <a:moveTo>
                    <a:pt x="425" y="206"/>
                  </a:moveTo>
                  <a:cubicBezTo>
                    <a:pt x="426" y="207"/>
                    <a:pt x="426" y="207"/>
                    <a:pt x="426" y="207"/>
                  </a:cubicBezTo>
                  <a:cubicBezTo>
                    <a:pt x="425" y="206"/>
                    <a:pt x="426" y="206"/>
                    <a:pt x="425" y="206"/>
                  </a:cubicBezTo>
                  <a:close/>
                  <a:moveTo>
                    <a:pt x="401" y="201"/>
                  </a:moveTo>
                  <a:cubicBezTo>
                    <a:pt x="402" y="203"/>
                    <a:pt x="402" y="203"/>
                    <a:pt x="402" y="203"/>
                  </a:cubicBezTo>
                  <a:cubicBezTo>
                    <a:pt x="402" y="202"/>
                    <a:pt x="402" y="201"/>
                    <a:pt x="401" y="201"/>
                  </a:cubicBezTo>
                  <a:close/>
                  <a:moveTo>
                    <a:pt x="416" y="199"/>
                  </a:moveTo>
                  <a:cubicBezTo>
                    <a:pt x="417" y="201"/>
                    <a:pt x="419" y="203"/>
                    <a:pt x="419" y="204"/>
                  </a:cubicBezTo>
                  <a:cubicBezTo>
                    <a:pt x="419" y="205"/>
                    <a:pt x="419" y="207"/>
                    <a:pt x="419" y="208"/>
                  </a:cubicBezTo>
                  <a:cubicBezTo>
                    <a:pt x="419" y="209"/>
                    <a:pt x="421" y="209"/>
                    <a:pt x="421" y="210"/>
                  </a:cubicBezTo>
                  <a:cubicBezTo>
                    <a:pt x="421" y="210"/>
                    <a:pt x="421" y="213"/>
                    <a:pt x="420" y="212"/>
                  </a:cubicBezTo>
                  <a:cubicBezTo>
                    <a:pt x="421" y="215"/>
                    <a:pt x="421" y="215"/>
                    <a:pt x="421" y="215"/>
                  </a:cubicBezTo>
                  <a:cubicBezTo>
                    <a:pt x="423" y="213"/>
                    <a:pt x="427" y="212"/>
                    <a:pt x="425" y="208"/>
                  </a:cubicBezTo>
                  <a:cubicBezTo>
                    <a:pt x="425" y="207"/>
                    <a:pt x="423" y="206"/>
                    <a:pt x="423" y="206"/>
                  </a:cubicBezTo>
                  <a:cubicBezTo>
                    <a:pt x="423" y="204"/>
                    <a:pt x="423" y="204"/>
                    <a:pt x="423" y="204"/>
                  </a:cubicBezTo>
                  <a:cubicBezTo>
                    <a:pt x="424" y="205"/>
                    <a:pt x="424" y="203"/>
                    <a:pt x="424" y="202"/>
                  </a:cubicBezTo>
                  <a:cubicBezTo>
                    <a:pt x="421" y="200"/>
                    <a:pt x="422" y="200"/>
                    <a:pt x="416" y="199"/>
                  </a:cubicBezTo>
                  <a:close/>
                  <a:moveTo>
                    <a:pt x="402" y="187"/>
                  </a:moveTo>
                  <a:cubicBezTo>
                    <a:pt x="403" y="189"/>
                    <a:pt x="403" y="189"/>
                    <a:pt x="403" y="189"/>
                  </a:cubicBezTo>
                  <a:cubicBezTo>
                    <a:pt x="407" y="190"/>
                    <a:pt x="406" y="189"/>
                    <a:pt x="407" y="193"/>
                  </a:cubicBezTo>
                  <a:cubicBezTo>
                    <a:pt x="405" y="193"/>
                    <a:pt x="404" y="192"/>
                    <a:pt x="401" y="192"/>
                  </a:cubicBezTo>
                  <a:cubicBezTo>
                    <a:pt x="401" y="190"/>
                    <a:pt x="401" y="190"/>
                    <a:pt x="400" y="189"/>
                  </a:cubicBezTo>
                  <a:cubicBezTo>
                    <a:pt x="401" y="188"/>
                    <a:pt x="400" y="187"/>
                    <a:pt x="402" y="187"/>
                  </a:cubicBezTo>
                  <a:close/>
                  <a:moveTo>
                    <a:pt x="413" y="183"/>
                  </a:moveTo>
                  <a:cubicBezTo>
                    <a:pt x="413" y="183"/>
                    <a:pt x="413" y="185"/>
                    <a:pt x="413" y="185"/>
                  </a:cubicBezTo>
                  <a:cubicBezTo>
                    <a:pt x="411" y="186"/>
                    <a:pt x="412" y="183"/>
                    <a:pt x="413" y="183"/>
                  </a:cubicBezTo>
                  <a:close/>
                  <a:moveTo>
                    <a:pt x="176" y="246"/>
                  </a:moveTo>
                  <a:cubicBezTo>
                    <a:pt x="175" y="246"/>
                    <a:pt x="172" y="250"/>
                    <a:pt x="176" y="248"/>
                  </a:cubicBezTo>
                  <a:cubicBezTo>
                    <a:pt x="176" y="248"/>
                    <a:pt x="178" y="245"/>
                    <a:pt x="176" y="246"/>
                  </a:cubicBezTo>
                  <a:close/>
                  <a:moveTo>
                    <a:pt x="198" y="242"/>
                  </a:moveTo>
                  <a:cubicBezTo>
                    <a:pt x="197" y="243"/>
                    <a:pt x="194" y="248"/>
                    <a:pt x="197" y="246"/>
                  </a:cubicBezTo>
                  <a:cubicBezTo>
                    <a:pt x="198" y="246"/>
                    <a:pt x="199" y="242"/>
                    <a:pt x="198" y="242"/>
                  </a:cubicBezTo>
                  <a:close/>
                  <a:moveTo>
                    <a:pt x="192" y="239"/>
                  </a:moveTo>
                  <a:cubicBezTo>
                    <a:pt x="192" y="239"/>
                    <a:pt x="191" y="241"/>
                    <a:pt x="191" y="242"/>
                  </a:cubicBezTo>
                  <a:cubicBezTo>
                    <a:pt x="192" y="241"/>
                    <a:pt x="195" y="241"/>
                    <a:pt x="193" y="240"/>
                  </a:cubicBezTo>
                  <a:cubicBezTo>
                    <a:pt x="193" y="239"/>
                    <a:pt x="193" y="239"/>
                    <a:pt x="192" y="239"/>
                  </a:cubicBezTo>
                  <a:close/>
                  <a:moveTo>
                    <a:pt x="257" y="214"/>
                  </a:moveTo>
                  <a:cubicBezTo>
                    <a:pt x="256" y="216"/>
                    <a:pt x="256" y="216"/>
                    <a:pt x="256" y="216"/>
                  </a:cubicBezTo>
                  <a:cubicBezTo>
                    <a:pt x="257" y="216"/>
                    <a:pt x="258" y="216"/>
                    <a:pt x="258" y="216"/>
                  </a:cubicBezTo>
                  <a:cubicBezTo>
                    <a:pt x="258" y="216"/>
                    <a:pt x="260" y="213"/>
                    <a:pt x="257" y="214"/>
                  </a:cubicBezTo>
                  <a:close/>
                  <a:moveTo>
                    <a:pt x="257" y="198"/>
                  </a:moveTo>
                  <a:cubicBezTo>
                    <a:pt x="257" y="200"/>
                    <a:pt x="257" y="200"/>
                    <a:pt x="257" y="200"/>
                  </a:cubicBezTo>
                  <a:cubicBezTo>
                    <a:pt x="260" y="200"/>
                    <a:pt x="259" y="199"/>
                    <a:pt x="257" y="198"/>
                  </a:cubicBezTo>
                  <a:close/>
                  <a:moveTo>
                    <a:pt x="215" y="183"/>
                  </a:moveTo>
                  <a:cubicBezTo>
                    <a:pt x="216" y="182"/>
                    <a:pt x="216" y="185"/>
                    <a:pt x="215" y="185"/>
                  </a:cubicBezTo>
                  <a:cubicBezTo>
                    <a:pt x="214" y="184"/>
                    <a:pt x="214" y="183"/>
                    <a:pt x="215" y="183"/>
                  </a:cubicBezTo>
                  <a:close/>
                  <a:moveTo>
                    <a:pt x="309" y="167"/>
                  </a:moveTo>
                  <a:cubicBezTo>
                    <a:pt x="309" y="169"/>
                    <a:pt x="309" y="170"/>
                    <a:pt x="308" y="171"/>
                  </a:cubicBezTo>
                  <a:cubicBezTo>
                    <a:pt x="308" y="172"/>
                    <a:pt x="307" y="172"/>
                    <a:pt x="307" y="173"/>
                  </a:cubicBezTo>
                  <a:cubicBezTo>
                    <a:pt x="309" y="171"/>
                    <a:pt x="313" y="169"/>
                    <a:pt x="309" y="167"/>
                  </a:cubicBezTo>
                  <a:close/>
                  <a:moveTo>
                    <a:pt x="315" y="165"/>
                  </a:moveTo>
                  <a:cubicBezTo>
                    <a:pt x="315" y="167"/>
                    <a:pt x="315" y="167"/>
                    <a:pt x="315" y="167"/>
                  </a:cubicBezTo>
                  <a:cubicBezTo>
                    <a:pt x="317" y="167"/>
                    <a:pt x="317" y="165"/>
                    <a:pt x="315" y="165"/>
                  </a:cubicBezTo>
                  <a:close/>
                  <a:moveTo>
                    <a:pt x="306" y="164"/>
                  </a:moveTo>
                  <a:cubicBezTo>
                    <a:pt x="306" y="165"/>
                    <a:pt x="306" y="165"/>
                    <a:pt x="306" y="165"/>
                  </a:cubicBezTo>
                  <a:cubicBezTo>
                    <a:pt x="308" y="166"/>
                    <a:pt x="307" y="164"/>
                    <a:pt x="306" y="164"/>
                  </a:cubicBezTo>
                  <a:close/>
                  <a:moveTo>
                    <a:pt x="155" y="158"/>
                  </a:moveTo>
                  <a:cubicBezTo>
                    <a:pt x="155" y="159"/>
                    <a:pt x="153" y="159"/>
                    <a:pt x="154" y="161"/>
                  </a:cubicBezTo>
                  <a:cubicBezTo>
                    <a:pt x="155" y="161"/>
                    <a:pt x="155" y="161"/>
                    <a:pt x="155" y="161"/>
                  </a:cubicBezTo>
                  <a:cubicBezTo>
                    <a:pt x="156" y="161"/>
                    <a:pt x="155" y="162"/>
                    <a:pt x="157" y="163"/>
                  </a:cubicBezTo>
                  <a:cubicBezTo>
                    <a:pt x="157" y="164"/>
                    <a:pt x="157" y="164"/>
                    <a:pt x="157" y="164"/>
                  </a:cubicBezTo>
                  <a:cubicBezTo>
                    <a:pt x="159" y="163"/>
                    <a:pt x="164" y="162"/>
                    <a:pt x="159" y="159"/>
                  </a:cubicBezTo>
                  <a:cubicBezTo>
                    <a:pt x="158" y="158"/>
                    <a:pt x="157" y="159"/>
                    <a:pt x="155" y="158"/>
                  </a:cubicBezTo>
                  <a:close/>
                  <a:moveTo>
                    <a:pt x="157" y="129"/>
                  </a:moveTo>
                  <a:cubicBezTo>
                    <a:pt x="158" y="130"/>
                    <a:pt x="156" y="130"/>
                    <a:pt x="156" y="130"/>
                  </a:cubicBezTo>
                  <a:cubicBezTo>
                    <a:pt x="156" y="130"/>
                    <a:pt x="156" y="132"/>
                    <a:pt x="156" y="132"/>
                  </a:cubicBezTo>
                  <a:cubicBezTo>
                    <a:pt x="160" y="131"/>
                    <a:pt x="161" y="132"/>
                    <a:pt x="157" y="129"/>
                  </a:cubicBezTo>
                  <a:close/>
                  <a:moveTo>
                    <a:pt x="14" y="288"/>
                  </a:moveTo>
                  <a:cubicBezTo>
                    <a:pt x="13" y="290"/>
                    <a:pt x="13" y="290"/>
                    <a:pt x="13" y="290"/>
                  </a:cubicBezTo>
                  <a:cubicBezTo>
                    <a:pt x="14" y="290"/>
                    <a:pt x="16" y="292"/>
                    <a:pt x="16" y="292"/>
                  </a:cubicBezTo>
                  <a:cubicBezTo>
                    <a:pt x="18" y="292"/>
                    <a:pt x="18" y="292"/>
                    <a:pt x="18" y="292"/>
                  </a:cubicBezTo>
                  <a:cubicBezTo>
                    <a:pt x="18" y="292"/>
                    <a:pt x="18" y="291"/>
                    <a:pt x="18" y="290"/>
                  </a:cubicBezTo>
                  <a:cubicBezTo>
                    <a:pt x="17" y="289"/>
                    <a:pt x="15" y="288"/>
                    <a:pt x="14" y="288"/>
                  </a:cubicBezTo>
                  <a:close/>
                  <a:moveTo>
                    <a:pt x="42" y="284"/>
                  </a:moveTo>
                  <a:cubicBezTo>
                    <a:pt x="43" y="285"/>
                    <a:pt x="43" y="287"/>
                    <a:pt x="44" y="288"/>
                  </a:cubicBezTo>
                  <a:cubicBezTo>
                    <a:pt x="45" y="288"/>
                    <a:pt x="45" y="288"/>
                    <a:pt x="45" y="288"/>
                  </a:cubicBezTo>
                  <a:cubicBezTo>
                    <a:pt x="44" y="286"/>
                    <a:pt x="44" y="286"/>
                    <a:pt x="44" y="286"/>
                  </a:cubicBezTo>
                  <a:cubicBezTo>
                    <a:pt x="45" y="286"/>
                    <a:pt x="45" y="285"/>
                    <a:pt x="45" y="284"/>
                  </a:cubicBezTo>
                  <a:cubicBezTo>
                    <a:pt x="45" y="284"/>
                    <a:pt x="43" y="284"/>
                    <a:pt x="42" y="284"/>
                  </a:cubicBezTo>
                  <a:close/>
                  <a:moveTo>
                    <a:pt x="53" y="284"/>
                  </a:moveTo>
                  <a:cubicBezTo>
                    <a:pt x="52" y="284"/>
                    <a:pt x="52" y="287"/>
                    <a:pt x="52" y="288"/>
                  </a:cubicBezTo>
                  <a:cubicBezTo>
                    <a:pt x="52" y="287"/>
                    <a:pt x="54" y="285"/>
                    <a:pt x="54" y="285"/>
                  </a:cubicBezTo>
                  <a:cubicBezTo>
                    <a:pt x="54" y="285"/>
                    <a:pt x="53" y="282"/>
                    <a:pt x="53" y="284"/>
                  </a:cubicBezTo>
                  <a:close/>
                  <a:moveTo>
                    <a:pt x="49" y="284"/>
                  </a:moveTo>
                  <a:cubicBezTo>
                    <a:pt x="49" y="284"/>
                    <a:pt x="48" y="288"/>
                    <a:pt x="49" y="287"/>
                  </a:cubicBezTo>
                  <a:cubicBezTo>
                    <a:pt x="50" y="287"/>
                    <a:pt x="52" y="282"/>
                    <a:pt x="49" y="284"/>
                  </a:cubicBezTo>
                  <a:close/>
                  <a:moveTo>
                    <a:pt x="83" y="283"/>
                  </a:moveTo>
                  <a:cubicBezTo>
                    <a:pt x="83" y="283"/>
                    <a:pt x="82" y="284"/>
                    <a:pt x="82" y="284"/>
                  </a:cubicBezTo>
                  <a:cubicBezTo>
                    <a:pt x="83" y="284"/>
                    <a:pt x="84" y="284"/>
                    <a:pt x="85" y="284"/>
                  </a:cubicBezTo>
                  <a:cubicBezTo>
                    <a:pt x="85" y="284"/>
                    <a:pt x="85" y="283"/>
                    <a:pt x="85" y="283"/>
                  </a:cubicBezTo>
                  <a:cubicBezTo>
                    <a:pt x="84" y="283"/>
                    <a:pt x="83" y="283"/>
                    <a:pt x="83" y="283"/>
                  </a:cubicBezTo>
                  <a:close/>
                  <a:moveTo>
                    <a:pt x="20" y="282"/>
                  </a:moveTo>
                  <a:cubicBezTo>
                    <a:pt x="20" y="283"/>
                    <a:pt x="19" y="284"/>
                    <a:pt x="20" y="286"/>
                  </a:cubicBezTo>
                  <a:cubicBezTo>
                    <a:pt x="20" y="285"/>
                    <a:pt x="22" y="286"/>
                    <a:pt x="22" y="286"/>
                  </a:cubicBezTo>
                  <a:cubicBezTo>
                    <a:pt x="22" y="285"/>
                    <a:pt x="22" y="283"/>
                    <a:pt x="22" y="283"/>
                  </a:cubicBezTo>
                  <a:cubicBezTo>
                    <a:pt x="22" y="283"/>
                    <a:pt x="20" y="282"/>
                    <a:pt x="20" y="282"/>
                  </a:cubicBezTo>
                  <a:close/>
                  <a:moveTo>
                    <a:pt x="4" y="282"/>
                  </a:moveTo>
                  <a:cubicBezTo>
                    <a:pt x="3" y="282"/>
                    <a:pt x="0" y="287"/>
                    <a:pt x="4" y="286"/>
                  </a:cubicBezTo>
                  <a:cubicBezTo>
                    <a:pt x="4" y="285"/>
                    <a:pt x="4" y="282"/>
                    <a:pt x="4" y="282"/>
                  </a:cubicBezTo>
                  <a:close/>
                  <a:moveTo>
                    <a:pt x="71" y="278"/>
                  </a:moveTo>
                  <a:cubicBezTo>
                    <a:pt x="71" y="278"/>
                    <a:pt x="71" y="281"/>
                    <a:pt x="71" y="281"/>
                  </a:cubicBezTo>
                  <a:cubicBezTo>
                    <a:pt x="70" y="282"/>
                    <a:pt x="69" y="281"/>
                    <a:pt x="68" y="282"/>
                  </a:cubicBezTo>
                  <a:cubicBezTo>
                    <a:pt x="68" y="282"/>
                    <a:pt x="68" y="282"/>
                    <a:pt x="68" y="282"/>
                  </a:cubicBezTo>
                  <a:cubicBezTo>
                    <a:pt x="68" y="282"/>
                    <a:pt x="70" y="283"/>
                    <a:pt x="71" y="283"/>
                  </a:cubicBezTo>
                  <a:cubicBezTo>
                    <a:pt x="71" y="283"/>
                    <a:pt x="78" y="275"/>
                    <a:pt x="71" y="278"/>
                  </a:cubicBezTo>
                  <a:close/>
                  <a:moveTo>
                    <a:pt x="103" y="277"/>
                  </a:moveTo>
                  <a:cubicBezTo>
                    <a:pt x="101" y="277"/>
                    <a:pt x="104" y="278"/>
                    <a:pt x="105" y="278"/>
                  </a:cubicBezTo>
                  <a:cubicBezTo>
                    <a:pt x="104" y="278"/>
                    <a:pt x="105" y="277"/>
                    <a:pt x="103" y="277"/>
                  </a:cubicBezTo>
                  <a:close/>
                  <a:moveTo>
                    <a:pt x="109" y="275"/>
                  </a:moveTo>
                  <a:cubicBezTo>
                    <a:pt x="108" y="275"/>
                    <a:pt x="110" y="276"/>
                    <a:pt x="110" y="276"/>
                  </a:cubicBezTo>
                  <a:cubicBezTo>
                    <a:pt x="110" y="276"/>
                    <a:pt x="112" y="274"/>
                    <a:pt x="109" y="275"/>
                  </a:cubicBezTo>
                  <a:close/>
                  <a:moveTo>
                    <a:pt x="126" y="266"/>
                  </a:moveTo>
                  <a:cubicBezTo>
                    <a:pt x="126" y="266"/>
                    <a:pt x="126" y="266"/>
                    <a:pt x="126" y="266"/>
                  </a:cubicBezTo>
                  <a:cubicBezTo>
                    <a:pt x="123" y="268"/>
                    <a:pt x="125" y="268"/>
                    <a:pt x="125" y="268"/>
                  </a:cubicBezTo>
                  <a:cubicBezTo>
                    <a:pt x="124" y="269"/>
                    <a:pt x="123" y="268"/>
                    <a:pt x="122" y="269"/>
                  </a:cubicBezTo>
                  <a:cubicBezTo>
                    <a:pt x="122" y="270"/>
                    <a:pt x="122" y="270"/>
                    <a:pt x="122" y="270"/>
                  </a:cubicBezTo>
                  <a:cubicBezTo>
                    <a:pt x="121" y="270"/>
                    <a:pt x="121" y="270"/>
                    <a:pt x="121" y="270"/>
                  </a:cubicBezTo>
                  <a:cubicBezTo>
                    <a:pt x="121" y="271"/>
                    <a:pt x="122" y="272"/>
                    <a:pt x="121" y="273"/>
                  </a:cubicBezTo>
                  <a:cubicBezTo>
                    <a:pt x="123" y="273"/>
                    <a:pt x="123" y="273"/>
                    <a:pt x="123" y="273"/>
                  </a:cubicBezTo>
                  <a:cubicBezTo>
                    <a:pt x="124" y="273"/>
                    <a:pt x="125" y="269"/>
                    <a:pt x="127" y="268"/>
                  </a:cubicBezTo>
                  <a:cubicBezTo>
                    <a:pt x="128" y="268"/>
                    <a:pt x="128" y="268"/>
                    <a:pt x="128" y="268"/>
                  </a:cubicBezTo>
                  <a:cubicBezTo>
                    <a:pt x="128" y="268"/>
                    <a:pt x="128" y="266"/>
                    <a:pt x="128" y="266"/>
                  </a:cubicBezTo>
                  <a:cubicBezTo>
                    <a:pt x="127" y="266"/>
                    <a:pt x="126" y="265"/>
                    <a:pt x="126" y="266"/>
                  </a:cubicBezTo>
                  <a:close/>
                  <a:moveTo>
                    <a:pt x="137" y="262"/>
                  </a:moveTo>
                  <a:cubicBezTo>
                    <a:pt x="136" y="263"/>
                    <a:pt x="133" y="264"/>
                    <a:pt x="137" y="265"/>
                  </a:cubicBezTo>
                  <a:cubicBezTo>
                    <a:pt x="136" y="265"/>
                    <a:pt x="135" y="267"/>
                    <a:pt x="134" y="268"/>
                  </a:cubicBezTo>
                  <a:cubicBezTo>
                    <a:pt x="133" y="268"/>
                    <a:pt x="132" y="267"/>
                    <a:pt x="131" y="268"/>
                  </a:cubicBezTo>
                  <a:cubicBezTo>
                    <a:pt x="132" y="270"/>
                    <a:pt x="132" y="270"/>
                    <a:pt x="132" y="270"/>
                  </a:cubicBezTo>
                  <a:cubicBezTo>
                    <a:pt x="133" y="270"/>
                    <a:pt x="134" y="269"/>
                    <a:pt x="135" y="270"/>
                  </a:cubicBezTo>
                  <a:cubicBezTo>
                    <a:pt x="137" y="268"/>
                    <a:pt x="139" y="265"/>
                    <a:pt x="141" y="263"/>
                  </a:cubicBezTo>
                  <a:cubicBezTo>
                    <a:pt x="139" y="262"/>
                    <a:pt x="138" y="262"/>
                    <a:pt x="137" y="262"/>
                  </a:cubicBezTo>
                  <a:close/>
                  <a:moveTo>
                    <a:pt x="162" y="245"/>
                  </a:moveTo>
                  <a:cubicBezTo>
                    <a:pt x="161" y="246"/>
                    <a:pt x="161" y="246"/>
                    <a:pt x="161" y="246"/>
                  </a:cubicBezTo>
                  <a:cubicBezTo>
                    <a:pt x="160" y="247"/>
                    <a:pt x="158" y="246"/>
                    <a:pt x="157" y="246"/>
                  </a:cubicBezTo>
                  <a:cubicBezTo>
                    <a:pt x="156" y="248"/>
                    <a:pt x="156" y="250"/>
                    <a:pt x="155" y="251"/>
                  </a:cubicBezTo>
                  <a:cubicBezTo>
                    <a:pt x="154" y="251"/>
                    <a:pt x="154" y="251"/>
                    <a:pt x="154" y="251"/>
                  </a:cubicBezTo>
                  <a:cubicBezTo>
                    <a:pt x="154" y="252"/>
                    <a:pt x="154" y="252"/>
                    <a:pt x="154" y="253"/>
                  </a:cubicBezTo>
                  <a:cubicBezTo>
                    <a:pt x="155" y="253"/>
                    <a:pt x="156" y="253"/>
                    <a:pt x="156" y="253"/>
                  </a:cubicBezTo>
                  <a:cubicBezTo>
                    <a:pt x="157" y="253"/>
                    <a:pt x="160" y="250"/>
                    <a:pt x="161" y="250"/>
                  </a:cubicBezTo>
                  <a:cubicBezTo>
                    <a:pt x="165" y="249"/>
                    <a:pt x="166" y="250"/>
                    <a:pt x="167" y="248"/>
                  </a:cubicBezTo>
                  <a:cubicBezTo>
                    <a:pt x="167" y="247"/>
                    <a:pt x="169" y="248"/>
                    <a:pt x="167" y="247"/>
                  </a:cubicBezTo>
                  <a:cubicBezTo>
                    <a:pt x="166" y="246"/>
                    <a:pt x="166" y="245"/>
                    <a:pt x="162" y="245"/>
                  </a:cubicBezTo>
                  <a:close/>
                  <a:moveTo>
                    <a:pt x="430" y="226"/>
                  </a:moveTo>
                  <a:cubicBezTo>
                    <a:pt x="429" y="228"/>
                    <a:pt x="429" y="230"/>
                    <a:pt x="428" y="231"/>
                  </a:cubicBezTo>
                  <a:cubicBezTo>
                    <a:pt x="429" y="231"/>
                    <a:pt x="431" y="231"/>
                    <a:pt x="432" y="231"/>
                  </a:cubicBezTo>
                  <a:cubicBezTo>
                    <a:pt x="432" y="233"/>
                    <a:pt x="432" y="233"/>
                    <a:pt x="433" y="235"/>
                  </a:cubicBezTo>
                  <a:cubicBezTo>
                    <a:pt x="434" y="235"/>
                    <a:pt x="434" y="235"/>
                    <a:pt x="434" y="235"/>
                  </a:cubicBezTo>
                  <a:cubicBezTo>
                    <a:pt x="434" y="235"/>
                    <a:pt x="435" y="234"/>
                    <a:pt x="436" y="234"/>
                  </a:cubicBezTo>
                  <a:cubicBezTo>
                    <a:pt x="436" y="235"/>
                    <a:pt x="435" y="238"/>
                    <a:pt x="436" y="238"/>
                  </a:cubicBezTo>
                  <a:cubicBezTo>
                    <a:pt x="435" y="239"/>
                    <a:pt x="435" y="239"/>
                    <a:pt x="435" y="239"/>
                  </a:cubicBezTo>
                  <a:cubicBezTo>
                    <a:pt x="437" y="239"/>
                    <a:pt x="440" y="240"/>
                    <a:pt x="441" y="241"/>
                  </a:cubicBezTo>
                  <a:cubicBezTo>
                    <a:pt x="441" y="241"/>
                    <a:pt x="440" y="243"/>
                    <a:pt x="441" y="244"/>
                  </a:cubicBezTo>
                  <a:cubicBezTo>
                    <a:pt x="443" y="244"/>
                    <a:pt x="443" y="244"/>
                    <a:pt x="443" y="244"/>
                  </a:cubicBezTo>
                  <a:cubicBezTo>
                    <a:pt x="443" y="245"/>
                    <a:pt x="443" y="246"/>
                    <a:pt x="443" y="248"/>
                  </a:cubicBezTo>
                  <a:cubicBezTo>
                    <a:pt x="443" y="248"/>
                    <a:pt x="444" y="248"/>
                    <a:pt x="444" y="249"/>
                  </a:cubicBezTo>
                  <a:cubicBezTo>
                    <a:pt x="445" y="249"/>
                    <a:pt x="447" y="249"/>
                    <a:pt x="448" y="249"/>
                  </a:cubicBezTo>
                  <a:cubicBezTo>
                    <a:pt x="447" y="242"/>
                    <a:pt x="449" y="243"/>
                    <a:pt x="445" y="244"/>
                  </a:cubicBezTo>
                  <a:cubicBezTo>
                    <a:pt x="446" y="242"/>
                    <a:pt x="446" y="242"/>
                    <a:pt x="446" y="240"/>
                  </a:cubicBezTo>
                  <a:cubicBezTo>
                    <a:pt x="446" y="240"/>
                    <a:pt x="446" y="238"/>
                    <a:pt x="446" y="238"/>
                  </a:cubicBezTo>
                  <a:cubicBezTo>
                    <a:pt x="445" y="238"/>
                    <a:pt x="443" y="239"/>
                    <a:pt x="442" y="238"/>
                  </a:cubicBezTo>
                  <a:cubicBezTo>
                    <a:pt x="442" y="238"/>
                    <a:pt x="442" y="238"/>
                    <a:pt x="442" y="238"/>
                  </a:cubicBezTo>
                  <a:cubicBezTo>
                    <a:pt x="442" y="238"/>
                    <a:pt x="442" y="238"/>
                    <a:pt x="442" y="238"/>
                  </a:cubicBezTo>
                  <a:cubicBezTo>
                    <a:pt x="441" y="236"/>
                    <a:pt x="441" y="236"/>
                    <a:pt x="441" y="236"/>
                  </a:cubicBezTo>
                  <a:cubicBezTo>
                    <a:pt x="440" y="236"/>
                    <a:pt x="440" y="236"/>
                    <a:pt x="440" y="236"/>
                  </a:cubicBezTo>
                  <a:cubicBezTo>
                    <a:pt x="439" y="234"/>
                    <a:pt x="440" y="233"/>
                    <a:pt x="439" y="232"/>
                  </a:cubicBezTo>
                  <a:cubicBezTo>
                    <a:pt x="438" y="231"/>
                    <a:pt x="436" y="231"/>
                    <a:pt x="435" y="230"/>
                  </a:cubicBezTo>
                  <a:cubicBezTo>
                    <a:pt x="434" y="230"/>
                    <a:pt x="435" y="228"/>
                    <a:pt x="434" y="228"/>
                  </a:cubicBezTo>
                  <a:cubicBezTo>
                    <a:pt x="434" y="227"/>
                    <a:pt x="430" y="227"/>
                    <a:pt x="430" y="226"/>
                  </a:cubicBezTo>
                  <a:close/>
                  <a:moveTo>
                    <a:pt x="412" y="210"/>
                  </a:moveTo>
                  <a:cubicBezTo>
                    <a:pt x="412" y="210"/>
                    <a:pt x="411" y="213"/>
                    <a:pt x="411" y="214"/>
                  </a:cubicBezTo>
                  <a:cubicBezTo>
                    <a:pt x="411" y="215"/>
                    <a:pt x="413" y="217"/>
                    <a:pt x="414" y="218"/>
                  </a:cubicBezTo>
                  <a:cubicBezTo>
                    <a:pt x="414" y="218"/>
                    <a:pt x="414" y="219"/>
                    <a:pt x="414" y="220"/>
                  </a:cubicBezTo>
                  <a:cubicBezTo>
                    <a:pt x="414" y="220"/>
                    <a:pt x="417" y="221"/>
                    <a:pt x="417" y="221"/>
                  </a:cubicBezTo>
                  <a:cubicBezTo>
                    <a:pt x="418" y="222"/>
                    <a:pt x="417" y="223"/>
                    <a:pt x="418" y="224"/>
                  </a:cubicBezTo>
                  <a:cubicBezTo>
                    <a:pt x="418" y="225"/>
                    <a:pt x="420" y="225"/>
                    <a:pt x="420" y="226"/>
                  </a:cubicBezTo>
                  <a:cubicBezTo>
                    <a:pt x="421" y="224"/>
                    <a:pt x="421" y="224"/>
                    <a:pt x="421" y="222"/>
                  </a:cubicBezTo>
                  <a:cubicBezTo>
                    <a:pt x="422" y="223"/>
                    <a:pt x="422" y="223"/>
                    <a:pt x="422" y="225"/>
                  </a:cubicBezTo>
                  <a:cubicBezTo>
                    <a:pt x="423" y="225"/>
                    <a:pt x="425" y="225"/>
                    <a:pt x="425" y="225"/>
                  </a:cubicBezTo>
                  <a:cubicBezTo>
                    <a:pt x="423" y="226"/>
                    <a:pt x="424" y="229"/>
                    <a:pt x="425" y="230"/>
                  </a:cubicBezTo>
                  <a:cubicBezTo>
                    <a:pt x="425" y="230"/>
                    <a:pt x="427" y="229"/>
                    <a:pt x="427" y="228"/>
                  </a:cubicBezTo>
                  <a:cubicBezTo>
                    <a:pt x="427" y="227"/>
                    <a:pt x="427" y="224"/>
                    <a:pt x="427" y="224"/>
                  </a:cubicBezTo>
                  <a:cubicBezTo>
                    <a:pt x="427" y="224"/>
                    <a:pt x="427" y="224"/>
                    <a:pt x="427" y="224"/>
                  </a:cubicBezTo>
                  <a:cubicBezTo>
                    <a:pt x="429" y="224"/>
                    <a:pt x="428" y="226"/>
                    <a:pt x="430" y="225"/>
                  </a:cubicBezTo>
                  <a:cubicBezTo>
                    <a:pt x="430" y="225"/>
                    <a:pt x="432" y="224"/>
                    <a:pt x="430" y="224"/>
                  </a:cubicBezTo>
                  <a:cubicBezTo>
                    <a:pt x="431" y="223"/>
                    <a:pt x="430" y="222"/>
                    <a:pt x="430" y="222"/>
                  </a:cubicBezTo>
                  <a:cubicBezTo>
                    <a:pt x="430" y="222"/>
                    <a:pt x="431" y="222"/>
                    <a:pt x="432" y="222"/>
                  </a:cubicBezTo>
                  <a:cubicBezTo>
                    <a:pt x="431" y="221"/>
                    <a:pt x="432" y="220"/>
                    <a:pt x="432" y="218"/>
                  </a:cubicBezTo>
                  <a:cubicBezTo>
                    <a:pt x="431" y="215"/>
                    <a:pt x="427" y="216"/>
                    <a:pt x="424" y="216"/>
                  </a:cubicBezTo>
                  <a:cubicBezTo>
                    <a:pt x="425" y="216"/>
                    <a:pt x="425" y="220"/>
                    <a:pt x="424" y="220"/>
                  </a:cubicBezTo>
                  <a:cubicBezTo>
                    <a:pt x="425" y="221"/>
                    <a:pt x="426" y="221"/>
                    <a:pt x="426" y="221"/>
                  </a:cubicBezTo>
                  <a:cubicBezTo>
                    <a:pt x="429" y="223"/>
                    <a:pt x="424" y="222"/>
                    <a:pt x="424" y="222"/>
                  </a:cubicBezTo>
                  <a:cubicBezTo>
                    <a:pt x="424" y="221"/>
                    <a:pt x="424" y="220"/>
                    <a:pt x="423" y="219"/>
                  </a:cubicBezTo>
                  <a:cubicBezTo>
                    <a:pt x="423" y="219"/>
                    <a:pt x="421" y="221"/>
                    <a:pt x="421" y="220"/>
                  </a:cubicBezTo>
                  <a:cubicBezTo>
                    <a:pt x="419" y="219"/>
                    <a:pt x="420" y="215"/>
                    <a:pt x="418" y="213"/>
                  </a:cubicBezTo>
                  <a:cubicBezTo>
                    <a:pt x="418" y="213"/>
                    <a:pt x="417" y="213"/>
                    <a:pt x="416" y="213"/>
                  </a:cubicBezTo>
                  <a:cubicBezTo>
                    <a:pt x="416" y="212"/>
                    <a:pt x="416" y="212"/>
                    <a:pt x="416" y="212"/>
                  </a:cubicBezTo>
                  <a:cubicBezTo>
                    <a:pt x="415" y="212"/>
                    <a:pt x="413" y="211"/>
                    <a:pt x="412" y="210"/>
                  </a:cubicBezTo>
                  <a:close/>
                  <a:moveTo>
                    <a:pt x="258" y="202"/>
                  </a:moveTo>
                  <a:cubicBezTo>
                    <a:pt x="257" y="202"/>
                    <a:pt x="258" y="204"/>
                    <a:pt x="258" y="204"/>
                  </a:cubicBezTo>
                  <a:cubicBezTo>
                    <a:pt x="256" y="204"/>
                    <a:pt x="254" y="204"/>
                    <a:pt x="252" y="204"/>
                  </a:cubicBezTo>
                  <a:cubicBezTo>
                    <a:pt x="252" y="204"/>
                    <a:pt x="252" y="203"/>
                    <a:pt x="252" y="202"/>
                  </a:cubicBezTo>
                  <a:cubicBezTo>
                    <a:pt x="251" y="202"/>
                    <a:pt x="250" y="203"/>
                    <a:pt x="250" y="202"/>
                  </a:cubicBezTo>
                  <a:cubicBezTo>
                    <a:pt x="250" y="204"/>
                    <a:pt x="250" y="204"/>
                    <a:pt x="250" y="204"/>
                  </a:cubicBezTo>
                  <a:cubicBezTo>
                    <a:pt x="248" y="203"/>
                    <a:pt x="250" y="206"/>
                    <a:pt x="250" y="206"/>
                  </a:cubicBezTo>
                  <a:cubicBezTo>
                    <a:pt x="251" y="205"/>
                    <a:pt x="250" y="208"/>
                    <a:pt x="250" y="208"/>
                  </a:cubicBezTo>
                  <a:cubicBezTo>
                    <a:pt x="247" y="208"/>
                    <a:pt x="239" y="206"/>
                    <a:pt x="245" y="211"/>
                  </a:cubicBezTo>
                  <a:cubicBezTo>
                    <a:pt x="245" y="212"/>
                    <a:pt x="244" y="214"/>
                    <a:pt x="244" y="214"/>
                  </a:cubicBezTo>
                  <a:cubicBezTo>
                    <a:pt x="245" y="214"/>
                    <a:pt x="245" y="216"/>
                    <a:pt x="247" y="215"/>
                  </a:cubicBezTo>
                  <a:cubicBezTo>
                    <a:pt x="247" y="215"/>
                    <a:pt x="248" y="213"/>
                    <a:pt x="248" y="213"/>
                  </a:cubicBezTo>
                  <a:cubicBezTo>
                    <a:pt x="249" y="214"/>
                    <a:pt x="250" y="214"/>
                    <a:pt x="252" y="214"/>
                  </a:cubicBezTo>
                  <a:cubicBezTo>
                    <a:pt x="252" y="215"/>
                    <a:pt x="251" y="216"/>
                    <a:pt x="252" y="216"/>
                  </a:cubicBezTo>
                  <a:cubicBezTo>
                    <a:pt x="252" y="217"/>
                    <a:pt x="253" y="216"/>
                    <a:pt x="254" y="216"/>
                  </a:cubicBezTo>
                  <a:cubicBezTo>
                    <a:pt x="254" y="216"/>
                    <a:pt x="254" y="214"/>
                    <a:pt x="254" y="214"/>
                  </a:cubicBezTo>
                  <a:cubicBezTo>
                    <a:pt x="256" y="212"/>
                    <a:pt x="259" y="212"/>
                    <a:pt x="262" y="212"/>
                  </a:cubicBezTo>
                  <a:cubicBezTo>
                    <a:pt x="262" y="210"/>
                    <a:pt x="262" y="210"/>
                    <a:pt x="262" y="210"/>
                  </a:cubicBezTo>
                  <a:cubicBezTo>
                    <a:pt x="258" y="210"/>
                    <a:pt x="262" y="210"/>
                    <a:pt x="260" y="209"/>
                  </a:cubicBezTo>
                  <a:cubicBezTo>
                    <a:pt x="261" y="209"/>
                    <a:pt x="269" y="210"/>
                    <a:pt x="266" y="208"/>
                  </a:cubicBezTo>
                  <a:cubicBezTo>
                    <a:pt x="263" y="207"/>
                    <a:pt x="263" y="207"/>
                    <a:pt x="263" y="204"/>
                  </a:cubicBezTo>
                  <a:cubicBezTo>
                    <a:pt x="261" y="203"/>
                    <a:pt x="262" y="205"/>
                    <a:pt x="260" y="204"/>
                  </a:cubicBezTo>
                  <a:cubicBezTo>
                    <a:pt x="260" y="204"/>
                    <a:pt x="259" y="202"/>
                    <a:pt x="258" y="202"/>
                  </a:cubicBezTo>
                  <a:close/>
                  <a:moveTo>
                    <a:pt x="260" y="192"/>
                  </a:moveTo>
                  <a:cubicBezTo>
                    <a:pt x="259" y="194"/>
                    <a:pt x="256" y="199"/>
                    <a:pt x="260" y="198"/>
                  </a:cubicBezTo>
                  <a:cubicBezTo>
                    <a:pt x="260" y="198"/>
                    <a:pt x="261" y="197"/>
                    <a:pt x="261" y="196"/>
                  </a:cubicBezTo>
                  <a:cubicBezTo>
                    <a:pt x="262" y="196"/>
                    <a:pt x="262" y="197"/>
                    <a:pt x="263" y="196"/>
                  </a:cubicBezTo>
                  <a:cubicBezTo>
                    <a:pt x="262" y="197"/>
                    <a:pt x="264" y="198"/>
                    <a:pt x="264" y="198"/>
                  </a:cubicBezTo>
                  <a:cubicBezTo>
                    <a:pt x="265" y="198"/>
                    <a:pt x="265" y="197"/>
                    <a:pt x="266" y="197"/>
                  </a:cubicBezTo>
                  <a:cubicBezTo>
                    <a:pt x="263" y="194"/>
                    <a:pt x="263" y="194"/>
                    <a:pt x="263" y="194"/>
                  </a:cubicBezTo>
                  <a:cubicBezTo>
                    <a:pt x="263" y="194"/>
                    <a:pt x="263" y="193"/>
                    <a:pt x="263" y="192"/>
                  </a:cubicBezTo>
                  <a:cubicBezTo>
                    <a:pt x="262" y="192"/>
                    <a:pt x="261" y="193"/>
                    <a:pt x="260" y="192"/>
                  </a:cubicBezTo>
                  <a:close/>
                  <a:moveTo>
                    <a:pt x="145" y="166"/>
                  </a:moveTo>
                  <a:cubicBezTo>
                    <a:pt x="144" y="166"/>
                    <a:pt x="142" y="168"/>
                    <a:pt x="142" y="169"/>
                  </a:cubicBezTo>
                  <a:cubicBezTo>
                    <a:pt x="140" y="169"/>
                    <a:pt x="137" y="169"/>
                    <a:pt x="135" y="169"/>
                  </a:cubicBezTo>
                  <a:cubicBezTo>
                    <a:pt x="135" y="170"/>
                    <a:pt x="135" y="171"/>
                    <a:pt x="136" y="172"/>
                  </a:cubicBezTo>
                  <a:cubicBezTo>
                    <a:pt x="136" y="172"/>
                    <a:pt x="144" y="175"/>
                    <a:pt x="144" y="175"/>
                  </a:cubicBezTo>
                  <a:cubicBezTo>
                    <a:pt x="145" y="173"/>
                    <a:pt x="145" y="173"/>
                    <a:pt x="145" y="173"/>
                  </a:cubicBezTo>
                  <a:cubicBezTo>
                    <a:pt x="147" y="172"/>
                    <a:pt x="148" y="172"/>
                    <a:pt x="150" y="171"/>
                  </a:cubicBezTo>
                  <a:cubicBezTo>
                    <a:pt x="149" y="168"/>
                    <a:pt x="149" y="165"/>
                    <a:pt x="145" y="166"/>
                  </a:cubicBezTo>
                  <a:close/>
                  <a:moveTo>
                    <a:pt x="107" y="116"/>
                  </a:moveTo>
                  <a:cubicBezTo>
                    <a:pt x="106" y="116"/>
                    <a:pt x="105" y="119"/>
                    <a:pt x="105" y="119"/>
                  </a:cubicBezTo>
                  <a:cubicBezTo>
                    <a:pt x="104" y="119"/>
                    <a:pt x="99" y="118"/>
                    <a:pt x="99" y="118"/>
                  </a:cubicBezTo>
                  <a:cubicBezTo>
                    <a:pt x="98" y="118"/>
                    <a:pt x="98" y="118"/>
                    <a:pt x="97" y="117"/>
                  </a:cubicBezTo>
                  <a:cubicBezTo>
                    <a:pt x="97" y="118"/>
                    <a:pt x="96" y="119"/>
                    <a:pt x="96" y="119"/>
                  </a:cubicBezTo>
                  <a:cubicBezTo>
                    <a:pt x="96" y="120"/>
                    <a:pt x="97" y="123"/>
                    <a:pt x="97" y="123"/>
                  </a:cubicBezTo>
                  <a:cubicBezTo>
                    <a:pt x="101" y="122"/>
                    <a:pt x="107" y="120"/>
                    <a:pt x="111" y="123"/>
                  </a:cubicBezTo>
                  <a:cubicBezTo>
                    <a:pt x="112" y="123"/>
                    <a:pt x="112" y="125"/>
                    <a:pt x="113" y="125"/>
                  </a:cubicBezTo>
                  <a:cubicBezTo>
                    <a:pt x="114" y="126"/>
                    <a:pt x="115" y="125"/>
                    <a:pt x="116" y="127"/>
                  </a:cubicBezTo>
                  <a:cubicBezTo>
                    <a:pt x="116" y="127"/>
                    <a:pt x="116" y="129"/>
                    <a:pt x="116" y="129"/>
                  </a:cubicBezTo>
                  <a:cubicBezTo>
                    <a:pt x="116" y="129"/>
                    <a:pt x="118" y="129"/>
                    <a:pt x="119" y="129"/>
                  </a:cubicBezTo>
                  <a:cubicBezTo>
                    <a:pt x="119" y="129"/>
                    <a:pt x="119" y="127"/>
                    <a:pt x="119" y="126"/>
                  </a:cubicBezTo>
                  <a:cubicBezTo>
                    <a:pt x="119" y="126"/>
                    <a:pt x="120" y="126"/>
                    <a:pt x="121" y="126"/>
                  </a:cubicBezTo>
                  <a:cubicBezTo>
                    <a:pt x="121" y="126"/>
                    <a:pt x="121" y="124"/>
                    <a:pt x="122" y="124"/>
                  </a:cubicBezTo>
                  <a:cubicBezTo>
                    <a:pt x="118" y="123"/>
                    <a:pt x="115" y="123"/>
                    <a:pt x="113" y="121"/>
                  </a:cubicBezTo>
                  <a:cubicBezTo>
                    <a:pt x="112" y="119"/>
                    <a:pt x="110" y="115"/>
                    <a:pt x="107" y="116"/>
                  </a:cubicBezTo>
                  <a:close/>
                  <a:moveTo>
                    <a:pt x="176" y="74"/>
                  </a:moveTo>
                  <a:cubicBezTo>
                    <a:pt x="176" y="74"/>
                    <a:pt x="176" y="75"/>
                    <a:pt x="176" y="75"/>
                  </a:cubicBezTo>
                  <a:cubicBezTo>
                    <a:pt x="178" y="76"/>
                    <a:pt x="177" y="74"/>
                    <a:pt x="176" y="74"/>
                  </a:cubicBezTo>
                  <a:close/>
                  <a:moveTo>
                    <a:pt x="358" y="22"/>
                  </a:moveTo>
                  <a:cubicBezTo>
                    <a:pt x="358" y="22"/>
                    <a:pt x="357" y="20"/>
                    <a:pt x="357" y="20"/>
                  </a:cubicBezTo>
                  <a:cubicBezTo>
                    <a:pt x="355" y="19"/>
                    <a:pt x="354" y="19"/>
                    <a:pt x="351" y="18"/>
                  </a:cubicBezTo>
                  <a:cubicBezTo>
                    <a:pt x="351" y="17"/>
                    <a:pt x="351" y="17"/>
                    <a:pt x="351" y="17"/>
                  </a:cubicBezTo>
                  <a:cubicBezTo>
                    <a:pt x="348" y="17"/>
                    <a:pt x="347" y="19"/>
                    <a:pt x="344" y="18"/>
                  </a:cubicBezTo>
                  <a:cubicBezTo>
                    <a:pt x="343" y="18"/>
                    <a:pt x="342" y="16"/>
                    <a:pt x="342" y="16"/>
                  </a:cubicBezTo>
                  <a:cubicBezTo>
                    <a:pt x="342" y="16"/>
                    <a:pt x="340" y="16"/>
                    <a:pt x="340" y="16"/>
                  </a:cubicBezTo>
                  <a:cubicBezTo>
                    <a:pt x="340" y="17"/>
                    <a:pt x="339" y="18"/>
                    <a:pt x="339" y="19"/>
                  </a:cubicBezTo>
                  <a:cubicBezTo>
                    <a:pt x="340" y="20"/>
                    <a:pt x="337" y="20"/>
                    <a:pt x="337" y="20"/>
                  </a:cubicBezTo>
                  <a:cubicBezTo>
                    <a:pt x="337" y="20"/>
                    <a:pt x="336" y="18"/>
                    <a:pt x="335" y="18"/>
                  </a:cubicBezTo>
                  <a:cubicBezTo>
                    <a:pt x="334" y="18"/>
                    <a:pt x="334" y="20"/>
                    <a:pt x="333" y="20"/>
                  </a:cubicBezTo>
                  <a:cubicBezTo>
                    <a:pt x="332" y="20"/>
                    <a:pt x="332" y="18"/>
                    <a:pt x="332" y="18"/>
                  </a:cubicBezTo>
                  <a:cubicBezTo>
                    <a:pt x="327" y="17"/>
                    <a:pt x="325" y="17"/>
                    <a:pt x="321" y="17"/>
                  </a:cubicBezTo>
                  <a:cubicBezTo>
                    <a:pt x="320" y="15"/>
                    <a:pt x="320" y="15"/>
                    <a:pt x="320" y="15"/>
                  </a:cubicBezTo>
                  <a:cubicBezTo>
                    <a:pt x="317" y="14"/>
                    <a:pt x="316" y="16"/>
                    <a:pt x="314" y="16"/>
                  </a:cubicBezTo>
                  <a:cubicBezTo>
                    <a:pt x="309" y="16"/>
                    <a:pt x="306" y="14"/>
                    <a:pt x="301" y="15"/>
                  </a:cubicBezTo>
                  <a:cubicBezTo>
                    <a:pt x="300" y="14"/>
                    <a:pt x="300" y="14"/>
                    <a:pt x="300" y="14"/>
                  </a:cubicBezTo>
                  <a:cubicBezTo>
                    <a:pt x="298" y="13"/>
                    <a:pt x="298" y="15"/>
                    <a:pt x="296" y="14"/>
                  </a:cubicBezTo>
                  <a:cubicBezTo>
                    <a:pt x="295" y="14"/>
                    <a:pt x="293" y="11"/>
                    <a:pt x="292" y="11"/>
                  </a:cubicBezTo>
                  <a:cubicBezTo>
                    <a:pt x="291" y="11"/>
                    <a:pt x="291" y="12"/>
                    <a:pt x="289" y="12"/>
                  </a:cubicBezTo>
                  <a:cubicBezTo>
                    <a:pt x="289" y="10"/>
                    <a:pt x="289" y="10"/>
                    <a:pt x="289" y="10"/>
                  </a:cubicBezTo>
                  <a:cubicBezTo>
                    <a:pt x="286" y="10"/>
                    <a:pt x="285" y="12"/>
                    <a:pt x="283" y="12"/>
                  </a:cubicBezTo>
                  <a:cubicBezTo>
                    <a:pt x="282" y="13"/>
                    <a:pt x="281" y="12"/>
                    <a:pt x="279" y="12"/>
                  </a:cubicBezTo>
                  <a:cubicBezTo>
                    <a:pt x="279" y="12"/>
                    <a:pt x="278" y="14"/>
                    <a:pt x="277" y="14"/>
                  </a:cubicBezTo>
                  <a:cubicBezTo>
                    <a:pt x="276" y="14"/>
                    <a:pt x="272" y="11"/>
                    <a:pt x="270" y="11"/>
                  </a:cubicBezTo>
                  <a:cubicBezTo>
                    <a:pt x="269" y="11"/>
                    <a:pt x="267" y="11"/>
                    <a:pt x="266" y="11"/>
                  </a:cubicBezTo>
                  <a:cubicBezTo>
                    <a:pt x="265" y="10"/>
                    <a:pt x="265" y="10"/>
                    <a:pt x="265" y="10"/>
                  </a:cubicBezTo>
                  <a:cubicBezTo>
                    <a:pt x="263" y="9"/>
                    <a:pt x="261" y="10"/>
                    <a:pt x="260" y="10"/>
                  </a:cubicBezTo>
                  <a:cubicBezTo>
                    <a:pt x="260" y="8"/>
                    <a:pt x="260" y="8"/>
                    <a:pt x="260" y="8"/>
                  </a:cubicBezTo>
                  <a:cubicBezTo>
                    <a:pt x="262" y="9"/>
                    <a:pt x="260" y="7"/>
                    <a:pt x="260" y="7"/>
                  </a:cubicBezTo>
                  <a:cubicBezTo>
                    <a:pt x="260" y="7"/>
                    <a:pt x="256" y="6"/>
                    <a:pt x="256" y="6"/>
                  </a:cubicBezTo>
                  <a:cubicBezTo>
                    <a:pt x="253" y="6"/>
                    <a:pt x="248" y="9"/>
                    <a:pt x="245" y="8"/>
                  </a:cubicBezTo>
                  <a:cubicBezTo>
                    <a:pt x="242" y="8"/>
                    <a:pt x="243" y="6"/>
                    <a:pt x="242" y="4"/>
                  </a:cubicBezTo>
                  <a:cubicBezTo>
                    <a:pt x="240" y="4"/>
                    <a:pt x="240" y="5"/>
                    <a:pt x="240" y="6"/>
                  </a:cubicBezTo>
                  <a:cubicBezTo>
                    <a:pt x="239" y="6"/>
                    <a:pt x="238" y="5"/>
                    <a:pt x="237" y="6"/>
                  </a:cubicBezTo>
                  <a:cubicBezTo>
                    <a:pt x="236" y="6"/>
                    <a:pt x="234" y="8"/>
                    <a:pt x="233" y="8"/>
                  </a:cubicBezTo>
                  <a:cubicBezTo>
                    <a:pt x="233" y="6"/>
                    <a:pt x="233" y="5"/>
                    <a:pt x="234" y="3"/>
                  </a:cubicBezTo>
                  <a:cubicBezTo>
                    <a:pt x="231" y="2"/>
                    <a:pt x="226" y="0"/>
                    <a:pt x="223" y="0"/>
                  </a:cubicBezTo>
                  <a:cubicBezTo>
                    <a:pt x="222" y="2"/>
                    <a:pt x="222" y="2"/>
                    <a:pt x="222" y="2"/>
                  </a:cubicBezTo>
                  <a:cubicBezTo>
                    <a:pt x="220" y="3"/>
                    <a:pt x="215" y="7"/>
                    <a:pt x="212" y="8"/>
                  </a:cubicBezTo>
                  <a:cubicBezTo>
                    <a:pt x="210" y="8"/>
                    <a:pt x="208" y="7"/>
                    <a:pt x="206" y="8"/>
                  </a:cubicBezTo>
                  <a:cubicBezTo>
                    <a:pt x="205" y="8"/>
                    <a:pt x="204" y="9"/>
                    <a:pt x="204" y="10"/>
                  </a:cubicBezTo>
                  <a:cubicBezTo>
                    <a:pt x="203" y="8"/>
                    <a:pt x="203" y="8"/>
                    <a:pt x="202" y="7"/>
                  </a:cubicBezTo>
                  <a:cubicBezTo>
                    <a:pt x="201" y="8"/>
                    <a:pt x="201" y="9"/>
                    <a:pt x="200" y="10"/>
                  </a:cubicBezTo>
                  <a:cubicBezTo>
                    <a:pt x="199" y="10"/>
                    <a:pt x="199" y="10"/>
                    <a:pt x="199" y="10"/>
                  </a:cubicBezTo>
                  <a:cubicBezTo>
                    <a:pt x="199" y="10"/>
                    <a:pt x="198" y="9"/>
                    <a:pt x="197" y="10"/>
                  </a:cubicBezTo>
                  <a:cubicBezTo>
                    <a:pt x="197" y="10"/>
                    <a:pt x="197" y="12"/>
                    <a:pt x="197" y="12"/>
                  </a:cubicBezTo>
                  <a:cubicBezTo>
                    <a:pt x="196" y="12"/>
                    <a:pt x="195" y="13"/>
                    <a:pt x="194" y="13"/>
                  </a:cubicBezTo>
                  <a:cubicBezTo>
                    <a:pt x="192" y="14"/>
                    <a:pt x="189" y="12"/>
                    <a:pt x="187" y="13"/>
                  </a:cubicBezTo>
                  <a:cubicBezTo>
                    <a:pt x="186" y="13"/>
                    <a:pt x="185" y="15"/>
                    <a:pt x="184" y="16"/>
                  </a:cubicBezTo>
                  <a:cubicBezTo>
                    <a:pt x="183" y="16"/>
                    <a:pt x="182" y="15"/>
                    <a:pt x="182" y="16"/>
                  </a:cubicBezTo>
                  <a:cubicBezTo>
                    <a:pt x="180" y="17"/>
                    <a:pt x="180" y="20"/>
                    <a:pt x="178" y="22"/>
                  </a:cubicBezTo>
                  <a:cubicBezTo>
                    <a:pt x="177" y="23"/>
                    <a:pt x="175" y="22"/>
                    <a:pt x="174" y="24"/>
                  </a:cubicBezTo>
                  <a:cubicBezTo>
                    <a:pt x="174" y="25"/>
                    <a:pt x="174" y="27"/>
                    <a:pt x="174" y="29"/>
                  </a:cubicBezTo>
                  <a:cubicBezTo>
                    <a:pt x="173" y="30"/>
                    <a:pt x="171" y="31"/>
                    <a:pt x="171" y="32"/>
                  </a:cubicBezTo>
                  <a:cubicBezTo>
                    <a:pt x="170" y="34"/>
                    <a:pt x="170" y="37"/>
                    <a:pt x="170" y="39"/>
                  </a:cubicBezTo>
                  <a:cubicBezTo>
                    <a:pt x="166" y="39"/>
                    <a:pt x="163" y="41"/>
                    <a:pt x="160" y="42"/>
                  </a:cubicBezTo>
                  <a:cubicBezTo>
                    <a:pt x="158" y="42"/>
                    <a:pt x="157" y="40"/>
                    <a:pt x="155" y="41"/>
                  </a:cubicBezTo>
                  <a:cubicBezTo>
                    <a:pt x="154" y="42"/>
                    <a:pt x="154" y="42"/>
                    <a:pt x="154" y="42"/>
                  </a:cubicBezTo>
                  <a:cubicBezTo>
                    <a:pt x="150" y="43"/>
                    <a:pt x="147" y="42"/>
                    <a:pt x="144" y="42"/>
                  </a:cubicBezTo>
                  <a:cubicBezTo>
                    <a:pt x="144" y="45"/>
                    <a:pt x="145" y="47"/>
                    <a:pt x="145" y="50"/>
                  </a:cubicBezTo>
                  <a:cubicBezTo>
                    <a:pt x="144" y="51"/>
                    <a:pt x="144" y="50"/>
                    <a:pt x="143" y="52"/>
                  </a:cubicBezTo>
                  <a:cubicBezTo>
                    <a:pt x="142" y="51"/>
                    <a:pt x="143" y="51"/>
                    <a:pt x="141" y="52"/>
                  </a:cubicBezTo>
                  <a:cubicBezTo>
                    <a:pt x="143" y="52"/>
                    <a:pt x="145" y="52"/>
                    <a:pt x="147" y="53"/>
                  </a:cubicBezTo>
                  <a:cubicBezTo>
                    <a:pt x="148" y="53"/>
                    <a:pt x="148" y="56"/>
                    <a:pt x="150" y="56"/>
                  </a:cubicBezTo>
                  <a:cubicBezTo>
                    <a:pt x="152" y="57"/>
                    <a:pt x="152" y="56"/>
                    <a:pt x="154" y="57"/>
                  </a:cubicBezTo>
                  <a:cubicBezTo>
                    <a:pt x="155" y="58"/>
                    <a:pt x="159" y="62"/>
                    <a:pt x="160" y="63"/>
                  </a:cubicBezTo>
                  <a:cubicBezTo>
                    <a:pt x="162" y="63"/>
                    <a:pt x="163" y="62"/>
                    <a:pt x="164" y="63"/>
                  </a:cubicBezTo>
                  <a:cubicBezTo>
                    <a:pt x="164" y="63"/>
                    <a:pt x="166" y="65"/>
                    <a:pt x="164" y="64"/>
                  </a:cubicBezTo>
                  <a:cubicBezTo>
                    <a:pt x="165" y="65"/>
                    <a:pt x="165" y="69"/>
                    <a:pt x="165" y="69"/>
                  </a:cubicBezTo>
                  <a:cubicBezTo>
                    <a:pt x="167" y="69"/>
                    <a:pt x="168" y="70"/>
                    <a:pt x="170" y="70"/>
                  </a:cubicBezTo>
                  <a:cubicBezTo>
                    <a:pt x="170" y="68"/>
                    <a:pt x="170" y="68"/>
                    <a:pt x="170" y="68"/>
                  </a:cubicBezTo>
                  <a:cubicBezTo>
                    <a:pt x="171" y="68"/>
                    <a:pt x="173" y="67"/>
                    <a:pt x="174" y="67"/>
                  </a:cubicBezTo>
                  <a:cubicBezTo>
                    <a:pt x="174" y="68"/>
                    <a:pt x="174" y="68"/>
                    <a:pt x="174" y="68"/>
                  </a:cubicBezTo>
                  <a:cubicBezTo>
                    <a:pt x="175" y="68"/>
                    <a:pt x="175" y="69"/>
                    <a:pt x="176" y="70"/>
                  </a:cubicBezTo>
                  <a:cubicBezTo>
                    <a:pt x="178" y="70"/>
                    <a:pt x="181" y="69"/>
                    <a:pt x="182" y="68"/>
                  </a:cubicBezTo>
                  <a:cubicBezTo>
                    <a:pt x="182" y="68"/>
                    <a:pt x="183" y="72"/>
                    <a:pt x="182" y="71"/>
                  </a:cubicBezTo>
                  <a:cubicBezTo>
                    <a:pt x="181" y="71"/>
                    <a:pt x="181" y="72"/>
                    <a:pt x="180" y="72"/>
                  </a:cubicBezTo>
                  <a:cubicBezTo>
                    <a:pt x="180" y="74"/>
                    <a:pt x="180" y="74"/>
                    <a:pt x="180" y="74"/>
                  </a:cubicBezTo>
                  <a:cubicBezTo>
                    <a:pt x="182" y="75"/>
                    <a:pt x="182" y="74"/>
                    <a:pt x="183" y="74"/>
                  </a:cubicBezTo>
                  <a:cubicBezTo>
                    <a:pt x="184" y="75"/>
                    <a:pt x="184" y="75"/>
                    <a:pt x="184" y="75"/>
                  </a:cubicBezTo>
                  <a:cubicBezTo>
                    <a:pt x="186" y="76"/>
                    <a:pt x="189" y="75"/>
                    <a:pt x="192" y="75"/>
                  </a:cubicBezTo>
                  <a:cubicBezTo>
                    <a:pt x="192" y="75"/>
                    <a:pt x="191" y="78"/>
                    <a:pt x="192" y="78"/>
                  </a:cubicBezTo>
                  <a:cubicBezTo>
                    <a:pt x="189" y="78"/>
                    <a:pt x="175" y="78"/>
                    <a:pt x="182" y="81"/>
                  </a:cubicBezTo>
                  <a:cubicBezTo>
                    <a:pt x="182" y="81"/>
                    <a:pt x="183" y="80"/>
                    <a:pt x="184" y="80"/>
                  </a:cubicBezTo>
                  <a:cubicBezTo>
                    <a:pt x="187" y="81"/>
                    <a:pt x="185" y="82"/>
                    <a:pt x="186" y="85"/>
                  </a:cubicBezTo>
                  <a:cubicBezTo>
                    <a:pt x="182" y="84"/>
                    <a:pt x="182" y="83"/>
                    <a:pt x="180" y="87"/>
                  </a:cubicBezTo>
                  <a:cubicBezTo>
                    <a:pt x="180" y="85"/>
                    <a:pt x="180" y="85"/>
                    <a:pt x="180" y="85"/>
                  </a:cubicBezTo>
                  <a:cubicBezTo>
                    <a:pt x="176" y="85"/>
                    <a:pt x="171" y="86"/>
                    <a:pt x="166" y="85"/>
                  </a:cubicBezTo>
                  <a:cubicBezTo>
                    <a:pt x="166" y="85"/>
                    <a:pt x="166" y="83"/>
                    <a:pt x="165" y="83"/>
                  </a:cubicBezTo>
                  <a:cubicBezTo>
                    <a:pt x="164" y="82"/>
                    <a:pt x="163" y="83"/>
                    <a:pt x="162" y="83"/>
                  </a:cubicBezTo>
                  <a:cubicBezTo>
                    <a:pt x="162" y="81"/>
                    <a:pt x="162" y="82"/>
                    <a:pt x="164" y="81"/>
                  </a:cubicBezTo>
                  <a:cubicBezTo>
                    <a:pt x="163" y="79"/>
                    <a:pt x="164" y="77"/>
                    <a:pt x="163" y="75"/>
                  </a:cubicBezTo>
                  <a:cubicBezTo>
                    <a:pt x="163" y="75"/>
                    <a:pt x="162" y="74"/>
                    <a:pt x="162" y="74"/>
                  </a:cubicBezTo>
                  <a:cubicBezTo>
                    <a:pt x="161" y="74"/>
                    <a:pt x="159" y="73"/>
                    <a:pt x="158" y="74"/>
                  </a:cubicBezTo>
                  <a:cubicBezTo>
                    <a:pt x="157" y="74"/>
                    <a:pt x="157" y="75"/>
                    <a:pt x="156" y="75"/>
                  </a:cubicBezTo>
                  <a:cubicBezTo>
                    <a:pt x="154" y="77"/>
                    <a:pt x="149" y="78"/>
                    <a:pt x="147" y="79"/>
                  </a:cubicBezTo>
                  <a:cubicBezTo>
                    <a:pt x="147" y="80"/>
                    <a:pt x="147" y="83"/>
                    <a:pt x="147" y="83"/>
                  </a:cubicBezTo>
                  <a:cubicBezTo>
                    <a:pt x="146" y="84"/>
                    <a:pt x="146" y="83"/>
                    <a:pt x="145" y="84"/>
                  </a:cubicBezTo>
                  <a:cubicBezTo>
                    <a:pt x="141" y="83"/>
                    <a:pt x="138" y="83"/>
                    <a:pt x="134" y="85"/>
                  </a:cubicBezTo>
                  <a:cubicBezTo>
                    <a:pt x="133" y="86"/>
                    <a:pt x="131" y="88"/>
                    <a:pt x="130" y="89"/>
                  </a:cubicBezTo>
                  <a:cubicBezTo>
                    <a:pt x="130" y="91"/>
                    <a:pt x="130" y="91"/>
                    <a:pt x="130" y="91"/>
                  </a:cubicBezTo>
                  <a:cubicBezTo>
                    <a:pt x="135" y="91"/>
                    <a:pt x="135" y="92"/>
                    <a:pt x="139" y="93"/>
                  </a:cubicBezTo>
                  <a:cubicBezTo>
                    <a:pt x="140" y="93"/>
                    <a:pt x="142" y="93"/>
                    <a:pt x="143" y="93"/>
                  </a:cubicBezTo>
                  <a:cubicBezTo>
                    <a:pt x="143" y="95"/>
                    <a:pt x="143" y="95"/>
                    <a:pt x="143" y="95"/>
                  </a:cubicBezTo>
                  <a:cubicBezTo>
                    <a:pt x="140" y="95"/>
                    <a:pt x="139" y="95"/>
                    <a:pt x="137" y="96"/>
                  </a:cubicBezTo>
                  <a:cubicBezTo>
                    <a:pt x="137" y="96"/>
                    <a:pt x="137" y="98"/>
                    <a:pt x="138" y="97"/>
                  </a:cubicBezTo>
                  <a:cubicBezTo>
                    <a:pt x="139" y="98"/>
                    <a:pt x="141" y="99"/>
                    <a:pt x="141" y="100"/>
                  </a:cubicBezTo>
                  <a:cubicBezTo>
                    <a:pt x="142" y="101"/>
                    <a:pt x="142" y="103"/>
                    <a:pt x="143" y="104"/>
                  </a:cubicBezTo>
                  <a:cubicBezTo>
                    <a:pt x="152" y="107"/>
                    <a:pt x="152" y="107"/>
                    <a:pt x="152" y="107"/>
                  </a:cubicBezTo>
                  <a:cubicBezTo>
                    <a:pt x="154" y="107"/>
                    <a:pt x="154" y="105"/>
                    <a:pt x="155" y="105"/>
                  </a:cubicBezTo>
                  <a:cubicBezTo>
                    <a:pt x="159" y="104"/>
                    <a:pt x="165" y="104"/>
                    <a:pt x="168" y="104"/>
                  </a:cubicBezTo>
                  <a:cubicBezTo>
                    <a:pt x="169" y="103"/>
                    <a:pt x="168" y="103"/>
                    <a:pt x="169" y="102"/>
                  </a:cubicBezTo>
                  <a:cubicBezTo>
                    <a:pt x="170" y="103"/>
                    <a:pt x="172" y="105"/>
                    <a:pt x="172" y="105"/>
                  </a:cubicBezTo>
                  <a:cubicBezTo>
                    <a:pt x="173" y="106"/>
                    <a:pt x="172" y="107"/>
                    <a:pt x="172" y="107"/>
                  </a:cubicBezTo>
                  <a:cubicBezTo>
                    <a:pt x="173" y="108"/>
                    <a:pt x="174" y="108"/>
                    <a:pt x="174" y="108"/>
                  </a:cubicBezTo>
                  <a:cubicBezTo>
                    <a:pt x="175" y="108"/>
                    <a:pt x="177" y="104"/>
                    <a:pt x="178" y="104"/>
                  </a:cubicBezTo>
                  <a:cubicBezTo>
                    <a:pt x="182" y="103"/>
                    <a:pt x="188" y="103"/>
                    <a:pt x="191" y="103"/>
                  </a:cubicBezTo>
                  <a:cubicBezTo>
                    <a:pt x="191" y="104"/>
                    <a:pt x="191" y="105"/>
                    <a:pt x="191" y="106"/>
                  </a:cubicBezTo>
                  <a:cubicBezTo>
                    <a:pt x="191" y="107"/>
                    <a:pt x="189" y="107"/>
                    <a:pt x="188" y="108"/>
                  </a:cubicBezTo>
                  <a:cubicBezTo>
                    <a:pt x="188" y="110"/>
                    <a:pt x="190" y="113"/>
                    <a:pt x="190" y="115"/>
                  </a:cubicBezTo>
                  <a:cubicBezTo>
                    <a:pt x="191" y="117"/>
                    <a:pt x="190" y="119"/>
                    <a:pt x="190" y="121"/>
                  </a:cubicBezTo>
                  <a:cubicBezTo>
                    <a:pt x="188" y="121"/>
                    <a:pt x="185" y="123"/>
                    <a:pt x="183" y="123"/>
                  </a:cubicBezTo>
                  <a:cubicBezTo>
                    <a:pt x="181" y="123"/>
                    <a:pt x="181" y="122"/>
                    <a:pt x="179" y="123"/>
                  </a:cubicBezTo>
                  <a:cubicBezTo>
                    <a:pt x="179" y="123"/>
                    <a:pt x="179" y="124"/>
                    <a:pt x="178" y="125"/>
                  </a:cubicBezTo>
                  <a:cubicBezTo>
                    <a:pt x="177" y="126"/>
                    <a:pt x="172" y="129"/>
                    <a:pt x="168" y="128"/>
                  </a:cubicBezTo>
                  <a:cubicBezTo>
                    <a:pt x="166" y="127"/>
                    <a:pt x="166" y="124"/>
                    <a:pt x="162" y="124"/>
                  </a:cubicBezTo>
                  <a:cubicBezTo>
                    <a:pt x="161" y="124"/>
                    <a:pt x="159" y="126"/>
                    <a:pt x="158" y="127"/>
                  </a:cubicBezTo>
                  <a:cubicBezTo>
                    <a:pt x="158" y="127"/>
                    <a:pt x="158" y="129"/>
                    <a:pt x="158" y="128"/>
                  </a:cubicBezTo>
                  <a:cubicBezTo>
                    <a:pt x="159" y="128"/>
                    <a:pt x="158" y="129"/>
                    <a:pt x="159" y="129"/>
                  </a:cubicBezTo>
                  <a:cubicBezTo>
                    <a:pt x="160" y="131"/>
                    <a:pt x="161" y="132"/>
                    <a:pt x="161" y="136"/>
                  </a:cubicBezTo>
                  <a:cubicBezTo>
                    <a:pt x="160" y="135"/>
                    <a:pt x="161" y="135"/>
                    <a:pt x="160" y="134"/>
                  </a:cubicBezTo>
                  <a:cubicBezTo>
                    <a:pt x="159" y="134"/>
                    <a:pt x="158" y="134"/>
                    <a:pt x="157" y="133"/>
                  </a:cubicBezTo>
                  <a:cubicBezTo>
                    <a:pt x="156" y="138"/>
                    <a:pt x="156" y="138"/>
                    <a:pt x="156" y="138"/>
                  </a:cubicBezTo>
                  <a:cubicBezTo>
                    <a:pt x="156" y="138"/>
                    <a:pt x="154" y="138"/>
                    <a:pt x="154" y="138"/>
                  </a:cubicBezTo>
                  <a:cubicBezTo>
                    <a:pt x="153" y="138"/>
                    <a:pt x="149" y="141"/>
                    <a:pt x="149" y="142"/>
                  </a:cubicBezTo>
                  <a:cubicBezTo>
                    <a:pt x="149" y="143"/>
                    <a:pt x="150" y="145"/>
                    <a:pt x="149" y="146"/>
                  </a:cubicBezTo>
                  <a:cubicBezTo>
                    <a:pt x="149" y="146"/>
                    <a:pt x="146" y="147"/>
                    <a:pt x="146" y="147"/>
                  </a:cubicBezTo>
                  <a:cubicBezTo>
                    <a:pt x="146" y="147"/>
                    <a:pt x="145" y="150"/>
                    <a:pt x="145" y="150"/>
                  </a:cubicBezTo>
                  <a:cubicBezTo>
                    <a:pt x="146" y="150"/>
                    <a:pt x="147" y="150"/>
                    <a:pt x="148" y="150"/>
                  </a:cubicBezTo>
                  <a:cubicBezTo>
                    <a:pt x="148" y="150"/>
                    <a:pt x="147" y="152"/>
                    <a:pt x="147" y="153"/>
                  </a:cubicBezTo>
                  <a:cubicBezTo>
                    <a:pt x="149" y="153"/>
                    <a:pt x="150" y="152"/>
                    <a:pt x="151" y="153"/>
                  </a:cubicBezTo>
                  <a:cubicBezTo>
                    <a:pt x="152" y="153"/>
                    <a:pt x="152" y="154"/>
                    <a:pt x="152" y="155"/>
                  </a:cubicBezTo>
                  <a:cubicBezTo>
                    <a:pt x="153" y="155"/>
                    <a:pt x="152" y="155"/>
                    <a:pt x="153" y="156"/>
                  </a:cubicBezTo>
                  <a:cubicBezTo>
                    <a:pt x="157" y="156"/>
                    <a:pt x="159" y="156"/>
                    <a:pt x="162" y="157"/>
                  </a:cubicBezTo>
                  <a:cubicBezTo>
                    <a:pt x="162" y="157"/>
                    <a:pt x="162" y="156"/>
                    <a:pt x="162" y="156"/>
                  </a:cubicBezTo>
                  <a:cubicBezTo>
                    <a:pt x="163" y="156"/>
                    <a:pt x="164" y="156"/>
                    <a:pt x="165" y="156"/>
                  </a:cubicBezTo>
                  <a:cubicBezTo>
                    <a:pt x="165" y="157"/>
                    <a:pt x="165" y="157"/>
                    <a:pt x="165" y="157"/>
                  </a:cubicBezTo>
                  <a:cubicBezTo>
                    <a:pt x="166" y="156"/>
                    <a:pt x="164" y="159"/>
                    <a:pt x="164" y="159"/>
                  </a:cubicBezTo>
                  <a:cubicBezTo>
                    <a:pt x="163" y="160"/>
                    <a:pt x="163" y="161"/>
                    <a:pt x="162" y="162"/>
                  </a:cubicBezTo>
                  <a:cubicBezTo>
                    <a:pt x="162" y="162"/>
                    <a:pt x="160" y="163"/>
                    <a:pt x="160" y="163"/>
                  </a:cubicBezTo>
                  <a:cubicBezTo>
                    <a:pt x="161" y="164"/>
                    <a:pt x="161" y="164"/>
                    <a:pt x="160" y="165"/>
                  </a:cubicBezTo>
                  <a:cubicBezTo>
                    <a:pt x="160" y="166"/>
                    <a:pt x="160" y="167"/>
                    <a:pt x="160" y="167"/>
                  </a:cubicBezTo>
                  <a:cubicBezTo>
                    <a:pt x="161" y="168"/>
                    <a:pt x="160" y="168"/>
                    <a:pt x="161" y="169"/>
                  </a:cubicBezTo>
                  <a:cubicBezTo>
                    <a:pt x="161" y="169"/>
                    <a:pt x="163" y="169"/>
                    <a:pt x="163" y="169"/>
                  </a:cubicBezTo>
                  <a:cubicBezTo>
                    <a:pt x="164" y="170"/>
                    <a:pt x="163" y="171"/>
                    <a:pt x="163" y="172"/>
                  </a:cubicBezTo>
                  <a:cubicBezTo>
                    <a:pt x="163" y="172"/>
                    <a:pt x="165" y="173"/>
                    <a:pt x="165" y="174"/>
                  </a:cubicBezTo>
                  <a:cubicBezTo>
                    <a:pt x="170" y="173"/>
                    <a:pt x="174" y="173"/>
                    <a:pt x="175" y="170"/>
                  </a:cubicBezTo>
                  <a:cubicBezTo>
                    <a:pt x="176" y="168"/>
                    <a:pt x="175" y="166"/>
                    <a:pt x="175" y="166"/>
                  </a:cubicBezTo>
                  <a:cubicBezTo>
                    <a:pt x="176" y="165"/>
                    <a:pt x="176" y="165"/>
                    <a:pt x="176" y="165"/>
                  </a:cubicBezTo>
                  <a:cubicBezTo>
                    <a:pt x="178" y="164"/>
                    <a:pt x="178" y="164"/>
                    <a:pt x="178" y="164"/>
                  </a:cubicBezTo>
                  <a:cubicBezTo>
                    <a:pt x="178" y="164"/>
                    <a:pt x="180" y="169"/>
                    <a:pt x="177" y="168"/>
                  </a:cubicBezTo>
                  <a:cubicBezTo>
                    <a:pt x="178" y="169"/>
                    <a:pt x="177" y="170"/>
                    <a:pt x="177" y="171"/>
                  </a:cubicBezTo>
                  <a:cubicBezTo>
                    <a:pt x="177" y="172"/>
                    <a:pt x="179" y="172"/>
                    <a:pt x="180" y="173"/>
                  </a:cubicBezTo>
                  <a:cubicBezTo>
                    <a:pt x="181" y="175"/>
                    <a:pt x="181" y="177"/>
                    <a:pt x="182" y="180"/>
                  </a:cubicBezTo>
                  <a:cubicBezTo>
                    <a:pt x="180" y="181"/>
                    <a:pt x="181" y="182"/>
                    <a:pt x="180" y="184"/>
                  </a:cubicBezTo>
                  <a:cubicBezTo>
                    <a:pt x="182" y="184"/>
                    <a:pt x="182" y="183"/>
                    <a:pt x="184" y="183"/>
                  </a:cubicBezTo>
                  <a:cubicBezTo>
                    <a:pt x="184" y="183"/>
                    <a:pt x="183" y="185"/>
                    <a:pt x="183" y="185"/>
                  </a:cubicBezTo>
                  <a:cubicBezTo>
                    <a:pt x="182" y="185"/>
                    <a:pt x="181" y="188"/>
                    <a:pt x="183" y="187"/>
                  </a:cubicBezTo>
                  <a:cubicBezTo>
                    <a:pt x="183" y="187"/>
                    <a:pt x="183" y="189"/>
                    <a:pt x="182" y="189"/>
                  </a:cubicBezTo>
                  <a:cubicBezTo>
                    <a:pt x="182" y="189"/>
                    <a:pt x="182" y="190"/>
                    <a:pt x="182" y="191"/>
                  </a:cubicBezTo>
                  <a:cubicBezTo>
                    <a:pt x="186" y="191"/>
                    <a:pt x="187" y="187"/>
                    <a:pt x="189" y="186"/>
                  </a:cubicBezTo>
                  <a:cubicBezTo>
                    <a:pt x="191" y="185"/>
                    <a:pt x="194" y="183"/>
                    <a:pt x="196" y="183"/>
                  </a:cubicBezTo>
                  <a:cubicBezTo>
                    <a:pt x="197" y="183"/>
                    <a:pt x="197" y="183"/>
                    <a:pt x="197" y="183"/>
                  </a:cubicBezTo>
                  <a:cubicBezTo>
                    <a:pt x="197" y="183"/>
                    <a:pt x="198" y="185"/>
                    <a:pt x="199" y="186"/>
                  </a:cubicBezTo>
                  <a:cubicBezTo>
                    <a:pt x="199" y="187"/>
                    <a:pt x="199" y="187"/>
                    <a:pt x="199" y="187"/>
                  </a:cubicBezTo>
                  <a:cubicBezTo>
                    <a:pt x="200" y="186"/>
                    <a:pt x="202" y="185"/>
                    <a:pt x="203" y="185"/>
                  </a:cubicBezTo>
                  <a:cubicBezTo>
                    <a:pt x="204" y="186"/>
                    <a:pt x="204" y="188"/>
                    <a:pt x="206" y="190"/>
                  </a:cubicBezTo>
                  <a:cubicBezTo>
                    <a:pt x="206" y="190"/>
                    <a:pt x="207" y="191"/>
                    <a:pt x="207" y="191"/>
                  </a:cubicBezTo>
                  <a:cubicBezTo>
                    <a:pt x="208" y="192"/>
                    <a:pt x="208" y="192"/>
                    <a:pt x="208" y="192"/>
                  </a:cubicBezTo>
                  <a:cubicBezTo>
                    <a:pt x="212" y="192"/>
                    <a:pt x="207" y="190"/>
                    <a:pt x="209" y="188"/>
                  </a:cubicBezTo>
                  <a:cubicBezTo>
                    <a:pt x="209" y="188"/>
                    <a:pt x="211" y="188"/>
                    <a:pt x="212" y="189"/>
                  </a:cubicBezTo>
                  <a:cubicBezTo>
                    <a:pt x="212" y="187"/>
                    <a:pt x="213" y="187"/>
                    <a:pt x="214" y="186"/>
                  </a:cubicBezTo>
                  <a:cubicBezTo>
                    <a:pt x="214" y="187"/>
                    <a:pt x="214" y="189"/>
                    <a:pt x="214" y="190"/>
                  </a:cubicBezTo>
                  <a:cubicBezTo>
                    <a:pt x="218" y="189"/>
                    <a:pt x="220" y="189"/>
                    <a:pt x="223" y="187"/>
                  </a:cubicBezTo>
                  <a:cubicBezTo>
                    <a:pt x="223" y="187"/>
                    <a:pt x="223" y="185"/>
                    <a:pt x="224" y="185"/>
                  </a:cubicBezTo>
                  <a:cubicBezTo>
                    <a:pt x="224" y="185"/>
                    <a:pt x="225" y="185"/>
                    <a:pt x="226" y="185"/>
                  </a:cubicBezTo>
                  <a:cubicBezTo>
                    <a:pt x="226" y="186"/>
                    <a:pt x="225" y="190"/>
                    <a:pt x="224" y="191"/>
                  </a:cubicBezTo>
                  <a:cubicBezTo>
                    <a:pt x="223" y="193"/>
                    <a:pt x="220" y="193"/>
                    <a:pt x="220" y="194"/>
                  </a:cubicBezTo>
                  <a:cubicBezTo>
                    <a:pt x="219" y="195"/>
                    <a:pt x="220" y="197"/>
                    <a:pt x="220" y="198"/>
                  </a:cubicBezTo>
                  <a:cubicBezTo>
                    <a:pt x="218" y="199"/>
                    <a:pt x="218" y="199"/>
                    <a:pt x="218" y="199"/>
                  </a:cubicBezTo>
                  <a:cubicBezTo>
                    <a:pt x="217" y="201"/>
                    <a:pt x="218" y="206"/>
                    <a:pt x="218" y="206"/>
                  </a:cubicBezTo>
                  <a:cubicBezTo>
                    <a:pt x="217" y="207"/>
                    <a:pt x="216" y="207"/>
                    <a:pt x="216" y="207"/>
                  </a:cubicBezTo>
                  <a:cubicBezTo>
                    <a:pt x="215" y="208"/>
                    <a:pt x="216" y="209"/>
                    <a:pt x="215" y="210"/>
                  </a:cubicBezTo>
                  <a:cubicBezTo>
                    <a:pt x="215" y="211"/>
                    <a:pt x="212" y="212"/>
                    <a:pt x="212" y="213"/>
                  </a:cubicBezTo>
                  <a:cubicBezTo>
                    <a:pt x="211" y="214"/>
                    <a:pt x="211" y="214"/>
                    <a:pt x="211" y="214"/>
                  </a:cubicBezTo>
                  <a:cubicBezTo>
                    <a:pt x="211" y="214"/>
                    <a:pt x="211" y="216"/>
                    <a:pt x="211" y="216"/>
                  </a:cubicBezTo>
                  <a:cubicBezTo>
                    <a:pt x="211" y="217"/>
                    <a:pt x="209" y="216"/>
                    <a:pt x="208" y="216"/>
                  </a:cubicBezTo>
                  <a:cubicBezTo>
                    <a:pt x="207" y="217"/>
                    <a:pt x="206" y="220"/>
                    <a:pt x="205" y="220"/>
                  </a:cubicBezTo>
                  <a:cubicBezTo>
                    <a:pt x="204" y="221"/>
                    <a:pt x="204" y="220"/>
                    <a:pt x="203" y="220"/>
                  </a:cubicBezTo>
                  <a:cubicBezTo>
                    <a:pt x="197" y="222"/>
                    <a:pt x="196" y="224"/>
                    <a:pt x="195" y="230"/>
                  </a:cubicBezTo>
                  <a:cubicBezTo>
                    <a:pt x="193" y="231"/>
                    <a:pt x="191" y="231"/>
                    <a:pt x="190" y="231"/>
                  </a:cubicBezTo>
                  <a:cubicBezTo>
                    <a:pt x="190" y="231"/>
                    <a:pt x="191" y="230"/>
                    <a:pt x="191" y="229"/>
                  </a:cubicBezTo>
                  <a:cubicBezTo>
                    <a:pt x="188" y="230"/>
                    <a:pt x="183" y="230"/>
                    <a:pt x="180" y="231"/>
                  </a:cubicBezTo>
                  <a:cubicBezTo>
                    <a:pt x="180" y="232"/>
                    <a:pt x="180" y="234"/>
                    <a:pt x="180" y="234"/>
                  </a:cubicBezTo>
                  <a:cubicBezTo>
                    <a:pt x="179" y="235"/>
                    <a:pt x="178" y="235"/>
                    <a:pt x="177" y="236"/>
                  </a:cubicBezTo>
                  <a:cubicBezTo>
                    <a:pt x="176" y="237"/>
                    <a:pt x="177" y="238"/>
                    <a:pt x="176" y="239"/>
                  </a:cubicBezTo>
                  <a:cubicBezTo>
                    <a:pt x="176" y="240"/>
                    <a:pt x="172" y="242"/>
                    <a:pt x="170" y="242"/>
                  </a:cubicBezTo>
                  <a:cubicBezTo>
                    <a:pt x="170" y="243"/>
                    <a:pt x="171" y="244"/>
                    <a:pt x="170" y="244"/>
                  </a:cubicBezTo>
                  <a:cubicBezTo>
                    <a:pt x="171" y="244"/>
                    <a:pt x="172" y="243"/>
                    <a:pt x="172" y="243"/>
                  </a:cubicBezTo>
                  <a:cubicBezTo>
                    <a:pt x="172" y="243"/>
                    <a:pt x="173" y="244"/>
                    <a:pt x="174" y="244"/>
                  </a:cubicBezTo>
                  <a:cubicBezTo>
                    <a:pt x="175" y="242"/>
                    <a:pt x="175" y="242"/>
                    <a:pt x="175" y="242"/>
                  </a:cubicBezTo>
                  <a:cubicBezTo>
                    <a:pt x="176" y="242"/>
                    <a:pt x="176" y="242"/>
                    <a:pt x="176" y="242"/>
                  </a:cubicBezTo>
                  <a:cubicBezTo>
                    <a:pt x="177" y="242"/>
                    <a:pt x="176" y="243"/>
                    <a:pt x="178" y="244"/>
                  </a:cubicBezTo>
                  <a:cubicBezTo>
                    <a:pt x="180" y="240"/>
                    <a:pt x="182" y="237"/>
                    <a:pt x="184" y="233"/>
                  </a:cubicBezTo>
                  <a:cubicBezTo>
                    <a:pt x="185" y="233"/>
                    <a:pt x="186" y="233"/>
                    <a:pt x="187" y="233"/>
                  </a:cubicBezTo>
                  <a:cubicBezTo>
                    <a:pt x="187" y="234"/>
                    <a:pt x="188" y="235"/>
                    <a:pt x="186" y="234"/>
                  </a:cubicBezTo>
                  <a:cubicBezTo>
                    <a:pt x="186" y="236"/>
                    <a:pt x="186" y="236"/>
                    <a:pt x="186" y="236"/>
                  </a:cubicBezTo>
                  <a:cubicBezTo>
                    <a:pt x="187" y="236"/>
                    <a:pt x="189" y="237"/>
                    <a:pt x="190" y="236"/>
                  </a:cubicBezTo>
                  <a:cubicBezTo>
                    <a:pt x="190" y="234"/>
                    <a:pt x="190" y="234"/>
                    <a:pt x="190" y="234"/>
                  </a:cubicBezTo>
                  <a:cubicBezTo>
                    <a:pt x="196" y="234"/>
                    <a:pt x="194" y="235"/>
                    <a:pt x="198" y="231"/>
                  </a:cubicBezTo>
                  <a:cubicBezTo>
                    <a:pt x="199" y="231"/>
                    <a:pt x="200" y="231"/>
                    <a:pt x="200" y="231"/>
                  </a:cubicBezTo>
                  <a:cubicBezTo>
                    <a:pt x="200" y="231"/>
                    <a:pt x="200" y="233"/>
                    <a:pt x="200" y="233"/>
                  </a:cubicBezTo>
                  <a:cubicBezTo>
                    <a:pt x="202" y="232"/>
                    <a:pt x="201" y="232"/>
                    <a:pt x="202" y="230"/>
                  </a:cubicBezTo>
                  <a:cubicBezTo>
                    <a:pt x="202" y="231"/>
                    <a:pt x="204" y="232"/>
                    <a:pt x="205" y="231"/>
                  </a:cubicBezTo>
                  <a:cubicBezTo>
                    <a:pt x="206" y="230"/>
                    <a:pt x="206" y="228"/>
                    <a:pt x="206" y="226"/>
                  </a:cubicBezTo>
                  <a:cubicBezTo>
                    <a:pt x="210" y="228"/>
                    <a:pt x="209" y="230"/>
                    <a:pt x="210" y="224"/>
                  </a:cubicBezTo>
                  <a:cubicBezTo>
                    <a:pt x="209" y="224"/>
                    <a:pt x="209" y="225"/>
                    <a:pt x="208" y="224"/>
                  </a:cubicBezTo>
                  <a:cubicBezTo>
                    <a:pt x="208" y="224"/>
                    <a:pt x="210" y="224"/>
                    <a:pt x="209" y="223"/>
                  </a:cubicBezTo>
                  <a:cubicBezTo>
                    <a:pt x="211" y="223"/>
                    <a:pt x="213" y="221"/>
                    <a:pt x="214" y="221"/>
                  </a:cubicBezTo>
                  <a:cubicBezTo>
                    <a:pt x="214" y="221"/>
                    <a:pt x="213" y="220"/>
                    <a:pt x="214" y="220"/>
                  </a:cubicBezTo>
                  <a:cubicBezTo>
                    <a:pt x="215" y="219"/>
                    <a:pt x="217" y="220"/>
                    <a:pt x="218" y="219"/>
                  </a:cubicBezTo>
                  <a:cubicBezTo>
                    <a:pt x="218" y="219"/>
                    <a:pt x="218" y="216"/>
                    <a:pt x="218" y="216"/>
                  </a:cubicBezTo>
                  <a:cubicBezTo>
                    <a:pt x="219" y="216"/>
                    <a:pt x="220" y="217"/>
                    <a:pt x="221" y="216"/>
                  </a:cubicBezTo>
                  <a:cubicBezTo>
                    <a:pt x="222" y="216"/>
                    <a:pt x="225" y="214"/>
                    <a:pt x="226" y="213"/>
                  </a:cubicBezTo>
                  <a:cubicBezTo>
                    <a:pt x="225" y="212"/>
                    <a:pt x="225" y="209"/>
                    <a:pt x="225" y="209"/>
                  </a:cubicBezTo>
                  <a:cubicBezTo>
                    <a:pt x="226" y="208"/>
                    <a:pt x="227" y="208"/>
                    <a:pt x="229" y="208"/>
                  </a:cubicBezTo>
                  <a:cubicBezTo>
                    <a:pt x="229" y="206"/>
                    <a:pt x="229" y="206"/>
                    <a:pt x="229" y="206"/>
                  </a:cubicBezTo>
                  <a:cubicBezTo>
                    <a:pt x="229" y="206"/>
                    <a:pt x="231" y="207"/>
                    <a:pt x="231" y="206"/>
                  </a:cubicBezTo>
                  <a:cubicBezTo>
                    <a:pt x="233" y="205"/>
                    <a:pt x="233" y="202"/>
                    <a:pt x="235" y="201"/>
                  </a:cubicBezTo>
                  <a:cubicBezTo>
                    <a:pt x="236" y="201"/>
                    <a:pt x="237" y="201"/>
                    <a:pt x="238" y="200"/>
                  </a:cubicBezTo>
                  <a:cubicBezTo>
                    <a:pt x="238" y="200"/>
                    <a:pt x="237" y="199"/>
                    <a:pt x="238" y="198"/>
                  </a:cubicBezTo>
                  <a:cubicBezTo>
                    <a:pt x="240" y="196"/>
                    <a:pt x="240" y="196"/>
                    <a:pt x="240" y="196"/>
                  </a:cubicBezTo>
                  <a:cubicBezTo>
                    <a:pt x="242" y="196"/>
                    <a:pt x="245" y="196"/>
                    <a:pt x="246" y="195"/>
                  </a:cubicBezTo>
                  <a:cubicBezTo>
                    <a:pt x="246" y="194"/>
                    <a:pt x="247" y="194"/>
                    <a:pt x="248" y="193"/>
                  </a:cubicBezTo>
                  <a:cubicBezTo>
                    <a:pt x="248" y="192"/>
                    <a:pt x="247" y="191"/>
                    <a:pt x="247" y="191"/>
                  </a:cubicBezTo>
                  <a:cubicBezTo>
                    <a:pt x="247" y="189"/>
                    <a:pt x="250" y="189"/>
                    <a:pt x="250" y="189"/>
                  </a:cubicBezTo>
                  <a:cubicBezTo>
                    <a:pt x="250" y="187"/>
                    <a:pt x="250" y="187"/>
                    <a:pt x="250" y="187"/>
                  </a:cubicBezTo>
                  <a:cubicBezTo>
                    <a:pt x="251" y="186"/>
                    <a:pt x="252" y="187"/>
                    <a:pt x="253" y="187"/>
                  </a:cubicBezTo>
                  <a:cubicBezTo>
                    <a:pt x="253" y="186"/>
                    <a:pt x="253" y="184"/>
                    <a:pt x="253" y="184"/>
                  </a:cubicBezTo>
                  <a:cubicBezTo>
                    <a:pt x="251" y="184"/>
                    <a:pt x="249" y="184"/>
                    <a:pt x="248" y="184"/>
                  </a:cubicBezTo>
                  <a:cubicBezTo>
                    <a:pt x="248" y="182"/>
                    <a:pt x="247" y="180"/>
                    <a:pt x="248" y="178"/>
                  </a:cubicBezTo>
                  <a:cubicBezTo>
                    <a:pt x="248" y="177"/>
                    <a:pt x="249" y="176"/>
                    <a:pt x="250" y="176"/>
                  </a:cubicBezTo>
                  <a:cubicBezTo>
                    <a:pt x="250" y="175"/>
                    <a:pt x="249" y="174"/>
                    <a:pt x="250" y="173"/>
                  </a:cubicBezTo>
                  <a:cubicBezTo>
                    <a:pt x="252" y="173"/>
                    <a:pt x="253" y="173"/>
                    <a:pt x="255" y="173"/>
                  </a:cubicBezTo>
                  <a:cubicBezTo>
                    <a:pt x="255" y="172"/>
                    <a:pt x="255" y="171"/>
                    <a:pt x="256" y="171"/>
                  </a:cubicBezTo>
                  <a:cubicBezTo>
                    <a:pt x="256" y="170"/>
                    <a:pt x="258" y="170"/>
                    <a:pt x="258" y="169"/>
                  </a:cubicBezTo>
                  <a:cubicBezTo>
                    <a:pt x="258" y="168"/>
                    <a:pt x="257" y="167"/>
                    <a:pt x="258" y="166"/>
                  </a:cubicBezTo>
                  <a:cubicBezTo>
                    <a:pt x="258" y="166"/>
                    <a:pt x="260" y="167"/>
                    <a:pt x="260" y="167"/>
                  </a:cubicBezTo>
                  <a:cubicBezTo>
                    <a:pt x="261" y="167"/>
                    <a:pt x="261" y="166"/>
                    <a:pt x="262" y="167"/>
                  </a:cubicBezTo>
                  <a:cubicBezTo>
                    <a:pt x="263" y="163"/>
                    <a:pt x="263" y="161"/>
                    <a:pt x="266" y="159"/>
                  </a:cubicBezTo>
                  <a:cubicBezTo>
                    <a:pt x="268" y="159"/>
                    <a:pt x="268" y="159"/>
                    <a:pt x="269" y="159"/>
                  </a:cubicBezTo>
                  <a:cubicBezTo>
                    <a:pt x="270" y="158"/>
                    <a:pt x="270" y="156"/>
                    <a:pt x="270" y="155"/>
                  </a:cubicBezTo>
                  <a:cubicBezTo>
                    <a:pt x="271" y="154"/>
                    <a:pt x="273" y="154"/>
                    <a:pt x="274" y="153"/>
                  </a:cubicBezTo>
                  <a:cubicBezTo>
                    <a:pt x="276" y="152"/>
                    <a:pt x="277" y="149"/>
                    <a:pt x="279" y="148"/>
                  </a:cubicBezTo>
                  <a:cubicBezTo>
                    <a:pt x="279" y="148"/>
                    <a:pt x="280" y="150"/>
                    <a:pt x="280" y="151"/>
                  </a:cubicBezTo>
                  <a:cubicBezTo>
                    <a:pt x="282" y="150"/>
                    <a:pt x="283" y="151"/>
                    <a:pt x="285" y="150"/>
                  </a:cubicBezTo>
                  <a:cubicBezTo>
                    <a:pt x="286" y="150"/>
                    <a:pt x="286" y="148"/>
                    <a:pt x="287" y="148"/>
                  </a:cubicBezTo>
                  <a:cubicBezTo>
                    <a:pt x="288" y="148"/>
                    <a:pt x="288" y="148"/>
                    <a:pt x="289" y="148"/>
                  </a:cubicBezTo>
                  <a:cubicBezTo>
                    <a:pt x="287" y="151"/>
                    <a:pt x="287" y="151"/>
                    <a:pt x="287" y="151"/>
                  </a:cubicBezTo>
                  <a:cubicBezTo>
                    <a:pt x="286" y="150"/>
                    <a:pt x="286" y="154"/>
                    <a:pt x="286" y="153"/>
                  </a:cubicBezTo>
                  <a:cubicBezTo>
                    <a:pt x="287" y="154"/>
                    <a:pt x="288" y="154"/>
                    <a:pt x="288" y="155"/>
                  </a:cubicBezTo>
                  <a:cubicBezTo>
                    <a:pt x="290" y="158"/>
                    <a:pt x="282" y="154"/>
                    <a:pt x="279" y="155"/>
                  </a:cubicBezTo>
                  <a:cubicBezTo>
                    <a:pt x="279" y="155"/>
                    <a:pt x="278" y="156"/>
                    <a:pt x="278" y="157"/>
                  </a:cubicBezTo>
                  <a:cubicBezTo>
                    <a:pt x="276" y="158"/>
                    <a:pt x="274" y="158"/>
                    <a:pt x="272" y="159"/>
                  </a:cubicBezTo>
                  <a:cubicBezTo>
                    <a:pt x="272" y="162"/>
                    <a:pt x="273" y="167"/>
                    <a:pt x="273" y="169"/>
                  </a:cubicBezTo>
                  <a:cubicBezTo>
                    <a:pt x="273" y="169"/>
                    <a:pt x="270" y="171"/>
                    <a:pt x="269" y="172"/>
                  </a:cubicBezTo>
                  <a:cubicBezTo>
                    <a:pt x="270" y="173"/>
                    <a:pt x="270" y="174"/>
                    <a:pt x="271" y="175"/>
                  </a:cubicBezTo>
                  <a:cubicBezTo>
                    <a:pt x="271" y="175"/>
                    <a:pt x="274" y="176"/>
                    <a:pt x="273" y="175"/>
                  </a:cubicBezTo>
                  <a:cubicBezTo>
                    <a:pt x="274" y="174"/>
                    <a:pt x="274" y="177"/>
                    <a:pt x="273" y="178"/>
                  </a:cubicBezTo>
                  <a:cubicBezTo>
                    <a:pt x="272" y="178"/>
                    <a:pt x="269" y="179"/>
                    <a:pt x="269" y="179"/>
                  </a:cubicBezTo>
                  <a:cubicBezTo>
                    <a:pt x="268" y="179"/>
                    <a:pt x="269" y="181"/>
                    <a:pt x="268" y="182"/>
                  </a:cubicBezTo>
                  <a:cubicBezTo>
                    <a:pt x="270" y="182"/>
                    <a:pt x="271" y="183"/>
                    <a:pt x="273" y="183"/>
                  </a:cubicBezTo>
                  <a:cubicBezTo>
                    <a:pt x="273" y="182"/>
                    <a:pt x="275" y="181"/>
                    <a:pt x="275" y="181"/>
                  </a:cubicBezTo>
                  <a:cubicBezTo>
                    <a:pt x="276" y="180"/>
                    <a:pt x="276" y="182"/>
                    <a:pt x="278" y="181"/>
                  </a:cubicBezTo>
                  <a:cubicBezTo>
                    <a:pt x="278" y="180"/>
                    <a:pt x="278" y="180"/>
                    <a:pt x="278" y="180"/>
                  </a:cubicBezTo>
                  <a:cubicBezTo>
                    <a:pt x="278" y="179"/>
                    <a:pt x="281" y="179"/>
                    <a:pt x="281" y="178"/>
                  </a:cubicBezTo>
                  <a:cubicBezTo>
                    <a:pt x="282" y="177"/>
                    <a:pt x="281" y="176"/>
                    <a:pt x="281" y="176"/>
                  </a:cubicBezTo>
                  <a:cubicBezTo>
                    <a:pt x="283" y="175"/>
                    <a:pt x="285" y="175"/>
                    <a:pt x="287" y="175"/>
                  </a:cubicBezTo>
                  <a:cubicBezTo>
                    <a:pt x="287" y="173"/>
                    <a:pt x="286" y="172"/>
                    <a:pt x="287" y="171"/>
                  </a:cubicBezTo>
                  <a:cubicBezTo>
                    <a:pt x="287" y="171"/>
                    <a:pt x="289" y="172"/>
                    <a:pt x="289" y="173"/>
                  </a:cubicBezTo>
                  <a:cubicBezTo>
                    <a:pt x="289" y="172"/>
                    <a:pt x="289" y="170"/>
                    <a:pt x="289" y="170"/>
                  </a:cubicBezTo>
                  <a:cubicBezTo>
                    <a:pt x="290" y="169"/>
                    <a:pt x="291" y="169"/>
                    <a:pt x="291" y="168"/>
                  </a:cubicBezTo>
                  <a:cubicBezTo>
                    <a:pt x="293" y="168"/>
                    <a:pt x="292" y="169"/>
                    <a:pt x="292" y="170"/>
                  </a:cubicBezTo>
                  <a:cubicBezTo>
                    <a:pt x="293" y="170"/>
                    <a:pt x="294" y="169"/>
                    <a:pt x="294" y="169"/>
                  </a:cubicBezTo>
                  <a:cubicBezTo>
                    <a:pt x="295" y="168"/>
                    <a:pt x="299" y="170"/>
                    <a:pt x="301" y="170"/>
                  </a:cubicBezTo>
                  <a:cubicBezTo>
                    <a:pt x="301" y="169"/>
                    <a:pt x="301" y="167"/>
                    <a:pt x="301" y="167"/>
                  </a:cubicBezTo>
                  <a:cubicBezTo>
                    <a:pt x="302" y="166"/>
                    <a:pt x="303" y="167"/>
                    <a:pt x="304" y="167"/>
                  </a:cubicBezTo>
                  <a:cubicBezTo>
                    <a:pt x="303" y="163"/>
                    <a:pt x="303" y="164"/>
                    <a:pt x="304" y="161"/>
                  </a:cubicBezTo>
                  <a:cubicBezTo>
                    <a:pt x="303" y="160"/>
                    <a:pt x="303" y="162"/>
                    <a:pt x="301" y="161"/>
                  </a:cubicBezTo>
                  <a:cubicBezTo>
                    <a:pt x="301" y="160"/>
                    <a:pt x="301" y="160"/>
                    <a:pt x="301" y="160"/>
                  </a:cubicBezTo>
                  <a:cubicBezTo>
                    <a:pt x="301" y="160"/>
                    <a:pt x="300" y="160"/>
                    <a:pt x="299" y="160"/>
                  </a:cubicBezTo>
                  <a:cubicBezTo>
                    <a:pt x="299" y="159"/>
                    <a:pt x="299" y="156"/>
                    <a:pt x="299" y="154"/>
                  </a:cubicBezTo>
                  <a:cubicBezTo>
                    <a:pt x="303" y="155"/>
                    <a:pt x="304" y="154"/>
                    <a:pt x="308" y="156"/>
                  </a:cubicBezTo>
                  <a:cubicBezTo>
                    <a:pt x="308" y="156"/>
                    <a:pt x="308" y="154"/>
                    <a:pt x="308" y="154"/>
                  </a:cubicBezTo>
                  <a:cubicBezTo>
                    <a:pt x="309" y="154"/>
                    <a:pt x="309" y="155"/>
                    <a:pt x="309" y="155"/>
                  </a:cubicBezTo>
                  <a:cubicBezTo>
                    <a:pt x="311" y="155"/>
                    <a:pt x="312" y="155"/>
                    <a:pt x="313" y="155"/>
                  </a:cubicBezTo>
                  <a:cubicBezTo>
                    <a:pt x="313" y="154"/>
                    <a:pt x="313" y="153"/>
                    <a:pt x="314" y="153"/>
                  </a:cubicBezTo>
                  <a:cubicBezTo>
                    <a:pt x="314" y="153"/>
                    <a:pt x="315" y="155"/>
                    <a:pt x="315" y="155"/>
                  </a:cubicBezTo>
                  <a:cubicBezTo>
                    <a:pt x="314" y="154"/>
                    <a:pt x="314" y="156"/>
                    <a:pt x="314" y="156"/>
                  </a:cubicBezTo>
                  <a:cubicBezTo>
                    <a:pt x="315" y="156"/>
                    <a:pt x="316" y="157"/>
                    <a:pt x="317" y="157"/>
                  </a:cubicBezTo>
                  <a:cubicBezTo>
                    <a:pt x="316" y="158"/>
                    <a:pt x="315" y="158"/>
                    <a:pt x="314" y="159"/>
                  </a:cubicBezTo>
                  <a:cubicBezTo>
                    <a:pt x="315" y="159"/>
                    <a:pt x="317" y="158"/>
                    <a:pt x="319" y="159"/>
                  </a:cubicBezTo>
                  <a:cubicBezTo>
                    <a:pt x="319" y="160"/>
                    <a:pt x="319" y="160"/>
                    <a:pt x="319" y="160"/>
                  </a:cubicBezTo>
                  <a:cubicBezTo>
                    <a:pt x="320" y="160"/>
                    <a:pt x="320" y="160"/>
                    <a:pt x="321" y="161"/>
                  </a:cubicBezTo>
                  <a:cubicBezTo>
                    <a:pt x="321" y="161"/>
                    <a:pt x="321" y="163"/>
                    <a:pt x="321" y="163"/>
                  </a:cubicBezTo>
                  <a:cubicBezTo>
                    <a:pt x="320" y="163"/>
                    <a:pt x="320" y="163"/>
                    <a:pt x="320" y="163"/>
                  </a:cubicBezTo>
                  <a:cubicBezTo>
                    <a:pt x="320" y="164"/>
                    <a:pt x="321" y="165"/>
                    <a:pt x="321" y="165"/>
                  </a:cubicBezTo>
                  <a:cubicBezTo>
                    <a:pt x="323" y="165"/>
                    <a:pt x="324" y="165"/>
                    <a:pt x="325" y="164"/>
                  </a:cubicBezTo>
                  <a:cubicBezTo>
                    <a:pt x="325" y="164"/>
                    <a:pt x="326" y="164"/>
                    <a:pt x="327" y="163"/>
                  </a:cubicBezTo>
                  <a:cubicBezTo>
                    <a:pt x="328" y="164"/>
                    <a:pt x="327" y="165"/>
                    <a:pt x="327" y="166"/>
                  </a:cubicBezTo>
                  <a:cubicBezTo>
                    <a:pt x="328" y="166"/>
                    <a:pt x="329" y="168"/>
                    <a:pt x="329" y="168"/>
                  </a:cubicBezTo>
                  <a:cubicBezTo>
                    <a:pt x="330" y="168"/>
                    <a:pt x="332" y="168"/>
                    <a:pt x="333" y="168"/>
                  </a:cubicBezTo>
                  <a:cubicBezTo>
                    <a:pt x="334" y="168"/>
                    <a:pt x="335" y="170"/>
                    <a:pt x="335" y="171"/>
                  </a:cubicBezTo>
                  <a:cubicBezTo>
                    <a:pt x="336" y="171"/>
                    <a:pt x="343" y="173"/>
                    <a:pt x="343" y="173"/>
                  </a:cubicBezTo>
                  <a:cubicBezTo>
                    <a:pt x="345" y="172"/>
                    <a:pt x="348" y="170"/>
                    <a:pt x="351" y="170"/>
                  </a:cubicBezTo>
                  <a:cubicBezTo>
                    <a:pt x="352" y="170"/>
                    <a:pt x="354" y="172"/>
                    <a:pt x="355" y="173"/>
                  </a:cubicBezTo>
                  <a:cubicBezTo>
                    <a:pt x="357" y="173"/>
                    <a:pt x="357" y="171"/>
                    <a:pt x="359" y="172"/>
                  </a:cubicBezTo>
                  <a:cubicBezTo>
                    <a:pt x="359" y="172"/>
                    <a:pt x="360" y="174"/>
                    <a:pt x="360" y="174"/>
                  </a:cubicBezTo>
                  <a:cubicBezTo>
                    <a:pt x="362" y="175"/>
                    <a:pt x="370" y="177"/>
                    <a:pt x="373" y="176"/>
                  </a:cubicBezTo>
                  <a:cubicBezTo>
                    <a:pt x="374" y="176"/>
                    <a:pt x="375" y="174"/>
                    <a:pt x="376" y="173"/>
                  </a:cubicBezTo>
                  <a:cubicBezTo>
                    <a:pt x="376" y="175"/>
                    <a:pt x="376" y="177"/>
                    <a:pt x="376" y="178"/>
                  </a:cubicBezTo>
                  <a:cubicBezTo>
                    <a:pt x="376" y="178"/>
                    <a:pt x="374" y="179"/>
                    <a:pt x="374" y="180"/>
                  </a:cubicBezTo>
                  <a:cubicBezTo>
                    <a:pt x="374" y="180"/>
                    <a:pt x="376" y="181"/>
                    <a:pt x="376" y="181"/>
                  </a:cubicBezTo>
                  <a:cubicBezTo>
                    <a:pt x="377" y="181"/>
                    <a:pt x="379" y="180"/>
                    <a:pt x="379" y="181"/>
                  </a:cubicBezTo>
                  <a:cubicBezTo>
                    <a:pt x="380" y="181"/>
                    <a:pt x="380" y="183"/>
                    <a:pt x="380" y="183"/>
                  </a:cubicBezTo>
                  <a:cubicBezTo>
                    <a:pt x="381" y="184"/>
                    <a:pt x="383" y="183"/>
                    <a:pt x="383" y="184"/>
                  </a:cubicBezTo>
                  <a:cubicBezTo>
                    <a:pt x="384" y="182"/>
                    <a:pt x="383" y="184"/>
                    <a:pt x="384" y="183"/>
                  </a:cubicBezTo>
                  <a:cubicBezTo>
                    <a:pt x="385" y="183"/>
                    <a:pt x="384" y="182"/>
                    <a:pt x="384" y="182"/>
                  </a:cubicBezTo>
                  <a:cubicBezTo>
                    <a:pt x="384" y="181"/>
                    <a:pt x="384" y="181"/>
                    <a:pt x="384" y="181"/>
                  </a:cubicBezTo>
                  <a:cubicBezTo>
                    <a:pt x="385" y="181"/>
                    <a:pt x="387" y="181"/>
                    <a:pt x="388" y="181"/>
                  </a:cubicBezTo>
                  <a:cubicBezTo>
                    <a:pt x="387" y="183"/>
                    <a:pt x="387" y="185"/>
                    <a:pt x="386" y="187"/>
                  </a:cubicBezTo>
                  <a:cubicBezTo>
                    <a:pt x="387" y="187"/>
                    <a:pt x="393" y="195"/>
                    <a:pt x="393" y="195"/>
                  </a:cubicBezTo>
                  <a:cubicBezTo>
                    <a:pt x="396" y="196"/>
                    <a:pt x="397" y="194"/>
                    <a:pt x="398" y="195"/>
                  </a:cubicBezTo>
                  <a:cubicBezTo>
                    <a:pt x="399" y="195"/>
                    <a:pt x="398" y="198"/>
                    <a:pt x="398" y="198"/>
                  </a:cubicBezTo>
                  <a:cubicBezTo>
                    <a:pt x="399" y="198"/>
                    <a:pt x="400" y="198"/>
                    <a:pt x="400" y="198"/>
                  </a:cubicBezTo>
                  <a:cubicBezTo>
                    <a:pt x="404" y="202"/>
                    <a:pt x="404" y="202"/>
                    <a:pt x="404" y="202"/>
                  </a:cubicBezTo>
                  <a:cubicBezTo>
                    <a:pt x="404" y="204"/>
                    <a:pt x="402" y="204"/>
                    <a:pt x="403" y="205"/>
                  </a:cubicBezTo>
                  <a:cubicBezTo>
                    <a:pt x="404" y="207"/>
                    <a:pt x="406" y="206"/>
                    <a:pt x="408" y="207"/>
                  </a:cubicBezTo>
                  <a:cubicBezTo>
                    <a:pt x="408" y="208"/>
                    <a:pt x="409" y="210"/>
                    <a:pt x="409" y="210"/>
                  </a:cubicBezTo>
                  <a:cubicBezTo>
                    <a:pt x="409" y="210"/>
                    <a:pt x="411" y="210"/>
                    <a:pt x="411" y="210"/>
                  </a:cubicBezTo>
                  <a:cubicBezTo>
                    <a:pt x="411" y="209"/>
                    <a:pt x="411" y="208"/>
                    <a:pt x="411" y="207"/>
                  </a:cubicBezTo>
                  <a:cubicBezTo>
                    <a:pt x="412" y="208"/>
                    <a:pt x="414" y="210"/>
                    <a:pt x="415" y="210"/>
                  </a:cubicBezTo>
                  <a:cubicBezTo>
                    <a:pt x="416" y="211"/>
                    <a:pt x="417" y="210"/>
                    <a:pt x="418" y="210"/>
                  </a:cubicBezTo>
                  <a:cubicBezTo>
                    <a:pt x="418" y="209"/>
                    <a:pt x="417" y="207"/>
                    <a:pt x="417" y="205"/>
                  </a:cubicBezTo>
                  <a:cubicBezTo>
                    <a:pt x="417" y="205"/>
                    <a:pt x="415" y="205"/>
                    <a:pt x="414" y="205"/>
                  </a:cubicBezTo>
                  <a:cubicBezTo>
                    <a:pt x="420" y="202"/>
                    <a:pt x="408" y="200"/>
                    <a:pt x="404" y="200"/>
                  </a:cubicBezTo>
                  <a:cubicBezTo>
                    <a:pt x="404" y="199"/>
                    <a:pt x="403" y="197"/>
                    <a:pt x="403" y="197"/>
                  </a:cubicBezTo>
                  <a:cubicBezTo>
                    <a:pt x="404" y="197"/>
                    <a:pt x="405" y="198"/>
                    <a:pt x="405" y="198"/>
                  </a:cubicBezTo>
                  <a:cubicBezTo>
                    <a:pt x="406" y="199"/>
                    <a:pt x="411" y="196"/>
                    <a:pt x="412" y="195"/>
                  </a:cubicBezTo>
                  <a:cubicBezTo>
                    <a:pt x="413" y="196"/>
                    <a:pt x="413" y="197"/>
                    <a:pt x="413" y="198"/>
                  </a:cubicBezTo>
                  <a:cubicBezTo>
                    <a:pt x="414" y="198"/>
                    <a:pt x="414" y="198"/>
                    <a:pt x="414" y="198"/>
                  </a:cubicBezTo>
                  <a:cubicBezTo>
                    <a:pt x="414" y="194"/>
                    <a:pt x="414" y="192"/>
                    <a:pt x="414" y="189"/>
                  </a:cubicBezTo>
                  <a:cubicBezTo>
                    <a:pt x="414" y="189"/>
                    <a:pt x="416" y="189"/>
                    <a:pt x="416" y="189"/>
                  </a:cubicBezTo>
                  <a:cubicBezTo>
                    <a:pt x="417" y="193"/>
                    <a:pt x="416" y="196"/>
                    <a:pt x="420" y="197"/>
                  </a:cubicBezTo>
                  <a:cubicBezTo>
                    <a:pt x="421" y="197"/>
                    <a:pt x="423" y="196"/>
                    <a:pt x="423" y="196"/>
                  </a:cubicBezTo>
                  <a:cubicBezTo>
                    <a:pt x="424" y="197"/>
                    <a:pt x="424" y="200"/>
                    <a:pt x="424" y="200"/>
                  </a:cubicBezTo>
                  <a:cubicBezTo>
                    <a:pt x="425" y="200"/>
                    <a:pt x="426" y="199"/>
                    <a:pt x="427" y="200"/>
                  </a:cubicBezTo>
                  <a:cubicBezTo>
                    <a:pt x="427" y="201"/>
                    <a:pt x="426" y="203"/>
                    <a:pt x="426" y="204"/>
                  </a:cubicBezTo>
                  <a:cubicBezTo>
                    <a:pt x="430" y="206"/>
                    <a:pt x="430" y="206"/>
                    <a:pt x="430" y="206"/>
                  </a:cubicBezTo>
                  <a:cubicBezTo>
                    <a:pt x="430" y="207"/>
                    <a:pt x="429" y="212"/>
                    <a:pt x="430" y="214"/>
                  </a:cubicBezTo>
                  <a:cubicBezTo>
                    <a:pt x="430" y="214"/>
                    <a:pt x="434" y="215"/>
                    <a:pt x="434" y="215"/>
                  </a:cubicBezTo>
                  <a:cubicBezTo>
                    <a:pt x="435" y="216"/>
                    <a:pt x="434" y="218"/>
                    <a:pt x="434" y="219"/>
                  </a:cubicBezTo>
                  <a:cubicBezTo>
                    <a:pt x="434" y="219"/>
                    <a:pt x="435" y="220"/>
                    <a:pt x="435" y="220"/>
                  </a:cubicBezTo>
                  <a:cubicBezTo>
                    <a:pt x="433" y="221"/>
                    <a:pt x="433" y="221"/>
                    <a:pt x="433" y="221"/>
                  </a:cubicBezTo>
                  <a:cubicBezTo>
                    <a:pt x="433" y="221"/>
                    <a:pt x="433" y="223"/>
                    <a:pt x="433" y="223"/>
                  </a:cubicBezTo>
                  <a:cubicBezTo>
                    <a:pt x="434" y="223"/>
                    <a:pt x="434" y="223"/>
                    <a:pt x="434" y="223"/>
                  </a:cubicBezTo>
                  <a:cubicBezTo>
                    <a:pt x="434" y="224"/>
                    <a:pt x="434" y="224"/>
                    <a:pt x="434" y="224"/>
                  </a:cubicBezTo>
                  <a:cubicBezTo>
                    <a:pt x="434" y="224"/>
                    <a:pt x="435" y="224"/>
                    <a:pt x="436" y="224"/>
                  </a:cubicBezTo>
                  <a:cubicBezTo>
                    <a:pt x="436" y="223"/>
                    <a:pt x="436" y="221"/>
                    <a:pt x="435" y="222"/>
                  </a:cubicBezTo>
                  <a:cubicBezTo>
                    <a:pt x="435" y="220"/>
                    <a:pt x="435" y="220"/>
                    <a:pt x="435" y="220"/>
                  </a:cubicBezTo>
                  <a:cubicBezTo>
                    <a:pt x="435" y="221"/>
                    <a:pt x="436" y="220"/>
                    <a:pt x="437" y="220"/>
                  </a:cubicBezTo>
                  <a:cubicBezTo>
                    <a:pt x="437" y="220"/>
                    <a:pt x="441" y="225"/>
                    <a:pt x="441" y="225"/>
                  </a:cubicBezTo>
                  <a:cubicBezTo>
                    <a:pt x="440" y="225"/>
                    <a:pt x="439" y="225"/>
                    <a:pt x="439" y="225"/>
                  </a:cubicBezTo>
                  <a:cubicBezTo>
                    <a:pt x="439" y="226"/>
                    <a:pt x="439" y="226"/>
                    <a:pt x="439" y="226"/>
                  </a:cubicBezTo>
                  <a:cubicBezTo>
                    <a:pt x="439" y="226"/>
                    <a:pt x="440" y="227"/>
                    <a:pt x="441" y="227"/>
                  </a:cubicBezTo>
                  <a:cubicBezTo>
                    <a:pt x="440" y="227"/>
                    <a:pt x="442" y="225"/>
                    <a:pt x="442" y="225"/>
                  </a:cubicBezTo>
                  <a:cubicBezTo>
                    <a:pt x="442" y="226"/>
                    <a:pt x="442" y="226"/>
                    <a:pt x="443" y="226"/>
                  </a:cubicBezTo>
                  <a:cubicBezTo>
                    <a:pt x="442" y="230"/>
                    <a:pt x="443" y="232"/>
                    <a:pt x="442" y="235"/>
                  </a:cubicBezTo>
                  <a:cubicBezTo>
                    <a:pt x="443" y="234"/>
                    <a:pt x="444" y="235"/>
                    <a:pt x="445" y="234"/>
                  </a:cubicBezTo>
                  <a:cubicBezTo>
                    <a:pt x="445" y="234"/>
                    <a:pt x="445" y="231"/>
                    <a:pt x="445" y="231"/>
                  </a:cubicBezTo>
                  <a:cubicBezTo>
                    <a:pt x="446" y="231"/>
                    <a:pt x="447" y="231"/>
                    <a:pt x="448" y="230"/>
                  </a:cubicBezTo>
                  <a:cubicBezTo>
                    <a:pt x="448" y="231"/>
                    <a:pt x="449" y="231"/>
                    <a:pt x="449" y="232"/>
                  </a:cubicBezTo>
                  <a:cubicBezTo>
                    <a:pt x="449" y="232"/>
                    <a:pt x="447" y="232"/>
                    <a:pt x="447" y="232"/>
                  </a:cubicBezTo>
                  <a:cubicBezTo>
                    <a:pt x="447" y="233"/>
                    <a:pt x="446" y="237"/>
                    <a:pt x="446" y="236"/>
                  </a:cubicBezTo>
                  <a:cubicBezTo>
                    <a:pt x="447" y="238"/>
                    <a:pt x="447" y="238"/>
                    <a:pt x="448" y="240"/>
                  </a:cubicBezTo>
                  <a:cubicBezTo>
                    <a:pt x="453" y="239"/>
                    <a:pt x="451" y="241"/>
                    <a:pt x="451" y="235"/>
                  </a:cubicBezTo>
                  <a:cubicBezTo>
                    <a:pt x="451" y="235"/>
                    <a:pt x="452" y="235"/>
                    <a:pt x="452" y="236"/>
                  </a:cubicBezTo>
                  <a:cubicBezTo>
                    <a:pt x="453" y="238"/>
                    <a:pt x="453" y="239"/>
                    <a:pt x="454" y="240"/>
                  </a:cubicBezTo>
                  <a:cubicBezTo>
                    <a:pt x="453" y="241"/>
                    <a:pt x="453" y="241"/>
                    <a:pt x="453" y="242"/>
                  </a:cubicBezTo>
                  <a:cubicBezTo>
                    <a:pt x="452" y="242"/>
                    <a:pt x="448" y="242"/>
                    <a:pt x="450" y="243"/>
                  </a:cubicBezTo>
                  <a:cubicBezTo>
                    <a:pt x="451" y="244"/>
                    <a:pt x="450" y="244"/>
                    <a:pt x="452" y="244"/>
                  </a:cubicBezTo>
                  <a:cubicBezTo>
                    <a:pt x="450" y="245"/>
                    <a:pt x="453" y="245"/>
                    <a:pt x="453" y="245"/>
                  </a:cubicBezTo>
                  <a:cubicBezTo>
                    <a:pt x="453" y="246"/>
                    <a:pt x="452" y="246"/>
                    <a:pt x="452" y="246"/>
                  </a:cubicBezTo>
                  <a:cubicBezTo>
                    <a:pt x="452" y="248"/>
                    <a:pt x="452" y="248"/>
                    <a:pt x="452" y="248"/>
                  </a:cubicBezTo>
                  <a:cubicBezTo>
                    <a:pt x="454" y="248"/>
                    <a:pt x="454" y="249"/>
                    <a:pt x="456" y="249"/>
                  </a:cubicBezTo>
                  <a:cubicBezTo>
                    <a:pt x="457" y="247"/>
                    <a:pt x="457" y="245"/>
                    <a:pt x="459" y="244"/>
                  </a:cubicBezTo>
                  <a:cubicBezTo>
                    <a:pt x="459" y="244"/>
                    <a:pt x="459" y="244"/>
                    <a:pt x="460" y="243"/>
                  </a:cubicBezTo>
                  <a:cubicBezTo>
                    <a:pt x="460" y="243"/>
                    <a:pt x="460" y="243"/>
                    <a:pt x="459" y="243"/>
                  </a:cubicBezTo>
                  <a:cubicBezTo>
                    <a:pt x="460" y="242"/>
                    <a:pt x="461" y="241"/>
                    <a:pt x="462" y="240"/>
                  </a:cubicBezTo>
                  <a:cubicBezTo>
                    <a:pt x="462" y="239"/>
                    <a:pt x="462" y="238"/>
                    <a:pt x="462" y="236"/>
                  </a:cubicBezTo>
                  <a:cubicBezTo>
                    <a:pt x="461" y="234"/>
                    <a:pt x="465" y="232"/>
                    <a:pt x="463" y="232"/>
                  </a:cubicBezTo>
                  <a:cubicBezTo>
                    <a:pt x="461" y="232"/>
                    <a:pt x="462" y="228"/>
                    <a:pt x="460" y="226"/>
                  </a:cubicBezTo>
                  <a:cubicBezTo>
                    <a:pt x="458" y="225"/>
                    <a:pt x="458" y="227"/>
                    <a:pt x="457" y="224"/>
                  </a:cubicBezTo>
                  <a:cubicBezTo>
                    <a:pt x="456" y="221"/>
                    <a:pt x="455" y="219"/>
                    <a:pt x="455" y="216"/>
                  </a:cubicBezTo>
                  <a:cubicBezTo>
                    <a:pt x="455" y="213"/>
                    <a:pt x="452" y="218"/>
                    <a:pt x="449" y="216"/>
                  </a:cubicBezTo>
                  <a:cubicBezTo>
                    <a:pt x="445" y="214"/>
                    <a:pt x="446" y="211"/>
                    <a:pt x="443" y="209"/>
                  </a:cubicBezTo>
                  <a:cubicBezTo>
                    <a:pt x="439" y="207"/>
                    <a:pt x="439" y="203"/>
                    <a:pt x="437" y="200"/>
                  </a:cubicBezTo>
                  <a:cubicBezTo>
                    <a:pt x="435" y="197"/>
                    <a:pt x="428" y="191"/>
                    <a:pt x="427" y="188"/>
                  </a:cubicBezTo>
                  <a:cubicBezTo>
                    <a:pt x="425" y="186"/>
                    <a:pt x="423" y="182"/>
                    <a:pt x="419" y="181"/>
                  </a:cubicBezTo>
                  <a:cubicBezTo>
                    <a:pt x="416" y="181"/>
                    <a:pt x="416" y="179"/>
                    <a:pt x="416" y="177"/>
                  </a:cubicBezTo>
                  <a:cubicBezTo>
                    <a:pt x="416" y="174"/>
                    <a:pt x="411" y="175"/>
                    <a:pt x="410" y="172"/>
                  </a:cubicBezTo>
                  <a:cubicBezTo>
                    <a:pt x="408" y="169"/>
                    <a:pt x="405" y="172"/>
                    <a:pt x="402" y="172"/>
                  </a:cubicBezTo>
                  <a:cubicBezTo>
                    <a:pt x="400" y="172"/>
                    <a:pt x="403" y="174"/>
                    <a:pt x="402" y="177"/>
                  </a:cubicBezTo>
                  <a:cubicBezTo>
                    <a:pt x="401" y="180"/>
                    <a:pt x="398" y="179"/>
                    <a:pt x="395" y="181"/>
                  </a:cubicBezTo>
                  <a:cubicBezTo>
                    <a:pt x="390" y="186"/>
                    <a:pt x="393" y="182"/>
                    <a:pt x="391" y="179"/>
                  </a:cubicBezTo>
                  <a:cubicBezTo>
                    <a:pt x="389" y="176"/>
                    <a:pt x="383" y="173"/>
                    <a:pt x="381" y="170"/>
                  </a:cubicBezTo>
                  <a:cubicBezTo>
                    <a:pt x="379" y="167"/>
                    <a:pt x="379" y="167"/>
                    <a:pt x="378" y="164"/>
                  </a:cubicBezTo>
                  <a:cubicBezTo>
                    <a:pt x="377" y="161"/>
                    <a:pt x="380" y="155"/>
                    <a:pt x="374" y="161"/>
                  </a:cubicBezTo>
                  <a:cubicBezTo>
                    <a:pt x="373" y="162"/>
                    <a:pt x="370" y="160"/>
                    <a:pt x="369" y="159"/>
                  </a:cubicBezTo>
                  <a:cubicBezTo>
                    <a:pt x="367" y="158"/>
                    <a:pt x="361" y="161"/>
                    <a:pt x="361" y="161"/>
                  </a:cubicBezTo>
                  <a:cubicBezTo>
                    <a:pt x="358" y="22"/>
                    <a:pt x="358" y="22"/>
                    <a:pt x="358" y="22"/>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16" name="Freeform 352">
              <a:extLst>
                <a:ext uri="{FF2B5EF4-FFF2-40B4-BE49-F238E27FC236}">
                  <a16:creationId xmlns:a16="http://schemas.microsoft.com/office/drawing/2014/main" id="{3F94EC7C-E4DF-BEBF-6F91-35A10BC3658A}"/>
                </a:ext>
              </a:extLst>
            </p:cNvPr>
            <p:cNvSpPr>
              <a:spLocks/>
            </p:cNvSpPr>
            <p:nvPr/>
          </p:nvSpPr>
          <p:spPr bwMode="auto">
            <a:xfrm>
              <a:off x="7820773" y="2766166"/>
              <a:ext cx="404192" cy="325154"/>
            </a:xfrm>
            <a:custGeom>
              <a:avLst/>
              <a:gdLst>
                <a:gd name="T0" fmla="*/ 225 w 225"/>
                <a:gd name="T1" fmla="*/ 24 h 181"/>
                <a:gd name="T2" fmla="*/ 216 w 225"/>
                <a:gd name="T3" fmla="*/ 28 h 181"/>
                <a:gd name="T4" fmla="*/ 194 w 225"/>
                <a:gd name="T5" fmla="*/ 32 h 181"/>
                <a:gd name="T6" fmla="*/ 165 w 225"/>
                <a:gd name="T7" fmla="*/ 45 h 181"/>
                <a:gd name="T8" fmla="*/ 159 w 225"/>
                <a:gd name="T9" fmla="*/ 59 h 181"/>
                <a:gd name="T10" fmla="*/ 161 w 225"/>
                <a:gd name="T11" fmla="*/ 77 h 181"/>
                <a:gd name="T12" fmla="*/ 145 w 225"/>
                <a:gd name="T13" fmla="*/ 77 h 181"/>
                <a:gd name="T14" fmla="*/ 147 w 225"/>
                <a:gd name="T15" fmla="*/ 90 h 181"/>
                <a:gd name="T16" fmla="*/ 139 w 225"/>
                <a:gd name="T17" fmla="*/ 106 h 181"/>
                <a:gd name="T18" fmla="*/ 137 w 225"/>
                <a:gd name="T19" fmla="*/ 120 h 181"/>
                <a:gd name="T20" fmla="*/ 123 w 225"/>
                <a:gd name="T21" fmla="*/ 118 h 181"/>
                <a:gd name="T22" fmla="*/ 116 w 225"/>
                <a:gd name="T23" fmla="*/ 120 h 181"/>
                <a:gd name="T24" fmla="*/ 114 w 225"/>
                <a:gd name="T25" fmla="*/ 132 h 181"/>
                <a:gd name="T26" fmla="*/ 106 w 225"/>
                <a:gd name="T27" fmla="*/ 139 h 181"/>
                <a:gd name="T28" fmla="*/ 90 w 225"/>
                <a:gd name="T29" fmla="*/ 151 h 181"/>
                <a:gd name="T30" fmla="*/ 80 w 225"/>
                <a:gd name="T31" fmla="*/ 165 h 181"/>
                <a:gd name="T32" fmla="*/ 69 w 225"/>
                <a:gd name="T33" fmla="*/ 173 h 181"/>
                <a:gd name="T34" fmla="*/ 59 w 225"/>
                <a:gd name="T35" fmla="*/ 179 h 181"/>
                <a:gd name="T36" fmla="*/ 37 w 225"/>
                <a:gd name="T37" fmla="*/ 179 h 181"/>
                <a:gd name="T38" fmla="*/ 12 w 225"/>
                <a:gd name="T39" fmla="*/ 171 h 181"/>
                <a:gd name="T40" fmla="*/ 31 w 225"/>
                <a:gd name="T41" fmla="*/ 143 h 181"/>
                <a:gd name="T42" fmla="*/ 12 w 225"/>
                <a:gd name="T43" fmla="*/ 138 h 181"/>
                <a:gd name="T44" fmla="*/ 10 w 225"/>
                <a:gd name="T45" fmla="*/ 124 h 181"/>
                <a:gd name="T46" fmla="*/ 0 w 225"/>
                <a:gd name="T47" fmla="*/ 106 h 181"/>
                <a:gd name="T48" fmla="*/ 6 w 225"/>
                <a:gd name="T49" fmla="*/ 94 h 181"/>
                <a:gd name="T50" fmla="*/ 0 w 225"/>
                <a:gd name="T51" fmla="*/ 87 h 181"/>
                <a:gd name="T52" fmla="*/ 4 w 225"/>
                <a:gd name="T53" fmla="*/ 65 h 181"/>
                <a:gd name="T54" fmla="*/ 16 w 225"/>
                <a:gd name="T55" fmla="*/ 63 h 181"/>
                <a:gd name="T56" fmla="*/ 21 w 225"/>
                <a:gd name="T57" fmla="*/ 49 h 181"/>
                <a:gd name="T58" fmla="*/ 33 w 225"/>
                <a:gd name="T59" fmla="*/ 49 h 181"/>
                <a:gd name="T60" fmla="*/ 53 w 225"/>
                <a:gd name="T61" fmla="*/ 43 h 181"/>
                <a:gd name="T62" fmla="*/ 61 w 225"/>
                <a:gd name="T63" fmla="*/ 26 h 181"/>
                <a:gd name="T64" fmla="*/ 63 w 225"/>
                <a:gd name="T65" fmla="*/ 10 h 181"/>
                <a:gd name="T66" fmla="*/ 69 w 225"/>
                <a:gd name="T67" fmla="*/ 0 h 181"/>
                <a:gd name="T68" fmla="*/ 80 w 225"/>
                <a:gd name="T69" fmla="*/ 6 h 181"/>
                <a:gd name="T70" fmla="*/ 96 w 225"/>
                <a:gd name="T71" fmla="*/ 8 h 181"/>
                <a:gd name="T72" fmla="*/ 110 w 225"/>
                <a:gd name="T73" fmla="*/ 14 h 181"/>
                <a:gd name="T74" fmla="*/ 127 w 225"/>
                <a:gd name="T75" fmla="*/ 12 h 181"/>
                <a:gd name="T76" fmla="*/ 137 w 225"/>
                <a:gd name="T77" fmla="*/ 4 h 181"/>
                <a:gd name="T78" fmla="*/ 147 w 225"/>
                <a:gd name="T79" fmla="*/ 2 h 181"/>
                <a:gd name="T80" fmla="*/ 155 w 225"/>
                <a:gd name="T81" fmla="*/ 14 h 181"/>
                <a:gd name="T82" fmla="*/ 149 w 225"/>
                <a:gd name="T83" fmla="*/ 32 h 181"/>
                <a:gd name="T84" fmla="*/ 165 w 225"/>
                <a:gd name="T85" fmla="*/ 37 h 181"/>
                <a:gd name="T86" fmla="*/ 176 w 225"/>
                <a:gd name="T87" fmla="*/ 24 h 181"/>
                <a:gd name="T88" fmla="*/ 194 w 225"/>
                <a:gd name="T89" fmla="*/ 16 h 181"/>
                <a:gd name="T90" fmla="*/ 214 w 225"/>
                <a:gd name="T91" fmla="*/ 2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81">
                  <a:moveTo>
                    <a:pt x="225" y="16"/>
                  </a:moveTo>
                  <a:lnTo>
                    <a:pt x="225" y="24"/>
                  </a:lnTo>
                  <a:lnTo>
                    <a:pt x="222" y="28"/>
                  </a:lnTo>
                  <a:lnTo>
                    <a:pt x="216" y="28"/>
                  </a:lnTo>
                  <a:lnTo>
                    <a:pt x="206" y="28"/>
                  </a:lnTo>
                  <a:lnTo>
                    <a:pt x="194" y="32"/>
                  </a:lnTo>
                  <a:lnTo>
                    <a:pt x="184" y="34"/>
                  </a:lnTo>
                  <a:lnTo>
                    <a:pt x="165" y="45"/>
                  </a:lnTo>
                  <a:lnTo>
                    <a:pt x="165" y="55"/>
                  </a:lnTo>
                  <a:lnTo>
                    <a:pt x="159" y="59"/>
                  </a:lnTo>
                  <a:lnTo>
                    <a:pt x="163" y="65"/>
                  </a:lnTo>
                  <a:lnTo>
                    <a:pt x="161" y="77"/>
                  </a:lnTo>
                  <a:lnTo>
                    <a:pt x="151" y="79"/>
                  </a:lnTo>
                  <a:lnTo>
                    <a:pt x="145" y="77"/>
                  </a:lnTo>
                  <a:lnTo>
                    <a:pt x="141" y="83"/>
                  </a:lnTo>
                  <a:lnTo>
                    <a:pt x="147" y="90"/>
                  </a:lnTo>
                  <a:lnTo>
                    <a:pt x="147" y="98"/>
                  </a:lnTo>
                  <a:lnTo>
                    <a:pt x="139" y="106"/>
                  </a:lnTo>
                  <a:lnTo>
                    <a:pt x="139" y="112"/>
                  </a:lnTo>
                  <a:lnTo>
                    <a:pt x="137" y="120"/>
                  </a:lnTo>
                  <a:lnTo>
                    <a:pt x="131" y="120"/>
                  </a:lnTo>
                  <a:lnTo>
                    <a:pt x="123" y="118"/>
                  </a:lnTo>
                  <a:lnTo>
                    <a:pt x="121" y="114"/>
                  </a:lnTo>
                  <a:lnTo>
                    <a:pt x="116" y="120"/>
                  </a:lnTo>
                  <a:lnTo>
                    <a:pt x="108" y="126"/>
                  </a:lnTo>
                  <a:lnTo>
                    <a:pt x="114" y="132"/>
                  </a:lnTo>
                  <a:lnTo>
                    <a:pt x="112" y="138"/>
                  </a:lnTo>
                  <a:lnTo>
                    <a:pt x="106" y="139"/>
                  </a:lnTo>
                  <a:lnTo>
                    <a:pt x="102" y="138"/>
                  </a:lnTo>
                  <a:lnTo>
                    <a:pt x="90" y="151"/>
                  </a:lnTo>
                  <a:lnTo>
                    <a:pt x="82" y="157"/>
                  </a:lnTo>
                  <a:lnTo>
                    <a:pt x="80" y="165"/>
                  </a:lnTo>
                  <a:lnTo>
                    <a:pt x="78" y="171"/>
                  </a:lnTo>
                  <a:lnTo>
                    <a:pt x="69" y="173"/>
                  </a:lnTo>
                  <a:lnTo>
                    <a:pt x="67" y="181"/>
                  </a:lnTo>
                  <a:lnTo>
                    <a:pt x="59" y="179"/>
                  </a:lnTo>
                  <a:lnTo>
                    <a:pt x="43" y="179"/>
                  </a:lnTo>
                  <a:lnTo>
                    <a:pt x="37" y="179"/>
                  </a:lnTo>
                  <a:lnTo>
                    <a:pt x="29" y="181"/>
                  </a:lnTo>
                  <a:lnTo>
                    <a:pt x="12" y="171"/>
                  </a:lnTo>
                  <a:lnTo>
                    <a:pt x="31" y="149"/>
                  </a:lnTo>
                  <a:lnTo>
                    <a:pt x="31" y="143"/>
                  </a:lnTo>
                  <a:lnTo>
                    <a:pt x="27" y="139"/>
                  </a:lnTo>
                  <a:lnTo>
                    <a:pt x="12" y="138"/>
                  </a:lnTo>
                  <a:lnTo>
                    <a:pt x="12" y="134"/>
                  </a:lnTo>
                  <a:lnTo>
                    <a:pt x="10" y="124"/>
                  </a:lnTo>
                  <a:lnTo>
                    <a:pt x="8" y="114"/>
                  </a:lnTo>
                  <a:lnTo>
                    <a:pt x="0" y="106"/>
                  </a:lnTo>
                  <a:lnTo>
                    <a:pt x="0" y="98"/>
                  </a:lnTo>
                  <a:lnTo>
                    <a:pt x="6" y="94"/>
                  </a:lnTo>
                  <a:lnTo>
                    <a:pt x="0" y="90"/>
                  </a:lnTo>
                  <a:lnTo>
                    <a:pt x="0" y="87"/>
                  </a:lnTo>
                  <a:lnTo>
                    <a:pt x="2" y="73"/>
                  </a:lnTo>
                  <a:lnTo>
                    <a:pt x="4" y="65"/>
                  </a:lnTo>
                  <a:lnTo>
                    <a:pt x="8" y="63"/>
                  </a:lnTo>
                  <a:lnTo>
                    <a:pt x="16" y="63"/>
                  </a:lnTo>
                  <a:lnTo>
                    <a:pt x="18" y="57"/>
                  </a:lnTo>
                  <a:lnTo>
                    <a:pt x="21" y="49"/>
                  </a:lnTo>
                  <a:lnTo>
                    <a:pt x="27" y="51"/>
                  </a:lnTo>
                  <a:lnTo>
                    <a:pt x="33" y="49"/>
                  </a:lnTo>
                  <a:lnTo>
                    <a:pt x="39" y="51"/>
                  </a:lnTo>
                  <a:lnTo>
                    <a:pt x="53" y="43"/>
                  </a:lnTo>
                  <a:lnTo>
                    <a:pt x="51" y="35"/>
                  </a:lnTo>
                  <a:lnTo>
                    <a:pt x="61" y="26"/>
                  </a:lnTo>
                  <a:lnTo>
                    <a:pt x="63" y="20"/>
                  </a:lnTo>
                  <a:lnTo>
                    <a:pt x="63" y="10"/>
                  </a:lnTo>
                  <a:lnTo>
                    <a:pt x="67" y="6"/>
                  </a:lnTo>
                  <a:lnTo>
                    <a:pt x="69" y="0"/>
                  </a:lnTo>
                  <a:lnTo>
                    <a:pt x="74" y="2"/>
                  </a:lnTo>
                  <a:lnTo>
                    <a:pt x="80" y="6"/>
                  </a:lnTo>
                  <a:lnTo>
                    <a:pt x="88" y="6"/>
                  </a:lnTo>
                  <a:lnTo>
                    <a:pt x="96" y="8"/>
                  </a:lnTo>
                  <a:lnTo>
                    <a:pt x="102" y="14"/>
                  </a:lnTo>
                  <a:lnTo>
                    <a:pt x="110" y="14"/>
                  </a:lnTo>
                  <a:lnTo>
                    <a:pt x="121" y="12"/>
                  </a:lnTo>
                  <a:lnTo>
                    <a:pt x="127" y="12"/>
                  </a:lnTo>
                  <a:lnTo>
                    <a:pt x="133" y="8"/>
                  </a:lnTo>
                  <a:lnTo>
                    <a:pt x="137" y="4"/>
                  </a:lnTo>
                  <a:lnTo>
                    <a:pt x="141" y="0"/>
                  </a:lnTo>
                  <a:lnTo>
                    <a:pt x="147" y="2"/>
                  </a:lnTo>
                  <a:lnTo>
                    <a:pt x="151" y="8"/>
                  </a:lnTo>
                  <a:lnTo>
                    <a:pt x="155" y="14"/>
                  </a:lnTo>
                  <a:lnTo>
                    <a:pt x="151" y="22"/>
                  </a:lnTo>
                  <a:lnTo>
                    <a:pt x="149" y="32"/>
                  </a:lnTo>
                  <a:lnTo>
                    <a:pt x="157" y="39"/>
                  </a:lnTo>
                  <a:lnTo>
                    <a:pt x="165" y="37"/>
                  </a:lnTo>
                  <a:lnTo>
                    <a:pt x="172" y="32"/>
                  </a:lnTo>
                  <a:lnTo>
                    <a:pt x="176" y="24"/>
                  </a:lnTo>
                  <a:lnTo>
                    <a:pt x="182" y="24"/>
                  </a:lnTo>
                  <a:lnTo>
                    <a:pt x="194" y="16"/>
                  </a:lnTo>
                  <a:lnTo>
                    <a:pt x="200" y="16"/>
                  </a:lnTo>
                  <a:lnTo>
                    <a:pt x="214" y="20"/>
                  </a:lnTo>
                  <a:lnTo>
                    <a:pt x="225" y="16"/>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17" name="Freeform 353">
              <a:extLst>
                <a:ext uri="{FF2B5EF4-FFF2-40B4-BE49-F238E27FC236}">
                  <a16:creationId xmlns:a16="http://schemas.microsoft.com/office/drawing/2014/main" id="{15870068-1064-C81A-90F7-1ED318C8F28F}"/>
                </a:ext>
              </a:extLst>
            </p:cNvPr>
            <p:cNvSpPr>
              <a:spLocks/>
            </p:cNvSpPr>
            <p:nvPr/>
          </p:nvSpPr>
          <p:spPr bwMode="auto">
            <a:xfrm>
              <a:off x="7820772" y="2766167"/>
              <a:ext cx="404192" cy="325155"/>
            </a:xfrm>
            <a:custGeom>
              <a:avLst/>
              <a:gdLst>
                <a:gd name="T0" fmla="*/ 225 w 225"/>
                <a:gd name="T1" fmla="*/ 24 h 181"/>
                <a:gd name="T2" fmla="*/ 216 w 225"/>
                <a:gd name="T3" fmla="*/ 28 h 181"/>
                <a:gd name="T4" fmla="*/ 194 w 225"/>
                <a:gd name="T5" fmla="*/ 32 h 181"/>
                <a:gd name="T6" fmla="*/ 165 w 225"/>
                <a:gd name="T7" fmla="*/ 45 h 181"/>
                <a:gd name="T8" fmla="*/ 159 w 225"/>
                <a:gd name="T9" fmla="*/ 59 h 181"/>
                <a:gd name="T10" fmla="*/ 161 w 225"/>
                <a:gd name="T11" fmla="*/ 77 h 181"/>
                <a:gd name="T12" fmla="*/ 145 w 225"/>
                <a:gd name="T13" fmla="*/ 77 h 181"/>
                <a:gd name="T14" fmla="*/ 147 w 225"/>
                <a:gd name="T15" fmla="*/ 90 h 181"/>
                <a:gd name="T16" fmla="*/ 139 w 225"/>
                <a:gd name="T17" fmla="*/ 106 h 181"/>
                <a:gd name="T18" fmla="*/ 137 w 225"/>
                <a:gd name="T19" fmla="*/ 120 h 181"/>
                <a:gd name="T20" fmla="*/ 123 w 225"/>
                <a:gd name="T21" fmla="*/ 118 h 181"/>
                <a:gd name="T22" fmla="*/ 116 w 225"/>
                <a:gd name="T23" fmla="*/ 120 h 181"/>
                <a:gd name="T24" fmla="*/ 114 w 225"/>
                <a:gd name="T25" fmla="*/ 132 h 181"/>
                <a:gd name="T26" fmla="*/ 106 w 225"/>
                <a:gd name="T27" fmla="*/ 139 h 181"/>
                <a:gd name="T28" fmla="*/ 90 w 225"/>
                <a:gd name="T29" fmla="*/ 151 h 181"/>
                <a:gd name="T30" fmla="*/ 80 w 225"/>
                <a:gd name="T31" fmla="*/ 165 h 181"/>
                <a:gd name="T32" fmla="*/ 69 w 225"/>
                <a:gd name="T33" fmla="*/ 173 h 181"/>
                <a:gd name="T34" fmla="*/ 59 w 225"/>
                <a:gd name="T35" fmla="*/ 179 h 181"/>
                <a:gd name="T36" fmla="*/ 37 w 225"/>
                <a:gd name="T37" fmla="*/ 179 h 181"/>
                <a:gd name="T38" fmla="*/ 12 w 225"/>
                <a:gd name="T39" fmla="*/ 171 h 181"/>
                <a:gd name="T40" fmla="*/ 31 w 225"/>
                <a:gd name="T41" fmla="*/ 143 h 181"/>
                <a:gd name="T42" fmla="*/ 12 w 225"/>
                <a:gd name="T43" fmla="*/ 138 h 181"/>
                <a:gd name="T44" fmla="*/ 10 w 225"/>
                <a:gd name="T45" fmla="*/ 124 h 181"/>
                <a:gd name="T46" fmla="*/ 0 w 225"/>
                <a:gd name="T47" fmla="*/ 106 h 181"/>
                <a:gd name="T48" fmla="*/ 6 w 225"/>
                <a:gd name="T49" fmla="*/ 94 h 181"/>
                <a:gd name="T50" fmla="*/ 0 w 225"/>
                <a:gd name="T51" fmla="*/ 87 h 181"/>
                <a:gd name="T52" fmla="*/ 4 w 225"/>
                <a:gd name="T53" fmla="*/ 65 h 181"/>
                <a:gd name="T54" fmla="*/ 16 w 225"/>
                <a:gd name="T55" fmla="*/ 63 h 181"/>
                <a:gd name="T56" fmla="*/ 21 w 225"/>
                <a:gd name="T57" fmla="*/ 49 h 181"/>
                <a:gd name="T58" fmla="*/ 33 w 225"/>
                <a:gd name="T59" fmla="*/ 49 h 181"/>
                <a:gd name="T60" fmla="*/ 53 w 225"/>
                <a:gd name="T61" fmla="*/ 43 h 181"/>
                <a:gd name="T62" fmla="*/ 61 w 225"/>
                <a:gd name="T63" fmla="*/ 26 h 181"/>
                <a:gd name="T64" fmla="*/ 63 w 225"/>
                <a:gd name="T65" fmla="*/ 10 h 181"/>
                <a:gd name="T66" fmla="*/ 69 w 225"/>
                <a:gd name="T67" fmla="*/ 0 h 181"/>
                <a:gd name="T68" fmla="*/ 80 w 225"/>
                <a:gd name="T69" fmla="*/ 6 h 181"/>
                <a:gd name="T70" fmla="*/ 96 w 225"/>
                <a:gd name="T71" fmla="*/ 8 h 181"/>
                <a:gd name="T72" fmla="*/ 110 w 225"/>
                <a:gd name="T73" fmla="*/ 14 h 181"/>
                <a:gd name="T74" fmla="*/ 127 w 225"/>
                <a:gd name="T75" fmla="*/ 12 h 181"/>
                <a:gd name="T76" fmla="*/ 137 w 225"/>
                <a:gd name="T77" fmla="*/ 4 h 181"/>
                <a:gd name="T78" fmla="*/ 147 w 225"/>
                <a:gd name="T79" fmla="*/ 2 h 181"/>
                <a:gd name="T80" fmla="*/ 155 w 225"/>
                <a:gd name="T81" fmla="*/ 14 h 181"/>
                <a:gd name="T82" fmla="*/ 149 w 225"/>
                <a:gd name="T83" fmla="*/ 32 h 181"/>
                <a:gd name="T84" fmla="*/ 165 w 225"/>
                <a:gd name="T85" fmla="*/ 37 h 181"/>
                <a:gd name="T86" fmla="*/ 176 w 225"/>
                <a:gd name="T87" fmla="*/ 24 h 181"/>
                <a:gd name="T88" fmla="*/ 194 w 225"/>
                <a:gd name="T89" fmla="*/ 16 h 181"/>
                <a:gd name="T90" fmla="*/ 214 w 225"/>
                <a:gd name="T91" fmla="*/ 2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181">
                  <a:moveTo>
                    <a:pt x="225" y="16"/>
                  </a:moveTo>
                  <a:lnTo>
                    <a:pt x="225" y="24"/>
                  </a:lnTo>
                  <a:lnTo>
                    <a:pt x="222" y="28"/>
                  </a:lnTo>
                  <a:lnTo>
                    <a:pt x="216" y="28"/>
                  </a:lnTo>
                  <a:lnTo>
                    <a:pt x="206" y="28"/>
                  </a:lnTo>
                  <a:lnTo>
                    <a:pt x="194" y="32"/>
                  </a:lnTo>
                  <a:lnTo>
                    <a:pt x="184" y="34"/>
                  </a:lnTo>
                  <a:lnTo>
                    <a:pt x="165" y="45"/>
                  </a:lnTo>
                  <a:lnTo>
                    <a:pt x="165" y="55"/>
                  </a:lnTo>
                  <a:lnTo>
                    <a:pt x="159" y="59"/>
                  </a:lnTo>
                  <a:lnTo>
                    <a:pt x="163" y="65"/>
                  </a:lnTo>
                  <a:lnTo>
                    <a:pt x="161" y="77"/>
                  </a:lnTo>
                  <a:lnTo>
                    <a:pt x="151" y="79"/>
                  </a:lnTo>
                  <a:lnTo>
                    <a:pt x="145" y="77"/>
                  </a:lnTo>
                  <a:lnTo>
                    <a:pt x="141" y="83"/>
                  </a:lnTo>
                  <a:lnTo>
                    <a:pt x="147" y="90"/>
                  </a:lnTo>
                  <a:lnTo>
                    <a:pt x="147" y="98"/>
                  </a:lnTo>
                  <a:lnTo>
                    <a:pt x="139" y="106"/>
                  </a:lnTo>
                  <a:lnTo>
                    <a:pt x="139" y="112"/>
                  </a:lnTo>
                  <a:lnTo>
                    <a:pt x="137" y="120"/>
                  </a:lnTo>
                  <a:lnTo>
                    <a:pt x="131" y="120"/>
                  </a:lnTo>
                  <a:lnTo>
                    <a:pt x="123" y="118"/>
                  </a:lnTo>
                  <a:lnTo>
                    <a:pt x="121" y="114"/>
                  </a:lnTo>
                  <a:lnTo>
                    <a:pt x="116" y="120"/>
                  </a:lnTo>
                  <a:lnTo>
                    <a:pt x="108" y="126"/>
                  </a:lnTo>
                  <a:lnTo>
                    <a:pt x="114" y="132"/>
                  </a:lnTo>
                  <a:lnTo>
                    <a:pt x="112" y="138"/>
                  </a:lnTo>
                  <a:lnTo>
                    <a:pt x="106" y="139"/>
                  </a:lnTo>
                  <a:lnTo>
                    <a:pt x="102" y="138"/>
                  </a:lnTo>
                  <a:lnTo>
                    <a:pt x="90" y="151"/>
                  </a:lnTo>
                  <a:lnTo>
                    <a:pt x="82" y="157"/>
                  </a:lnTo>
                  <a:lnTo>
                    <a:pt x="80" y="165"/>
                  </a:lnTo>
                  <a:lnTo>
                    <a:pt x="78" y="171"/>
                  </a:lnTo>
                  <a:lnTo>
                    <a:pt x="69" y="173"/>
                  </a:lnTo>
                  <a:lnTo>
                    <a:pt x="67" y="181"/>
                  </a:lnTo>
                  <a:lnTo>
                    <a:pt x="59" y="179"/>
                  </a:lnTo>
                  <a:lnTo>
                    <a:pt x="43" y="179"/>
                  </a:lnTo>
                  <a:lnTo>
                    <a:pt x="37" y="179"/>
                  </a:lnTo>
                  <a:lnTo>
                    <a:pt x="29" y="181"/>
                  </a:lnTo>
                  <a:lnTo>
                    <a:pt x="12" y="171"/>
                  </a:lnTo>
                  <a:lnTo>
                    <a:pt x="31" y="149"/>
                  </a:lnTo>
                  <a:lnTo>
                    <a:pt x="31" y="143"/>
                  </a:lnTo>
                  <a:lnTo>
                    <a:pt x="27" y="139"/>
                  </a:lnTo>
                  <a:lnTo>
                    <a:pt x="12" y="138"/>
                  </a:lnTo>
                  <a:lnTo>
                    <a:pt x="12" y="134"/>
                  </a:lnTo>
                  <a:lnTo>
                    <a:pt x="10" y="124"/>
                  </a:lnTo>
                  <a:lnTo>
                    <a:pt x="8" y="114"/>
                  </a:lnTo>
                  <a:lnTo>
                    <a:pt x="0" y="106"/>
                  </a:lnTo>
                  <a:lnTo>
                    <a:pt x="0" y="98"/>
                  </a:lnTo>
                  <a:lnTo>
                    <a:pt x="6" y="94"/>
                  </a:lnTo>
                  <a:lnTo>
                    <a:pt x="0" y="90"/>
                  </a:lnTo>
                  <a:lnTo>
                    <a:pt x="0" y="87"/>
                  </a:lnTo>
                  <a:lnTo>
                    <a:pt x="2" y="73"/>
                  </a:lnTo>
                  <a:lnTo>
                    <a:pt x="4" y="65"/>
                  </a:lnTo>
                  <a:lnTo>
                    <a:pt x="8" y="63"/>
                  </a:lnTo>
                  <a:lnTo>
                    <a:pt x="16" y="63"/>
                  </a:lnTo>
                  <a:lnTo>
                    <a:pt x="18" y="57"/>
                  </a:lnTo>
                  <a:lnTo>
                    <a:pt x="21" y="49"/>
                  </a:lnTo>
                  <a:lnTo>
                    <a:pt x="27" y="51"/>
                  </a:lnTo>
                  <a:lnTo>
                    <a:pt x="33" y="49"/>
                  </a:lnTo>
                  <a:lnTo>
                    <a:pt x="39" y="51"/>
                  </a:lnTo>
                  <a:lnTo>
                    <a:pt x="53" y="43"/>
                  </a:lnTo>
                  <a:lnTo>
                    <a:pt x="51" y="35"/>
                  </a:lnTo>
                  <a:lnTo>
                    <a:pt x="61" y="26"/>
                  </a:lnTo>
                  <a:lnTo>
                    <a:pt x="63" y="20"/>
                  </a:lnTo>
                  <a:lnTo>
                    <a:pt x="63" y="10"/>
                  </a:lnTo>
                  <a:lnTo>
                    <a:pt x="67" y="6"/>
                  </a:lnTo>
                  <a:lnTo>
                    <a:pt x="69" y="0"/>
                  </a:lnTo>
                  <a:lnTo>
                    <a:pt x="74" y="2"/>
                  </a:lnTo>
                  <a:lnTo>
                    <a:pt x="80" y="6"/>
                  </a:lnTo>
                  <a:lnTo>
                    <a:pt x="88" y="6"/>
                  </a:lnTo>
                  <a:lnTo>
                    <a:pt x="96" y="8"/>
                  </a:lnTo>
                  <a:lnTo>
                    <a:pt x="102" y="14"/>
                  </a:lnTo>
                  <a:lnTo>
                    <a:pt x="110" y="14"/>
                  </a:lnTo>
                  <a:lnTo>
                    <a:pt x="121" y="12"/>
                  </a:lnTo>
                  <a:lnTo>
                    <a:pt x="127" y="12"/>
                  </a:lnTo>
                  <a:lnTo>
                    <a:pt x="133" y="8"/>
                  </a:lnTo>
                  <a:lnTo>
                    <a:pt x="137" y="4"/>
                  </a:lnTo>
                  <a:lnTo>
                    <a:pt x="141" y="0"/>
                  </a:lnTo>
                  <a:lnTo>
                    <a:pt x="147" y="2"/>
                  </a:lnTo>
                  <a:lnTo>
                    <a:pt x="151" y="8"/>
                  </a:lnTo>
                  <a:lnTo>
                    <a:pt x="155" y="14"/>
                  </a:lnTo>
                  <a:lnTo>
                    <a:pt x="151" y="22"/>
                  </a:lnTo>
                  <a:lnTo>
                    <a:pt x="149" y="32"/>
                  </a:lnTo>
                  <a:lnTo>
                    <a:pt x="157" y="39"/>
                  </a:lnTo>
                  <a:lnTo>
                    <a:pt x="165" y="37"/>
                  </a:lnTo>
                  <a:lnTo>
                    <a:pt x="172" y="32"/>
                  </a:lnTo>
                  <a:lnTo>
                    <a:pt x="176" y="24"/>
                  </a:lnTo>
                  <a:lnTo>
                    <a:pt x="182" y="24"/>
                  </a:lnTo>
                  <a:lnTo>
                    <a:pt x="194" y="16"/>
                  </a:lnTo>
                  <a:lnTo>
                    <a:pt x="200" y="16"/>
                  </a:lnTo>
                  <a:lnTo>
                    <a:pt x="214" y="20"/>
                  </a:lnTo>
                  <a:lnTo>
                    <a:pt x="225" y="16"/>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18" name="Freeform 354">
              <a:extLst>
                <a:ext uri="{FF2B5EF4-FFF2-40B4-BE49-F238E27FC236}">
                  <a16:creationId xmlns:a16="http://schemas.microsoft.com/office/drawing/2014/main" id="{08A2E380-DE43-7C7E-0003-43E8337E3DFD}"/>
                </a:ext>
              </a:extLst>
            </p:cNvPr>
            <p:cNvSpPr>
              <a:spLocks/>
            </p:cNvSpPr>
            <p:nvPr/>
          </p:nvSpPr>
          <p:spPr bwMode="auto">
            <a:xfrm>
              <a:off x="4093231" y="3612289"/>
              <a:ext cx="25150" cy="10778"/>
            </a:xfrm>
            <a:custGeom>
              <a:avLst/>
              <a:gdLst>
                <a:gd name="T0" fmla="*/ 1 w 7"/>
                <a:gd name="T1" fmla="*/ 0 h 3"/>
                <a:gd name="T2" fmla="*/ 1 w 7"/>
                <a:gd name="T3" fmla="*/ 3 h 3"/>
                <a:gd name="T4" fmla="*/ 1 w 7"/>
                <a:gd name="T5" fmla="*/ 0 h 3"/>
              </a:gdLst>
              <a:ahLst/>
              <a:cxnLst>
                <a:cxn ang="0">
                  <a:pos x="T0" y="T1"/>
                </a:cxn>
                <a:cxn ang="0">
                  <a:pos x="T2" y="T3"/>
                </a:cxn>
                <a:cxn ang="0">
                  <a:pos x="T4" y="T5"/>
                </a:cxn>
              </a:cxnLst>
              <a:rect l="0" t="0" r="r" b="b"/>
              <a:pathLst>
                <a:path w="7" h="3">
                  <a:moveTo>
                    <a:pt x="1" y="0"/>
                  </a:moveTo>
                  <a:cubicBezTo>
                    <a:pt x="1" y="0"/>
                    <a:pt x="0" y="2"/>
                    <a:pt x="1" y="3"/>
                  </a:cubicBezTo>
                  <a:cubicBezTo>
                    <a:pt x="3" y="1"/>
                    <a:pt x="7" y="1"/>
                    <a:pt x="1"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19" name="Freeform 355">
              <a:extLst>
                <a:ext uri="{FF2B5EF4-FFF2-40B4-BE49-F238E27FC236}">
                  <a16:creationId xmlns:a16="http://schemas.microsoft.com/office/drawing/2014/main" id="{F78F9994-371F-CE10-C0C0-03060DF76B72}"/>
                </a:ext>
              </a:extLst>
            </p:cNvPr>
            <p:cNvSpPr>
              <a:spLocks/>
            </p:cNvSpPr>
            <p:nvPr/>
          </p:nvSpPr>
          <p:spPr bwMode="auto">
            <a:xfrm>
              <a:off x="4093235" y="3612294"/>
              <a:ext cx="25150" cy="10778"/>
            </a:xfrm>
            <a:custGeom>
              <a:avLst/>
              <a:gdLst>
                <a:gd name="T0" fmla="*/ 1 w 7"/>
                <a:gd name="T1" fmla="*/ 0 h 3"/>
                <a:gd name="T2" fmla="*/ 1 w 7"/>
                <a:gd name="T3" fmla="*/ 3 h 3"/>
                <a:gd name="T4" fmla="*/ 1 w 7"/>
                <a:gd name="T5" fmla="*/ 0 h 3"/>
              </a:gdLst>
              <a:ahLst/>
              <a:cxnLst>
                <a:cxn ang="0">
                  <a:pos x="T0" y="T1"/>
                </a:cxn>
                <a:cxn ang="0">
                  <a:pos x="T2" y="T3"/>
                </a:cxn>
                <a:cxn ang="0">
                  <a:pos x="T4" y="T5"/>
                </a:cxn>
              </a:cxnLst>
              <a:rect l="0" t="0" r="r" b="b"/>
              <a:pathLst>
                <a:path w="7" h="3">
                  <a:moveTo>
                    <a:pt x="1" y="0"/>
                  </a:moveTo>
                  <a:cubicBezTo>
                    <a:pt x="1" y="0"/>
                    <a:pt x="0" y="2"/>
                    <a:pt x="1" y="3"/>
                  </a:cubicBezTo>
                  <a:cubicBezTo>
                    <a:pt x="3" y="1"/>
                    <a:pt x="7" y="1"/>
                    <a:pt x="1"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20" name="Freeform 356">
              <a:extLst>
                <a:ext uri="{FF2B5EF4-FFF2-40B4-BE49-F238E27FC236}">
                  <a16:creationId xmlns:a16="http://schemas.microsoft.com/office/drawing/2014/main" id="{73C87F4B-01A8-D623-5663-A7437282434E}"/>
                </a:ext>
              </a:extLst>
            </p:cNvPr>
            <p:cNvSpPr>
              <a:spLocks/>
            </p:cNvSpPr>
            <p:nvPr/>
          </p:nvSpPr>
          <p:spPr bwMode="auto">
            <a:xfrm>
              <a:off x="4100442" y="3644641"/>
              <a:ext cx="7186" cy="10778"/>
            </a:xfrm>
            <a:custGeom>
              <a:avLst/>
              <a:gdLst>
                <a:gd name="T0" fmla="*/ 0 w 4"/>
                <a:gd name="T1" fmla="*/ 0 h 6"/>
                <a:gd name="T2" fmla="*/ 2 w 4"/>
                <a:gd name="T3" fmla="*/ 4 h 6"/>
                <a:gd name="T4" fmla="*/ 2 w 4"/>
                <a:gd name="T5" fmla="*/ 6 h 6"/>
                <a:gd name="T6" fmla="*/ 4 w 4"/>
                <a:gd name="T7" fmla="*/ 6 h 6"/>
                <a:gd name="T8" fmla="*/ 2 w 4"/>
                <a:gd name="T9" fmla="*/ 0 h 6"/>
                <a:gd name="T10" fmla="*/ 0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0" y="0"/>
                  </a:moveTo>
                  <a:lnTo>
                    <a:pt x="2" y="4"/>
                  </a:lnTo>
                  <a:lnTo>
                    <a:pt x="2" y="6"/>
                  </a:lnTo>
                  <a:lnTo>
                    <a:pt x="4" y="6"/>
                  </a:lnTo>
                  <a:lnTo>
                    <a:pt x="2" y="0"/>
                  </a:lnTo>
                  <a:lnTo>
                    <a:pt x="0" y="0"/>
                  </a:ln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21" name="Freeform 357">
              <a:extLst>
                <a:ext uri="{FF2B5EF4-FFF2-40B4-BE49-F238E27FC236}">
                  <a16:creationId xmlns:a16="http://schemas.microsoft.com/office/drawing/2014/main" id="{3D6C24B8-10C4-1942-9058-FC5D2F298CD4}"/>
                </a:ext>
              </a:extLst>
            </p:cNvPr>
            <p:cNvSpPr>
              <a:spLocks/>
            </p:cNvSpPr>
            <p:nvPr/>
          </p:nvSpPr>
          <p:spPr bwMode="auto">
            <a:xfrm>
              <a:off x="4100455" y="3644653"/>
              <a:ext cx="7186" cy="10778"/>
            </a:xfrm>
            <a:custGeom>
              <a:avLst/>
              <a:gdLst>
                <a:gd name="T0" fmla="*/ 0 w 4"/>
                <a:gd name="T1" fmla="*/ 0 h 6"/>
                <a:gd name="T2" fmla="*/ 2 w 4"/>
                <a:gd name="T3" fmla="*/ 4 h 6"/>
                <a:gd name="T4" fmla="*/ 2 w 4"/>
                <a:gd name="T5" fmla="*/ 6 h 6"/>
                <a:gd name="T6" fmla="*/ 4 w 4"/>
                <a:gd name="T7" fmla="*/ 6 h 6"/>
                <a:gd name="T8" fmla="*/ 2 w 4"/>
                <a:gd name="T9" fmla="*/ 0 h 6"/>
                <a:gd name="T10" fmla="*/ 0 w 4"/>
                <a:gd name="T11" fmla="*/ 0 h 6"/>
              </a:gdLst>
              <a:ahLst/>
              <a:cxnLst>
                <a:cxn ang="0">
                  <a:pos x="T0" y="T1"/>
                </a:cxn>
                <a:cxn ang="0">
                  <a:pos x="T2" y="T3"/>
                </a:cxn>
                <a:cxn ang="0">
                  <a:pos x="T4" y="T5"/>
                </a:cxn>
                <a:cxn ang="0">
                  <a:pos x="T6" y="T7"/>
                </a:cxn>
                <a:cxn ang="0">
                  <a:pos x="T8" y="T9"/>
                </a:cxn>
                <a:cxn ang="0">
                  <a:pos x="T10" y="T11"/>
                </a:cxn>
              </a:cxnLst>
              <a:rect l="0" t="0" r="r" b="b"/>
              <a:pathLst>
                <a:path w="4" h="6">
                  <a:moveTo>
                    <a:pt x="0" y="0"/>
                  </a:moveTo>
                  <a:lnTo>
                    <a:pt x="2" y="4"/>
                  </a:lnTo>
                  <a:lnTo>
                    <a:pt x="2" y="6"/>
                  </a:lnTo>
                  <a:lnTo>
                    <a:pt x="4" y="6"/>
                  </a:lnTo>
                  <a:lnTo>
                    <a:pt x="2" y="0"/>
                  </a:lnTo>
                  <a:lnTo>
                    <a:pt x="0" y="0"/>
                  </a:ln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22" name="Freeform 358">
              <a:extLst>
                <a:ext uri="{FF2B5EF4-FFF2-40B4-BE49-F238E27FC236}">
                  <a16:creationId xmlns:a16="http://schemas.microsoft.com/office/drawing/2014/main" id="{35066B2C-C6A6-3030-4283-2E1B2183714A}"/>
                </a:ext>
              </a:extLst>
            </p:cNvPr>
            <p:cNvSpPr>
              <a:spLocks/>
            </p:cNvSpPr>
            <p:nvPr/>
          </p:nvSpPr>
          <p:spPr bwMode="auto">
            <a:xfrm>
              <a:off x="4114826" y="3675208"/>
              <a:ext cx="14371" cy="14371"/>
            </a:xfrm>
            <a:custGeom>
              <a:avLst/>
              <a:gdLst>
                <a:gd name="T0" fmla="*/ 0 w 4"/>
                <a:gd name="T1" fmla="*/ 0 h 4"/>
                <a:gd name="T2" fmla="*/ 1 w 4"/>
                <a:gd name="T3" fmla="*/ 3 h 4"/>
                <a:gd name="T4" fmla="*/ 3 w 4"/>
                <a:gd name="T5" fmla="*/ 4 h 4"/>
                <a:gd name="T6" fmla="*/ 2 w 4"/>
                <a:gd name="T7" fmla="*/ 1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cubicBezTo>
                    <a:pt x="1" y="1"/>
                    <a:pt x="1" y="2"/>
                    <a:pt x="1" y="3"/>
                  </a:cubicBezTo>
                  <a:cubicBezTo>
                    <a:pt x="1" y="3"/>
                    <a:pt x="3" y="4"/>
                    <a:pt x="3" y="4"/>
                  </a:cubicBezTo>
                  <a:cubicBezTo>
                    <a:pt x="3" y="2"/>
                    <a:pt x="4" y="1"/>
                    <a:pt x="2" y="1"/>
                  </a:cubicBezTo>
                  <a:cubicBezTo>
                    <a:pt x="2" y="0"/>
                    <a:pt x="2" y="0"/>
                    <a:pt x="2" y="0"/>
                  </a:cubicBezTo>
                  <a:cubicBezTo>
                    <a:pt x="2" y="0"/>
                    <a:pt x="1" y="0"/>
                    <a:pt x="0"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23" name="Freeform 359">
              <a:extLst>
                <a:ext uri="{FF2B5EF4-FFF2-40B4-BE49-F238E27FC236}">
                  <a16:creationId xmlns:a16="http://schemas.microsoft.com/office/drawing/2014/main" id="{9689A234-4D78-D562-F720-CA0952148110}"/>
                </a:ext>
              </a:extLst>
            </p:cNvPr>
            <p:cNvSpPr>
              <a:spLocks/>
            </p:cNvSpPr>
            <p:nvPr/>
          </p:nvSpPr>
          <p:spPr bwMode="auto">
            <a:xfrm>
              <a:off x="4114825" y="3675220"/>
              <a:ext cx="14371" cy="14371"/>
            </a:xfrm>
            <a:custGeom>
              <a:avLst/>
              <a:gdLst>
                <a:gd name="T0" fmla="*/ 0 w 4"/>
                <a:gd name="T1" fmla="*/ 0 h 4"/>
                <a:gd name="T2" fmla="*/ 1 w 4"/>
                <a:gd name="T3" fmla="*/ 3 h 4"/>
                <a:gd name="T4" fmla="*/ 3 w 4"/>
                <a:gd name="T5" fmla="*/ 4 h 4"/>
                <a:gd name="T6" fmla="*/ 2 w 4"/>
                <a:gd name="T7" fmla="*/ 1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cubicBezTo>
                    <a:pt x="1" y="1"/>
                    <a:pt x="1" y="2"/>
                    <a:pt x="1" y="3"/>
                  </a:cubicBezTo>
                  <a:cubicBezTo>
                    <a:pt x="1" y="3"/>
                    <a:pt x="3" y="4"/>
                    <a:pt x="3" y="4"/>
                  </a:cubicBezTo>
                  <a:cubicBezTo>
                    <a:pt x="3" y="2"/>
                    <a:pt x="4" y="1"/>
                    <a:pt x="2" y="1"/>
                  </a:cubicBezTo>
                  <a:cubicBezTo>
                    <a:pt x="2" y="0"/>
                    <a:pt x="2" y="0"/>
                    <a:pt x="2" y="0"/>
                  </a:cubicBezTo>
                  <a:cubicBezTo>
                    <a:pt x="2" y="0"/>
                    <a:pt x="1" y="0"/>
                    <a:pt x="0"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24" name="Freeform 360">
              <a:extLst>
                <a:ext uri="{FF2B5EF4-FFF2-40B4-BE49-F238E27FC236}">
                  <a16:creationId xmlns:a16="http://schemas.microsoft.com/office/drawing/2014/main" id="{EBB30466-E726-9704-D229-BA468E3034D9}"/>
                </a:ext>
              </a:extLst>
            </p:cNvPr>
            <p:cNvSpPr>
              <a:spLocks/>
            </p:cNvSpPr>
            <p:nvPr/>
          </p:nvSpPr>
          <p:spPr bwMode="auto">
            <a:xfrm>
              <a:off x="4152585" y="3732671"/>
              <a:ext cx="10778" cy="10778"/>
            </a:xfrm>
            <a:custGeom>
              <a:avLst/>
              <a:gdLst>
                <a:gd name="T0" fmla="*/ 0 w 3"/>
                <a:gd name="T1" fmla="*/ 0 h 3"/>
                <a:gd name="T2" fmla="*/ 1 w 3"/>
                <a:gd name="T3" fmla="*/ 3 h 3"/>
                <a:gd name="T4" fmla="*/ 0 w 3"/>
                <a:gd name="T5" fmla="*/ 0 h 3"/>
              </a:gdLst>
              <a:ahLst/>
              <a:cxnLst>
                <a:cxn ang="0">
                  <a:pos x="T0" y="T1"/>
                </a:cxn>
                <a:cxn ang="0">
                  <a:pos x="T2" y="T3"/>
                </a:cxn>
                <a:cxn ang="0">
                  <a:pos x="T4" y="T5"/>
                </a:cxn>
              </a:cxnLst>
              <a:rect l="0" t="0" r="r" b="b"/>
              <a:pathLst>
                <a:path w="3" h="3">
                  <a:moveTo>
                    <a:pt x="0" y="0"/>
                  </a:moveTo>
                  <a:cubicBezTo>
                    <a:pt x="1" y="3"/>
                    <a:pt x="1" y="3"/>
                    <a:pt x="1" y="3"/>
                  </a:cubicBezTo>
                  <a:cubicBezTo>
                    <a:pt x="1" y="3"/>
                    <a:pt x="3" y="0"/>
                    <a:pt x="0" y="0"/>
                  </a:cubicBezTo>
                  <a:close/>
                </a:path>
              </a:pathLst>
            </a:custGeom>
            <a:grpFill/>
            <a:ln w="9525">
              <a:solidFill>
                <a:schemeClr val="bg1">
                  <a:lumMod val="85000"/>
                  <a:lumOff val="15000"/>
                </a:schemeClr>
              </a:solidFill>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sp>
          <p:nvSpPr>
            <p:cNvPr id="525" name="Freeform 361">
              <a:extLst>
                <a:ext uri="{FF2B5EF4-FFF2-40B4-BE49-F238E27FC236}">
                  <a16:creationId xmlns:a16="http://schemas.microsoft.com/office/drawing/2014/main" id="{852E5B63-16E7-F7EE-3617-010D949B2E05}"/>
                </a:ext>
              </a:extLst>
            </p:cNvPr>
            <p:cNvSpPr>
              <a:spLocks/>
            </p:cNvSpPr>
            <p:nvPr/>
          </p:nvSpPr>
          <p:spPr bwMode="auto">
            <a:xfrm>
              <a:off x="4152498" y="3732592"/>
              <a:ext cx="10778" cy="10778"/>
            </a:xfrm>
            <a:custGeom>
              <a:avLst/>
              <a:gdLst>
                <a:gd name="T0" fmla="*/ 0 w 3"/>
                <a:gd name="T1" fmla="*/ 0 h 3"/>
                <a:gd name="T2" fmla="*/ 1 w 3"/>
                <a:gd name="T3" fmla="*/ 3 h 3"/>
                <a:gd name="T4" fmla="*/ 0 w 3"/>
                <a:gd name="T5" fmla="*/ 0 h 3"/>
              </a:gdLst>
              <a:ahLst/>
              <a:cxnLst>
                <a:cxn ang="0">
                  <a:pos x="T0" y="T1"/>
                </a:cxn>
                <a:cxn ang="0">
                  <a:pos x="T2" y="T3"/>
                </a:cxn>
                <a:cxn ang="0">
                  <a:pos x="T4" y="T5"/>
                </a:cxn>
              </a:cxnLst>
              <a:rect l="0" t="0" r="r" b="b"/>
              <a:pathLst>
                <a:path w="3" h="3">
                  <a:moveTo>
                    <a:pt x="0" y="0"/>
                  </a:moveTo>
                  <a:cubicBezTo>
                    <a:pt x="1" y="3"/>
                    <a:pt x="1" y="3"/>
                    <a:pt x="1" y="3"/>
                  </a:cubicBezTo>
                  <a:cubicBezTo>
                    <a:pt x="1" y="3"/>
                    <a:pt x="3" y="0"/>
                    <a:pt x="0" y="0"/>
                  </a:cubicBezTo>
                  <a:close/>
                </a:path>
              </a:pathLst>
            </a:custGeom>
            <a:grpFill/>
            <a:ln w="2" cap="rnd">
              <a:solidFill>
                <a:schemeClr val="bg1">
                  <a:lumMod val="85000"/>
                  <a:lumOff val="15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en-US" sz="1800">
                <a:latin typeface="Poppins" panose="00000500000000000000" pitchFamily="2" charset="0"/>
                <a:cs typeface="Poppins" panose="00000500000000000000" pitchFamily="2" charset="0"/>
              </a:endParaRPr>
            </a:p>
          </p:txBody>
        </p:sp>
      </p:grpSp>
      <p:pic>
        <p:nvPicPr>
          <p:cNvPr id="1084" name="Picture 1083">
            <a:extLst>
              <a:ext uri="{FF2B5EF4-FFF2-40B4-BE49-F238E27FC236}">
                <a16:creationId xmlns:a16="http://schemas.microsoft.com/office/drawing/2014/main" id="{F0112DE4-4589-8DCA-27CA-0948323EDC37}"/>
              </a:ext>
            </a:extLst>
          </p:cNvPr>
          <p:cNvPicPr>
            <a:picLocks noChangeAspect="1"/>
          </p:cNvPicPr>
          <p:nvPr userDrawn="1"/>
        </p:nvPicPr>
        <p:blipFill>
          <a:blip r:embed="rId5"/>
          <a:stretch>
            <a:fillRect/>
          </a:stretch>
        </p:blipFill>
        <p:spPr>
          <a:xfrm>
            <a:off x="-142982" y="937313"/>
            <a:ext cx="11961389" cy="5584420"/>
          </a:xfrm>
          <a:prstGeom prst="rect">
            <a:avLst/>
          </a:prstGeom>
        </p:spPr>
      </p:pic>
      <p:pic>
        <p:nvPicPr>
          <p:cNvPr id="3" name="Picture 2">
            <a:extLst>
              <a:ext uri="{FF2B5EF4-FFF2-40B4-BE49-F238E27FC236}">
                <a16:creationId xmlns:a16="http://schemas.microsoft.com/office/drawing/2014/main" id="{3E3F53D5-67C2-7232-7A51-6D48A3A4C21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892118" y="281460"/>
            <a:ext cx="995340" cy="6238309"/>
          </a:xfrm>
          <a:prstGeom prst="rect">
            <a:avLst/>
          </a:prstGeom>
        </p:spPr>
      </p:pic>
    </p:spTree>
    <p:extLst>
      <p:ext uri="{BB962C8B-B14F-4D97-AF65-F5344CB8AC3E}">
        <p14:creationId xmlns:p14="http://schemas.microsoft.com/office/powerpoint/2010/main" val="37676305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Full Colo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7" name="Text Placeholder 36">
            <a:extLst>
              <a:ext uri="{FF2B5EF4-FFF2-40B4-BE49-F238E27FC236}">
                <a16:creationId xmlns:a16="http://schemas.microsoft.com/office/drawing/2014/main" id="{BBD33504-E036-CA37-17D3-FE2C9A471E19}"/>
              </a:ext>
            </a:extLst>
          </p:cNvPr>
          <p:cNvSpPr>
            <a:spLocks noGrp="1"/>
          </p:cNvSpPr>
          <p:nvPr>
            <p:ph type="body" sz="quarter" idx="15" hasCustomPrompt="1"/>
          </p:nvPr>
        </p:nvSpPr>
        <p:spPr>
          <a:xfrm>
            <a:off x="4302219" y="4971117"/>
            <a:ext cx="2566988" cy="587398"/>
          </a:xfrm>
        </p:spPr>
        <p:txBody>
          <a:bodyPr>
            <a:normAutofit/>
          </a:bodyPr>
          <a:lstStyle>
            <a:lvl1pPr marL="0" indent="0">
              <a:lnSpc>
                <a:spcPct val="100000"/>
              </a:lnSpc>
              <a:spcBef>
                <a:spcPts val="0"/>
              </a:spcBef>
              <a:buNone/>
              <a:defRPr sz="1500">
                <a:solidFill>
                  <a:schemeClr val="bg1"/>
                </a:solidFill>
              </a:defRPr>
            </a:lvl1pPr>
            <a:lvl5pPr marL="1828800" indent="0">
              <a:buNone/>
              <a:defRPr/>
            </a:lvl5pPr>
          </a:lstStyle>
          <a:p>
            <a:r>
              <a:rPr lang="en-GB"/>
              <a:t>First Name Last Name</a:t>
            </a:r>
          </a:p>
          <a:p>
            <a:r>
              <a:rPr lang="en-GB"/>
              <a:t>Position</a:t>
            </a:r>
          </a:p>
        </p:txBody>
      </p:sp>
      <p:sp>
        <p:nvSpPr>
          <p:cNvPr id="38" name="Text Placeholder 36">
            <a:extLst>
              <a:ext uri="{FF2B5EF4-FFF2-40B4-BE49-F238E27FC236}">
                <a16:creationId xmlns:a16="http://schemas.microsoft.com/office/drawing/2014/main" id="{753B8912-E51C-BFD3-4958-82C7F4B675A7}"/>
              </a:ext>
            </a:extLst>
          </p:cNvPr>
          <p:cNvSpPr>
            <a:spLocks noGrp="1"/>
          </p:cNvSpPr>
          <p:nvPr>
            <p:ph type="body" sz="quarter" idx="16" hasCustomPrompt="1"/>
          </p:nvPr>
        </p:nvSpPr>
        <p:spPr>
          <a:xfrm>
            <a:off x="7289371" y="4971117"/>
            <a:ext cx="2566988" cy="587398"/>
          </a:xfrm>
        </p:spPr>
        <p:txBody>
          <a:bodyPr>
            <a:normAutofit/>
          </a:bodyPr>
          <a:lstStyle>
            <a:lvl1pPr marL="0" indent="0">
              <a:lnSpc>
                <a:spcPct val="100000"/>
              </a:lnSpc>
              <a:spcBef>
                <a:spcPts val="0"/>
              </a:spcBef>
              <a:buNone/>
              <a:defRPr sz="1500">
                <a:solidFill>
                  <a:schemeClr val="bg1"/>
                </a:solidFill>
              </a:defRPr>
            </a:lvl1pPr>
            <a:lvl5pPr marL="1828800" indent="0">
              <a:buNone/>
              <a:defRPr/>
            </a:lvl5pPr>
          </a:lstStyle>
          <a:p>
            <a:r>
              <a:rPr lang="en-GB" sz="1500" kern="1200" err="1">
                <a:solidFill>
                  <a:srgbClr val="10183A"/>
                </a:solidFill>
                <a:effectLst/>
                <a:latin typeface="Poppins" pitchFamily="2" charset="77"/>
                <a:ea typeface="+mn-ea"/>
                <a:cs typeface="Poppins" pitchFamily="2" charset="77"/>
              </a:rPr>
              <a:t>dd.mm.yyyy</a:t>
            </a:r>
            <a:endParaRPr lang="en-GB" sz="1500" kern="1200">
              <a:solidFill>
                <a:srgbClr val="10183A"/>
              </a:solidFill>
              <a:effectLst/>
              <a:latin typeface="Poppins" pitchFamily="2" charset="77"/>
              <a:ea typeface="+mn-ea"/>
              <a:cs typeface="Poppins" pitchFamily="2" charset="77"/>
            </a:endParaRPr>
          </a:p>
          <a:p>
            <a:r>
              <a:rPr lang="en-GB" sz="1500" kern="1200">
                <a:solidFill>
                  <a:srgbClr val="10183A"/>
                </a:solidFill>
                <a:effectLst/>
                <a:latin typeface="Poppins" pitchFamily="2" charset="77"/>
                <a:ea typeface="+mn-ea"/>
                <a:cs typeface="Poppins" pitchFamily="2" charset="77"/>
              </a:rPr>
              <a:t>11:00 CET</a:t>
            </a:r>
          </a:p>
        </p:txBody>
      </p:sp>
      <p:sp>
        <p:nvSpPr>
          <p:cNvPr id="29" name="Title 1">
            <a:extLst>
              <a:ext uri="{FF2B5EF4-FFF2-40B4-BE49-F238E27FC236}">
                <a16:creationId xmlns:a16="http://schemas.microsoft.com/office/drawing/2014/main" id="{5CAF0145-86B7-85DB-F192-3441BF7C1400}"/>
              </a:ext>
            </a:extLst>
          </p:cNvPr>
          <p:cNvSpPr>
            <a:spLocks noGrp="1"/>
          </p:cNvSpPr>
          <p:nvPr>
            <p:ph type="ctrTitle" hasCustomPrompt="1"/>
          </p:nvPr>
        </p:nvSpPr>
        <p:spPr>
          <a:xfrm>
            <a:off x="4302219" y="2777205"/>
            <a:ext cx="6629399" cy="921300"/>
          </a:xfrm>
        </p:spPr>
        <p:txBody>
          <a:bodyPr anchor="b">
            <a:noAutofit/>
          </a:bodyPr>
          <a:lstStyle>
            <a:lvl1pPr algn="l">
              <a:defRPr sz="5000">
                <a:solidFill>
                  <a:schemeClr val="bg1"/>
                </a:solidFill>
                <a:latin typeface="Poppins" pitchFamily="2" charset="77"/>
                <a:cs typeface="Poppins" pitchFamily="2" charset="77"/>
              </a:defRPr>
            </a:lvl1pPr>
          </a:lstStyle>
          <a:p>
            <a:r>
              <a:rPr lang="en-GB"/>
              <a:t>Click to Edit Title</a:t>
            </a:r>
            <a:endParaRPr lang="en-NO"/>
          </a:p>
        </p:txBody>
      </p:sp>
      <p:sp>
        <p:nvSpPr>
          <p:cNvPr id="30" name="Subtitle 2">
            <a:extLst>
              <a:ext uri="{FF2B5EF4-FFF2-40B4-BE49-F238E27FC236}">
                <a16:creationId xmlns:a16="http://schemas.microsoft.com/office/drawing/2014/main" id="{5D730B3B-52ED-AED4-8057-BCD7FCFD2D85}"/>
              </a:ext>
            </a:extLst>
          </p:cNvPr>
          <p:cNvSpPr>
            <a:spLocks noGrp="1"/>
          </p:cNvSpPr>
          <p:nvPr>
            <p:ph type="subTitle" idx="1"/>
          </p:nvPr>
        </p:nvSpPr>
        <p:spPr>
          <a:xfrm>
            <a:off x="4302219" y="3790581"/>
            <a:ext cx="6629400" cy="730530"/>
          </a:xfrm>
        </p:spPr>
        <p:txBody>
          <a:bodyPr/>
          <a:lstStyle>
            <a:lvl1pPr marL="0" indent="0" algn="l">
              <a:buNone/>
              <a:defRPr sz="2400" b="1" i="0">
                <a:solidFill>
                  <a:schemeClr val="bg1"/>
                </a:solidFill>
                <a:latin typeface="Poppins SemiBold" pitchFamily="2" charset="77"/>
                <a:cs typeface="Poppins SemiBold"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NO"/>
          </a:p>
        </p:txBody>
      </p:sp>
      <p:pic>
        <p:nvPicPr>
          <p:cNvPr id="41" name="Picture 40">
            <a:extLst>
              <a:ext uri="{FF2B5EF4-FFF2-40B4-BE49-F238E27FC236}">
                <a16:creationId xmlns:a16="http://schemas.microsoft.com/office/drawing/2014/main" id="{2B984E0A-33E1-5F07-D5C2-B6395C87CC1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flipV="1">
            <a:off x="10667999" y="6266333"/>
            <a:ext cx="1037655" cy="108412"/>
          </a:xfrm>
          <a:prstGeom prst="rect">
            <a:avLst/>
          </a:prstGeom>
        </p:spPr>
      </p:pic>
      <p:pic>
        <p:nvPicPr>
          <p:cNvPr id="42" name="Picture 41">
            <a:extLst>
              <a:ext uri="{FF2B5EF4-FFF2-40B4-BE49-F238E27FC236}">
                <a16:creationId xmlns:a16="http://schemas.microsoft.com/office/drawing/2014/main" id="{7AD12415-E940-EF5D-F052-122E4016EC90}"/>
              </a:ext>
            </a:extLst>
          </p:cNvPr>
          <p:cNvPicPr>
            <a:picLocks noChangeAspect="1"/>
          </p:cNvPicPr>
          <p:nvPr userDrawn="1"/>
        </p:nvPicPr>
        <p:blipFill>
          <a:blip r:embed="rId4"/>
          <a:stretch>
            <a:fillRect/>
          </a:stretch>
        </p:blipFill>
        <p:spPr>
          <a:xfrm>
            <a:off x="11134225" y="537461"/>
            <a:ext cx="571429" cy="538303"/>
          </a:xfrm>
          <a:prstGeom prst="rect">
            <a:avLst/>
          </a:prstGeom>
        </p:spPr>
      </p:pic>
    </p:spTree>
    <p:extLst>
      <p:ext uri="{BB962C8B-B14F-4D97-AF65-F5344CB8AC3E}">
        <p14:creationId xmlns:p14="http://schemas.microsoft.com/office/powerpoint/2010/main" val="491501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ext-Heavy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7FE9F-B77D-5B05-7C83-FCBCD2844389}"/>
              </a:ext>
            </a:extLst>
          </p:cNvPr>
          <p:cNvSpPr>
            <a:spLocks noGrp="1"/>
          </p:cNvSpPr>
          <p:nvPr>
            <p:ph type="title"/>
          </p:nvPr>
        </p:nvSpPr>
        <p:spPr/>
        <p:txBody>
          <a:bodyPr/>
          <a:lstStyle/>
          <a:p>
            <a:r>
              <a:rPr lang="en-GB"/>
              <a:t>Click to edit Master title style</a:t>
            </a:r>
            <a:endParaRPr lang="en-NO"/>
          </a:p>
        </p:txBody>
      </p:sp>
      <p:sp>
        <p:nvSpPr>
          <p:cNvPr id="3" name="Content Placeholder 2">
            <a:extLst>
              <a:ext uri="{FF2B5EF4-FFF2-40B4-BE49-F238E27FC236}">
                <a16:creationId xmlns:a16="http://schemas.microsoft.com/office/drawing/2014/main" id="{DC05B828-5148-FFC0-6217-9D0D722AF250}"/>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4" name="Content Placeholder 3">
            <a:extLst>
              <a:ext uri="{FF2B5EF4-FFF2-40B4-BE49-F238E27FC236}">
                <a16:creationId xmlns:a16="http://schemas.microsoft.com/office/drawing/2014/main" id="{9C0D1F71-3CCE-06A4-293D-171DB3DE4F50}"/>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pic>
        <p:nvPicPr>
          <p:cNvPr id="8" name="Picture 7">
            <a:extLst>
              <a:ext uri="{FF2B5EF4-FFF2-40B4-BE49-F238E27FC236}">
                <a16:creationId xmlns:a16="http://schemas.microsoft.com/office/drawing/2014/main" id="{875986A7-9298-D220-B1A6-4737691496CD}"/>
              </a:ext>
            </a:extLst>
          </p:cNvPr>
          <p:cNvPicPr>
            <a:picLocks noChangeAspect="1"/>
          </p:cNvPicPr>
          <p:nvPr userDrawn="1"/>
        </p:nvPicPr>
        <p:blipFill>
          <a:blip r:embed="rId2">
            <a:alphaModFix amt="50000"/>
          </a:blip>
          <a:stretch>
            <a:fillRect/>
          </a:stretch>
        </p:blipFill>
        <p:spPr>
          <a:xfrm>
            <a:off x="0" y="5829139"/>
            <a:ext cx="12192000" cy="1028861"/>
          </a:xfrm>
          <a:prstGeom prst="rect">
            <a:avLst/>
          </a:prstGeom>
        </p:spPr>
      </p:pic>
      <p:pic>
        <p:nvPicPr>
          <p:cNvPr id="9" name="Picture 8">
            <a:extLst>
              <a:ext uri="{FF2B5EF4-FFF2-40B4-BE49-F238E27FC236}">
                <a16:creationId xmlns:a16="http://schemas.microsoft.com/office/drawing/2014/main" id="{BA489E4D-9954-4142-2129-28A36017A99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92118" y="281460"/>
            <a:ext cx="995340" cy="6238309"/>
          </a:xfrm>
          <a:prstGeom prst="rect">
            <a:avLst/>
          </a:prstGeom>
        </p:spPr>
      </p:pic>
    </p:spTree>
    <p:extLst>
      <p:ext uri="{BB962C8B-B14F-4D97-AF65-F5344CB8AC3E}">
        <p14:creationId xmlns:p14="http://schemas.microsoft.com/office/powerpoint/2010/main" val="4954169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Heavy Full Colo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AC00413-12E1-640D-06A7-EC95D18C5432}"/>
              </a:ext>
            </a:extLst>
          </p:cNvPr>
          <p:cNvPicPr>
            <a:picLocks noChangeAspect="1"/>
          </p:cNvPicPr>
          <p:nvPr userDrawn="1"/>
        </p:nvPicPr>
        <p:blipFill>
          <a:blip r:embed="rId2"/>
          <a:stretch>
            <a:fillRect/>
          </a:stretch>
        </p:blipFill>
        <p:spPr>
          <a:xfrm>
            <a:off x="-4930" y="0"/>
            <a:ext cx="12192000" cy="6858000"/>
          </a:xfrm>
          <a:prstGeom prst="rect">
            <a:avLst/>
          </a:prstGeom>
        </p:spPr>
      </p:pic>
      <p:sp>
        <p:nvSpPr>
          <p:cNvPr id="2" name="Title 1">
            <a:extLst>
              <a:ext uri="{FF2B5EF4-FFF2-40B4-BE49-F238E27FC236}">
                <a16:creationId xmlns:a16="http://schemas.microsoft.com/office/drawing/2014/main" id="{1507FE9F-B77D-5B05-7C83-FCBCD2844389}"/>
              </a:ext>
            </a:extLst>
          </p:cNvPr>
          <p:cNvSpPr>
            <a:spLocks noGrp="1"/>
          </p:cNvSpPr>
          <p:nvPr>
            <p:ph type="title"/>
          </p:nvPr>
        </p:nvSpPr>
        <p:spPr/>
        <p:txBody>
          <a:bodyPr/>
          <a:lstStyle>
            <a:lvl1pPr>
              <a:defRPr>
                <a:solidFill>
                  <a:schemeClr val="bg1"/>
                </a:solidFill>
              </a:defRPr>
            </a:lvl1pPr>
          </a:lstStyle>
          <a:p>
            <a:r>
              <a:rPr lang="en-GB"/>
              <a:t>Click to edit Master title style</a:t>
            </a:r>
            <a:endParaRPr lang="en-NO"/>
          </a:p>
        </p:txBody>
      </p:sp>
      <p:sp>
        <p:nvSpPr>
          <p:cNvPr id="3" name="Content Placeholder 2">
            <a:extLst>
              <a:ext uri="{FF2B5EF4-FFF2-40B4-BE49-F238E27FC236}">
                <a16:creationId xmlns:a16="http://schemas.microsoft.com/office/drawing/2014/main" id="{DC05B828-5148-FFC0-6217-9D0D722AF250}"/>
              </a:ext>
            </a:extLst>
          </p:cNvPr>
          <p:cNvSpPr>
            <a:spLocks noGrp="1"/>
          </p:cNvSpPr>
          <p:nvPr>
            <p:ph sz="half" idx="1"/>
          </p:nvPr>
        </p:nvSpPr>
        <p:spPr>
          <a:xfrm>
            <a:off x="838199" y="1825625"/>
            <a:ext cx="10515599"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pic>
        <p:nvPicPr>
          <p:cNvPr id="10" name="Picture 9">
            <a:extLst>
              <a:ext uri="{FF2B5EF4-FFF2-40B4-BE49-F238E27FC236}">
                <a16:creationId xmlns:a16="http://schemas.microsoft.com/office/drawing/2014/main" id="{B6627941-3500-4D78-E034-E988F34FFD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92118" y="281460"/>
            <a:ext cx="995340" cy="6238312"/>
          </a:xfrm>
          <a:prstGeom prst="rect">
            <a:avLst/>
          </a:prstGeom>
        </p:spPr>
      </p:pic>
    </p:spTree>
    <p:extLst>
      <p:ext uri="{BB962C8B-B14F-4D97-AF65-F5344CB8AC3E}">
        <p14:creationId xmlns:p14="http://schemas.microsoft.com/office/powerpoint/2010/main" val="5442727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Photo Colored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A999067-E0DC-0C35-F26C-E1C07E4FAB3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pic>
        <p:nvPicPr>
          <p:cNvPr id="10" name="Picture 9">
            <a:extLst>
              <a:ext uri="{FF2B5EF4-FFF2-40B4-BE49-F238E27FC236}">
                <a16:creationId xmlns:a16="http://schemas.microsoft.com/office/drawing/2014/main" id="{476FD56C-B35B-11D8-F6DA-C7FC43CE88C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 name="Title 1">
            <a:extLst>
              <a:ext uri="{FF2B5EF4-FFF2-40B4-BE49-F238E27FC236}">
                <a16:creationId xmlns:a16="http://schemas.microsoft.com/office/drawing/2014/main" id="{17F34972-7E06-0651-8105-BBE9A2FF236B}"/>
              </a:ext>
            </a:extLst>
          </p:cNvPr>
          <p:cNvSpPr>
            <a:spLocks noGrp="1"/>
          </p:cNvSpPr>
          <p:nvPr>
            <p:ph type="title" hasCustomPrompt="1"/>
          </p:nvPr>
        </p:nvSpPr>
        <p:spPr>
          <a:xfrm>
            <a:off x="6468034" y="365125"/>
            <a:ext cx="4885765" cy="1325563"/>
          </a:xfrm>
        </p:spPr>
        <p:txBody>
          <a:bodyPr/>
          <a:lstStyle>
            <a:lvl1pPr>
              <a:defRPr>
                <a:solidFill>
                  <a:srgbClr val="1C63FF"/>
                </a:solidFill>
                <a:latin typeface="Poppins" pitchFamily="2" charset="77"/>
                <a:cs typeface="Poppins" pitchFamily="2" charset="77"/>
              </a:defRPr>
            </a:lvl1pPr>
          </a:lstStyle>
          <a:p>
            <a:r>
              <a:rPr lang="en-GB"/>
              <a:t>Click to Edit Title</a:t>
            </a:r>
            <a:endParaRPr lang="en-NO"/>
          </a:p>
        </p:txBody>
      </p:sp>
      <p:pic>
        <p:nvPicPr>
          <p:cNvPr id="11" name="Picture 10">
            <a:extLst>
              <a:ext uri="{FF2B5EF4-FFF2-40B4-BE49-F238E27FC236}">
                <a16:creationId xmlns:a16="http://schemas.microsoft.com/office/drawing/2014/main" id="{47C4452E-9E41-DF60-115E-89E91FF5C84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892118" y="281460"/>
            <a:ext cx="995340" cy="6238309"/>
          </a:xfrm>
          <a:prstGeom prst="rect">
            <a:avLst/>
          </a:prstGeom>
        </p:spPr>
      </p:pic>
      <p:sp>
        <p:nvSpPr>
          <p:cNvPr id="3" name="Content Placeholder 2">
            <a:extLst>
              <a:ext uri="{FF2B5EF4-FFF2-40B4-BE49-F238E27FC236}">
                <a16:creationId xmlns:a16="http://schemas.microsoft.com/office/drawing/2014/main" id="{0AC01FD2-8068-0143-78D5-1F08DC325476}"/>
              </a:ext>
            </a:extLst>
          </p:cNvPr>
          <p:cNvSpPr>
            <a:spLocks noGrp="1"/>
          </p:cNvSpPr>
          <p:nvPr>
            <p:ph idx="1"/>
          </p:nvPr>
        </p:nvSpPr>
        <p:spPr>
          <a:xfrm>
            <a:off x="6468034" y="1825625"/>
            <a:ext cx="4885766"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20" name="Picture Placeholder 18">
            <a:extLst>
              <a:ext uri="{FF2B5EF4-FFF2-40B4-BE49-F238E27FC236}">
                <a16:creationId xmlns:a16="http://schemas.microsoft.com/office/drawing/2014/main" id="{EE8EA021-366F-5E31-383E-8F6185A8176E}"/>
              </a:ext>
            </a:extLst>
          </p:cNvPr>
          <p:cNvSpPr>
            <a:spLocks noGrp="1"/>
          </p:cNvSpPr>
          <p:nvPr>
            <p:ph type="pic" sz="quarter" idx="10" hasCustomPrompt="1"/>
          </p:nvPr>
        </p:nvSpPr>
        <p:spPr>
          <a:xfrm>
            <a:off x="892275" y="905690"/>
            <a:ext cx="4310040" cy="4989847"/>
          </a:xfrm>
        </p:spPr>
        <p:txBody>
          <a:bodyPr anchor="ctr">
            <a:normAutofit/>
          </a:bodyPr>
          <a:lstStyle>
            <a:lvl1pPr marL="0" indent="0" algn="ctr">
              <a:buNone/>
              <a:defRPr sz="2000">
                <a:solidFill>
                  <a:schemeClr val="bg1"/>
                </a:solidFill>
              </a:defRPr>
            </a:lvl1pPr>
          </a:lstStyle>
          <a:p>
            <a:r>
              <a:rPr lang="en-NO"/>
              <a:t>Drag to insert image</a:t>
            </a:r>
          </a:p>
        </p:txBody>
      </p:sp>
    </p:spTree>
    <p:extLst>
      <p:ext uri="{BB962C8B-B14F-4D97-AF65-F5344CB8AC3E}">
        <p14:creationId xmlns:p14="http://schemas.microsoft.com/office/powerpoint/2010/main" val="31442526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Photo Colored 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22D8362-DE67-A52A-63F3-B1C72D02F81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5999" y="0"/>
            <a:ext cx="6096000" cy="6858000"/>
          </a:xfrm>
          <a:prstGeom prst="rect">
            <a:avLst/>
          </a:prstGeom>
        </p:spPr>
      </p:pic>
      <p:pic>
        <p:nvPicPr>
          <p:cNvPr id="10" name="Picture 9">
            <a:extLst>
              <a:ext uri="{FF2B5EF4-FFF2-40B4-BE49-F238E27FC236}">
                <a16:creationId xmlns:a16="http://schemas.microsoft.com/office/drawing/2014/main" id="{476FD56C-B35B-11D8-F6DA-C7FC43CE88C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pic>
        <p:nvPicPr>
          <p:cNvPr id="5" name="Picture 4">
            <a:extLst>
              <a:ext uri="{FF2B5EF4-FFF2-40B4-BE49-F238E27FC236}">
                <a16:creationId xmlns:a16="http://schemas.microsoft.com/office/drawing/2014/main" id="{A4C0CE00-5347-0E04-14FC-687527D7815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892118" y="281460"/>
            <a:ext cx="995340" cy="6238312"/>
          </a:xfrm>
          <a:prstGeom prst="rect">
            <a:avLst/>
          </a:prstGeom>
        </p:spPr>
      </p:pic>
      <p:sp>
        <p:nvSpPr>
          <p:cNvPr id="12" name="Title 1">
            <a:extLst>
              <a:ext uri="{FF2B5EF4-FFF2-40B4-BE49-F238E27FC236}">
                <a16:creationId xmlns:a16="http://schemas.microsoft.com/office/drawing/2014/main" id="{529E46F6-33EA-5009-447D-1018EADB4023}"/>
              </a:ext>
            </a:extLst>
          </p:cNvPr>
          <p:cNvSpPr>
            <a:spLocks noGrp="1"/>
          </p:cNvSpPr>
          <p:nvPr>
            <p:ph type="title" hasCustomPrompt="1"/>
          </p:nvPr>
        </p:nvSpPr>
        <p:spPr>
          <a:xfrm>
            <a:off x="616431" y="376750"/>
            <a:ext cx="4885765" cy="1325563"/>
          </a:xfrm>
        </p:spPr>
        <p:txBody>
          <a:bodyPr/>
          <a:lstStyle>
            <a:lvl1pPr>
              <a:defRPr>
                <a:solidFill>
                  <a:srgbClr val="1C63FF"/>
                </a:solidFill>
                <a:latin typeface="Poppins" pitchFamily="2" charset="77"/>
                <a:cs typeface="Poppins" pitchFamily="2" charset="77"/>
              </a:defRPr>
            </a:lvl1pPr>
          </a:lstStyle>
          <a:p>
            <a:r>
              <a:rPr lang="en-GB"/>
              <a:t>Click to Edit Title</a:t>
            </a:r>
            <a:endParaRPr lang="en-NO"/>
          </a:p>
        </p:txBody>
      </p:sp>
      <p:sp>
        <p:nvSpPr>
          <p:cNvPr id="13" name="Content Placeholder 2">
            <a:extLst>
              <a:ext uri="{FF2B5EF4-FFF2-40B4-BE49-F238E27FC236}">
                <a16:creationId xmlns:a16="http://schemas.microsoft.com/office/drawing/2014/main" id="{445931CD-9E01-D81B-7A8C-791980E81CF2}"/>
              </a:ext>
            </a:extLst>
          </p:cNvPr>
          <p:cNvSpPr>
            <a:spLocks noGrp="1"/>
          </p:cNvSpPr>
          <p:nvPr>
            <p:ph idx="1"/>
          </p:nvPr>
        </p:nvSpPr>
        <p:spPr>
          <a:xfrm>
            <a:off x="616431" y="1909187"/>
            <a:ext cx="4885766"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15" name="Picture Placeholder 18">
            <a:extLst>
              <a:ext uri="{FF2B5EF4-FFF2-40B4-BE49-F238E27FC236}">
                <a16:creationId xmlns:a16="http://schemas.microsoft.com/office/drawing/2014/main" id="{62FE4CF7-C352-5F17-5104-382F995EC6D8}"/>
              </a:ext>
            </a:extLst>
          </p:cNvPr>
          <p:cNvSpPr>
            <a:spLocks noGrp="1"/>
          </p:cNvSpPr>
          <p:nvPr>
            <p:ph type="pic" sz="quarter" idx="10" hasCustomPrompt="1"/>
          </p:nvPr>
        </p:nvSpPr>
        <p:spPr>
          <a:xfrm>
            <a:off x="6988979" y="905690"/>
            <a:ext cx="4310040" cy="4989847"/>
          </a:xfrm>
        </p:spPr>
        <p:txBody>
          <a:bodyPr anchor="ctr">
            <a:normAutofit/>
          </a:bodyPr>
          <a:lstStyle>
            <a:lvl1pPr marL="0" indent="0" algn="ctr">
              <a:buNone/>
              <a:defRPr sz="2000">
                <a:solidFill>
                  <a:schemeClr val="bg1"/>
                </a:solidFill>
              </a:defRPr>
            </a:lvl1pPr>
          </a:lstStyle>
          <a:p>
            <a:r>
              <a:rPr lang="en-NO"/>
              <a:t>Drag to insert image</a:t>
            </a:r>
          </a:p>
        </p:txBody>
      </p:sp>
    </p:spTree>
    <p:extLst>
      <p:ext uri="{BB962C8B-B14F-4D97-AF65-F5344CB8AC3E}">
        <p14:creationId xmlns:p14="http://schemas.microsoft.com/office/powerpoint/2010/main" val="10016294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Photo White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92A96E2-DAA4-EB26-67D5-456850E4A387}"/>
              </a:ext>
            </a:extLst>
          </p:cNvPr>
          <p:cNvPicPr>
            <a:picLocks noChangeAspect="1"/>
          </p:cNvPicPr>
          <p:nvPr userDrawn="1"/>
        </p:nvPicPr>
        <p:blipFill>
          <a:blip r:embed="rId2" cstate="screen">
            <a:alphaModFix amt="5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7F34972-7E06-0651-8105-BBE9A2FF236B}"/>
              </a:ext>
            </a:extLst>
          </p:cNvPr>
          <p:cNvSpPr>
            <a:spLocks noGrp="1"/>
          </p:cNvSpPr>
          <p:nvPr>
            <p:ph type="title" hasCustomPrompt="1"/>
          </p:nvPr>
        </p:nvSpPr>
        <p:spPr>
          <a:xfrm>
            <a:off x="6468034" y="365125"/>
            <a:ext cx="4885765" cy="1325563"/>
          </a:xfrm>
        </p:spPr>
        <p:txBody>
          <a:bodyPr/>
          <a:lstStyle>
            <a:lvl1pPr>
              <a:defRPr>
                <a:solidFill>
                  <a:srgbClr val="1C63FF"/>
                </a:solidFill>
                <a:latin typeface="Poppins" pitchFamily="2" charset="77"/>
                <a:cs typeface="Poppins" pitchFamily="2" charset="77"/>
              </a:defRPr>
            </a:lvl1pPr>
          </a:lstStyle>
          <a:p>
            <a:r>
              <a:rPr lang="en-GB"/>
              <a:t>Click to Edit Title</a:t>
            </a:r>
            <a:endParaRPr lang="en-NO"/>
          </a:p>
        </p:txBody>
      </p:sp>
      <p:pic>
        <p:nvPicPr>
          <p:cNvPr id="11" name="Picture 10">
            <a:extLst>
              <a:ext uri="{FF2B5EF4-FFF2-40B4-BE49-F238E27FC236}">
                <a16:creationId xmlns:a16="http://schemas.microsoft.com/office/drawing/2014/main" id="{47C4452E-9E41-DF60-115E-89E91FF5C84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92118" y="281460"/>
            <a:ext cx="995340" cy="6238309"/>
          </a:xfrm>
          <a:prstGeom prst="rect">
            <a:avLst/>
          </a:prstGeom>
        </p:spPr>
      </p:pic>
      <p:sp>
        <p:nvSpPr>
          <p:cNvPr id="3" name="Content Placeholder 2">
            <a:extLst>
              <a:ext uri="{FF2B5EF4-FFF2-40B4-BE49-F238E27FC236}">
                <a16:creationId xmlns:a16="http://schemas.microsoft.com/office/drawing/2014/main" id="{0AC01FD2-8068-0143-78D5-1F08DC325476}"/>
              </a:ext>
            </a:extLst>
          </p:cNvPr>
          <p:cNvSpPr>
            <a:spLocks noGrp="1"/>
          </p:cNvSpPr>
          <p:nvPr>
            <p:ph idx="1"/>
          </p:nvPr>
        </p:nvSpPr>
        <p:spPr>
          <a:xfrm>
            <a:off x="6468034" y="1825625"/>
            <a:ext cx="4885766"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20" name="Picture Placeholder 18">
            <a:extLst>
              <a:ext uri="{FF2B5EF4-FFF2-40B4-BE49-F238E27FC236}">
                <a16:creationId xmlns:a16="http://schemas.microsoft.com/office/drawing/2014/main" id="{EE8EA021-366F-5E31-383E-8F6185A8176E}"/>
              </a:ext>
            </a:extLst>
          </p:cNvPr>
          <p:cNvSpPr>
            <a:spLocks noGrp="1"/>
          </p:cNvSpPr>
          <p:nvPr>
            <p:ph type="pic" sz="quarter" idx="10" hasCustomPrompt="1"/>
          </p:nvPr>
        </p:nvSpPr>
        <p:spPr>
          <a:xfrm>
            <a:off x="892275" y="905690"/>
            <a:ext cx="4310040" cy="4989847"/>
          </a:xfrm>
        </p:spPr>
        <p:txBody>
          <a:bodyPr anchor="ctr">
            <a:normAutofit/>
          </a:bodyPr>
          <a:lstStyle>
            <a:lvl1pPr marL="0" indent="0" algn="ctr">
              <a:buNone/>
              <a:defRPr sz="2000">
                <a:solidFill>
                  <a:srgbClr val="10183A"/>
                </a:solidFill>
              </a:defRPr>
            </a:lvl1pPr>
          </a:lstStyle>
          <a:p>
            <a:r>
              <a:rPr lang="en-NO"/>
              <a:t>Drag to insert image</a:t>
            </a:r>
          </a:p>
        </p:txBody>
      </p:sp>
    </p:spTree>
    <p:extLst>
      <p:ext uri="{BB962C8B-B14F-4D97-AF65-F5344CB8AC3E}">
        <p14:creationId xmlns:p14="http://schemas.microsoft.com/office/powerpoint/2010/main" val="3196492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Photo White 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25F31A-C018-ED9A-3A7E-E154D243A76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A4C0CE00-5347-0E04-14FC-687527D7815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92118" y="281460"/>
            <a:ext cx="995340" cy="6238312"/>
          </a:xfrm>
          <a:prstGeom prst="rect">
            <a:avLst/>
          </a:prstGeom>
        </p:spPr>
      </p:pic>
      <p:sp>
        <p:nvSpPr>
          <p:cNvPr id="12" name="Title 1">
            <a:extLst>
              <a:ext uri="{FF2B5EF4-FFF2-40B4-BE49-F238E27FC236}">
                <a16:creationId xmlns:a16="http://schemas.microsoft.com/office/drawing/2014/main" id="{529E46F6-33EA-5009-447D-1018EADB4023}"/>
              </a:ext>
            </a:extLst>
          </p:cNvPr>
          <p:cNvSpPr>
            <a:spLocks noGrp="1"/>
          </p:cNvSpPr>
          <p:nvPr>
            <p:ph type="title" hasCustomPrompt="1"/>
          </p:nvPr>
        </p:nvSpPr>
        <p:spPr>
          <a:xfrm>
            <a:off x="616431" y="376750"/>
            <a:ext cx="4885765" cy="1325563"/>
          </a:xfrm>
        </p:spPr>
        <p:txBody>
          <a:bodyPr/>
          <a:lstStyle>
            <a:lvl1pPr>
              <a:defRPr>
                <a:solidFill>
                  <a:srgbClr val="1C63FF"/>
                </a:solidFill>
                <a:latin typeface="Poppins" pitchFamily="2" charset="77"/>
                <a:cs typeface="Poppins" pitchFamily="2" charset="77"/>
              </a:defRPr>
            </a:lvl1pPr>
          </a:lstStyle>
          <a:p>
            <a:r>
              <a:rPr lang="en-GB"/>
              <a:t>Click to Edit Title</a:t>
            </a:r>
            <a:endParaRPr lang="en-NO"/>
          </a:p>
        </p:txBody>
      </p:sp>
      <p:sp>
        <p:nvSpPr>
          <p:cNvPr id="13" name="Content Placeholder 2">
            <a:extLst>
              <a:ext uri="{FF2B5EF4-FFF2-40B4-BE49-F238E27FC236}">
                <a16:creationId xmlns:a16="http://schemas.microsoft.com/office/drawing/2014/main" id="{445931CD-9E01-D81B-7A8C-791980E81CF2}"/>
              </a:ext>
            </a:extLst>
          </p:cNvPr>
          <p:cNvSpPr>
            <a:spLocks noGrp="1"/>
          </p:cNvSpPr>
          <p:nvPr>
            <p:ph idx="1"/>
          </p:nvPr>
        </p:nvSpPr>
        <p:spPr>
          <a:xfrm>
            <a:off x="616431" y="1909187"/>
            <a:ext cx="4885766"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14" name="Picture Placeholder 18">
            <a:extLst>
              <a:ext uri="{FF2B5EF4-FFF2-40B4-BE49-F238E27FC236}">
                <a16:creationId xmlns:a16="http://schemas.microsoft.com/office/drawing/2014/main" id="{E55C45DF-C386-FF02-5546-115FE5B72DEC}"/>
              </a:ext>
            </a:extLst>
          </p:cNvPr>
          <p:cNvSpPr>
            <a:spLocks noGrp="1"/>
          </p:cNvSpPr>
          <p:nvPr>
            <p:ph type="pic" sz="quarter" idx="10" hasCustomPrompt="1"/>
          </p:nvPr>
        </p:nvSpPr>
        <p:spPr>
          <a:xfrm>
            <a:off x="7079748" y="905690"/>
            <a:ext cx="4310040" cy="4989847"/>
          </a:xfrm>
        </p:spPr>
        <p:txBody>
          <a:bodyPr anchor="ctr">
            <a:normAutofit/>
          </a:bodyPr>
          <a:lstStyle>
            <a:lvl1pPr marL="0" indent="0" algn="ctr">
              <a:buNone/>
              <a:defRPr sz="2000">
                <a:solidFill>
                  <a:srgbClr val="10183A"/>
                </a:solidFill>
              </a:defRPr>
            </a:lvl1pPr>
          </a:lstStyle>
          <a:p>
            <a:r>
              <a:rPr lang="en-NO"/>
              <a:t>Drag to insert image</a:t>
            </a:r>
          </a:p>
        </p:txBody>
      </p:sp>
      <p:pic>
        <p:nvPicPr>
          <p:cNvPr id="9" name="Picture 8">
            <a:extLst>
              <a:ext uri="{FF2B5EF4-FFF2-40B4-BE49-F238E27FC236}">
                <a16:creationId xmlns:a16="http://schemas.microsoft.com/office/drawing/2014/main" id="{D21DB753-C834-204E-4E0B-A9192406986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892118" y="281460"/>
            <a:ext cx="995340" cy="6238309"/>
          </a:xfrm>
          <a:prstGeom prst="rect">
            <a:avLst/>
          </a:prstGeom>
        </p:spPr>
      </p:pic>
    </p:spTree>
    <p:extLst>
      <p:ext uri="{BB962C8B-B14F-4D97-AF65-F5344CB8AC3E}">
        <p14:creationId xmlns:p14="http://schemas.microsoft.com/office/powerpoint/2010/main" val="10913130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Full Color">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E315866-CBE2-387C-C488-3761A31D31AA}"/>
              </a:ext>
            </a:extLst>
          </p:cNvPr>
          <p:cNvPicPr>
            <a:picLocks noChangeAspect="1"/>
          </p:cNvPicPr>
          <p:nvPr userDrawn="1"/>
        </p:nvPicPr>
        <p:blipFill>
          <a:blip r:embed="rId2"/>
          <a:stretch>
            <a:fillRect/>
          </a:stretch>
        </p:blipFill>
        <p:spPr>
          <a:xfrm>
            <a:off x="-4930" y="0"/>
            <a:ext cx="12192000" cy="6858000"/>
          </a:xfrm>
          <a:prstGeom prst="rect">
            <a:avLst/>
          </a:prstGeom>
        </p:spPr>
      </p:pic>
      <p:pic>
        <p:nvPicPr>
          <p:cNvPr id="11" name="Picture 10">
            <a:extLst>
              <a:ext uri="{FF2B5EF4-FFF2-40B4-BE49-F238E27FC236}">
                <a16:creationId xmlns:a16="http://schemas.microsoft.com/office/drawing/2014/main" id="{FE124A36-25FA-E7B5-BB00-7B520FE2AF68}"/>
              </a:ext>
            </a:extLst>
          </p:cNvPr>
          <p:cNvPicPr>
            <a:picLocks noChangeAspect="1"/>
          </p:cNvPicPr>
          <p:nvPr userDrawn="1"/>
        </p:nvPicPr>
        <p:blipFill>
          <a:blip r:embed="rId3"/>
          <a:srcRect/>
          <a:stretch/>
        </p:blipFill>
        <p:spPr>
          <a:xfrm>
            <a:off x="0" y="0"/>
            <a:ext cx="6858000" cy="6858000"/>
          </a:xfrm>
          <a:prstGeom prst="rect">
            <a:avLst/>
          </a:prstGeom>
        </p:spPr>
      </p:pic>
      <p:pic>
        <p:nvPicPr>
          <p:cNvPr id="10" name="Picture 9">
            <a:extLst>
              <a:ext uri="{FF2B5EF4-FFF2-40B4-BE49-F238E27FC236}">
                <a16:creationId xmlns:a16="http://schemas.microsoft.com/office/drawing/2014/main" id="{B6627941-3500-4D78-E034-E988F34FFDC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892118" y="281460"/>
            <a:ext cx="995340" cy="6238312"/>
          </a:xfrm>
          <a:prstGeom prst="rect">
            <a:avLst/>
          </a:prstGeom>
        </p:spPr>
      </p:pic>
    </p:spTree>
    <p:extLst>
      <p:ext uri="{BB962C8B-B14F-4D97-AF65-F5344CB8AC3E}">
        <p14:creationId xmlns:p14="http://schemas.microsoft.com/office/powerpoint/2010/main" val="28302788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EA7BB31-9CDF-FCC7-5F89-E9A9CD77AC91}"/>
              </a:ext>
            </a:extLst>
          </p:cNvPr>
          <p:cNvGraphicFramePr>
            <a:graphicFrameLocks noChangeAspect="1"/>
          </p:cNvGraphicFramePr>
          <p:nvPr userDrawn="1">
            <p:custDataLst>
              <p:tags r:id="rId18"/>
            </p:custDataLst>
            <p:extLst>
              <p:ext uri="{D42A27DB-BD31-4B8C-83A1-F6EECF244321}">
                <p14:modId xmlns:p14="http://schemas.microsoft.com/office/powerpoint/2010/main" val="785207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44" imgH="344" progId="TCLayout.ActiveDocument.1">
                  <p:embed/>
                </p:oleObj>
              </mc:Choice>
              <mc:Fallback>
                <p:oleObj name="think-cell Slide" r:id="rId19" imgW="344" imgH="344" progId="TCLayout.ActiveDocument.1">
                  <p:embed/>
                  <p:pic>
                    <p:nvPicPr>
                      <p:cNvPr id="8" name="Object 7" hidden="1">
                        <a:extLst>
                          <a:ext uri="{FF2B5EF4-FFF2-40B4-BE49-F238E27FC236}">
                            <a16:creationId xmlns:a16="http://schemas.microsoft.com/office/drawing/2014/main" id="{3EA7BB31-9CDF-FCC7-5F89-E9A9CD77AC91}"/>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5E99145-578F-364F-D397-834902D9955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NO"/>
          </a:p>
        </p:txBody>
      </p:sp>
      <p:sp>
        <p:nvSpPr>
          <p:cNvPr id="3" name="Text Placeholder 2">
            <a:extLst>
              <a:ext uri="{FF2B5EF4-FFF2-40B4-BE49-F238E27FC236}">
                <a16:creationId xmlns:a16="http://schemas.microsoft.com/office/drawing/2014/main" id="{96DB64E7-7450-5BAA-7DCA-6F75AE12EF0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4" name="Date Placeholder 3">
            <a:extLst>
              <a:ext uri="{FF2B5EF4-FFF2-40B4-BE49-F238E27FC236}">
                <a16:creationId xmlns:a16="http://schemas.microsoft.com/office/drawing/2014/main" id="{1DFE0329-0743-171E-8F28-C9AE6256D4D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AECF62-2FF9-0444-B805-9E1E531B5594}" type="datetimeFigureOut">
              <a:rPr lang="en-NO" smtClean="0"/>
              <a:t>03/10/2023</a:t>
            </a:fld>
            <a:endParaRPr lang="en-NO"/>
          </a:p>
        </p:txBody>
      </p:sp>
      <p:sp>
        <p:nvSpPr>
          <p:cNvPr id="5" name="Footer Placeholder 4">
            <a:extLst>
              <a:ext uri="{FF2B5EF4-FFF2-40B4-BE49-F238E27FC236}">
                <a16:creationId xmlns:a16="http://schemas.microsoft.com/office/drawing/2014/main" id="{4475CBE8-F7E0-A235-CF9B-F67FF74CFC4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NO"/>
          </a:p>
        </p:txBody>
      </p:sp>
      <p:sp>
        <p:nvSpPr>
          <p:cNvPr id="6" name="Slide Number Placeholder 5">
            <a:extLst>
              <a:ext uri="{FF2B5EF4-FFF2-40B4-BE49-F238E27FC236}">
                <a16:creationId xmlns:a16="http://schemas.microsoft.com/office/drawing/2014/main" id="{A355D1D3-209B-233A-D25A-C3B7F741558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E862C6-6190-CC4C-90E5-2AA052DD6CA7}" type="slidenum">
              <a:rPr lang="en-NO" smtClean="0"/>
              <a:t>‹#›</a:t>
            </a:fld>
            <a:endParaRPr lang="en-NO"/>
          </a:p>
        </p:txBody>
      </p:sp>
    </p:spTree>
    <p:extLst>
      <p:ext uri="{BB962C8B-B14F-4D97-AF65-F5344CB8AC3E}">
        <p14:creationId xmlns:p14="http://schemas.microsoft.com/office/powerpoint/2010/main" val="1303893050"/>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2" r:id="rId3"/>
    <p:sldLayoutId id="2147483661" r:id="rId4"/>
    <p:sldLayoutId id="2147483650" r:id="rId5"/>
    <p:sldLayoutId id="2147483660" r:id="rId6"/>
    <p:sldLayoutId id="2147483664" r:id="rId7"/>
    <p:sldLayoutId id="2147483665" r:id="rId8"/>
    <p:sldLayoutId id="2147483662" r:id="rId9"/>
    <p:sldLayoutId id="2147483673" r:id="rId10"/>
    <p:sldLayoutId id="2147483667" r:id="rId11"/>
    <p:sldLayoutId id="2147483668" r:id="rId12"/>
    <p:sldLayoutId id="2147483675" r:id="rId13"/>
    <p:sldLayoutId id="2147483670" r:id="rId14"/>
    <p:sldLayoutId id="2147483677" r:id="rId15"/>
    <p:sldLayoutId id="2147483679" r:id="rId16"/>
  </p:sldLayoutIdLst>
  <p:txStyles>
    <p:titleStyle>
      <a:lvl1pPr algn="l" defTabSz="914400" rtl="0" eaLnBrk="1" latinLnBrk="0" hangingPunct="1">
        <a:lnSpc>
          <a:spcPct val="90000"/>
        </a:lnSpc>
        <a:spcBef>
          <a:spcPct val="0"/>
        </a:spcBef>
        <a:buNone/>
        <a:defRPr sz="4400" kern="1200">
          <a:solidFill>
            <a:srgbClr val="1C63FF"/>
          </a:solidFill>
          <a:latin typeface="Poppins" pitchFamily="2" charset="77"/>
          <a:ea typeface="+mj-ea"/>
          <a:cs typeface="Poppins" pitchFamily="2" charset="77"/>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37.png"/><Relationship Id="rId2" Type="http://schemas.openxmlformats.org/officeDocument/2006/relationships/slideLayout" Target="../slideLayouts/slideLayout10.xml"/><Relationship Id="rId1" Type="http://schemas.openxmlformats.org/officeDocument/2006/relationships/tags" Target="../tags/tag208.xml"/><Relationship Id="rId6" Type="http://schemas.openxmlformats.org/officeDocument/2006/relationships/hyperlink" Target="https://app.xeneta.com/air/trade-lane-graph/benchmarks?air_contract_length=all&amp;air_contracted_within=3months&amp;date_from=2022-01-01&amp;date_to=2023-03-09&amp;destination_location_slug=europe-main&amp;freight_forwarder_slug=all&amp;freight_forwarders_flag=&amp;market_flag=7&amp;origin_location_slug=china-main&amp;weight_option=500&amp;xeneta_service_type=lower-and-mid-tier" TargetMode="External"/><Relationship Id="rId5" Type="http://schemas.openxmlformats.org/officeDocument/2006/relationships/image" Target="../media/image22.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38.png"/><Relationship Id="rId2" Type="http://schemas.openxmlformats.org/officeDocument/2006/relationships/slideLayout" Target="../slideLayouts/slideLayout10.xml"/><Relationship Id="rId1" Type="http://schemas.openxmlformats.org/officeDocument/2006/relationships/tags" Target="../tags/tag209.xml"/><Relationship Id="rId6" Type="http://schemas.openxmlformats.org/officeDocument/2006/relationships/hyperlink" Target="https://app.xeneta.com/air/trade-lane-graph/benchmarks?air_contract_length=all&amp;air_contracted_within=3months&amp;date_from=2022-01-01&amp;date_to=2023-03-09&amp;destination_location_slug=china-main&amp;freight_forwarder_slug=all&amp;freight_forwarders_flag=&amp;market_flag=2&amp;origin_location_slug=europe-main&amp;weight_option=500&amp;xeneta_service_type=lower-and-mid-tier" TargetMode="External"/><Relationship Id="rId5" Type="http://schemas.openxmlformats.org/officeDocument/2006/relationships/image" Target="../media/image22.emf"/><Relationship Id="rId4"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3.xml.rels><?xml version="1.0" encoding="UTF-8" standalone="yes"?>
<Relationships xmlns="http://schemas.openxmlformats.org/package/2006/relationships"><Relationship Id="rId26" Type="http://schemas.openxmlformats.org/officeDocument/2006/relationships/tags" Target="../tags/tag29.xml"/><Relationship Id="rId21" Type="http://schemas.openxmlformats.org/officeDocument/2006/relationships/tags" Target="../tags/tag24.xml"/><Relationship Id="rId42" Type="http://schemas.openxmlformats.org/officeDocument/2006/relationships/tags" Target="../tags/tag45.xml"/><Relationship Id="rId47" Type="http://schemas.openxmlformats.org/officeDocument/2006/relationships/tags" Target="../tags/tag50.xml"/><Relationship Id="rId63" Type="http://schemas.openxmlformats.org/officeDocument/2006/relationships/tags" Target="../tags/tag66.xml"/><Relationship Id="rId68" Type="http://schemas.openxmlformats.org/officeDocument/2006/relationships/tags" Target="../tags/tag71.xml"/><Relationship Id="rId16" Type="http://schemas.openxmlformats.org/officeDocument/2006/relationships/tags" Target="../tags/tag1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tags" Target="../tags/tag43.xml"/><Relationship Id="rId45" Type="http://schemas.openxmlformats.org/officeDocument/2006/relationships/tags" Target="../tags/tag48.xml"/><Relationship Id="rId53" Type="http://schemas.openxmlformats.org/officeDocument/2006/relationships/tags" Target="../tags/tag56.xml"/><Relationship Id="rId58" Type="http://schemas.openxmlformats.org/officeDocument/2006/relationships/tags" Target="../tags/tag61.xml"/><Relationship Id="rId66" Type="http://schemas.openxmlformats.org/officeDocument/2006/relationships/tags" Target="../tags/tag69.xml"/><Relationship Id="rId74" Type="http://schemas.openxmlformats.org/officeDocument/2006/relationships/chart" Target="../charts/chart1.xml"/><Relationship Id="rId5" Type="http://schemas.openxmlformats.org/officeDocument/2006/relationships/tags" Target="../tags/tag8.xml"/><Relationship Id="rId61" Type="http://schemas.openxmlformats.org/officeDocument/2006/relationships/tags" Target="../tags/tag64.xml"/><Relationship Id="rId19" Type="http://schemas.openxmlformats.org/officeDocument/2006/relationships/tags" Target="../tags/tag2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tags" Target="../tags/tag46.xml"/><Relationship Id="rId48" Type="http://schemas.openxmlformats.org/officeDocument/2006/relationships/tags" Target="../tags/tag51.xml"/><Relationship Id="rId56" Type="http://schemas.openxmlformats.org/officeDocument/2006/relationships/tags" Target="../tags/tag59.xml"/><Relationship Id="rId64" Type="http://schemas.openxmlformats.org/officeDocument/2006/relationships/tags" Target="../tags/tag67.xml"/><Relationship Id="rId69" Type="http://schemas.openxmlformats.org/officeDocument/2006/relationships/tags" Target="../tags/tag72.xml"/><Relationship Id="rId77" Type="http://schemas.openxmlformats.org/officeDocument/2006/relationships/chart" Target="../charts/chart4.xml"/><Relationship Id="rId8" Type="http://schemas.openxmlformats.org/officeDocument/2006/relationships/tags" Target="../tags/tag11.xml"/><Relationship Id="rId51" Type="http://schemas.openxmlformats.org/officeDocument/2006/relationships/tags" Target="../tags/tag54.xml"/><Relationship Id="rId72" Type="http://schemas.openxmlformats.org/officeDocument/2006/relationships/oleObject" Target="../embeddings/oleObject3.bin"/><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tags" Target="../tags/tag49.xml"/><Relationship Id="rId59" Type="http://schemas.openxmlformats.org/officeDocument/2006/relationships/tags" Target="../tags/tag62.xml"/><Relationship Id="rId67" Type="http://schemas.openxmlformats.org/officeDocument/2006/relationships/tags" Target="../tags/tag70.xml"/><Relationship Id="rId20" Type="http://schemas.openxmlformats.org/officeDocument/2006/relationships/tags" Target="../tags/tag23.xml"/><Relationship Id="rId41" Type="http://schemas.openxmlformats.org/officeDocument/2006/relationships/tags" Target="../tags/tag44.xml"/><Relationship Id="rId54" Type="http://schemas.openxmlformats.org/officeDocument/2006/relationships/tags" Target="../tags/tag57.xml"/><Relationship Id="rId62" Type="http://schemas.openxmlformats.org/officeDocument/2006/relationships/tags" Target="../tags/tag65.xml"/><Relationship Id="rId70" Type="http://schemas.openxmlformats.org/officeDocument/2006/relationships/slideLayout" Target="../slideLayouts/slideLayout10.xml"/><Relationship Id="rId75" Type="http://schemas.openxmlformats.org/officeDocument/2006/relationships/chart" Target="../charts/chart2.xml"/><Relationship Id="rId1" Type="http://schemas.openxmlformats.org/officeDocument/2006/relationships/tags" Target="../tags/tag4.xml"/><Relationship Id="rId6" Type="http://schemas.openxmlformats.org/officeDocument/2006/relationships/tags" Target="../tags/tag9.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49" Type="http://schemas.openxmlformats.org/officeDocument/2006/relationships/tags" Target="../tags/tag52.xml"/><Relationship Id="rId57" Type="http://schemas.openxmlformats.org/officeDocument/2006/relationships/tags" Target="../tags/tag60.xml"/><Relationship Id="rId10" Type="http://schemas.openxmlformats.org/officeDocument/2006/relationships/tags" Target="../tags/tag13.xml"/><Relationship Id="rId31" Type="http://schemas.openxmlformats.org/officeDocument/2006/relationships/tags" Target="../tags/tag34.xml"/><Relationship Id="rId44" Type="http://schemas.openxmlformats.org/officeDocument/2006/relationships/tags" Target="../tags/tag47.xml"/><Relationship Id="rId52" Type="http://schemas.openxmlformats.org/officeDocument/2006/relationships/tags" Target="../tags/tag55.xml"/><Relationship Id="rId60" Type="http://schemas.openxmlformats.org/officeDocument/2006/relationships/tags" Target="../tags/tag63.xml"/><Relationship Id="rId65" Type="http://schemas.openxmlformats.org/officeDocument/2006/relationships/tags" Target="../tags/tag68.xml"/><Relationship Id="rId73" Type="http://schemas.openxmlformats.org/officeDocument/2006/relationships/image" Target="../media/image22.emf"/><Relationship Id="rId4" Type="http://schemas.openxmlformats.org/officeDocument/2006/relationships/tags" Target="../tags/tag7.xml"/><Relationship Id="rId9" Type="http://schemas.openxmlformats.org/officeDocument/2006/relationships/tags" Target="../tags/tag12.xml"/><Relationship Id="rId13" Type="http://schemas.openxmlformats.org/officeDocument/2006/relationships/tags" Target="../tags/tag16.xml"/><Relationship Id="rId18" Type="http://schemas.openxmlformats.org/officeDocument/2006/relationships/tags" Target="../tags/tag21.xml"/><Relationship Id="rId39" Type="http://schemas.openxmlformats.org/officeDocument/2006/relationships/tags" Target="../tags/tag42.xml"/><Relationship Id="rId34" Type="http://schemas.openxmlformats.org/officeDocument/2006/relationships/tags" Target="../tags/tag37.xml"/><Relationship Id="rId50" Type="http://schemas.openxmlformats.org/officeDocument/2006/relationships/tags" Target="../tags/tag53.xml"/><Relationship Id="rId55" Type="http://schemas.openxmlformats.org/officeDocument/2006/relationships/tags" Target="../tags/tag58.xml"/><Relationship Id="rId76" Type="http://schemas.openxmlformats.org/officeDocument/2006/relationships/chart" Target="../charts/chart3.xml"/><Relationship Id="rId7" Type="http://schemas.openxmlformats.org/officeDocument/2006/relationships/tags" Target="../tags/tag10.xml"/><Relationship Id="rId71" Type="http://schemas.openxmlformats.org/officeDocument/2006/relationships/notesSlide" Target="../notesSlides/notesSlide3.xml"/><Relationship Id="rId2" Type="http://schemas.openxmlformats.org/officeDocument/2006/relationships/tags" Target="../tags/tag5.xml"/><Relationship Id="rId29" Type="http://schemas.openxmlformats.org/officeDocument/2006/relationships/tags" Target="../tags/tag32.xml"/></Relationships>
</file>

<file path=ppt/slides/_rels/slide4.xml.rels><?xml version="1.0" encoding="UTF-8" standalone="yes"?>
<Relationships xmlns="http://schemas.openxmlformats.org/package/2006/relationships"><Relationship Id="rId8" Type="http://schemas.openxmlformats.org/officeDocument/2006/relationships/package" Target="../embeddings/Microsoft_Excel_Worksheet4.xlsx"/><Relationship Id="rId13" Type="http://schemas.openxmlformats.org/officeDocument/2006/relationships/image" Target="../media/image32.emf"/><Relationship Id="rId3" Type="http://schemas.openxmlformats.org/officeDocument/2006/relationships/notesSlide" Target="../notesSlides/notesSlide4.xml"/><Relationship Id="rId7" Type="http://schemas.openxmlformats.org/officeDocument/2006/relationships/image" Target="../media/image29.emf"/><Relationship Id="rId12" Type="http://schemas.openxmlformats.org/officeDocument/2006/relationships/package" Target="../embeddings/Microsoft_Excel_Worksheet6.xlsx"/><Relationship Id="rId17" Type="http://schemas.openxmlformats.org/officeDocument/2006/relationships/image" Target="../media/image34.emf"/><Relationship Id="rId2" Type="http://schemas.openxmlformats.org/officeDocument/2006/relationships/slideLayout" Target="../slideLayouts/slideLayout16.xml"/><Relationship Id="rId16" Type="http://schemas.openxmlformats.org/officeDocument/2006/relationships/package" Target="../embeddings/Microsoft_Excel_Worksheet8.xlsx"/><Relationship Id="rId1" Type="http://schemas.openxmlformats.org/officeDocument/2006/relationships/tags" Target="../tags/tag73.xml"/><Relationship Id="rId6" Type="http://schemas.openxmlformats.org/officeDocument/2006/relationships/package" Target="../embeddings/Microsoft_Excel_Worksheet.xlsx"/><Relationship Id="rId11" Type="http://schemas.openxmlformats.org/officeDocument/2006/relationships/image" Target="../media/image31.emf"/><Relationship Id="rId5" Type="http://schemas.openxmlformats.org/officeDocument/2006/relationships/image" Target="../media/image28.emf"/><Relationship Id="rId15" Type="http://schemas.openxmlformats.org/officeDocument/2006/relationships/image" Target="../media/image33.emf"/><Relationship Id="rId10" Type="http://schemas.openxmlformats.org/officeDocument/2006/relationships/package" Target="../embeddings/Microsoft_Excel_Worksheet5.xlsx"/><Relationship Id="rId4" Type="http://schemas.openxmlformats.org/officeDocument/2006/relationships/oleObject" Target="../embeddings/oleObject4.bin"/><Relationship Id="rId9" Type="http://schemas.openxmlformats.org/officeDocument/2006/relationships/image" Target="../media/image30.emf"/><Relationship Id="rId14" Type="http://schemas.openxmlformats.org/officeDocument/2006/relationships/package" Target="../embeddings/Microsoft_Excel_Worksheet7.xlsx"/></Relationships>
</file>

<file path=ppt/slides/_rels/slide5.xml.rels><?xml version="1.0" encoding="UTF-8" standalone="yes"?>
<Relationships xmlns="http://schemas.openxmlformats.org/package/2006/relationships"><Relationship Id="rId13" Type="http://schemas.openxmlformats.org/officeDocument/2006/relationships/tags" Target="../tags/tag86.xml"/><Relationship Id="rId18" Type="http://schemas.openxmlformats.org/officeDocument/2006/relationships/tags" Target="../tags/tag91.xml"/><Relationship Id="rId26" Type="http://schemas.openxmlformats.org/officeDocument/2006/relationships/tags" Target="../tags/tag99.xml"/><Relationship Id="rId21" Type="http://schemas.openxmlformats.org/officeDocument/2006/relationships/tags" Target="../tags/tag94.xml"/><Relationship Id="rId34" Type="http://schemas.openxmlformats.org/officeDocument/2006/relationships/notesSlide" Target="../notesSlides/notesSlide5.xml"/><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tags" Target="../tags/tag98.xml"/><Relationship Id="rId33" Type="http://schemas.openxmlformats.org/officeDocument/2006/relationships/slideLayout" Target="../slideLayouts/slideLayout10.xml"/><Relationship Id="rId2" Type="http://schemas.openxmlformats.org/officeDocument/2006/relationships/tags" Target="../tags/tag75.xml"/><Relationship Id="rId16" Type="http://schemas.openxmlformats.org/officeDocument/2006/relationships/tags" Target="../tags/tag89.xml"/><Relationship Id="rId20" Type="http://schemas.openxmlformats.org/officeDocument/2006/relationships/tags" Target="../tags/tag93.xml"/><Relationship Id="rId29" Type="http://schemas.openxmlformats.org/officeDocument/2006/relationships/tags" Target="../tags/tag102.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tags" Target="../tags/tag84.xml"/><Relationship Id="rId24" Type="http://schemas.openxmlformats.org/officeDocument/2006/relationships/tags" Target="../tags/tag97.xml"/><Relationship Id="rId32" Type="http://schemas.openxmlformats.org/officeDocument/2006/relationships/tags" Target="../tags/tag105.xml"/><Relationship Id="rId37" Type="http://schemas.openxmlformats.org/officeDocument/2006/relationships/chart" Target="../charts/chart5.xml"/><Relationship Id="rId5" Type="http://schemas.openxmlformats.org/officeDocument/2006/relationships/tags" Target="../tags/tag78.xml"/><Relationship Id="rId15" Type="http://schemas.openxmlformats.org/officeDocument/2006/relationships/tags" Target="../tags/tag88.xml"/><Relationship Id="rId23" Type="http://schemas.openxmlformats.org/officeDocument/2006/relationships/tags" Target="../tags/tag96.xml"/><Relationship Id="rId28" Type="http://schemas.openxmlformats.org/officeDocument/2006/relationships/tags" Target="../tags/tag101.xml"/><Relationship Id="rId36" Type="http://schemas.openxmlformats.org/officeDocument/2006/relationships/image" Target="../media/image22.emf"/><Relationship Id="rId10" Type="http://schemas.openxmlformats.org/officeDocument/2006/relationships/tags" Target="../tags/tag83.xml"/><Relationship Id="rId19" Type="http://schemas.openxmlformats.org/officeDocument/2006/relationships/tags" Target="../tags/tag92.xml"/><Relationship Id="rId31" Type="http://schemas.openxmlformats.org/officeDocument/2006/relationships/tags" Target="../tags/tag104.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tags" Target="../tags/tag95.xml"/><Relationship Id="rId27" Type="http://schemas.openxmlformats.org/officeDocument/2006/relationships/tags" Target="../tags/tag100.xml"/><Relationship Id="rId30" Type="http://schemas.openxmlformats.org/officeDocument/2006/relationships/tags" Target="../tags/tag103.xml"/><Relationship Id="rId35" Type="http://schemas.openxmlformats.org/officeDocument/2006/relationships/oleObject" Target="../embeddings/oleObject5.bin"/><Relationship Id="rId8" Type="http://schemas.openxmlformats.org/officeDocument/2006/relationships/tags" Target="../tags/tag81.xml"/><Relationship Id="rId3" Type="http://schemas.openxmlformats.org/officeDocument/2006/relationships/tags" Target="../tags/tag76.xml"/></Relationships>
</file>

<file path=ppt/slides/_rels/slide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3" Type="http://schemas.openxmlformats.org/officeDocument/2006/relationships/tags" Target="../tags/tag118.xml"/><Relationship Id="rId18" Type="http://schemas.openxmlformats.org/officeDocument/2006/relationships/tags" Target="../tags/tag123.xml"/><Relationship Id="rId26" Type="http://schemas.openxmlformats.org/officeDocument/2006/relationships/tags" Target="../tags/tag131.xml"/><Relationship Id="rId39" Type="http://schemas.openxmlformats.org/officeDocument/2006/relationships/chart" Target="../charts/chart7.xml"/><Relationship Id="rId21" Type="http://schemas.openxmlformats.org/officeDocument/2006/relationships/tags" Target="../tags/tag126.xml"/><Relationship Id="rId34" Type="http://schemas.openxmlformats.org/officeDocument/2006/relationships/slideLayout" Target="../slideLayouts/slideLayout10.xml"/><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tags" Target="../tags/tag122.xml"/><Relationship Id="rId25" Type="http://schemas.openxmlformats.org/officeDocument/2006/relationships/tags" Target="../tags/tag130.xml"/><Relationship Id="rId33" Type="http://schemas.openxmlformats.org/officeDocument/2006/relationships/tags" Target="../tags/tag138.xml"/><Relationship Id="rId38" Type="http://schemas.openxmlformats.org/officeDocument/2006/relationships/chart" Target="../charts/chart6.xml"/><Relationship Id="rId2" Type="http://schemas.openxmlformats.org/officeDocument/2006/relationships/tags" Target="../tags/tag107.xml"/><Relationship Id="rId16" Type="http://schemas.openxmlformats.org/officeDocument/2006/relationships/tags" Target="../tags/tag121.xml"/><Relationship Id="rId20" Type="http://schemas.openxmlformats.org/officeDocument/2006/relationships/tags" Target="../tags/tag125.xml"/><Relationship Id="rId29" Type="http://schemas.openxmlformats.org/officeDocument/2006/relationships/tags" Target="../tags/tag134.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tags" Target="../tags/tag129.xml"/><Relationship Id="rId32" Type="http://schemas.openxmlformats.org/officeDocument/2006/relationships/tags" Target="../tags/tag137.xml"/><Relationship Id="rId37" Type="http://schemas.openxmlformats.org/officeDocument/2006/relationships/image" Target="../media/image22.emf"/><Relationship Id="rId5" Type="http://schemas.openxmlformats.org/officeDocument/2006/relationships/tags" Target="../tags/tag110.xml"/><Relationship Id="rId15" Type="http://schemas.openxmlformats.org/officeDocument/2006/relationships/tags" Target="../tags/tag120.xml"/><Relationship Id="rId23" Type="http://schemas.openxmlformats.org/officeDocument/2006/relationships/tags" Target="../tags/tag128.xml"/><Relationship Id="rId28" Type="http://schemas.openxmlformats.org/officeDocument/2006/relationships/tags" Target="../tags/tag133.xml"/><Relationship Id="rId36" Type="http://schemas.openxmlformats.org/officeDocument/2006/relationships/oleObject" Target="../embeddings/oleObject6.bin"/><Relationship Id="rId10" Type="http://schemas.openxmlformats.org/officeDocument/2006/relationships/tags" Target="../tags/tag115.xml"/><Relationship Id="rId19" Type="http://schemas.openxmlformats.org/officeDocument/2006/relationships/tags" Target="../tags/tag124.xml"/><Relationship Id="rId31" Type="http://schemas.openxmlformats.org/officeDocument/2006/relationships/tags" Target="../tags/tag136.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tags" Target="../tags/tag127.xml"/><Relationship Id="rId27" Type="http://schemas.openxmlformats.org/officeDocument/2006/relationships/tags" Target="../tags/tag132.xml"/><Relationship Id="rId30" Type="http://schemas.openxmlformats.org/officeDocument/2006/relationships/tags" Target="../tags/tag135.xml"/><Relationship Id="rId35" Type="http://schemas.openxmlformats.org/officeDocument/2006/relationships/notesSlide" Target="../notesSlides/notesSlide6.xml"/><Relationship Id="rId8" Type="http://schemas.openxmlformats.org/officeDocument/2006/relationships/tags" Target="../tags/tag113.xml"/><Relationship Id="rId3" Type="http://schemas.openxmlformats.org/officeDocument/2006/relationships/tags" Target="../tags/tag108.xml"/></Relationships>
</file>

<file path=ppt/slides/_rels/slide8.xml.rels><?xml version="1.0" encoding="UTF-8" standalone="yes"?>
<Relationships xmlns="http://schemas.openxmlformats.org/package/2006/relationships"><Relationship Id="rId26" Type="http://schemas.openxmlformats.org/officeDocument/2006/relationships/tags" Target="../tags/tag164.xml"/><Relationship Id="rId21" Type="http://schemas.openxmlformats.org/officeDocument/2006/relationships/tags" Target="../tags/tag159.xml"/><Relationship Id="rId42" Type="http://schemas.openxmlformats.org/officeDocument/2006/relationships/tags" Target="../tags/tag180.xml"/><Relationship Id="rId47" Type="http://schemas.openxmlformats.org/officeDocument/2006/relationships/tags" Target="../tags/tag185.xml"/><Relationship Id="rId63" Type="http://schemas.openxmlformats.org/officeDocument/2006/relationships/tags" Target="../tags/tag201.xml"/><Relationship Id="rId68" Type="http://schemas.openxmlformats.org/officeDocument/2006/relationships/tags" Target="../tags/tag206.xml"/><Relationship Id="rId2" Type="http://schemas.openxmlformats.org/officeDocument/2006/relationships/tags" Target="../tags/tag140.xml"/><Relationship Id="rId16" Type="http://schemas.openxmlformats.org/officeDocument/2006/relationships/tags" Target="../tags/tag154.xml"/><Relationship Id="rId29" Type="http://schemas.openxmlformats.org/officeDocument/2006/relationships/tags" Target="../tags/tag167.xml"/><Relationship Id="rId11" Type="http://schemas.openxmlformats.org/officeDocument/2006/relationships/tags" Target="../tags/tag149.xml"/><Relationship Id="rId24" Type="http://schemas.openxmlformats.org/officeDocument/2006/relationships/tags" Target="../tags/tag162.xml"/><Relationship Id="rId32" Type="http://schemas.openxmlformats.org/officeDocument/2006/relationships/tags" Target="../tags/tag170.xml"/><Relationship Id="rId37" Type="http://schemas.openxmlformats.org/officeDocument/2006/relationships/tags" Target="../tags/tag175.xml"/><Relationship Id="rId40" Type="http://schemas.openxmlformats.org/officeDocument/2006/relationships/tags" Target="../tags/tag178.xml"/><Relationship Id="rId45" Type="http://schemas.openxmlformats.org/officeDocument/2006/relationships/tags" Target="../tags/tag183.xml"/><Relationship Id="rId53" Type="http://schemas.openxmlformats.org/officeDocument/2006/relationships/tags" Target="../tags/tag191.xml"/><Relationship Id="rId58" Type="http://schemas.openxmlformats.org/officeDocument/2006/relationships/tags" Target="../tags/tag196.xml"/><Relationship Id="rId66" Type="http://schemas.openxmlformats.org/officeDocument/2006/relationships/tags" Target="../tags/tag204.xml"/><Relationship Id="rId74" Type="http://schemas.openxmlformats.org/officeDocument/2006/relationships/chart" Target="../charts/chart8.xml"/><Relationship Id="rId5" Type="http://schemas.openxmlformats.org/officeDocument/2006/relationships/tags" Target="../tags/tag143.xml"/><Relationship Id="rId61" Type="http://schemas.openxmlformats.org/officeDocument/2006/relationships/tags" Target="../tags/tag199.xml"/><Relationship Id="rId19" Type="http://schemas.openxmlformats.org/officeDocument/2006/relationships/tags" Target="../tags/tag157.xml"/><Relationship Id="rId14" Type="http://schemas.openxmlformats.org/officeDocument/2006/relationships/tags" Target="../tags/tag152.xml"/><Relationship Id="rId22" Type="http://schemas.openxmlformats.org/officeDocument/2006/relationships/tags" Target="../tags/tag160.xml"/><Relationship Id="rId27" Type="http://schemas.openxmlformats.org/officeDocument/2006/relationships/tags" Target="../tags/tag165.xml"/><Relationship Id="rId30" Type="http://schemas.openxmlformats.org/officeDocument/2006/relationships/tags" Target="../tags/tag168.xml"/><Relationship Id="rId35" Type="http://schemas.openxmlformats.org/officeDocument/2006/relationships/tags" Target="../tags/tag173.xml"/><Relationship Id="rId43" Type="http://schemas.openxmlformats.org/officeDocument/2006/relationships/tags" Target="../tags/tag181.xml"/><Relationship Id="rId48" Type="http://schemas.openxmlformats.org/officeDocument/2006/relationships/tags" Target="../tags/tag186.xml"/><Relationship Id="rId56" Type="http://schemas.openxmlformats.org/officeDocument/2006/relationships/tags" Target="../tags/tag194.xml"/><Relationship Id="rId64" Type="http://schemas.openxmlformats.org/officeDocument/2006/relationships/tags" Target="../tags/tag202.xml"/><Relationship Id="rId69" Type="http://schemas.openxmlformats.org/officeDocument/2006/relationships/tags" Target="../tags/tag207.xml"/><Relationship Id="rId8" Type="http://schemas.openxmlformats.org/officeDocument/2006/relationships/tags" Target="../tags/tag146.xml"/><Relationship Id="rId51" Type="http://schemas.openxmlformats.org/officeDocument/2006/relationships/tags" Target="../tags/tag189.xml"/><Relationship Id="rId72" Type="http://schemas.openxmlformats.org/officeDocument/2006/relationships/oleObject" Target="../embeddings/oleObject7.bin"/><Relationship Id="rId3" Type="http://schemas.openxmlformats.org/officeDocument/2006/relationships/tags" Target="../tags/tag141.xml"/><Relationship Id="rId12" Type="http://schemas.openxmlformats.org/officeDocument/2006/relationships/tags" Target="../tags/tag150.xml"/><Relationship Id="rId17" Type="http://schemas.openxmlformats.org/officeDocument/2006/relationships/tags" Target="../tags/tag155.xml"/><Relationship Id="rId25" Type="http://schemas.openxmlformats.org/officeDocument/2006/relationships/tags" Target="../tags/tag163.xml"/><Relationship Id="rId33" Type="http://schemas.openxmlformats.org/officeDocument/2006/relationships/tags" Target="../tags/tag171.xml"/><Relationship Id="rId38" Type="http://schemas.openxmlformats.org/officeDocument/2006/relationships/tags" Target="../tags/tag176.xml"/><Relationship Id="rId46" Type="http://schemas.openxmlformats.org/officeDocument/2006/relationships/tags" Target="../tags/tag184.xml"/><Relationship Id="rId59" Type="http://schemas.openxmlformats.org/officeDocument/2006/relationships/tags" Target="../tags/tag197.xml"/><Relationship Id="rId67" Type="http://schemas.openxmlformats.org/officeDocument/2006/relationships/tags" Target="../tags/tag205.xml"/><Relationship Id="rId20" Type="http://schemas.openxmlformats.org/officeDocument/2006/relationships/tags" Target="../tags/tag158.xml"/><Relationship Id="rId41" Type="http://schemas.openxmlformats.org/officeDocument/2006/relationships/tags" Target="../tags/tag179.xml"/><Relationship Id="rId54" Type="http://schemas.openxmlformats.org/officeDocument/2006/relationships/tags" Target="../tags/tag192.xml"/><Relationship Id="rId62" Type="http://schemas.openxmlformats.org/officeDocument/2006/relationships/tags" Target="../tags/tag200.xml"/><Relationship Id="rId70" Type="http://schemas.openxmlformats.org/officeDocument/2006/relationships/slideLayout" Target="../slideLayouts/slideLayout10.xml"/><Relationship Id="rId1" Type="http://schemas.openxmlformats.org/officeDocument/2006/relationships/tags" Target="../tags/tag139.xml"/><Relationship Id="rId6" Type="http://schemas.openxmlformats.org/officeDocument/2006/relationships/tags" Target="../tags/tag144.xml"/><Relationship Id="rId15" Type="http://schemas.openxmlformats.org/officeDocument/2006/relationships/tags" Target="../tags/tag153.xml"/><Relationship Id="rId23" Type="http://schemas.openxmlformats.org/officeDocument/2006/relationships/tags" Target="../tags/tag161.xml"/><Relationship Id="rId28" Type="http://schemas.openxmlformats.org/officeDocument/2006/relationships/tags" Target="../tags/tag166.xml"/><Relationship Id="rId36" Type="http://schemas.openxmlformats.org/officeDocument/2006/relationships/tags" Target="../tags/tag174.xml"/><Relationship Id="rId49" Type="http://schemas.openxmlformats.org/officeDocument/2006/relationships/tags" Target="../tags/tag187.xml"/><Relationship Id="rId57" Type="http://schemas.openxmlformats.org/officeDocument/2006/relationships/tags" Target="../tags/tag195.xml"/><Relationship Id="rId10" Type="http://schemas.openxmlformats.org/officeDocument/2006/relationships/tags" Target="../tags/tag148.xml"/><Relationship Id="rId31" Type="http://schemas.openxmlformats.org/officeDocument/2006/relationships/tags" Target="../tags/tag169.xml"/><Relationship Id="rId44" Type="http://schemas.openxmlformats.org/officeDocument/2006/relationships/tags" Target="../tags/tag182.xml"/><Relationship Id="rId52" Type="http://schemas.openxmlformats.org/officeDocument/2006/relationships/tags" Target="../tags/tag190.xml"/><Relationship Id="rId60" Type="http://schemas.openxmlformats.org/officeDocument/2006/relationships/tags" Target="../tags/tag198.xml"/><Relationship Id="rId65" Type="http://schemas.openxmlformats.org/officeDocument/2006/relationships/tags" Target="../tags/tag203.xml"/><Relationship Id="rId73" Type="http://schemas.openxmlformats.org/officeDocument/2006/relationships/image" Target="../media/image22.emf"/><Relationship Id="rId4" Type="http://schemas.openxmlformats.org/officeDocument/2006/relationships/tags" Target="../tags/tag142.xml"/><Relationship Id="rId9" Type="http://schemas.openxmlformats.org/officeDocument/2006/relationships/tags" Target="../tags/tag147.xml"/><Relationship Id="rId13" Type="http://schemas.openxmlformats.org/officeDocument/2006/relationships/tags" Target="../tags/tag151.xml"/><Relationship Id="rId18" Type="http://schemas.openxmlformats.org/officeDocument/2006/relationships/tags" Target="../tags/tag156.xml"/><Relationship Id="rId39" Type="http://schemas.openxmlformats.org/officeDocument/2006/relationships/tags" Target="../tags/tag177.xml"/><Relationship Id="rId34" Type="http://schemas.openxmlformats.org/officeDocument/2006/relationships/tags" Target="../tags/tag172.xml"/><Relationship Id="rId50" Type="http://schemas.openxmlformats.org/officeDocument/2006/relationships/tags" Target="../tags/tag188.xml"/><Relationship Id="rId55" Type="http://schemas.openxmlformats.org/officeDocument/2006/relationships/tags" Target="../tags/tag193.xml"/><Relationship Id="rId7" Type="http://schemas.openxmlformats.org/officeDocument/2006/relationships/tags" Target="../tags/tag145.xml"/><Relationship Id="rId71"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51C5D7-EBA3-2D90-C751-2E83C27B5CBA}"/>
              </a:ext>
            </a:extLst>
          </p:cNvPr>
          <p:cNvSpPr>
            <a:spLocks noGrp="1"/>
          </p:cNvSpPr>
          <p:nvPr>
            <p:ph type="body" sz="quarter" idx="15"/>
          </p:nvPr>
        </p:nvSpPr>
        <p:spPr>
          <a:xfrm>
            <a:off x="4282681" y="5428317"/>
            <a:ext cx="2566988" cy="730530"/>
          </a:xfrm>
        </p:spPr>
        <p:txBody>
          <a:bodyPr vert="horz" lIns="91440" tIns="45720" rIns="91440" bIns="45720" rtlCol="0" anchor="t">
            <a:normAutofit/>
          </a:bodyPr>
          <a:lstStyle/>
          <a:p>
            <a:pPr>
              <a:lnSpc>
                <a:spcPct val="150000"/>
              </a:lnSpc>
            </a:pPr>
            <a:r>
              <a:rPr lang="en-US">
                <a:latin typeface="Poppins"/>
                <a:cs typeface="Poppins"/>
              </a:rPr>
              <a:t>March 2023</a:t>
            </a:r>
            <a:endParaRPr lang="en-NO">
              <a:latin typeface="Poppins"/>
              <a:cs typeface="Poppins"/>
            </a:endParaRPr>
          </a:p>
        </p:txBody>
      </p:sp>
      <p:sp>
        <p:nvSpPr>
          <p:cNvPr id="4" name="Title 3">
            <a:extLst>
              <a:ext uri="{FF2B5EF4-FFF2-40B4-BE49-F238E27FC236}">
                <a16:creationId xmlns:a16="http://schemas.microsoft.com/office/drawing/2014/main" id="{A0FAADDE-5761-884D-69A9-F30D0A3DA3A8}"/>
              </a:ext>
            </a:extLst>
          </p:cNvPr>
          <p:cNvSpPr>
            <a:spLocks noGrp="1"/>
          </p:cNvSpPr>
          <p:nvPr>
            <p:ph type="ctrTitle"/>
          </p:nvPr>
        </p:nvSpPr>
        <p:spPr/>
        <p:txBody>
          <a:bodyPr anchor="ctr"/>
          <a:lstStyle/>
          <a:p>
            <a:r>
              <a:rPr lang="en-NO" sz="3500">
                <a:solidFill>
                  <a:srgbClr val="BD10E0"/>
                </a:solidFill>
              </a:rPr>
              <a:t>Air Freight</a:t>
            </a:r>
          </a:p>
        </p:txBody>
      </p:sp>
      <p:sp>
        <p:nvSpPr>
          <p:cNvPr id="5" name="Subtitle 4">
            <a:extLst>
              <a:ext uri="{FF2B5EF4-FFF2-40B4-BE49-F238E27FC236}">
                <a16:creationId xmlns:a16="http://schemas.microsoft.com/office/drawing/2014/main" id="{7983BBFE-19B5-630B-0F89-3AD8ECF9FF96}"/>
              </a:ext>
            </a:extLst>
          </p:cNvPr>
          <p:cNvSpPr>
            <a:spLocks noGrp="1"/>
          </p:cNvSpPr>
          <p:nvPr>
            <p:ph type="subTitle" idx="1"/>
          </p:nvPr>
        </p:nvSpPr>
        <p:spPr>
          <a:xfrm>
            <a:off x="4302219" y="3550859"/>
            <a:ext cx="7483381" cy="730530"/>
          </a:xfrm>
        </p:spPr>
        <p:txBody>
          <a:bodyPr vert="horz" lIns="91440" tIns="45720" rIns="91440" bIns="45720" rtlCol="0" anchor="t">
            <a:normAutofit/>
          </a:bodyPr>
          <a:lstStyle/>
          <a:p>
            <a:r>
              <a:rPr lang="en-US" sz="1800" b="0">
                <a:latin typeface="Poppins"/>
                <a:cs typeface="Poppins SemiBold"/>
              </a:rPr>
              <a:t>State of the Market Webinar</a:t>
            </a:r>
            <a:endParaRPr lang="en-US" sz="1800" b="0">
              <a:latin typeface="Poppins"/>
            </a:endParaRPr>
          </a:p>
          <a:p>
            <a:endParaRPr lang="en-NO" sz="1800"/>
          </a:p>
        </p:txBody>
      </p:sp>
      <p:pic>
        <p:nvPicPr>
          <p:cNvPr id="6" name="Picture 5">
            <a:extLst>
              <a:ext uri="{FF2B5EF4-FFF2-40B4-BE49-F238E27FC236}">
                <a16:creationId xmlns:a16="http://schemas.microsoft.com/office/drawing/2014/main" id="{AF392A6F-7DDD-844D-F714-4F821F6219F4}"/>
              </a:ext>
            </a:extLst>
          </p:cNvPr>
          <p:cNvPicPr>
            <a:picLocks noChangeAspect="1"/>
          </p:cNvPicPr>
          <p:nvPr/>
        </p:nvPicPr>
        <p:blipFill>
          <a:blip r:embed="rId3"/>
          <a:srcRect/>
          <a:stretch/>
        </p:blipFill>
        <p:spPr>
          <a:xfrm>
            <a:off x="4302219" y="1531190"/>
            <a:ext cx="5492899" cy="1044207"/>
          </a:xfrm>
          <a:prstGeom prst="rect">
            <a:avLst/>
          </a:prstGeom>
        </p:spPr>
      </p:pic>
      <p:sp>
        <p:nvSpPr>
          <p:cNvPr id="7" name="Subtitle 4">
            <a:extLst>
              <a:ext uri="{FF2B5EF4-FFF2-40B4-BE49-F238E27FC236}">
                <a16:creationId xmlns:a16="http://schemas.microsoft.com/office/drawing/2014/main" id="{42CC6F60-7061-52F2-AADD-A44A534602DF}"/>
              </a:ext>
            </a:extLst>
          </p:cNvPr>
          <p:cNvSpPr txBox="1">
            <a:spLocks/>
          </p:cNvSpPr>
          <p:nvPr/>
        </p:nvSpPr>
        <p:spPr>
          <a:xfrm>
            <a:off x="4304824" y="4400131"/>
            <a:ext cx="7483381" cy="730530"/>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400" b="1" i="0" kern="1200">
                <a:solidFill>
                  <a:schemeClr val="bg1"/>
                </a:solidFill>
                <a:latin typeface="Poppins SemiBold" pitchFamily="2" charset="77"/>
                <a:ea typeface="+mn-ea"/>
                <a:cs typeface="Poppins SemiBold" pitchFamily="2" charset="77"/>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10183A"/>
                </a:solidFill>
                <a:latin typeface="Poppins" pitchFamily="2" charset="77"/>
                <a:ea typeface="+mn-ea"/>
                <a:cs typeface="Poppins" pitchFamily="2" charset="77"/>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10183A"/>
                </a:solidFill>
                <a:latin typeface="Poppins" pitchFamily="2" charset="77"/>
                <a:ea typeface="+mn-ea"/>
                <a:cs typeface="Poppins" pitchFamily="2" charset="77"/>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10183A"/>
                </a:solidFill>
                <a:latin typeface="Poppins" pitchFamily="2" charset="77"/>
                <a:ea typeface="+mn-ea"/>
                <a:cs typeface="Poppins" pitchFamily="2" charset="77"/>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10183A"/>
                </a:solidFill>
                <a:latin typeface="Poppins" pitchFamily="2" charset="77"/>
                <a:ea typeface="+mn-ea"/>
                <a:cs typeface="Poppins" pitchFamily="2" charset="77"/>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NO" sz="1800"/>
          </a:p>
        </p:txBody>
      </p:sp>
    </p:spTree>
    <p:extLst>
      <p:ext uri="{BB962C8B-B14F-4D97-AF65-F5344CB8AC3E}">
        <p14:creationId xmlns:p14="http://schemas.microsoft.com/office/powerpoint/2010/main" val="14120107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015DFAEE-F78A-C272-92CE-F25C3417CAD0}"/>
              </a:ext>
            </a:extLst>
          </p:cNvPr>
          <p:cNvGraphicFramePr>
            <a:graphicFrameLocks noChangeAspect="1"/>
          </p:cNvGraphicFramePr>
          <p:nvPr>
            <p:custDataLst>
              <p:tags r:id="rId1"/>
            </p:custDataLst>
            <p:extLst>
              <p:ext uri="{D42A27DB-BD31-4B8C-83A1-F6EECF244321}">
                <p14:modId xmlns:p14="http://schemas.microsoft.com/office/powerpoint/2010/main" val="2497330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8" name="Object 27" hidden="1">
                        <a:extLst>
                          <a:ext uri="{FF2B5EF4-FFF2-40B4-BE49-F238E27FC236}">
                            <a16:creationId xmlns:a16="http://schemas.microsoft.com/office/drawing/2014/main" id="{015DFAEE-F78A-C272-92CE-F25C3417CA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Buying cargo based on gut feeling…">
            <a:extLst>
              <a:ext uri="{FF2B5EF4-FFF2-40B4-BE49-F238E27FC236}">
                <a16:creationId xmlns:a16="http://schemas.microsoft.com/office/drawing/2014/main" id="{D50B6CAA-A666-5524-85F7-444C607F0970}"/>
              </a:ext>
            </a:extLst>
          </p:cNvPr>
          <p:cNvSpPr txBox="1">
            <a:spLocks/>
          </p:cNvSpPr>
          <p:nvPr/>
        </p:nvSpPr>
        <p:spPr>
          <a:xfrm>
            <a:off x="763215" y="491067"/>
            <a:ext cx="10973514" cy="80750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457200">
              <a:lnSpc>
                <a:spcPct val="100000"/>
              </a:lnSpc>
              <a:buFont typeface="Arial" panose="020B0604020202020204" pitchFamily="34" charset="0"/>
              <a:buNone/>
              <a:defRPr sz="6000">
                <a:solidFill>
                  <a:srgbClr val="1D63FF"/>
                </a:solidFill>
              </a:defRPr>
            </a:pPr>
            <a:r>
              <a:rPr lang="en-US" sz="2400">
                <a:hlinkClick r:id="rId6"/>
              </a:rPr>
              <a:t>Trade Lane - Benchmarks | Xeneta</a:t>
            </a:r>
            <a:endParaRPr lang="en-US" sz="2400">
              <a:solidFill>
                <a:srgbClr val="1D63FF"/>
              </a:solidFill>
              <a:latin typeface="Poppins" panose="00000500000000000000" pitchFamily="2" charset="0"/>
              <a:cs typeface="Poppins" panose="00000500000000000000" pitchFamily="2" charset="0"/>
            </a:endParaRPr>
          </a:p>
        </p:txBody>
      </p:sp>
      <p:sp>
        <p:nvSpPr>
          <p:cNvPr id="43" name="Text Placeholder 1">
            <a:extLst>
              <a:ext uri="{FF2B5EF4-FFF2-40B4-BE49-F238E27FC236}">
                <a16:creationId xmlns:a16="http://schemas.microsoft.com/office/drawing/2014/main" id="{C58C7321-3BF7-61DC-5B1A-AD075E56AE05}"/>
              </a:ext>
            </a:extLst>
          </p:cNvPr>
          <p:cNvSpPr txBox="1">
            <a:spLocks/>
          </p:cNvSpPr>
          <p:nvPr/>
        </p:nvSpPr>
        <p:spPr>
          <a:xfrm>
            <a:off x="600360" y="6397771"/>
            <a:ext cx="8391525" cy="469900"/>
          </a:xfrm>
          <a:prstGeom prst="rect">
            <a:avLst/>
          </a:prstGeom>
        </p:spPr>
        <p:txBody>
          <a:bodyPr vert="horz" lIns="0" tIns="45720" rIns="9144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a:latin typeface="Poppins" panose="00000500000000000000" pitchFamily="2" charset="0"/>
                <a:cs typeface="Poppins" panose="00000500000000000000" pitchFamily="2" charset="0"/>
              </a:rPr>
              <a:t>Source: CLIVE Data Services, now part of Xeneta</a:t>
            </a:r>
          </a:p>
        </p:txBody>
      </p:sp>
      <p:pic>
        <p:nvPicPr>
          <p:cNvPr id="3" name="Picture 2">
            <a:extLst>
              <a:ext uri="{FF2B5EF4-FFF2-40B4-BE49-F238E27FC236}">
                <a16:creationId xmlns:a16="http://schemas.microsoft.com/office/drawing/2014/main" id="{80A22253-20F6-522A-2B88-2D6CC4F1C48A}"/>
              </a:ext>
            </a:extLst>
          </p:cNvPr>
          <p:cNvPicPr>
            <a:picLocks noChangeAspect="1"/>
          </p:cNvPicPr>
          <p:nvPr/>
        </p:nvPicPr>
        <p:blipFill>
          <a:blip r:embed="rId7"/>
          <a:stretch>
            <a:fillRect/>
          </a:stretch>
        </p:blipFill>
        <p:spPr>
          <a:xfrm>
            <a:off x="510278" y="1298576"/>
            <a:ext cx="11049831" cy="5486400"/>
          </a:xfrm>
          <a:prstGeom prst="rect">
            <a:avLst/>
          </a:prstGeom>
        </p:spPr>
      </p:pic>
    </p:spTree>
    <p:extLst>
      <p:ext uri="{BB962C8B-B14F-4D97-AF65-F5344CB8AC3E}">
        <p14:creationId xmlns:p14="http://schemas.microsoft.com/office/powerpoint/2010/main" val="574567390"/>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015DFAEE-F78A-C272-92CE-F25C3417CA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8" name="Object 27" hidden="1">
                        <a:extLst>
                          <a:ext uri="{FF2B5EF4-FFF2-40B4-BE49-F238E27FC236}">
                            <a16:creationId xmlns:a16="http://schemas.microsoft.com/office/drawing/2014/main" id="{015DFAEE-F78A-C272-92CE-F25C3417CA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Buying cargo based on gut feeling…">
            <a:extLst>
              <a:ext uri="{FF2B5EF4-FFF2-40B4-BE49-F238E27FC236}">
                <a16:creationId xmlns:a16="http://schemas.microsoft.com/office/drawing/2014/main" id="{D50B6CAA-A666-5524-85F7-444C607F0970}"/>
              </a:ext>
            </a:extLst>
          </p:cNvPr>
          <p:cNvSpPr txBox="1">
            <a:spLocks/>
          </p:cNvSpPr>
          <p:nvPr/>
        </p:nvSpPr>
        <p:spPr>
          <a:xfrm>
            <a:off x="763215" y="491067"/>
            <a:ext cx="10973514" cy="80750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457200">
              <a:lnSpc>
                <a:spcPct val="100000"/>
              </a:lnSpc>
              <a:buFont typeface="Arial" panose="020B0604020202020204" pitchFamily="34" charset="0"/>
              <a:buNone/>
              <a:defRPr sz="6000">
                <a:solidFill>
                  <a:srgbClr val="1D63FF"/>
                </a:solidFill>
              </a:defRPr>
            </a:pPr>
            <a:r>
              <a:rPr lang="en-US" sz="2400">
                <a:hlinkClick r:id="rId6"/>
              </a:rPr>
              <a:t>Trade Lane - Benchmarks | Xeneta</a:t>
            </a:r>
            <a:endParaRPr lang="en-US" sz="2400">
              <a:solidFill>
                <a:srgbClr val="1D63FF"/>
              </a:solidFill>
              <a:latin typeface="Poppins" panose="00000500000000000000" pitchFamily="2" charset="0"/>
              <a:cs typeface="Poppins" panose="00000500000000000000" pitchFamily="2" charset="0"/>
            </a:endParaRPr>
          </a:p>
        </p:txBody>
      </p:sp>
      <p:sp>
        <p:nvSpPr>
          <p:cNvPr id="43" name="Text Placeholder 1">
            <a:extLst>
              <a:ext uri="{FF2B5EF4-FFF2-40B4-BE49-F238E27FC236}">
                <a16:creationId xmlns:a16="http://schemas.microsoft.com/office/drawing/2014/main" id="{C58C7321-3BF7-61DC-5B1A-AD075E56AE05}"/>
              </a:ext>
            </a:extLst>
          </p:cNvPr>
          <p:cNvSpPr txBox="1">
            <a:spLocks/>
          </p:cNvSpPr>
          <p:nvPr/>
        </p:nvSpPr>
        <p:spPr>
          <a:xfrm>
            <a:off x="600360" y="6397771"/>
            <a:ext cx="8391525" cy="469900"/>
          </a:xfrm>
          <a:prstGeom prst="rect">
            <a:avLst/>
          </a:prstGeom>
        </p:spPr>
        <p:txBody>
          <a:bodyPr vert="horz" lIns="0" tIns="45720" rIns="9144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a:latin typeface="Poppins" panose="00000500000000000000" pitchFamily="2" charset="0"/>
                <a:cs typeface="Poppins" panose="00000500000000000000" pitchFamily="2" charset="0"/>
              </a:rPr>
              <a:t>Source: CLIVE Data Services, now part of Xeneta</a:t>
            </a:r>
          </a:p>
        </p:txBody>
      </p:sp>
      <p:pic>
        <p:nvPicPr>
          <p:cNvPr id="4" name="Picture 3">
            <a:extLst>
              <a:ext uri="{FF2B5EF4-FFF2-40B4-BE49-F238E27FC236}">
                <a16:creationId xmlns:a16="http://schemas.microsoft.com/office/drawing/2014/main" id="{24DCD867-8755-A03C-0FEC-4ED45ECE3BED}"/>
              </a:ext>
            </a:extLst>
          </p:cNvPr>
          <p:cNvPicPr>
            <a:picLocks noChangeAspect="1"/>
          </p:cNvPicPr>
          <p:nvPr/>
        </p:nvPicPr>
        <p:blipFill>
          <a:blip r:embed="rId7"/>
          <a:stretch>
            <a:fillRect/>
          </a:stretch>
        </p:blipFill>
        <p:spPr>
          <a:xfrm>
            <a:off x="201226" y="1188720"/>
            <a:ext cx="11390414" cy="5669280"/>
          </a:xfrm>
          <a:prstGeom prst="rect">
            <a:avLst/>
          </a:prstGeom>
        </p:spPr>
      </p:pic>
    </p:spTree>
    <p:extLst>
      <p:ext uri="{BB962C8B-B14F-4D97-AF65-F5344CB8AC3E}">
        <p14:creationId xmlns:p14="http://schemas.microsoft.com/office/powerpoint/2010/main" val="1499735398"/>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F50791-46A5-5C3F-5884-B5FFFDE67B6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19" y="12093"/>
            <a:ext cx="6096000" cy="6858000"/>
          </a:xfrm>
          <a:prstGeom prst="rect">
            <a:avLst/>
          </a:prstGeom>
        </p:spPr>
      </p:pic>
      <p:pic>
        <p:nvPicPr>
          <p:cNvPr id="252" name="Image" descr="Image"/>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28471" y="495416"/>
            <a:ext cx="4268270" cy="4459614"/>
          </a:xfrm>
          <a:prstGeom prst="rect">
            <a:avLst/>
          </a:prstGeom>
          <a:ln w="12700">
            <a:miter lim="400000"/>
          </a:ln>
        </p:spPr>
      </p:pic>
      <p:sp>
        <p:nvSpPr>
          <p:cNvPr id="253" name="TextBox 26"/>
          <p:cNvSpPr txBox="1"/>
          <p:nvPr/>
        </p:nvSpPr>
        <p:spPr>
          <a:xfrm>
            <a:off x="1368732" y="5087634"/>
            <a:ext cx="3197307" cy="26161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tIns="45720" bIns="45720">
            <a:spAutoFit/>
          </a:bodyPr>
          <a:lstStyle>
            <a:lvl1pPr defTabSz="1828800">
              <a:defRPr sz="1800" i="1">
                <a:solidFill>
                  <a:srgbClr val="FFFFFF"/>
                </a:solidFill>
              </a:defRPr>
            </a:lvl1pPr>
          </a:lstStyle>
          <a:p>
            <a:pPr algn="ctr"/>
            <a:r>
              <a:rPr sz="1100">
                <a:latin typeface="Poppins" pitchFamily="2" charset="77"/>
                <a:cs typeface="Poppins" pitchFamily="2" charset="77"/>
              </a:rPr>
              <a:t>Crowdsourced from our customers</a:t>
            </a:r>
          </a:p>
        </p:txBody>
      </p:sp>
      <p:grpSp>
        <p:nvGrpSpPr>
          <p:cNvPr id="257" name="Group"/>
          <p:cNvGrpSpPr/>
          <p:nvPr/>
        </p:nvGrpSpPr>
        <p:grpSpPr>
          <a:xfrm>
            <a:off x="6852891" y="863041"/>
            <a:ext cx="1703217" cy="999726"/>
            <a:chOff x="0" y="0"/>
            <a:chExt cx="3406434" cy="1999449"/>
          </a:xfrm>
        </p:grpSpPr>
        <p:sp>
          <p:nvSpPr>
            <p:cNvPr id="254" name="Rounded Rectangle"/>
            <p:cNvSpPr/>
            <p:nvPr/>
          </p:nvSpPr>
          <p:spPr>
            <a:xfrm>
              <a:off x="0" y="0"/>
              <a:ext cx="3406434" cy="1999449"/>
            </a:xfrm>
            <a:prstGeom prst="roundRect">
              <a:avLst>
                <a:gd name="adj" fmla="val 13674"/>
              </a:avLst>
            </a:prstGeom>
            <a:gradFill flip="none" rotWithShape="1">
              <a:gsLst>
                <a:gs pos="0">
                  <a:srgbClr val="3262F6"/>
                </a:gs>
                <a:gs pos="66133">
                  <a:srgbClr val="7046E7"/>
                </a:gs>
                <a:gs pos="100000">
                  <a:srgbClr val="AD29D8"/>
                </a:gs>
              </a:gsLst>
              <a:lin ang="2700000" scaled="1"/>
              <a:tileRect/>
            </a:gradFill>
            <a:ln w="12700" cap="flat">
              <a:noFill/>
              <a:miter lim="400000"/>
            </a:ln>
            <a:effectLst/>
          </p:spPr>
          <p:txBody>
            <a:bodyPr wrap="square" lIns="25400" tIns="25400" rIns="25400" bIns="25400" numCol="1" anchor="ctr">
              <a:noAutofit/>
            </a:bodyP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255" name="2.5 mn+"/>
            <p:cNvSpPr txBox="1"/>
            <p:nvPr/>
          </p:nvSpPr>
          <p:spPr>
            <a:xfrm>
              <a:off x="97486" y="409733"/>
              <a:ext cx="3279196" cy="899185"/>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noAutofit/>
            </a:bodyPr>
            <a:lstStyle>
              <a:lvl1pPr defTabSz="825500">
                <a:defRPr sz="7000" b="1">
                  <a:solidFill>
                    <a:srgbClr val="FFFFFF"/>
                  </a:solidFill>
                  <a:latin typeface="Roboto"/>
                  <a:ea typeface="Roboto"/>
                  <a:cs typeface="Roboto"/>
                  <a:sym typeface="Roboto"/>
                </a:defRPr>
              </a:lvl1pPr>
            </a:lstStyle>
            <a:p>
              <a:pPr algn="ctr"/>
              <a:r>
                <a:rPr sz="3200">
                  <a:latin typeface="Poppins" pitchFamily="2" charset="77"/>
                  <a:cs typeface="Poppins" pitchFamily="2" charset="77"/>
                </a:rPr>
                <a:t>300m+</a:t>
              </a:r>
            </a:p>
          </p:txBody>
        </p:sp>
        <p:sp>
          <p:nvSpPr>
            <p:cNvPr id="256" name="2.5 million+ rates used for calculation at any point in time"/>
            <p:cNvSpPr txBox="1"/>
            <p:nvPr/>
          </p:nvSpPr>
          <p:spPr>
            <a:xfrm>
              <a:off x="208038" y="1210670"/>
              <a:ext cx="2990354" cy="669607"/>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noAutofit/>
            </a:bodyPr>
            <a:lstStyle>
              <a:lvl1pPr defTabSz="825500">
                <a:lnSpc>
                  <a:spcPct val="150000"/>
                </a:lnSpc>
                <a:defRPr sz="1800">
                  <a:solidFill>
                    <a:srgbClr val="FFFFFF"/>
                  </a:solidFill>
                  <a:latin typeface="Roboto Light"/>
                  <a:ea typeface="Roboto Light"/>
                  <a:cs typeface="Roboto Light"/>
                  <a:sym typeface="Roboto Light"/>
                </a:defRPr>
              </a:lvl1pPr>
            </a:lstStyle>
            <a:p>
              <a:pPr algn="ctr"/>
              <a:r>
                <a:rPr sz="900">
                  <a:latin typeface="Poppins" pitchFamily="2" charset="77"/>
                  <a:cs typeface="Poppins" pitchFamily="2" charset="77"/>
                </a:rPr>
                <a:t>rates used for calculation</a:t>
              </a:r>
            </a:p>
          </p:txBody>
        </p:sp>
      </p:grpSp>
      <p:grpSp>
        <p:nvGrpSpPr>
          <p:cNvPr id="261" name="Group"/>
          <p:cNvGrpSpPr/>
          <p:nvPr/>
        </p:nvGrpSpPr>
        <p:grpSpPr>
          <a:xfrm>
            <a:off x="6852891" y="3037772"/>
            <a:ext cx="1703218" cy="999726"/>
            <a:chOff x="0" y="0"/>
            <a:chExt cx="3406434" cy="1999449"/>
          </a:xfrm>
        </p:grpSpPr>
        <p:sp>
          <p:nvSpPr>
            <p:cNvPr id="258" name="Rounded Rectangle"/>
            <p:cNvSpPr/>
            <p:nvPr/>
          </p:nvSpPr>
          <p:spPr>
            <a:xfrm>
              <a:off x="0" y="0"/>
              <a:ext cx="3406434" cy="1999449"/>
            </a:xfrm>
            <a:prstGeom prst="roundRect">
              <a:avLst>
                <a:gd name="adj" fmla="val 16325"/>
              </a:avLst>
            </a:prstGeom>
            <a:gradFill flip="none" rotWithShape="1">
              <a:gsLst>
                <a:gs pos="0">
                  <a:srgbClr val="3262F6"/>
                </a:gs>
                <a:gs pos="66133">
                  <a:srgbClr val="7046E7"/>
                </a:gs>
                <a:gs pos="100000">
                  <a:srgbClr val="AD29D8"/>
                </a:gs>
              </a:gsLst>
              <a:lin ang="2700000" scaled="1"/>
              <a:tileRect/>
            </a:gradFill>
            <a:ln w="12700" cap="flat">
              <a:noFill/>
              <a:miter lim="400000"/>
            </a:ln>
            <a:effectLst/>
          </p:spPr>
          <p:txBody>
            <a:bodyPr wrap="square" lIns="25400" tIns="25400" rIns="25400" bIns="25400" numCol="1" anchor="ctr">
              <a:noAutofit/>
            </a:bodyP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259" name="2.5 mn+"/>
            <p:cNvSpPr txBox="1"/>
            <p:nvPr/>
          </p:nvSpPr>
          <p:spPr>
            <a:xfrm>
              <a:off x="63620" y="376667"/>
              <a:ext cx="3279194" cy="899187"/>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noAutofit/>
            </a:bodyPr>
            <a:lstStyle>
              <a:lvl1pPr defTabSz="825500">
                <a:defRPr sz="7000" b="1">
                  <a:solidFill>
                    <a:srgbClr val="FFFFFF"/>
                  </a:solidFill>
                  <a:latin typeface="Roboto"/>
                  <a:ea typeface="Roboto"/>
                  <a:cs typeface="Roboto"/>
                  <a:sym typeface="Roboto"/>
                </a:defRPr>
              </a:lvl1pPr>
            </a:lstStyle>
            <a:p>
              <a:pPr algn="ctr"/>
              <a:r>
                <a:rPr sz="3500">
                  <a:latin typeface="Poppins" pitchFamily="2" charset="77"/>
                  <a:cs typeface="Poppins" pitchFamily="2" charset="77"/>
                </a:rPr>
                <a:t>10m+</a:t>
              </a:r>
            </a:p>
          </p:txBody>
        </p:sp>
        <p:sp>
          <p:nvSpPr>
            <p:cNvPr id="260" name="2.5 million+ rates used for calculation at any point in time"/>
            <p:cNvSpPr txBox="1"/>
            <p:nvPr/>
          </p:nvSpPr>
          <p:spPr>
            <a:xfrm>
              <a:off x="451608" y="1236468"/>
              <a:ext cx="2503211" cy="474359"/>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noAutofit/>
            </a:bodyPr>
            <a:lstStyle>
              <a:lvl1pPr defTabSz="825500">
                <a:lnSpc>
                  <a:spcPct val="150000"/>
                </a:lnSpc>
                <a:defRPr sz="1800">
                  <a:solidFill>
                    <a:srgbClr val="FFFFFF"/>
                  </a:solidFill>
                  <a:latin typeface="Roboto Light"/>
                  <a:ea typeface="Roboto Light"/>
                  <a:cs typeface="Roboto Light"/>
                  <a:sym typeface="Roboto Light"/>
                </a:defRPr>
              </a:lvl1pPr>
            </a:lstStyle>
            <a:p>
              <a:r>
                <a:rPr sz="900">
                  <a:latin typeface="Poppins" pitchFamily="2" charset="77"/>
                  <a:cs typeface="Poppins" pitchFamily="2" charset="77"/>
                </a:rPr>
                <a:t>new rates per month</a:t>
              </a:r>
            </a:p>
          </p:txBody>
        </p:sp>
      </p:grpSp>
      <p:grpSp>
        <p:nvGrpSpPr>
          <p:cNvPr id="265" name="Group"/>
          <p:cNvGrpSpPr/>
          <p:nvPr/>
        </p:nvGrpSpPr>
        <p:grpSpPr>
          <a:xfrm>
            <a:off x="9902836" y="1266362"/>
            <a:ext cx="1703219" cy="999726"/>
            <a:chOff x="0" y="0"/>
            <a:chExt cx="3406434" cy="1999449"/>
          </a:xfrm>
        </p:grpSpPr>
        <p:sp>
          <p:nvSpPr>
            <p:cNvPr id="262" name="Rounded Rectangle"/>
            <p:cNvSpPr/>
            <p:nvPr/>
          </p:nvSpPr>
          <p:spPr>
            <a:xfrm>
              <a:off x="0" y="0"/>
              <a:ext cx="3406434" cy="1999449"/>
            </a:xfrm>
            <a:prstGeom prst="roundRect">
              <a:avLst>
                <a:gd name="adj" fmla="val 16326"/>
              </a:avLst>
            </a:prstGeom>
            <a:gradFill flip="none" rotWithShape="1">
              <a:gsLst>
                <a:gs pos="0">
                  <a:srgbClr val="3262F6"/>
                </a:gs>
                <a:gs pos="66133">
                  <a:srgbClr val="7046E7"/>
                </a:gs>
                <a:gs pos="100000">
                  <a:srgbClr val="AD29D8"/>
                </a:gs>
              </a:gsLst>
              <a:lin ang="2700000" scaled="1"/>
              <a:tileRect/>
            </a:gradFill>
            <a:ln w="12700" cap="flat">
              <a:noFill/>
              <a:miter lim="400000"/>
            </a:ln>
            <a:effectLst/>
          </p:spPr>
          <p:txBody>
            <a:bodyPr wrap="square" lIns="25400" tIns="25400" rIns="25400" bIns="25400" numCol="1" anchor="ctr">
              <a:noAutofit/>
            </a:bodyP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263" name="2.5 mn+"/>
            <p:cNvSpPr txBox="1"/>
            <p:nvPr/>
          </p:nvSpPr>
          <p:spPr>
            <a:xfrm>
              <a:off x="63620" y="434007"/>
              <a:ext cx="3279194" cy="899187"/>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noAutofit/>
            </a:bodyPr>
            <a:lstStyle>
              <a:lvl1pPr defTabSz="825500">
                <a:defRPr sz="7000" b="1">
                  <a:solidFill>
                    <a:srgbClr val="FFFFFF"/>
                  </a:solidFill>
                  <a:latin typeface="Roboto"/>
                  <a:ea typeface="Roboto"/>
                  <a:cs typeface="Roboto"/>
                  <a:sym typeface="Roboto"/>
                </a:defRPr>
              </a:lvl1pPr>
            </a:lstStyle>
            <a:p>
              <a:pPr algn="ctr"/>
              <a:r>
                <a:rPr sz="3500">
                  <a:latin typeface="Poppins" pitchFamily="2" charset="77"/>
                  <a:cs typeface="Poppins" pitchFamily="2" charset="77"/>
                </a:rPr>
                <a:t>160k+</a:t>
              </a:r>
            </a:p>
          </p:txBody>
        </p:sp>
        <p:sp>
          <p:nvSpPr>
            <p:cNvPr id="264" name="2.5 million+ rates used for calculation at any point in time"/>
            <p:cNvSpPr txBox="1"/>
            <p:nvPr/>
          </p:nvSpPr>
          <p:spPr>
            <a:xfrm>
              <a:off x="751255" y="1253880"/>
              <a:ext cx="2052178" cy="449705"/>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noAutofit/>
            </a:bodyPr>
            <a:lstStyle>
              <a:lvl1pPr defTabSz="825500">
                <a:lnSpc>
                  <a:spcPct val="150000"/>
                </a:lnSpc>
                <a:defRPr sz="1800">
                  <a:solidFill>
                    <a:srgbClr val="FFFFFF"/>
                  </a:solidFill>
                  <a:latin typeface="Roboto Light"/>
                  <a:ea typeface="Roboto Light"/>
                  <a:cs typeface="Roboto Light"/>
                  <a:sym typeface="Roboto Light"/>
                </a:defRPr>
              </a:lvl1pPr>
            </a:lstStyle>
            <a:p>
              <a:r>
                <a:rPr sz="900">
                  <a:latin typeface="Poppins" pitchFamily="2" charset="77"/>
                  <a:cs typeface="Poppins" pitchFamily="2" charset="77"/>
                </a:rPr>
                <a:t>port to port pairs</a:t>
              </a:r>
            </a:p>
          </p:txBody>
        </p:sp>
      </p:grpSp>
      <p:grpSp>
        <p:nvGrpSpPr>
          <p:cNvPr id="269" name="Group"/>
          <p:cNvGrpSpPr/>
          <p:nvPr/>
        </p:nvGrpSpPr>
        <p:grpSpPr>
          <a:xfrm>
            <a:off x="9902836" y="3441093"/>
            <a:ext cx="1703219" cy="999726"/>
            <a:chOff x="0" y="0"/>
            <a:chExt cx="3406434" cy="1999449"/>
          </a:xfrm>
        </p:grpSpPr>
        <p:sp>
          <p:nvSpPr>
            <p:cNvPr id="266" name="Rounded Rectangle"/>
            <p:cNvSpPr/>
            <p:nvPr/>
          </p:nvSpPr>
          <p:spPr>
            <a:xfrm>
              <a:off x="0" y="0"/>
              <a:ext cx="3406434" cy="1999449"/>
            </a:xfrm>
            <a:prstGeom prst="roundRect">
              <a:avLst>
                <a:gd name="adj" fmla="val 15000"/>
              </a:avLst>
            </a:prstGeom>
            <a:gradFill flip="none" rotWithShape="1">
              <a:gsLst>
                <a:gs pos="0">
                  <a:srgbClr val="3262F6"/>
                </a:gs>
                <a:gs pos="66133">
                  <a:srgbClr val="7046E7"/>
                </a:gs>
                <a:gs pos="100000">
                  <a:srgbClr val="AD29D8"/>
                </a:gs>
              </a:gsLst>
              <a:lin ang="2700000" scaled="1"/>
              <a:tileRect/>
            </a:gradFill>
            <a:ln w="12700" cap="flat">
              <a:noFill/>
              <a:miter lim="400000"/>
            </a:ln>
            <a:effectLst/>
          </p:spPr>
          <p:txBody>
            <a:bodyPr wrap="square" lIns="25400" tIns="25400" rIns="25400" bIns="25400" numCol="1" anchor="ctr">
              <a:noAutofit/>
            </a:bodyP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267" name="2.5 mn+"/>
            <p:cNvSpPr txBox="1"/>
            <p:nvPr/>
          </p:nvSpPr>
          <p:spPr>
            <a:xfrm>
              <a:off x="63620" y="421099"/>
              <a:ext cx="3279194" cy="899187"/>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noAutofit/>
            </a:bodyPr>
            <a:lstStyle>
              <a:lvl1pPr defTabSz="825500">
                <a:defRPr sz="7000" b="1">
                  <a:solidFill>
                    <a:srgbClr val="FFFFFF"/>
                  </a:solidFill>
                  <a:latin typeface="Roboto"/>
                  <a:ea typeface="Roboto"/>
                  <a:cs typeface="Roboto"/>
                  <a:sym typeface="Roboto"/>
                </a:defRPr>
              </a:lvl1pPr>
            </a:lstStyle>
            <a:p>
              <a:pPr algn="ctr"/>
              <a:r>
                <a:rPr sz="3500">
                  <a:latin typeface="Poppins" pitchFamily="2" charset="77"/>
                  <a:cs typeface="Poppins" pitchFamily="2" charset="77"/>
                </a:rPr>
                <a:t>40k+</a:t>
              </a:r>
            </a:p>
          </p:txBody>
        </p:sp>
        <p:sp>
          <p:nvSpPr>
            <p:cNvPr id="268" name="2.5 million+ rates used for calculation at any point in time"/>
            <p:cNvSpPr txBox="1"/>
            <p:nvPr/>
          </p:nvSpPr>
          <p:spPr>
            <a:xfrm>
              <a:off x="413380" y="1291862"/>
              <a:ext cx="2727929" cy="669605"/>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0" tIns="0" rIns="0" bIns="0" numCol="1" anchor="t">
              <a:noAutofit/>
            </a:bodyPr>
            <a:lstStyle/>
            <a:p>
              <a:pPr defTabSz="412750">
                <a:lnSpc>
                  <a:spcPct val="150000"/>
                </a:lnSpc>
                <a:defRPr sz="1800">
                  <a:solidFill>
                    <a:srgbClr val="FFFFFF"/>
                  </a:solidFill>
                  <a:latin typeface="Roboto Light"/>
                  <a:ea typeface="Roboto Light"/>
                  <a:cs typeface="Roboto Light"/>
                  <a:sym typeface="Roboto Light"/>
                </a:defRPr>
              </a:pPr>
              <a:r>
                <a:rPr sz="900">
                  <a:latin typeface="Poppins" pitchFamily="2" charset="77"/>
                  <a:cs typeface="Poppins" pitchFamily="2" charset="77"/>
                </a:rPr>
                <a:t>airport to airport pairs</a:t>
              </a:r>
            </a:p>
            <a:p>
              <a:pPr defTabSz="412750">
                <a:lnSpc>
                  <a:spcPct val="150000"/>
                </a:lnSpc>
                <a:defRPr sz="1800">
                  <a:solidFill>
                    <a:srgbClr val="FFFFFF"/>
                  </a:solidFill>
                  <a:latin typeface="Roboto Light"/>
                  <a:ea typeface="Roboto Light"/>
                  <a:cs typeface="Roboto Light"/>
                  <a:sym typeface="Roboto Light"/>
                </a:defRPr>
              </a:pPr>
              <a:r>
                <a:rPr sz="900">
                  <a:latin typeface="Poppins" pitchFamily="2" charset="77"/>
                  <a:cs typeface="Poppins" pitchFamily="2" charset="77"/>
                </a:rPr>
                <a:t> </a:t>
              </a:r>
            </a:p>
          </p:txBody>
        </p:sp>
      </p:grpSp>
      <p:sp>
        <p:nvSpPr>
          <p:cNvPr id="270" name="TextBox 16"/>
          <p:cNvSpPr txBox="1"/>
          <p:nvPr/>
        </p:nvSpPr>
        <p:spPr>
          <a:xfrm>
            <a:off x="517841" y="1800603"/>
            <a:ext cx="4988323" cy="241662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tIns="45720" bIns="45720">
            <a:spAutoFit/>
          </a:bodyPr>
          <a:lstStyle/>
          <a:p>
            <a:pPr algn="ctr">
              <a:lnSpc>
                <a:spcPct val="150000"/>
              </a:lnSpc>
              <a:defRPr sz="3500">
                <a:solidFill>
                  <a:srgbClr val="FFFFFF"/>
                </a:solidFill>
              </a:defRPr>
            </a:pPr>
            <a:r>
              <a:rPr sz="1750">
                <a:latin typeface="Poppins" pitchFamily="2" charset="77"/>
                <a:cs typeface="Poppins" pitchFamily="2" charset="77"/>
              </a:rPr>
              <a:t>Our mission is to drive your</a:t>
            </a:r>
          </a:p>
          <a:p>
            <a:pPr algn="ctr">
              <a:lnSpc>
                <a:spcPct val="150000"/>
              </a:lnSpc>
              <a:defRPr sz="3500">
                <a:solidFill>
                  <a:srgbClr val="FFFFFF"/>
                </a:solidFill>
              </a:defRPr>
            </a:pPr>
            <a:r>
              <a:rPr sz="1750">
                <a:latin typeface="Poppins" pitchFamily="2" charset="77"/>
                <a:cs typeface="Poppins" pitchFamily="2" charset="77"/>
              </a:rPr>
              <a:t>business success by leveraging the</a:t>
            </a:r>
          </a:p>
          <a:p>
            <a:pPr algn="ctr">
              <a:lnSpc>
                <a:spcPct val="150000"/>
              </a:lnSpc>
              <a:defRPr sz="5000">
                <a:solidFill>
                  <a:srgbClr val="FFFFFF"/>
                </a:solidFill>
              </a:defRPr>
            </a:pPr>
            <a:r>
              <a:rPr sz="2500" b="1">
                <a:latin typeface="Poppins" pitchFamily="2" charset="77"/>
                <a:ea typeface="Poppins Bold"/>
                <a:cs typeface="Poppins" pitchFamily="2" charset="77"/>
                <a:sym typeface="Poppins Bold"/>
              </a:rPr>
              <a:t>world’s largest real-time, independent database</a:t>
            </a:r>
          </a:p>
          <a:p>
            <a:pPr algn="ctr">
              <a:lnSpc>
                <a:spcPct val="150000"/>
              </a:lnSpc>
              <a:defRPr sz="3500">
                <a:solidFill>
                  <a:srgbClr val="FFFFFF"/>
                </a:solidFill>
              </a:defRPr>
            </a:pPr>
            <a:r>
              <a:rPr sz="1750">
                <a:latin typeface="Poppins" pitchFamily="2" charset="77"/>
                <a:cs typeface="Poppins" pitchFamily="2" charset="77"/>
              </a:rPr>
              <a:t>of ocean and air freight rates.</a:t>
            </a:r>
          </a:p>
        </p:txBody>
      </p:sp>
      <p:sp>
        <p:nvSpPr>
          <p:cNvPr id="271" name="Rounded Rectangle"/>
          <p:cNvSpPr/>
          <p:nvPr/>
        </p:nvSpPr>
        <p:spPr>
          <a:xfrm>
            <a:off x="613817" y="2731897"/>
            <a:ext cx="4707137" cy="494209"/>
          </a:xfrm>
          <a:prstGeom prst="roundRect">
            <a:avLst>
              <a:gd name="adj" fmla="val 50000"/>
            </a:avLst>
          </a:prstGeom>
          <a:solidFill>
            <a:srgbClr val="FFFFFF">
              <a:alpha val="17924"/>
            </a:srgbClr>
          </a:solidFill>
          <a:ln w="25400">
            <a:noFill/>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pic>
        <p:nvPicPr>
          <p:cNvPr id="273" name="Image" descr="Image"/>
          <p:cNvPicPr>
            <a:picLocks noChangeAspect="1"/>
          </p:cNvPicPr>
          <p:nvPr/>
        </p:nvPicPr>
        <p:blipFill>
          <a:blip r:embed="rId5" cstate="screen">
            <a:alphaModFix amt="50000"/>
            <a:extLst>
              <a:ext uri="{28A0092B-C50C-407E-A947-70E740481C1C}">
                <a14:useLocalDpi xmlns:a14="http://schemas.microsoft.com/office/drawing/2010/main"/>
              </a:ext>
            </a:extLst>
          </a:blip>
          <a:stretch>
            <a:fillRect/>
          </a:stretch>
        </p:blipFill>
        <p:spPr>
          <a:xfrm>
            <a:off x="10896469" y="6336998"/>
            <a:ext cx="998420" cy="190096"/>
          </a:xfrm>
          <a:prstGeom prst="rect">
            <a:avLst/>
          </a:prstGeom>
          <a:ln w="12700">
            <a:miter lim="400000"/>
          </a:ln>
        </p:spPr>
      </p:pic>
      <p:grpSp>
        <p:nvGrpSpPr>
          <p:cNvPr id="276" name="Group"/>
          <p:cNvGrpSpPr/>
          <p:nvPr/>
        </p:nvGrpSpPr>
        <p:grpSpPr>
          <a:xfrm>
            <a:off x="8436068" y="2411885"/>
            <a:ext cx="1653061" cy="480089"/>
            <a:chOff x="0" y="0"/>
            <a:chExt cx="3306121" cy="960175"/>
          </a:xfrm>
        </p:grpSpPr>
        <p:sp>
          <p:nvSpPr>
            <p:cNvPr id="274" name="Rectangle"/>
            <p:cNvSpPr/>
            <p:nvPr/>
          </p:nvSpPr>
          <p:spPr>
            <a:xfrm>
              <a:off x="139091" y="0"/>
              <a:ext cx="3027938" cy="960176"/>
            </a:xfrm>
            <a:prstGeom prst="rect">
              <a:avLst/>
            </a:prstGeom>
            <a:solidFill>
              <a:srgbClr val="FFFFFF"/>
            </a:solidFill>
            <a:ln w="12700" cap="flat">
              <a:noFill/>
              <a:miter lim="400000"/>
            </a:ln>
            <a:effectLst/>
          </p:spPr>
          <p:txBody>
            <a:bodyPr wrap="square" lIns="25400" tIns="25400" rIns="25400" bIns="25400" numCol="1" anchor="ctr">
              <a:noAutofit/>
            </a:bodyPr>
            <a:lstStyle/>
            <a:p>
              <a:pPr defTabSz="412750">
                <a:defRPr sz="3200">
                  <a:solidFill>
                    <a:srgbClr val="FFFFFF"/>
                  </a:solidFill>
                  <a:latin typeface="Helvetica Neue Medium"/>
                  <a:ea typeface="Helvetica Neue Medium"/>
                  <a:cs typeface="Helvetica Neue Medium"/>
                  <a:sym typeface="Helvetica Neue Medium"/>
                </a:defRPr>
              </a:pPr>
              <a:endParaRPr sz="1600"/>
            </a:p>
          </p:txBody>
        </p:sp>
        <p:pic>
          <p:nvPicPr>
            <p:cNvPr id="275" name="Image" descr="Image"/>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0" y="165350"/>
              <a:ext cx="3306122" cy="629475"/>
            </a:xfrm>
            <a:prstGeom prst="rect">
              <a:avLst/>
            </a:prstGeom>
            <a:ln w="12700" cap="flat">
              <a:noFill/>
              <a:miter lim="400000"/>
            </a:ln>
            <a:effectLst/>
          </p:spPr>
        </p:pic>
      </p:grpSp>
      <p:sp>
        <p:nvSpPr>
          <p:cNvPr id="278" name="Connection Line"/>
          <p:cNvSpPr/>
          <p:nvPr/>
        </p:nvSpPr>
        <p:spPr>
          <a:xfrm>
            <a:off x="1145540" y="4116912"/>
            <a:ext cx="1821815" cy="85998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600" y="14433"/>
                </a:lnTo>
                <a:lnTo>
                  <a:pt x="0" y="14433"/>
                </a:lnTo>
                <a:lnTo>
                  <a:pt x="0" y="0"/>
                </a:lnTo>
              </a:path>
            </a:pathLst>
          </a:custGeom>
          <a:ln w="25400">
            <a:solidFill>
              <a:srgbClr val="FFFFFF">
                <a:alpha val="40000"/>
              </a:srgbClr>
            </a:solidFill>
            <a:miter lim="400000"/>
            <a:headEnd type="arrow"/>
          </a:ln>
        </p:spPr>
        <p:txBody>
          <a:bodyPr/>
          <a:lstStyle/>
          <a:p>
            <a:endParaRPr sz="900"/>
          </a:p>
        </p:txBody>
      </p:sp>
      <p:sp>
        <p:nvSpPr>
          <p:cNvPr id="29" name="Rounded Rectangle">
            <a:extLst>
              <a:ext uri="{FF2B5EF4-FFF2-40B4-BE49-F238E27FC236}">
                <a16:creationId xmlns:a16="http://schemas.microsoft.com/office/drawing/2014/main" id="{A4247F0D-5C79-2FA0-A47F-D6C0BF42E1A6}"/>
              </a:ext>
            </a:extLst>
          </p:cNvPr>
          <p:cNvSpPr/>
          <p:nvPr/>
        </p:nvSpPr>
        <p:spPr>
          <a:xfrm>
            <a:off x="795259" y="3323177"/>
            <a:ext cx="4318812" cy="494209"/>
          </a:xfrm>
          <a:prstGeom prst="roundRect">
            <a:avLst>
              <a:gd name="adj" fmla="val 50000"/>
            </a:avLst>
          </a:prstGeom>
          <a:solidFill>
            <a:srgbClr val="FFFFFF">
              <a:alpha val="17924"/>
            </a:srgbClr>
          </a:solidFill>
          <a:ln w="25400">
            <a:noFill/>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30" name="TextBox 16">
            <a:extLst>
              <a:ext uri="{FF2B5EF4-FFF2-40B4-BE49-F238E27FC236}">
                <a16:creationId xmlns:a16="http://schemas.microsoft.com/office/drawing/2014/main" id="{EB539620-723F-9D45-AE4C-4C4284D7C62F}"/>
              </a:ext>
            </a:extLst>
          </p:cNvPr>
          <p:cNvSpPr txBox="1"/>
          <p:nvPr/>
        </p:nvSpPr>
        <p:spPr>
          <a:xfrm>
            <a:off x="7199018" y="4902016"/>
            <a:ext cx="4105536" cy="73866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tIns="45720" bIns="45720">
            <a:spAutoFit/>
          </a:bodyPr>
          <a:lstStyle/>
          <a:p>
            <a:pPr algn="ctr"/>
            <a:r>
              <a:rPr lang="en-GB" sz="1400">
                <a:solidFill>
                  <a:srgbClr val="10183A"/>
                </a:solidFill>
                <a:latin typeface="Poppins" pitchFamily="2" charset="77"/>
                <a:cs typeface="Poppins" pitchFamily="2" charset="77"/>
              </a:rPr>
              <a:t>Xeneta has more temperature-controlled BCO rate data than any other air freight rate provider in the market.</a:t>
            </a:r>
            <a:endParaRPr lang="en-US" sz="1400">
              <a:solidFill>
                <a:srgbClr val="10183A"/>
              </a:solidFill>
              <a:latin typeface="Poppins" pitchFamily="2" charset="77"/>
              <a:cs typeface="Poppins" pitchFamily="2" charset="77"/>
            </a:endParaRPr>
          </a:p>
        </p:txBody>
      </p:sp>
    </p:spTree>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015DFAEE-F78A-C272-92CE-F25C3417CAD0}"/>
              </a:ext>
            </a:extLst>
          </p:cNvPr>
          <p:cNvGraphicFramePr>
            <a:graphicFrameLocks noChangeAspect="1"/>
          </p:cNvGraphicFramePr>
          <p:nvPr>
            <p:custDataLst>
              <p:tags r:id="rId1"/>
            </p:custDataLst>
            <p:extLst>
              <p:ext uri="{D42A27DB-BD31-4B8C-83A1-F6EECF244321}">
                <p14:modId xmlns:p14="http://schemas.microsoft.com/office/powerpoint/2010/main" val="2228413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2" imgW="473" imgH="476" progId="TCLayout.ActiveDocument.1">
                  <p:embed/>
                </p:oleObj>
              </mc:Choice>
              <mc:Fallback>
                <p:oleObj name="think-cell Slide" r:id="rId72" imgW="473" imgH="476" progId="TCLayout.ActiveDocument.1">
                  <p:embed/>
                  <p:pic>
                    <p:nvPicPr>
                      <p:cNvPr id="28" name="Object 27" hidden="1">
                        <a:extLst>
                          <a:ext uri="{FF2B5EF4-FFF2-40B4-BE49-F238E27FC236}">
                            <a16:creationId xmlns:a16="http://schemas.microsoft.com/office/drawing/2014/main" id="{015DFAEE-F78A-C272-92CE-F25C3417CAD0}"/>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graphicFrame>
        <p:nvGraphicFramePr>
          <p:cNvPr id="80" name="Chart 79">
            <a:extLst>
              <a:ext uri="{FF2B5EF4-FFF2-40B4-BE49-F238E27FC236}">
                <a16:creationId xmlns:a16="http://schemas.microsoft.com/office/drawing/2014/main" id="{A896BDE0-0EE3-D544-D445-0FEA80DE6610}"/>
              </a:ext>
            </a:extLst>
          </p:cNvPr>
          <p:cNvGraphicFramePr/>
          <p:nvPr>
            <p:custDataLst>
              <p:tags r:id="rId2"/>
            </p:custDataLst>
            <p:extLst>
              <p:ext uri="{D42A27DB-BD31-4B8C-83A1-F6EECF244321}">
                <p14:modId xmlns:p14="http://schemas.microsoft.com/office/powerpoint/2010/main" val="3142091171"/>
              </p:ext>
            </p:extLst>
          </p:nvPr>
        </p:nvGraphicFramePr>
        <p:xfrm>
          <a:off x="612775" y="4368800"/>
          <a:ext cx="5091113" cy="1719263"/>
        </p:xfrm>
        <a:graphic>
          <a:graphicData uri="http://schemas.openxmlformats.org/drawingml/2006/chart">
            <c:chart xmlns:c="http://schemas.openxmlformats.org/drawingml/2006/chart" xmlns:r="http://schemas.openxmlformats.org/officeDocument/2006/relationships" r:id="rId74"/>
          </a:graphicData>
        </a:graphic>
      </p:graphicFrame>
      <p:sp>
        <p:nvSpPr>
          <p:cNvPr id="67" name="Text Placeholder 2">
            <a:extLst>
              <a:ext uri="{FF2B5EF4-FFF2-40B4-BE49-F238E27FC236}">
                <a16:creationId xmlns:a16="http://schemas.microsoft.com/office/drawing/2014/main" id="{3BFE40D0-8C48-04E6-55EE-967C15D602FE}"/>
              </a:ext>
            </a:extLst>
          </p:cNvPr>
          <p:cNvSpPr>
            <a:spLocks noGrp="1"/>
          </p:cNvSpPr>
          <p:nvPr>
            <p:custDataLst>
              <p:tags r:id="rId3"/>
            </p:custDataLst>
          </p:nvPr>
        </p:nvSpPr>
        <p:spPr bwMode="auto">
          <a:xfrm>
            <a:off x="2497138" y="6029325"/>
            <a:ext cx="2555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434D47AC-BB14-4ABE-A682-8EBED68B4F39}" type="datetime'''''''''''''''''''''''''''''''J''u''''''''n'''''''''''''''">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Jun</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2" name="Text Placeholder 2">
            <a:extLst>
              <a:ext uri="{FF2B5EF4-FFF2-40B4-BE49-F238E27FC236}">
                <a16:creationId xmlns:a16="http://schemas.microsoft.com/office/drawing/2014/main" id="{6D6D65D4-3CD7-22B9-C292-E027F47AD9D2}"/>
              </a:ext>
            </a:extLst>
          </p:cNvPr>
          <p:cNvSpPr>
            <a:spLocks noGrp="1"/>
          </p:cNvSpPr>
          <p:nvPr>
            <p:custDataLst>
              <p:tags r:id="rId4"/>
            </p:custDataLst>
          </p:nvPr>
        </p:nvSpPr>
        <p:spPr bwMode="auto">
          <a:xfrm>
            <a:off x="2125663" y="6029325"/>
            <a:ext cx="2921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D7AE34CE-F878-4850-9865-4EAD8F703F06}" type="datetime'''''''''''''''''''M''a''y'''''''''''''">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May</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1" name="Text Placeholder 2">
            <a:extLst>
              <a:ext uri="{FF2B5EF4-FFF2-40B4-BE49-F238E27FC236}">
                <a16:creationId xmlns:a16="http://schemas.microsoft.com/office/drawing/2014/main" id="{16D777DE-43BB-E2E8-6385-F670C8514427}"/>
              </a:ext>
            </a:extLst>
          </p:cNvPr>
          <p:cNvSpPr>
            <a:spLocks noGrp="1"/>
          </p:cNvSpPr>
          <p:nvPr>
            <p:custDataLst>
              <p:tags r:id="rId5"/>
            </p:custDataLst>
          </p:nvPr>
        </p:nvSpPr>
        <p:spPr bwMode="auto">
          <a:xfrm>
            <a:off x="1052513" y="6029325"/>
            <a:ext cx="325438"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01F20B09-B04C-401A-82F4-23ADC7C456F9}" type="datetime'''''Fe''''b'''''''''''''' ''''''2''''''''''0''''2''2'''''''">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Feb 2022</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0" name="Text Placeholder 2">
            <a:extLst>
              <a:ext uri="{FF2B5EF4-FFF2-40B4-BE49-F238E27FC236}">
                <a16:creationId xmlns:a16="http://schemas.microsoft.com/office/drawing/2014/main" id="{C17F1F52-E2B2-3B14-A615-F82D4475EB11}"/>
              </a:ext>
            </a:extLst>
          </p:cNvPr>
          <p:cNvSpPr>
            <a:spLocks noGrp="1"/>
          </p:cNvSpPr>
          <p:nvPr>
            <p:custDataLst>
              <p:tags r:id="rId6"/>
            </p:custDataLst>
          </p:nvPr>
        </p:nvSpPr>
        <p:spPr bwMode="auto">
          <a:xfrm>
            <a:off x="1433513" y="6029325"/>
            <a:ext cx="2667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E95DEF56-2EB4-432C-B0FB-D2C0BF31ACEC}" type="datetime'''''''''''M''''''''''''''''''''ar'''''''''''''''">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Mar</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8" name="Text Placeholder 2">
            <a:extLst>
              <a:ext uri="{FF2B5EF4-FFF2-40B4-BE49-F238E27FC236}">
                <a16:creationId xmlns:a16="http://schemas.microsoft.com/office/drawing/2014/main" id="{9DA597FC-D7C9-D230-994F-8101E73C3E9E}"/>
              </a:ext>
            </a:extLst>
          </p:cNvPr>
          <p:cNvSpPr>
            <a:spLocks noGrp="1"/>
          </p:cNvSpPr>
          <p:nvPr>
            <p:custDataLst>
              <p:tags r:id="rId7"/>
            </p:custDataLst>
          </p:nvPr>
        </p:nvSpPr>
        <p:spPr bwMode="auto">
          <a:xfrm>
            <a:off x="3551238" y="6029325"/>
            <a:ext cx="2635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585460BA-8B07-4AA6-80EF-74D6C9B0D81E}" type="datetime'''''''''''''''''''''S''''''''''''e''''''''''''''''''''''p'''">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Sep</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6" name="Text Placeholder 2">
            <a:extLst>
              <a:ext uri="{FF2B5EF4-FFF2-40B4-BE49-F238E27FC236}">
                <a16:creationId xmlns:a16="http://schemas.microsoft.com/office/drawing/2014/main" id="{BC8BA645-27FB-55D9-725B-197AED4D14EE}"/>
              </a:ext>
            </a:extLst>
          </p:cNvPr>
          <p:cNvSpPr>
            <a:spLocks noGrp="1"/>
          </p:cNvSpPr>
          <p:nvPr>
            <p:custDataLst>
              <p:tags r:id="rId8"/>
            </p:custDataLst>
          </p:nvPr>
        </p:nvSpPr>
        <p:spPr bwMode="auto">
          <a:xfrm>
            <a:off x="2874963" y="6029325"/>
            <a:ext cx="2032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C679A116-FE64-49B2-B3AD-CDABE1C6F8A1}" type="datetime'''''''''''''J''''''ul'''''''''''''">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Jul</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5" name="Text Placeholder 2">
            <a:extLst>
              <a:ext uri="{FF2B5EF4-FFF2-40B4-BE49-F238E27FC236}">
                <a16:creationId xmlns:a16="http://schemas.microsoft.com/office/drawing/2014/main" id="{3A75F3AE-E3AD-7D85-5695-252797AF2D68}"/>
              </a:ext>
            </a:extLst>
          </p:cNvPr>
          <p:cNvSpPr>
            <a:spLocks noGrp="1"/>
          </p:cNvSpPr>
          <p:nvPr>
            <p:custDataLst>
              <p:tags r:id="rId9"/>
            </p:custDataLst>
          </p:nvPr>
        </p:nvSpPr>
        <p:spPr bwMode="auto">
          <a:xfrm>
            <a:off x="1798638" y="6029325"/>
            <a:ext cx="2428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5E199B3B-7B76-4407-8BD6-1E61F1EB9EE0}" type="datetime'''''''''A''p''''''''''''''''''''''''''r'''''''''''">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Apr</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4" name="Text Placeholder 2">
            <a:extLst>
              <a:ext uri="{FF2B5EF4-FFF2-40B4-BE49-F238E27FC236}">
                <a16:creationId xmlns:a16="http://schemas.microsoft.com/office/drawing/2014/main" id="{27CFDB97-300E-FEE7-F71E-CD5CC4B99346}"/>
              </a:ext>
            </a:extLst>
          </p:cNvPr>
          <p:cNvSpPr>
            <a:spLocks noGrp="1"/>
          </p:cNvSpPr>
          <p:nvPr>
            <p:custDataLst>
              <p:tags r:id="rId10"/>
            </p:custDataLst>
          </p:nvPr>
        </p:nvSpPr>
        <p:spPr bwMode="auto">
          <a:xfrm>
            <a:off x="3189288" y="6029325"/>
            <a:ext cx="2794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59485F62-981A-4FE7-9168-2755AB66BEA9}" type="datetime'''''A''''''''''''''''''''''''''''''''''''''''u''''''g'''''''">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Aug</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69" name="Text Placeholder 2">
            <a:extLst>
              <a:ext uri="{FF2B5EF4-FFF2-40B4-BE49-F238E27FC236}">
                <a16:creationId xmlns:a16="http://schemas.microsoft.com/office/drawing/2014/main" id="{088D4523-2BBB-DBB8-5F8E-7A5C30DD24B2}"/>
              </a:ext>
            </a:extLst>
          </p:cNvPr>
          <p:cNvSpPr>
            <a:spLocks noGrp="1"/>
          </p:cNvSpPr>
          <p:nvPr>
            <p:custDataLst>
              <p:tags r:id="rId11"/>
            </p:custDataLst>
          </p:nvPr>
        </p:nvSpPr>
        <p:spPr bwMode="auto">
          <a:xfrm>
            <a:off x="3911600" y="6029325"/>
            <a:ext cx="2476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8CF9B58F-A6F6-406F-9CFC-CB99AE1C5269}" type="datetime'''''''''O''''''''''''''''''''''''c''''''''''''''''''t'''''''''">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Oct</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70" name="Text Placeholder 2">
            <a:extLst>
              <a:ext uri="{FF2B5EF4-FFF2-40B4-BE49-F238E27FC236}">
                <a16:creationId xmlns:a16="http://schemas.microsoft.com/office/drawing/2014/main" id="{012FD37D-A2F9-8BEC-6799-B3B7F2AB47E2}"/>
              </a:ext>
            </a:extLst>
          </p:cNvPr>
          <p:cNvSpPr>
            <a:spLocks noGrp="1"/>
          </p:cNvSpPr>
          <p:nvPr>
            <p:custDataLst>
              <p:tags r:id="rId12"/>
            </p:custDataLst>
          </p:nvPr>
        </p:nvSpPr>
        <p:spPr bwMode="auto">
          <a:xfrm>
            <a:off x="4254500" y="6029325"/>
            <a:ext cx="2667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F0697C60-DD4E-4FE3-BB24-D06AEDD15487}" type="datetime'''''''''''''''''''''''''''''''''''N''''''''''o''''''v'''">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Nov</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71" name="Text Placeholder 2">
            <a:extLst>
              <a:ext uri="{FF2B5EF4-FFF2-40B4-BE49-F238E27FC236}">
                <a16:creationId xmlns:a16="http://schemas.microsoft.com/office/drawing/2014/main" id="{7821D557-C5CE-6470-944C-DB0ECDA83824}"/>
              </a:ext>
            </a:extLst>
          </p:cNvPr>
          <p:cNvSpPr>
            <a:spLocks noGrp="1"/>
          </p:cNvSpPr>
          <p:nvPr>
            <p:custDataLst>
              <p:tags r:id="rId13"/>
            </p:custDataLst>
          </p:nvPr>
        </p:nvSpPr>
        <p:spPr bwMode="auto">
          <a:xfrm>
            <a:off x="4605338" y="6029325"/>
            <a:ext cx="2698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8ADCD4DA-AA12-42E3-AF06-72738D92AB7E}" type="datetime'''''''''''''''''''''D''''''''e''''''''c'''''''''''''''''''">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Dec</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72" name="Text Placeholder 2">
            <a:extLst>
              <a:ext uri="{FF2B5EF4-FFF2-40B4-BE49-F238E27FC236}">
                <a16:creationId xmlns:a16="http://schemas.microsoft.com/office/drawing/2014/main" id="{9810C514-FEC7-DADF-69A6-8995AA438520}"/>
              </a:ext>
            </a:extLst>
          </p:cNvPr>
          <p:cNvSpPr>
            <a:spLocks noGrp="1"/>
          </p:cNvSpPr>
          <p:nvPr>
            <p:custDataLst>
              <p:tags r:id="rId14"/>
            </p:custDataLst>
          </p:nvPr>
        </p:nvSpPr>
        <p:spPr bwMode="auto">
          <a:xfrm>
            <a:off x="4929188" y="6029325"/>
            <a:ext cx="327025"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49C54008-F016-4F8D-937E-3849B8AB1294}" type="datetime'J''a''n'''' ''''''''2''''''02''''''''''''3'''''''">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Jan 2023</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90" name="Text Placeholder 2">
            <a:extLst>
              <a:ext uri="{FF2B5EF4-FFF2-40B4-BE49-F238E27FC236}">
                <a16:creationId xmlns:a16="http://schemas.microsoft.com/office/drawing/2014/main" id="{9FA8ACA6-CF42-EF1A-E6EB-F8EC8BAC2E30}"/>
              </a:ext>
            </a:extLst>
          </p:cNvPr>
          <p:cNvSpPr>
            <a:spLocks noGrp="1"/>
          </p:cNvSpPr>
          <p:nvPr>
            <p:custDataLst>
              <p:tags r:id="rId15"/>
            </p:custDataLst>
          </p:nvPr>
        </p:nvSpPr>
        <p:spPr bwMode="auto">
          <a:xfrm>
            <a:off x="5319713" y="6029325"/>
            <a:ext cx="2524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16CDC1AF-712E-4829-AA2A-3B5E436AC291}" type="datetime'F''''''''''''''''''''''''''''e''''''b'''''''''''''''''''''''">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Feb</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2" name="TextBox 1">
            <a:extLst>
              <a:ext uri="{FF2B5EF4-FFF2-40B4-BE49-F238E27FC236}">
                <a16:creationId xmlns:a16="http://schemas.microsoft.com/office/drawing/2014/main" id="{B065B79C-C4D6-5961-7919-6BB68C420868}"/>
              </a:ext>
            </a:extLst>
          </p:cNvPr>
          <p:cNvSpPr txBox="1"/>
          <p:nvPr/>
        </p:nvSpPr>
        <p:spPr>
          <a:xfrm>
            <a:off x="821796" y="1417353"/>
            <a:ext cx="5851282" cy="276999"/>
          </a:xfrm>
          <a:prstGeom prst="rect">
            <a:avLst/>
          </a:prstGeom>
          <a:noFill/>
        </p:spPr>
        <p:txBody>
          <a:bodyPr wrap="none" rtlCol="0">
            <a:spAutoFit/>
          </a:bodyPr>
          <a:lstStyle/>
          <a:p>
            <a:r>
              <a:rPr lang="en-GB" sz="1200" b="1">
                <a:latin typeface="Poppins" panose="00000500000000000000" pitchFamily="2" charset="0"/>
                <a:cs typeface="Poppins" panose="00000500000000000000" pitchFamily="2" charset="0"/>
              </a:rPr>
              <a:t>Global air cargo volume, capacity, load factor and rate developments</a:t>
            </a:r>
            <a:endParaRPr lang="en-GB" sz="1200">
              <a:latin typeface="Poppins" panose="00000500000000000000" pitchFamily="2" charset="0"/>
              <a:cs typeface="Poppins" panose="00000500000000000000" pitchFamily="2" charset="0"/>
            </a:endParaRPr>
          </a:p>
        </p:txBody>
      </p:sp>
      <p:sp>
        <p:nvSpPr>
          <p:cNvPr id="29" name="Buying cargo based on gut feeling…">
            <a:extLst>
              <a:ext uri="{FF2B5EF4-FFF2-40B4-BE49-F238E27FC236}">
                <a16:creationId xmlns:a16="http://schemas.microsoft.com/office/drawing/2014/main" id="{D50B6CAA-A666-5524-85F7-444C607F0970}"/>
              </a:ext>
            </a:extLst>
          </p:cNvPr>
          <p:cNvSpPr txBox="1">
            <a:spLocks/>
          </p:cNvSpPr>
          <p:nvPr/>
        </p:nvSpPr>
        <p:spPr>
          <a:xfrm>
            <a:off x="763216" y="491067"/>
            <a:ext cx="9775796" cy="80750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457200">
              <a:lnSpc>
                <a:spcPct val="100000"/>
              </a:lnSpc>
              <a:buFont typeface="Arial" panose="020B0604020202020204" pitchFamily="34" charset="0"/>
              <a:buNone/>
              <a:defRPr sz="6000">
                <a:solidFill>
                  <a:srgbClr val="1D63FF"/>
                </a:solidFill>
              </a:defRPr>
            </a:pPr>
            <a:r>
              <a:rPr lang="en-US" sz="2400">
                <a:solidFill>
                  <a:srgbClr val="1D63FF"/>
                </a:solidFill>
                <a:latin typeface="Poppins" panose="00000500000000000000" pitchFamily="2" charset="0"/>
                <a:cs typeface="Poppins" panose="00000500000000000000" pitchFamily="2" charset="0"/>
              </a:rPr>
              <a:t>Year-on-year air cargo rate continued to stabilize in February</a:t>
            </a:r>
          </a:p>
        </p:txBody>
      </p:sp>
      <p:sp>
        <p:nvSpPr>
          <p:cNvPr id="43" name="Text Placeholder 1">
            <a:extLst>
              <a:ext uri="{FF2B5EF4-FFF2-40B4-BE49-F238E27FC236}">
                <a16:creationId xmlns:a16="http://schemas.microsoft.com/office/drawing/2014/main" id="{C58C7321-3BF7-61DC-5B1A-AD075E56AE05}"/>
              </a:ext>
            </a:extLst>
          </p:cNvPr>
          <p:cNvSpPr txBox="1">
            <a:spLocks/>
          </p:cNvSpPr>
          <p:nvPr/>
        </p:nvSpPr>
        <p:spPr>
          <a:xfrm>
            <a:off x="600360" y="6397771"/>
            <a:ext cx="8391525" cy="469900"/>
          </a:xfrm>
          <a:prstGeom prst="rect">
            <a:avLst/>
          </a:prstGeom>
        </p:spPr>
        <p:txBody>
          <a:bodyPr vert="horz" lIns="0" tIns="45720" rIns="9144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a:latin typeface="Poppins" panose="00000500000000000000" pitchFamily="2" charset="0"/>
                <a:cs typeface="Poppins" panose="00000500000000000000" pitchFamily="2" charset="0"/>
              </a:rPr>
              <a:t>Source: CLIVE Data Services, now part of Xeneta</a:t>
            </a:r>
          </a:p>
        </p:txBody>
      </p:sp>
      <p:sp>
        <p:nvSpPr>
          <p:cNvPr id="104" name="TextBox 103">
            <a:extLst>
              <a:ext uri="{FF2B5EF4-FFF2-40B4-BE49-F238E27FC236}">
                <a16:creationId xmlns:a16="http://schemas.microsoft.com/office/drawing/2014/main" id="{FDBD28FE-864B-3639-481F-9B88362F82CC}"/>
              </a:ext>
            </a:extLst>
          </p:cNvPr>
          <p:cNvSpPr txBox="1"/>
          <p:nvPr/>
        </p:nvSpPr>
        <p:spPr>
          <a:xfrm>
            <a:off x="6405562" y="1808327"/>
            <a:ext cx="2370138" cy="261610"/>
          </a:xfrm>
          <a:prstGeom prst="rect">
            <a:avLst/>
          </a:prstGeom>
          <a:noFill/>
        </p:spPr>
        <p:txBody>
          <a:bodyPr wrap="square" rtlCol="0">
            <a:spAutoFit/>
          </a:bodyPr>
          <a:lstStyle/>
          <a:p>
            <a:r>
              <a:rPr lang="en-GB" sz="1100" b="1">
                <a:latin typeface="Poppins" panose="00000500000000000000" pitchFamily="2" charset="0"/>
                <a:cs typeface="Poppins" panose="00000500000000000000" pitchFamily="2" charset="0"/>
              </a:rPr>
              <a:t>Capacity </a:t>
            </a:r>
            <a:r>
              <a:rPr lang="en-GB" sz="1100">
                <a:latin typeface="Poppins" panose="00000500000000000000" pitchFamily="2" charset="0"/>
                <a:cs typeface="Poppins" panose="00000500000000000000" pitchFamily="2" charset="0"/>
              </a:rPr>
              <a:t>(% change)</a:t>
            </a:r>
          </a:p>
        </p:txBody>
      </p:sp>
      <p:sp>
        <p:nvSpPr>
          <p:cNvPr id="105" name="TextBox 104">
            <a:extLst>
              <a:ext uri="{FF2B5EF4-FFF2-40B4-BE49-F238E27FC236}">
                <a16:creationId xmlns:a16="http://schemas.microsoft.com/office/drawing/2014/main" id="{1363392A-1BB3-B133-547E-68E043C4DA98}"/>
              </a:ext>
            </a:extLst>
          </p:cNvPr>
          <p:cNvSpPr txBox="1"/>
          <p:nvPr/>
        </p:nvSpPr>
        <p:spPr>
          <a:xfrm>
            <a:off x="822325" y="1792288"/>
            <a:ext cx="3627438" cy="261610"/>
          </a:xfrm>
          <a:prstGeom prst="rect">
            <a:avLst/>
          </a:prstGeom>
          <a:noFill/>
        </p:spPr>
        <p:txBody>
          <a:bodyPr wrap="square" rtlCol="0">
            <a:spAutoFit/>
          </a:bodyPr>
          <a:lstStyle/>
          <a:p>
            <a:r>
              <a:rPr lang="en-GB" sz="1100" b="1">
                <a:latin typeface="Poppins" panose="00000500000000000000" pitchFamily="2" charset="0"/>
                <a:cs typeface="Poppins" panose="00000500000000000000" pitchFamily="2" charset="0"/>
              </a:rPr>
              <a:t>Chargeable weight </a:t>
            </a:r>
            <a:r>
              <a:rPr lang="en-GB" sz="1100">
                <a:latin typeface="Poppins" panose="00000500000000000000" pitchFamily="2" charset="0"/>
                <a:cs typeface="Poppins" panose="00000500000000000000" pitchFamily="2" charset="0"/>
              </a:rPr>
              <a:t>(% change)</a:t>
            </a:r>
          </a:p>
        </p:txBody>
      </p:sp>
      <p:sp>
        <p:nvSpPr>
          <p:cNvPr id="106" name="TextBox 105">
            <a:extLst>
              <a:ext uri="{FF2B5EF4-FFF2-40B4-BE49-F238E27FC236}">
                <a16:creationId xmlns:a16="http://schemas.microsoft.com/office/drawing/2014/main" id="{B6CECE3F-2DD3-9848-61CB-5D61B786F6D6}"/>
              </a:ext>
            </a:extLst>
          </p:cNvPr>
          <p:cNvSpPr txBox="1"/>
          <p:nvPr/>
        </p:nvSpPr>
        <p:spPr>
          <a:xfrm>
            <a:off x="839788" y="4217988"/>
            <a:ext cx="3627438" cy="261610"/>
          </a:xfrm>
          <a:prstGeom prst="rect">
            <a:avLst/>
          </a:prstGeom>
          <a:noFill/>
        </p:spPr>
        <p:txBody>
          <a:bodyPr wrap="square" rtlCol="0">
            <a:spAutoFit/>
          </a:bodyPr>
          <a:lstStyle/>
          <a:p>
            <a:r>
              <a:rPr lang="en-GB" sz="1100" b="1">
                <a:latin typeface="Poppins" panose="00000500000000000000" pitchFamily="2" charset="0"/>
                <a:cs typeface="Poppins" panose="00000500000000000000" pitchFamily="2" charset="0"/>
              </a:rPr>
              <a:t>Dynamic load factor </a:t>
            </a:r>
            <a:r>
              <a:rPr lang="en-GB" sz="1100">
                <a:latin typeface="Poppins" panose="00000500000000000000" pitchFamily="2" charset="0"/>
                <a:cs typeface="Poppins" panose="00000500000000000000" pitchFamily="2" charset="0"/>
              </a:rPr>
              <a:t>(% points change)</a:t>
            </a:r>
          </a:p>
        </p:txBody>
      </p:sp>
      <p:sp>
        <p:nvSpPr>
          <p:cNvPr id="107" name="TextBox 106">
            <a:extLst>
              <a:ext uri="{FF2B5EF4-FFF2-40B4-BE49-F238E27FC236}">
                <a16:creationId xmlns:a16="http://schemas.microsoft.com/office/drawing/2014/main" id="{92A4A1AE-F0BD-E696-BBF1-927ADB68572C}"/>
              </a:ext>
            </a:extLst>
          </p:cNvPr>
          <p:cNvSpPr txBox="1"/>
          <p:nvPr/>
        </p:nvSpPr>
        <p:spPr>
          <a:xfrm>
            <a:off x="6405562" y="4172836"/>
            <a:ext cx="2130425" cy="261610"/>
          </a:xfrm>
          <a:prstGeom prst="rect">
            <a:avLst/>
          </a:prstGeom>
          <a:noFill/>
        </p:spPr>
        <p:txBody>
          <a:bodyPr wrap="square" rtlCol="0">
            <a:spAutoFit/>
          </a:bodyPr>
          <a:lstStyle/>
          <a:p>
            <a:r>
              <a:rPr lang="en-GB" sz="1100" b="1">
                <a:latin typeface="Poppins" panose="00000500000000000000" pitchFamily="2" charset="0"/>
                <a:cs typeface="Poppins" panose="00000500000000000000" pitchFamily="2" charset="0"/>
              </a:rPr>
              <a:t>Rates </a:t>
            </a:r>
            <a:r>
              <a:rPr lang="en-GB" sz="1100">
                <a:latin typeface="Poppins" panose="00000500000000000000" pitchFamily="2" charset="0"/>
                <a:cs typeface="Poppins" panose="00000500000000000000" pitchFamily="2" charset="0"/>
              </a:rPr>
              <a:t>(% change)</a:t>
            </a:r>
          </a:p>
        </p:txBody>
      </p:sp>
      <p:sp>
        <p:nvSpPr>
          <p:cNvPr id="271" name="Text Placeholder 2">
            <a:extLst>
              <a:ext uri="{FF2B5EF4-FFF2-40B4-BE49-F238E27FC236}">
                <a16:creationId xmlns:a16="http://schemas.microsoft.com/office/drawing/2014/main" id="{61094CDF-3D01-5126-7969-6F62789EAC01}"/>
              </a:ext>
            </a:extLst>
          </p:cNvPr>
          <p:cNvSpPr>
            <a:spLocks noGrp="1"/>
          </p:cNvSpPr>
          <p:nvPr>
            <p:custDataLst>
              <p:tags r:id="rId16"/>
            </p:custDataLst>
          </p:nvPr>
        </p:nvSpPr>
        <p:spPr bwMode="auto">
          <a:xfrm>
            <a:off x="5287963" y="4849813"/>
            <a:ext cx="312738" cy="404813"/>
          </a:xfrm>
          <a:prstGeom prst="roundRect">
            <a:avLst>
              <a:gd name="adj" fmla="val 49746"/>
            </a:avLst>
          </a:prstGeom>
          <a:solidFill>
            <a:schemeClr val="bg1"/>
          </a:solidFill>
          <a:ln w="9525" algn="ctr">
            <a:solidFill>
              <a:schemeClr val="tx1"/>
            </a:solidFill>
          </a:ln>
          <a:effectLst/>
        </p:spPr>
        <p:txBody>
          <a:bodyPr vert="horz" wrap="none" lIns="0" tIns="1588" rIns="271463"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spcBef>
                <a:spcPct val="0"/>
              </a:spcBef>
              <a:spcAft>
                <a:spcPct val="0"/>
              </a:spcAft>
              <a:buNone/>
            </a:pPr>
            <a:r>
              <a:rPr lang="en-GB" sz="1050">
                <a:solidFill>
                  <a:srgbClr val="10183A"/>
                </a:solidFill>
                <a:latin typeface="Poppins" panose="00000500000000000000" pitchFamily="2" charset="0"/>
                <a:cs typeface="Poppins" panose="00000500000000000000" pitchFamily="2" charset="0"/>
              </a:rPr>
              <a:t>DLF </a:t>
            </a:r>
            <a:fld id="{7AF1CD8C-0D4E-430E-8645-D3DFFE9F8F8F}" type="datetime' '">
              <a:rPr lang="en-GB" altLang="en-US" sz="1050" smtClean="0">
                <a:solidFill>
                  <a:srgbClr val="10183A"/>
                </a:solidFill>
                <a:effectLst/>
                <a:latin typeface="Poppins" panose="00000500000000000000" pitchFamily="2" charset="0"/>
                <a:cs typeface="Poppins" panose="00000500000000000000" pitchFamily="2" charset="0"/>
              </a:rPr>
              <a:pPr marL="0" lvl="2" indent="0">
                <a:spcBef>
                  <a:spcPct val="0"/>
                </a:spcBef>
                <a:spcAft>
                  <a:spcPct val="0"/>
                </a:spcAft>
                <a:buNone/>
              </a:pPr>
              <a:t> </a:t>
            </a:fld>
            <a:br>
              <a:rPr lang="en-GB" altLang="en-US" sz="1050">
                <a:solidFill>
                  <a:srgbClr val="10183A"/>
                </a:solidFill>
                <a:effectLst/>
                <a:latin typeface="Poppins" panose="00000500000000000000" pitchFamily="2" charset="0"/>
                <a:cs typeface="Poppins" panose="00000500000000000000" pitchFamily="2" charset="0"/>
              </a:rPr>
            </a:br>
            <a:r>
              <a:rPr lang="en-GB" altLang="en-US" sz="1050">
                <a:solidFill>
                  <a:srgbClr val="10183A"/>
                </a:solidFill>
                <a:effectLst/>
                <a:latin typeface="Poppins" panose="00000500000000000000" pitchFamily="2" charset="0"/>
                <a:cs typeface="Poppins" panose="00000500000000000000" pitchFamily="2" charset="0"/>
              </a:rPr>
              <a:t>57</a:t>
            </a:r>
            <a:r>
              <a:rPr lang="en-GB" sz="1050">
                <a:solidFill>
                  <a:srgbClr val="10183A"/>
                </a:solidFill>
                <a:latin typeface="Poppins" panose="00000500000000000000" pitchFamily="2" charset="0"/>
                <a:cs typeface="Poppins" panose="00000500000000000000" pitchFamily="2" charset="0"/>
              </a:rPr>
              <a:t>%</a:t>
            </a:r>
          </a:p>
        </p:txBody>
      </p:sp>
      <p:graphicFrame>
        <p:nvGraphicFramePr>
          <p:cNvPr id="81" name="Chart 80">
            <a:extLst>
              <a:ext uri="{FF2B5EF4-FFF2-40B4-BE49-F238E27FC236}">
                <a16:creationId xmlns:a16="http://schemas.microsoft.com/office/drawing/2014/main" id="{1FDCAC27-7BED-8ABE-2984-622A47D1F965}"/>
              </a:ext>
            </a:extLst>
          </p:cNvPr>
          <p:cNvGraphicFramePr/>
          <p:nvPr>
            <p:custDataLst>
              <p:tags r:id="rId17"/>
            </p:custDataLst>
            <p:extLst>
              <p:ext uri="{D42A27DB-BD31-4B8C-83A1-F6EECF244321}">
                <p14:modId xmlns:p14="http://schemas.microsoft.com/office/powerpoint/2010/main" val="1442388681"/>
              </p:ext>
            </p:extLst>
          </p:nvPr>
        </p:nvGraphicFramePr>
        <p:xfrm>
          <a:off x="6103938" y="4352925"/>
          <a:ext cx="5121275" cy="1719263"/>
        </p:xfrm>
        <a:graphic>
          <a:graphicData uri="http://schemas.openxmlformats.org/drawingml/2006/chart">
            <c:chart xmlns:c="http://schemas.openxmlformats.org/drawingml/2006/chart" xmlns:r="http://schemas.openxmlformats.org/officeDocument/2006/relationships" r:id="rId75"/>
          </a:graphicData>
        </a:graphic>
      </p:graphicFrame>
      <p:sp>
        <p:nvSpPr>
          <p:cNvPr id="6" name="Text Placeholder 2">
            <a:extLst>
              <a:ext uri="{FF2B5EF4-FFF2-40B4-BE49-F238E27FC236}">
                <a16:creationId xmlns:a16="http://schemas.microsoft.com/office/drawing/2014/main" id="{4EB63AB8-68BF-F752-5895-FEE87DE48FB1}"/>
              </a:ext>
            </a:extLst>
          </p:cNvPr>
          <p:cNvSpPr>
            <a:spLocks noGrp="1"/>
          </p:cNvSpPr>
          <p:nvPr>
            <p:custDataLst>
              <p:tags r:id="rId18"/>
            </p:custDataLst>
          </p:nvPr>
        </p:nvSpPr>
        <p:spPr bwMode="auto">
          <a:xfrm>
            <a:off x="8402638" y="6084888"/>
            <a:ext cx="2032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FA2FE21C-FDE7-47A7-9519-6ED660FA46E6}" type="datetime'''''''''''''J''''''u''''''''l'''''''''''''''''''''''''''''''">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Jul</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9" name="Text Placeholder 2">
            <a:extLst>
              <a:ext uri="{FF2B5EF4-FFF2-40B4-BE49-F238E27FC236}">
                <a16:creationId xmlns:a16="http://schemas.microsoft.com/office/drawing/2014/main" id="{69F454ED-9CCC-62CF-F30D-A334BC8A0D4B}"/>
              </a:ext>
            </a:extLst>
          </p:cNvPr>
          <p:cNvSpPr>
            <a:spLocks noGrp="1"/>
          </p:cNvSpPr>
          <p:nvPr>
            <p:custDataLst>
              <p:tags r:id="rId19"/>
            </p:custDataLst>
          </p:nvPr>
        </p:nvSpPr>
        <p:spPr bwMode="auto">
          <a:xfrm>
            <a:off x="7654925" y="6084888"/>
            <a:ext cx="2921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2AC9C8A1-C23F-4182-88EC-A55C4850AB1E}" type="datetime'''''''''''''''''''''''''''''''''''''''''''''''Ma''''''y'''''''">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May</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3" name="Text Placeholder 2">
            <a:extLst>
              <a:ext uri="{FF2B5EF4-FFF2-40B4-BE49-F238E27FC236}">
                <a16:creationId xmlns:a16="http://schemas.microsoft.com/office/drawing/2014/main" id="{2F6F6783-6227-334C-241D-B0C69587E518}"/>
              </a:ext>
            </a:extLst>
          </p:cNvPr>
          <p:cNvSpPr>
            <a:spLocks noGrp="1"/>
          </p:cNvSpPr>
          <p:nvPr>
            <p:custDataLst>
              <p:tags r:id="rId20"/>
            </p:custDataLst>
          </p:nvPr>
        </p:nvSpPr>
        <p:spPr bwMode="auto">
          <a:xfrm>
            <a:off x="8026400" y="6084888"/>
            <a:ext cx="2555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F13F5F23-2F23-4BF6-9D05-8F3040DC6366}" type="datetime'''''''''''''J''''u''''''''''''''n'''''''''''''''''''''''">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Jun</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7" name="Text Placeholder 2">
            <a:extLst>
              <a:ext uri="{FF2B5EF4-FFF2-40B4-BE49-F238E27FC236}">
                <a16:creationId xmlns:a16="http://schemas.microsoft.com/office/drawing/2014/main" id="{2A709262-AEC3-7443-4B92-2BD864A8DBA5}"/>
              </a:ext>
            </a:extLst>
          </p:cNvPr>
          <p:cNvSpPr>
            <a:spLocks noGrp="1"/>
          </p:cNvSpPr>
          <p:nvPr>
            <p:custDataLst>
              <p:tags r:id="rId21"/>
            </p:custDataLst>
          </p:nvPr>
        </p:nvSpPr>
        <p:spPr bwMode="auto">
          <a:xfrm>
            <a:off x="6584950" y="6084888"/>
            <a:ext cx="325438"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9B4CAA93-D65B-40E9-A061-44090860A1A3}" type="datetime'''''''''''F''e''''''''''b'''''' ''20''''''2''''2'''''''''''">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Feb 2022</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1" name="Text Placeholder 2">
            <a:extLst>
              <a:ext uri="{FF2B5EF4-FFF2-40B4-BE49-F238E27FC236}">
                <a16:creationId xmlns:a16="http://schemas.microsoft.com/office/drawing/2014/main" id="{6AF1F9A0-3633-4E39-B792-CC820F9A9084}"/>
              </a:ext>
            </a:extLst>
          </p:cNvPr>
          <p:cNvSpPr>
            <a:spLocks noGrp="1"/>
          </p:cNvSpPr>
          <p:nvPr>
            <p:custDataLst>
              <p:tags r:id="rId22"/>
            </p:custDataLst>
          </p:nvPr>
        </p:nvSpPr>
        <p:spPr bwMode="auto">
          <a:xfrm>
            <a:off x="6964363" y="6084888"/>
            <a:ext cx="2667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0DD7F19D-39B6-4DD0-A82C-C895731F7E87}" type="datetime'''M''''''''''''''''''''''''''''''''a''''''''''''''''''r'''''">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Mar</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 name="Text Placeholder 2">
            <a:extLst>
              <a:ext uri="{FF2B5EF4-FFF2-40B4-BE49-F238E27FC236}">
                <a16:creationId xmlns:a16="http://schemas.microsoft.com/office/drawing/2014/main" id="{853E3AE6-E7F7-94AD-D7C1-36CA3347A7E8}"/>
              </a:ext>
            </a:extLst>
          </p:cNvPr>
          <p:cNvSpPr>
            <a:spLocks noGrp="1"/>
          </p:cNvSpPr>
          <p:nvPr>
            <p:custDataLst>
              <p:tags r:id="rId23"/>
            </p:custDataLst>
          </p:nvPr>
        </p:nvSpPr>
        <p:spPr bwMode="auto">
          <a:xfrm>
            <a:off x="8716963" y="6084888"/>
            <a:ext cx="2794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CB684B62-27D4-451E-B0A8-587D12FFBCAB}" type="datetime'''''''A''''''''''''''''u''''''''''''''''g'''''''''''''''''''''">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Aug</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2" name="Text Placeholder 2">
            <a:extLst>
              <a:ext uri="{FF2B5EF4-FFF2-40B4-BE49-F238E27FC236}">
                <a16:creationId xmlns:a16="http://schemas.microsoft.com/office/drawing/2014/main" id="{D2F5D0D7-DC31-0DBB-3B98-5FB9900FF705}"/>
              </a:ext>
            </a:extLst>
          </p:cNvPr>
          <p:cNvSpPr>
            <a:spLocks noGrp="1"/>
          </p:cNvSpPr>
          <p:nvPr>
            <p:custDataLst>
              <p:tags r:id="rId24"/>
            </p:custDataLst>
          </p:nvPr>
        </p:nvSpPr>
        <p:spPr bwMode="auto">
          <a:xfrm>
            <a:off x="7329488" y="6084888"/>
            <a:ext cx="2428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752F4B64-D277-4258-9AB3-4D3CB52187FE}" type="datetime'''''''''''''''''''''Ap''''''r'''">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Apr</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5" name="Text Placeholder 2">
            <a:extLst>
              <a:ext uri="{FF2B5EF4-FFF2-40B4-BE49-F238E27FC236}">
                <a16:creationId xmlns:a16="http://schemas.microsoft.com/office/drawing/2014/main" id="{9491B75F-DC0D-7DF1-7D8B-A9A8E8FD61E9}"/>
              </a:ext>
            </a:extLst>
          </p:cNvPr>
          <p:cNvSpPr>
            <a:spLocks noGrp="1"/>
          </p:cNvSpPr>
          <p:nvPr>
            <p:custDataLst>
              <p:tags r:id="rId25"/>
            </p:custDataLst>
          </p:nvPr>
        </p:nvSpPr>
        <p:spPr bwMode="auto">
          <a:xfrm>
            <a:off x="9075738" y="6084888"/>
            <a:ext cx="2635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1C9439BC-EC11-4312-8CBA-8B9AD665E22A}" type="datetime'''''''''''''''''''''''''S''''''''''''''''''''''''ep'''''''''''">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Sep</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6" name="Text Placeholder 2">
            <a:extLst>
              <a:ext uri="{FF2B5EF4-FFF2-40B4-BE49-F238E27FC236}">
                <a16:creationId xmlns:a16="http://schemas.microsoft.com/office/drawing/2014/main" id="{BF8FEA59-667E-AD81-BD68-2A4C7A58AE22}"/>
              </a:ext>
            </a:extLst>
          </p:cNvPr>
          <p:cNvSpPr>
            <a:spLocks noGrp="1"/>
          </p:cNvSpPr>
          <p:nvPr>
            <p:custDataLst>
              <p:tags r:id="rId26"/>
            </p:custDataLst>
          </p:nvPr>
        </p:nvSpPr>
        <p:spPr bwMode="auto">
          <a:xfrm>
            <a:off x="9436100" y="6084888"/>
            <a:ext cx="2476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538D9095-517E-4A46-9F4F-F790177834ED}" type="datetime'''''''''''''''''O''''''''''''''''''''''c''''''''t'''''''''''">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Oct</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7" name="Text Placeholder 2">
            <a:extLst>
              <a:ext uri="{FF2B5EF4-FFF2-40B4-BE49-F238E27FC236}">
                <a16:creationId xmlns:a16="http://schemas.microsoft.com/office/drawing/2014/main" id="{16D3A00E-0760-8004-B7A1-AA8EF6D8D41C}"/>
              </a:ext>
            </a:extLst>
          </p:cNvPr>
          <p:cNvSpPr>
            <a:spLocks noGrp="1"/>
          </p:cNvSpPr>
          <p:nvPr>
            <p:custDataLst>
              <p:tags r:id="rId27"/>
            </p:custDataLst>
          </p:nvPr>
        </p:nvSpPr>
        <p:spPr bwMode="auto">
          <a:xfrm>
            <a:off x="9777413" y="6084888"/>
            <a:ext cx="2667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724AA057-629F-4DD5-8DAC-66E59DFD5110}" type="datetime'''''''''''N''''''''''''''''''''o''''''''v'''''">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Nov</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8" name="Text Placeholder 2">
            <a:extLst>
              <a:ext uri="{FF2B5EF4-FFF2-40B4-BE49-F238E27FC236}">
                <a16:creationId xmlns:a16="http://schemas.microsoft.com/office/drawing/2014/main" id="{6A274FDE-0F5F-A040-099B-09D012D48EE0}"/>
              </a:ext>
            </a:extLst>
          </p:cNvPr>
          <p:cNvSpPr>
            <a:spLocks noGrp="1"/>
          </p:cNvSpPr>
          <p:nvPr>
            <p:custDataLst>
              <p:tags r:id="rId28"/>
            </p:custDataLst>
          </p:nvPr>
        </p:nvSpPr>
        <p:spPr bwMode="auto">
          <a:xfrm>
            <a:off x="10128250" y="6084888"/>
            <a:ext cx="2698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486ED2E7-FBF6-4B72-94C5-645D2F47874E}" type="datetime'''''''''''''Dec'''''''''''''''''''''''''''''">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Dec</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9" name="Text Placeholder 2">
            <a:extLst>
              <a:ext uri="{FF2B5EF4-FFF2-40B4-BE49-F238E27FC236}">
                <a16:creationId xmlns:a16="http://schemas.microsoft.com/office/drawing/2014/main" id="{964B1BBF-B407-C44A-77D1-FDF192716AE3}"/>
              </a:ext>
            </a:extLst>
          </p:cNvPr>
          <p:cNvSpPr>
            <a:spLocks noGrp="1"/>
          </p:cNvSpPr>
          <p:nvPr>
            <p:custDataLst>
              <p:tags r:id="rId29"/>
            </p:custDataLst>
          </p:nvPr>
        </p:nvSpPr>
        <p:spPr bwMode="auto">
          <a:xfrm>
            <a:off x="10450513" y="6084888"/>
            <a:ext cx="327025" cy="320675"/>
          </a:xfrm>
          <a:prstGeom prst="rect">
            <a:avLst/>
          </a:prstGeom>
          <a:noFill/>
          <a:ln>
            <a:noFill/>
          </a:ln>
          <a:effectLst/>
        </p:spPr>
        <p:txBody>
          <a:bodyPr vert="horz" wrap="squar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99099D2D-7EC2-40C0-A29B-1BB2AF437582}" type="datetime'''''''''''''''J''a''''''''''''n'' ''''''''''''''''20''2''3'">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Jan 2023</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93" name="Text Placeholder 2">
            <a:extLst>
              <a:ext uri="{FF2B5EF4-FFF2-40B4-BE49-F238E27FC236}">
                <a16:creationId xmlns:a16="http://schemas.microsoft.com/office/drawing/2014/main" id="{EAAB5816-5E95-A9C2-2A11-5D82EF62D996}"/>
              </a:ext>
            </a:extLst>
          </p:cNvPr>
          <p:cNvSpPr>
            <a:spLocks noGrp="1"/>
          </p:cNvSpPr>
          <p:nvPr>
            <p:custDataLst>
              <p:tags r:id="rId30"/>
            </p:custDataLst>
          </p:nvPr>
        </p:nvSpPr>
        <p:spPr bwMode="auto">
          <a:xfrm>
            <a:off x="10841038" y="6084888"/>
            <a:ext cx="252413" cy="160338"/>
          </a:xfrm>
          <a:prstGeom prst="rect">
            <a:avLst/>
          </a:prstGeom>
          <a:noFill/>
          <a:ln>
            <a:noFill/>
          </a:ln>
          <a:effectLst/>
          <a:extLst>
            <a:ext uri="{909E8E84-426E-40DD-AFC4-6F175D3DCCD1}">
              <a14:hiddenFill xmlns:a14="http://schemas.microsoft.com/office/drawing/2010/main">
                <a:solidFill>
                  <a:srgbClr val="F4F8FF"/>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41BDCAB3-12D8-462D-AC1F-5524AA8EECF8}" type="datetime'F''e''''''''''''''''''''''''b'''''''''''''''''''''''''''''''">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Feb</a:t>
            </a:fld>
            <a:endParaRPr lang="en-GB" sz="1050">
              <a:solidFill>
                <a:srgbClr val="10183A"/>
              </a:solidFill>
              <a:highlight>
                <a:srgbClr val="F4F8FF"/>
              </a:highlight>
              <a:latin typeface="Poppins" panose="00000500000000000000" pitchFamily="2" charset="0"/>
              <a:cs typeface="Poppins" panose="00000500000000000000" pitchFamily="2" charset="0"/>
              <a:sym typeface="Poppins" panose="00000500000000000000" pitchFamily="2" charset="0"/>
            </a:endParaRPr>
          </a:p>
        </p:txBody>
      </p:sp>
      <p:cxnSp>
        <p:nvCxnSpPr>
          <p:cNvPr id="20" name="Straight Connector 19">
            <a:extLst>
              <a:ext uri="{FF2B5EF4-FFF2-40B4-BE49-F238E27FC236}">
                <a16:creationId xmlns:a16="http://schemas.microsoft.com/office/drawing/2014/main" id="{1FB62189-8AB0-B291-48A9-3CB51B77C18E}"/>
              </a:ext>
            </a:extLst>
          </p:cNvPr>
          <p:cNvCxnSpPr/>
          <p:nvPr>
            <p:custDataLst>
              <p:tags r:id="rId31"/>
            </p:custDataLst>
          </p:nvPr>
        </p:nvCxnSpPr>
        <p:spPr bwMode="gray">
          <a:xfrm>
            <a:off x="10298113" y="1562100"/>
            <a:ext cx="185738" cy="0"/>
          </a:xfrm>
          <a:prstGeom prst="line">
            <a:avLst/>
          </a:prstGeom>
          <a:ln w="28575" cap="rnd" cmpd="sng" algn="ctr">
            <a:solidFill>
              <a:srgbClr val="CF00E8"/>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 name="Rectangle 20">
            <a:extLst>
              <a:ext uri="{FF2B5EF4-FFF2-40B4-BE49-F238E27FC236}">
                <a16:creationId xmlns:a16="http://schemas.microsoft.com/office/drawing/2014/main" id="{F6D863E2-8629-3703-6C4F-C073587AB6EB}"/>
              </a:ext>
            </a:extLst>
          </p:cNvPr>
          <p:cNvSpPr/>
          <p:nvPr>
            <p:custDataLst>
              <p:tags r:id="rId32"/>
            </p:custDataLst>
          </p:nvPr>
        </p:nvSpPr>
        <p:spPr bwMode="auto">
          <a:xfrm>
            <a:off x="10283825" y="1716088"/>
            <a:ext cx="214313" cy="160338"/>
          </a:xfrm>
          <a:prstGeom prst="rect">
            <a:avLst/>
          </a:prstGeom>
          <a:solidFill>
            <a:srgbClr val="0065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a:solidFill>
                <a:schemeClr val="bg1"/>
              </a:solidFill>
            </a:endParaRPr>
          </a:p>
        </p:txBody>
      </p:sp>
      <p:sp>
        <p:nvSpPr>
          <p:cNvPr id="23" name="Text Placeholder 2">
            <a:extLst>
              <a:ext uri="{FF2B5EF4-FFF2-40B4-BE49-F238E27FC236}">
                <a16:creationId xmlns:a16="http://schemas.microsoft.com/office/drawing/2014/main" id="{2038CD29-1299-0259-307D-DF3914D77B53}"/>
              </a:ext>
            </a:extLst>
          </p:cNvPr>
          <p:cNvSpPr>
            <a:spLocks noGrp="1"/>
          </p:cNvSpPr>
          <p:nvPr>
            <p:custDataLst>
              <p:tags r:id="rId33"/>
            </p:custDataLst>
          </p:nvPr>
        </p:nvSpPr>
        <p:spPr bwMode="auto">
          <a:xfrm>
            <a:off x="10548938" y="1477963"/>
            <a:ext cx="5334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spcBef>
                <a:spcPct val="0"/>
              </a:spcBef>
              <a:spcAft>
                <a:spcPct val="0"/>
              </a:spcAft>
              <a:buNone/>
            </a:pPr>
            <a:fld id="{DE8F2EA4-32F0-4000-908C-BEEC291FA18B}" type="datetime'v''''''''''s'''''' 2''''''''''''''''''''''''01''''''''''''9'''">
              <a:rPr lang="en-GB" altLang="en-US" sz="1200" smtClean="0">
                <a:solidFill>
                  <a:srgbClr val="10183A"/>
                </a:solidFill>
                <a:latin typeface="Poppins" panose="00000500000000000000" pitchFamily="2" charset="0"/>
                <a:cs typeface="Poppins" panose="00000500000000000000" pitchFamily="2" charset="0"/>
              </a:rPr>
              <a:pPr marL="0" lvl="2" indent="0">
                <a:spcBef>
                  <a:spcPct val="0"/>
                </a:spcBef>
                <a:spcAft>
                  <a:spcPct val="0"/>
                </a:spcAft>
                <a:buNone/>
              </a:pPr>
              <a:t>vs 2019</a:t>
            </a:fld>
            <a:endParaRPr lang="en-GB" sz="120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22" name="Text Placeholder 2">
            <a:extLst>
              <a:ext uri="{FF2B5EF4-FFF2-40B4-BE49-F238E27FC236}">
                <a16:creationId xmlns:a16="http://schemas.microsoft.com/office/drawing/2014/main" id="{F0104106-670B-C3CB-A81A-41C388F2E107}"/>
              </a:ext>
            </a:extLst>
          </p:cNvPr>
          <p:cNvSpPr>
            <a:spLocks noGrp="1"/>
          </p:cNvSpPr>
          <p:nvPr>
            <p:custDataLst>
              <p:tags r:id="rId34"/>
            </p:custDataLst>
          </p:nvPr>
        </p:nvSpPr>
        <p:spPr bwMode="auto">
          <a:xfrm>
            <a:off x="10548938" y="1711325"/>
            <a:ext cx="2746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spcBef>
                <a:spcPct val="0"/>
              </a:spcBef>
              <a:spcAft>
                <a:spcPct val="0"/>
              </a:spcAft>
              <a:buNone/>
            </a:pPr>
            <a:fld id="{6908036B-8738-43AC-9C41-7555D65E4184}" type="datetime'''''''''''''''''''''Y''''''''''''o''''''''Y'''''''''''">
              <a:rPr lang="en-GB" altLang="en-US" sz="1200" smtClean="0">
                <a:solidFill>
                  <a:srgbClr val="10183A"/>
                </a:solidFill>
                <a:latin typeface="Poppins" panose="00000500000000000000" pitchFamily="2" charset="0"/>
                <a:cs typeface="Poppins" panose="00000500000000000000" pitchFamily="2" charset="0"/>
              </a:rPr>
              <a:pPr marL="0" lvl="2" indent="0">
                <a:spcBef>
                  <a:spcPct val="0"/>
                </a:spcBef>
                <a:spcAft>
                  <a:spcPct val="0"/>
                </a:spcAft>
                <a:buNone/>
              </a:pPr>
              <a:t>YoY</a:t>
            </a:fld>
            <a:endParaRPr lang="en-GB" sz="120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graphicFrame>
        <p:nvGraphicFramePr>
          <p:cNvPr id="281" name="Chart 280">
            <a:extLst>
              <a:ext uri="{FF2B5EF4-FFF2-40B4-BE49-F238E27FC236}">
                <a16:creationId xmlns:a16="http://schemas.microsoft.com/office/drawing/2014/main" id="{91D9BA3B-0C32-9EFA-0BC0-68A4C765DB99}"/>
              </a:ext>
            </a:extLst>
          </p:cNvPr>
          <p:cNvGraphicFramePr/>
          <p:nvPr>
            <p:custDataLst>
              <p:tags r:id="rId35"/>
            </p:custDataLst>
            <p:extLst>
              <p:ext uri="{D42A27DB-BD31-4B8C-83A1-F6EECF244321}">
                <p14:modId xmlns:p14="http://schemas.microsoft.com/office/powerpoint/2010/main" val="2794899447"/>
              </p:ext>
            </p:extLst>
          </p:nvPr>
        </p:nvGraphicFramePr>
        <p:xfrm>
          <a:off x="612775" y="1968500"/>
          <a:ext cx="5091113" cy="1719263"/>
        </p:xfrm>
        <a:graphic>
          <a:graphicData uri="http://schemas.openxmlformats.org/drawingml/2006/chart">
            <c:chart xmlns:c="http://schemas.openxmlformats.org/drawingml/2006/chart" xmlns:r="http://schemas.openxmlformats.org/officeDocument/2006/relationships" r:id="rId76"/>
          </a:graphicData>
        </a:graphic>
      </p:graphicFrame>
      <p:cxnSp>
        <p:nvCxnSpPr>
          <p:cNvPr id="84" name="Straight Connector 83">
            <a:extLst>
              <a:ext uri="{FF2B5EF4-FFF2-40B4-BE49-F238E27FC236}">
                <a16:creationId xmlns:a16="http://schemas.microsoft.com/office/drawing/2014/main" id="{2F2C082A-C374-67E6-79A0-35A045E51C80}"/>
              </a:ext>
            </a:extLst>
          </p:cNvPr>
          <p:cNvCxnSpPr/>
          <p:nvPr>
            <p:custDataLst>
              <p:tags r:id="rId36"/>
            </p:custDataLst>
          </p:nvPr>
        </p:nvCxnSpPr>
        <p:spPr bwMode="gray">
          <a:xfrm flipH="1" flipV="1">
            <a:off x="5445125" y="3243263"/>
            <a:ext cx="6350" cy="166687"/>
          </a:xfrm>
          <a:prstGeom prst="line">
            <a:avLst/>
          </a:prstGeom>
          <a:ln w="6350" cap="flat" cmpd="sng" algn="ctr">
            <a:solidFill>
              <a:srgbClr val="10183A"/>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 name="Text Placeholder 2">
            <a:extLst>
              <a:ext uri="{FF2B5EF4-FFF2-40B4-BE49-F238E27FC236}">
                <a16:creationId xmlns:a16="http://schemas.microsoft.com/office/drawing/2014/main" id="{69DD3290-EEBF-C51D-DFF8-EDB59B191428}"/>
              </a:ext>
            </a:extLst>
          </p:cNvPr>
          <p:cNvSpPr>
            <a:spLocks noGrp="1"/>
          </p:cNvSpPr>
          <p:nvPr>
            <p:custDataLst>
              <p:tags r:id="rId37"/>
            </p:custDataLst>
          </p:nvPr>
        </p:nvSpPr>
        <p:spPr bwMode="auto">
          <a:xfrm>
            <a:off x="2497138" y="3629025"/>
            <a:ext cx="2555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5A1E414B-8EDA-4506-AB19-CA97D48404A6}" type="datetime'''''''''''''''''''''''Ju''''''''''''''n'''''''''''''''">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Jun</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25" name="Text Placeholder 2">
            <a:extLst>
              <a:ext uri="{FF2B5EF4-FFF2-40B4-BE49-F238E27FC236}">
                <a16:creationId xmlns:a16="http://schemas.microsoft.com/office/drawing/2014/main" id="{AB9E2F6B-2B84-02C0-045A-CFCD982A429E}"/>
              </a:ext>
            </a:extLst>
          </p:cNvPr>
          <p:cNvSpPr>
            <a:spLocks noGrp="1"/>
          </p:cNvSpPr>
          <p:nvPr>
            <p:custDataLst>
              <p:tags r:id="rId38"/>
            </p:custDataLst>
          </p:nvPr>
        </p:nvSpPr>
        <p:spPr bwMode="auto">
          <a:xfrm>
            <a:off x="1052513" y="3629025"/>
            <a:ext cx="325438"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D0902A4A-9EB9-4BB0-8C75-F8758D5898EE}" type="datetime'''''''''''Fe''''''''''b'''''''''''''' ''''''''''''''''2''022'">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Feb 2022</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9" name="Text Placeholder 2">
            <a:extLst>
              <a:ext uri="{FF2B5EF4-FFF2-40B4-BE49-F238E27FC236}">
                <a16:creationId xmlns:a16="http://schemas.microsoft.com/office/drawing/2014/main" id="{B3D0FA62-B746-9A3C-340D-33F07301D01D}"/>
              </a:ext>
            </a:extLst>
          </p:cNvPr>
          <p:cNvSpPr>
            <a:spLocks noGrp="1"/>
          </p:cNvSpPr>
          <p:nvPr>
            <p:custDataLst>
              <p:tags r:id="rId39"/>
            </p:custDataLst>
          </p:nvPr>
        </p:nvSpPr>
        <p:spPr bwMode="auto">
          <a:xfrm>
            <a:off x="4254500" y="3629025"/>
            <a:ext cx="2667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A6E5B475-268D-44F0-A593-22A728C16588}" type="datetime'''''''N''''''''''''''''''''''''''''o''''''''''''''''v'''''">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Nov</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1" name="Text Placeholder 2">
            <a:extLst>
              <a:ext uri="{FF2B5EF4-FFF2-40B4-BE49-F238E27FC236}">
                <a16:creationId xmlns:a16="http://schemas.microsoft.com/office/drawing/2014/main" id="{9868FAD0-B8F2-E443-C250-70CB3FDE89C1}"/>
              </a:ext>
            </a:extLst>
          </p:cNvPr>
          <p:cNvSpPr>
            <a:spLocks noGrp="1"/>
          </p:cNvSpPr>
          <p:nvPr>
            <p:custDataLst>
              <p:tags r:id="rId40"/>
            </p:custDataLst>
          </p:nvPr>
        </p:nvSpPr>
        <p:spPr bwMode="auto">
          <a:xfrm>
            <a:off x="1433513" y="3629025"/>
            <a:ext cx="2667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3CF244CC-E716-4B04-AE73-AA8192B1298F}" type="datetime'''''''''''''''''M''''''''''''''''''''''a''''''r'''''''">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Mar</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7" name="Text Placeholder 2">
            <a:extLst>
              <a:ext uri="{FF2B5EF4-FFF2-40B4-BE49-F238E27FC236}">
                <a16:creationId xmlns:a16="http://schemas.microsoft.com/office/drawing/2014/main" id="{AC6FED6D-C2DF-17D8-7318-ADAD1B98B704}"/>
              </a:ext>
            </a:extLst>
          </p:cNvPr>
          <p:cNvSpPr>
            <a:spLocks noGrp="1"/>
          </p:cNvSpPr>
          <p:nvPr>
            <p:custDataLst>
              <p:tags r:id="rId41"/>
            </p:custDataLst>
          </p:nvPr>
        </p:nvSpPr>
        <p:spPr bwMode="auto">
          <a:xfrm>
            <a:off x="3551238" y="3629025"/>
            <a:ext cx="2635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B4A8D089-3BD3-4BF6-8B26-0D737C5107E4}" type="datetime'''''''''''S''''''''''''e''''p'''''">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Sep</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4" name="Text Placeholder 2">
            <a:extLst>
              <a:ext uri="{FF2B5EF4-FFF2-40B4-BE49-F238E27FC236}">
                <a16:creationId xmlns:a16="http://schemas.microsoft.com/office/drawing/2014/main" id="{B87F1555-C46A-D821-2BE6-DE6AEF246171}"/>
              </a:ext>
            </a:extLst>
          </p:cNvPr>
          <p:cNvSpPr>
            <a:spLocks noGrp="1"/>
          </p:cNvSpPr>
          <p:nvPr>
            <p:custDataLst>
              <p:tags r:id="rId42"/>
            </p:custDataLst>
          </p:nvPr>
        </p:nvSpPr>
        <p:spPr bwMode="auto">
          <a:xfrm>
            <a:off x="2125663" y="3629025"/>
            <a:ext cx="2921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73DF9DD4-F5A1-4B35-8592-85307D00CB5B}" type="datetime'''''''''''''''''''''''''''''''''''M''a''''''''''''y'''''''">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May</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3" name="Text Placeholder 2">
            <a:extLst>
              <a:ext uri="{FF2B5EF4-FFF2-40B4-BE49-F238E27FC236}">
                <a16:creationId xmlns:a16="http://schemas.microsoft.com/office/drawing/2014/main" id="{9EBDCB96-5BD5-A57F-2034-98D1F0C95EAE}"/>
              </a:ext>
            </a:extLst>
          </p:cNvPr>
          <p:cNvSpPr>
            <a:spLocks noGrp="1"/>
          </p:cNvSpPr>
          <p:nvPr>
            <p:custDataLst>
              <p:tags r:id="rId43"/>
            </p:custDataLst>
          </p:nvPr>
        </p:nvSpPr>
        <p:spPr bwMode="auto">
          <a:xfrm>
            <a:off x="3189288" y="3629025"/>
            <a:ext cx="2794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74E909D9-7AFB-4316-ABD3-E23BBD276DD6}" type="datetime'''''''''A''''''''''''''''''''u''''''''''''''''''''g'''">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Aug</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2" name="Text Placeholder 2">
            <a:extLst>
              <a:ext uri="{FF2B5EF4-FFF2-40B4-BE49-F238E27FC236}">
                <a16:creationId xmlns:a16="http://schemas.microsoft.com/office/drawing/2014/main" id="{8FEB97FD-6E7E-7B96-376B-FAB55B1B1F8F}"/>
              </a:ext>
            </a:extLst>
          </p:cNvPr>
          <p:cNvSpPr>
            <a:spLocks noGrp="1"/>
          </p:cNvSpPr>
          <p:nvPr>
            <p:custDataLst>
              <p:tags r:id="rId44"/>
            </p:custDataLst>
          </p:nvPr>
        </p:nvSpPr>
        <p:spPr bwMode="auto">
          <a:xfrm>
            <a:off x="1798638" y="3629025"/>
            <a:ext cx="2428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798EDCF5-E813-4881-9C03-8200AA8D691A}" type="datetime'''''''''''Ap''''''''''''''''r'''''''''''''''''''">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Apr</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6" name="Text Placeholder 2">
            <a:extLst>
              <a:ext uri="{FF2B5EF4-FFF2-40B4-BE49-F238E27FC236}">
                <a16:creationId xmlns:a16="http://schemas.microsoft.com/office/drawing/2014/main" id="{3BB2B606-69AB-62A0-C612-34A4AA1254EB}"/>
              </a:ext>
            </a:extLst>
          </p:cNvPr>
          <p:cNvSpPr>
            <a:spLocks noGrp="1"/>
          </p:cNvSpPr>
          <p:nvPr>
            <p:custDataLst>
              <p:tags r:id="rId45"/>
            </p:custDataLst>
          </p:nvPr>
        </p:nvSpPr>
        <p:spPr bwMode="auto">
          <a:xfrm>
            <a:off x="2874963" y="3629025"/>
            <a:ext cx="2032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8DC5AB25-8C19-4F3B-B679-6A46FA03E167}" type="datetime'J''u''''''''''''''''''''''l'''''''''''''''''''''''''">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Jul</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8" name="Text Placeholder 2">
            <a:extLst>
              <a:ext uri="{FF2B5EF4-FFF2-40B4-BE49-F238E27FC236}">
                <a16:creationId xmlns:a16="http://schemas.microsoft.com/office/drawing/2014/main" id="{B69A8E11-E0A8-6335-99C6-97086BD4E80F}"/>
              </a:ext>
            </a:extLst>
          </p:cNvPr>
          <p:cNvSpPr>
            <a:spLocks noGrp="1"/>
          </p:cNvSpPr>
          <p:nvPr>
            <p:custDataLst>
              <p:tags r:id="rId46"/>
            </p:custDataLst>
          </p:nvPr>
        </p:nvSpPr>
        <p:spPr bwMode="auto">
          <a:xfrm>
            <a:off x="3911600" y="3629025"/>
            <a:ext cx="2476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3B7D60A3-950C-43FA-BF1F-7CBDB7F7CC7E}" type="datetime'''''''''''''''''Oc''t'''''''''''''''''''''''''''''''''''''">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Oct</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40" name="Text Placeholder 2">
            <a:extLst>
              <a:ext uri="{FF2B5EF4-FFF2-40B4-BE49-F238E27FC236}">
                <a16:creationId xmlns:a16="http://schemas.microsoft.com/office/drawing/2014/main" id="{769C75A2-E94D-BF50-1DEC-33B46545A3D3}"/>
              </a:ext>
            </a:extLst>
          </p:cNvPr>
          <p:cNvSpPr>
            <a:spLocks noGrp="1"/>
          </p:cNvSpPr>
          <p:nvPr>
            <p:custDataLst>
              <p:tags r:id="rId47"/>
            </p:custDataLst>
          </p:nvPr>
        </p:nvSpPr>
        <p:spPr bwMode="auto">
          <a:xfrm>
            <a:off x="4605338" y="3629025"/>
            <a:ext cx="2698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91221294-E8F4-415F-A595-112177C12B4E}" type="datetime'''De''''''''c'''''''''''''''''''''''">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Dec</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26" name="Text Placeholder 2">
            <a:extLst>
              <a:ext uri="{FF2B5EF4-FFF2-40B4-BE49-F238E27FC236}">
                <a16:creationId xmlns:a16="http://schemas.microsoft.com/office/drawing/2014/main" id="{53119203-1966-F90C-AE9F-3794C1A183C6}"/>
              </a:ext>
            </a:extLst>
          </p:cNvPr>
          <p:cNvSpPr>
            <a:spLocks noGrp="1"/>
          </p:cNvSpPr>
          <p:nvPr>
            <p:custDataLst>
              <p:tags r:id="rId48"/>
            </p:custDataLst>
          </p:nvPr>
        </p:nvSpPr>
        <p:spPr bwMode="auto">
          <a:xfrm>
            <a:off x="4929188" y="3629025"/>
            <a:ext cx="327025"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5389F7BB-185B-4E2D-97A6-4CB369E79F56}" type="datetime'''''''''''''J''''''''''''''''an'''''''''''' ''''2023'''">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Jan 2023</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 name="Text Placeholder 2">
            <a:extLst>
              <a:ext uri="{FF2B5EF4-FFF2-40B4-BE49-F238E27FC236}">
                <a16:creationId xmlns:a16="http://schemas.microsoft.com/office/drawing/2014/main" id="{4357D43E-9AE5-ED92-9DBB-B7B10E3E3722}"/>
              </a:ext>
            </a:extLst>
          </p:cNvPr>
          <p:cNvSpPr>
            <a:spLocks noGrp="1"/>
          </p:cNvSpPr>
          <p:nvPr>
            <p:custDataLst>
              <p:tags r:id="rId49"/>
            </p:custDataLst>
          </p:nvPr>
        </p:nvSpPr>
        <p:spPr bwMode="auto">
          <a:xfrm>
            <a:off x="5319713" y="3629025"/>
            <a:ext cx="2524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27EBD90A-85A2-4BD2-A77D-9AE88AF3214A}" type="datetime'''''''F''''''e''''''''''b'''''''''''''">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Feb</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useBgFill="1">
        <p:nvSpPr>
          <p:cNvPr id="41" name="Text Placeholder 2">
            <a:extLst>
              <a:ext uri="{FF2B5EF4-FFF2-40B4-BE49-F238E27FC236}">
                <a16:creationId xmlns:a16="http://schemas.microsoft.com/office/drawing/2014/main" id="{E19D14A1-BE43-D4FD-95B0-853AE9BFBE95}"/>
              </a:ext>
            </a:extLst>
          </p:cNvPr>
          <p:cNvSpPr>
            <a:spLocks noGrp="1"/>
          </p:cNvSpPr>
          <p:nvPr>
            <p:custDataLst>
              <p:tags r:id="rId50"/>
            </p:custDataLst>
          </p:nvPr>
        </p:nvSpPr>
        <p:spPr bwMode="gray">
          <a:xfrm>
            <a:off x="1470025" y="3155950"/>
            <a:ext cx="195263" cy="144463"/>
          </a:xfrm>
          <a:prstGeom prst="rect">
            <a:avLst/>
          </a:prstGeom>
          <a:ln>
            <a:noFill/>
          </a:ln>
          <a:effectLst/>
        </p:spPr>
        <p:txBody>
          <a:bodyPr vert="horz" wrap="none" lIns="19050" tIns="0" rIns="1905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lnSpc>
                <a:spcPct val="90000"/>
              </a:lnSpc>
              <a:spcBef>
                <a:spcPct val="0"/>
              </a:spcBef>
              <a:spcAft>
                <a:spcPct val="0"/>
              </a:spcAft>
              <a:buNone/>
            </a:pPr>
            <a:fld id="{1FDDE42B-D682-41D2-8CA5-DDC5CC8B291C}" type="datetime'-''''''''''''''''''5'''''''''''''''''''''''''''">
              <a:rPr lang="en-US" altLang="en-US" sz="1050" smtClean="0">
                <a:solidFill>
                  <a:srgbClr val="10183A"/>
                </a:solidFill>
                <a:effectLst/>
                <a:latin typeface="Poppins" panose="00000500000000000000" pitchFamily="2" charset="0"/>
                <a:cs typeface="Poppins" panose="00000500000000000000" pitchFamily="2" charset="0"/>
              </a:rPr>
              <a:pPr marL="0" lvl="2" indent="0" algn="ctr">
                <a:lnSpc>
                  <a:spcPct val="90000"/>
                </a:lnSpc>
                <a:spcBef>
                  <a:spcPct val="0"/>
                </a:spcBef>
                <a:spcAft>
                  <a:spcPct val="0"/>
                </a:spcAft>
                <a:buNone/>
              </a:pPr>
              <a:t>-5</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useBgFill="1">
        <p:nvSpPr>
          <p:cNvPr id="42" name="Text Placeholder 2">
            <a:extLst>
              <a:ext uri="{FF2B5EF4-FFF2-40B4-BE49-F238E27FC236}">
                <a16:creationId xmlns:a16="http://schemas.microsoft.com/office/drawing/2014/main" id="{3B915FA7-4008-034D-CBC8-ACD766542AD7}"/>
              </a:ext>
            </a:extLst>
          </p:cNvPr>
          <p:cNvSpPr>
            <a:spLocks noGrp="1"/>
          </p:cNvSpPr>
          <p:nvPr>
            <p:custDataLst>
              <p:tags r:id="rId51"/>
            </p:custDataLst>
          </p:nvPr>
        </p:nvSpPr>
        <p:spPr bwMode="gray">
          <a:xfrm>
            <a:off x="4291013" y="3286125"/>
            <a:ext cx="195263" cy="144463"/>
          </a:xfrm>
          <a:prstGeom prst="rect">
            <a:avLst/>
          </a:prstGeom>
          <a:ln>
            <a:noFill/>
          </a:ln>
          <a:effectLst/>
        </p:spPr>
        <p:txBody>
          <a:bodyPr vert="horz" wrap="none" lIns="19050" tIns="0" rIns="1905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lnSpc>
                <a:spcPct val="90000"/>
              </a:lnSpc>
              <a:spcBef>
                <a:spcPct val="0"/>
              </a:spcBef>
              <a:spcAft>
                <a:spcPct val="0"/>
              </a:spcAft>
              <a:buNone/>
            </a:pPr>
            <a:fld id="{E31EB478-9F8F-46B3-B1EB-38C1505D91F1}" type="datetime'''''''''''''-''''''''''''''8'''''''''''''''''''''''''''''">
              <a:rPr lang="en-US" altLang="en-US" sz="1050" smtClean="0">
                <a:solidFill>
                  <a:srgbClr val="10183A"/>
                </a:solidFill>
                <a:effectLst/>
                <a:latin typeface="Poppins" panose="00000500000000000000" pitchFamily="2" charset="0"/>
                <a:cs typeface="Poppins" panose="00000500000000000000" pitchFamily="2" charset="0"/>
              </a:rPr>
              <a:pPr marL="0" lvl="2" indent="0" algn="ctr">
                <a:lnSpc>
                  <a:spcPct val="90000"/>
                </a:lnSpc>
                <a:spcBef>
                  <a:spcPct val="0"/>
                </a:spcBef>
                <a:spcAft>
                  <a:spcPct val="0"/>
                </a:spcAft>
                <a:buNone/>
              </a:pPr>
              <a:t>-8</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useBgFill="1">
        <p:nvSpPr>
          <p:cNvPr id="44" name="Text Placeholder 2">
            <a:extLst>
              <a:ext uri="{FF2B5EF4-FFF2-40B4-BE49-F238E27FC236}">
                <a16:creationId xmlns:a16="http://schemas.microsoft.com/office/drawing/2014/main" id="{EDB8905F-73E0-2EA7-E716-975A4BA8B0EE}"/>
              </a:ext>
            </a:extLst>
          </p:cNvPr>
          <p:cNvSpPr>
            <a:spLocks noGrp="1"/>
          </p:cNvSpPr>
          <p:nvPr>
            <p:custDataLst>
              <p:tags r:id="rId52"/>
            </p:custDataLst>
          </p:nvPr>
        </p:nvSpPr>
        <p:spPr bwMode="gray">
          <a:xfrm>
            <a:off x="4621213" y="3394075"/>
            <a:ext cx="238125" cy="144463"/>
          </a:xfrm>
          <a:prstGeom prst="rect">
            <a:avLst/>
          </a:prstGeom>
          <a:ln>
            <a:noFill/>
          </a:ln>
          <a:effectLst/>
        </p:spPr>
        <p:txBody>
          <a:bodyPr vert="horz" wrap="none" lIns="19050" tIns="0" rIns="1905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lnSpc>
                <a:spcPct val="90000"/>
              </a:lnSpc>
              <a:spcBef>
                <a:spcPct val="0"/>
              </a:spcBef>
              <a:spcAft>
                <a:spcPct val="0"/>
              </a:spcAft>
              <a:buNone/>
            </a:pPr>
            <a:fld id="{B84A5A6F-236E-420C-8D8D-2E125A991596}" type="datetime'''''''''-''''''''''''''''''''''''''''''''''''''''''''''''''10'">
              <a:rPr lang="en-US" altLang="en-US" sz="1050" smtClean="0">
                <a:solidFill>
                  <a:srgbClr val="10183A"/>
                </a:solidFill>
                <a:effectLst/>
                <a:latin typeface="Poppins" panose="00000500000000000000" pitchFamily="2" charset="0"/>
                <a:cs typeface="Poppins" panose="00000500000000000000" pitchFamily="2" charset="0"/>
              </a:rPr>
              <a:pPr marL="0" lvl="2" indent="0" algn="ctr">
                <a:lnSpc>
                  <a:spcPct val="90000"/>
                </a:lnSpc>
                <a:spcBef>
                  <a:spcPct val="0"/>
                </a:spcBef>
                <a:spcAft>
                  <a:spcPct val="0"/>
                </a:spcAft>
                <a:buNone/>
              </a:pPr>
              <a:t>-10</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useBgFill="1">
        <p:nvSpPr>
          <p:cNvPr id="30" name="Text Placeholder 2">
            <a:extLst>
              <a:ext uri="{FF2B5EF4-FFF2-40B4-BE49-F238E27FC236}">
                <a16:creationId xmlns:a16="http://schemas.microsoft.com/office/drawing/2014/main" id="{97CB27C6-CC4E-EDB4-2314-D3DBC18B1CF7}"/>
              </a:ext>
            </a:extLst>
          </p:cNvPr>
          <p:cNvSpPr>
            <a:spLocks noGrp="1"/>
          </p:cNvSpPr>
          <p:nvPr>
            <p:custDataLst>
              <p:tags r:id="rId53"/>
            </p:custDataLst>
          </p:nvPr>
        </p:nvSpPr>
        <p:spPr bwMode="gray">
          <a:xfrm>
            <a:off x="4995863" y="3295650"/>
            <a:ext cx="195263" cy="144463"/>
          </a:xfrm>
          <a:prstGeom prst="rect">
            <a:avLst/>
          </a:prstGeom>
          <a:ln>
            <a:noFill/>
          </a:ln>
          <a:effectLst/>
        </p:spPr>
        <p:txBody>
          <a:bodyPr vert="horz" wrap="none" lIns="19050" tIns="0" rIns="1905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lnSpc>
                <a:spcPct val="90000"/>
              </a:lnSpc>
              <a:spcBef>
                <a:spcPct val="0"/>
              </a:spcBef>
              <a:spcAft>
                <a:spcPct val="0"/>
              </a:spcAft>
              <a:buNone/>
            </a:pPr>
            <a:fld id="{9EC9AF9A-BF10-414E-BBC6-D4341FBA62E6}" type="datetime'''''-''''''''''''''''8'''''''''''''''''''''''''''''">
              <a:rPr lang="en-US" altLang="en-US" sz="1050" smtClean="0">
                <a:solidFill>
                  <a:srgbClr val="10183A"/>
                </a:solidFill>
                <a:effectLst/>
                <a:latin typeface="Poppins" panose="00000500000000000000" pitchFamily="2" charset="0"/>
                <a:cs typeface="Poppins" panose="00000500000000000000" pitchFamily="2" charset="0"/>
              </a:rPr>
              <a:pPr marL="0" lvl="2" indent="0" algn="ctr">
                <a:lnSpc>
                  <a:spcPct val="90000"/>
                </a:lnSpc>
                <a:spcBef>
                  <a:spcPct val="0"/>
                </a:spcBef>
                <a:spcAft>
                  <a:spcPct val="0"/>
                </a:spcAft>
                <a:buNone/>
              </a:pPr>
              <a:t>-8</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useBgFill="1">
        <p:nvSpPr>
          <p:cNvPr id="4" name="Text Placeholder 2">
            <a:extLst>
              <a:ext uri="{FF2B5EF4-FFF2-40B4-BE49-F238E27FC236}">
                <a16:creationId xmlns:a16="http://schemas.microsoft.com/office/drawing/2014/main" id="{DB9194F6-CE23-7405-5A55-E5903F0A0D40}"/>
              </a:ext>
            </a:extLst>
          </p:cNvPr>
          <p:cNvSpPr>
            <a:spLocks noGrp="1"/>
          </p:cNvSpPr>
          <p:nvPr>
            <p:custDataLst>
              <p:tags r:id="rId54"/>
            </p:custDataLst>
          </p:nvPr>
        </p:nvSpPr>
        <p:spPr bwMode="gray">
          <a:xfrm>
            <a:off x="5348288" y="3130550"/>
            <a:ext cx="195263" cy="144463"/>
          </a:xfrm>
          <a:prstGeom prst="rect">
            <a:avLst/>
          </a:prstGeom>
          <a:ln>
            <a:noFill/>
          </a:ln>
          <a:effectLst/>
        </p:spPr>
        <p:txBody>
          <a:bodyPr vert="horz" wrap="none" lIns="19050" tIns="0" rIns="1905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lnSpc>
                <a:spcPct val="90000"/>
              </a:lnSpc>
              <a:spcBef>
                <a:spcPct val="0"/>
              </a:spcBef>
              <a:spcAft>
                <a:spcPct val="0"/>
              </a:spcAft>
              <a:buNone/>
            </a:pPr>
            <a:fld id="{DA9B418B-90C0-4D01-97D8-6E7316885429}" type="datetime'''''''''''''''-''''''''''''''''''''''''''''''''''4'''''''">
              <a:rPr lang="en-US" altLang="en-US" sz="1050" smtClean="0">
                <a:solidFill>
                  <a:srgbClr val="10183A"/>
                </a:solidFill>
                <a:effectLst/>
                <a:latin typeface="Poppins" panose="00000500000000000000" pitchFamily="2" charset="0"/>
                <a:cs typeface="Poppins" panose="00000500000000000000" pitchFamily="2" charset="0"/>
                <a:sym typeface="Poppins" panose="00000500000000000000" pitchFamily="2" charset="0"/>
              </a:rPr>
              <a:pPr marL="0" lvl="2" indent="0" algn="ctr">
                <a:lnSpc>
                  <a:spcPct val="90000"/>
                </a:lnSpc>
                <a:spcBef>
                  <a:spcPct val="0"/>
                </a:spcBef>
                <a:spcAft>
                  <a:spcPct val="0"/>
                </a:spcAft>
                <a:buNone/>
              </a:pPr>
              <a:t>-4</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graphicFrame>
        <p:nvGraphicFramePr>
          <p:cNvPr id="277" name="Chart 276">
            <a:extLst>
              <a:ext uri="{FF2B5EF4-FFF2-40B4-BE49-F238E27FC236}">
                <a16:creationId xmlns:a16="http://schemas.microsoft.com/office/drawing/2014/main" id="{3F509422-0A80-DA6D-1AD5-7D39870F0C36}"/>
              </a:ext>
            </a:extLst>
          </p:cNvPr>
          <p:cNvGraphicFramePr/>
          <p:nvPr>
            <p:custDataLst>
              <p:tags r:id="rId55"/>
            </p:custDataLst>
            <p:extLst>
              <p:ext uri="{D42A27DB-BD31-4B8C-83A1-F6EECF244321}">
                <p14:modId xmlns:p14="http://schemas.microsoft.com/office/powerpoint/2010/main" val="4131436523"/>
              </p:ext>
            </p:extLst>
          </p:nvPr>
        </p:nvGraphicFramePr>
        <p:xfrm>
          <a:off x="6145213" y="1952625"/>
          <a:ext cx="5080000" cy="1719263"/>
        </p:xfrm>
        <a:graphic>
          <a:graphicData uri="http://schemas.openxmlformats.org/drawingml/2006/chart">
            <c:chart xmlns:c="http://schemas.openxmlformats.org/drawingml/2006/chart" xmlns:r="http://schemas.openxmlformats.org/officeDocument/2006/relationships" r:id="rId77"/>
          </a:graphicData>
        </a:graphic>
      </p:graphicFrame>
      <p:sp>
        <p:nvSpPr>
          <p:cNvPr id="46" name="Text Placeholder 2">
            <a:extLst>
              <a:ext uri="{FF2B5EF4-FFF2-40B4-BE49-F238E27FC236}">
                <a16:creationId xmlns:a16="http://schemas.microsoft.com/office/drawing/2014/main" id="{E2EE8D59-14AB-6168-980E-461BF5D90CA1}"/>
              </a:ext>
            </a:extLst>
          </p:cNvPr>
          <p:cNvSpPr>
            <a:spLocks noGrp="1"/>
          </p:cNvSpPr>
          <p:nvPr>
            <p:custDataLst>
              <p:tags r:id="rId56"/>
            </p:custDataLst>
          </p:nvPr>
        </p:nvSpPr>
        <p:spPr bwMode="auto">
          <a:xfrm>
            <a:off x="6584950" y="3613150"/>
            <a:ext cx="325438"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C2173BD2-8CAA-481B-A6FF-8CD428AD98B6}" type="datetime'''''''''Fe''''b'''' ''''2''0''2''''''''''''2'''''''">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Feb 2022</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86" name="Text Placeholder 2">
            <a:extLst>
              <a:ext uri="{FF2B5EF4-FFF2-40B4-BE49-F238E27FC236}">
                <a16:creationId xmlns:a16="http://schemas.microsoft.com/office/drawing/2014/main" id="{906D4A11-4918-E29B-1A9F-D5E86C81E2E1}"/>
              </a:ext>
            </a:extLst>
          </p:cNvPr>
          <p:cNvSpPr>
            <a:spLocks noGrp="1"/>
          </p:cNvSpPr>
          <p:nvPr>
            <p:custDataLst>
              <p:tags r:id="rId57"/>
            </p:custDataLst>
          </p:nvPr>
        </p:nvSpPr>
        <p:spPr bwMode="auto">
          <a:xfrm>
            <a:off x="10841038" y="3613150"/>
            <a:ext cx="2524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8E1B17BB-0640-473E-A7AB-BBBB0FE0226C}" type="datetime'F''''''''''''''''''''''e''''''''''''''''''''''b'''''">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Feb</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5" name="Text Placeholder 2">
            <a:extLst>
              <a:ext uri="{FF2B5EF4-FFF2-40B4-BE49-F238E27FC236}">
                <a16:creationId xmlns:a16="http://schemas.microsoft.com/office/drawing/2014/main" id="{311AA0AC-1DDB-DA34-B33F-F0C59DBF80BF}"/>
              </a:ext>
            </a:extLst>
          </p:cNvPr>
          <p:cNvSpPr>
            <a:spLocks noGrp="1"/>
          </p:cNvSpPr>
          <p:nvPr>
            <p:custDataLst>
              <p:tags r:id="rId58"/>
            </p:custDataLst>
          </p:nvPr>
        </p:nvSpPr>
        <p:spPr bwMode="auto">
          <a:xfrm>
            <a:off x="9436100" y="3613150"/>
            <a:ext cx="2476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F9D7E217-BF8F-4138-BA83-86315A71E36D}" type="datetime'''''''''''''''''''''''''Oc''''''''''''''''''''''''''''''t'''">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Oct</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49" name="Text Placeholder 2">
            <a:extLst>
              <a:ext uri="{FF2B5EF4-FFF2-40B4-BE49-F238E27FC236}">
                <a16:creationId xmlns:a16="http://schemas.microsoft.com/office/drawing/2014/main" id="{1E2BD2A2-F9FF-580F-EA64-DB601A18DF1D}"/>
              </a:ext>
            </a:extLst>
          </p:cNvPr>
          <p:cNvSpPr>
            <a:spLocks noGrp="1"/>
          </p:cNvSpPr>
          <p:nvPr>
            <p:custDataLst>
              <p:tags r:id="rId59"/>
            </p:custDataLst>
          </p:nvPr>
        </p:nvSpPr>
        <p:spPr bwMode="auto">
          <a:xfrm>
            <a:off x="8402638" y="3613150"/>
            <a:ext cx="2032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CA41C493-31B8-4923-BFA5-2173115ACA12}" type="datetime'''''''''''''''''''''J''u''''''''''''''''''''''''''''''l'''''''">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Jul</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0" name="Text Placeholder 2">
            <a:extLst>
              <a:ext uri="{FF2B5EF4-FFF2-40B4-BE49-F238E27FC236}">
                <a16:creationId xmlns:a16="http://schemas.microsoft.com/office/drawing/2014/main" id="{39ED134F-C219-DFBA-7FB2-F05ABE290C6A}"/>
              </a:ext>
            </a:extLst>
          </p:cNvPr>
          <p:cNvSpPr>
            <a:spLocks noGrp="1"/>
          </p:cNvSpPr>
          <p:nvPr>
            <p:custDataLst>
              <p:tags r:id="rId60"/>
            </p:custDataLst>
          </p:nvPr>
        </p:nvSpPr>
        <p:spPr bwMode="auto">
          <a:xfrm>
            <a:off x="6964363" y="3613150"/>
            <a:ext cx="2667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6E3C0076-1101-4D8B-955F-F6EC0CEEF868}" type="datetime'''''M''a''''''r'''''''''''''''''''">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Mar</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1" name="Text Placeholder 2">
            <a:extLst>
              <a:ext uri="{FF2B5EF4-FFF2-40B4-BE49-F238E27FC236}">
                <a16:creationId xmlns:a16="http://schemas.microsoft.com/office/drawing/2014/main" id="{A74A81A4-AA17-9EC0-FC7F-42E6DCD344A0}"/>
              </a:ext>
            </a:extLst>
          </p:cNvPr>
          <p:cNvSpPr>
            <a:spLocks noGrp="1"/>
          </p:cNvSpPr>
          <p:nvPr>
            <p:custDataLst>
              <p:tags r:id="rId61"/>
            </p:custDataLst>
          </p:nvPr>
        </p:nvSpPr>
        <p:spPr bwMode="auto">
          <a:xfrm>
            <a:off x="7654925" y="3613150"/>
            <a:ext cx="2921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A849AD67-DDE7-43FC-BE97-8C3303F6F813}" type="datetime'''''''''''M''a''''''''''''''''''''''y'''''''''''''''''''">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May</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47" name="Text Placeholder 2">
            <a:extLst>
              <a:ext uri="{FF2B5EF4-FFF2-40B4-BE49-F238E27FC236}">
                <a16:creationId xmlns:a16="http://schemas.microsoft.com/office/drawing/2014/main" id="{A56801FC-52D5-FD82-E79A-FF6C2D8D21F8}"/>
              </a:ext>
            </a:extLst>
          </p:cNvPr>
          <p:cNvSpPr>
            <a:spLocks noGrp="1"/>
          </p:cNvSpPr>
          <p:nvPr>
            <p:custDataLst>
              <p:tags r:id="rId62"/>
            </p:custDataLst>
          </p:nvPr>
        </p:nvSpPr>
        <p:spPr bwMode="auto">
          <a:xfrm>
            <a:off x="7329488" y="3613150"/>
            <a:ext cx="2428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B61E2397-B885-4F41-A1D1-70099094204D}" type="datetime'''A''''''''p''r'''''''''''''''''''''''''">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Apr</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4" name="Text Placeholder 2">
            <a:extLst>
              <a:ext uri="{FF2B5EF4-FFF2-40B4-BE49-F238E27FC236}">
                <a16:creationId xmlns:a16="http://schemas.microsoft.com/office/drawing/2014/main" id="{B42DF3A8-B17B-BA3C-C721-D5C2DB297F9B}"/>
              </a:ext>
            </a:extLst>
          </p:cNvPr>
          <p:cNvSpPr>
            <a:spLocks noGrp="1"/>
          </p:cNvSpPr>
          <p:nvPr>
            <p:custDataLst>
              <p:tags r:id="rId63"/>
            </p:custDataLst>
          </p:nvPr>
        </p:nvSpPr>
        <p:spPr bwMode="auto">
          <a:xfrm>
            <a:off x="9075738" y="3613150"/>
            <a:ext cx="2635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5803A470-6B0C-4261-B7D0-86200781F12A}" type="datetime'''''S''''e''''''''''''''''''p'''''''">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Sep</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2" name="Text Placeholder 2">
            <a:extLst>
              <a:ext uri="{FF2B5EF4-FFF2-40B4-BE49-F238E27FC236}">
                <a16:creationId xmlns:a16="http://schemas.microsoft.com/office/drawing/2014/main" id="{2CE6E10C-0277-326E-DFBD-BA21483B32F3}"/>
              </a:ext>
            </a:extLst>
          </p:cNvPr>
          <p:cNvSpPr>
            <a:spLocks noGrp="1"/>
          </p:cNvSpPr>
          <p:nvPr>
            <p:custDataLst>
              <p:tags r:id="rId64"/>
            </p:custDataLst>
          </p:nvPr>
        </p:nvSpPr>
        <p:spPr bwMode="auto">
          <a:xfrm>
            <a:off x="8026400" y="3613150"/>
            <a:ext cx="2555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111C18C2-6E82-466D-A4CC-AB5F592DB790}" type="datetime'''''''''''''J''''''''''''u''''''''''''''''''''n'''''''''">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Jun</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3" name="Text Placeholder 2">
            <a:extLst>
              <a:ext uri="{FF2B5EF4-FFF2-40B4-BE49-F238E27FC236}">
                <a16:creationId xmlns:a16="http://schemas.microsoft.com/office/drawing/2014/main" id="{63158D60-5E8C-70DA-BF7C-FF6EF9580536}"/>
              </a:ext>
            </a:extLst>
          </p:cNvPr>
          <p:cNvSpPr>
            <a:spLocks noGrp="1"/>
          </p:cNvSpPr>
          <p:nvPr>
            <p:custDataLst>
              <p:tags r:id="rId65"/>
            </p:custDataLst>
          </p:nvPr>
        </p:nvSpPr>
        <p:spPr bwMode="auto">
          <a:xfrm>
            <a:off x="8716963" y="3613150"/>
            <a:ext cx="2794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7B2CFEF2-745C-4131-8238-10D2A5660FFC}" type="datetime'''''''A''''''''''''u''''''''''''''''''''''''''g'''''''">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Aug</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6" name="Text Placeholder 2">
            <a:extLst>
              <a:ext uri="{FF2B5EF4-FFF2-40B4-BE49-F238E27FC236}">
                <a16:creationId xmlns:a16="http://schemas.microsoft.com/office/drawing/2014/main" id="{BD223F99-13C0-CED5-F96A-2FEF4EED44FF}"/>
              </a:ext>
            </a:extLst>
          </p:cNvPr>
          <p:cNvSpPr>
            <a:spLocks noGrp="1"/>
          </p:cNvSpPr>
          <p:nvPr>
            <p:custDataLst>
              <p:tags r:id="rId66"/>
            </p:custDataLst>
          </p:nvPr>
        </p:nvSpPr>
        <p:spPr bwMode="auto">
          <a:xfrm>
            <a:off x="9777413" y="3613150"/>
            <a:ext cx="2667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482F649B-D2A0-4D5A-94CF-D2619760D3A3}" type="datetime'N''''''''o''''''''''''''''''''''''''''''''''''''''''''''v'''">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Nov</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7" name="Text Placeholder 2">
            <a:extLst>
              <a:ext uri="{FF2B5EF4-FFF2-40B4-BE49-F238E27FC236}">
                <a16:creationId xmlns:a16="http://schemas.microsoft.com/office/drawing/2014/main" id="{C121003B-0169-F5C0-5E4C-C00DD42C4C23}"/>
              </a:ext>
            </a:extLst>
          </p:cNvPr>
          <p:cNvSpPr>
            <a:spLocks noGrp="1"/>
          </p:cNvSpPr>
          <p:nvPr>
            <p:custDataLst>
              <p:tags r:id="rId67"/>
            </p:custDataLst>
          </p:nvPr>
        </p:nvSpPr>
        <p:spPr bwMode="auto">
          <a:xfrm>
            <a:off x="10128250" y="3613150"/>
            <a:ext cx="2698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3E24A513-C59A-4D2F-B290-0C4848B12B40}" type="datetime'''''''''''''''''D''''''''''''''''''''''''''''e''''''''''c'''">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Dec</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8" name="Text Placeholder 2">
            <a:extLst>
              <a:ext uri="{FF2B5EF4-FFF2-40B4-BE49-F238E27FC236}">
                <a16:creationId xmlns:a16="http://schemas.microsoft.com/office/drawing/2014/main" id="{2669642C-B27B-33D8-C064-7525934725F6}"/>
              </a:ext>
            </a:extLst>
          </p:cNvPr>
          <p:cNvSpPr>
            <a:spLocks noGrp="1"/>
          </p:cNvSpPr>
          <p:nvPr>
            <p:custDataLst>
              <p:tags r:id="rId68"/>
            </p:custDataLst>
          </p:nvPr>
        </p:nvSpPr>
        <p:spPr bwMode="auto">
          <a:xfrm>
            <a:off x="10450513" y="3613150"/>
            <a:ext cx="327025"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fld id="{4EE7F58B-1E33-44BF-9038-EBE074C65973}" type="datetime'''''Jan'''''' 20''''''''''''''''''''23'''''''">
              <a:rPr lang="en-GB" altLang="en-US" sz="1050" smtClean="0">
                <a:solidFill>
                  <a:srgbClr val="10183A"/>
                </a:solidFill>
                <a:latin typeface="Poppins" panose="00000500000000000000" pitchFamily="2" charset="0"/>
                <a:cs typeface="Poppins" panose="00000500000000000000" pitchFamily="2" charset="0"/>
              </a:rPr>
              <a:pPr marL="0" lvl="2" indent="0" algn="ctr">
                <a:spcBef>
                  <a:spcPct val="0"/>
                </a:spcBef>
                <a:spcAft>
                  <a:spcPct val="0"/>
                </a:spcAft>
                <a:buNone/>
              </a:pPr>
              <a:t>Jan 2023</a:t>
            </a:fld>
            <a:endParaRPr lang="en-GB" sz="105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useBgFill="1">
        <p:nvSpPr>
          <p:cNvPr id="276" name="Text Placeholder 2">
            <a:extLst>
              <a:ext uri="{FF2B5EF4-FFF2-40B4-BE49-F238E27FC236}">
                <a16:creationId xmlns:a16="http://schemas.microsoft.com/office/drawing/2014/main" id="{96DB64E7-7450-5BAA-7DCA-6F75AE12EF02}"/>
              </a:ext>
            </a:extLst>
          </p:cNvPr>
          <p:cNvSpPr>
            <a:spLocks noGrp="1"/>
          </p:cNvSpPr>
          <p:nvPr>
            <p:custDataLst>
              <p:tags r:id="rId69"/>
            </p:custDataLst>
          </p:nvPr>
        </p:nvSpPr>
        <p:spPr bwMode="gray">
          <a:xfrm>
            <a:off x="10906125" y="2828926"/>
            <a:ext cx="122238" cy="144463"/>
          </a:xfrm>
          <a:prstGeom prst="rect">
            <a:avLst/>
          </a:prstGeom>
          <a:ln>
            <a:noFill/>
          </a:ln>
          <a:effectLst/>
        </p:spPr>
        <p:txBody>
          <a:bodyPr vert="horz" wrap="none" lIns="19050" tIns="0" rIns="1905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EFAA2F5-6D49-4CB7-8F56-01DB542EC040}" type="datetime'''''''''''''''''''''''''''''''''''''''''''''''''''0'''''''''">
              <a:rPr lang="en-US" altLang="en-US" sz="1050" smtClean="0">
                <a:effectLst/>
                <a:latin typeface="Poppins" panose="00000500000000000000" pitchFamily="2" charset="0"/>
                <a:cs typeface="Poppins" panose="00000500000000000000" pitchFamily="2" charset="0"/>
                <a:sym typeface="Poppins" panose="00000500000000000000" pitchFamily="2" charset="0"/>
              </a:rPr>
              <a:pPr marL="0" indent="0" algn="ctr">
                <a:spcBef>
                  <a:spcPct val="0"/>
                </a:spcBef>
                <a:spcAft>
                  <a:spcPct val="0"/>
                </a:spcAft>
                <a:buNone/>
              </a:pPr>
              <a:t>0</a:t>
            </a:fld>
            <a:endParaRPr lang="en-US" sz="1050">
              <a:latin typeface="Poppins" panose="00000500000000000000" pitchFamily="2" charset="0"/>
              <a:cs typeface="Poppins" panose="00000500000000000000" pitchFamily="2" charset="0"/>
              <a:sym typeface="Poppins" panose="00000500000000000000" pitchFamily="2" charset="0"/>
            </a:endParaRPr>
          </a:p>
        </p:txBody>
      </p:sp>
    </p:spTree>
    <p:extLst>
      <p:ext uri="{BB962C8B-B14F-4D97-AF65-F5344CB8AC3E}">
        <p14:creationId xmlns:p14="http://schemas.microsoft.com/office/powerpoint/2010/main" val="1814704767"/>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5A9725-724D-191E-3C79-D50A2378CEDC}"/>
              </a:ext>
            </a:extLst>
          </p:cNvPr>
          <p:cNvGraphicFramePr>
            <a:graphicFrameLocks noChangeAspect="1"/>
          </p:cNvGraphicFramePr>
          <p:nvPr>
            <p:custDataLst>
              <p:tags r:id="rId1"/>
            </p:custDataLst>
            <p:extLst>
              <p:ext uri="{D42A27DB-BD31-4B8C-83A1-F6EECF244321}">
                <p14:modId xmlns:p14="http://schemas.microsoft.com/office/powerpoint/2010/main" val="963999740"/>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485A9725-724D-191E-3C79-D50A2378CEDC}"/>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graphicFrame>
        <p:nvGraphicFramePr>
          <p:cNvPr id="6" name="Table Placeholder 9">
            <a:extLst>
              <a:ext uri="{FF2B5EF4-FFF2-40B4-BE49-F238E27FC236}">
                <a16:creationId xmlns:a16="http://schemas.microsoft.com/office/drawing/2014/main" id="{A45A18FA-046A-FDE4-D32C-457439A16A4B}"/>
              </a:ext>
            </a:extLst>
          </p:cNvPr>
          <p:cNvGraphicFramePr>
            <a:graphicFrameLocks noChangeAspect="1"/>
          </p:cNvGraphicFramePr>
          <p:nvPr>
            <p:extLst>
              <p:ext uri="{D42A27DB-BD31-4B8C-83A1-F6EECF244321}">
                <p14:modId xmlns:p14="http://schemas.microsoft.com/office/powerpoint/2010/main" val="3021261884"/>
              </p:ext>
            </p:extLst>
          </p:nvPr>
        </p:nvGraphicFramePr>
        <p:xfrm>
          <a:off x="2762637" y="2273912"/>
          <a:ext cx="1617916" cy="1655763"/>
        </p:xfrm>
        <a:graphic>
          <a:graphicData uri="http://schemas.openxmlformats.org/presentationml/2006/ole">
            <mc:AlternateContent xmlns:mc="http://schemas.openxmlformats.org/markup-compatibility/2006">
              <mc:Choice xmlns:v="urn:schemas-microsoft-com:vml" Requires="v">
                <p:oleObj name="Worksheet" r:id="rId6" imgW="1628908" imgH="1667130" progId="Excel.Sheet.12">
                  <p:embed/>
                </p:oleObj>
              </mc:Choice>
              <mc:Fallback>
                <p:oleObj name="Worksheet" r:id="rId6" imgW="1628908" imgH="1667130" progId="Excel.Sheet.12">
                  <p:embed/>
                  <p:pic>
                    <p:nvPicPr>
                      <p:cNvPr id="6" name="Table Placeholder 9">
                        <a:extLst>
                          <a:ext uri="{FF2B5EF4-FFF2-40B4-BE49-F238E27FC236}">
                            <a16:creationId xmlns:a16="http://schemas.microsoft.com/office/drawing/2014/main" id="{A45A18FA-046A-FDE4-D32C-457439A16A4B}"/>
                          </a:ext>
                        </a:extLst>
                      </p:cNvPr>
                      <p:cNvPicPr/>
                      <p:nvPr/>
                    </p:nvPicPr>
                    <p:blipFill>
                      <a:blip r:embed="rId7"/>
                      <a:stretch>
                        <a:fillRect/>
                      </a:stretch>
                    </p:blipFill>
                    <p:spPr>
                      <a:xfrm>
                        <a:off x="2762637" y="2273912"/>
                        <a:ext cx="1617916" cy="1655763"/>
                      </a:xfrm>
                      <a:prstGeom prst="rect">
                        <a:avLst/>
                      </a:prstGeom>
                    </p:spPr>
                  </p:pic>
                </p:oleObj>
              </mc:Fallback>
            </mc:AlternateContent>
          </a:graphicData>
        </a:graphic>
      </p:graphicFrame>
      <p:graphicFrame>
        <p:nvGraphicFramePr>
          <p:cNvPr id="7" name="Table Placeholder 11">
            <a:extLst>
              <a:ext uri="{FF2B5EF4-FFF2-40B4-BE49-F238E27FC236}">
                <a16:creationId xmlns:a16="http://schemas.microsoft.com/office/drawing/2014/main" id="{2DEE5010-5FC6-86E4-2981-315ED64A8198}"/>
              </a:ext>
            </a:extLst>
          </p:cNvPr>
          <p:cNvGraphicFramePr>
            <a:graphicFrameLocks noGrp="1" noChangeAspect="1"/>
          </p:cNvGraphicFramePr>
          <p:nvPr>
            <p:ph type="tbl" sz="quarter" idx="58"/>
            <p:extLst>
              <p:ext uri="{D42A27DB-BD31-4B8C-83A1-F6EECF244321}">
                <p14:modId xmlns:p14="http://schemas.microsoft.com/office/powerpoint/2010/main" val="3188565766"/>
              </p:ext>
            </p:extLst>
          </p:nvPr>
        </p:nvGraphicFramePr>
        <p:xfrm>
          <a:off x="5239930" y="2255440"/>
          <a:ext cx="1617916" cy="1655763"/>
        </p:xfrm>
        <a:graphic>
          <a:graphicData uri="http://schemas.openxmlformats.org/presentationml/2006/ole">
            <mc:AlternateContent xmlns:mc="http://schemas.openxmlformats.org/markup-compatibility/2006">
              <mc:Choice xmlns:v="urn:schemas-microsoft-com:vml" Requires="v">
                <p:oleObj name="Worksheet" r:id="rId8" imgW="1628908" imgH="1667130" progId="Excel.Sheet.12">
                  <p:embed/>
                </p:oleObj>
              </mc:Choice>
              <mc:Fallback>
                <p:oleObj name="Worksheet" r:id="rId8" imgW="1628908" imgH="1667130" progId="Excel.Sheet.12">
                  <p:embed/>
                  <p:pic>
                    <p:nvPicPr>
                      <p:cNvPr id="7" name="Table Placeholder 11">
                        <a:extLst>
                          <a:ext uri="{FF2B5EF4-FFF2-40B4-BE49-F238E27FC236}">
                            <a16:creationId xmlns:a16="http://schemas.microsoft.com/office/drawing/2014/main" id="{2DEE5010-5FC6-86E4-2981-315ED64A8198}"/>
                          </a:ext>
                        </a:extLst>
                      </p:cNvPr>
                      <p:cNvPicPr/>
                      <p:nvPr/>
                    </p:nvPicPr>
                    <p:blipFill>
                      <a:blip r:embed="rId9"/>
                      <a:stretch>
                        <a:fillRect/>
                      </a:stretch>
                    </p:blipFill>
                    <p:spPr>
                      <a:xfrm>
                        <a:off x="5239930" y="2255440"/>
                        <a:ext cx="1617916" cy="1655763"/>
                      </a:xfrm>
                      <a:prstGeom prst="rect">
                        <a:avLst/>
                      </a:prstGeom>
                    </p:spPr>
                  </p:pic>
                </p:oleObj>
              </mc:Fallback>
            </mc:AlternateContent>
          </a:graphicData>
        </a:graphic>
      </p:graphicFrame>
      <p:graphicFrame>
        <p:nvGraphicFramePr>
          <p:cNvPr id="8" name="Table Placeholder 13">
            <a:extLst>
              <a:ext uri="{FF2B5EF4-FFF2-40B4-BE49-F238E27FC236}">
                <a16:creationId xmlns:a16="http://schemas.microsoft.com/office/drawing/2014/main" id="{6D5416B0-4F41-CDB2-187F-97C125CA54E3}"/>
              </a:ext>
            </a:extLst>
          </p:cNvPr>
          <p:cNvGraphicFramePr>
            <a:graphicFrameLocks noGrp="1" noChangeAspect="1"/>
          </p:cNvGraphicFramePr>
          <p:nvPr>
            <p:ph type="tbl" sz="quarter" idx="59"/>
            <p:extLst>
              <p:ext uri="{D42A27DB-BD31-4B8C-83A1-F6EECF244321}">
                <p14:modId xmlns:p14="http://schemas.microsoft.com/office/powerpoint/2010/main" val="1577213045"/>
              </p:ext>
            </p:extLst>
          </p:nvPr>
        </p:nvGraphicFramePr>
        <p:xfrm>
          <a:off x="7648962" y="2255440"/>
          <a:ext cx="1617916" cy="1655763"/>
        </p:xfrm>
        <a:graphic>
          <a:graphicData uri="http://schemas.openxmlformats.org/presentationml/2006/ole">
            <mc:AlternateContent xmlns:mc="http://schemas.openxmlformats.org/markup-compatibility/2006">
              <mc:Choice xmlns:v="urn:schemas-microsoft-com:vml" Requires="v">
                <p:oleObj name="Worksheet" r:id="rId10" imgW="1628908" imgH="1667130" progId="Excel.Sheet.12">
                  <p:embed/>
                </p:oleObj>
              </mc:Choice>
              <mc:Fallback>
                <p:oleObj name="Worksheet" r:id="rId10" imgW="1628908" imgH="1667130" progId="Excel.Sheet.12">
                  <p:embed/>
                  <p:pic>
                    <p:nvPicPr>
                      <p:cNvPr id="8" name="Table Placeholder 13">
                        <a:extLst>
                          <a:ext uri="{FF2B5EF4-FFF2-40B4-BE49-F238E27FC236}">
                            <a16:creationId xmlns:a16="http://schemas.microsoft.com/office/drawing/2014/main" id="{6D5416B0-4F41-CDB2-187F-97C125CA54E3}"/>
                          </a:ext>
                        </a:extLst>
                      </p:cNvPr>
                      <p:cNvPicPr/>
                      <p:nvPr/>
                    </p:nvPicPr>
                    <p:blipFill>
                      <a:blip r:embed="rId11"/>
                      <a:stretch>
                        <a:fillRect/>
                      </a:stretch>
                    </p:blipFill>
                    <p:spPr>
                      <a:xfrm>
                        <a:off x="7648962" y="2255440"/>
                        <a:ext cx="1617916" cy="1655763"/>
                      </a:xfrm>
                      <a:prstGeom prst="rect">
                        <a:avLst/>
                      </a:prstGeom>
                    </p:spPr>
                  </p:pic>
                </p:oleObj>
              </mc:Fallback>
            </mc:AlternateContent>
          </a:graphicData>
        </a:graphic>
      </p:graphicFrame>
      <p:graphicFrame>
        <p:nvGraphicFramePr>
          <p:cNvPr id="9" name="Table Placeholder 15">
            <a:extLst>
              <a:ext uri="{FF2B5EF4-FFF2-40B4-BE49-F238E27FC236}">
                <a16:creationId xmlns:a16="http://schemas.microsoft.com/office/drawing/2014/main" id="{347BEA48-3165-0131-9C61-7CFFD3ED02E8}"/>
              </a:ext>
            </a:extLst>
          </p:cNvPr>
          <p:cNvGraphicFramePr>
            <a:graphicFrameLocks noGrp="1" noChangeAspect="1"/>
          </p:cNvGraphicFramePr>
          <p:nvPr>
            <p:ph type="tbl" sz="quarter" idx="60"/>
            <p:extLst>
              <p:ext uri="{D42A27DB-BD31-4B8C-83A1-F6EECF244321}">
                <p14:modId xmlns:p14="http://schemas.microsoft.com/office/powerpoint/2010/main" val="2985456793"/>
              </p:ext>
            </p:extLst>
          </p:nvPr>
        </p:nvGraphicFramePr>
        <p:xfrm>
          <a:off x="2769762" y="4227115"/>
          <a:ext cx="1616365" cy="1654175"/>
        </p:xfrm>
        <a:graphic>
          <a:graphicData uri="http://schemas.openxmlformats.org/presentationml/2006/ole">
            <mc:AlternateContent xmlns:mc="http://schemas.openxmlformats.org/markup-compatibility/2006">
              <mc:Choice xmlns:v="urn:schemas-microsoft-com:vml" Requires="v">
                <p:oleObj name="Worksheet" r:id="rId12" imgW="1628908" imgH="1667130" progId="Excel.Sheet.12">
                  <p:embed/>
                </p:oleObj>
              </mc:Choice>
              <mc:Fallback>
                <p:oleObj name="Worksheet" r:id="rId12" imgW="1628908" imgH="1667130" progId="Excel.Sheet.12">
                  <p:embed/>
                  <p:pic>
                    <p:nvPicPr>
                      <p:cNvPr id="9" name="Table Placeholder 15">
                        <a:extLst>
                          <a:ext uri="{FF2B5EF4-FFF2-40B4-BE49-F238E27FC236}">
                            <a16:creationId xmlns:a16="http://schemas.microsoft.com/office/drawing/2014/main" id="{347BEA48-3165-0131-9C61-7CFFD3ED02E8}"/>
                          </a:ext>
                        </a:extLst>
                      </p:cNvPr>
                      <p:cNvPicPr/>
                      <p:nvPr/>
                    </p:nvPicPr>
                    <p:blipFill>
                      <a:blip r:embed="rId13"/>
                      <a:stretch>
                        <a:fillRect/>
                      </a:stretch>
                    </p:blipFill>
                    <p:spPr>
                      <a:xfrm>
                        <a:off x="2769762" y="4227115"/>
                        <a:ext cx="1616365" cy="1654175"/>
                      </a:xfrm>
                      <a:prstGeom prst="rect">
                        <a:avLst/>
                      </a:prstGeom>
                    </p:spPr>
                  </p:pic>
                </p:oleObj>
              </mc:Fallback>
            </mc:AlternateContent>
          </a:graphicData>
        </a:graphic>
      </p:graphicFrame>
      <p:graphicFrame>
        <p:nvGraphicFramePr>
          <p:cNvPr id="10" name="Table Placeholder 17">
            <a:extLst>
              <a:ext uri="{FF2B5EF4-FFF2-40B4-BE49-F238E27FC236}">
                <a16:creationId xmlns:a16="http://schemas.microsoft.com/office/drawing/2014/main" id="{A4392D5A-0F9D-BC5B-187F-5233836EF2EB}"/>
              </a:ext>
            </a:extLst>
          </p:cNvPr>
          <p:cNvGraphicFramePr>
            <a:graphicFrameLocks noGrp="1" noChangeAspect="1"/>
          </p:cNvGraphicFramePr>
          <p:nvPr>
            <p:ph type="tbl" sz="quarter" idx="61"/>
            <p:extLst>
              <p:ext uri="{D42A27DB-BD31-4B8C-83A1-F6EECF244321}">
                <p14:modId xmlns:p14="http://schemas.microsoft.com/office/powerpoint/2010/main" val="2393219192"/>
              </p:ext>
            </p:extLst>
          </p:nvPr>
        </p:nvGraphicFramePr>
        <p:xfrm>
          <a:off x="5240706" y="4227115"/>
          <a:ext cx="1616365" cy="1654175"/>
        </p:xfrm>
        <a:graphic>
          <a:graphicData uri="http://schemas.openxmlformats.org/presentationml/2006/ole">
            <mc:AlternateContent xmlns:mc="http://schemas.openxmlformats.org/markup-compatibility/2006">
              <mc:Choice xmlns:v="urn:schemas-microsoft-com:vml" Requires="v">
                <p:oleObj name="Worksheet" r:id="rId14" imgW="1628908" imgH="1667130" progId="Excel.Sheet.12">
                  <p:embed/>
                </p:oleObj>
              </mc:Choice>
              <mc:Fallback>
                <p:oleObj name="Worksheet" r:id="rId14" imgW="1628908" imgH="1667130" progId="Excel.Sheet.12">
                  <p:embed/>
                  <p:pic>
                    <p:nvPicPr>
                      <p:cNvPr id="10" name="Table Placeholder 17">
                        <a:extLst>
                          <a:ext uri="{FF2B5EF4-FFF2-40B4-BE49-F238E27FC236}">
                            <a16:creationId xmlns:a16="http://schemas.microsoft.com/office/drawing/2014/main" id="{A4392D5A-0F9D-BC5B-187F-5233836EF2EB}"/>
                          </a:ext>
                        </a:extLst>
                      </p:cNvPr>
                      <p:cNvPicPr/>
                      <p:nvPr/>
                    </p:nvPicPr>
                    <p:blipFill>
                      <a:blip r:embed="rId15"/>
                      <a:stretch>
                        <a:fillRect/>
                      </a:stretch>
                    </p:blipFill>
                    <p:spPr>
                      <a:xfrm>
                        <a:off x="5240706" y="4227115"/>
                        <a:ext cx="1616365" cy="1654175"/>
                      </a:xfrm>
                      <a:prstGeom prst="rect">
                        <a:avLst/>
                      </a:prstGeom>
                    </p:spPr>
                  </p:pic>
                </p:oleObj>
              </mc:Fallback>
            </mc:AlternateContent>
          </a:graphicData>
        </a:graphic>
      </p:graphicFrame>
      <p:graphicFrame>
        <p:nvGraphicFramePr>
          <p:cNvPr id="11" name="Table Placeholder 19">
            <a:extLst>
              <a:ext uri="{FF2B5EF4-FFF2-40B4-BE49-F238E27FC236}">
                <a16:creationId xmlns:a16="http://schemas.microsoft.com/office/drawing/2014/main" id="{593A806B-F1FA-DD26-DC50-24F577791F5E}"/>
              </a:ext>
            </a:extLst>
          </p:cNvPr>
          <p:cNvGraphicFramePr>
            <a:graphicFrameLocks noGrp="1" noChangeAspect="1"/>
          </p:cNvGraphicFramePr>
          <p:nvPr>
            <p:ph type="tbl" sz="quarter" idx="62"/>
            <p:extLst>
              <p:ext uri="{D42A27DB-BD31-4B8C-83A1-F6EECF244321}">
                <p14:modId xmlns:p14="http://schemas.microsoft.com/office/powerpoint/2010/main" val="977677236"/>
              </p:ext>
            </p:extLst>
          </p:nvPr>
        </p:nvGraphicFramePr>
        <p:xfrm>
          <a:off x="7649737" y="4227115"/>
          <a:ext cx="1616365" cy="1654175"/>
        </p:xfrm>
        <a:graphic>
          <a:graphicData uri="http://schemas.openxmlformats.org/presentationml/2006/ole">
            <mc:AlternateContent xmlns:mc="http://schemas.openxmlformats.org/markup-compatibility/2006">
              <mc:Choice xmlns:v="urn:schemas-microsoft-com:vml" Requires="v">
                <p:oleObj name="Worksheet" r:id="rId16" imgW="1628908" imgH="1667130" progId="Excel.Sheet.12">
                  <p:embed/>
                </p:oleObj>
              </mc:Choice>
              <mc:Fallback>
                <p:oleObj name="Worksheet" r:id="rId16" imgW="1628908" imgH="1667130" progId="Excel.Sheet.12">
                  <p:embed/>
                  <p:pic>
                    <p:nvPicPr>
                      <p:cNvPr id="11" name="Table Placeholder 19">
                        <a:extLst>
                          <a:ext uri="{FF2B5EF4-FFF2-40B4-BE49-F238E27FC236}">
                            <a16:creationId xmlns:a16="http://schemas.microsoft.com/office/drawing/2014/main" id="{593A806B-F1FA-DD26-DC50-24F577791F5E}"/>
                          </a:ext>
                        </a:extLst>
                      </p:cNvPr>
                      <p:cNvPicPr/>
                      <p:nvPr/>
                    </p:nvPicPr>
                    <p:blipFill>
                      <a:blip r:embed="rId17"/>
                      <a:stretch>
                        <a:fillRect/>
                      </a:stretch>
                    </p:blipFill>
                    <p:spPr>
                      <a:xfrm>
                        <a:off x="7649737" y="4227115"/>
                        <a:ext cx="1616365" cy="1654175"/>
                      </a:xfrm>
                      <a:prstGeom prst="rect">
                        <a:avLst/>
                      </a:prstGeom>
                    </p:spPr>
                  </p:pic>
                </p:oleObj>
              </mc:Fallback>
            </mc:AlternateContent>
          </a:graphicData>
        </a:graphic>
      </p:graphicFrame>
      <p:sp>
        <p:nvSpPr>
          <p:cNvPr id="24" name="Oval 23">
            <a:extLst>
              <a:ext uri="{FF2B5EF4-FFF2-40B4-BE49-F238E27FC236}">
                <a16:creationId xmlns:a16="http://schemas.microsoft.com/office/drawing/2014/main" id="{E78D2A77-9AAF-BD13-DB49-60CFDD94CA71}"/>
              </a:ext>
            </a:extLst>
          </p:cNvPr>
          <p:cNvSpPr/>
          <p:nvPr/>
        </p:nvSpPr>
        <p:spPr>
          <a:xfrm>
            <a:off x="8623703" y="2769518"/>
            <a:ext cx="643175" cy="332276"/>
          </a:xfrm>
          <a:prstGeom prst="ellipse">
            <a:avLst/>
          </a:prstGeom>
          <a:noFill/>
          <a:ln w="38100" cap="flat" cmpd="sng" algn="ctr">
            <a:solidFill>
              <a:srgbClr val="BD10E0"/>
            </a:solidFill>
            <a:prstDash val="solid"/>
          </a:ln>
          <a:effectLst>
            <a:outerShdw blurRad="40000" dist="23000" dir="5400000" rotWithShape="0">
              <a:srgbClr val="000000">
                <a:alpha val="35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2" name="TextBox 31">
            <a:extLst>
              <a:ext uri="{FF2B5EF4-FFF2-40B4-BE49-F238E27FC236}">
                <a16:creationId xmlns:a16="http://schemas.microsoft.com/office/drawing/2014/main" id="{72265772-1579-7BE0-41E3-501213E083D7}"/>
              </a:ext>
            </a:extLst>
          </p:cNvPr>
          <p:cNvSpPr txBox="1"/>
          <p:nvPr/>
        </p:nvSpPr>
        <p:spPr>
          <a:xfrm>
            <a:off x="821796" y="1417353"/>
            <a:ext cx="445346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February 2023 dynamic load factor for regional flows</a:t>
            </a:r>
            <a:br>
              <a:rPr kumimoji="0" lang="en-GB" sz="1200" b="1"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br>
            <a:r>
              <a:rPr kumimoji="0" lang="en-GB" sz="12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a:t>
            </a:r>
            <a:r>
              <a:rPr lang="en-GB" sz="1200">
                <a:latin typeface="Poppins" panose="00000500000000000000" pitchFamily="2" charset="0"/>
                <a:cs typeface="Poppins" panose="00000500000000000000" pitchFamily="2" charset="0"/>
              </a:rPr>
              <a:t>Weeks 5</a:t>
            </a:r>
            <a:r>
              <a:rPr lang="en-US" sz="1200">
                <a:latin typeface="Poppins" panose="00000500000000000000" pitchFamily="2" charset="0"/>
                <a:cs typeface="Poppins" panose="00000500000000000000" pitchFamily="2" charset="0"/>
              </a:rPr>
              <a:t>-8</a:t>
            </a:r>
            <a:r>
              <a:rPr lang="en-GB" sz="1200">
                <a:latin typeface="Poppins" panose="00000500000000000000" pitchFamily="2" charset="0"/>
                <a:cs typeface="Poppins" panose="00000500000000000000" pitchFamily="2" charset="0"/>
              </a:rPr>
              <a:t> of 2023 compared to similar weeks in 2022</a:t>
            </a:r>
            <a:r>
              <a:rPr kumimoji="0" lang="en-GB" sz="12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a:t>
            </a:r>
          </a:p>
        </p:txBody>
      </p:sp>
      <p:sp>
        <p:nvSpPr>
          <p:cNvPr id="38" name="Buying cargo based on gut feeling…">
            <a:extLst>
              <a:ext uri="{FF2B5EF4-FFF2-40B4-BE49-F238E27FC236}">
                <a16:creationId xmlns:a16="http://schemas.microsoft.com/office/drawing/2014/main" id="{9AA87FE2-26FF-55F3-D2DF-AD7FF5DB9D6D}"/>
              </a:ext>
            </a:extLst>
          </p:cNvPr>
          <p:cNvSpPr txBox="1">
            <a:spLocks/>
          </p:cNvSpPr>
          <p:nvPr/>
        </p:nvSpPr>
        <p:spPr>
          <a:xfrm>
            <a:off x="763216" y="491067"/>
            <a:ext cx="10781084" cy="80750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1000"/>
              </a:spcBef>
              <a:spcAft>
                <a:spcPts val="0"/>
              </a:spcAft>
              <a:buClrTx/>
              <a:buSzTx/>
              <a:buFont typeface="Arial" panose="020B0604020202020204" pitchFamily="34" charset="0"/>
              <a:buNone/>
              <a:tabLst/>
              <a:defRPr sz="6000">
                <a:solidFill>
                  <a:srgbClr val="1D63FF"/>
                </a:solidFill>
              </a:defRPr>
            </a:pPr>
            <a:r>
              <a:rPr kumimoji="0" lang="en-GB" sz="2400" b="0" i="0" u="none" strike="noStrike" kern="1200" cap="none" spc="0" normalizeH="0" baseline="0" noProof="0">
                <a:ln>
                  <a:noFill/>
                </a:ln>
                <a:solidFill>
                  <a:srgbClr val="1D63FF"/>
                </a:solidFill>
                <a:effectLst/>
                <a:uLnTx/>
                <a:uFillTx/>
                <a:latin typeface="Poppins" pitchFamily="2" charset="77"/>
                <a:ea typeface="+mn-ea"/>
                <a:cs typeface="Poppins" pitchFamily="2" charset="77"/>
              </a:rPr>
              <a:t>Load factors Y-o-Y </a:t>
            </a:r>
            <a:r>
              <a:rPr lang="en-GB" sz="2400">
                <a:solidFill>
                  <a:srgbClr val="1D63FF"/>
                </a:solidFill>
              </a:rPr>
              <a:t>declined </a:t>
            </a:r>
            <a:r>
              <a:rPr kumimoji="0" lang="en-GB" sz="2400" b="0" i="0" u="none" strike="noStrike" kern="1200" cap="none" spc="0" normalizeH="0" baseline="0" noProof="0">
                <a:ln>
                  <a:noFill/>
                </a:ln>
                <a:solidFill>
                  <a:srgbClr val="1D63FF"/>
                </a:solidFill>
                <a:effectLst/>
                <a:uLnTx/>
                <a:uFillTx/>
                <a:latin typeface="Poppins" pitchFamily="2" charset="77"/>
                <a:ea typeface="+mn-ea"/>
                <a:cs typeface="Poppins" pitchFamily="2" charset="77"/>
              </a:rPr>
              <a:t>across nearly all corridors, except Africa</a:t>
            </a:r>
            <a:endParaRPr kumimoji="0" lang="en-US" sz="2400" b="0" i="0" u="none" strike="noStrike" kern="1200" cap="none" spc="0" normalizeH="0" baseline="0" noProof="0">
              <a:ln>
                <a:noFill/>
              </a:ln>
              <a:solidFill>
                <a:srgbClr val="1D63FF"/>
              </a:solidFill>
              <a:effectLst/>
              <a:uLnTx/>
              <a:uFillTx/>
              <a:latin typeface="Poppins" pitchFamily="2" charset="77"/>
              <a:ea typeface="+mn-ea"/>
              <a:cs typeface="Poppins" pitchFamily="2" charset="77"/>
            </a:endParaRPr>
          </a:p>
        </p:txBody>
      </p:sp>
      <p:sp>
        <p:nvSpPr>
          <p:cNvPr id="2" name="Text Placeholder 1">
            <a:extLst>
              <a:ext uri="{FF2B5EF4-FFF2-40B4-BE49-F238E27FC236}">
                <a16:creationId xmlns:a16="http://schemas.microsoft.com/office/drawing/2014/main" id="{6A15B527-DF64-B80B-421E-C9A6463D1F44}"/>
              </a:ext>
            </a:extLst>
          </p:cNvPr>
          <p:cNvSpPr txBox="1">
            <a:spLocks/>
          </p:cNvSpPr>
          <p:nvPr/>
        </p:nvSpPr>
        <p:spPr>
          <a:xfrm>
            <a:off x="600360" y="6397771"/>
            <a:ext cx="8391525" cy="469900"/>
          </a:xfrm>
          <a:prstGeom prst="rect">
            <a:avLst/>
          </a:prstGeom>
        </p:spPr>
        <p:txBody>
          <a:bodyPr vert="horz" lIns="0" tIns="45720" rIns="9144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rPr>
              <a:t>Source: CLIVE Data Services, now part of Xeneta</a:t>
            </a:r>
          </a:p>
        </p:txBody>
      </p:sp>
      <p:sp>
        <p:nvSpPr>
          <p:cNvPr id="36" name="Oval 35">
            <a:extLst>
              <a:ext uri="{FF2B5EF4-FFF2-40B4-BE49-F238E27FC236}">
                <a16:creationId xmlns:a16="http://schemas.microsoft.com/office/drawing/2014/main" id="{F55868CD-D0D8-FB04-3717-1FF148201707}"/>
              </a:ext>
            </a:extLst>
          </p:cNvPr>
          <p:cNvSpPr/>
          <p:nvPr/>
        </p:nvSpPr>
        <p:spPr>
          <a:xfrm>
            <a:off x="8623703" y="3324489"/>
            <a:ext cx="643175" cy="332276"/>
          </a:xfrm>
          <a:prstGeom prst="ellipse">
            <a:avLst/>
          </a:prstGeom>
          <a:noFill/>
          <a:ln w="38100" cap="flat" cmpd="sng" algn="ctr">
            <a:solidFill>
              <a:srgbClr val="BD10E0"/>
            </a:solidFill>
            <a:prstDash val="solid"/>
          </a:ln>
          <a:effectLst>
            <a:outerShdw blurRad="40000" dist="23000" dir="5400000" rotWithShape="0">
              <a:srgbClr val="000000">
                <a:alpha val="35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7" name="Oval 36">
            <a:extLst>
              <a:ext uri="{FF2B5EF4-FFF2-40B4-BE49-F238E27FC236}">
                <a16:creationId xmlns:a16="http://schemas.microsoft.com/office/drawing/2014/main" id="{04948244-AE20-07D3-7B68-9E3511F96494}"/>
              </a:ext>
            </a:extLst>
          </p:cNvPr>
          <p:cNvSpPr/>
          <p:nvPr/>
        </p:nvSpPr>
        <p:spPr>
          <a:xfrm>
            <a:off x="6214672" y="3310475"/>
            <a:ext cx="643175" cy="332276"/>
          </a:xfrm>
          <a:prstGeom prst="ellipse">
            <a:avLst/>
          </a:prstGeom>
          <a:noFill/>
          <a:ln w="38100" cap="flat" cmpd="sng" algn="ctr">
            <a:solidFill>
              <a:srgbClr val="BD10E0"/>
            </a:solidFill>
            <a:prstDash val="solid"/>
          </a:ln>
          <a:effectLst>
            <a:outerShdw blurRad="40000" dist="23000" dir="5400000" rotWithShape="0">
              <a:srgbClr val="000000">
                <a:alpha val="35000"/>
              </a:srgb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951242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015DFAEE-F78A-C272-92CE-F25C3417CA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73" imgH="476" progId="TCLayout.ActiveDocument.1">
                  <p:embed/>
                </p:oleObj>
              </mc:Choice>
              <mc:Fallback>
                <p:oleObj name="think-cell Slide" r:id="rId35" imgW="473" imgH="476" progId="TCLayout.ActiveDocument.1">
                  <p:embed/>
                  <p:pic>
                    <p:nvPicPr>
                      <p:cNvPr id="28" name="Object 27" hidden="1">
                        <a:extLst>
                          <a:ext uri="{FF2B5EF4-FFF2-40B4-BE49-F238E27FC236}">
                            <a16:creationId xmlns:a16="http://schemas.microsoft.com/office/drawing/2014/main" id="{015DFAEE-F78A-C272-92CE-F25C3417CAD0}"/>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065B79C-C4D6-5961-7919-6BB68C420868}"/>
              </a:ext>
            </a:extLst>
          </p:cNvPr>
          <p:cNvSpPr txBox="1"/>
          <p:nvPr/>
        </p:nvSpPr>
        <p:spPr>
          <a:xfrm>
            <a:off x="821796" y="1417353"/>
            <a:ext cx="7175362" cy="276999"/>
          </a:xfrm>
          <a:prstGeom prst="rect">
            <a:avLst/>
          </a:prstGeom>
          <a:noFill/>
        </p:spPr>
        <p:txBody>
          <a:bodyPr wrap="none" rtlCol="0">
            <a:spAutoFit/>
          </a:bodyPr>
          <a:lstStyle/>
          <a:p>
            <a:r>
              <a:rPr lang="en-US" sz="1200" b="1" dirty="0">
                <a:latin typeface="Poppins" panose="00000500000000000000" pitchFamily="2" charset="0"/>
                <a:cs typeface="Poppins" panose="00000500000000000000" pitchFamily="2" charset="0"/>
              </a:rPr>
              <a:t>Average airline spot air cargo rates in February 2023 vs 2019 on top corridors </a:t>
            </a:r>
            <a:r>
              <a:rPr lang="en-US" sz="1200" dirty="0">
                <a:latin typeface="Poppins" panose="00000500000000000000" pitchFamily="2" charset="0"/>
                <a:cs typeface="Poppins" panose="00000500000000000000" pitchFamily="2" charset="0"/>
              </a:rPr>
              <a:t>(USD per kg)</a:t>
            </a:r>
          </a:p>
        </p:txBody>
      </p:sp>
      <p:sp>
        <p:nvSpPr>
          <p:cNvPr id="29" name="Buying cargo based on gut feeling…">
            <a:extLst>
              <a:ext uri="{FF2B5EF4-FFF2-40B4-BE49-F238E27FC236}">
                <a16:creationId xmlns:a16="http://schemas.microsoft.com/office/drawing/2014/main" id="{D50B6CAA-A666-5524-85F7-444C607F0970}"/>
              </a:ext>
            </a:extLst>
          </p:cNvPr>
          <p:cNvSpPr txBox="1">
            <a:spLocks/>
          </p:cNvSpPr>
          <p:nvPr/>
        </p:nvSpPr>
        <p:spPr>
          <a:xfrm>
            <a:off x="763216" y="491067"/>
            <a:ext cx="10500986" cy="80750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457200">
              <a:lnSpc>
                <a:spcPct val="100000"/>
              </a:lnSpc>
              <a:buFont typeface="Arial" panose="020B0604020202020204" pitchFamily="34" charset="0"/>
              <a:buNone/>
              <a:defRPr sz="6000">
                <a:solidFill>
                  <a:srgbClr val="1D63FF"/>
                </a:solidFill>
              </a:defRPr>
            </a:pPr>
            <a:r>
              <a:rPr lang="en-US" sz="2400" dirty="0">
                <a:solidFill>
                  <a:srgbClr val="1D63FF"/>
                </a:solidFill>
                <a:latin typeface="Poppins" panose="00000500000000000000" pitchFamily="2" charset="0"/>
                <a:cs typeface="Poppins" panose="00000500000000000000" pitchFamily="2" charset="0"/>
              </a:rPr>
              <a:t>Main fronthaul air cargo rates remain elevated compared to 2019</a:t>
            </a:r>
          </a:p>
        </p:txBody>
      </p:sp>
      <p:sp>
        <p:nvSpPr>
          <p:cNvPr id="43" name="Text Placeholder 1">
            <a:extLst>
              <a:ext uri="{FF2B5EF4-FFF2-40B4-BE49-F238E27FC236}">
                <a16:creationId xmlns:a16="http://schemas.microsoft.com/office/drawing/2014/main" id="{C58C7321-3BF7-61DC-5B1A-AD075E56AE05}"/>
              </a:ext>
            </a:extLst>
          </p:cNvPr>
          <p:cNvSpPr txBox="1">
            <a:spLocks/>
          </p:cNvSpPr>
          <p:nvPr/>
        </p:nvSpPr>
        <p:spPr>
          <a:xfrm>
            <a:off x="600361" y="6397771"/>
            <a:ext cx="5181318" cy="469900"/>
          </a:xfrm>
          <a:prstGeom prst="rect">
            <a:avLst/>
          </a:prstGeom>
        </p:spPr>
        <p:txBody>
          <a:bodyPr vert="horz" lIns="0" tIns="45720" rIns="9144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dirty="0">
                <a:latin typeface="Poppins" panose="00000500000000000000" pitchFamily="2" charset="0"/>
                <a:cs typeface="Poppins" panose="00000500000000000000" pitchFamily="2" charset="0"/>
              </a:rPr>
              <a:t>Source: CLIVE Data Services, now part of Xeneta</a:t>
            </a:r>
          </a:p>
        </p:txBody>
      </p:sp>
      <p:sp>
        <p:nvSpPr>
          <p:cNvPr id="181" name="Text Placeholder 1">
            <a:extLst>
              <a:ext uri="{FF2B5EF4-FFF2-40B4-BE49-F238E27FC236}">
                <a16:creationId xmlns:a16="http://schemas.microsoft.com/office/drawing/2014/main" id="{7CDC462B-DC01-E701-64AE-27E4845FB608}"/>
              </a:ext>
            </a:extLst>
          </p:cNvPr>
          <p:cNvSpPr txBox="1">
            <a:spLocks/>
          </p:cNvSpPr>
          <p:nvPr/>
        </p:nvSpPr>
        <p:spPr>
          <a:xfrm>
            <a:off x="6311017" y="6470796"/>
            <a:ext cx="4127502" cy="320676"/>
          </a:xfrm>
          <a:prstGeom prst="rect">
            <a:avLst/>
          </a:prstGeom>
        </p:spPr>
        <p:txBody>
          <a:bodyPr vert="horz" lIns="0" tIns="45720" rIns="9144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000" dirty="0">
              <a:latin typeface="Poppins" panose="00000500000000000000" pitchFamily="2" charset="0"/>
              <a:cs typeface="Poppins" panose="00000500000000000000" pitchFamily="2" charset="0"/>
            </a:endParaRPr>
          </a:p>
        </p:txBody>
      </p:sp>
      <p:cxnSp>
        <p:nvCxnSpPr>
          <p:cNvPr id="4" name="Straight Connector 3">
            <a:extLst>
              <a:ext uri="{FF2B5EF4-FFF2-40B4-BE49-F238E27FC236}">
                <a16:creationId xmlns:a16="http://schemas.microsoft.com/office/drawing/2014/main" id="{59CFEDAB-7794-A3DD-7611-1D384145AC6E}"/>
              </a:ext>
            </a:extLst>
          </p:cNvPr>
          <p:cNvCxnSpPr/>
          <p:nvPr>
            <p:custDataLst>
              <p:tags r:id="rId2"/>
            </p:custDataLst>
          </p:nvPr>
        </p:nvCxnSpPr>
        <p:spPr bwMode="gray">
          <a:xfrm>
            <a:off x="3630613" y="2065338"/>
            <a:ext cx="0" cy="4105275"/>
          </a:xfrm>
          <a:prstGeom prst="line">
            <a:avLst/>
          </a:prstGeom>
          <a:ln w="3175" cap="flat" cmpd="sng" algn="ctr">
            <a:solidFill>
              <a:srgbClr val="DFE5E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 name="Straight Connector 2">
            <a:extLst>
              <a:ext uri="{FF2B5EF4-FFF2-40B4-BE49-F238E27FC236}">
                <a16:creationId xmlns:a16="http://schemas.microsoft.com/office/drawing/2014/main" id="{180C50B9-E639-223B-D88A-764848C4DFC3}"/>
              </a:ext>
            </a:extLst>
          </p:cNvPr>
          <p:cNvCxnSpPr/>
          <p:nvPr>
            <p:custDataLst>
              <p:tags r:id="rId3"/>
            </p:custDataLst>
          </p:nvPr>
        </p:nvCxnSpPr>
        <p:spPr bwMode="gray">
          <a:xfrm>
            <a:off x="6975475" y="2065338"/>
            <a:ext cx="0" cy="4105275"/>
          </a:xfrm>
          <a:prstGeom prst="line">
            <a:avLst/>
          </a:prstGeom>
          <a:ln w="3175" cap="flat" cmpd="sng" algn="ctr">
            <a:solidFill>
              <a:srgbClr val="DFE5E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E6654F15-843F-BEC7-4EDB-4112C8C7A147}"/>
              </a:ext>
            </a:extLst>
          </p:cNvPr>
          <p:cNvCxnSpPr/>
          <p:nvPr>
            <p:custDataLst>
              <p:tags r:id="rId4"/>
            </p:custDataLst>
          </p:nvPr>
        </p:nvCxnSpPr>
        <p:spPr bwMode="gray">
          <a:xfrm>
            <a:off x="4467225" y="2065338"/>
            <a:ext cx="0" cy="4105275"/>
          </a:xfrm>
          <a:prstGeom prst="line">
            <a:avLst/>
          </a:prstGeom>
          <a:ln w="3175" cap="flat" cmpd="sng" algn="ctr">
            <a:solidFill>
              <a:srgbClr val="DFE5E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923D110B-35CA-C383-A35A-A4A545899562}"/>
              </a:ext>
            </a:extLst>
          </p:cNvPr>
          <p:cNvCxnSpPr/>
          <p:nvPr>
            <p:custDataLst>
              <p:tags r:id="rId5"/>
            </p:custDataLst>
          </p:nvPr>
        </p:nvCxnSpPr>
        <p:spPr bwMode="gray">
          <a:xfrm>
            <a:off x="6138863" y="2065338"/>
            <a:ext cx="0" cy="4105275"/>
          </a:xfrm>
          <a:prstGeom prst="line">
            <a:avLst/>
          </a:prstGeom>
          <a:ln w="3175" cap="flat" cmpd="sng" algn="ctr">
            <a:solidFill>
              <a:srgbClr val="DFE5E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A70AC9B-D0FF-C373-D462-FF02DDD777C7}"/>
              </a:ext>
            </a:extLst>
          </p:cNvPr>
          <p:cNvCxnSpPr/>
          <p:nvPr>
            <p:custDataLst>
              <p:tags r:id="rId6"/>
            </p:custDataLst>
          </p:nvPr>
        </p:nvCxnSpPr>
        <p:spPr bwMode="gray">
          <a:xfrm>
            <a:off x="5303838" y="2065338"/>
            <a:ext cx="0" cy="4105275"/>
          </a:xfrm>
          <a:prstGeom prst="line">
            <a:avLst/>
          </a:prstGeom>
          <a:ln w="3175" cap="flat" cmpd="sng" algn="ctr">
            <a:solidFill>
              <a:srgbClr val="DFE5E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8389B17E-ABEA-F643-4F6E-7CE38CF78E92}"/>
              </a:ext>
            </a:extLst>
          </p:cNvPr>
          <p:cNvCxnSpPr/>
          <p:nvPr>
            <p:custDataLst>
              <p:tags r:id="rId7"/>
            </p:custDataLst>
          </p:nvPr>
        </p:nvCxnSpPr>
        <p:spPr bwMode="gray">
          <a:xfrm>
            <a:off x="7812088" y="2065338"/>
            <a:ext cx="0" cy="4105275"/>
          </a:xfrm>
          <a:prstGeom prst="line">
            <a:avLst/>
          </a:prstGeom>
          <a:ln w="3175" cap="flat" cmpd="sng" algn="ctr">
            <a:solidFill>
              <a:srgbClr val="DFE5E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60" name="Chart 59">
            <a:extLst>
              <a:ext uri="{FF2B5EF4-FFF2-40B4-BE49-F238E27FC236}">
                <a16:creationId xmlns:a16="http://schemas.microsoft.com/office/drawing/2014/main" id="{A4F2255A-57F5-F816-C3E5-0863B1B809DF}"/>
              </a:ext>
            </a:extLst>
          </p:cNvPr>
          <p:cNvGraphicFramePr/>
          <p:nvPr>
            <p:custDataLst>
              <p:tags r:id="rId8"/>
            </p:custDataLst>
          </p:nvPr>
        </p:nvGraphicFramePr>
        <p:xfrm>
          <a:off x="2617788" y="1771650"/>
          <a:ext cx="5372100" cy="4481513"/>
        </p:xfrm>
        <a:graphic>
          <a:graphicData uri="http://schemas.openxmlformats.org/drawingml/2006/chart">
            <c:chart xmlns:c="http://schemas.openxmlformats.org/drawingml/2006/chart" xmlns:r="http://schemas.openxmlformats.org/officeDocument/2006/relationships" r:id="rId37"/>
          </a:graphicData>
        </a:graphic>
      </p:graphicFrame>
      <p:sp>
        <p:nvSpPr>
          <p:cNvPr id="14" name="Text Placeholder 2">
            <a:extLst>
              <a:ext uri="{FF2B5EF4-FFF2-40B4-BE49-F238E27FC236}">
                <a16:creationId xmlns:a16="http://schemas.microsoft.com/office/drawing/2014/main" id="{D1B35456-B28F-2CC7-2065-A3CF6F07F940}"/>
              </a:ext>
            </a:extLst>
          </p:cNvPr>
          <p:cNvSpPr>
            <a:spLocks noGrp="1"/>
          </p:cNvSpPr>
          <p:nvPr>
            <p:custDataLst>
              <p:tags r:id="rId9"/>
            </p:custDataLst>
          </p:nvPr>
        </p:nvSpPr>
        <p:spPr bwMode="auto">
          <a:xfrm>
            <a:off x="881063" y="2782888"/>
            <a:ext cx="1824038"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spcBef>
                <a:spcPct val="0"/>
              </a:spcBef>
              <a:spcAft>
                <a:spcPct val="0"/>
              </a:spcAft>
              <a:buNone/>
            </a:pPr>
            <a:fld id="{4CA48990-B59F-4020-97A3-BAD14FF56C27}" type="datetime'Nor''t''heast A''si''a (''excl'' ''''''China)''&#10;''to Europe'">
              <a:rPr lang="en-US" altLang="en-US" sz="1050" smtClean="0">
                <a:solidFill>
                  <a:srgbClr val="10183A"/>
                </a:solidFill>
                <a:latin typeface="Poppins" panose="00000500000000000000" pitchFamily="2" charset="0"/>
                <a:cs typeface="Poppins" panose="00000500000000000000" pitchFamily="2" charset="0"/>
              </a:rPr>
              <a:pPr/>
              <a:t>Northeast Asia (excl China)
to Europe</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8" name="Text Placeholder 2">
            <a:extLst>
              <a:ext uri="{FF2B5EF4-FFF2-40B4-BE49-F238E27FC236}">
                <a16:creationId xmlns:a16="http://schemas.microsoft.com/office/drawing/2014/main" id="{52EB72AB-6502-B7BA-BA5A-7EFE72180C1D}"/>
              </a:ext>
            </a:extLst>
          </p:cNvPr>
          <p:cNvSpPr>
            <a:spLocks noGrp="1"/>
          </p:cNvSpPr>
          <p:nvPr>
            <p:custDataLst>
              <p:tags r:id="rId10"/>
            </p:custDataLst>
          </p:nvPr>
        </p:nvSpPr>
        <p:spPr bwMode="auto">
          <a:xfrm>
            <a:off x="1639888" y="4037013"/>
            <a:ext cx="10652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spcBef>
                <a:spcPct val="0"/>
              </a:spcBef>
              <a:spcAft>
                <a:spcPct val="0"/>
              </a:spcAft>
              <a:buNone/>
            </a:pPr>
            <a:fld id="{0C561D0B-F41B-44B2-87A4-B8E9C058A92A}" type="datetime'''C''''h''''''in''a'''''''' ''''''to'''' Eur''o''''p''''e'''">
              <a:rPr lang="en-GB" altLang="en-US" sz="1050" smtClean="0">
                <a:solidFill>
                  <a:srgbClr val="10183A"/>
                </a:solidFill>
                <a:latin typeface="Poppins" panose="00000500000000000000" pitchFamily="2" charset="0"/>
                <a:cs typeface="Poppins" panose="00000500000000000000" pitchFamily="2" charset="0"/>
              </a:rPr>
              <a:pPr/>
              <a:t>China to Europe</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3" name="Text Placeholder 2">
            <a:extLst>
              <a:ext uri="{FF2B5EF4-FFF2-40B4-BE49-F238E27FC236}">
                <a16:creationId xmlns:a16="http://schemas.microsoft.com/office/drawing/2014/main" id="{C0312F6C-1E27-D8B4-4FD9-1C784BE871D2}"/>
              </a:ext>
            </a:extLst>
          </p:cNvPr>
          <p:cNvSpPr>
            <a:spLocks noGrp="1"/>
          </p:cNvSpPr>
          <p:nvPr>
            <p:custDataLst>
              <p:tags r:id="rId11"/>
            </p:custDataLst>
          </p:nvPr>
        </p:nvSpPr>
        <p:spPr bwMode="auto">
          <a:xfrm>
            <a:off x="1138238" y="2278063"/>
            <a:ext cx="15668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spcBef>
                <a:spcPct val="0"/>
              </a:spcBef>
              <a:spcAft>
                <a:spcPct val="0"/>
              </a:spcAft>
              <a:buNone/>
            </a:pPr>
            <a:fld id="{9BAEE8E8-7D1F-4686-879C-2CC3278F4F07}" type="datetime'Chin''a ''''''''to N''''o''''''r''t''''h Ameri''''''''ca'''''">
              <a:rPr lang="en-GB" altLang="en-US" sz="1050" smtClean="0">
                <a:solidFill>
                  <a:srgbClr val="10183A"/>
                </a:solidFill>
                <a:latin typeface="Poppins" panose="00000500000000000000" pitchFamily="2" charset="0"/>
                <a:cs typeface="Poppins" panose="00000500000000000000" pitchFamily="2" charset="0"/>
              </a:rPr>
              <a:pPr/>
              <a:t>China to North America</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6" name="Text Placeholder 2">
            <a:extLst>
              <a:ext uri="{FF2B5EF4-FFF2-40B4-BE49-F238E27FC236}">
                <a16:creationId xmlns:a16="http://schemas.microsoft.com/office/drawing/2014/main" id="{96E4AB9E-DF09-F890-3800-5A9B68271115}"/>
              </a:ext>
            </a:extLst>
          </p:cNvPr>
          <p:cNvSpPr>
            <a:spLocks noGrp="1"/>
          </p:cNvSpPr>
          <p:nvPr>
            <p:custDataLst>
              <p:tags r:id="rId12"/>
            </p:custDataLst>
          </p:nvPr>
        </p:nvSpPr>
        <p:spPr bwMode="auto">
          <a:xfrm>
            <a:off x="881063" y="3370263"/>
            <a:ext cx="1824038"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spcBef>
                <a:spcPct val="0"/>
              </a:spcBef>
              <a:spcAft>
                <a:spcPct val="0"/>
              </a:spcAft>
              <a:buNone/>
            </a:pPr>
            <a:fld id="{2020FE54-9487-42CE-8BF4-679C75DA8536}" type="datetime'''North''eas''t Asia ''(excl China)&#10;to'' North'' Amer''i''ca'">
              <a:rPr lang="en-US" altLang="en-US" sz="1050" smtClean="0">
                <a:solidFill>
                  <a:srgbClr val="10183A"/>
                </a:solidFill>
                <a:latin typeface="Poppins" panose="00000500000000000000" pitchFamily="2" charset="0"/>
                <a:cs typeface="Poppins" panose="00000500000000000000" pitchFamily="2" charset="0"/>
              </a:rPr>
              <a:pPr/>
              <a:t>Northeast Asia (excl China)
to North America</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9" name="Text Placeholder 2">
            <a:extLst>
              <a:ext uri="{FF2B5EF4-FFF2-40B4-BE49-F238E27FC236}">
                <a16:creationId xmlns:a16="http://schemas.microsoft.com/office/drawing/2014/main" id="{5BF17AE7-D76E-5C2E-05D8-05F196278A01}"/>
              </a:ext>
            </a:extLst>
          </p:cNvPr>
          <p:cNvSpPr>
            <a:spLocks noGrp="1"/>
          </p:cNvSpPr>
          <p:nvPr>
            <p:custDataLst>
              <p:tags r:id="rId13"/>
            </p:custDataLst>
          </p:nvPr>
        </p:nvSpPr>
        <p:spPr bwMode="auto">
          <a:xfrm>
            <a:off x="1571625" y="4543425"/>
            <a:ext cx="1133475"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spcBef>
                <a:spcPct val="0"/>
              </a:spcBef>
              <a:spcAft>
                <a:spcPct val="0"/>
              </a:spcAft>
              <a:buNone/>
            </a:pPr>
            <a:fld id="{D1748E0A-5C09-4486-9956-CBE42817561D}" type="datetime'''So''uth''east'''' As''''ia'' &#10;to N''orth ''''Amer''i''ca'''">
              <a:rPr lang="en-US" altLang="en-US" sz="1050" smtClean="0">
                <a:solidFill>
                  <a:srgbClr val="10183A"/>
                </a:solidFill>
                <a:latin typeface="Poppins" panose="00000500000000000000" pitchFamily="2" charset="0"/>
                <a:cs typeface="Poppins" panose="00000500000000000000" pitchFamily="2" charset="0"/>
              </a:rPr>
              <a:pPr/>
              <a:t>Southeast Asia 
to North America</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0" name="Text Placeholder 2">
            <a:extLst>
              <a:ext uri="{FF2B5EF4-FFF2-40B4-BE49-F238E27FC236}">
                <a16:creationId xmlns:a16="http://schemas.microsoft.com/office/drawing/2014/main" id="{2239E0D8-9B03-E854-4D23-E38D6F8C3B67}"/>
              </a:ext>
            </a:extLst>
          </p:cNvPr>
          <p:cNvSpPr>
            <a:spLocks noGrp="1"/>
          </p:cNvSpPr>
          <p:nvPr>
            <p:custDataLst>
              <p:tags r:id="rId14"/>
            </p:custDataLst>
          </p:nvPr>
        </p:nvSpPr>
        <p:spPr bwMode="auto">
          <a:xfrm>
            <a:off x="1074738" y="5210175"/>
            <a:ext cx="16303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spcBef>
                <a:spcPct val="0"/>
              </a:spcBef>
              <a:spcAft>
                <a:spcPct val="0"/>
              </a:spcAft>
              <a:buNone/>
            </a:pPr>
            <a:fld id="{BB154C05-8A6F-4EC9-8EEB-C5EBC12A1E2B}" type="datetime'''Eur''ope'' to'' No''rth ''Am''''''''e''rica'''''">
              <a:rPr lang="en-GB" altLang="en-US" sz="1050" smtClean="0">
                <a:solidFill>
                  <a:srgbClr val="10183A"/>
                </a:solidFill>
                <a:latin typeface="Poppins" panose="00000500000000000000" pitchFamily="2" charset="0"/>
                <a:cs typeface="Poppins" panose="00000500000000000000" pitchFamily="2" charset="0"/>
              </a:rPr>
              <a:pPr/>
              <a:t>Europe to North America</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17" name="Text Placeholder 2">
            <a:extLst>
              <a:ext uri="{FF2B5EF4-FFF2-40B4-BE49-F238E27FC236}">
                <a16:creationId xmlns:a16="http://schemas.microsoft.com/office/drawing/2014/main" id="{2E73E0B4-0AAE-D53F-51AB-4C184B5BED93}"/>
              </a:ext>
            </a:extLst>
          </p:cNvPr>
          <p:cNvSpPr>
            <a:spLocks noGrp="1"/>
          </p:cNvSpPr>
          <p:nvPr>
            <p:custDataLst>
              <p:tags r:id="rId15"/>
            </p:custDataLst>
          </p:nvPr>
        </p:nvSpPr>
        <p:spPr bwMode="auto">
          <a:xfrm>
            <a:off x="1674813" y="5716588"/>
            <a:ext cx="1030288" cy="3206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r">
              <a:spcBef>
                <a:spcPct val="0"/>
              </a:spcBef>
              <a:spcAft>
                <a:spcPct val="0"/>
              </a:spcAft>
              <a:buNone/>
            </a:pPr>
            <a:fld id="{582578B3-BA4A-44C1-BD33-ABF2C2E0055A}" type="datetime'S''out''''h''east Asi''''a'' ''&#10;t''o'' Eu''rope'''''''">
              <a:rPr lang="en-GB" altLang="en-US" sz="1050" smtClean="0">
                <a:solidFill>
                  <a:srgbClr val="10183A"/>
                </a:solidFill>
                <a:latin typeface="Poppins" panose="00000500000000000000" pitchFamily="2" charset="0"/>
                <a:cs typeface="Poppins" panose="00000500000000000000" pitchFamily="2" charset="0"/>
              </a:rPr>
              <a:pPr/>
              <a:t>Southeast Asia 
to Europe</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useBgFill="1">
        <p:nvSpPr>
          <p:cNvPr id="20" name="Text Placeholder 2">
            <a:extLst>
              <a:ext uri="{FF2B5EF4-FFF2-40B4-BE49-F238E27FC236}">
                <a16:creationId xmlns:a16="http://schemas.microsoft.com/office/drawing/2014/main" id="{CFA578B9-8883-CE98-D9C7-C819394622E4}"/>
              </a:ext>
            </a:extLst>
          </p:cNvPr>
          <p:cNvSpPr>
            <a:spLocks noGrp="1"/>
          </p:cNvSpPr>
          <p:nvPr>
            <p:custDataLst>
              <p:tags r:id="rId16"/>
            </p:custDataLst>
          </p:nvPr>
        </p:nvSpPr>
        <p:spPr bwMode="gray">
          <a:xfrm>
            <a:off x="6791325" y="2978150"/>
            <a:ext cx="307975" cy="144463"/>
          </a:xfrm>
          <a:prstGeom prst="rect">
            <a:avLst/>
          </a:prstGeom>
          <a:ln>
            <a:noFill/>
          </a:ln>
          <a:effectLst/>
        </p:spPr>
        <p:txBody>
          <a:bodyPr vert="horz" wrap="none" lIns="19050" tIns="0" rIns="1905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nSpc>
                <a:spcPct val="90000"/>
              </a:lnSpc>
              <a:spcBef>
                <a:spcPct val="0"/>
              </a:spcBef>
              <a:spcAft>
                <a:spcPct val="0"/>
              </a:spcAft>
              <a:buNone/>
            </a:pPr>
            <a:fld id="{4892AF04-F7F1-4B68-96D4-8C7B1BAD69F2}" type="datetime'''''''''''''''4''''''''''''''''''''''''.''7''''''5'''''''''''">
              <a:rPr lang="en-US" altLang="en-US" sz="1050" smtClean="0">
                <a:solidFill>
                  <a:srgbClr val="10183A"/>
                </a:solidFill>
                <a:effectLst/>
                <a:latin typeface="Poppins" panose="00000500000000000000" pitchFamily="2" charset="0"/>
                <a:cs typeface="Poppins" panose="00000500000000000000" pitchFamily="2" charset="0"/>
              </a:rPr>
              <a:pPr/>
              <a:t>4.75</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useBgFill="1">
        <p:nvSpPr>
          <p:cNvPr id="21" name="Text Placeholder 2">
            <a:extLst>
              <a:ext uri="{FF2B5EF4-FFF2-40B4-BE49-F238E27FC236}">
                <a16:creationId xmlns:a16="http://schemas.microsoft.com/office/drawing/2014/main" id="{C93BEC78-AC33-C318-4A97-0EF7B5518164}"/>
              </a:ext>
            </a:extLst>
          </p:cNvPr>
          <p:cNvSpPr>
            <a:spLocks noGrp="1"/>
          </p:cNvSpPr>
          <p:nvPr>
            <p:custDataLst>
              <p:tags r:id="rId17"/>
            </p:custDataLst>
          </p:nvPr>
        </p:nvSpPr>
        <p:spPr bwMode="gray">
          <a:xfrm>
            <a:off x="6107113" y="4151313"/>
            <a:ext cx="306388" cy="144463"/>
          </a:xfrm>
          <a:prstGeom prst="rect">
            <a:avLst/>
          </a:prstGeom>
          <a:ln>
            <a:noFill/>
          </a:ln>
          <a:effectLst/>
        </p:spPr>
        <p:txBody>
          <a:bodyPr vert="horz" wrap="none" lIns="19050" tIns="0" rIns="1905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nSpc>
                <a:spcPct val="90000"/>
              </a:lnSpc>
              <a:spcBef>
                <a:spcPct val="0"/>
              </a:spcBef>
              <a:spcAft>
                <a:spcPct val="0"/>
              </a:spcAft>
              <a:buNone/>
            </a:pPr>
            <a:fld id="{5F4F9AD2-42DE-4F93-95F5-A942D4FF4FCF}" type="datetime'''''''''3''''''.''''''''''''''''''''9''''3'''''">
              <a:rPr lang="en-US" altLang="en-US" sz="1050" smtClean="0">
                <a:solidFill>
                  <a:srgbClr val="10183A"/>
                </a:solidFill>
                <a:effectLst/>
                <a:latin typeface="Poppins" panose="00000500000000000000" pitchFamily="2" charset="0"/>
                <a:cs typeface="Poppins" panose="00000500000000000000" pitchFamily="2" charset="0"/>
              </a:rPr>
              <a:pPr/>
              <a:t>3.93</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useBgFill="1">
        <p:nvSpPr>
          <p:cNvPr id="15" name="Text Placeholder 2">
            <a:extLst>
              <a:ext uri="{FF2B5EF4-FFF2-40B4-BE49-F238E27FC236}">
                <a16:creationId xmlns:a16="http://schemas.microsoft.com/office/drawing/2014/main" id="{15D2C790-9FFB-634C-BCD2-595B725FE5BF}"/>
              </a:ext>
            </a:extLst>
          </p:cNvPr>
          <p:cNvSpPr>
            <a:spLocks noGrp="1"/>
          </p:cNvSpPr>
          <p:nvPr>
            <p:custDataLst>
              <p:tags r:id="rId18"/>
            </p:custDataLst>
          </p:nvPr>
        </p:nvSpPr>
        <p:spPr bwMode="gray">
          <a:xfrm>
            <a:off x="5913438" y="4737100"/>
            <a:ext cx="301625" cy="144463"/>
          </a:xfrm>
          <a:prstGeom prst="rect">
            <a:avLst/>
          </a:prstGeom>
          <a:ln>
            <a:noFill/>
          </a:ln>
          <a:effectLst/>
        </p:spPr>
        <p:txBody>
          <a:bodyPr vert="horz" wrap="none" lIns="19050" tIns="0" rIns="1905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nSpc>
                <a:spcPct val="90000"/>
              </a:lnSpc>
              <a:spcBef>
                <a:spcPct val="0"/>
              </a:spcBef>
              <a:spcAft>
                <a:spcPct val="0"/>
              </a:spcAft>
              <a:buNone/>
            </a:pPr>
            <a:fld id="{AF4A8E0D-717D-47DA-B098-717C0D904887}" type="datetime'''3''''.''''''7''''''''''0'''''''''''''''">
              <a:rPr lang="en-US" altLang="en-US" sz="1050" smtClean="0">
                <a:solidFill>
                  <a:srgbClr val="10183A"/>
                </a:solidFill>
                <a:effectLst/>
                <a:latin typeface="Poppins" panose="00000500000000000000" pitchFamily="2" charset="0"/>
                <a:cs typeface="Poppins" panose="00000500000000000000" pitchFamily="2" charset="0"/>
              </a:rPr>
              <a:pPr/>
              <a:t>3.70</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useBgFill="1">
        <p:nvSpPr>
          <p:cNvPr id="22" name="Text Placeholder 2">
            <a:extLst>
              <a:ext uri="{FF2B5EF4-FFF2-40B4-BE49-F238E27FC236}">
                <a16:creationId xmlns:a16="http://schemas.microsoft.com/office/drawing/2014/main" id="{1AF6FDFC-2383-0FE7-E893-83B21584B753}"/>
              </a:ext>
            </a:extLst>
          </p:cNvPr>
          <p:cNvSpPr>
            <a:spLocks noGrp="1"/>
          </p:cNvSpPr>
          <p:nvPr>
            <p:custDataLst>
              <p:tags r:id="rId19"/>
            </p:custDataLst>
          </p:nvPr>
        </p:nvSpPr>
        <p:spPr bwMode="gray">
          <a:xfrm>
            <a:off x="5229225" y="5324475"/>
            <a:ext cx="311150" cy="144463"/>
          </a:xfrm>
          <a:prstGeom prst="rect">
            <a:avLst/>
          </a:prstGeom>
          <a:ln>
            <a:noFill/>
          </a:ln>
          <a:effectLst/>
        </p:spPr>
        <p:txBody>
          <a:bodyPr vert="horz" wrap="none" lIns="19050" tIns="0" rIns="1905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nSpc>
                <a:spcPct val="90000"/>
              </a:lnSpc>
              <a:spcBef>
                <a:spcPct val="0"/>
              </a:spcBef>
              <a:spcAft>
                <a:spcPct val="0"/>
              </a:spcAft>
              <a:buNone/>
            </a:pPr>
            <a:fld id="{01F6A7F4-F278-4B06-AC98-828AEC2418DC}" type="datetime'2''.''''''''''''''''''''8''''''''''''''''''''''''''8'''''">
              <a:rPr lang="en-US" altLang="en-US" sz="1050" smtClean="0">
                <a:solidFill>
                  <a:srgbClr val="10183A"/>
                </a:solidFill>
                <a:effectLst/>
                <a:latin typeface="Poppins" panose="00000500000000000000" pitchFamily="2" charset="0"/>
                <a:cs typeface="Poppins" panose="00000500000000000000" pitchFamily="2" charset="0"/>
              </a:rPr>
              <a:pPr/>
              <a:t>2.88</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useBgFill="1">
        <p:nvSpPr>
          <p:cNvPr id="23" name="Text Placeholder 2">
            <a:extLst>
              <a:ext uri="{FF2B5EF4-FFF2-40B4-BE49-F238E27FC236}">
                <a16:creationId xmlns:a16="http://schemas.microsoft.com/office/drawing/2014/main" id="{0E7649E5-B74F-462A-250F-DF69C961663D}"/>
              </a:ext>
            </a:extLst>
          </p:cNvPr>
          <p:cNvSpPr>
            <a:spLocks noGrp="1"/>
          </p:cNvSpPr>
          <p:nvPr>
            <p:custDataLst>
              <p:tags r:id="rId20"/>
            </p:custDataLst>
          </p:nvPr>
        </p:nvSpPr>
        <p:spPr bwMode="gray">
          <a:xfrm>
            <a:off x="5062538" y="5910263"/>
            <a:ext cx="311150" cy="144463"/>
          </a:xfrm>
          <a:prstGeom prst="rect">
            <a:avLst/>
          </a:prstGeom>
          <a:ln>
            <a:noFill/>
          </a:ln>
          <a:effectLst/>
        </p:spPr>
        <p:txBody>
          <a:bodyPr vert="horz" wrap="none" lIns="19050" tIns="0" rIns="1905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nSpc>
                <a:spcPct val="90000"/>
              </a:lnSpc>
              <a:spcBef>
                <a:spcPct val="0"/>
              </a:spcBef>
              <a:spcAft>
                <a:spcPct val="0"/>
              </a:spcAft>
              <a:buNone/>
            </a:pPr>
            <a:fld id="{F753BE71-16BC-4370-978B-9CEBE20CA76D}" type="datetime'''''''''''''''''''''''''''''''''2''''''.''''68'''''''''''''">
              <a:rPr lang="en-US" altLang="en-US" sz="1050" smtClean="0">
                <a:solidFill>
                  <a:srgbClr val="10183A"/>
                </a:solidFill>
                <a:effectLst/>
                <a:latin typeface="Poppins" panose="00000500000000000000" pitchFamily="2" charset="0"/>
                <a:cs typeface="Poppins" panose="00000500000000000000" pitchFamily="2" charset="0"/>
              </a:rPr>
              <a:pPr/>
              <a:t>2.68</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27" name="Rectangle 26">
            <a:extLst>
              <a:ext uri="{FF2B5EF4-FFF2-40B4-BE49-F238E27FC236}">
                <a16:creationId xmlns:a16="http://schemas.microsoft.com/office/drawing/2014/main" id="{CDDA3F38-5502-507E-F1BD-B35220056828}"/>
              </a:ext>
            </a:extLst>
          </p:cNvPr>
          <p:cNvSpPr/>
          <p:nvPr>
            <p:custDataLst>
              <p:tags r:id="rId21"/>
            </p:custDataLst>
          </p:nvPr>
        </p:nvSpPr>
        <p:spPr bwMode="auto">
          <a:xfrm>
            <a:off x="8540750" y="1687513"/>
            <a:ext cx="187325" cy="139700"/>
          </a:xfrm>
          <a:prstGeom prst="rect">
            <a:avLst/>
          </a:prstGeom>
          <a:solidFill>
            <a:srgbClr val="0065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bg1"/>
              </a:solidFill>
            </a:endParaRPr>
          </a:p>
        </p:txBody>
      </p:sp>
      <p:sp>
        <p:nvSpPr>
          <p:cNvPr id="24" name="Rectangle 23">
            <a:extLst>
              <a:ext uri="{FF2B5EF4-FFF2-40B4-BE49-F238E27FC236}">
                <a16:creationId xmlns:a16="http://schemas.microsoft.com/office/drawing/2014/main" id="{7D343528-9155-FB5E-AF9E-C00081E0A021}"/>
              </a:ext>
            </a:extLst>
          </p:cNvPr>
          <p:cNvSpPr/>
          <p:nvPr>
            <p:custDataLst>
              <p:tags r:id="rId22"/>
            </p:custDataLst>
          </p:nvPr>
        </p:nvSpPr>
        <p:spPr bwMode="auto">
          <a:xfrm>
            <a:off x="8540750" y="1476375"/>
            <a:ext cx="187325" cy="139700"/>
          </a:xfrm>
          <a:prstGeom prst="rect">
            <a:avLst/>
          </a:prstGeom>
          <a:solidFill>
            <a:srgbClr val="C1C7D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bg1"/>
              </a:solidFill>
            </a:endParaRPr>
          </a:p>
        </p:txBody>
      </p:sp>
      <p:sp>
        <p:nvSpPr>
          <p:cNvPr id="32" name="Text Placeholder 2">
            <a:extLst>
              <a:ext uri="{FF2B5EF4-FFF2-40B4-BE49-F238E27FC236}">
                <a16:creationId xmlns:a16="http://schemas.microsoft.com/office/drawing/2014/main" id="{E21EA46F-83FB-42B0-C09F-B3AA72C48874}"/>
              </a:ext>
            </a:extLst>
          </p:cNvPr>
          <p:cNvSpPr>
            <a:spLocks noGrp="1"/>
          </p:cNvSpPr>
          <p:nvPr>
            <p:custDataLst>
              <p:tags r:id="rId23"/>
            </p:custDataLst>
          </p:nvPr>
        </p:nvSpPr>
        <p:spPr bwMode="auto">
          <a:xfrm>
            <a:off x="8778875" y="1471613"/>
            <a:ext cx="5619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spcBef>
                <a:spcPct val="0"/>
              </a:spcBef>
              <a:spcAft>
                <a:spcPct val="0"/>
              </a:spcAft>
              <a:buNone/>
            </a:pPr>
            <a:fld id="{AD761D65-8FE3-4DCC-BB23-605C6B71C3A2}" type="datetime'F''eb'' ''''''''2''''''''''0''''''''''1''''''''''''9'''">
              <a:rPr lang="en-GB" altLang="en-US" sz="1050" smtClean="0">
                <a:solidFill>
                  <a:srgbClr val="10183A"/>
                </a:solidFill>
                <a:latin typeface="Poppins" panose="00000500000000000000" pitchFamily="2" charset="0"/>
                <a:cs typeface="Poppins" panose="00000500000000000000" pitchFamily="2" charset="0"/>
              </a:rPr>
              <a:pPr/>
              <a:t>Feb 2019</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0" name="Text Placeholder 2">
            <a:extLst>
              <a:ext uri="{FF2B5EF4-FFF2-40B4-BE49-F238E27FC236}">
                <a16:creationId xmlns:a16="http://schemas.microsoft.com/office/drawing/2014/main" id="{D916A6A4-F0DB-88B4-6A36-F421FB5F98F3}"/>
              </a:ext>
            </a:extLst>
          </p:cNvPr>
          <p:cNvSpPr>
            <a:spLocks noGrp="1"/>
          </p:cNvSpPr>
          <p:nvPr>
            <p:custDataLst>
              <p:tags r:id="rId24"/>
            </p:custDataLst>
          </p:nvPr>
        </p:nvSpPr>
        <p:spPr bwMode="auto">
          <a:xfrm>
            <a:off x="8778875" y="1682750"/>
            <a:ext cx="5889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spcBef>
                <a:spcPct val="0"/>
              </a:spcBef>
              <a:spcAft>
                <a:spcPct val="0"/>
              </a:spcAft>
              <a:buNone/>
            </a:pPr>
            <a:fld id="{4BB40F34-271A-42A0-9B31-1F16DBCFE436}" type="datetime'''''''''F''''''''''''''''''e''''b'''' 2''''''0''2''''3'''">
              <a:rPr lang="en-US" altLang="en-US" sz="1050" smtClean="0">
                <a:solidFill>
                  <a:srgbClr val="10183A"/>
                </a:solidFill>
                <a:latin typeface="Poppins" panose="00000500000000000000" pitchFamily="2" charset="0"/>
                <a:cs typeface="Poppins" panose="00000500000000000000" pitchFamily="2" charset="0"/>
              </a:rPr>
              <a:pPr/>
              <a:t>Feb 2023</a:t>
            </a:fld>
            <a:endParaRPr lang="en-GB" sz="1050"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3" name="Text Placeholder 2">
            <a:extLst>
              <a:ext uri="{FF2B5EF4-FFF2-40B4-BE49-F238E27FC236}">
                <a16:creationId xmlns:a16="http://schemas.microsoft.com/office/drawing/2014/main" id="{875854BE-8174-CF2E-3A68-44F0D526B07D}"/>
              </a:ext>
            </a:extLst>
          </p:cNvPr>
          <p:cNvSpPr>
            <a:spLocks noGrp="1"/>
          </p:cNvSpPr>
          <p:nvPr>
            <p:custDataLst>
              <p:tags r:id="rId25"/>
            </p:custDataLst>
          </p:nvPr>
        </p:nvSpPr>
        <p:spPr bwMode="auto">
          <a:xfrm>
            <a:off x="9669463" y="2651125"/>
            <a:ext cx="1063625" cy="587375"/>
          </a:xfrm>
          <a:prstGeom prst="rect">
            <a:avLst/>
          </a:prstGeom>
          <a:solidFill>
            <a:srgbClr val="EDEFF1"/>
          </a:solidFill>
          <a:ln>
            <a:noFill/>
          </a:ln>
          <a:effectLst/>
        </p:spPr>
        <p:txBody>
          <a:bodyPr vert="horz" wrap="none" lIns="0" tIns="217488" rIns="1588" bIns="217488"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r>
              <a:rPr lang="en-GB" altLang="en-US" b="1" dirty="0">
                <a:solidFill>
                  <a:srgbClr val="10183A"/>
                </a:solidFill>
                <a:effectLst/>
                <a:latin typeface="Poppins" panose="00000500000000000000" pitchFamily="2" charset="0"/>
                <a:cs typeface="Poppins" panose="00000500000000000000" pitchFamily="2" charset="0"/>
                <a:sym typeface="Poppins" panose="00000500000000000000" pitchFamily="2" charset="0"/>
              </a:rPr>
              <a:t>+93%</a:t>
            </a:r>
            <a:endParaRPr lang="en-GB" b="1"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5" name="Text Placeholder 2">
            <a:extLst>
              <a:ext uri="{FF2B5EF4-FFF2-40B4-BE49-F238E27FC236}">
                <a16:creationId xmlns:a16="http://schemas.microsoft.com/office/drawing/2014/main" id="{68DAE4E9-EA1D-BB94-F46A-185C1628FD22}"/>
              </a:ext>
            </a:extLst>
          </p:cNvPr>
          <p:cNvSpPr>
            <a:spLocks noGrp="1"/>
          </p:cNvSpPr>
          <p:nvPr>
            <p:custDataLst>
              <p:tags r:id="rId26"/>
            </p:custDataLst>
          </p:nvPr>
        </p:nvSpPr>
        <p:spPr bwMode="auto">
          <a:xfrm>
            <a:off x="9669463" y="3238500"/>
            <a:ext cx="1063625" cy="585788"/>
          </a:xfrm>
          <a:prstGeom prst="rect">
            <a:avLst/>
          </a:prstGeom>
          <a:solidFill>
            <a:srgbClr val="EDEFF1"/>
          </a:solidFill>
          <a:ln>
            <a:noFill/>
          </a:ln>
          <a:effectLst/>
        </p:spPr>
        <p:txBody>
          <a:bodyPr vert="horz" wrap="none" lIns="0" tIns="217488" rIns="0" bIns="21590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r>
              <a:rPr lang="en-GB" altLang="en-US" b="1" dirty="0">
                <a:solidFill>
                  <a:srgbClr val="10183A"/>
                </a:solidFill>
                <a:effectLst/>
                <a:latin typeface="Poppins" panose="00000500000000000000" pitchFamily="2" charset="0"/>
                <a:cs typeface="Poppins" panose="00000500000000000000" pitchFamily="2" charset="0"/>
                <a:sym typeface="Poppins" panose="00000500000000000000" pitchFamily="2" charset="0"/>
              </a:rPr>
              <a:t>+42%</a:t>
            </a:r>
            <a:endParaRPr lang="en-GB" b="1"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6" name="Text Placeholder 2">
            <a:extLst>
              <a:ext uri="{FF2B5EF4-FFF2-40B4-BE49-F238E27FC236}">
                <a16:creationId xmlns:a16="http://schemas.microsoft.com/office/drawing/2014/main" id="{6DC9B71B-0029-BD19-D6E9-315B6341087D}"/>
              </a:ext>
            </a:extLst>
          </p:cNvPr>
          <p:cNvSpPr>
            <a:spLocks noGrp="1"/>
          </p:cNvSpPr>
          <p:nvPr>
            <p:custDataLst>
              <p:tags r:id="rId27"/>
            </p:custDataLst>
          </p:nvPr>
        </p:nvSpPr>
        <p:spPr bwMode="auto">
          <a:xfrm>
            <a:off x="9669463" y="3824288"/>
            <a:ext cx="1063625" cy="587375"/>
          </a:xfrm>
          <a:prstGeom prst="rect">
            <a:avLst/>
          </a:prstGeom>
          <a:solidFill>
            <a:srgbClr val="EDEFF1"/>
          </a:solidFill>
          <a:ln>
            <a:noFill/>
          </a:ln>
          <a:effectLst/>
        </p:spPr>
        <p:txBody>
          <a:bodyPr vert="horz" wrap="none" lIns="0" tIns="217488" rIns="0" bIns="217488"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r>
              <a:rPr lang="en-GB" altLang="en-US" b="1" dirty="0">
                <a:solidFill>
                  <a:srgbClr val="10183A"/>
                </a:solidFill>
                <a:effectLst/>
                <a:latin typeface="Poppins" panose="00000500000000000000" pitchFamily="2" charset="0"/>
                <a:cs typeface="Poppins" panose="00000500000000000000" pitchFamily="2" charset="0"/>
                <a:sym typeface="Poppins" panose="00000500000000000000" pitchFamily="2" charset="0"/>
              </a:rPr>
              <a:t>+80%</a:t>
            </a:r>
            <a:endParaRPr lang="en-GB" b="1"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7" name="Text Placeholder 2">
            <a:extLst>
              <a:ext uri="{FF2B5EF4-FFF2-40B4-BE49-F238E27FC236}">
                <a16:creationId xmlns:a16="http://schemas.microsoft.com/office/drawing/2014/main" id="{C3340AEB-500B-539B-FF14-D53DDA6558EE}"/>
              </a:ext>
            </a:extLst>
          </p:cNvPr>
          <p:cNvSpPr>
            <a:spLocks noGrp="1"/>
          </p:cNvSpPr>
          <p:nvPr>
            <p:custDataLst>
              <p:tags r:id="rId28"/>
            </p:custDataLst>
          </p:nvPr>
        </p:nvSpPr>
        <p:spPr bwMode="auto">
          <a:xfrm>
            <a:off x="9669463" y="4411663"/>
            <a:ext cx="1063625" cy="585788"/>
          </a:xfrm>
          <a:prstGeom prst="rect">
            <a:avLst/>
          </a:prstGeom>
          <a:solidFill>
            <a:srgbClr val="EDEFF1"/>
          </a:solidFill>
          <a:ln>
            <a:noFill/>
          </a:ln>
          <a:effectLst/>
        </p:spPr>
        <p:txBody>
          <a:bodyPr vert="horz" wrap="none" lIns="0" tIns="215900" rIns="0" bIns="217488"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r>
              <a:rPr lang="en-GB" altLang="en-US" b="1" dirty="0">
                <a:solidFill>
                  <a:srgbClr val="10183A"/>
                </a:solidFill>
                <a:effectLst/>
                <a:latin typeface="Poppins" panose="00000500000000000000" pitchFamily="2" charset="0"/>
                <a:cs typeface="Poppins" panose="00000500000000000000" pitchFamily="2" charset="0"/>
                <a:sym typeface="Poppins" panose="00000500000000000000" pitchFamily="2" charset="0"/>
              </a:rPr>
              <a:t>+18%</a:t>
            </a:r>
            <a:endParaRPr lang="en-GB" b="1"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38" name="Text Placeholder 2">
            <a:extLst>
              <a:ext uri="{FF2B5EF4-FFF2-40B4-BE49-F238E27FC236}">
                <a16:creationId xmlns:a16="http://schemas.microsoft.com/office/drawing/2014/main" id="{8AD2779F-EB48-2CD2-AE30-3A5B85BFE752}"/>
              </a:ext>
            </a:extLst>
          </p:cNvPr>
          <p:cNvSpPr>
            <a:spLocks noGrp="1"/>
          </p:cNvSpPr>
          <p:nvPr>
            <p:custDataLst>
              <p:tags r:id="rId29"/>
            </p:custDataLst>
          </p:nvPr>
        </p:nvSpPr>
        <p:spPr bwMode="auto">
          <a:xfrm>
            <a:off x="9669463" y="4997450"/>
            <a:ext cx="1063625" cy="587375"/>
          </a:xfrm>
          <a:prstGeom prst="rect">
            <a:avLst/>
          </a:prstGeom>
          <a:solidFill>
            <a:srgbClr val="EDEFF1"/>
          </a:solidFill>
          <a:ln>
            <a:noFill/>
          </a:ln>
          <a:effectLst/>
        </p:spPr>
        <p:txBody>
          <a:bodyPr vert="horz" wrap="none" lIns="0" tIns="217488" rIns="0" bIns="217488"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r>
              <a:rPr lang="en-GB" altLang="en-US" b="1" dirty="0">
                <a:solidFill>
                  <a:srgbClr val="10183A"/>
                </a:solidFill>
                <a:effectLst/>
                <a:latin typeface="Poppins" panose="00000500000000000000" pitchFamily="2" charset="0"/>
                <a:cs typeface="Poppins" panose="00000500000000000000" pitchFamily="2" charset="0"/>
                <a:sym typeface="Poppins" panose="00000500000000000000" pitchFamily="2" charset="0"/>
              </a:rPr>
              <a:t>+42%</a:t>
            </a:r>
            <a:endParaRPr lang="en-GB" b="1"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40" name="Text Placeholder 2">
            <a:extLst>
              <a:ext uri="{FF2B5EF4-FFF2-40B4-BE49-F238E27FC236}">
                <a16:creationId xmlns:a16="http://schemas.microsoft.com/office/drawing/2014/main" id="{E6BC0ADA-0611-FC5B-A74E-A08E593D0C3A}"/>
              </a:ext>
            </a:extLst>
          </p:cNvPr>
          <p:cNvSpPr>
            <a:spLocks noGrp="1"/>
          </p:cNvSpPr>
          <p:nvPr>
            <p:custDataLst>
              <p:tags r:id="rId30"/>
            </p:custDataLst>
          </p:nvPr>
        </p:nvSpPr>
        <p:spPr bwMode="auto">
          <a:xfrm>
            <a:off x="9669463" y="5584825"/>
            <a:ext cx="1063625" cy="585788"/>
          </a:xfrm>
          <a:prstGeom prst="rect">
            <a:avLst/>
          </a:prstGeom>
          <a:solidFill>
            <a:srgbClr val="EDEFF1"/>
          </a:solidFill>
          <a:ln>
            <a:noFill/>
          </a:ln>
          <a:effectLst/>
        </p:spPr>
        <p:txBody>
          <a:bodyPr vert="horz" wrap="none" lIns="0" tIns="215900" rIns="0" bIns="217488"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r>
              <a:rPr lang="en-GB" altLang="en-US" b="1" dirty="0">
                <a:solidFill>
                  <a:srgbClr val="10183A"/>
                </a:solidFill>
                <a:effectLst/>
                <a:latin typeface="Poppins" panose="00000500000000000000" pitchFamily="2" charset="0"/>
                <a:cs typeface="Poppins" panose="00000500000000000000" pitchFamily="2" charset="0"/>
                <a:sym typeface="Poppins" panose="00000500000000000000" pitchFamily="2" charset="0"/>
              </a:rPr>
              <a:t>+38%</a:t>
            </a:r>
            <a:endParaRPr lang="en-GB" b="1"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41" name="Text Placeholder 2">
            <a:extLst>
              <a:ext uri="{FF2B5EF4-FFF2-40B4-BE49-F238E27FC236}">
                <a16:creationId xmlns:a16="http://schemas.microsoft.com/office/drawing/2014/main" id="{2F28C96F-9B2C-F067-64EC-59A2C1B94891}"/>
              </a:ext>
            </a:extLst>
          </p:cNvPr>
          <p:cNvSpPr>
            <a:spLocks noGrp="1"/>
          </p:cNvSpPr>
          <p:nvPr>
            <p:custDataLst>
              <p:tags r:id="rId31"/>
            </p:custDataLst>
          </p:nvPr>
        </p:nvSpPr>
        <p:spPr bwMode="auto">
          <a:xfrm>
            <a:off x="9669463" y="2065338"/>
            <a:ext cx="1063625" cy="585788"/>
          </a:xfrm>
          <a:prstGeom prst="rect">
            <a:avLst/>
          </a:prstGeom>
          <a:solidFill>
            <a:srgbClr val="EDEFF1"/>
          </a:solidFill>
          <a:ln>
            <a:noFill/>
          </a:ln>
          <a:effectLst/>
        </p:spPr>
        <p:txBody>
          <a:bodyPr vert="horz" wrap="none" lIns="0" tIns="217488" rIns="1588" bIns="21590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r>
              <a:rPr lang="en-GB" altLang="en-US" b="1" dirty="0">
                <a:solidFill>
                  <a:srgbClr val="10183A"/>
                </a:solidFill>
                <a:effectLst/>
                <a:latin typeface="Poppins" panose="00000500000000000000" pitchFamily="2" charset="0"/>
                <a:cs typeface="Poppins" panose="00000500000000000000" pitchFamily="2" charset="0"/>
                <a:sym typeface="Poppins" panose="00000500000000000000" pitchFamily="2" charset="0"/>
              </a:rPr>
              <a:t>+73%</a:t>
            </a:r>
            <a:endParaRPr lang="en-GB" b="1"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55" name="Text Placeholder 2">
            <a:extLst>
              <a:ext uri="{FF2B5EF4-FFF2-40B4-BE49-F238E27FC236}">
                <a16:creationId xmlns:a16="http://schemas.microsoft.com/office/drawing/2014/main" id="{92C1B931-A72B-BDCF-91DD-5ADBD95672B9}"/>
              </a:ext>
            </a:extLst>
          </p:cNvPr>
          <p:cNvSpPr>
            <a:spLocks noGrp="1"/>
          </p:cNvSpPr>
          <p:nvPr>
            <p:custDataLst>
              <p:tags r:id="rId32"/>
            </p:custDataLst>
          </p:nvPr>
        </p:nvSpPr>
        <p:spPr bwMode="auto">
          <a:xfrm>
            <a:off x="9669463" y="1862138"/>
            <a:ext cx="1063625"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50800" numCol="1" spcCol="0" rtlCol="0" anchor="ctr" anchorCtr="0">
            <a:noAutofit/>
          </a:bodyPr>
          <a:lstStyle>
            <a:lvl1pPr marL="0" indent="0" algn="l" defTabSz="457200" rtl="0" eaLnBrk="1" latinLnBrk="0" hangingPunct="1">
              <a:spcBef>
                <a:spcPts val="600"/>
              </a:spcBef>
              <a:spcAft>
                <a:spcPts val="300"/>
              </a:spcAft>
              <a:buFont typeface="Arial" pitchFamily="34" charset="0"/>
              <a:buChar char=" "/>
              <a:defRPr sz="1400" kern="1200">
                <a:solidFill>
                  <a:srgbClr val="0C0E26"/>
                </a:solidFill>
                <a:latin typeface="+mn-lt"/>
                <a:ea typeface="+mn-ea"/>
                <a:cs typeface="Arial"/>
              </a:defRPr>
            </a:lvl1pPr>
            <a:lvl2pPr marL="112713" indent="-112713" algn="l" defTabSz="457200" rtl="0" eaLnBrk="1" latinLnBrk="0" hangingPunct="1">
              <a:spcBef>
                <a:spcPts val="600"/>
              </a:spcBef>
              <a:spcAft>
                <a:spcPts val="300"/>
              </a:spcAft>
              <a:buFont typeface="Wingdings" pitchFamily="2" charset="2"/>
              <a:buChar char="§"/>
              <a:tabLst/>
              <a:defRPr sz="1400" kern="1200">
                <a:solidFill>
                  <a:srgbClr val="0C0E26"/>
                </a:solidFill>
                <a:latin typeface="+mn-lt"/>
                <a:ea typeface="+mn-ea"/>
                <a:cs typeface="Arial"/>
              </a:defRPr>
            </a:lvl2pPr>
            <a:lvl3pPr marL="227013" indent="-112713" algn="l" defTabSz="457200" rtl="0" eaLnBrk="1" latinLnBrk="0" hangingPunct="1">
              <a:spcBef>
                <a:spcPts val="600"/>
              </a:spcBef>
              <a:spcAft>
                <a:spcPts val="300"/>
              </a:spcAft>
              <a:buFont typeface="Arial" pitchFamily="34" charset="0"/>
              <a:buChar char="-"/>
              <a:tabLst/>
              <a:defRPr sz="1000" kern="1200">
                <a:solidFill>
                  <a:srgbClr val="0C0E26"/>
                </a:solidFill>
                <a:latin typeface="+mn-lt"/>
                <a:ea typeface="+mn-ea"/>
                <a:cs typeface="Arial"/>
              </a:defRPr>
            </a:lvl3pPr>
            <a:lvl4pPr marL="344488" indent="-115888"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Arial"/>
              </a:defRPr>
            </a:lvl4pPr>
            <a:lvl5pPr marL="457200" indent="-100013"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5pPr>
            <a:lvl6pPr marL="571500" indent="-114300" algn="l" defTabSz="457200" rtl="0" eaLnBrk="1" latinLnBrk="0" hangingPunct="1">
              <a:spcBef>
                <a:spcPts val="600"/>
              </a:spcBef>
              <a:spcAft>
                <a:spcPts val="300"/>
              </a:spcAft>
              <a:buFont typeface="Arial" pitchFamily="34" charset="0"/>
              <a:buChar char="-"/>
              <a:defRPr sz="1000" kern="1200">
                <a:solidFill>
                  <a:srgbClr val="0C0E26"/>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2" indent="0" algn="ctr">
              <a:spcBef>
                <a:spcPct val="0"/>
              </a:spcBef>
              <a:spcAft>
                <a:spcPct val="0"/>
              </a:spcAft>
              <a:buNone/>
            </a:pPr>
            <a:r>
              <a:rPr lang="en-GB" altLang="en-US" b="1" dirty="0">
                <a:solidFill>
                  <a:srgbClr val="10183A"/>
                </a:solidFill>
                <a:effectLst/>
                <a:latin typeface="Poppins" panose="00000500000000000000" pitchFamily="2" charset="0"/>
                <a:cs typeface="Poppins" panose="00000500000000000000" pitchFamily="2" charset="0"/>
                <a:sym typeface="Poppins" panose="00000500000000000000" pitchFamily="2" charset="0"/>
              </a:rPr>
              <a:t>Feb 2023 vs 2019</a:t>
            </a:r>
            <a:endParaRPr lang="en-GB" b="1" dirty="0">
              <a:solidFill>
                <a:srgbClr val="10183A"/>
              </a:solidFill>
              <a:latin typeface="Poppins" panose="00000500000000000000" pitchFamily="2" charset="0"/>
              <a:cs typeface="Poppins" panose="00000500000000000000" pitchFamily="2" charset="0"/>
              <a:sym typeface="Poppins" panose="00000500000000000000" pitchFamily="2" charset="0"/>
            </a:endParaRPr>
          </a:p>
        </p:txBody>
      </p:sp>
      <p:sp>
        <p:nvSpPr>
          <p:cNvPr id="9" name="Rectangle 8">
            <a:extLst>
              <a:ext uri="{FF2B5EF4-FFF2-40B4-BE49-F238E27FC236}">
                <a16:creationId xmlns:a16="http://schemas.microsoft.com/office/drawing/2014/main" id="{2F59B196-38DD-E22E-D48F-7EB233684355}"/>
              </a:ext>
            </a:extLst>
          </p:cNvPr>
          <p:cNvSpPr/>
          <p:nvPr/>
        </p:nvSpPr>
        <p:spPr>
          <a:xfrm>
            <a:off x="763216" y="4420027"/>
            <a:ext cx="10097823" cy="610761"/>
          </a:xfrm>
          <a:prstGeom prst="rect">
            <a:avLst/>
          </a:prstGeom>
          <a:solidFill>
            <a:srgbClr val="FF652B">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D9603778-3C5D-55BB-B68C-5A10922A4ADD}"/>
              </a:ext>
            </a:extLst>
          </p:cNvPr>
          <p:cNvSpPr/>
          <p:nvPr/>
        </p:nvSpPr>
        <p:spPr>
          <a:xfrm>
            <a:off x="763216" y="5578041"/>
            <a:ext cx="10097823" cy="610761"/>
          </a:xfrm>
          <a:prstGeom prst="rect">
            <a:avLst/>
          </a:prstGeom>
          <a:solidFill>
            <a:srgbClr val="FF652B">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D5A02C0-ECA1-EB56-17F1-E3F5D7119DD5}"/>
              </a:ext>
            </a:extLst>
          </p:cNvPr>
          <p:cNvSpPr/>
          <p:nvPr/>
        </p:nvSpPr>
        <p:spPr>
          <a:xfrm>
            <a:off x="769248" y="2592814"/>
            <a:ext cx="10097823" cy="610761"/>
          </a:xfrm>
          <a:prstGeom prst="rect">
            <a:avLst/>
          </a:prstGeom>
          <a:solidFill>
            <a:srgbClr val="BD10E0">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A572590C-0B39-778E-9C34-9B0049E50B89}"/>
              </a:ext>
            </a:extLst>
          </p:cNvPr>
          <p:cNvSpPr/>
          <p:nvPr/>
        </p:nvSpPr>
        <p:spPr>
          <a:xfrm>
            <a:off x="763215" y="3740059"/>
            <a:ext cx="10097823" cy="610761"/>
          </a:xfrm>
          <a:prstGeom prst="rect">
            <a:avLst/>
          </a:prstGeom>
          <a:solidFill>
            <a:srgbClr val="BD10E0">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6547598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animBg="1"/>
      <p:bldP spid="2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763084D-CFD4-A9B3-7675-4480BBD5A5EF}"/>
              </a:ext>
            </a:extLst>
          </p:cNvPr>
          <p:cNvPicPr>
            <a:picLocks noChangeAspect="1"/>
          </p:cNvPicPr>
          <p:nvPr/>
        </p:nvPicPr>
        <p:blipFill rotWithShape="1">
          <a:blip r:embed="rId2"/>
          <a:srcRect t="-1" b="12791"/>
          <a:stretch/>
        </p:blipFill>
        <p:spPr>
          <a:xfrm>
            <a:off x="0" y="0"/>
            <a:ext cx="12218948" cy="6858000"/>
          </a:xfrm>
          <a:prstGeom prst="rect">
            <a:avLst/>
          </a:prstGeom>
        </p:spPr>
      </p:pic>
    </p:spTree>
    <p:extLst>
      <p:ext uri="{BB962C8B-B14F-4D97-AF65-F5344CB8AC3E}">
        <p14:creationId xmlns:p14="http://schemas.microsoft.com/office/powerpoint/2010/main" val="2362765680"/>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015DFAEE-F78A-C272-92CE-F25C3417CAD0}"/>
              </a:ext>
            </a:extLst>
          </p:cNvPr>
          <p:cNvGraphicFramePr>
            <a:graphicFrameLocks noChangeAspect="1"/>
          </p:cNvGraphicFramePr>
          <p:nvPr>
            <p:custDataLst>
              <p:tags r:id="rId1"/>
            </p:custDataLst>
            <p:extLst>
              <p:ext uri="{D42A27DB-BD31-4B8C-83A1-F6EECF244321}">
                <p14:modId xmlns:p14="http://schemas.microsoft.com/office/powerpoint/2010/main" val="336763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73" imgH="476" progId="TCLayout.ActiveDocument.1">
                  <p:embed/>
                </p:oleObj>
              </mc:Choice>
              <mc:Fallback>
                <p:oleObj name="think-cell Slide" r:id="rId36" imgW="473" imgH="476" progId="TCLayout.ActiveDocument.1">
                  <p:embed/>
                  <p:pic>
                    <p:nvPicPr>
                      <p:cNvPr id="28" name="Object 27" hidden="1">
                        <a:extLst>
                          <a:ext uri="{FF2B5EF4-FFF2-40B4-BE49-F238E27FC236}">
                            <a16:creationId xmlns:a16="http://schemas.microsoft.com/office/drawing/2014/main" id="{015DFAEE-F78A-C272-92CE-F25C3417CAD0}"/>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065B79C-C4D6-5961-7919-6BB68C420868}"/>
              </a:ext>
            </a:extLst>
          </p:cNvPr>
          <p:cNvSpPr txBox="1"/>
          <p:nvPr/>
        </p:nvSpPr>
        <p:spPr>
          <a:xfrm>
            <a:off x="821796" y="1417353"/>
            <a:ext cx="4878917" cy="461665"/>
          </a:xfrm>
          <a:prstGeom prst="rect">
            <a:avLst/>
          </a:prstGeom>
          <a:noFill/>
        </p:spPr>
        <p:txBody>
          <a:bodyPr wrap="square" rtlCol="0">
            <a:spAutoFit/>
          </a:bodyPr>
          <a:lstStyle/>
          <a:p>
            <a:r>
              <a:rPr lang="en-US" sz="1200" b="1">
                <a:latin typeface="Poppins" panose="00000500000000000000" pitchFamily="2" charset="0"/>
                <a:cs typeface="Poppins" panose="00000500000000000000" pitchFamily="2" charset="0"/>
              </a:rPr>
              <a:t>Airline global capacity index for freighter flights</a:t>
            </a:r>
          </a:p>
          <a:p>
            <a:r>
              <a:rPr lang="en-US" sz="1200">
                <a:latin typeface="Poppins" panose="00000500000000000000" pitchFamily="2" charset="0"/>
                <a:cs typeface="Poppins" panose="00000500000000000000" pitchFamily="2" charset="0"/>
              </a:rPr>
              <a:t>(Freighter capacity 2019 = index 100)</a:t>
            </a:r>
          </a:p>
        </p:txBody>
      </p:sp>
      <p:sp>
        <p:nvSpPr>
          <p:cNvPr id="29" name="Buying cargo based on gut feeling…">
            <a:extLst>
              <a:ext uri="{FF2B5EF4-FFF2-40B4-BE49-F238E27FC236}">
                <a16:creationId xmlns:a16="http://schemas.microsoft.com/office/drawing/2014/main" id="{D50B6CAA-A666-5524-85F7-444C607F0970}"/>
              </a:ext>
            </a:extLst>
          </p:cNvPr>
          <p:cNvSpPr txBox="1">
            <a:spLocks/>
          </p:cNvSpPr>
          <p:nvPr/>
        </p:nvSpPr>
        <p:spPr>
          <a:xfrm>
            <a:off x="763216" y="491067"/>
            <a:ext cx="10776114" cy="80750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457200">
              <a:lnSpc>
                <a:spcPct val="100000"/>
              </a:lnSpc>
              <a:buFont typeface="Arial" panose="020B0604020202020204" pitchFamily="34" charset="0"/>
              <a:buNone/>
              <a:defRPr sz="6000">
                <a:solidFill>
                  <a:srgbClr val="1D63FF"/>
                </a:solidFill>
              </a:defRPr>
            </a:pPr>
            <a:r>
              <a:rPr lang="en-US" sz="2400">
                <a:solidFill>
                  <a:srgbClr val="1D63FF"/>
                </a:solidFill>
                <a:latin typeface="Poppins" panose="00000500000000000000" pitchFamily="2" charset="0"/>
                <a:cs typeface="Poppins" panose="00000500000000000000" pitchFamily="2" charset="0"/>
              </a:rPr>
              <a:t>The upcoming summer season is set to welcome more capacity</a:t>
            </a:r>
          </a:p>
        </p:txBody>
      </p:sp>
      <p:sp>
        <p:nvSpPr>
          <p:cNvPr id="43" name="Text Placeholder 1">
            <a:extLst>
              <a:ext uri="{FF2B5EF4-FFF2-40B4-BE49-F238E27FC236}">
                <a16:creationId xmlns:a16="http://schemas.microsoft.com/office/drawing/2014/main" id="{C58C7321-3BF7-61DC-5B1A-AD075E56AE05}"/>
              </a:ext>
            </a:extLst>
          </p:cNvPr>
          <p:cNvSpPr txBox="1">
            <a:spLocks/>
          </p:cNvSpPr>
          <p:nvPr/>
        </p:nvSpPr>
        <p:spPr>
          <a:xfrm>
            <a:off x="600361" y="6397771"/>
            <a:ext cx="5181318" cy="469900"/>
          </a:xfrm>
          <a:prstGeom prst="rect">
            <a:avLst/>
          </a:prstGeom>
        </p:spPr>
        <p:txBody>
          <a:bodyPr vert="horz" lIns="0" tIns="45720" rIns="9144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a:latin typeface="Poppins" panose="00000500000000000000" pitchFamily="2" charset="0"/>
                <a:cs typeface="Poppins" panose="00000500000000000000" pitchFamily="2" charset="0"/>
              </a:rPr>
              <a:t>Source: CLIVE Data Services, now part of Xeneta</a:t>
            </a:r>
          </a:p>
        </p:txBody>
      </p:sp>
      <p:graphicFrame>
        <p:nvGraphicFramePr>
          <p:cNvPr id="72" name="Chart 71">
            <a:extLst>
              <a:ext uri="{FF2B5EF4-FFF2-40B4-BE49-F238E27FC236}">
                <a16:creationId xmlns:a16="http://schemas.microsoft.com/office/drawing/2014/main" id="{822719C9-F7FD-A392-025E-38E2FA972109}"/>
              </a:ext>
            </a:extLst>
          </p:cNvPr>
          <p:cNvGraphicFramePr/>
          <p:nvPr>
            <p:custDataLst>
              <p:tags r:id="rId2"/>
            </p:custDataLst>
            <p:extLst>
              <p:ext uri="{D42A27DB-BD31-4B8C-83A1-F6EECF244321}">
                <p14:modId xmlns:p14="http://schemas.microsoft.com/office/powerpoint/2010/main" val="3225532076"/>
              </p:ext>
            </p:extLst>
          </p:nvPr>
        </p:nvGraphicFramePr>
        <p:xfrm>
          <a:off x="649288" y="2005013"/>
          <a:ext cx="5051425" cy="3906837"/>
        </p:xfrm>
        <a:graphic>
          <a:graphicData uri="http://schemas.openxmlformats.org/drawingml/2006/chart">
            <c:chart xmlns:c="http://schemas.openxmlformats.org/drawingml/2006/chart" xmlns:r="http://schemas.openxmlformats.org/officeDocument/2006/relationships" r:id="rId38"/>
          </a:graphicData>
        </a:graphic>
      </p:graphicFrame>
      <p:cxnSp>
        <p:nvCxnSpPr>
          <p:cNvPr id="34" name="Straight Connector 33">
            <a:extLst>
              <a:ext uri="{FF2B5EF4-FFF2-40B4-BE49-F238E27FC236}">
                <a16:creationId xmlns:a16="http://schemas.microsoft.com/office/drawing/2014/main" id="{0398ED31-7E67-5895-3CDA-D88F43A18BDF}"/>
              </a:ext>
            </a:extLst>
          </p:cNvPr>
          <p:cNvCxnSpPr/>
          <p:nvPr>
            <p:custDataLst>
              <p:tags r:id="rId3"/>
            </p:custDataLst>
          </p:nvPr>
        </p:nvCxnSpPr>
        <p:spPr bwMode="auto">
          <a:xfrm flipV="1">
            <a:off x="1328738" y="2459038"/>
            <a:ext cx="0" cy="2794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3CB0C1EF-4CEC-8D55-BAC7-7198C2DC42FA}"/>
              </a:ext>
            </a:extLst>
          </p:cNvPr>
          <p:cNvCxnSpPr/>
          <p:nvPr>
            <p:custDataLst>
              <p:tags r:id="rId4"/>
            </p:custDataLst>
          </p:nvPr>
        </p:nvCxnSpPr>
        <p:spPr bwMode="auto">
          <a:xfrm>
            <a:off x="1328738" y="2459038"/>
            <a:ext cx="504825"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3167218B-1460-7671-72D1-2C793F72B29F}"/>
              </a:ext>
            </a:extLst>
          </p:cNvPr>
          <p:cNvCxnSpPr/>
          <p:nvPr>
            <p:custDataLst>
              <p:tags r:id="rId5"/>
            </p:custDataLst>
          </p:nvPr>
        </p:nvCxnSpPr>
        <p:spPr bwMode="auto">
          <a:xfrm>
            <a:off x="1833563" y="2459038"/>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C58AB0B0-7434-B756-DD82-E1EDB0CA6B2E}"/>
              </a:ext>
            </a:extLst>
          </p:cNvPr>
          <p:cNvCxnSpPr/>
          <p:nvPr>
            <p:custDataLst>
              <p:tags r:id="rId6"/>
            </p:custDataLst>
          </p:nvPr>
        </p:nvCxnSpPr>
        <p:spPr bwMode="auto">
          <a:xfrm>
            <a:off x="2447924" y="2846388"/>
            <a:ext cx="3170238"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7A09C8AC-EB4F-A6AF-3010-8D5068026D99}"/>
              </a:ext>
            </a:extLst>
          </p:cNvPr>
          <p:cNvCxnSpPr/>
          <p:nvPr>
            <p:custDataLst>
              <p:tags r:id="rId7"/>
            </p:custDataLst>
          </p:nvPr>
        </p:nvCxnSpPr>
        <p:spPr bwMode="auto">
          <a:xfrm>
            <a:off x="1077912" y="2846388"/>
            <a:ext cx="147638"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5C8BD742-EA78-1EF1-EA4D-856393FDC817}"/>
              </a:ext>
            </a:extLst>
          </p:cNvPr>
          <p:cNvCxnSpPr/>
          <p:nvPr>
            <p:custDataLst>
              <p:tags r:id="rId8"/>
            </p:custDataLst>
          </p:nvPr>
        </p:nvCxnSpPr>
        <p:spPr bwMode="auto">
          <a:xfrm>
            <a:off x="1433512" y="2846388"/>
            <a:ext cx="795338"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4" name="Text Placeholder 2">
            <a:extLst>
              <a:ext uri="{FF2B5EF4-FFF2-40B4-BE49-F238E27FC236}">
                <a16:creationId xmlns:a16="http://schemas.microsoft.com/office/drawing/2014/main" id="{6C13068D-0191-ABA0-2CDE-297D6EE1F0E4}"/>
              </a:ext>
            </a:extLst>
          </p:cNvPr>
          <p:cNvSpPr>
            <a:spLocks noGrp="1"/>
          </p:cNvSpPr>
          <p:nvPr>
            <p:custDataLst>
              <p:tags r:id="rId9"/>
            </p:custDataLst>
          </p:nvPr>
        </p:nvSpPr>
        <p:spPr bwMode="auto">
          <a:xfrm>
            <a:off x="1138238" y="5884863"/>
            <a:ext cx="3810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548D7D0C-D314-4528-98B0-1586D08C620C}" type="datetime'''''2''0''''''1''''8'''' Wi''''''n''''''t''''e''r'''''">
              <a:rPr lang="en-US" altLang="en-US" sz="900" smtClean="0">
                <a:latin typeface="Poppins" panose="00000500000000000000" pitchFamily="2" charset="0"/>
                <a:cs typeface="Poppins" panose="00000500000000000000" pitchFamily="2" charset="0"/>
              </a:rPr>
              <a:pPr algn="ctr">
                <a:spcBef>
                  <a:spcPct val="0"/>
                </a:spcBef>
                <a:spcAft>
                  <a:spcPct val="0"/>
                </a:spcAft>
              </a:pPr>
              <a:t>2018 Winter</a:t>
            </a:fld>
            <a:endParaRPr lang="en-US" sz="900">
              <a:latin typeface="Poppins" panose="00000500000000000000" pitchFamily="2" charset="0"/>
              <a:cs typeface="Poppins" panose="00000500000000000000" pitchFamily="2" charset="0"/>
              <a:sym typeface="Poppins" panose="00000500000000000000" pitchFamily="2" charset="0"/>
            </a:endParaRPr>
          </a:p>
        </p:txBody>
      </p:sp>
      <p:sp>
        <p:nvSpPr>
          <p:cNvPr id="54" name="Text Placeholder 2">
            <a:extLst>
              <a:ext uri="{FF2B5EF4-FFF2-40B4-BE49-F238E27FC236}">
                <a16:creationId xmlns:a16="http://schemas.microsoft.com/office/drawing/2014/main" id="{707B4D60-51C7-0AF0-04C6-BAD0C1E8E91E}"/>
              </a:ext>
            </a:extLst>
          </p:cNvPr>
          <p:cNvSpPr>
            <a:spLocks noGrp="1"/>
          </p:cNvSpPr>
          <p:nvPr>
            <p:custDataLst>
              <p:tags r:id="rId10"/>
            </p:custDataLst>
          </p:nvPr>
        </p:nvSpPr>
        <p:spPr bwMode="auto">
          <a:xfrm>
            <a:off x="4165600" y="5884863"/>
            <a:ext cx="3810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62227318-A125-40F6-9A8F-C8055D4DB815}" type="datetime'''2''''''''''0''2''''''1 W''inte''''''''''''r'''''''''''''''''">
              <a:rPr lang="en-US" altLang="en-US" sz="900" smtClean="0">
                <a:latin typeface="Poppins" panose="00000500000000000000" pitchFamily="2" charset="0"/>
                <a:cs typeface="Poppins" panose="00000500000000000000" pitchFamily="2" charset="0"/>
              </a:rPr>
              <a:pPr algn="ctr">
                <a:spcBef>
                  <a:spcPct val="0"/>
                </a:spcBef>
                <a:spcAft>
                  <a:spcPct val="0"/>
                </a:spcAft>
              </a:pPr>
              <a:t>2021 Winter</a:t>
            </a:fld>
            <a:endParaRPr lang="en-US" sz="900">
              <a:latin typeface="Poppins" panose="00000500000000000000" pitchFamily="2" charset="0"/>
              <a:cs typeface="Poppins" panose="00000500000000000000" pitchFamily="2" charset="0"/>
              <a:sym typeface="Poppins" panose="00000500000000000000" pitchFamily="2" charset="0"/>
            </a:endParaRPr>
          </a:p>
        </p:txBody>
      </p:sp>
      <p:sp>
        <p:nvSpPr>
          <p:cNvPr id="65" name="Text Placeholder 2">
            <a:extLst>
              <a:ext uri="{FF2B5EF4-FFF2-40B4-BE49-F238E27FC236}">
                <a16:creationId xmlns:a16="http://schemas.microsoft.com/office/drawing/2014/main" id="{38354BFB-BCCB-274E-4B35-BF146ED75CCA}"/>
              </a:ext>
            </a:extLst>
          </p:cNvPr>
          <p:cNvSpPr>
            <a:spLocks noGrp="1"/>
          </p:cNvSpPr>
          <p:nvPr>
            <p:custDataLst>
              <p:tags r:id="rId11"/>
            </p:custDataLst>
          </p:nvPr>
        </p:nvSpPr>
        <p:spPr bwMode="auto">
          <a:xfrm>
            <a:off x="1582738" y="5884863"/>
            <a:ext cx="50165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8157F52D-04D9-49A6-9780-E8EA1783006F}" type="datetime'20''1''''9'' ''''''S''''''''''u''m''''''''''m''''''''''''e''r'">
              <a:rPr lang="en-US" altLang="en-US" sz="900" smtClean="0">
                <a:latin typeface="Poppins" panose="00000500000000000000" pitchFamily="2" charset="0"/>
                <a:cs typeface="Poppins" panose="00000500000000000000" pitchFamily="2" charset="0"/>
              </a:rPr>
              <a:pPr algn="ctr">
                <a:spcBef>
                  <a:spcPct val="0"/>
                </a:spcBef>
                <a:spcAft>
                  <a:spcPct val="0"/>
                </a:spcAft>
              </a:pPr>
              <a:t>2019 Summer</a:t>
            </a:fld>
            <a:endParaRPr lang="en-US" sz="900">
              <a:latin typeface="Poppins" panose="00000500000000000000" pitchFamily="2" charset="0"/>
              <a:cs typeface="Poppins" panose="00000500000000000000" pitchFamily="2" charset="0"/>
              <a:sym typeface="Poppins" panose="00000500000000000000" pitchFamily="2" charset="0"/>
            </a:endParaRPr>
          </a:p>
        </p:txBody>
      </p:sp>
      <p:sp>
        <p:nvSpPr>
          <p:cNvPr id="61" name="Text Placeholder 2">
            <a:extLst>
              <a:ext uri="{FF2B5EF4-FFF2-40B4-BE49-F238E27FC236}">
                <a16:creationId xmlns:a16="http://schemas.microsoft.com/office/drawing/2014/main" id="{501D4586-E55F-01BF-5AAE-601C31CAB984}"/>
              </a:ext>
            </a:extLst>
          </p:cNvPr>
          <p:cNvSpPr>
            <a:spLocks noGrp="1"/>
          </p:cNvSpPr>
          <p:nvPr>
            <p:custDataLst>
              <p:tags r:id="rId12"/>
            </p:custDataLst>
          </p:nvPr>
        </p:nvSpPr>
        <p:spPr bwMode="auto">
          <a:xfrm>
            <a:off x="2147888" y="5884863"/>
            <a:ext cx="3810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33051984-547D-444A-AB6D-714E2802F61B}" type="datetime'201''''''9 ''''''''''''''''Wint''''''''''''''''''''e''r'">
              <a:rPr lang="en-US" altLang="en-US" sz="900" smtClean="0">
                <a:latin typeface="Poppins" panose="00000500000000000000" pitchFamily="2" charset="0"/>
                <a:cs typeface="Poppins" panose="00000500000000000000" pitchFamily="2" charset="0"/>
              </a:rPr>
              <a:pPr algn="ctr">
                <a:spcBef>
                  <a:spcPct val="0"/>
                </a:spcBef>
                <a:spcAft>
                  <a:spcPct val="0"/>
                </a:spcAft>
              </a:pPr>
              <a:t>2019 Winter</a:t>
            </a:fld>
            <a:endParaRPr lang="en-US" sz="900">
              <a:latin typeface="Poppins" panose="00000500000000000000" pitchFamily="2" charset="0"/>
              <a:cs typeface="Poppins" panose="00000500000000000000" pitchFamily="2" charset="0"/>
              <a:sym typeface="Poppins" panose="00000500000000000000" pitchFamily="2" charset="0"/>
            </a:endParaRPr>
          </a:p>
        </p:txBody>
      </p:sp>
      <p:sp>
        <p:nvSpPr>
          <p:cNvPr id="56" name="Text Placeholder 2">
            <a:extLst>
              <a:ext uri="{FF2B5EF4-FFF2-40B4-BE49-F238E27FC236}">
                <a16:creationId xmlns:a16="http://schemas.microsoft.com/office/drawing/2014/main" id="{EB96B161-D8D5-E0FC-78BC-A904E9A4C9C2}"/>
              </a:ext>
            </a:extLst>
          </p:cNvPr>
          <p:cNvSpPr>
            <a:spLocks noGrp="1"/>
          </p:cNvSpPr>
          <p:nvPr>
            <p:custDataLst>
              <p:tags r:id="rId13"/>
            </p:custDataLst>
          </p:nvPr>
        </p:nvSpPr>
        <p:spPr bwMode="auto">
          <a:xfrm>
            <a:off x="3155950" y="5884863"/>
            <a:ext cx="3810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BC79C43F-0B8E-4A98-9C10-2864F0B40B85}" type="datetime'''20''20 ''''''''W''''''''i''''n''''''''t''''er'''''''''">
              <a:rPr lang="en-US" altLang="en-US" sz="900" smtClean="0">
                <a:latin typeface="Poppins" panose="00000500000000000000" pitchFamily="2" charset="0"/>
                <a:cs typeface="Poppins" panose="00000500000000000000" pitchFamily="2" charset="0"/>
              </a:rPr>
              <a:pPr algn="ctr">
                <a:spcBef>
                  <a:spcPct val="0"/>
                </a:spcBef>
                <a:spcAft>
                  <a:spcPct val="0"/>
                </a:spcAft>
              </a:pPr>
              <a:t>2020 Winter</a:t>
            </a:fld>
            <a:endParaRPr lang="en-US" sz="900">
              <a:latin typeface="Poppins" panose="00000500000000000000" pitchFamily="2" charset="0"/>
              <a:cs typeface="Poppins" panose="00000500000000000000" pitchFamily="2" charset="0"/>
              <a:sym typeface="Poppins" panose="00000500000000000000" pitchFamily="2" charset="0"/>
            </a:endParaRPr>
          </a:p>
        </p:txBody>
      </p:sp>
      <p:sp>
        <p:nvSpPr>
          <p:cNvPr id="67" name="Text Placeholder 2">
            <a:extLst>
              <a:ext uri="{FF2B5EF4-FFF2-40B4-BE49-F238E27FC236}">
                <a16:creationId xmlns:a16="http://schemas.microsoft.com/office/drawing/2014/main" id="{8ED46171-FE10-7EDD-D77A-B5821F51D4C2}"/>
              </a:ext>
            </a:extLst>
          </p:cNvPr>
          <p:cNvSpPr>
            <a:spLocks noGrp="1"/>
          </p:cNvSpPr>
          <p:nvPr>
            <p:custDataLst>
              <p:tags r:id="rId14"/>
            </p:custDataLst>
          </p:nvPr>
        </p:nvSpPr>
        <p:spPr bwMode="auto">
          <a:xfrm>
            <a:off x="2590800" y="5884863"/>
            <a:ext cx="50165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D357BAFC-EB74-446F-9255-9616BB62A21B}" type="datetime'2020'''''''''''' S''u''''''''''mm''''e''''''''''''''r'''''">
              <a:rPr lang="en-US" altLang="en-US" sz="900" smtClean="0">
                <a:latin typeface="Poppins" panose="00000500000000000000" pitchFamily="2" charset="0"/>
                <a:cs typeface="Poppins" panose="00000500000000000000" pitchFamily="2" charset="0"/>
              </a:rPr>
              <a:pPr algn="ctr">
                <a:spcBef>
                  <a:spcPct val="0"/>
                </a:spcBef>
                <a:spcAft>
                  <a:spcPct val="0"/>
                </a:spcAft>
              </a:pPr>
              <a:t>2020 Summer</a:t>
            </a:fld>
            <a:endParaRPr lang="en-US" sz="900">
              <a:latin typeface="Poppins" panose="00000500000000000000" pitchFamily="2" charset="0"/>
              <a:cs typeface="Poppins" panose="00000500000000000000" pitchFamily="2" charset="0"/>
              <a:sym typeface="Poppins" panose="00000500000000000000" pitchFamily="2" charset="0"/>
            </a:endParaRPr>
          </a:p>
        </p:txBody>
      </p:sp>
      <p:sp>
        <p:nvSpPr>
          <p:cNvPr id="66" name="Text Placeholder 2">
            <a:extLst>
              <a:ext uri="{FF2B5EF4-FFF2-40B4-BE49-F238E27FC236}">
                <a16:creationId xmlns:a16="http://schemas.microsoft.com/office/drawing/2014/main" id="{78160A0E-E066-F3A0-5A8A-BCBA9B0855C5}"/>
              </a:ext>
            </a:extLst>
          </p:cNvPr>
          <p:cNvSpPr>
            <a:spLocks noGrp="1"/>
          </p:cNvSpPr>
          <p:nvPr>
            <p:custDataLst>
              <p:tags r:id="rId15"/>
            </p:custDataLst>
          </p:nvPr>
        </p:nvSpPr>
        <p:spPr bwMode="auto">
          <a:xfrm>
            <a:off x="3600450" y="5884863"/>
            <a:ext cx="50165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F5A05246-D142-41CF-857D-92E4B1C359CC}" type="datetime'''''''''2''0''''''2''1'' S''''''um''me''''''''''''''r'''''">
              <a:rPr lang="en-US" altLang="en-US" sz="900" smtClean="0">
                <a:latin typeface="Poppins" panose="00000500000000000000" pitchFamily="2" charset="0"/>
                <a:cs typeface="Poppins" panose="00000500000000000000" pitchFamily="2" charset="0"/>
              </a:rPr>
              <a:pPr algn="ctr">
                <a:spcBef>
                  <a:spcPct val="0"/>
                </a:spcBef>
                <a:spcAft>
                  <a:spcPct val="0"/>
                </a:spcAft>
              </a:pPr>
              <a:t>2021 Summer</a:t>
            </a:fld>
            <a:endParaRPr lang="en-US" sz="900">
              <a:latin typeface="Poppins" panose="00000500000000000000" pitchFamily="2" charset="0"/>
              <a:cs typeface="Poppins" panose="00000500000000000000" pitchFamily="2" charset="0"/>
              <a:sym typeface="Poppins" panose="00000500000000000000" pitchFamily="2" charset="0"/>
            </a:endParaRPr>
          </a:p>
        </p:txBody>
      </p:sp>
      <p:sp>
        <p:nvSpPr>
          <p:cNvPr id="68" name="Text Placeholder 2">
            <a:extLst>
              <a:ext uri="{FF2B5EF4-FFF2-40B4-BE49-F238E27FC236}">
                <a16:creationId xmlns:a16="http://schemas.microsoft.com/office/drawing/2014/main" id="{BDCBAD0F-6B29-3D00-24DE-2719E3E5644F}"/>
              </a:ext>
            </a:extLst>
          </p:cNvPr>
          <p:cNvSpPr>
            <a:spLocks noGrp="1"/>
          </p:cNvSpPr>
          <p:nvPr>
            <p:custDataLst>
              <p:tags r:id="rId16"/>
            </p:custDataLst>
          </p:nvPr>
        </p:nvSpPr>
        <p:spPr bwMode="auto">
          <a:xfrm>
            <a:off x="4608513" y="5884863"/>
            <a:ext cx="50165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C03B6520-A1E6-4B19-A20F-1BFBC5DF4B82}" type="datetime'''''''''2''''02''''''''''2'' ''''S''''u''''''''mm''er'''">
              <a:rPr lang="en-US" altLang="en-US" sz="900" smtClean="0">
                <a:latin typeface="Poppins" panose="00000500000000000000" pitchFamily="2" charset="0"/>
                <a:cs typeface="Poppins" panose="00000500000000000000" pitchFamily="2" charset="0"/>
              </a:rPr>
              <a:pPr algn="ctr">
                <a:spcBef>
                  <a:spcPct val="0"/>
                </a:spcBef>
                <a:spcAft>
                  <a:spcPct val="0"/>
                </a:spcAft>
              </a:pPr>
              <a:t>2022 Summer</a:t>
            </a:fld>
            <a:endParaRPr lang="en-US" sz="900">
              <a:latin typeface="Poppins" panose="00000500000000000000" pitchFamily="2" charset="0"/>
              <a:cs typeface="Poppins" panose="00000500000000000000" pitchFamily="2" charset="0"/>
              <a:sym typeface="Poppins" panose="00000500000000000000" pitchFamily="2" charset="0"/>
            </a:endParaRPr>
          </a:p>
        </p:txBody>
      </p:sp>
      <p:sp>
        <p:nvSpPr>
          <p:cNvPr id="69" name="Text Placeholder 2">
            <a:extLst>
              <a:ext uri="{FF2B5EF4-FFF2-40B4-BE49-F238E27FC236}">
                <a16:creationId xmlns:a16="http://schemas.microsoft.com/office/drawing/2014/main" id="{600DC356-2B08-37E2-00A7-0D71E622B682}"/>
              </a:ext>
            </a:extLst>
          </p:cNvPr>
          <p:cNvSpPr>
            <a:spLocks noGrp="1"/>
          </p:cNvSpPr>
          <p:nvPr>
            <p:custDataLst>
              <p:tags r:id="rId17"/>
            </p:custDataLst>
          </p:nvPr>
        </p:nvSpPr>
        <p:spPr bwMode="auto">
          <a:xfrm>
            <a:off x="5146676" y="5884863"/>
            <a:ext cx="436563"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11C9BDE9-5BD2-47A8-9E55-056DAB4A8595}" type="datetime'202''''2'''''' ''''''W''''''''i''''n''''''te''''r'''''''''">
              <a:rPr lang="en-US" altLang="en-US" sz="900" smtClean="0">
                <a:latin typeface="Poppins" panose="00000500000000000000" pitchFamily="2" charset="0"/>
                <a:cs typeface="Poppins" panose="00000500000000000000" pitchFamily="2" charset="0"/>
              </a:rPr>
              <a:pPr algn="ctr">
                <a:spcBef>
                  <a:spcPct val="0"/>
                </a:spcBef>
                <a:spcAft>
                  <a:spcPct val="0"/>
                </a:spcAft>
              </a:pPr>
              <a:t>2022 Winter</a:t>
            </a:fld>
            <a:r>
              <a:rPr lang="en-US" altLang="en-US" sz="900">
                <a:latin typeface="Poppins" panose="00000500000000000000" pitchFamily="2" charset="0"/>
                <a:cs typeface="Poppins" panose="00000500000000000000" pitchFamily="2" charset="0"/>
                <a:sym typeface="Poppins" panose="00000500000000000000" pitchFamily="2" charset="0"/>
              </a:rPr>
              <a:t>*</a:t>
            </a:r>
            <a:endParaRPr lang="en-US" sz="900">
              <a:latin typeface="Poppins" panose="00000500000000000000" pitchFamily="2" charset="0"/>
              <a:cs typeface="Poppins" panose="00000500000000000000" pitchFamily="2" charset="0"/>
              <a:sym typeface="Poppins" panose="00000500000000000000" pitchFamily="2" charset="0"/>
            </a:endParaRPr>
          </a:p>
        </p:txBody>
      </p:sp>
      <p:sp>
        <p:nvSpPr>
          <p:cNvPr id="92" name="Text Placeholder 2">
            <a:extLst>
              <a:ext uri="{FF2B5EF4-FFF2-40B4-BE49-F238E27FC236}">
                <a16:creationId xmlns:a16="http://schemas.microsoft.com/office/drawing/2014/main" id="{1611B45B-1A54-E7E2-0293-2779D6A87517}"/>
              </a:ext>
            </a:extLst>
          </p:cNvPr>
          <p:cNvSpPr>
            <a:spLocks noGrp="1"/>
          </p:cNvSpPr>
          <p:nvPr>
            <p:custDataLst>
              <p:tags r:id="rId18"/>
            </p:custDataLst>
          </p:nvPr>
        </p:nvSpPr>
        <p:spPr bwMode="auto">
          <a:xfrm>
            <a:off x="1376363" y="2357438"/>
            <a:ext cx="411163" cy="204788"/>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B2BCE9A1-86A7-4D03-8427-A478AB02BEA8}" type="datetime'''''''+''''''4''''''''''%'''''''''''''''''''''''''''">
              <a:rPr lang="en-US" altLang="en-US" sz="1050" b="1" smtClean="0">
                <a:effectLst/>
                <a:latin typeface="Poppins" panose="00000500000000000000" pitchFamily="2" charset="0"/>
                <a:cs typeface="Poppins" panose="00000500000000000000" pitchFamily="2" charset="0"/>
              </a:rPr>
              <a:pPr algn="ctr">
                <a:spcBef>
                  <a:spcPct val="0"/>
                </a:spcBef>
                <a:spcAft>
                  <a:spcPct val="0"/>
                </a:spcAft>
              </a:pPr>
              <a:t>+4%</a:t>
            </a:fld>
            <a:endParaRPr lang="en-US" sz="1050" b="1">
              <a:latin typeface="Poppins" panose="00000500000000000000" pitchFamily="2" charset="0"/>
              <a:cs typeface="Poppins" panose="00000500000000000000" pitchFamily="2" charset="0"/>
              <a:sym typeface="Poppins" panose="00000500000000000000" pitchFamily="2" charset="0"/>
            </a:endParaRPr>
          </a:p>
        </p:txBody>
      </p:sp>
      <p:sp>
        <p:nvSpPr>
          <p:cNvPr id="104" name="TextBox 103">
            <a:extLst>
              <a:ext uri="{FF2B5EF4-FFF2-40B4-BE49-F238E27FC236}">
                <a16:creationId xmlns:a16="http://schemas.microsoft.com/office/drawing/2014/main" id="{863F4845-5A80-8922-6F8D-CC5A636B3C7F}"/>
              </a:ext>
            </a:extLst>
          </p:cNvPr>
          <p:cNvSpPr txBox="1"/>
          <p:nvPr/>
        </p:nvSpPr>
        <p:spPr>
          <a:xfrm>
            <a:off x="565944" y="6194774"/>
            <a:ext cx="3225563" cy="246221"/>
          </a:xfrm>
          <a:prstGeom prst="rect">
            <a:avLst/>
          </a:prstGeom>
          <a:noFill/>
        </p:spPr>
        <p:txBody>
          <a:bodyPr wrap="none" rtlCol="0">
            <a:spAutoFit/>
          </a:bodyPr>
          <a:lstStyle/>
          <a:p>
            <a:r>
              <a:rPr lang="en-US" sz="1000">
                <a:latin typeface="Poppins" panose="00000500000000000000" pitchFamily="2" charset="0"/>
                <a:cs typeface="Poppins" panose="00000500000000000000" pitchFamily="2" charset="0"/>
              </a:rPr>
              <a:t>* 2022 winter season up until 26 February 2023</a:t>
            </a:r>
          </a:p>
        </p:txBody>
      </p:sp>
      <p:graphicFrame>
        <p:nvGraphicFramePr>
          <p:cNvPr id="74" name="Chart 73">
            <a:extLst>
              <a:ext uri="{FF2B5EF4-FFF2-40B4-BE49-F238E27FC236}">
                <a16:creationId xmlns:a16="http://schemas.microsoft.com/office/drawing/2014/main" id="{16725533-F7A1-D0B0-8F8B-29A0F3A1C873}"/>
              </a:ext>
            </a:extLst>
          </p:cNvPr>
          <p:cNvGraphicFramePr/>
          <p:nvPr>
            <p:custDataLst>
              <p:tags r:id="rId19"/>
            </p:custDataLst>
            <p:extLst>
              <p:ext uri="{D42A27DB-BD31-4B8C-83A1-F6EECF244321}">
                <p14:modId xmlns:p14="http://schemas.microsoft.com/office/powerpoint/2010/main" val="4072858354"/>
              </p:ext>
            </p:extLst>
          </p:nvPr>
        </p:nvGraphicFramePr>
        <p:xfrm>
          <a:off x="6154738" y="2005013"/>
          <a:ext cx="5102225" cy="3906837"/>
        </p:xfrm>
        <a:graphic>
          <a:graphicData uri="http://schemas.openxmlformats.org/drawingml/2006/chart">
            <c:chart xmlns:c="http://schemas.openxmlformats.org/drawingml/2006/chart" xmlns:r="http://schemas.openxmlformats.org/officeDocument/2006/relationships" r:id="rId39"/>
          </a:graphicData>
        </a:graphic>
      </p:graphicFrame>
      <p:cxnSp>
        <p:nvCxnSpPr>
          <p:cNvPr id="9" name="Straight Connector 8">
            <a:extLst>
              <a:ext uri="{FF2B5EF4-FFF2-40B4-BE49-F238E27FC236}">
                <a16:creationId xmlns:a16="http://schemas.microsoft.com/office/drawing/2014/main" id="{758AA5AC-17B3-02D7-CD9E-146FE5E66B27}"/>
              </a:ext>
            </a:extLst>
          </p:cNvPr>
          <p:cNvCxnSpPr/>
          <p:nvPr>
            <p:custDataLst>
              <p:tags r:id="rId20"/>
            </p:custDataLst>
          </p:nvPr>
        </p:nvCxnSpPr>
        <p:spPr bwMode="auto">
          <a:xfrm flipV="1">
            <a:off x="6837363" y="2279650"/>
            <a:ext cx="0" cy="59690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EAFCF7EB-4283-8A49-FA82-2100DB8F33A7}"/>
              </a:ext>
            </a:extLst>
          </p:cNvPr>
          <p:cNvCxnSpPr/>
          <p:nvPr>
            <p:custDataLst>
              <p:tags r:id="rId21"/>
            </p:custDataLst>
          </p:nvPr>
        </p:nvCxnSpPr>
        <p:spPr bwMode="auto">
          <a:xfrm>
            <a:off x="6837362" y="2279650"/>
            <a:ext cx="509588"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F78D58E3-5CC4-85D8-2463-8A6E6A7F3CE7}"/>
              </a:ext>
            </a:extLst>
          </p:cNvPr>
          <p:cNvCxnSpPr/>
          <p:nvPr>
            <p:custDataLst>
              <p:tags r:id="rId22"/>
            </p:custDataLst>
          </p:nvPr>
        </p:nvCxnSpPr>
        <p:spPr bwMode="auto">
          <a:xfrm>
            <a:off x="7346950" y="2279650"/>
            <a:ext cx="0" cy="25558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F73E55E4-DE90-B981-80DA-40CA0E388C1B}"/>
              </a:ext>
            </a:extLst>
          </p:cNvPr>
          <p:cNvCxnSpPr/>
          <p:nvPr>
            <p:custDataLst>
              <p:tags r:id="rId23"/>
            </p:custDataLst>
          </p:nvPr>
        </p:nvCxnSpPr>
        <p:spPr bwMode="auto">
          <a:xfrm>
            <a:off x="6583362" y="2846388"/>
            <a:ext cx="4591050"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 name="Text Placeholder 2">
            <a:extLst>
              <a:ext uri="{FF2B5EF4-FFF2-40B4-BE49-F238E27FC236}">
                <a16:creationId xmlns:a16="http://schemas.microsoft.com/office/drawing/2014/main" id="{93C51345-D221-4736-4937-14AA2C879330}"/>
              </a:ext>
            </a:extLst>
          </p:cNvPr>
          <p:cNvSpPr>
            <a:spLocks noGrp="1"/>
          </p:cNvSpPr>
          <p:nvPr>
            <p:custDataLst>
              <p:tags r:id="rId24"/>
            </p:custDataLst>
          </p:nvPr>
        </p:nvSpPr>
        <p:spPr bwMode="auto">
          <a:xfrm>
            <a:off x="9707563" y="5884863"/>
            <a:ext cx="3810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5AE1AD3C-AA2D-45F5-BF93-D86AFB564658}" type="datetime'''''''''''''''''2''021'''' ''''''''''Wi''n''''t''''e''''''r'''">
              <a:rPr lang="en-US" altLang="en-US" sz="900" smtClean="0">
                <a:latin typeface="Poppins" panose="00000500000000000000" pitchFamily="2" charset="0"/>
                <a:cs typeface="Poppins" panose="00000500000000000000" pitchFamily="2" charset="0"/>
              </a:rPr>
              <a:pPr algn="ctr">
                <a:spcBef>
                  <a:spcPct val="0"/>
                </a:spcBef>
                <a:spcAft>
                  <a:spcPct val="0"/>
                </a:spcAft>
              </a:pPr>
              <a:t>2021 Winter</a:t>
            </a:fld>
            <a:endParaRPr lang="en-US" sz="900">
              <a:latin typeface="Poppins" panose="00000500000000000000" pitchFamily="2" charset="0"/>
              <a:cs typeface="Poppins" panose="00000500000000000000" pitchFamily="2" charset="0"/>
              <a:sym typeface="Poppins" panose="00000500000000000000" pitchFamily="2" charset="0"/>
            </a:endParaRPr>
          </a:p>
        </p:txBody>
      </p:sp>
      <p:sp>
        <p:nvSpPr>
          <p:cNvPr id="19" name="Text Placeholder 2">
            <a:extLst>
              <a:ext uri="{FF2B5EF4-FFF2-40B4-BE49-F238E27FC236}">
                <a16:creationId xmlns:a16="http://schemas.microsoft.com/office/drawing/2014/main" id="{6BA931FB-D2F6-7B03-1C6E-B3E256511AA6}"/>
              </a:ext>
            </a:extLst>
          </p:cNvPr>
          <p:cNvSpPr>
            <a:spLocks noGrp="1"/>
          </p:cNvSpPr>
          <p:nvPr>
            <p:custDataLst>
              <p:tags r:id="rId25"/>
            </p:custDataLst>
          </p:nvPr>
        </p:nvSpPr>
        <p:spPr bwMode="auto">
          <a:xfrm>
            <a:off x="6646863" y="5884863"/>
            <a:ext cx="3810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51074025-12C7-46C2-91D3-EBE8C082906B}" type="datetime'''''2''''0''18'''''''''' Wi''''''''''nt''''''e''''''r'''''''''">
              <a:rPr lang="en-US" altLang="en-US" sz="900" smtClean="0">
                <a:latin typeface="Poppins" panose="00000500000000000000" pitchFamily="2" charset="0"/>
                <a:cs typeface="Poppins" panose="00000500000000000000" pitchFamily="2" charset="0"/>
              </a:rPr>
              <a:pPr algn="ctr">
                <a:spcBef>
                  <a:spcPct val="0"/>
                </a:spcBef>
                <a:spcAft>
                  <a:spcPct val="0"/>
                </a:spcAft>
              </a:pPr>
              <a:t>2018 Winter</a:t>
            </a:fld>
            <a:endParaRPr lang="en-US" sz="900">
              <a:latin typeface="Poppins" panose="00000500000000000000" pitchFamily="2" charset="0"/>
              <a:cs typeface="Poppins" panose="00000500000000000000" pitchFamily="2" charset="0"/>
              <a:sym typeface="Poppins" panose="00000500000000000000" pitchFamily="2" charset="0"/>
            </a:endParaRPr>
          </a:p>
        </p:txBody>
      </p:sp>
      <p:sp>
        <p:nvSpPr>
          <p:cNvPr id="24" name="Text Placeholder 2">
            <a:extLst>
              <a:ext uri="{FF2B5EF4-FFF2-40B4-BE49-F238E27FC236}">
                <a16:creationId xmlns:a16="http://schemas.microsoft.com/office/drawing/2014/main" id="{ACF6F0E5-E9F0-0944-A836-0E4896541B66}"/>
              </a:ext>
            </a:extLst>
          </p:cNvPr>
          <p:cNvSpPr>
            <a:spLocks noGrp="1"/>
          </p:cNvSpPr>
          <p:nvPr>
            <p:custDataLst>
              <p:tags r:id="rId26"/>
            </p:custDataLst>
          </p:nvPr>
        </p:nvSpPr>
        <p:spPr bwMode="auto">
          <a:xfrm>
            <a:off x="8116888" y="5884863"/>
            <a:ext cx="50165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DBA2BCA3-C3EA-42ED-B584-FD97581115FB}" type="datetime'''202''''''0'''''''''''' ''''Su''''''''''''m''''m''''er'''''">
              <a:rPr lang="en-US" altLang="en-US" sz="900" smtClean="0">
                <a:latin typeface="Poppins" panose="00000500000000000000" pitchFamily="2" charset="0"/>
                <a:cs typeface="Poppins" panose="00000500000000000000" pitchFamily="2" charset="0"/>
              </a:rPr>
              <a:pPr algn="ctr">
                <a:spcBef>
                  <a:spcPct val="0"/>
                </a:spcBef>
                <a:spcAft>
                  <a:spcPct val="0"/>
                </a:spcAft>
              </a:pPr>
              <a:t>2020 Summer</a:t>
            </a:fld>
            <a:endParaRPr lang="en-US" sz="900">
              <a:latin typeface="Poppins" panose="00000500000000000000" pitchFamily="2" charset="0"/>
              <a:cs typeface="Poppins" panose="00000500000000000000" pitchFamily="2" charset="0"/>
              <a:sym typeface="Poppins" panose="00000500000000000000" pitchFamily="2" charset="0"/>
            </a:endParaRPr>
          </a:p>
        </p:txBody>
      </p:sp>
      <p:sp>
        <p:nvSpPr>
          <p:cNvPr id="21" name="Text Placeholder 2">
            <a:extLst>
              <a:ext uri="{FF2B5EF4-FFF2-40B4-BE49-F238E27FC236}">
                <a16:creationId xmlns:a16="http://schemas.microsoft.com/office/drawing/2014/main" id="{19AE7E3D-9236-53E9-4ED3-BB3C1FA75616}"/>
              </a:ext>
            </a:extLst>
          </p:cNvPr>
          <p:cNvSpPr>
            <a:spLocks noGrp="1"/>
          </p:cNvSpPr>
          <p:nvPr>
            <p:custDataLst>
              <p:tags r:id="rId27"/>
            </p:custDataLst>
          </p:nvPr>
        </p:nvSpPr>
        <p:spPr bwMode="auto">
          <a:xfrm>
            <a:off x="7096125" y="5884863"/>
            <a:ext cx="50165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E25F27E3-BE02-4DA8-8412-F9E230DA5D6F}" type="datetime'''2''''0''19'' S''''u''''''mm''''''''''''''''''e''r'''">
              <a:rPr lang="en-US" altLang="en-US" sz="900" smtClean="0">
                <a:latin typeface="Poppins" panose="00000500000000000000" pitchFamily="2" charset="0"/>
                <a:cs typeface="Poppins" panose="00000500000000000000" pitchFamily="2" charset="0"/>
              </a:rPr>
              <a:pPr algn="ctr">
                <a:spcBef>
                  <a:spcPct val="0"/>
                </a:spcBef>
                <a:spcAft>
                  <a:spcPct val="0"/>
                </a:spcAft>
              </a:pPr>
              <a:t>2019 Summer</a:t>
            </a:fld>
            <a:endParaRPr lang="en-US" sz="900">
              <a:latin typeface="Poppins" panose="00000500000000000000" pitchFamily="2" charset="0"/>
              <a:cs typeface="Poppins" panose="00000500000000000000" pitchFamily="2" charset="0"/>
              <a:sym typeface="Poppins" panose="00000500000000000000" pitchFamily="2" charset="0"/>
            </a:endParaRPr>
          </a:p>
        </p:txBody>
      </p:sp>
      <p:sp>
        <p:nvSpPr>
          <p:cNvPr id="22" name="Text Placeholder 2">
            <a:extLst>
              <a:ext uri="{FF2B5EF4-FFF2-40B4-BE49-F238E27FC236}">
                <a16:creationId xmlns:a16="http://schemas.microsoft.com/office/drawing/2014/main" id="{59BF8219-EBED-C2C9-B954-CEC721433D48}"/>
              </a:ext>
            </a:extLst>
          </p:cNvPr>
          <p:cNvSpPr>
            <a:spLocks noGrp="1"/>
          </p:cNvSpPr>
          <p:nvPr>
            <p:custDataLst>
              <p:tags r:id="rId28"/>
            </p:custDataLst>
          </p:nvPr>
        </p:nvSpPr>
        <p:spPr bwMode="auto">
          <a:xfrm>
            <a:off x="7667625" y="5884863"/>
            <a:ext cx="3810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FA1F886A-04CA-494E-8524-6D9BA7FDE34C}" type="datetime'201''9'''''' ''''''''''''''''W''''''in''''''''''t''''e''r'''''">
              <a:rPr lang="en-US" altLang="en-US" sz="900" smtClean="0">
                <a:latin typeface="Poppins" panose="00000500000000000000" pitchFamily="2" charset="0"/>
                <a:cs typeface="Poppins" panose="00000500000000000000" pitchFamily="2" charset="0"/>
              </a:rPr>
              <a:pPr algn="ctr">
                <a:spcBef>
                  <a:spcPct val="0"/>
                </a:spcBef>
                <a:spcAft>
                  <a:spcPct val="0"/>
                </a:spcAft>
              </a:pPr>
              <a:t>2019 Winter</a:t>
            </a:fld>
            <a:endParaRPr lang="en-US" sz="900">
              <a:latin typeface="Poppins" panose="00000500000000000000" pitchFamily="2" charset="0"/>
              <a:cs typeface="Poppins" panose="00000500000000000000" pitchFamily="2" charset="0"/>
              <a:sym typeface="Poppins" panose="00000500000000000000" pitchFamily="2" charset="0"/>
            </a:endParaRPr>
          </a:p>
        </p:txBody>
      </p:sp>
      <p:sp>
        <p:nvSpPr>
          <p:cNvPr id="23" name="Text Placeholder 2">
            <a:extLst>
              <a:ext uri="{FF2B5EF4-FFF2-40B4-BE49-F238E27FC236}">
                <a16:creationId xmlns:a16="http://schemas.microsoft.com/office/drawing/2014/main" id="{FF0169E0-F76C-D62D-979D-0B6C6A52A89F}"/>
              </a:ext>
            </a:extLst>
          </p:cNvPr>
          <p:cNvSpPr>
            <a:spLocks noGrp="1"/>
          </p:cNvSpPr>
          <p:nvPr>
            <p:custDataLst>
              <p:tags r:id="rId29"/>
            </p:custDataLst>
          </p:nvPr>
        </p:nvSpPr>
        <p:spPr bwMode="auto">
          <a:xfrm>
            <a:off x="8686800" y="5884863"/>
            <a:ext cx="3810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BDA083B2-8AAA-41A8-983F-2039741B854D}" type="datetime'''''2''''02''''''''''0 W''in''''''''te''''''r'''''">
              <a:rPr lang="en-US" altLang="en-US" sz="900" smtClean="0">
                <a:latin typeface="Poppins" panose="00000500000000000000" pitchFamily="2" charset="0"/>
                <a:cs typeface="Poppins" panose="00000500000000000000" pitchFamily="2" charset="0"/>
              </a:rPr>
              <a:pPr algn="ctr">
                <a:spcBef>
                  <a:spcPct val="0"/>
                </a:spcBef>
                <a:spcAft>
                  <a:spcPct val="0"/>
                </a:spcAft>
              </a:pPr>
              <a:t>2020 Winter</a:t>
            </a:fld>
            <a:endParaRPr lang="en-US" sz="900">
              <a:latin typeface="Poppins" panose="00000500000000000000" pitchFamily="2" charset="0"/>
              <a:cs typeface="Poppins" panose="00000500000000000000" pitchFamily="2" charset="0"/>
              <a:sym typeface="Poppins" panose="00000500000000000000" pitchFamily="2" charset="0"/>
            </a:endParaRPr>
          </a:p>
        </p:txBody>
      </p:sp>
      <p:sp>
        <p:nvSpPr>
          <p:cNvPr id="30" name="Text Placeholder 2">
            <a:extLst>
              <a:ext uri="{FF2B5EF4-FFF2-40B4-BE49-F238E27FC236}">
                <a16:creationId xmlns:a16="http://schemas.microsoft.com/office/drawing/2014/main" id="{F1870CC0-1190-996D-BA67-37571E5C657C}"/>
              </a:ext>
            </a:extLst>
          </p:cNvPr>
          <p:cNvSpPr>
            <a:spLocks noGrp="1"/>
          </p:cNvSpPr>
          <p:nvPr>
            <p:custDataLst>
              <p:tags r:id="rId30"/>
            </p:custDataLst>
          </p:nvPr>
        </p:nvSpPr>
        <p:spPr bwMode="auto">
          <a:xfrm>
            <a:off x="10156825" y="5884863"/>
            <a:ext cx="50165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44E7C98A-DF3B-4E4A-9CE1-C70671F66065}" type="datetime'''''''''2022'' S''u''m''''''''''''''''''''''''''m''er'''''">
              <a:rPr lang="en-US" altLang="en-US" sz="900" smtClean="0">
                <a:latin typeface="Poppins" panose="00000500000000000000" pitchFamily="2" charset="0"/>
                <a:cs typeface="Poppins" panose="00000500000000000000" pitchFamily="2" charset="0"/>
              </a:rPr>
              <a:pPr algn="ctr">
                <a:spcBef>
                  <a:spcPct val="0"/>
                </a:spcBef>
                <a:spcAft>
                  <a:spcPct val="0"/>
                </a:spcAft>
              </a:pPr>
              <a:t>2022 Summer</a:t>
            </a:fld>
            <a:endParaRPr lang="en-US" sz="900">
              <a:latin typeface="Poppins" panose="00000500000000000000" pitchFamily="2" charset="0"/>
              <a:cs typeface="Poppins" panose="00000500000000000000" pitchFamily="2" charset="0"/>
              <a:sym typeface="Poppins" panose="00000500000000000000" pitchFamily="2" charset="0"/>
            </a:endParaRPr>
          </a:p>
        </p:txBody>
      </p:sp>
      <p:sp>
        <p:nvSpPr>
          <p:cNvPr id="27" name="Text Placeholder 2">
            <a:extLst>
              <a:ext uri="{FF2B5EF4-FFF2-40B4-BE49-F238E27FC236}">
                <a16:creationId xmlns:a16="http://schemas.microsoft.com/office/drawing/2014/main" id="{70BED28C-82AE-8F68-461E-E29770E77E20}"/>
              </a:ext>
            </a:extLst>
          </p:cNvPr>
          <p:cNvSpPr>
            <a:spLocks noGrp="1"/>
          </p:cNvSpPr>
          <p:nvPr>
            <p:custDataLst>
              <p:tags r:id="rId31"/>
            </p:custDataLst>
          </p:nvPr>
        </p:nvSpPr>
        <p:spPr bwMode="auto">
          <a:xfrm>
            <a:off x="9137650" y="5884863"/>
            <a:ext cx="50165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F014EC0D-3F47-4479-B426-0A04D57BFFDD}" type="datetime'202''''''''1'''''' ''S''''''u''''''''m''m''''''e''r'">
              <a:rPr lang="en-US" altLang="en-US" sz="900" smtClean="0">
                <a:latin typeface="Poppins" panose="00000500000000000000" pitchFamily="2" charset="0"/>
                <a:cs typeface="Poppins" panose="00000500000000000000" pitchFamily="2" charset="0"/>
              </a:rPr>
              <a:pPr algn="ctr">
                <a:spcBef>
                  <a:spcPct val="0"/>
                </a:spcBef>
                <a:spcAft>
                  <a:spcPct val="0"/>
                </a:spcAft>
              </a:pPr>
              <a:t>2021 Summer</a:t>
            </a:fld>
            <a:endParaRPr lang="en-US" sz="900">
              <a:latin typeface="Poppins" panose="00000500000000000000" pitchFamily="2" charset="0"/>
              <a:cs typeface="Poppins" panose="00000500000000000000" pitchFamily="2" charset="0"/>
              <a:sym typeface="Poppins" panose="00000500000000000000" pitchFamily="2" charset="0"/>
            </a:endParaRPr>
          </a:p>
        </p:txBody>
      </p:sp>
      <p:sp>
        <p:nvSpPr>
          <p:cNvPr id="32" name="Text Placeholder 2">
            <a:extLst>
              <a:ext uri="{FF2B5EF4-FFF2-40B4-BE49-F238E27FC236}">
                <a16:creationId xmlns:a16="http://schemas.microsoft.com/office/drawing/2014/main" id="{57147525-4423-97A1-A2F1-096414A3D7F7}"/>
              </a:ext>
            </a:extLst>
          </p:cNvPr>
          <p:cNvSpPr>
            <a:spLocks noGrp="1"/>
          </p:cNvSpPr>
          <p:nvPr>
            <p:custDataLst>
              <p:tags r:id="rId32"/>
            </p:custDataLst>
          </p:nvPr>
        </p:nvSpPr>
        <p:spPr bwMode="auto">
          <a:xfrm>
            <a:off x="10701339" y="5884863"/>
            <a:ext cx="436563"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A9EB5C67-9E63-4E64-AA81-1C0BE36F1333}" type="datetime'''''20''22'''''''''''''''''''''' ''''''''W''''int''''''''er'">
              <a:rPr lang="en-US" altLang="en-US" sz="900" smtClean="0">
                <a:latin typeface="Poppins" panose="00000500000000000000" pitchFamily="2" charset="0"/>
                <a:cs typeface="Poppins" panose="00000500000000000000" pitchFamily="2" charset="0"/>
              </a:rPr>
              <a:pPr algn="ctr">
                <a:spcBef>
                  <a:spcPct val="0"/>
                </a:spcBef>
                <a:spcAft>
                  <a:spcPct val="0"/>
                </a:spcAft>
              </a:pPr>
              <a:t>2022 Winter</a:t>
            </a:fld>
            <a:r>
              <a:rPr lang="en-US" altLang="en-US" sz="900">
                <a:latin typeface="Poppins" panose="00000500000000000000" pitchFamily="2" charset="0"/>
                <a:cs typeface="Poppins" panose="00000500000000000000" pitchFamily="2" charset="0"/>
                <a:sym typeface="Poppins" panose="00000500000000000000" pitchFamily="2" charset="0"/>
              </a:rPr>
              <a:t>*</a:t>
            </a:r>
            <a:endParaRPr lang="en-US" sz="900">
              <a:latin typeface="Poppins" panose="00000500000000000000" pitchFamily="2" charset="0"/>
              <a:cs typeface="Poppins" panose="00000500000000000000" pitchFamily="2" charset="0"/>
              <a:sym typeface="Poppins" panose="00000500000000000000" pitchFamily="2" charset="0"/>
            </a:endParaRPr>
          </a:p>
        </p:txBody>
      </p:sp>
      <p:sp>
        <p:nvSpPr>
          <p:cNvPr id="35" name="Text Placeholder 2">
            <a:extLst>
              <a:ext uri="{FF2B5EF4-FFF2-40B4-BE49-F238E27FC236}">
                <a16:creationId xmlns:a16="http://schemas.microsoft.com/office/drawing/2014/main" id="{FDC3AF04-E9AA-00FE-63DA-F9FBBBACEC70}"/>
              </a:ext>
            </a:extLst>
          </p:cNvPr>
          <p:cNvSpPr>
            <a:spLocks noGrp="1"/>
          </p:cNvSpPr>
          <p:nvPr>
            <p:custDataLst>
              <p:tags r:id="rId33"/>
            </p:custDataLst>
          </p:nvPr>
        </p:nvSpPr>
        <p:spPr bwMode="auto">
          <a:xfrm>
            <a:off x="6851650" y="2178050"/>
            <a:ext cx="479425" cy="204788"/>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fld id="{5A3E1290-5A5D-4509-B892-BF96A9B189B1}" type="datetime'''''''''''''''''''''''''''+''1''''''''0''%'''">
              <a:rPr lang="en-US" altLang="en-US" sz="1050" b="1" smtClean="0">
                <a:effectLst/>
                <a:latin typeface="Poppins" panose="00000500000000000000" pitchFamily="2" charset="0"/>
                <a:cs typeface="Poppins" panose="00000500000000000000" pitchFamily="2" charset="0"/>
              </a:rPr>
              <a:pPr algn="ctr">
                <a:spcBef>
                  <a:spcPct val="0"/>
                </a:spcBef>
                <a:spcAft>
                  <a:spcPct val="0"/>
                </a:spcAft>
              </a:pPr>
              <a:t>+10%</a:t>
            </a:fld>
            <a:endParaRPr lang="en-US" sz="1050" b="1">
              <a:latin typeface="Poppins" panose="00000500000000000000" pitchFamily="2" charset="0"/>
              <a:cs typeface="Poppins" panose="00000500000000000000" pitchFamily="2" charset="0"/>
              <a:sym typeface="Poppins" panose="00000500000000000000" pitchFamily="2" charset="0"/>
            </a:endParaRPr>
          </a:p>
        </p:txBody>
      </p:sp>
      <p:sp>
        <p:nvSpPr>
          <p:cNvPr id="75" name="TextBox 74">
            <a:extLst>
              <a:ext uri="{FF2B5EF4-FFF2-40B4-BE49-F238E27FC236}">
                <a16:creationId xmlns:a16="http://schemas.microsoft.com/office/drawing/2014/main" id="{F7802D48-548E-A01E-777F-C1F73FF4CB1B}"/>
              </a:ext>
            </a:extLst>
          </p:cNvPr>
          <p:cNvSpPr txBox="1"/>
          <p:nvPr/>
        </p:nvSpPr>
        <p:spPr>
          <a:xfrm>
            <a:off x="6378046" y="1409333"/>
            <a:ext cx="4878917" cy="461665"/>
          </a:xfrm>
          <a:prstGeom prst="rect">
            <a:avLst/>
          </a:prstGeom>
          <a:noFill/>
        </p:spPr>
        <p:txBody>
          <a:bodyPr wrap="square" rtlCol="0">
            <a:spAutoFit/>
          </a:bodyPr>
          <a:lstStyle/>
          <a:p>
            <a:r>
              <a:rPr lang="en-US" sz="1200" b="1">
                <a:latin typeface="Poppins" panose="00000500000000000000" pitchFamily="2" charset="0"/>
                <a:cs typeface="Poppins" panose="00000500000000000000" pitchFamily="2" charset="0"/>
              </a:rPr>
              <a:t>Airline global capacity index for passenger flights</a:t>
            </a:r>
          </a:p>
          <a:p>
            <a:r>
              <a:rPr lang="en-US" sz="1200">
                <a:latin typeface="Poppins" panose="00000500000000000000" pitchFamily="2" charset="0"/>
                <a:cs typeface="Poppins" panose="00000500000000000000" pitchFamily="2" charset="0"/>
              </a:rPr>
              <a:t>(Passenger belly capacity 2019 = index 100)</a:t>
            </a:r>
          </a:p>
        </p:txBody>
      </p:sp>
    </p:spTree>
    <p:extLst>
      <p:ext uri="{BB962C8B-B14F-4D97-AF65-F5344CB8AC3E}">
        <p14:creationId xmlns:p14="http://schemas.microsoft.com/office/powerpoint/2010/main" val="229238195"/>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015DFAEE-F78A-C272-92CE-F25C3417CAD0}"/>
              </a:ext>
            </a:extLst>
          </p:cNvPr>
          <p:cNvGraphicFramePr>
            <a:graphicFrameLocks noChangeAspect="1"/>
          </p:cNvGraphicFramePr>
          <p:nvPr>
            <p:custDataLst>
              <p:tags r:id="rId1"/>
            </p:custDataLst>
            <p:extLst>
              <p:ext uri="{D42A27DB-BD31-4B8C-83A1-F6EECF244321}">
                <p14:modId xmlns:p14="http://schemas.microsoft.com/office/powerpoint/2010/main" val="280237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2" imgW="473" imgH="476" progId="TCLayout.ActiveDocument.1">
                  <p:embed/>
                </p:oleObj>
              </mc:Choice>
              <mc:Fallback>
                <p:oleObj name="think-cell Slide" r:id="rId72" imgW="473" imgH="476" progId="TCLayout.ActiveDocument.1">
                  <p:embed/>
                  <p:pic>
                    <p:nvPicPr>
                      <p:cNvPr id="28" name="Object 27" hidden="1">
                        <a:extLst>
                          <a:ext uri="{FF2B5EF4-FFF2-40B4-BE49-F238E27FC236}">
                            <a16:creationId xmlns:a16="http://schemas.microsoft.com/office/drawing/2014/main" id="{015DFAEE-F78A-C272-92CE-F25C3417CAD0}"/>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065B79C-C4D6-5961-7919-6BB68C420868}"/>
              </a:ext>
            </a:extLst>
          </p:cNvPr>
          <p:cNvSpPr txBox="1"/>
          <p:nvPr/>
        </p:nvSpPr>
        <p:spPr>
          <a:xfrm>
            <a:off x="821796" y="1417353"/>
            <a:ext cx="9811280" cy="461665"/>
          </a:xfrm>
          <a:prstGeom prst="rect">
            <a:avLst/>
          </a:prstGeom>
          <a:noFill/>
        </p:spPr>
        <p:txBody>
          <a:bodyPr wrap="square" rtlCol="0">
            <a:spAutoFit/>
          </a:bodyPr>
          <a:lstStyle/>
          <a:p>
            <a:r>
              <a:rPr lang="en-US" sz="1200" b="1">
                <a:latin typeface="Poppins" panose="00000500000000000000" pitchFamily="2" charset="0"/>
                <a:cs typeface="Poppins" panose="00000500000000000000" pitchFamily="2" charset="0"/>
              </a:rPr>
              <a:t>The spread of global air freight mid-low and mid-high rates from airlines, </a:t>
            </a:r>
            <a:r>
              <a:rPr lang="en-US" sz="1200">
                <a:latin typeface="Poppins" panose="00000500000000000000" pitchFamily="2" charset="0"/>
                <a:cs typeface="Poppins" panose="00000500000000000000" pitchFamily="2" charset="0"/>
              </a:rPr>
              <a:t>USD per kg</a:t>
            </a:r>
          </a:p>
          <a:p>
            <a:r>
              <a:rPr lang="en-US" sz="1200">
                <a:latin typeface="Poppins" panose="00000500000000000000" pitchFamily="2" charset="0"/>
                <a:cs typeface="Poppins" panose="00000500000000000000" pitchFamily="2" charset="0"/>
              </a:rPr>
              <a:t>(Mid-low: the rate at which 25% of market rates falls below; Mid-high: </a:t>
            </a:r>
            <a:r>
              <a:rPr lang="en-US" sz="1200">
                <a:effectLst/>
                <a:latin typeface="Poppins" panose="00000500000000000000" pitchFamily="2" charset="0"/>
                <a:ea typeface="DengXian" panose="02010600030101010101" pitchFamily="2" charset="-122"/>
                <a:cs typeface="Poppins" panose="00000500000000000000" pitchFamily="2" charset="0"/>
              </a:rPr>
              <a:t>the rate at which 75% of market rates falls below)</a:t>
            </a:r>
            <a:endParaRPr lang="en-US" sz="1200">
              <a:latin typeface="Poppins" panose="00000500000000000000" pitchFamily="2" charset="0"/>
              <a:cs typeface="Poppins" panose="00000500000000000000" pitchFamily="2" charset="0"/>
            </a:endParaRPr>
          </a:p>
        </p:txBody>
      </p:sp>
      <p:sp>
        <p:nvSpPr>
          <p:cNvPr id="29" name="Buying cargo based on gut feeling…">
            <a:extLst>
              <a:ext uri="{FF2B5EF4-FFF2-40B4-BE49-F238E27FC236}">
                <a16:creationId xmlns:a16="http://schemas.microsoft.com/office/drawing/2014/main" id="{D50B6CAA-A666-5524-85F7-444C607F0970}"/>
              </a:ext>
            </a:extLst>
          </p:cNvPr>
          <p:cNvSpPr txBox="1">
            <a:spLocks/>
          </p:cNvSpPr>
          <p:nvPr/>
        </p:nvSpPr>
        <p:spPr>
          <a:xfrm>
            <a:off x="763216" y="491067"/>
            <a:ext cx="10776114" cy="80750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10183A"/>
                </a:solidFill>
                <a:latin typeface="Poppins" pitchFamily="2" charset="77"/>
                <a:ea typeface="+mn-ea"/>
                <a:cs typeface="Poppins"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10183A"/>
                </a:solidFill>
                <a:latin typeface="Poppins" pitchFamily="2" charset="77"/>
                <a:ea typeface="+mn-ea"/>
                <a:cs typeface="Poppins" pitchFamily="2" charset="77"/>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10183A"/>
                </a:solidFill>
                <a:latin typeface="Poppins" pitchFamily="2" charset="77"/>
                <a:ea typeface="+mn-ea"/>
                <a:cs typeface="Poppins" pitchFamily="2" charset="77"/>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10183A"/>
                </a:solidFill>
                <a:latin typeface="Poppins" pitchFamily="2" charset="77"/>
                <a:ea typeface="+mn-ea"/>
                <a:cs typeface="Poppins"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457200">
              <a:lnSpc>
                <a:spcPct val="100000"/>
              </a:lnSpc>
              <a:buFont typeface="Arial" panose="020B0604020202020204" pitchFamily="34" charset="0"/>
              <a:buNone/>
              <a:defRPr sz="6000">
                <a:solidFill>
                  <a:srgbClr val="1D63FF"/>
                </a:solidFill>
              </a:defRPr>
            </a:pPr>
            <a:r>
              <a:rPr lang="en-US" sz="2400">
                <a:solidFill>
                  <a:srgbClr val="1D63FF"/>
                </a:solidFill>
                <a:latin typeface="Poppins" panose="00000500000000000000" pitchFamily="2" charset="0"/>
                <a:cs typeface="Poppins" panose="00000500000000000000" pitchFamily="2" charset="0"/>
              </a:rPr>
              <a:t>Global air freight rate spreads remained widened since pandemic</a:t>
            </a:r>
          </a:p>
        </p:txBody>
      </p:sp>
      <p:sp>
        <p:nvSpPr>
          <p:cNvPr id="43" name="Text Placeholder 1">
            <a:extLst>
              <a:ext uri="{FF2B5EF4-FFF2-40B4-BE49-F238E27FC236}">
                <a16:creationId xmlns:a16="http://schemas.microsoft.com/office/drawing/2014/main" id="{C58C7321-3BF7-61DC-5B1A-AD075E56AE05}"/>
              </a:ext>
            </a:extLst>
          </p:cNvPr>
          <p:cNvSpPr txBox="1">
            <a:spLocks/>
          </p:cNvSpPr>
          <p:nvPr/>
        </p:nvSpPr>
        <p:spPr>
          <a:xfrm>
            <a:off x="600361" y="6397771"/>
            <a:ext cx="5181318" cy="469900"/>
          </a:xfrm>
          <a:prstGeom prst="rect">
            <a:avLst/>
          </a:prstGeom>
        </p:spPr>
        <p:txBody>
          <a:bodyPr vert="horz" lIns="0" tIns="45720" rIns="9144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00">
                <a:latin typeface="Poppins" panose="00000500000000000000" pitchFamily="2" charset="0"/>
                <a:cs typeface="Poppins" panose="00000500000000000000" pitchFamily="2" charset="0"/>
              </a:rPr>
              <a:t>Source: CLIVE Data Services, now part of Xeneta</a:t>
            </a:r>
          </a:p>
        </p:txBody>
      </p:sp>
      <p:sp>
        <p:nvSpPr>
          <p:cNvPr id="181" name="Text Placeholder 1">
            <a:extLst>
              <a:ext uri="{FF2B5EF4-FFF2-40B4-BE49-F238E27FC236}">
                <a16:creationId xmlns:a16="http://schemas.microsoft.com/office/drawing/2014/main" id="{7CDC462B-DC01-E701-64AE-27E4845FB608}"/>
              </a:ext>
            </a:extLst>
          </p:cNvPr>
          <p:cNvSpPr txBox="1">
            <a:spLocks/>
          </p:cNvSpPr>
          <p:nvPr/>
        </p:nvSpPr>
        <p:spPr>
          <a:xfrm>
            <a:off x="6311017" y="6470796"/>
            <a:ext cx="4127502" cy="320676"/>
          </a:xfrm>
          <a:prstGeom prst="rect">
            <a:avLst/>
          </a:prstGeom>
        </p:spPr>
        <p:txBody>
          <a:bodyPr vert="horz" lIns="0" tIns="45720" rIns="91440" bIns="0" rtlCol="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000">
              <a:latin typeface="Poppins" panose="00000500000000000000" pitchFamily="2" charset="0"/>
              <a:cs typeface="Poppins" panose="00000500000000000000" pitchFamily="2" charset="0"/>
            </a:endParaRPr>
          </a:p>
        </p:txBody>
      </p:sp>
      <p:cxnSp>
        <p:nvCxnSpPr>
          <p:cNvPr id="26" name="Straight Connector 25">
            <a:extLst>
              <a:ext uri="{FF2B5EF4-FFF2-40B4-BE49-F238E27FC236}">
                <a16:creationId xmlns:a16="http://schemas.microsoft.com/office/drawing/2014/main" id="{265BE6CD-C1A3-4367-D284-626B6363AC49}"/>
              </a:ext>
            </a:extLst>
          </p:cNvPr>
          <p:cNvCxnSpPr/>
          <p:nvPr>
            <p:custDataLst>
              <p:tags r:id="rId2"/>
            </p:custDataLst>
          </p:nvPr>
        </p:nvCxnSpPr>
        <p:spPr bwMode="gray">
          <a:xfrm>
            <a:off x="1089025" y="4819650"/>
            <a:ext cx="10088563" cy="0"/>
          </a:xfrm>
          <a:prstGeom prst="line">
            <a:avLst/>
          </a:prstGeom>
          <a:ln w="3175" cap="flat" cmpd="sng" algn="ctr">
            <a:solidFill>
              <a:srgbClr val="DFE5E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05F551DD-D5F1-2387-646F-4DC5D5684413}"/>
              </a:ext>
            </a:extLst>
          </p:cNvPr>
          <p:cNvCxnSpPr/>
          <p:nvPr>
            <p:custDataLst>
              <p:tags r:id="rId3"/>
            </p:custDataLst>
          </p:nvPr>
        </p:nvCxnSpPr>
        <p:spPr bwMode="gray">
          <a:xfrm>
            <a:off x="1089025" y="3011488"/>
            <a:ext cx="10088563" cy="0"/>
          </a:xfrm>
          <a:prstGeom prst="line">
            <a:avLst/>
          </a:prstGeom>
          <a:ln w="3175" cap="flat" cmpd="sng" algn="ctr">
            <a:solidFill>
              <a:srgbClr val="DFE5E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4B91479E-077F-AAEA-4AFA-FDA68DF3B1B5}"/>
              </a:ext>
            </a:extLst>
          </p:cNvPr>
          <p:cNvCxnSpPr/>
          <p:nvPr>
            <p:custDataLst>
              <p:tags r:id="rId4"/>
            </p:custDataLst>
          </p:nvPr>
        </p:nvCxnSpPr>
        <p:spPr bwMode="gray">
          <a:xfrm>
            <a:off x="1089025" y="2559050"/>
            <a:ext cx="10088563" cy="0"/>
          </a:xfrm>
          <a:prstGeom prst="line">
            <a:avLst/>
          </a:prstGeom>
          <a:ln w="3175" cap="flat" cmpd="sng" algn="ctr">
            <a:solidFill>
              <a:srgbClr val="DFE5E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FDAD9809-E73C-88A3-2F69-212BFB70F321}"/>
              </a:ext>
            </a:extLst>
          </p:cNvPr>
          <p:cNvCxnSpPr/>
          <p:nvPr>
            <p:custDataLst>
              <p:tags r:id="rId5"/>
            </p:custDataLst>
          </p:nvPr>
        </p:nvCxnSpPr>
        <p:spPr bwMode="gray">
          <a:xfrm>
            <a:off x="1089025" y="3916363"/>
            <a:ext cx="10088563" cy="0"/>
          </a:xfrm>
          <a:prstGeom prst="line">
            <a:avLst/>
          </a:prstGeom>
          <a:ln w="3175" cap="flat" cmpd="sng" algn="ctr">
            <a:solidFill>
              <a:srgbClr val="DFE5E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336FF9A9-5049-239A-520B-377D98FD8E31}"/>
              </a:ext>
            </a:extLst>
          </p:cNvPr>
          <p:cNvCxnSpPr/>
          <p:nvPr>
            <p:custDataLst>
              <p:tags r:id="rId6"/>
            </p:custDataLst>
          </p:nvPr>
        </p:nvCxnSpPr>
        <p:spPr bwMode="gray">
          <a:xfrm>
            <a:off x="1089025" y="4367213"/>
            <a:ext cx="10088563" cy="0"/>
          </a:xfrm>
          <a:prstGeom prst="line">
            <a:avLst/>
          </a:prstGeom>
          <a:ln w="3175" cap="flat" cmpd="sng" algn="ctr">
            <a:solidFill>
              <a:srgbClr val="DFE5E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9024785D-81D4-EF50-AF14-F6FED7108444}"/>
              </a:ext>
            </a:extLst>
          </p:cNvPr>
          <p:cNvCxnSpPr/>
          <p:nvPr>
            <p:custDataLst>
              <p:tags r:id="rId7"/>
            </p:custDataLst>
          </p:nvPr>
        </p:nvCxnSpPr>
        <p:spPr bwMode="gray">
          <a:xfrm>
            <a:off x="1089025" y="5272088"/>
            <a:ext cx="10088563" cy="0"/>
          </a:xfrm>
          <a:prstGeom prst="line">
            <a:avLst/>
          </a:prstGeom>
          <a:ln w="3175" cap="flat" cmpd="sng" algn="ctr">
            <a:solidFill>
              <a:srgbClr val="DFE5E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241A5E73-6688-AD0E-8452-8FBFDFD5988E}"/>
              </a:ext>
            </a:extLst>
          </p:cNvPr>
          <p:cNvCxnSpPr/>
          <p:nvPr>
            <p:custDataLst>
              <p:tags r:id="rId8"/>
            </p:custDataLst>
          </p:nvPr>
        </p:nvCxnSpPr>
        <p:spPr bwMode="gray">
          <a:xfrm>
            <a:off x="1089025" y="2106613"/>
            <a:ext cx="10088563" cy="0"/>
          </a:xfrm>
          <a:prstGeom prst="line">
            <a:avLst/>
          </a:prstGeom>
          <a:ln w="3175" cap="flat" cmpd="sng" algn="ctr">
            <a:solidFill>
              <a:srgbClr val="DFE5E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3AB2DAA1-3E59-94EE-DF74-BE1897C6F763}"/>
              </a:ext>
            </a:extLst>
          </p:cNvPr>
          <p:cNvCxnSpPr/>
          <p:nvPr>
            <p:custDataLst>
              <p:tags r:id="rId9"/>
            </p:custDataLst>
          </p:nvPr>
        </p:nvCxnSpPr>
        <p:spPr bwMode="gray">
          <a:xfrm>
            <a:off x="1089025" y="3463925"/>
            <a:ext cx="10088563" cy="0"/>
          </a:xfrm>
          <a:prstGeom prst="line">
            <a:avLst/>
          </a:prstGeom>
          <a:ln w="3175" cap="flat" cmpd="sng" algn="ctr">
            <a:solidFill>
              <a:srgbClr val="DFE5E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4751189C-9E3E-9705-D713-805B2FC82A71}"/>
              </a:ext>
            </a:extLst>
          </p:cNvPr>
          <p:cNvCxnSpPr/>
          <p:nvPr>
            <p:custDataLst>
              <p:tags r:id="rId10"/>
            </p:custDataLst>
          </p:nvPr>
        </p:nvCxnSpPr>
        <p:spPr bwMode="auto">
          <a:xfrm>
            <a:off x="10142538"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45BD88E9-D04C-25E9-C14E-F455A579436B}"/>
              </a:ext>
            </a:extLst>
          </p:cNvPr>
          <p:cNvCxnSpPr/>
          <p:nvPr>
            <p:custDataLst>
              <p:tags r:id="rId11"/>
            </p:custDataLst>
          </p:nvPr>
        </p:nvCxnSpPr>
        <p:spPr bwMode="auto">
          <a:xfrm>
            <a:off x="4787900"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3712CCA0-EF97-AB6C-EBEB-0E90B5D0ECB2}"/>
              </a:ext>
            </a:extLst>
          </p:cNvPr>
          <p:cNvCxnSpPr/>
          <p:nvPr>
            <p:custDataLst>
              <p:tags r:id="rId12"/>
            </p:custDataLst>
          </p:nvPr>
        </p:nvCxnSpPr>
        <p:spPr bwMode="auto">
          <a:xfrm>
            <a:off x="1089025"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69931BFB-DF5A-06A4-07CB-1DC566B73B9A}"/>
              </a:ext>
            </a:extLst>
          </p:cNvPr>
          <p:cNvCxnSpPr/>
          <p:nvPr>
            <p:custDataLst>
              <p:tags r:id="rId13"/>
            </p:custDataLst>
          </p:nvPr>
        </p:nvCxnSpPr>
        <p:spPr bwMode="auto">
          <a:xfrm>
            <a:off x="6843713"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78737749-53D7-3AA3-C2D2-737950D3F89C}"/>
              </a:ext>
            </a:extLst>
          </p:cNvPr>
          <p:cNvCxnSpPr/>
          <p:nvPr>
            <p:custDataLst>
              <p:tags r:id="rId14"/>
            </p:custDataLst>
          </p:nvPr>
        </p:nvCxnSpPr>
        <p:spPr bwMode="auto">
          <a:xfrm>
            <a:off x="1487488"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CEDBBC1E-E32B-B7DF-5BED-EECA97F0D05F}"/>
              </a:ext>
            </a:extLst>
          </p:cNvPr>
          <p:cNvCxnSpPr/>
          <p:nvPr>
            <p:custDataLst>
              <p:tags r:id="rId15"/>
            </p:custDataLst>
          </p:nvPr>
        </p:nvCxnSpPr>
        <p:spPr bwMode="auto">
          <a:xfrm>
            <a:off x="5207000"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11368B81-35B2-DE32-8979-3AC61DE7CAD6}"/>
              </a:ext>
            </a:extLst>
          </p:cNvPr>
          <p:cNvCxnSpPr/>
          <p:nvPr>
            <p:custDataLst>
              <p:tags r:id="rId16"/>
            </p:custDataLst>
          </p:nvPr>
        </p:nvCxnSpPr>
        <p:spPr bwMode="auto">
          <a:xfrm>
            <a:off x="5619750"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8FD78D1F-2A8C-B1D9-581B-33AF7FDCCD5E}"/>
              </a:ext>
            </a:extLst>
          </p:cNvPr>
          <p:cNvCxnSpPr/>
          <p:nvPr>
            <p:custDataLst>
              <p:tags r:id="rId17"/>
            </p:custDataLst>
          </p:nvPr>
        </p:nvCxnSpPr>
        <p:spPr bwMode="auto">
          <a:xfrm>
            <a:off x="6032500"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50A6BC4E-F992-63ED-52A6-7ADAE7DD0EB8}"/>
              </a:ext>
            </a:extLst>
          </p:cNvPr>
          <p:cNvCxnSpPr/>
          <p:nvPr>
            <p:custDataLst>
              <p:tags r:id="rId18"/>
            </p:custDataLst>
          </p:nvPr>
        </p:nvCxnSpPr>
        <p:spPr bwMode="auto">
          <a:xfrm>
            <a:off x="2312988"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FE9E92A6-8B3E-6DA3-491C-5EF6729E1BDE}"/>
              </a:ext>
            </a:extLst>
          </p:cNvPr>
          <p:cNvCxnSpPr/>
          <p:nvPr>
            <p:custDataLst>
              <p:tags r:id="rId19"/>
            </p:custDataLst>
          </p:nvPr>
        </p:nvCxnSpPr>
        <p:spPr bwMode="auto">
          <a:xfrm>
            <a:off x="8899525"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19D88002-1C93-A488-6209-18F5CBCA7BA6}"/>
              </a:ext>
            </a:extLst>
          </p:cNvPr>
          <p:cNvCxnSpPr/>
          <p:nvPr>
            <p:custDataLst>
              <p:tags r:id="rId20"/>
            </p:custDataLst>
          </p:nvPr>
        </p:nvCxnSpPr>
        <p:spPr bwMode="auto">
          <a:xfrm>
            <a:off x="6430963"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0830087B-8653-64E0-2D3D-AA89A3B2A703}"/>
              </a:ext>
            </a:extLst>
          </p:cNvPr>
          <p:cNvCxnSpPr/>
          <p:nvPr>
            <p:custDataLst>
              <p:tags r:id="rId21"/>
            </p:custDataLst>
          </p:nvPr>
        </p:nvCxnSpPr>
        <p:spPr bwMode="auto">
          <a:xfrm>
            <a:off x="1900238"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CE521B16-057A-63F8-D57A-FED52303F486}"/>
              </a:ext>
            </a:extLst>
          </p:cNvPr>
          <p:cNvCxnSpPr/>
          <p:nvPr>
            <p:custDataLst>
              <p:tags r:id="rId22"/>
            </p:custDataLst>
          </p:nvPr>
        </p:nvCxnSpPr>
        <p:spPr bwMode="auto">
          <a:xfrm>
            <a:off x="7256463"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530CD842-ADC7-C3B6-BBB1-A39580CE39FE}"/>
              </a:ext>
            </a:extLst>
          </p:cNvPr>
          <p:cNvCxnSpPr/>
          <p:nvPr>
            <p:custDataLst>
              <p:tags r:id="rId23"/>
            </p:custDataLst>
          </p:nvPr>
        </p:nvCxnSpPr>
        <p:spPr bwMode="auto">
          <a:xfrm>
            <a:off x="10968038"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E2DA5F7F-567F-77A6-E771-0893940250B1}"/>
              </a:ext>
            </a:extLst>
          </p:cNvPr>
          <p:cNvCxnSpPr/>
          <p:nvPr>
            <p:custDataLst>
              <p:tags r:id="rId24"/>
            </p:custDataLst>
          </p:nvPr>
        </p:nvCxnSpPr>
        <p:spPr bwMode="auto">
          <a:xfrm>
            <a:off x="8086725"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6B0D399C-CF40-0849-B6DF-EC64EC5EB9BE}"/>
              </a:ext>
            </a:extLst>
          </p:cNvPr>
          <p:cNvCxnSpPr/>
          <p:nvPr>
            <p:custDataLst>
              <p:tags r:id="rId25"/>
            </p:custDataLst>
          </p:nvPr>
        </p:nvCxnSpPr>
        <p:spPr bwMode="auto">
          <a:xfrm>
            <a:off x="7675563"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22B59B7C-C11D-305B-725E-309F5B27B27F}"/>
              </a:ext>
            </a:extLst>
          </p:cNvPr>
          <p:cNvCxnSpPr/>
          <p:nvPr>
            <p:custDataLst>
              <p:tags r:id="rId26"/>
            </p:custDataLst>
          </p:nvPr>
        </p:nvCxnSpPr>
        <p:spPr bwMode="auto">
          <a:xfrm>
            <a:off x="2732088"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BA497DDE-5F40-D3E5-7825-017206854254}"/>
              </a:ext>
            </a:extLst>
          </p:cNvPr>
          <p:cNvCxnSpPr/>
          <p:nvPr>
            <p:custDataLst>
              <p:tags r:id="rId27"/>
            </p:custDataLst>
          </p:nvPr>
        </p:nvCxnSpPr>
        <p:spPr bwMode="auto">
          <a:xfrm>
            <a:off x="8499475"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04E527E6-2F99-F292-501A-00BC8F587AD8}"/>
              </a:ext>
            </a:extLst>
          </p:cNvPr>
          <p:cNvCxnSpPr/>
          <p:nvPr>
            <p:custDataLst>
              <p:tags r:id="rId28"/>
            </p:custDataLst>
          </p:nvPr>
        </p:nvCxnSpPr>
        <p:spPr bwMode="auto">
          <a:xfrm>
            <a:off x="9310688"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BF2C3B5B-1473-F918-C1C3-FD7C6C7336DA}"/>
              </a:ext>
            </a:extLst>
          </p:cNvPr>
          <p:cNvCxnSpPr/>
          <p:nvPr>
            <p:custDataLst>
              <p:tags r:id="rId29"/>
            </p:custDataLst>
          </p:nvPr>
        </p:nvCxnSpPr>
        <p:spPr bwMode="auto">
          <a:xfrm>
            <a:off x="9723438"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296A3914-4A37-1934-A016-EE0DE2E75970}"/>
              </a:ext>
            </a:extLst>
          </p:cNvPr>
          <p:cNvCxnSpPr/>
          <p:nvPr>
            <p:custDataLst>
              <p:tags r:id="rId30"/>
            </p:custDataLst>
          </p:nvPr>
        </p:nvCxnSpPr>
        <p:spPr bwMode="auto">
          <a:xfrm>
            <a:off x="3144838"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CACC21A9-A2CC-4090-0263-B5665C103D9A}"/>
              </a:ext>
            </a:extLst>
          </p:cNvPr>
          <p:cNvCxnSpPr/>
          <p:nvPr>
            <p:custDataLst>
              <p:tags r:id="rId31"/>
            </p:custDataLst>
          </p:nvPr>
        </p:nvCxnSpPr>
        <p:spPr bwMode="auto">
          <a:xfrm>
            <a:off x="10555288"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AD318768-8345-1CDC-87D8-4BA4A65E1CCA}"/>
              </a:ext>
            </a:extLst>
          </p:cNvPr>
          <p:cNvCxnSpPr/>
          <p:nvPr>
            <p:custDataLst>
              <p:tags r:id="rId32"/>
            </p:custDataLst>
          </p:nvPr>
        </p:nvCxnSpPr>
        <p:spPr bwMode="auto">
          <a:xfrm>
            <a:off x="3557588"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217A9E90-E119-4F81-6907-D35FC3588CD8}"/>
              </a:ext>
            </a:extLst>
          </p:cNvPr>
          <p:cNvCxnSpPr/>
          <p:nvPr>
            <p:custDataLst>
              <p:tags r:id="rId33"/>
            </p:custDataLst>
          </p:nvPr>
        </p:nvCxnSpPr>
        <p:spPr bwMode="auto">
          <a:xfrm>
            <a:off x="3962400"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43913C8B-95D3-BFDF-EF11-BA8D71F1DF1C}"/>
              </a:ext>
            </a:extLst>
          </p:cNvPr>
          <p:cNvCxnSpPr/>
          <p:nvPr>
            <p:custDataLst>
              <p:tags r:id="rId34"/>
            </p:custDataLst>
          </p:nvPr>
        </p:nvCxnSpPr>
        <p:spPr bwMode="auto">
          <a:xfrm>
            <a:off x="4375150" y="5724525"/>
            <a:ext cx="0" cy="4445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5" name="Chart 4">
            <a:extLst>
              <a:ext uri="{FF2B5EF4-FFF2-40B4-BE49-F238E27FC236}">
                <a16:creationId xmlns:a16="http://schemas.microsoft.com/office/drawing/2014/main" id="{CE95D88C-4C45-3F2E-3A04-BD41328E4757}"/>
              </a:ext>
            </a:extLst>
          </p:cNvPr>
          <p:cNvGraphicFramePr/>
          <p:nvPr>
            <p:custDataLst>
              <p:tags r:id="rId35"/>
            </p:custDataLst>
            <p:extLst>
              <p:ext uri="{D42A27DB-BD31-4B8C-83A1-F6EECF244321}">
                <p14:modId xmlns:p14="http://schemas.microsoft.com/office/powerpoint/2010/main" val="76376446"/>
              </p:ext>
            </p:extLst>
          </p:nvPr>
        </p:nvGraphicFramePr>
        <p:xfrm>
          <a:off x="779463" y="2005013"/>
          <a:ext cx="10480675" cy="3822700"/>
        </p:xfrm>
        <a:graphic>
          <a:graphicData uri="http://schemas.openxmlformats.org/drawingml/2006/chart">
            <c:chart xmlns:c="http://schemas.openxmlformats.org/drawingml/2006/chart" xmlns:r="http://schemas.openxmlformats.org/officeDocument/2006/relationships" r:id="rId74"/>
          </a:graphicData>
        </a:graphic>
      </p:graphicFrame>
      <p:sp>
        <p:nvSpPr>
          <p:cNvPr id="120" name="Text Placeholder 2">
            <a:extLst>
              <a:ext uri="{FF2B5EF4-FFF2-40B4-BE49-F238E27FC236}">
                <a16:creationId xmlns:a16="http://schemas.microsoft.com/office/drawing/2014/main" id="{227DD4AF-FBFF-94DA-B02A-6E7850C7E7D8}"/>
              </a:ext>
            </a:extLst>
          </p:cNvPr>
          <p:cNvSpPr>
            <a:spLocks noGrp="1"/>
          </p:cNvSpPr>
          <p:nvPr>
            <p:custDataLst>
              <p:tags r:id="rId36"/>
            </p:custDataLst>
          </p:nvPr>
        </p:nvSpPr>
        <p:spPr bwMode="gray">
          <a:xfrm>
            <a:off x="1420813" y="5813425"/>
            <a:ext cx="144463" cy="415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35EAF86F-277C-41DC-9845-67DF23CC4973}" type="datetime'M''ar'' ''''1''''''''''''''''''''''''''9'''">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Mar 19</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23" name="Text Placeholder 2">
            <a:extLst>
              <a:ext uri="{FF2B5EF4-FFF2-40B4-BE49-F238E27FC236}">
                <a16:creationId xmlns:a16="http://schemas.microsoft.com/office/drawing/2014/main" id="{4E8D93E6-7DB4-9D3D-D966-317FB4863F0A}"/>
              </a:ext>
            </a:extLst>
          </p:cNvPr>
          <p:cNvSpPr>
            <a:spLocks noGrp="1"/>
          </p:cNvSpPr>
          <p:nvPr>
            <p:custDataLst>
              <p:tags r:id="rId37"/>
            </p:custDataLst>
          </p:nvPr>
        </p:nvSpPr>
        <p:spPr bwMode="gray">
          <a:xfrm>
            <a:off x="10488613" y="5813425"/>
            <a:ext cx="144463" cy="4413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1ED66294-936D-4B88-89A2-FBDDA5A661AF}" type="datetime'''''''''''''''''N''''o''v'''''' ''''''2''''''2'''''''''''''''">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Nov 22</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06" name="Text Placeholder 2">
            <a:extLst>
              <a:ext uri="{FF2B5EF4-FFF2-40B4-BE49-F238E27FC236}">
                <a16:creationId xmlns:a16="http://schemas.microsoft.com/office/drawing/2014/main" id="{7D99CB6E-1D23-4F83-4BEB-CD18BD12C810}"/>
              </a:ext>
            </a:extLst>
          </p:cNvPr>
          <p:cNvSpPr>
            <a:spLocks noGrp="1"/>
          </p:cNvSpPr>
          <p:nvPr>
            <p:custDataLst>
              <p:tags r:id="rId38"/>
            </p:custDataLst>
          </p:nvPr>
        </p:nvSpPr>
        <p:spPr bwMode="gray">
          <a:xfrm>
            <a:off x="1833563" y="5813425"/>
            <a:ext cx="144463" cy="4413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3F996EF9-5860-40A0-9EAD-BF1D96434040}" type="datetime'''M''''''''''''''''a''''''''''y'''' ''''''''''''''19'''">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May 19</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14" name="Text Placeholder 2">
            <a:extLst>
              <a:ext uri="{FF2B5EF4-FFF2-40B4-BE49-F238E27FC236}">
                <a16:creationId xmlns:a16="http://schemas.microsoft.com/office/drawing/2014/main" id="{E8635B72-F4D2-02CE-C7C7-9587809CECD5}"/>
              </a:ext>
            </a:extLst>
          </p:cNvPr>
          <p:cNvSpPr>
            <a:spLocks noGrp="1"/>
          </p:cNvSpPr>
          <p:nvPr>
            <p:custDataLst>
              <p:tags r:id="rId39"/>
            </p:custDataLst>
          </p:nvPr>
        </p:nvSpPr>
        <p:spPr bwMode="gray">
          <a:xfrm>
            <a:off x="10901363" y="5813425"/>
            <a:ext cx="144463" cy="436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7A919C4B-1E1D-4CCD-A02F-79C38A7BB0B4}" type="datetime'''''''''''J''''''an'''''''''''''' 2''''''''''''''''''''3'''">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Jan 23</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11" name="Text Placeholder 2">
            <a:extLst>
              <a:ext uri="{FF2B5EF4-FFF2-40B4-BE49-F238E27FC236}">
                <a16:creationId xmlns:a16="http://schemas.microsoft.com/office/drawing/2014/main" id="{B0CDCDCF-3A08-7E90-1BAF-B8913112CDB9}"/>
              </a:ext>
            </a:extLst>
          </p:cNvPr>
          <p:cNvSpPr>
            <a:spLocks noGrp="1"/>
          </p:cNvSpPr>
          <p:nvPr>
            <p:custDataLst>
              <p:tags r:id="rId40"/>
            </p:custDataLst>
          </p:nvPr>
        </p:nvSpPr>
        <p:spPr bwMode="gray">
          <a:xfrm>
            <a:off x="5140325" y="5813425"/>
            <a:ext cx="144463" cy="446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5F877463-6D2D-4508-8F82-2AC88BB0077A}" type="datetime'''''''''''''''''''''S''''''''''''''''''ep'' ''2''0'''''">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Sep 20</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09" name="Text Placeholder 2">
            <a:extLst>
              <a:ext uri="{FF2B5EF4-FFF2-40B4-BE49-F238E27FC236}">
                <a16:creationId xmlns:a16="http://schemas.microsoft.com/office/drawing/2014/main" id="{B13C4469-198D-B852-22BB-6739427CE5F2}"/>
              </a:ext>
            </a:extLst>
          </p:cNvPr>
          <p:cNvSpPr>
            <a:spLocks noGrp="1"/>
          </p:cNvSpPr>
          <p:nvPr>
            <p:custDataLst>
              <p:tags r:id="rId41"/>
            </p:custDataLst>
          </p:nvPr>
        </p:nvSpPr>
        <p:spPr bwMode="gray">
          <a:xfrm>
            <a:off x="2246313" y="5813425"/>
            <a:ext cx="144463" cy="3524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113D735D-2372-4E7C-B96F-ABD341276FD3}" type="datetime'''''''''''''Ju''''''''''l'''''' 1''''''''''''''''''''9'''''">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Jul 19</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19" name="Text Placeholder 2">
            <a:extLst>
              <a:ext uri="{FF2B5EF4-FFF2-40B4-BE49-F238E27FC236}">
                <a16:creationId xmlns:a16="http://schemas.microsoft.com/office/drawing/2014/main" id="{D6A00346-BF8C-0977-FC79-E34711910C06}"/>
              </a:ext>
            </a:extLst>
          </p:cNvPr>
          <p:cNvSpPr>
            <a:spLocks noGrp="1"/>
          </p:cNvSpPr>
          <p:nvPr>
            <p:custDataLst>
              <p:tags r:id="rId42"/>
            </p:custDataLst>
          </p:nvPr>
        </p:nvSpPr>
        <p:spPr bwMode="gray">
          <a:xfrm>
            <a:off x="5553075" y="5813425"/>
            <a:ext cx="144463" cy="449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241E24E2-2E3D-4D83-AFB2-4D1E7BAD2065}" type="datetime'N''''''''o''''''''''''''''v'''''''''''''''''' ''''''20'''">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Nov 20</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12" name="Text Placeholder 2">
            <a:extLst>
              <a:ext uri="{FF2B5EF4-FFF2-40B4-BE49-F238E27FC236}">
                <a16:creationId xmlns:a16="http://schemas.microsoft.com/office/drawing/2014/main" id="{B653AB44-96C0-EEBA-9451-224DB7D70401}"/>
              </a:ext>
            </a:extLst>
          </p:cNvPr>
          <p:cNvSpPr>
            <a:spLocks noGrp="1"/>
          </p:cNvSpPr>
          <p:nvPr>
            <p:custDataLst>
              <p:tags r:id="rId43"/>
            </p:custDataLst>
          </p:nvPr>
        </p:nvSpPr>
        <p:spPr bwMode="gray">
          <a:xfrm>
            <a:off x="2665413" y="5813425"/>
            <a:ext cx="144463" cy="4127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31E7D391-9899-4018-BCCC-C444A0EAE467}" type="datetime'''''''''''''Se''''''p'' ''''''''''''1''''''9'">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Sep 19</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21" name="Text Placeholder 2">
            <a:extLst>
              <a:ext uri="{FF2B5EF4-FFF2-40B4-BE49-F238E27FC236}">
                <a16:creationId xmlns:a16="http://schemas.microsoft.com/office/drawing/2014/main" id="{432AC78C-8996-78EA-2C3C-C914CB0BA96C}"/>
              </a:ext>
            </a:extLst>
          </p:cNvPr>
          <p:cNvSpPr>
            <a:spLocks noGrp="1"/>
          </p:cNvSpPr>
          <p:nvPr>
            <p:custDataLst>
              <p:tags r:id="rId44"/>
            </p:custDataLst>
          </p:nvPr>
        </p:nvSpPr>
        <p:spPr bwMode="gray">
          <a:xfrm>
            <a:off x="4721225" y="5813425"/>
            <a:ext cx="144463" cy="3857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D9B25B37-503D-41C7-B79F-CB1547DC591C}" type="datetime'''''''''''''J''u''''''l ''''''''''2''''''''''''0'''''''''''">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Jul 20</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28" name="Text Placeholder 2">
            <a:extLst>
              <a:ext uri="{FF2B5EF4-FFF2-40B4-BE49-F238E27FC236}">
                <a16:creationId xmlns:a16="http://schemas.microsoft.com/office/drawing/2014/main" id="{82957DE4-02C5-962B-D2C2-993D7C2172E4}"/>
              </a:ext>
            </a:extLst>
          </p:cNvPr>
          <p:cNvSpPr>
            <a:spLocks noGrp="1"/>
          </p:cNvSpPr>
          <p:nvPr>
            <p:custDataLst>
              <p:tags r:id="rId45"/>
            </p:custDataLst>
          </p:nvPr>
        </p:nvSpPr>
        <p:spPr bwMode="gray">
          <a:xfrm>
            <a:off x="4308475" y="5813425"/>
            <a:ext cx="144463" cy="4746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E83049D1-FB03-42C7-81B9-2EDEC719D8C1}" type="datetime'''''''''''M''a''''y'' ''''''''''''''''2''''''''''''''0'''''''">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May 20</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08" name="Text Placeholder 2">
            <a:extLst>
              <a:ext uri="{FF2B5EF4-FFF2-40B4-BE49-F238E27FC236}">
                <a16:creationId xmlns:a16="http://schemas.microsoft.com/office/drawing/2014/main" id="{1B3714F0-FB11-6CFF-B870-4A13F4771623}"/>
              </a:ext>
            </a:extLst>
          </p:cNvPr>
          <p:cNvSpPr>
            <a:spLocks noGrp="1"/>
          </p:cNvSpPr>
          <p:nvPr>
            <p:custDataLst>
              <p:tags r:id="rId46"/>
            </p:custDataLst>
          </p:nvPr>
        </p:nvSpPr>
        <p:spPr bwMode="gray">
          <a:xfrm>
            <a:off x="3078163" y="5813425"/>
            <a:ext cx="144463" cy="4159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31D921F9-5F2F-487F-9536-97844C3746A9}" type="datetime'N''''''''''''o''''''''''v'''''''''''''''''' ''''''1''9'''''">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Nov 19</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10" name="Text Placeholder 2">
            <a:extLst>
              <a:ext uri="{FF2B5EF4-FFF2-40B4-BE49-F238E27FC236}">
                <a16:creationId xmlns:a16="http://schemas.microsoft.com/office/drawing/2014/main" id="{DC8BACB4-7C89-08C3-CDB4-9F3F60A76FE4}"/>
              </a:ext>
            </a:extLst>
          </p:cNvPr>
          <p:cNvSpPr>
            <a:spLocks noGrp="1"/>
          </p:cNvSpPr>
          <p:nvPr>
            <p:custDataLst>
              <p:tags r:id="rId47"/>
            </p:custDataLst>
          </p:nvPr>
        </p:nvSpPr>
        <p:spPr bwMode="gray">
          <a:xfrm>
            <a:off x="7608888" y="5813425"/>
            <a:ext cx="144463" cy="404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FD0C33A7-BBF2-40CB-B6EC-EA8FCAFEA6A6}" type="datetime'''''''S''''e''p'''' ''2''''''''''''''''''''''''''1'''''''">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Sep 21</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26" name="Text Placeholder 2">
            <a:extLst>
              <a:ext uri="{FF2B5EF4-FFF2-40B4-BE49-F238E27FC236}">
                <a16:creationId xmlns:a16="http://schemas.microsoft.com/office/drawing/2014/main" id="{2BA4A63C-91D0-B25D-6E71-FBE09FF4C474}"/>
              </a:ext>
            </a:extLst>
          </p:cNvPr>
          <p:cNvSpPr>
            <a:spLocks noGrp="1"/>
          </p:cNvSpPr>
          <p:nvPr>
            <p:custDataLst>
              <p:tags r:id="rId48"/>
            </p:custDataLst>
          </p:nvPr>
        </p:nvSpPr>
        <p:spPr bwMode="gray">
          <a:xfrm>
            <a:off x="7189788" y="5813425"/>
            <a:ext cx="144463" cy="3444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58ABA05B-FFE7-4387-AB1A-4270E833C62A}" type="datetime'J''''''ul ''''''2''''''''''''''''''''''''''1'''''''">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Jul 21</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24" name="Text Placeholder 2">
            <a:extLst>
              <a:ext uri="{FF2B5EF4-FFF2-40B4-BE49-F238E27FC236}">
                <a16:creationId xmlns:a16="http://schemas.microsoft.com/office/drawing/2014/main" id="{F5416F8A-DB55-9CAE-1F3D-9BBF3DB9D7E4}"/>
              </a:ext>
            </a:extLst>
          </p:cNvPr>
          <p:cNvSpPr>
            <a:spLocks noGrp="1"/>
          </p:cNvSpPr>
          <p:nvPr>
            <p:custDataLst>
              <p:tags r:id="rId49"/>
            </p:custDataLst>
          </p:nvPr>
        </p:nvSpPr>
        <p:spPr bwMode="gray">
          <a:xfrm>
            <a:off x="6364288" y="5813425"/>
            <a:ext cx="144463"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12C85EA9-8DB5-42FB-8062-A81E84FB5763}" type="datetime'''''''''M''a''r'''''''''''''''''''''''''' ''21'''''''''">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Mar 21</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25" name="Text Placeholder 2">
            <a:extLst>
              <a:ext uri="{FF2B5EF4-FFF2-40B4-BE49-F238E27FC236}">
                <a16:creationId xmlns:a16="http://schemas.microsoft.com/office/drawing/2014/main" id="{2E1BE011-4D99-DC89-7007-EEEE1188A90E}"/>
              </a:ext>
            </a:extLst>
          </p:cNvPr>
          <p:cNvSpPr>
            <a:spLocks noGrp="1"/>
          </p:cNvSpPr>
          <p:nvPr>
            <p:custDataLst>
              <p:tags r:id="rId50"/>
            </p:custDataLst>
          </p:nvPr>
        </p:nvSpPr>
        <p:spPr bwMode="gray">
          <a:xfrm>
            <a:off x="10075863" y="5813425"/>
            <a:ext cx="144463" cy="4381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88B1A3FD-6D9B-40B4-9389-AD522DA45DB4}" type="datetime'''Se''''''''''''''''p'' ''2''''''''''''''2'''''''">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Sep 22</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27" name="Text Placeholder 2">
            <a:extLst>
              <a:ext uri="{FF2B5EF4-FFF2-40B4-BE49-F238E27FC236}">
                <a16:creationId xmlns:a16="http://schemas.microsoft.com/office/drawing/2014/main" id="{8BF47315-055B-2430-AC40-B6919707E659}"/>
              </a:ext>
            </a:extLst>
          </p:cNvPr>
          <p:cNvSpPr>
            <a:spLocks noGrp="1"/>
          </p:cNvSpPr>
          <p:nvPr>
            <p:custDataLst>
              <p:tags r:id="rId51"/>
            </p:custDataLst>
          </p:nvPr>
        </p:nvSpPr>
        <p:spPr bwMode="gray">
          <a:xfrm>
            <a:off x="8020050" y="5813425"/>
            <a:ext cx="144463" cy="4079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FD9D2210-3226-4FDD-9540-492744212FD6}" type="datetime'N''''''''''''o''''''''''''''v'''' 2''''1'''''">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Nov 21</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05" name="Text Placeholder 2">
            <a:extLst>
              <a:ext uri="{FF2B5EF4-FFF2-40B4-BE49-F238E27FC236}">
                <a16:creationId xmlns:a16="http://schemas.microsoft.com/office/drawing/2014/main" id="{3A8DF813-9A1B-2779-792A-3FAED26079F9}"/>
              </a:ext>
            </a:extLst>
          </p:cNvPr>
          <p:cNvSpPr>
            <a:spLocks noGrp="1"/>
          </p:cNvSpPr>
          <p:nvPr>
            <p:custDataLst>
              <p:tags r:id="rId52"/>
            </p:custDataLst>
          </p:nvPr>
        </p:nvSpPr>
        <p:spPr bwMode="gray">
          <a:xfrm>
            <a:off x="1022350" y="5813425"/>
            <a:ext cx="144463" cy="4095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25A0D795-DD2D-4CCE-B82A-42ED9CE19772}" type="datetime'''''J''''''''''a''''n'''' ''''1''''''9'''''''''''''''''''''''">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Jan 19</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15" name="Text Placeholder 2">
            <a:extLst>
              <a:ext uri="{FF2B5EF4-FFF2-40B4-BE49-F238E27FC236}">
                <a16:creationId xmlns:a16="http://schemas.microsoft.com/office/drawing/2014/main" id="{1CC87783-104E-D409-4C73-ED257A0808EC}"/>
              </a:ext>
            </a:extLst>
          </p:cNvPr>
          <p:cNvSpPr>
            <a:spLocks noGrp="1"/>
          </p:cNvSpPr>
          <p:nvPr>
            <p:custDataLst>
              <p:tags r:id="rId53"/>
            </p:custDataLst>
          </p:nvPr>
        </p:nvSpPr>
        <p:spPr bwMode="gray">
          <a:xfrm>
            <a:off x="5965825" y="5813425"/>
            <a:ext cx="144463" cy="4016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FCC6C137-ACD0-49BC-8687-3403BF3D9E4F}" type="datetime'''''''''''J''''a''''''''n'''''' ''''''''''''2''''''1'''">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Jan 21</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17" name="Text Placeholder 2">
            <a:extLst>
              <a:ext uri="{FF2B5EF4-FFF2-40B4-BE49-F238E27FC236}">
                <a16:creationId xmlns:a16="http://schemas.microsoft.com/office/drawing/2014/main" id="{509F5596-1340-D291-3256-B99CFC2B346C}"/>
              </a:ext>
            </a:extLst>
          </p:cNvPr>
          <p:cNvSpPr>
            <a:spLocks noGrp="1"/>
          </p:cNvSpPr>
          <p:nvPr>
            <p:custDataLst>
              <p:tags r:id="rId54"/>
            </p:custDataLst>
          </p:nvPr>
        </p:nvSpPr>
        <p:spPr bwMode="gray">
          <a:xfrm>
            <a:off x="8832850" y="5813425"/>
            <a:ext cx="144463" cy="4413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AF4D8380-1901-4DEE-B7B7-74F5861B5A8B}" type="datetime'''M''''ar 2''''''2'''''">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Mar 22</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04" name="Text Placeholder 2">
            <a:extLst>
              <a:ext uri="{FF2B5EF4-FFF2-40B4-BE49-F238E27FC236}">
                <a16:creationId xmlns:a16="http://schemas.microsoft.com/office/drawing/2014/main" id="{A9566EFA-74F7-3DDA-F05E-93C53BB2AA97}"/>
              </a:ext>
            </a:extLst>
          </p:cNvPr>
          <p:cNvSpPr>
            <a:spLocks noGrp="1"/>
          </p:cNvSpPr>
          <p:nvPr>
            <p:custDataLst>
              <p:tags r:id="rId55"/>
            </p:custDataLst>
          </p:nvPr>
        </p:nvSpPr>
        <p:spPr bwMode="gray">
          <a:xfrm>
            <a:off x="3895725" y="5813425"/>
            <a:ext cx="144463" cy="449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7A08DF14-6104-4974-9BC3-CE3AEFAE48CB}" type="datetime'''''''''''M''''''''''''a''''''''''r'''''' ''2''''0'''''">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Mar 20</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18" name="Text Placeholder 2">
            <a:extLst>
              <a:ext uri="{FF2B5EF4-FFF2-40B4-BE49-F238E27FC236}">
                <a16:creationId xmlns:a16="http://schemas.microsoft.com/office/drawing/2014/main" id="{08B8ABB9-04BA-07AF-BD6C-E7D71FFD0E2B}"/>
              </a:ext>
            </a:extLst>
          </p:cNvPr>
          <p:cNvSpPr>
            <a:spLocks noGrp="1"/>
          </p:cNvSpPr>
          <p:nvPr>
            <p:custDataLst>
              <p:tags r:id="rId56"/>
            </p:custDataLst>
          </p:nvPr>
        </p:nvSpPr>
        <p:spPr bwMode="gray">
          <a:xfrm>
            <a:off x="9244013" y="5813425"/>
            <a:ext cx="144463" cy="466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37EBB687-D413-4DAD-B176-EE14551DFB76}" type="datetime'''M''a''''''y'''''''''''' 2''''2'''''''">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May 22</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22" name="Text Placeholder 2">
            <a:extLst>
              <a:ext uri="{FF2B5EF4-FFF2-40B4-BE49-F238E27FC236}">
                <a16:creationId xmlns:a16="http://schemas.microsoft.com/office/drawing/2014/main" id="{211D1667-71CF-DAE2-F8DB-8BA875197FF5}"/>
              </a:ext>
            </a:extLst>
          </p:cNvPr>
          <p:cNvSpPr>
            <a:spLocks noGrp="1"/>
          </p:cNvSpPr>
          <p:nvPr>
            <p:custDataLst>
              <p:tags r:id="rId57"/>
            </p:custDataLst>
          </p:nvPr>
        </p:nvSpPr>
        <p:spPr bwMode="gray">
          <a:xfrm>
            <a:off x="9656763" y="5813425"/>
            <a:ext cx="144463" cy="377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32A4F579-9A95-4D9C-B400-C380B7638A8C}" type="datetime'Ju''''''l'' ''''''''''''''''''''2''''''''''2'''''''''''">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Jul 22</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13" name="Text Placeholder 2">
            <a:extLst>
              <a:ext uri="{FF2B5EF4-FFF2-40B4-BE49-F238E27FC236}">
                <a16:creationId xmlns:a16="http://schemas.microsoft.com/office/drawing/2014/main" id="{057CDBA5-728A-FA1E-05B7-3BD89CF1BEE7}"/>
              </a:ext>
            </a:extLst>
          </p:cNvPr>
          <p:cNvSpPr>
            <a:spLocks noGrp="1"/>
          </p:cNvSpPr>
          <p:nvPr>
            <p:custDataLst>
              <p:tags r:id="rId58"/>
            </p:custDataLst>
          </p:nvPr>
        </p:nvSpPr>
        <p:spPr bwMode="gray">
          <a:xfrm>
            <a:off x="6777038" y="5813425"/>
            <a:ext cx="144463" cy="4333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403D5A53-25F8-4C1B-8633-86D47C409117}" type="datetime'''M''''a''''''''''y'''''''''''''' 21'''''''''''''''''''">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May 21</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16" name="Text Placeholder 2">
            <a:extLst>
              <a:ext uri="{FF2B5EF4-FFF2-40B4-BE49-F238E27FC236}">
                <a16:creationId xmlns:a16="http://schemas.microsoft.com/office/drawing/2014/main" id="{E5D67288-B5AD-F8FA-A2A2-F7DE4F29C023}"/>
              </a:ext>
            </a:extLst>
          </p:cNvPr>
          <p:cNvSpPr>
            <a:spLocks noGrp="1"/>
          </p:cNvSpPr>
          <p:nvPr>
            <p:custDataLst>
              <p:tags r:id="rId59"/>
            </p:custDataLst>
          </p:nvPr>
        </p:nvSpPr>
        <p:spPr bwMode="gray">
          <a:xfrm>
            <a:off x="8432800" y="5813425"/>
            <a:ext cx="144463" cy="4349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77C298EC-9014-4271-BCB4-147836608D68}" type="datetime'''''''J''''an'' ''''''''''2''''''''''''''''''''2'''''''''''">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Jan 22</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07" name="Text Placeholder 2">
            <a:extLst>
              <a:ext uri="{FF2B5EF4-FFF2-40B4-BE49-F238E27FC236}">
                <a16:creationId xmlns:a16="http://schemas.microsoft.com/office/drawing/2014/main" id="{D69C42B8-4C60-26CC-0D19-29FD30EB03D5}"/>
              </a:ext>
            </a:extLst>
          </p:cNvPr>
          <p:cNvSpPr>
            <a:spLocks noGrp="1"/>
          </p:cNvSpPr>
          <p:nvPr>
            <p:custDataLst>
              <p:tags r:id="rId60"/>
            </p:custDataLst>
          </p:nvPr>
        </p:nvSpPr>
        <p:spPr bwMode="gray">
          <a:xfrm>
            <a:off x="3490913" y="5813425"/>
            <a:ext cx="144463" cy="4429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spcBef>
                <a:spcPct val="0"/>
              </a:spcBef>
              <a:spcAft>
                <a:spcPct val="0"/>
              </a:spcAft>
            </a:pPr>
            <a:fld id="{7CDCE878-FFF5-4728-8C40-DF4E4A83A660}" type="datetime'J''''''''a''''''''''''''''''''''n'''' 2''''''''''''''0'''''">
              <a:rPr lang="en-US" altLang="en-US" sz="1050" smtClean="0">
                <a:latin typeface="Poppins" panose="00000500000000000000" pitchFamily="2" charset="0"/>
                <a:cs typeface="Poppins" panose="00000500000000000000" pitchFamily="2" charset="0"/>
                <a:sym typeface="Poppins" panose="00000500000000000000" pitchFamily="2" charset="0"/>
              </a:rPr>
              <a:pPr algn="r">
                <a:spcBef>
                  <a:spcPct val="0"/>
                </a:spcBef>
                <a:spcAft>
                  <a:spcPct val="0"/>
                </a:spcAft>
              </a:pPr>
              <a:t>Jan 20</a:t>
            </a:fld>
            <a:endParaRPr lang="en-US" sz="1050">
              <a:latin typeface="Poppins" panose="00000500000000000000" pitchFamily="2" charset="0"/>
              <a:cs typeface="Poppins" panose="00000500000000000000" pitchFamily="2" charset="0"/>
              <a:sym typeface="Poppins" panose="00000500000000000000" pitchFamily="2" charset="0"/>
            </a:endParaRPr>
          </a:p>
        </p:txBody>
      </p:sp>
      <p:cxnSp>
        <p:nvCxnSpPr>
          <p:cNvPr id="130" name="Straight Connector 129">
            <a:extLst>
              <a:ext uri="{FF2B5EF4-FFF2-40B4-BE49-F238E27FC236}">
                <a16:creationId xmlns:a16="http://schemas.microsoft.com/office/drawing/2014/main" id="{E957EBFD-0754-FE08-5D12-7C5700C13FE2}"/>
              </a:ext>
            </a:extLst>
          </p:cNvPr>
          <p:cNvCxnSpPr>
            <a:cxnSpLocks/>
          </p:cNvCxnSpPr>
          <p:nvPr>
            <p:custDataLst>
              <p:tags r:id="rId61"/>
            </p:custDataLst>
          </p:nvPr>
        </p:nvCxnSpPr>
        <p:spPr bwMode="auto">
          <a:xfrm>
            <a:off x="11177588" y="3379788"/>
            <a:ext cx="0" cy="1370013"/>
          </a:xfrm>
          <a:prstGeom prst="line">
            <a:avLst/>
          </a:prstGeom>
          <a:ln w="28575" cap="flat" cmpd="sng" algn="ctr">
            <a:solidFill>
              <a:schemeClr val="tx1"/>
            </a:solidFill>
            <a:prstDash val="solid"/>
            <a:miter lim="800000"/>
            <a:headEnd type="triangl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B1B0B1E0-382D-B8C0-D476-03536818D2B6}"/>
              </a:ext>
            </a:extLst>
          </p:cNvPr>
          <p:cNvCxnSpPr/>
          <p:nvPr>
            <p:custDataLst>
              <p:tags r:id="rId62"/>
            </p:custDataLst>
          </p:nvPr>
        </p:nvCxnSpPr>
        <p:spPr bwMode="auto">
          <a:xfrm>
            <a:off x="8709025" y="2566988"/>
            <a:ext cx="0" cy="2032000"/>
          </a:xfrm>
          <a:prstGeom prst="line">
            <a:avLst/>
          </a:prstGeom>
          <a:ln w="28575" cap="flat" cmpd="sng" algn="ctr">
            <a:solidFill>
              <a:schemeClr val="tx1"/>
            </a:solidFill>
            <a:prstDash val="solid"/>
            <a:miter lim="800000"/>
            <a:headEnd type="triangl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C79F18F8-6519-347D-5E19-4C61613C4819}"/>
              </a:ext>
            </a:extLst>
          </p:cNvPr>
          <p:cNvCxnSpPr/>
          <p:nvPr>
            <p:custDataLst>
              <p:tags r:id="rId63"/>
            </p:custDataLst>
          </p:nvPr>
        </p:nvCxnSpPr>
        <p:spPr bwMode="auto">
          <a:xfrm flipV="1">
            <a:off x="1298575" y="4062413"/>
            <a:ext cx="0" cy="946150"/>
          </a:xfrm>
          <a:prstGeom prst="line">
            <a:avLst/>
          </a:prstGeom>
          <a:ln w="28575" cap="flat" cmpd="sng" algn="ctr">
            <a:solidFill>
              <a:schemeClr val="tx1"/>
            </a:solidFill>
            <a:prstDash val="solid"/>
            <a:miter lim="800000"/>
            <a:headEnd type="triangl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3" name="Text Placeholder 2">
            <a:extLst>
              <a:ext uri="{FF2B5EF4-FFF2-40B4-BE49-F238E27FC236}">
                <a16:creationId xmlns:a16="http://schemas.microsoft.com/office/drawing/2014/main" id="{B208B45B-6E7F-879C-F7BD-53CF3859C404}"/>
              </a:ext>
            </a:extLst>
          </p:cNvPr>
          <p:cNvSpPr>
            <a:spLocks noGrp="1"/>
          </p:cNvSpPr>
          <p:nvPr>
            <p:custDataLst>
              <p:tags r:id="rId64"/>
            </p:custDataLst>
          </p:nvPr>
        </p:nvSpPr>
        <p:spPr bwMode="auto">
          <a:xfrm>
            <a:off x="11283950" y="4675188"/>
            <a:ext cx="56356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EEFFF443-B047-4B83-8A38-C7413BCE5014}" type="datetime'''''Mi''''''''d-''''''''''''''L''''''o''''''''''''''''''w'''">
              <a:rPr lang="en-US" altLang="en-US" sz="1050" smtClean="0">
                <a:latin typeface="Poppins" panose="00000500000000000000" pitchFamily="2" charset="0"/>
                <a:cs typeface="Poppins" panose="00000500000000000000" pitchFamily="2" charset="0"/>
              </a:rPr>
              <a:pPr>
                <a:spcBef>
                  <a:spcPct val="0"/>
                </a:spcBef>
                <a:spcAft>
                  <a:spcPct val="0"/>
                </a:spcAft>
              </a:pPr>
              <a:t>Mid-Low</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32" name="Text Placeholder 2">
            <a:extLst>
              <a:ext uri="{FF2B5EF4-FFF2-40B4-BE49-F238E27FC236}">
                <a16:creationId xmlns:a16="http://schemas.microsoft.com/office/drawing/2014/main" id="{A23A4658-6E59-77D4-37D9-17C9563BC8F5}"/>
              </a:ext>
            </a:extLst>
          </p:cNvPr>
          <p:cNvSpPr>
            <a:spLocks noGrp="1"/>
          </p:cNvSpPr>
          <p:nvPr>
            <p:custDataLst>
              <p:tags r:id="rId65"/>
            </p:custDataLst>
          </p:nvPr>
        </p:nvSpPr>
        <p:spPr bwMode="auto">
          <a:xfrm>
            <a:off x="11283950" y="3311525"/>
            <a:ext cx="612775"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fld id="{8456613A-B914-48B2-8A02-4FF2D5EE7ED9}" type="datetime'''''''''''''''''''M''''id''-H''''i''g''''''h'''''''''">
              <a:rPr lang="en-US" altLang="en-US" sz="1050" smtClean="0">
                <a:latin typeface="Poppins" panose="00000500000000000000" pitchFamily="2" charset="0"/>
                <a:cs typeface="Poppins" panose="00000500000000000000" pitchFamily="2" charset="0"/>
              </a:rPr>
              <a:pPr>
                <a:spcBef>
                  <a:spcPct val="0"/>
                </a:spcBef>
                <a:spcAft>
                  <a:spcPct val="0"/>
                </a:spcAft>
              </a:pPr>
              <a:t>Mid-High</a:t>
            </a:fld>
            <a:endParaRPr lang="en-US" sz="1050">
              <a:latin typeface="Poppins" panose="00000500000000000000" pitchFamily="2" charset="0"/>
              <a:cs typeface="Poppins" panose="00000500000000000000" pitchFamily="2" charset="0"/>
              <a:sym typeface="Poppins" panose="00000500000000000000" pitchFamily="2" charset="0"/>
            </a:endParaRPr>
          </a:p>
        </p:txBody>
      </p:sp>
      <p:sp>
        <p:nvSpPr>
          <p:cNvPr id="135" name="Text Placeholder 2">
            <a:extLst>
              <a:ext uri="{FF2B5EF4-FFF2-40B4-BE49-F238E27FC236}">
                <a16:creationId xmlns:a16="http://schemas.microsoft.com/office/drawing/2014/main" id="{3B7515DF-22AD-A557-30E6-B8261A562FA2}"/>
              </a:ext>
            </a:extLst>
          </p:cNvPr>
          <p:cNvSpPr>
            <a:spLocks noGrp="1"/>
          </p:cNvSpPr>
          <p:nvPr>
            <p:custDataLst>
              <p:tags r:id="rId66"/>
            </p:custDataLst>
          </p:nvPr>
        </p:nvSpPr>
        <p:spPr bwMode="auto">
          <a:xfrm>
            <a:off x="10774362" y="3962400"/>
            <a:ext cx="806450" cy="204788"/>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US" altLang="en-US" sz="1050" b="1">
                <a:effectLst/>
                <a:latin typeface="Poppins" panose="00000500000000000000" pitchFamily="2" charset="0"/>
                <a:cs typeface="Poppins" panose="00000500000000000000" pitchFamily="2" charset="0"/>
              </a:rPr>
              <a:t>Feb: </a:t>
            </a:r>
            <a:fld id="{E9D785A2-5522-4399-96D1-187281E3F544}" type="datetime'''3''''''.''''''''0''''''''''''''''''''1'''''''''''''''''''">
              <a:rPr lang="en-US" altLang="en-US" sz="1050" b="1" smtClean="0">
                <a:effectLst/>
                <a:latin typeface="Poppins" panose="00000500000000000000" pitchFamily="2" charset="0"/>
                <a:cs typeface="Poppins" panose="00000500000000000000" pitchFamily="2" charset="0"/>
              </a:rPr>
              <a:pPr algn="ctr">
                <a:spcBef>
                  <a:spcPct val="0"/>
                </a:spcBef>
                <a:spcAft>
                  <a:spcPct val="0"/>
                </a:spcAft>
              </a:pPr>
              <a:t>3.01</a:t>
            </a:fld>
            <a:endParaRPr lang="en-US" sz="1050" b="1">
              <a:latin typeface="Poppins" panose="00000500000000000000" pitchFamily="2" charset="0"/>
              <a:cs typeface="Poppins" panose="00000500000000000000" pitchFamily="2" charset="0"/>
              <a:sym typeface="Poppins" panose="00000500000000000000" pitchFamily="2" charset="0"/>
            </a:endParaRPr>
          </a:p>
        </p:txBody>
      </p:sp>
      <p:sp>
        <p:nvSpPr>
          <p:cNvPr id="136" name="Text Placeholder 2">
            <a:extLst>
              <a:ext uri="{FF2B5EF4-FFF2-40B4-BE49-F238E27FC236}">
                <a16:creationId xmlns:a16="http://schemas.microsoft.com/office/drawing/2014/main" id="{C6E8FB93-ECBB-BC92-DAF9-D87490248993}"/>
              </a:ext>
            </a:extLst>
          </p:cNvPr>
          <p:cNvSpPr>
            <a:spLocks noGrp="1"/>
          </p:cNvSpPr>
          <p:nvPr>
            <p:custDataLst>
              <p:tags r:id="rId67"/>
            </p:custDataLst>
          </p:nvPr>
        </p:nvSpPr>
        <p:spPr bwMode="auto">
          <a:xfrm>
            <a:off x="8272463" y="3481388"/>
            <a:ext cx="874713" cy="204788"/>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US" altLang="en-US" sz="1050" b="1">
                <a:effectLst/>
                <a:latin typeface="Poppins" panose="00000500000000000000" pitchFamily="2" charset="0"/>
                <a:cs typeface="Poppins" panose="00000500000000000000" pitchFamily="2" charset="0"/>
              </a:rPr>
              <a:t>Feb: </a:t>
            </a:r>
            <a:fld id="{D1CA3FCE-A211-4DA0-A0B9-941C9C092082}" type="datetime'''''''''''4''''''''''''''''''''''.''''''4''''''8'''''''''''''">
              <a:rPr lang="en-US" altLang="en-US" sz="1050" b="1" smtClean="0">
                <a:effectLst/>
                <a:latin typeface="Poppins" panose="00000500000000000000" pitchFamily="2" charset="0"/>
                <a:cs typeface="Poppins" panose="00000500000000000000" pitchFamily="2" charset="0"/>
              </a:rPr>
              <a:pPr algn="ctr">
                <a:spcBef>
                  <a:spcPct val="0"/>
                </a:spcBef>
                <a:spcAft>
                  <a:spcPct val="0"/>
                </a:spcAft>
              </a:pPr>
              <a:t>4.48</a:t>
            </a:fld>
            <a:endParaRPr lang="en-US" sz="1050" b="1">
              <a:latin typeface="Poppins" panose="00000500000000000000" pitchFamily="2" charset="0"/>
              <a:cs typeface="Poppins" panose="00000500000000000000" pitchFamily="2" charset="0"/>
              <a:sym typeface="Poppins" panose="00000500000000000000" pitchFamily="2" charset="0"/>
            </a:endParaRPr>
          </a:p>
        </p:txBody>
      </p:sp>
      <p:sp>
        <p:nvSpPr>
          <p:cNvPr id="137" name="Text Placeholder 2">
            <a:extLst>
              <a:ext uri="{FF2B5EF4-FFF2-40B4-BE49-F238E27FC236}">
                <a16:creationId xmlns:a16="http://schemas.microsoft.com/office/drawing/2014/main" id="{1EBD1EBF-C7D5-8C7C-3271-B5E201E7016F}"/>
              </a:ext>
            </a:extLst>
          </p:cNvPr>
          <p:cNvSpPr>
            <a:spLocks noGrp="1"/>
          </p:cNvSpPr>
          <p:nvPr>
            <p:custDataLst>
              <p:tags r:id="rId68"/>
            </p:custDataLst>
          </p:nvPr>
        </p:nvSpPr>
        <p:spPr bwMode="auto">
          <a:xfrm>
            <a:off x="1389063" y="4433888"/>
            <a:ext cx="849313" cy="204788"/>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spcBef>
                <a:spcPct val="0"/>
              </a:spcBef>
              <a:spcAft>
                <a:spcPct val="0"/>
              </a:spcAft>
            </a:pPr>
            <a:r>
              <a:rPr lang="en-US" altLang="en-US" sz="1050" b="1">
                <a:effectLst/>
                <a:latin typeface="Poppins" panose="00000500000000000000" pitchFamily="2" charset="0"/>
                <a:cs typeface="Poppins" panose="00000500000000000000" pitchFamily="2" charset="0"/>
              </a:rPr>
              <a:t>Feb: </a:t>
            </a:r>
            <a:fld id="{FCEA67E1-641D-4FD6-8DCD-50474891AFEF}" type="datetime'''''2''''''''''''''''''.0''8'''''''''''">
              <a:rPr lang="en-US" altLang="en-US" sz="1050" b="1" smtClean="0">
                <a:effectLst/>
                <a:latin typeface="Poppins" panose="00000500000000000000" pitchFamily="2" charset="0"/>
                <a:cs typeface="Poppins" panose="00000500000000000000" pitchFamily="2" charset="0"/>
              </a:rPr>
              <a:pPr algn="ctr">
                <a:spcBef>
                  <a:spcPct val="0"/>
                </a:spcBef>
                <a:spcAft>
                  <a:spcPct val="0"/>
                </a:spcAft>
              </a:pPr>
              <a:t>2.08</a:t>
            </a:fld>
            <a:endParaRPr lang="en-US" sz="1050" b="1">
              <a:latin typeface="Poppins" panose="00000500000000000000" pitchFamily="2" charset="0"/>
              <a:cs typeface="Poppins" panose="00000500000000000000" pitchFamily="2" charset="0"/>
              <a:sym typeface="Poppins" panose="00000500000000000000" pitchFamily="2" charset="0"/>
            </a:endParaRPr>
          </a:p>
        </p:txBody>
      </p:sp>
      <p:sp>
        <p:nvSpPr>
          <p:cNvPr id="273" name="Text Placeholder 2">
            <a:extLst>
              <a:ext uri="{FF2B5EF4-FFF2-40B4-BE49-F238E27FC236}">
                <a16:creationId xmlns:a16="http://schemas.microsoft.com/office/drawing/2014/main" id="{A52F662B-8EA0-8C7F-49C9-EDAE3CCBB551}"/>
              </a:ext>
            </a:extLst>
          </p:cNvPr>
          <p:cNvSpPr>
            <a:spLocks noGrp="1"/>
          </p:cNvSpPr>
          <p:nvPr>
            <p:custDataLst>
              <p:tags r:id="rId69"/>
            </p:custDataLst>
          </p:nvPr>
        </p:nvSpPr>
        <p:spPr bwMode="auto">
          <a:xfrm>
            <a:off x="11153775" y="5795963"/>
            <a:ext cx="144463" cy="4413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numCol="1" spcCol="0" rtlCol="0" anchor="t" anchorCtr="0">
            <a:noAutofit/>
          </a:bodyPr>
          <a:lstStyle>
            <a:lvl1pPr marL="0" indent="0" algn="l" defTabSz="685800" rtl="0" eaLnBrk="1" latinLnBrk="0" hangingPunct="1">
              <a:lnSpc>
                <a:spcPct val="90000"/>
              </a:lnSpc>
              <a:spcBef>
                <a:spcPts val="750"/>
              </a:spcBef>
              <a:buFont typeface="Arial" panose="020B0604020202020204" pitchFamily="34" charset="0"/>
              <a:buNone/>
              <a:defRPr sz="2100" b="0" i="0" kern="1200">
                <a:solidFill>
                  <a:srgbClr val="10183A"/>
                </a:solidFill>
                <a:latin typeface="Poppins Light" pitchFamily="2" charset="77"/>
                <a:ea typeface="+mn-ea"/>
                <a:cs typeface="Poppins Light" pitchFamily="2" charset="77"/>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rgbClr val="10183A"/>
                </a:solidFill>
                <a:latin typeface="Poppins Light" pitchFamily="2" charset="77"/>
                <a:ea typeface="+mn-ea"/>
                <a:cs typeface="Poppins Light" pitchFamily="2" charset="77"/>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rgbClr val="10183A"/>
                </a:solidFill>
                <a:latin typeface="Poppins Light" pitchFamily="2" charset="77"/>
                <a:ea typeface="+mn-ea"/>
                <a:cs typeface="Poppins Light" pitchFamily="2" charset="77"/>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rgbClr val="10183A"/>
                </a:solidFill>
                <a:latin typeface="Poppins Light" pitchFamily="2" charset="77"/>
                <a:ea typeface="+mn-ea"/>
                <a:cs typeface="Poppins Light" pitchFamily="2" charset="77"/>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ct val="0"/>
              </a:spcBef>
              <a:spcAft>
                <a:spcPct val="0"/>
              </a:spcAft>
            </a:pPr>
            <a:r>
              <a:rPr lang="en-US" altLang="en-US" sz="1050">
                <a:effectLst/>
                <a:latin typeface="Poppins" panose="00000500000000000000" pitchFamily="2" charset="0"/>
                <a:cs typeface="Poppins" panose="00000500000000000000" pitchFamily="2" charset="0"/>
              </a:rPr>
              <a:t>Feb 23</a:t>
            </a:r>
            <a:endParaRPr lang="en-US" sz="105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2379220786"/>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BB2FD8-E532-2343-8C1A-840E71CE2D84}"/>
              </a:ext>
            </a:extLst>
          </p:cNvPr>
          <p:cNvSpPr>
            <a:spLocks noGrp="1"/>
          </p:cNvSpPr>
          <p:nvPr>
            <p:ph type="ctrTitle"/>
          </p:nvPr>
        </p:nvSpPr>
        <p:spPr/>
        <p:txBody>
          <a:bodyPr/>
          <a:lstStyle/>
          <a:p>
            <a:r>
              <a:rPr lang="en-US"/>
              <a:t>Thanks!</a:t>
            </a:r>
            <a:endParaRPr lang="en-NO"/>
          </a:p>
        </p:txBody>
      </p:sp>
      <p:sp>
        <p:nvSpPr>
          <p:cNvPr id="7" name="Rectangle 6">
            <a:extLst>
              <a:ext uri="{FF2B5EF4-FFF2-40B4-BE49-F238E27FC236}">
                <a16:creationId xmlns:a16="http://schemas.microsoft.com/office/drawing/2014/main" id="{18D05EDE-FBA9-484B-AF45-FB3FD4A5FAB8}"/>
              </a:ext>
            </a:extLst>
          </p:cNvPr>
          <p:cNvSpPr/>
          <p:nvPr/>
        </p:nvSpPr>
        <p:spPr>
          <a:xfrm>
            <a:off x="3748034" y="4547286"/>
            <a:ext cx="2347966" cy="6178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DE"/>
          </a:p>
        </p:txBody>
      </p:sp>
      <p:sp>
        <p:nvSpPr>
          <p:cNvPr id="6" name="Text Placeholder 4">
            <a:extLst>
              <a:ext uri="{FF2B5EF4-FFF2-40B4-BE49-F238E27FC236}">
                <a16:creationId xmlns:a16="http://schemas.microsoft.com/office/drawing/2014/main" id="{403B63A5-82A4-EC47-A25E-32AE68CD301A}"/>
              </a:ext>
            </a:extLst>
          </p:cNvPr>
          <p:cNvSpPr txBox="1">
            <a:spLocks/>
          </p:cNvSpPr>
          <p:nvPr/>
        </p:nvSpPr>
        <p:spPr>
          <a:xfrm>
            <a:off x="4038600" y="3429000"/>
            <a:ext cx="7885670" cy="2388223"/>
          </a:xfrm>
          <a:prstGeom prst="rect">
            <a:avLst/>
          </a:prstGeom>
        </p:spPr>
        <p:txBody>
          <a:bodyPr lIns="91440" tIns="45720" rIns="91440" bIns="45720" anchor="t"/>
          <a:lstStyle>
            <a:lvl1pPr marL="363538" indent="-363538" algn="l" defTabSz="914355" rtl="0" eaLnBrk="1" latinLnBrk="0" hangingPunct="1">
              <a:lnSpc>
                <a:spcPct val="100000"/>
              </a:lnSpc>
              <a:spcBef>
                <a:spcPts val="0"/>
              </a:spcBef>
              <a:spcAft>
                <a:spcPts val="1200"/>
              </a:spcAft>
              <a:buFontTx/>
              <a:buBlip>
                <a:blip r:embed="rId3"/>
              </a:buBlip>
              <a:defRPr sz="2000" b="0" i="0" kern="1200">
                <a:solidFill>
                  <a:schemeClr val="tx1"/>
                </a:solidFill>
                <a:latin typeface="Roboto Light" panose="02000000000000000000" pitchFamily="2" charset="0"/>
                <a:ea typeface="Roboto Light" panose="02000000000000000000" pitchFamily="2" charset="0"/>
                <a:cs typeface="+mn-cs"/>
              </a:defRPr>
            </a:lvl1pPr>
            <a:lvl2pPr marL="812800" indent="-355600" algn="l" defTabSz="914355" rtl="0" eaLnBrk="1" latinLnBrk="0" hangingPunct="1">
              <a:lnSpc>
                <a:spcPct val="100000"/>
              </a:lnSpc>
              <a:spcBef>
                <a:spcPts val="0"/>
              </a:spcBef>
              <a:spcAft>
                <a:spcPts val="1200"/>
              </a:spcAft>
              <a:buFontTx/>
              <a:buBlip>
                <a:blip r:embed="rId3"/>
              </a:buBlip>
              <a:defRPr sz="1600" b="0" i="0" kern="1200">
                <a:solidFill>
                  <a:schemeClr val="tx1"/>
                </a:solidFill>
                <a:latin typeface="Roboto Light" panose="02000000000000000000" pitchFamily="2" charset="0"/>
                <a:ea typeface="Roboto Light" panose="02000000000000000000" pitchFamily="2" charset="0"/>
                <a:cs typeface="+mn-cs"/>
              </a:defRPr>
            </a:lvl2pPr>
            <a:lvl3pPr marL="1262063" indent="-347663" algn="l" defTabSz="914355" rtl="0" eaLnBrk="1" latinLnBrk="0" hangingPunct="1">
              <a:lnSpc>
                <a:spcPct val="100000"/>
              </a:lnSpc>
              <a:spcBef>
                <a:spcPts val="0"/>
              </a:spcBef>
              <a:spcAft>
                <a:spcPts val="1200"/>
              </a:spcAft>
              <a:buFontTx/>
              <a:buBlip>
                <a:blip r:embed="rId3"/>
              </a:buBlip>
              <a:defRPr sz="1400" b="0" i="0" kern="1200">
                <a:solidFill>
                  <a:schemeClr val="tx1"/>
                </a:solidFill>
                <a:latin typeface="Roboto Light" panose="02000000000000000000" pitchFamily="2" charset="0"/>
                <a:ea typeface="Roboto Light" panose="02000000000000000000" pitchFamily="2" charset="0"/>
                <a:cs typeface="+mn-cs"/>
              </a:defRPr>
            </a:lvl3pPr>
            <a:lvl4pPr marL="1800225" indent="-428625" algn="l" defTabSz="914355" rtl="0" eaLnBrk="1" latinLnBrk="0" hangingPunct="1">
              <a:lnSpc>
                <a:spcPct val="100000"/>
              </a:lnSpc>
              <a:spcBef>
                <a:spcPts val="0"/>
              </a:spcBef>
              <a:spcAft>
                <a:spcPts val="1200"/>
              </a:spcAft>
              <a:buFontTx/>
              <a:buBlip>
                <a:blip r:embed="rId3"/>
              </a:buBlip>
              <a:defRPr sz="1200" b="0" i="0" kern="1200">
                <a:solidFill>
                  <a:schemeClr val="tx1"/>
                </a:solidFill>
                <a:latin typeface="Roboto Light" panose="02000000000000000000" pitchFamily="2" charset="0"/>
                <a:ea typeface="Roboto Light" panose="02000000000000000000" pitchFamily="2" charset="0"/>
                <a:cs typeface="+mn-cs"/>
              </a:defRPr>
            </a:lvl4pPr>
            <a:lvl5pPr marL="2235200" indent="-406400" algn="l" defTabSz="914355" rtl="0" eaLnBrk="1" latinLnBrk="0" hangingPunct="1">
              <a:lnSpc>
                <a:spcPct val="100000"/>
              </a:lnSpc>
              <a:spcBef>
                <a:spcPts val="500"/>
              </a:spcBef>
              <a:buFontTx/>
              <a:buBlip>
                <a:blip r:embed="rId3"/>
              </a:buBlip>
              <a:defRPr sz="1000" b="0" i="0" kern="1200">
                <a:solidFill>
                  <a:schemeClr val="tx1"/>
                </a:solidFill>
                <a:latin typeface="Roboto Light" panose="02000000000000000000" pitchFamily="2" charset="0"/>
                <a:ea typeface="Roboto Light" panose="02000000000000000000" pitchFamily="2" charset="0"/>
                <a:cs typeface="+mn-cs"/>
              </a:defRPr>
            </a:lvl5pPr>
            <a:lvl6pPr marL="2514475"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900" b="1">
                <a:solidFill>
                  <a:srgbClr val="142A6C"/>
                </a:solidFill>
                <a:latin typeface="Poppins" panose="00000500000000000000" pitchFamily="2" charset="0"/>
                <a:ea typeface="+mj-lt"/>
                <a:cs typeface="Poppins" panose="00000500000000000000" pitchFamily="2" charset="0"/>
              </a:rPr>
              <a:t>DISCLAIMER</a:t>
            </a:r>
            <a:br>
              <a:rPr lang="en-US" sz="900">
                <a:latin typeface="Poppins" panose="00000500000000000000" pitchFamily="2" charset="0"/>
                <a:ea typeface="+mj-lt"/>
                <a:cs typeface="Poppins" panose="00000500000000000000" pitchFamily="2" charset="0"/>
              </a:rPr>
            </a:br>
            <a:br>
              <a:rPr lang="en-US" sz="900">
                <a:latin typeface="Poppins" panose="00000500000000000000" pitchFamily="2" charset="0"/>
                <a:ea typeface="+mj-lt"/>
                <a:cs typeface="Poppins" panose="00000500000000000000" pitchFamily="2" charset="0"/>
              </a:rPr>
            </a:br>
            <a:r>
              <a:rPr lang="en-US" sz="900">
                <a:solidFill>
                  <a:srgbClr val="142A6C"/>
                </a:solidFill>
                <a:latin typeface="Poppins" panose="00000500000000000000" pitchFamily="2" charset="0"/>
                <a:ea typeface="+mj-lt"/>
                <a:cs typeface="Poppins" panose="00000500000000000000" pitchFamily="2" charset="0"/>
              </a:rPr>
              <a:t>The content in this webinar is provided for general information purposes only and participants should not construe any information or discussion or contained therein as personalized advice. Participants are encouraged to do their own research. </a:t>
            </a:r>
            <a:br>
              <a:rPr lang="en-US" sz="900">
                <a:latin typeface="Poppins" panose="00000500000000000000" pitchFamily="2" charset="0"/>
                <a:ea typeface="+mj-lt"/>
                <a:cs typeface="Poppins" panose="00000500000000000000" pitchFamily="2" charset="0"/>
              </a:rPr>
            </a:br>
            <a:br>
              <a:rPr lang="en-US" sz="900">
                <a:latin typeface="Poppins" panose="00000500000000000000" pitchFamily="2" charset="0"/>
                <a:ea typeface="+mj-lt"/>
                <a:cs typeface="Poppins" panose="00000500000000000000" pitchFamily="2" charset="0"/>
              </a:rPr>
            </a:br>
            <a:r>
              <a:rPr lang="en-US" sz="900">
                <a:solidFill>
                  <a:srgbClr val="142A6C"/>
                </a:solidFill>
                <a:latin typeface="Poppins" panose="00000500000000000000" pitchFamily="2" charset="0"/>
                <a:ea typeface="+mj-lt"/>
                <a:cs typeface="Poppins" panose="00000500000000000000" pitchFamily="2" charset="0"/>
              </a:rPr>
              <a:t>Although Xeneta has made reasonable efforts to update the information in this webinar on the date it is released, Xeneta makes no representations, warranties or guarantees, whether expressed or implied, that the content of this webinar is accurate, complete or up to date. Xeneta expressly disclaims any liability for any decision made or action taken in reliance on the information contained in this webinar. </a:t>
            </a:r>
            <a:br>
              <a:rPr lang="en-US" sz="900">
                <a:latin typeface="Poppins" panose="00000500000000000000" pitchFamily="2" charset="0"/>
                <a:ea typeface="+mj-lt"/>
                <a:cs typeface="Poppins" panose="00000500000000000000" pitchFamily="2" charset="0"/>
              </a:rPr>
            </a:br>
            <a:br>
              <a:rPr lang="en-US" sz="900">
                <a:latin typeface="Poppins" panose="00000500000000000000" pitchFamily="2" charset="0"/>
                <a:ea typeface="+mj-lt"/>
                <a:cs typeface="Poppins" panose="00000500000000000000" pitchFamily="2" charset="0"/>
              </a:rPr>
            </a:br>
            <a:r>
              <a:rPr lang="en-US" sz="900">
                <a:solidFill>
                  <a:srgbClr val="142A6C"/>
                </a:solidFill>
                <a:latin typeface="Poppins" panose="00000500000000000000" pitchFamily="2" charset="0"/>
                <a:ea typeface="+mj-lt"/>
                <a:cs typeface="Poppins" panose="00000500000000000000" pitchFamily="2" charset="0"/>
              </a:rPr>
              <a:t>The views expressed by any speakers or other third parties during webinars held by Xeneta are those of the speaker or third-party and not, necessarily, of Xeneta.</a:t>
            </a:r>
            <a:br>
              <a:rPr lang="en-US" sz="900">
                <a:latin typeface="Poppins" panose="00000500000000000000" pitchFamily="2" charset="0"/>
                <a:ea typeface="+mj-lt"/>
                <a:cs typeface="Poppins" panose="00000500000000000000" pitchFamily="2" charset="0"/>
              </a:rPr>
            </a:br>
            <a:endParaRPr lang="en-US" sz="900">
              <a:latin typeface="Poppins" panose="00000500000000000000" pitchFamily="2" charset="0"/>
              <a:ea typeface="+mj-lt"/>
              <a:cs typeface="Poppins" panose="00000500000000000000" pitchFamily="2" charset="0"/>
            </a:endParaRPr>
          </a:p>
          <a:p>
            <a:pPr marL="0" indent="0">
              <a:buNone/>
            </a:pPr>
            <a:r>
              <a:rPr lang="en-US" sz="900">
                <a:solidFill>
                  <a:srgbClr val="142A6C"/>
                </a:solidFill>
                <a:latin typeface="Poppins" panose="00000500000000000000" pitchFamily="2" charset="0"/>
                <a:ea typeface="+mj-lt"/>
                <a:cs typeface="Poppins" panose="00000500000000000000" pitchFamily="2" charset="0"/>
              </a:rPr>
              <a:t>Reproduction, distribution, republication, and/or retransmission of this presentation and any related material without Xeneta’s prior written approval is strictly prohibited. </a:t>
            </a:r>
            <a:endParaRPr lang="en-US" sz="900">
              <a:solidFill>
                <a:srgbClr val="142A6C"/>
              </a:solidFill>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11342289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3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bNumberIsYear val=&quot;0&quot;/&gt;&lt;m_strFormatTime&gt;%1 %y&lt;/m_strFormatTime&gt;&lt;m_yearfmt&gt;&lt;begin val=&quot;4&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5&quot;&gt;&lt;elem m_fUsage=&quot;3.08075038622869135096E+00&quot;&gt;&lt;m_msothmcolidx val=&quot;0&quot;/&gt;&lt;m_rgb r=&quot;00&quot; g=&quot;65&quot; b=&quot;FF&quot;/&gt;&lt;/elem&gt;&lt;elem m_fUsage=&quot;2.37723709383361869740E+00&quot;&gt;&lt;m_msothmcolidx val=&quot;0&quot;/&gt;&lt;m_rgb r=&quot;FF&quot; g=&quot;65&quot; b=&quot;2B&quot;/&gt;&lt;/elem&gt;&lt;elem m_fUsage=&quot;1.75250864526829364110E+00&quot;&gt;&lt;m_msothmcolidx val=&quot;0&quot;/&gt;&lt;m_rgb r=&quot;C1&quot; g=&quot;C7&quot; b=&quot;D1&quot;/&gt;&lt;/elem&gt;&lt;elem m_fUsage=&quot;1.74920681249944753866E+00&quot;&gt;&lt;m_msothmcolidx val=&quot;0&quot;/&gt;&lt;m_rgb r=&quot;0E&quot; g=&quot;18&quot; b=&quot;3C&quot;/&gt;&lt;/elem&gt;&lt;elem m_fUsage=&quot;9.76670207758591257807E-01&quot;&gt;&lt;m_msothmcolidx val=&quot;0&quot;/&gt;&lt;m_rgb r=&quot;CF&quot; g=&quot;00&quot; b=&quot;E8&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zSaUzGPtPFVc1obCpG5s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6KKKdJf1cis7We8.diSZV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G0DEpE4b1mXqgcV0tOWsl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CYGlExHDKU9nTJYGtGCnV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MvPcvUT0.ygdZ5cQgafL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vX9EYke7xtLup8xSHitKn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9gbj9hK6km.mcGl5iw9lT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2FhqNDqxwM84S1edJKxac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Rsp2ssiS1cUkEnleF0aw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QxpW_NkYxcMejluCAFB_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bk6NkMXQ4Hdzm50GkujHM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Jv4XESwd3PrX.t.azXAyP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Lg35TOT0HutfrlxlPxg8Q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UrDBxf1J65UAkE_DvWwGh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1XZD6AZJYbOuLlzzFw12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Sv.sJoXWYkUUHC.TvrbdE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cIUrmoI_f567AvQHc1sav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4c87hDBqV753uS1yElGih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PG76b7wWAdjLxZMd8WnXZ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NgUphtQ3Sgr2BHtQauJbq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fzcqBbR8KuJ8Jby0pZ6_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_y6v2N9K9IGrqQW2BZajK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ws0h08a6Xo4C20owhB7kl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JgWcPR7aCfVm4tMng1ZbT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V2GTPwsP7S7Hj4ivolHNn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rOBgRu_Z3VH36tUAxLS3B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DZwiP76GYywFDX.3aNegq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_wdUJVlP_jfb6VcCSu7oW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nAt3eBzJp6jtI100qj04g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TOfc0xADo0Lkt2k1AD2cm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RI_Q1kRMYxkHlQTE7Lvrj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EgviF4jNIYlbOYldOw3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7.Zlqsm2lfwNz3NIYMu0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c34zjD1nKwTt.eSBNeDoB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58OR8bLsem9eDCpjbfC1J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wYzZGSNo8p6p752hv53lr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R7kBa5giiaZvL6mZhAKz_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WOFkKEXJ1qAxDP2JVQnvl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pVnStjZ1CPrzslPFFWuAl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EwfhMe5Kf8OmghtftCs4p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jV184RZqT.YRDAbE_6zZ0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jHB1sxC4e_zj6LmUSb9qy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EpI7QKFewr4xhRXJysGs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Vvb3zG69NTYAFztIN6bkK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yVoQqWzZ8pTt2SL146b6X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KKGiUW65y7bBfHlKjfJxa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rcA1ja0wEjAQDjBEqHAiJ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2rI3qD_a2RexQuRTgj5pn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c5qD5_fo5MP1StwdpShlG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7oNuH3Xzj.K0O6TAM3s4Q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kOtWfdgH_Uo7d1Syp_YVy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SpnS5PZ0B4RHTz49fbbqc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vVRInz3Q.0fweuESMLSKh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72XFId7wn4ISIbLdqiN5z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vYVM9Fxv8pjTspaAvX.OH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q_0HLy7drBX3LksLNe2WP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j0K1Ju_sqpJHs6uY56cL3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F7w80OjFjliYyuq8sOCQE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b5uxsS9SykwWfQ1Vg7H6K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v7S8llMpMuWkGidg9ifzt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eXihE14G23O73mP6kgujM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HwuL23R01rFqAeb1AhiQ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5BTykoVDPsAChqScDYtW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UviC.fvkrNvvR4O_4haMy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hjBC2IHqQXXhaQMHEfTi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EyYG_Sqrc1XALoiNmVLiI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aJEdOkyvt8oBT3yC37G4L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_fxePDNkvMtRB727UbGVL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wXanqFLOOg_90XUm.sFBd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7nq_bJ_VFZKsDlSTWN21i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K6aRwkkOj2lDAY4V1Y2lL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nIp50RYqWNrg98aSeEUHe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NJHmiRIrvzOzfcIfwr6u0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wsvPcDyHZGVFPZ0qDOixk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nyead7FLwVgf8bu8ydVP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oNM1pTKbow1G5.wQ7TXr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BXA.yT_0qqOqJfe1Izl0W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TWPnDm0Em6ax.CwN90sEl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Ry4uE0KioGnISlMHyz.yk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btPQl9LcvIuFPmRN2IGAW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cvHX.FOC3m1xAgn29QIKM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JIvvFhv.J2NKhlCle6TpX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DZdNrsy0yfM8ezqGCem..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T8WHp4ZpfqSjmtC7T0cPJ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eYqjZw_whrqqWm3trVCPu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zklCnf0Y4Y2_sZd0rHq45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WFCqBum63Qn6aTG_MoaK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_ffjfuCUajyXJyAoWw57d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DWd7rST.b.bXzYqcShCX3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fl0V.d2pT8GOwEkrTOw_8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Pjyds6r1AX4fD1df6aDBV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sOLoaZy0_MA3kRQq_gy0R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fRY2K6fOaWK_iXrQ9kB3v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NoOVHeLhqVmV9R6BGk6Os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VQPhNEhzOi7KVFml_g3Y5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jKJ7G4EgbnsTrXfEKfQi0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kBCLD39JebJ1NCLcTR3F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ht4DtyTcnbPz9VqQz4Zc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4A6Uk3aEtodNNnSGpLsg8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Py7j.hS1h8c._dHJXvK18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SyTGTqjnj9XZvlvT3BaK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yIgq_l72iQuVLWnzWZ3SV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aaUKDSfKK81NdNrztdVCu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Qs1GS1yWNZRV_RP9tpwyG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i__ZK_j7NF9.fyJqTYAMS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QEBLhzgoSAifg_L8KtMBN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8d7_X806vOoawL02xdHHf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fElT7rulCYMnj1wOPKfB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5IoMDR7M1c5asLhMunc5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_l7momoSWgNIobH.KXBnV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4UPgSue_ans6yljCEVTIt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Nii93fulqGNuNrSl1RF5Y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CoH0Py2WligB7JhCW4aLM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d3UYKbXjmMq38VtQMHYe1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QB6aHH2gPZg.V6gmhBkmT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mpzvkl9tBq8PlgWOjeJ_K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ygIpuWU.DR29gFCGJORcu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GiRJQaqSNbZOeGUi2U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3Fc9LvuJmWEEWAZSwlA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vEa7hfiIr2ZaZZ3W76S7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nkfW5EKb3mhgv0xh07b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niWrxZ4p7N5hy17bUPOX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SVR8_lTQVsU62s1dSD6L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R.FZA_74kemN68qkPVrD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hlwktxfq1v5EgE56z9QH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yXwQfYBNIpacRan_Eds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5EnVycuUJYUnDk2xc6Pr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9crWKjnrr48WCQnbBfql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2Cl.aMFX8Qrmwr7TJ3rDX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TdyOrOMLPFJf6uHRzDZa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I_1WZPVsQOLFOU_FA.Rp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zz2D64m8alNB2UKzjS2j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Y3CgcUC0MiGx7HNp16AO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uEE2Xa7XZCNaUYTBqqCB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EvJPI5dt5NOtz3ccA7V6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ZtUZQtkt2ye4uyTnI14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qm7DPtQD5cX5ePlaKFOB0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qcvLsOMW7LpPXcTaVnl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e06rUOPssfAd4CgtiVIu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s2U.AXQUWlFa.as8hxK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CFMuVAHA8MwbGNtQfvZW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K67r_dJMyKhX4mcNNO0M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jb6DrcXT69W0Ct.IsZl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9MxN5OdRNqrueswAgwuP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_6byoxr1J_8eKFDiw68GR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IiubTnFf9RLKNakwO.l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8wtScimTNZmqAzP98BmHS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OVo6Y7CkWeLuff1evhc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FCnIsWRBrLxq6R.yRzR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6e7F03pkQSsczL5ucToKS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m1DptMFplTEoy3Xfd9obL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ZfNDnydhbBgP3OT_CM_8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F_kLAVrzhkrc.hZRENqJ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tCb8RA8GdX29lFw5.uHOX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xctZ3gNSdIpH56aE2GJo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IyDlZ7nT5guqpFdgUCIj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D1v8q_hCcghxTWqwckV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eEmfEwpuTrPvFDzu4sMZ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u7eUZp_cS6JMOfLCvbbD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0o_26up1tPW5AarGoFUk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gn8RiZjgogz64DJkYzQ_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2FzSEpTEPzct.V01k8UNh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oQiDom0UaWsVWQ8q6tN6Q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_MvThvf8RCPV4Lmqrb0.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EGiFe2g9oo83HF57UbHn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7CalzI0xeTEgYP6HRpYq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jpXw0ehf9XNZFG.JORna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Dei6B7arkqiCZX84JhZ0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BTjpD.HKfQmNhcrYszFQ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xB3agJEWPIi_eYk94jFxh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R6uaDdltFq7Sr4SuY5G.8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2qmjyJFUEgjqj073HX31D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smubrYAtULAlR2nyfwMon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cAvOvo52R5fGm6ZXY5GRI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hxeOlo4QpJQmGZRM2iDS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NCGQZYuRY0GwwmWqJcBas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I_jE2Y7ulUpDV8Ei4RU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gSsnEc9_dgyOn13ORkY3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35jZGTF4ZsS9xBo10pWpZ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gscSdgJefRilgJhnWGN4L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3ZlU.J_xXAFTJVkF7RamN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rL2nC8qdbPL5203NmtJFK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iozfNjK2Z6oQEXfIWiLfj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bXxPtg.PFsFMJi9sOzkzC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5i.KKrEzu0EbDowdVkjo2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AMSL.YZDT0P2M4SzsAK7L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Wwb4jWCWP.t3CDS5HkoeR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IY.1BJ9_IU3wDJ_dvdxJa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OdOhRlqxRk_IntJyEA.U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usmrPJ7Wa9FMwZ_ooQF8R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kCExBfewdKyQi1DtjVfR5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F9wnL4Qf6DUo1oz5By_D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q70kcoMz3H83cGBssHr1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U5QVbuAueEKwgCxz88c4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BRKlg1g4TQklM.Ukha9gc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nrFDOa68XIuLQr5T86x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WwXMy_hSCthKgEtE_kkKW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raEIslPLiwrnlyO9HXV7C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HeVV7DwrFC5dMzIQdVq3g"/>
</p:tagLst>
</file>

<file path=ppt/theme/theme1.xml><?xml version="1.0" encoding="utf-8"?>
<a:theme xmlns:a="http://schemas.openxmlformats.org/drawingml/2006/main" name="Blue Clea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b4d1c3be-5b25-4be4-8a5c-7f940c6c4823" xsi:nil="true"/>
    <lcf76f155ced4ddcb4097134ff3c332f xmlns="c1d5dea3-346d-452c-9850-d49cb8ddcf89">
      <Terms xmlns="http://schemas.microsoft.com/office/infopath/2007/PartnerControls"/>
    </lcf76f155ced4ddcb4097134ff3c332f>
    <Info xmlns="c1d5dea3-346d-452c-9850-d49cb8ddcf89">Template. Must be edited in the app.</Info>
    <Status xmlns="c1d5dea3-346d-452c-9850-d49cb8ddcf89" xsi:nil="true"/>
    <DesignCheck xmlns="c1d5dea3-346d-452c-9850-d49cb8ddcf89">false</DesignCheck>
    <Date xmlns="c1d5dea3-346d-452c-9850-d49cb8ddcf8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F23C7993D07C046A51739B7EEEF1C6D" ma:contentTypeVersion="24" ma:contentTypeDescription="Create a new document." ma:contentTypeScope="" ma:versionID="d80ec966734baa56f2e8d17600a260a1">
  <xsd:schema xmlns:xsd="http://www.w3.org/2001/XMLSchema" xmlns:xs="http://www.w3.org/2001/XMLSchema" xmlns:p="http://schemas.microsoft.com/office/2006/metadata/properties" xmlns:ns2="c1d5dea3-346d-452c-9850-d49cb8ddcf89" xmlns:ns3="b4d1c3be-5b25-4be4-8a5c-7f940c6c4823" targetNamespace="http://schemas.microsoft.com/office/2006/metadata/properties" ma:root="true" ma:fieldsID="1436222b562a4bcf91a975d48611029d" ns2:_="" ns3:_="">
    <xsd:import namespace="c1d5dea3-346d-452c-9850-d49cb8ddcf89"/>
    <xsd:import namespace="b4d1c3be-5b25-4be4-8a5c-7f940c6c482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AutoKeyPoints" minOccurs="0"/>
                <xsd:element ref="ns2:MediaServiceKeyPoints" minOccurs="0"/>
                <xsd:element ref="ns2:Date" minOccurs="0"/>
                <xsd:element ref="ns2:Info" minOccurs="0"/>
                <xsd:element ref="ns2:MediaServiceLocation" minOccurs="0"/>
                <xsd:element ref="ns2:MediaLengthInSeconds" minOccurs="0"/>
                <xsd:element ref="ns3:TaxCatchAll" minOccurs="0"/>
                <xsd:element ref="ns2:lcf76f155ced4ddcb4097134ff3c332f" minOccurs="0"/>
                <xsd:element ref="ns2:Status" minOccurs="0"/>
                <xsd:element ref="ns2:DesignCheck"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1d5dea3-346d-452c-9850-d49cb8ddcf8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Date" ma:index="19" nillable="true" ma:displayName="Date" ma:format="DateOnly" ma:internalName="Date">
      <xsd:simpleType>
        <xsd:restriction base="dms:DateTime"/>
      </xsd:simpleType>
    </xsd:element>
    <xsd:element name="Info" ma:index="20" nillable="true" ma:displayName="Info" ma:default="Template. Must be edited in the app." ma:description="Describe the document" ma:format="Dropdown" ma:internalName="Info">
      <xsd:simpleType>
        <xsd:restriction base="dms:Text">
          <xsd:maxLength value="255"/>
        </xsd:restriction>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a3c17140-f64b-4d4b-834b-74a9a054d385" ma:termSetId="09814cd3-568e-fe90-9814-8d621ff8fb84" ma:anchorId="fba54fb3-c3e1-fe81-a776-ca4b69148c4d" ma:open="true" ma:isKeyword="false">
      <xsd:complexType>
        <xsd:sequence>
          <xsd:element ref="pc:Terms" minOccurs="0" maxOccurs="1"/>
        </xsd:sequence>
      </xsd:complexType>
    </xsd:element>
    <xsd:element name="Status" ma:index="26" nillable="true" ma:displayName="Status" ma:format="Dropdown" ma:internalName="Status">
      <xsd:simpleType>
        <xsd:restriction base="dms:Text">
          <xsd:maxLength value="255"/>
        </xsd:restriction>
      </xsd:simpleType>
    </xsd:element>
    <xsd:element name="DesignCheck" ma:index="27" nillable="true" ma:displayName="Design Check" ma:default="0" ma:format="Dropdown" ma:internalName="DesignCheck">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b4d1c3be-5b25-4be4-8a5c-7f940c6c4823"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1f3829f9-189e-4e5e-8a43-34be6214849b}" ma:internalName="TaxCatchAll" ma:showField="CatchAllData" ma:web="b4d1c3be-5b25-4be4-8a5c-7f940c6c482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30C009C-FDBC-4FF3-97F5-79598AED1A47}">
  <ds:schemaRefs>
    <ds:schemaRef ds:uri="c7e796bd-9c35-447a-a036-fb564815482e"/>
    <ds:schemaRef ds:uri="ee525641-7f4e-4cce-b75d-489ca1d2655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FBCE984-A5B0-4936-A587-74995894FC31}">
  <ds:schemaRefs>
    <ds:schemaRef ds:uri="http://schemas.microsoft.com/sharepoint/v3/contenttype/forms"/>
  </ds:schemaRefs>
</ds:datastoreItem>
</file>

<file path=customXml/itemProps3.xml><?xml version="1.0" encoding="utf-8"?>
<ds:datastoreItem xmlns:ds="http://schemas.openxmlformats.org/officeDocument/2006/customXml" ds:itemID="{BF19E2D7-E910-4178-A5CC-63108116099F}"/>
</file>

<file path=docProps/app.xml><?xml version="1.0" encoding="utf-8"?>
<Properties xmlns="http://schemas.openxmlformats.org/officeDocument/2006/extended-properties" xmlns:vt="http://schemas.openxmlformats.org/officeDocument/2006/docPropsVTypes">
  <TotalTime>0</TotalTime>
  <Words>833</Words>
  <Application>Microsoft Office PowerPoint</Application>
  <PresentationFormat>Widescreen</PresentationFormat>
  <Paragraphs>226</Paragraphs>
  <Slides>11</Slides>
  <Notes>1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11</vt:i4>
      </vt:variant>
    </vt:vector>
  </HeadingPairs>
  <TitlesOfParts>
    <vt:vector size="19" baseType="lpstr">
      <vt:lpstr>Helvetica Neue Medium</vt:lpstr>
      <vt:lpstr>Arial</vt:lpstr>
      <vt:lpstr>Calibri</vt:lpstr>
      <vt:lpstr>Poppins</vt:lpstr>
      <vt:lpstr>Poppins SemiBold</vt:lpstr>
      <vt:lpstr>Blue Clean</vt:lpstr>
      <vt:lpstr>think-cell Slide</vt:lpstr>
      <vt:lpstr>Worksheet</vt:lpstr>
      <vt:lpstr>Air Freigh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cean &amp; Air Freight</dc:title>
  <dc:creator>Pearl Aquino</dc:creator>
  <cp:lastModifiedBy>Wenwen Zhang</cp:lastModifiedBy>
  <cp:revision>1</cp:revision>
  <dcterms:created xsi:type="dcterms:W3CDTF">2022-06-27T18:08:42Z</dcterms:created>
  <dcterms:modified xsi:type="dcterms:W3CDTF">2023-03-10T11:33: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23C7993D07C046A51739B7EEEF1C6D</vt:lpwstr>
  </property>
  <property fmtid="{D5CDD505-2E9C-101B-9397-08002B2CF9AE}" pid="3" name="MediaServiceImageTags">
    <vt:lpwstr/>
  </property>
</Properties>
</file>